="connsiteX1388" fmla="*/ 144258 w 859464"/>
                    <a:gd name="connsiteY1388" fmla="*/ 112529 h 798932"/>
                    <a:gd name="connsiteX1389" fmla="*/ 143408 w 859464"/>
                    <a:gd name="connsiteY1389" fmla="*/ 112468 h 798932"/>
                    <a:gd name="connsiteX1390" fmla="*/ 142813 w 859464"/>
                    <a:gd name="connsiteY1390" fmla="*/ 112431 h 798932"/>
                    <a:gd name="connsiteX1391" fmla="*/ 142206 w 859464"/>
                    <a:gd name="connsiteY1391" fmla="*/ 112504 h 798932"/>
                    <a:gd name="connsiteX1392" fmla="*/ 138927 w 859464"/>
                    <a:gd name="connsiteY1392" fmla="*/ 112930 h 798932"/>
                    <a:gd name="connsiteX1393" fmla="*/ 138624 w 859464"/>
                    <a:gd name="connsiteY1393" fmla="*/ 112893 h 798932"/>
                    <a:gd name="connsiteX1394" fmla="*/ 136001 w 859464"/>
                    <a:gd name="connsiteY1394" fmla="*/ 111970 h 798932"/>
                    <a:gd name="connsiteX1395" fmla="*/ 135649 w 859464"/>
                    <a:gd name="connsiteY1395" fmla="*/ 111849 h 798932"/>
                    <a:gd name="connsiteX1396" fmla="*/ 135284 w 859464"/>
                    <a:gd name="connsiteY1396" fmla="*/ 111764 h 798932"/>
                    <a:gd name="connsiteX1397" fmla="*/ 133609 w 859464"/>
                    <a:gd name="connsiteY1397" fmla="*/ 111399 h 798932"/>
                    <a:gd name="connsiteX1398" fmla="*/ 133038 w 859464"/>
                    <a:gd name="connsiteY1398" fmla="*/ 111266 h 798932"/>
                    <a:gd name="connsiteX1399" fmla="*/ 132455 w 859464"/>
                    <a:gd name="connsiteY1399" fmla="*/ 111254 h 798932"/>
                    <a:gd name="connsiteX1400" fmla="*/ 131034 w 859464"/>
                    <a:gd name="connsiteY1400" fmla="*/ 111217 h 798932"/>
                    <a:gd name="connsiteX1401" fmla="*/ 130427 w 859464"/>
                    <a:gd name="connsiteY1401" fmla="*/ 111205 h 798932"/>
                    <a:gd name="connsiteX1402" fmla="*/ 129820 w 859464"/>
                    <a:gd name="connsiteY1402" fmla="*/ 111314 h 798932"/>
                    <a:gd name="connsiteX1403" fmla="*/ 128217 w 859464"/>
                    <a:gd name="connsiteY1403" fmla="*/ 111594 h 798932"/>
                    <a:gd name="connsiteX1404" fmla="*/ 127841 w 859464"/>
                    <a:gd name="connsiteY1404" fmla="*/ 111667 h 798932"/>
                    <a:gd name="connsiteX1405" fmla="*/ 127464 w 859464"/>
                    <a:gd name="connsiteY1405" fmla="*/ 111776 h 798932"/>
                    <a:gd name="connsiteX1406" fmla="*/ 125910 w 859464"/>
                    <a:gd name="connsiteY1406" fmla="*/ 112261 h 798932"/>
                    <a:gd name="connsiteX1407" fmla="*/ 125327 w 859464"/>
                    <a:gd name="connsiteY1407" fmla="*/ 112456 h 798932"/>
                    <a:gd name="connsiteX1408" fmla="*/ 124793 w 859464"/>
                    <a:gd name="connsiteY1408" fmla="*/ 112747 h 798932"/>
                    <a:gd name="connsiteX1409" fmla="*/ 122899 w 859464"/>
                    <a:gd name="connsiteY1409" fmla="*/ 113791 h 798932"/>
                    <a:gd name="connsiteX1410" fmla="*/ 122571 w 859464"/>
                    <a:gd name="connsiteY1410" fmla="*/ 113974 h 798932"/>
                    <a:gd name="connsiteX1411" fmla="*/ 122267 w 859464"/>
                    <a:gd name="connsiteY1411" fmla="*/ 114192 h 798932"/>
                    <a:gd name="connsiteX1412" fmla="*/ 120421 w 859464"/>
                    <a:gd name="connsiteY1412" fmla="*/ 115528 h 798932"/>
                    <a:gd name="connsiteX1413" fmla="*/ 120118 w 859464"/>
                    <a:gd name="connsiteY1413" fmla="*/ 115759 h 798932"/>
                    <a:gd name="connsiteX1414" fmla="*/ 119851 w 859464"/>
                    <a:gd name="connsiteY1414" fmla="*/ 116014 h 798932"/>
                    <a:gd name="connsiteX1415" fmla="*/ 117289 w 859464"/>
                    <a:gd name="connsiteY1415" fmla="*/ 118394 h 798932"/>
                    <a:gd name="connsiteX1416" fmla="*/ 116754 w 859464"/>
                    <a:gd name="connsiteY1416" fmla="*/ 118904 h 798932"/>
                    <a:gd name="connsiteX1417" fmla="*/ 116354 w 859464"/>
                    <a:gd name="connsiteY1417" fmla="*/ 119523 h 798932"/>
                    <a:gd name="connsiteX1418" fmla="*/ 115601 w 859464"/>
                    <a:gd name="connsiteY1418" fmla="*/ 120677 h 798932"/>
                    <a:gd name="connsiteX1419" fmla="*/ 114763 w 859464"/>
                    <a:gd name="connsiteY1419" fmla="*/ 121952 h 798932"/>
                    <a:gd name="connsiteX1420" fmla="*/ 114629 w 859464"/>
                    <a:gd name="connsiteY1420" fmla="*/ 123469 h 798932"/>
                    <a:gd name="connsiteX1421" fmla="*/ 114556 w 859464"/>
                    <a:gd name="connsiteY1421" fmla="*/ 124295 h 798932"/>
                    <a:gd name="connsiteX1422" fmla="*/ 114253 w 859464"/>
                    <a:gd name="connsiteY1422" fmla="*/ 127853 h 798932"/>
                    <a:gd name="connsiteX1423" fmla="*/ 116706 w 859464"/>
                    <a:gd name="connsiteY1423" fmla="*/ 129505 h 798932"/>
                    <a:gd name="connsiteX1424" fmla="*/ 114860 w 859464"/>
                    <a:gd name="connsiteY1424" fmla="*/ 131970 h 798932"/>
                    <a:gd name="connsiteX1425" fmla="*/ 114641 w 859464"/>
                    <a:gd name="connsiteY1425" fmla="*/ 132261 h 798932"/>
                    <a:gd name="connsiteX1426" fmla="*/ 114459 w 859464"/>
                    <a:gd name="connsiteY1426" fmla="*/ 132577 h 798932"/>
                    <a:gd name="connsiteX1427" fmla="*/ 113427 w 859464"/>
                    <a:gd name="connsiteY1427" fmla="*/ 134410 h 798932"/>
                    <a:gd name="connsiteX1428" fmla="*/ 113075 w 859464"/>
                    <a:gd name="connsiteY1428" fmla="*/ 135042 h 798932"/>
                    <a:gd name="connsiteX1429" fmla="*/ 112881 w 859464"/>
                    <a:gd name="connsiteY1429" fmla="*/ 135734 h 798932"/>
                    <a:gd name="connsiteX1430" fmla="*/ 111084 w 859464"/>
                    <a:gd name="connsiteY1430" fmla="*/ 142048 h 798932"/>
                    <a:gd name="connsiteX1431" fmla="*/ 109371 w 859464"/>
                    <a:gd name="connsiteY1431" fmla="*/ 146432 h 798932"/>
                    <a:gd name="connsiteX1432" fmla="*/ 109238 w 859464"/>
                    <a:gd name="connsiteY1432" fmla="*/ 146772 h 798932"/>
                    <a:gd name="connsiteX1433" fmla="*/ 109153 w 859464"/>
                    <a:gd name="connsiteY1433" fmla="*/ 147124 h 798932"/>
                    <a:gd name="connsiteX1434" fmla="*/ 108570 w 859464"/>
                    <a:gd name="connsiteY1434" fmla="*/ 149419 h 798932"/>
                    <a:gd name="connsiteX1435" fmla="*/ 108436 w 859464"/>
                    <a:gd name="connsiteY1435" fmla="*/ 149965 h 798932"/>
                    <a:gd name="connsiteX1436" fmla="*/ 108400 w 859464"/>
                    <a:gd name="connsiteY1436" fmla="*/ 150536 h 798932"/>
                    <a:gd name="connsiteX1437" fmla="*/ 108291 w 859464"/>
                    <a:gd name="connsiteY1437" fmla="*/ 152406 h 798932"/>
                    <a:gd name="connsiteX1438" fmla="*/ 108218 w 859464"/>
                    <a:gd name="connsiteY1438" fmla="*/ 153693 h 798932"/>
                    <a:gd name="connsiteX1439" fmla="*/ 108546 w 859464"/>
                    <a:gd name="connsiteY1439" fmla="*/ 154568 h 798932"/>
                    <a:gd name="connsiteX1440" fmla="*/ 108133 w 859464"/>
                    <a:gd name="connsiteY1440" fmla="*/ 154871 h 798932"/>
                    <a:gd name="connsiteX1441" fmla="*/ 106749 w 859464"/>
                    <a:gd name="connsiteY1441" fmla="*/ 155891 h 798932"/>
                    <a:gd name="connsiteX1442" fmla="*/ 106336 w 859464"/>
                    <a:gd name="connsiteY1442" fmla="*/ 156195 h 798932"/>
                    <a:gd name="connsiteX1443" fmla="*/ 105984 w 859464"/>
                    <a:gd name="connsiteY1443" fmla="*/ 156547 h 798932"/>
                    <a:gd name="connsiteX1444" fmla="*/ 104381 w 859464"/>
                    <a:gd name="connsiteY1444" fmla="*/ 158198 h 798932"/>
                    <a:gd name="connsiteX1445" fmla="*/ 104138 w 859464"/>
                    <a:gd name="connsiteY1445" fmla="*/ 158453 h 798932"/>
                    <a:gd name="connsiteX1446" fmla="*/ 103931 w 859464"/>
                    <a:gd name="connsiteY1446" fmla="*/ 158721 h 798932"/>
                    <a:gd name="connsiteX1447" fmla="*/ 101758 w 859464"/>
                    <a:gd name="connsiteY1447" fmla="*/ 161513 h 798932"/>
                    <a:gd name="connsiteX1448" fmla="*/ 99973 w 859464"/>
                    <a:gd name="connsiteY1448" fmla="*/ 163286 h 798932"/>
                    <a:gd name="connsiteX1449" fmla="*/ 99038 w 859464"/>
                    <a:gd name="connsiteY1449" fmla="*/ 164063 h 798932"/>
                    <a:gd name="connsiteX1450" fmla="*/ 97447 w 859464"/>
                    <a:gd name="connsiteY1450" fmla="*/ 164889 h 798932"/>
                    <a:gd name="connsiteX1451" fmla="*/ 96208 w 859464"/>
                    <a:gd name="connsiteY1451" fmla="*/ 165545 h 798932"/>
                    <a:gd name="connsiteX1452" fmla="*/ 95383 w 859464"/>
                    <a:gd name="connsiteY1452" fmla="*/ 166686 h 798932"/>
                    <a:gd name="connsiteX1453" fmla="*/ 94593 w 859464"/>
                    <a:gd name="connsiteY1453" fmla="*/ 167767 h 798932"/>
                    <a:gd name="connsiteX1454" fmla="*/ 93586 w 859464"/>
                    <a:gd name="connsiteY1454" fmla="*/ 169139 h 798932"/>
                    <a:gd name="connsiteX1455" fmla="*/ 93452 w 859464"/>
                    <a:gd name="connsiteY1455" fmla="*/ 170851 h 798932"/>
                    <a:gd name="connsiteX1456" fmla="*/ 93330 w 859464"/>
                    <a:gd name="connsiteY1456" fmla="*/ 172333 h 798932"/>
                    <a:gd name="connsiteX1457" fmla="*/ 93221 w 859464"/>
                    <a:gd name="connsiteY1457" fmla="*/ 173656 h 798932"/>
                    <a:gd name="connsiteX1458" fmla="*/ 93683 w 859464"/>
                    <a:gd name="connsiteY1458" fmla="*/ 174919 h 798932"/>
                    <a:gd name="connsiteX1459" fmla="*/ 94946 w 859464"/>
                    <a:gd name="connsiteY1459" fmla="*/ 178392 h 798932"/>
                    <a:gd name="connsiteX1460" fmla="*/ 95310 w 859464"/>
                    <a:gd name="connsiteY1460" fmla="*/ 179837 h 798932"/>
                    <a:gd name="connsiteX1461" fmla="*/ 95444 w 859464"/>
                    <a:gd name="connsiteY1461" fmla="*/ 180590 h 798932"/>
                    <a:gd name="connsiteX1462" fmla="*/ 95444 w 859464"/>
                    <a:gd name="connsiteY1462" fmla="*/ 181914 h 798932"/>
                    <a:gd name="connsiteX1463" fmla="*/ 95444 w 859464"/>
                    <a:gd name="connsiteY1463" fmla="*/ 182484 h 798932"/>
                    <a:gd name="connsiteX1464" fmla="*/ 95553 w 859464"/>
                    <a:gd name="connsiteY1464" fmla="*/ 183043 h 798932"/>
                    <a:gd name="connsiteX1465" fmla="*/ 95771 w 859464"/>
                    <a:gd name="connsiteY1465" fmla="*/ 184172 h 798932"/>
                    <a:gd name="connsiteX1466" fmla="*/ 95941 w 859464"/>
                    <a:gd name="connsiteY1466" fmla="*/ 185034 h 798932"/>
                    <a:gd name="connsiteX1467" fmla="*/ 96342 w 859464"/>
                    <a:gd name="connsiteY1467" fmla="*/ 185811 h 798932"/>
                    <a:gd name="connsiteX1468" fmla="*/ 96755 w 859464"/>
                    <a:gd name="connsiteY1468" fmla="*/ 186613 h 798932"/>
                    <a:gd name="connsiteX1469" fmla="*/ 97192 w 859464"/>
                    <a:gd name="connsiteY1469" fmla="*/ 187475 h 798932"/>
                    <a:gd name="connsiteX1470" fmla="*/ 97872 w 859464"/>
                    <a:gd name="connsiteY1470" fmla="*/ 188155 h 798932"/>
                    <a:gd name="connsiteX1471" fmla="*/ 98504 w 859464"/>
                    <a:gd name="connsiteY1471" fmla="*/ 188786 h 798932"/>
                    <a:gd name="connsiteX1472" fmla="*/ 99936 w 859464"/>
                    <a:gd name="connsiteY1472" fmla="*/ 190195 h 798932"/>
                    <a:gd name="connsiteX1473" fmla="*/ 101928 w 859464"/>
                    <a:gd name="connsiteY1473" fmla="*/ 190474 h 798932"/>
                    <a:gd name="connsiteX1474" fmla="*/ 103191 w 859464"/>
                    <a:gd name="connsiteY1474" fmla="*/ 190657 h 798932"/>
                    <a:gd name="connsiteX1475" fmla="*/ 103336 w 859464"/>
                    <a:gd name="connsiteY1475" fmla="*/ 190681 h 798932"/>
                    <a:gd name="connsiteX1476" fmla="*/ 103446 w 859464"/>
                    <a:gd name="connsiteY1476" fmla="*/ 191555 h 798932"/>
                    <a:gd name="connsiteX1477" fmla="*/ 104113 w 859464"/>
                    <a:gd name="connsiteY1477" fmla="*/ 192660 h 798932"/>
                    <a:gd name="connsiteX1478" fmla="*/ 104587 w 859464"/>
                    <a:gd name="connsiteY1478" fmla="*/ 193449 h 798932"/>
                    <a:gd name="connsiteX1479" fmla="*/ 105267 w 859464"/>
                    <a:gd name="connsiteY1479" fmla="*/ 194591 h 798932"/>
                    <a:gd name="connsiteX1480" fmla="*/ 106360 w 859464"/>
                    <a:gd name="connsiteY1480" fmla="*/ 195344 h 798932"/>
                    <a:gd name="connsiteX1481" fmla="*/ 107441 w 859464"/>
                    <a:gd name="connsiteY1481" fmla="*/ 196097 h 798932"/>
                    <a:gd name="connsiteX1482" fmla="*/ 108364 w 859464"/>
                    <a:gd name="connsiteY1482" fmla="*/ 196728 h 798932"/>
                    <a:gd name="connsiteX1483" fmla="*/ 109456 w 859464"/>
                    <a:gd name="connsiteY1483" fmla="*/ 196995 h 798932"/>
                    <a:gd name="connsiteX1484" fmla="*/ 109821 w 859464"/>
                    <a:gd name="connsiteY1484" fmla="*/ 197080 h 798932"/>
                    <a:gd name="connsiteX1485" fmla="*/ 110015 w 859464"/>
                    <a:gd name="connsiteY1485" fmla="*/ 198756 h 798932"/>
                    <a:gd name="connsiteX1486" fmla="*/ 110064 w 859464"/>
                    <a:gd name="connsiteY1486" fmla="*/ 199193 h 798932"/>
                    <a:gd name="connsiteX1487" fmla="*/ 110173 w 859464"/>
                    <a:gd name="connsiteY1487" fmla="*/ 199606 h 798932"/>
                    <a:gd name="connsiteX1488" fmla="*/ 110537 w 859464"/>
                    <a:gd name="connsiteY1488" fmla="*/ 200954 h 798932"/>
                    <a:gd name="connsiteX1489" fmla="*/ 110938 w 859464"/>
                    <a:gd name="connsiteY1489" fmla="*/ 202459 h 798932"/>
                    <a:gd name="connsiteX1490" fmla="*/ 112006 w 859464"/>
                    <a:gd name="connsiteY1490" fmla="*/ 203588 h 798932"/>
                    <a:gd name="connsiteX1491" fmla="*/ 114289 w 859464"/>
                    <a:gd name="connsiteY1491" fmla="*/ 205969 h 798932"/>
                    <a:gd name="connsiteX1492" fmla="*/ 114690 w 859464"/>
                    <a:gd name="connsiteY1492" fmla="*/ 206381 h 798932"/>
                    <a:gd name="connsiteX1493" fmla="*/ 115164 w 859464"/>
                    <a:gd name="connsiteY1493" fmla="*/ 206722 h 798932"/>
                    <a:gd name="connsiteX1494" fmla="*/ 119717 w 859464"/>
                    <a:gd name="connsiteY1494" fmla="*/ 209939 h 798932"/>
                    <a:gd name="connsiteX1495" fmla="*/ 118054 w 859464"/>
                    <a:gd name="connsiteY1495" fmla="*/ 210668 h 798932"/>
                    <a:gd name="connsiteX1496" fmla="*/ 117665 w 859464"/>
                    <a:gd name="connsiteY1496" fmla="*/ 210838 h 798932"/>
                    <a:gd name="connsiteX1497" fmla="*/ 117301 w 859464"/>
                    <a:gd name="connsiteY1497" fmla="*/ 211057 h 798932"/>
                    <a:gd name="connsiteX1498" fmla="*/ 115018 w 859464"/>
                    <a:gd name="connsiteY1498" fmla="*/ 212441 h 798932"/>
                    <a:gd name="connsiteX1499" fmla="*/ 113245 w 859464"/>
                    <a:gd name="connsiteY1499" fmla="*/ 213267 h 798932"/>
                    <a:gd name="connsiteX1500" fmla="*/ 111897 w 859464"/>
                    <a:gd name="connsiteY1500" fmla="*/ 213898 h 798932"/>
                    <a:gd name="connsiteX1501" fmla="*/ 110998 w 859464"/>
                    <a:gd name="connsiteY1501" fmla="*/ 215088 h 798932"/>
                    <a:gd name="connsiteX1502" fmla="*/ 109323 w 859464"/>
                    <a:gd name="connsiteY1502" fmla="*/ 217274 h 798932"/>
                    <a:gd name="connsiteX1503" fmla="*/ 109092 w 859464"/>
                    <a:gd name="connsiteY1503" fmla="*/ 217565 h 798932"/>
                    <a:gd name="connsiteX1504" fmla="*/ 108898 w 859464"/>
                    <a:gd name="connsiteY1504" fmla="*/ 217881 h 798932"/>
                    <a:gd name="connsiteX1505" fmla="*/ 106833 w 859464"/>
                    <a:gd name="connsiteY1505" fmla="*/ 221414 h 798932"/>
                    <a:gd name="connsiteX1506" fmla="*/ 106676 w 859464"/>
                    <a:gd name="connsiteY1506" fmla="*/ 221694 h 798932"/>
                    <a:gd name="connsiteX1507" fmla="*/ 106542 w 859464"/>
                    <a:gd name="connsiteY1507" fmla="*/ 221985 h 798932"/>
                    <a:gd name="connsiteX1508" fmla="*/ 101478 w 859464"/>
                    <a:gd name="connsiteY1508" fmla="*/ 233266 h 798932"/>
                    <a:gd name="connsiteX1509" fmla="*/ 99013 w 859464"/>
                    <a:gd name="connsiteY1509" fmla="*/ 233011 h 798932"/>
                    <a:gd name="connsiteX1510" fmla="*/ 98455 w 859464"/>
                    <a:gd name="connsiteY1510" fmla="*/ 232962 h 798932"/>
                    <a:gd name="connsiteX1511" fmla="*/ 97896 w 859464"/>
                    <a:gd name="connsiteY1511" fmla="*/ 233011 h 798932"/>
                    <a:gd name="connsiteX1512" fmla="*/ 96002 w 859464"/>
                    <a:gd name="connsiteY1512" fmla="*/ 233181 h 798932"/>
                    <a:gd name="connsiteX1513" fmla="*/ 95213 w 859464"/>
                    <a:gd name="connsiteY1513" fmla="*/ 233254 h 798932"/>
                    <a:gd name="connsiteX1514" fmla="*/ 94460 w 859464"/>
                    <a:gd name="connsiteY1514" fmla="*/ 233521 h 798932"/>
                    <a:gd name="connsiteX1515" fmla="*/ 92396 w 859464"/>
                    <a:gd name="connsiteY1515" fmla="*/ 234274 h 798932"/>
                    <a:gd name="connsiteX1516" fmla="*/ 91376 w 859464"/>
                    <a:gd name="connsiteY1516" fmla="*/ 234638 h 798932"/>
                    <a:gd name="connsiteX1517" fmla="*/ 90550 w 859464"/>
                    <a:gd name="connsiteY1517" fmla="*/ 235342 h 798932"/>
                    <a:gd name="connsiteX1518" fmla="*/ 88000 w 859464"/>
                    <a:gd name="connsiteY1518" fmla="*/ 237480 h 798932"/>
                    <a:gd name="connsiteX1519" fmla="*/ 87283 w 859464"/>
                    <a:gd name="connsiteY1519" fmla="*/ 238087 h 798932"/>
                    <a:gd name="connsiteX1520" fmla="*/ 86785 w 859464"/>
                    <a:gd name="connsiteY1520" fmla="*/ 238864 h 798932"/>
                    <a:gd name="connsiteX1521" fmla="*/ 85523 w 859464"/>
                    <a:gd name="connsiteY1521" fmla="*/ 240880 h 798932"/>
                    <a:gd name="connsiteX1522" fmla="*/ 84928 w 859464"/>
                    <a:gd name="connsiteY1522" fmla="*/ 241827 h 798932"/>
                    <a:gd name="connsiteX1523" fmla="*/ 84709 w 859464"/>
                    <a:gd name="connsiteY1523" fmla="*/ 242920 h 798932"/>
                    <a:gd name="connsiteX1524" fmla="*/ 84321 w 859464"/>
                    <a:gd name="connsiteY1524" fmla="*/ 244838 h 798932"/>
                    <a:gd name="connsiteX1525" fmla="*/ 84090 w 859464"/>
                    <a:gd name="connsiteY1525" fmla="*/ 245943 h 798932"/>
                    <a:gd name="connsiteX1526" fmla="*/ 84272 w 859464"/>
                    <a:gd name="connsiteY1526" fmla="*/ 247060 h 798932"/>
                    <a:gd name="connsiteX1527" fmla="*/ 84612 w 859464"/>
                    <a:gd name="connsiteY1527" fmla="*/ 249100 h 798932"/>
                    <a:gd name="connsiteX1528" fmla="*/ 84685 w 859464"/>
                    <a:gd name="connsiteY1528" fmla="*/ 249562 h 798932"/>
                    <a:gd name="connsiteX1529" fmla="*/ 84830 w 859464"/>
                    <a:gd name="connsiteY1529" fmla="*/ 249999 h 798932"/>
                    <a:gd name="connsiteX1530" fmla="*/ 85231 w 859464"/>
                    <a:gd name="connsiteY1530" fmla="*/ 251225 h 798932"/>
                    <a:gd name="connsiteX1531" fmla="*/ 85438 w 859464"/>
                    <a:gd name="connsiteY1531" fmla="*/ 252585 h 798932"/>
                    <a:gd name="connsiteX1532" fmla="*/ 85413 w 859464"/>
                    <a:gd name="connsiteY1532" fmla="*/ 254212 h 798932"/>
                    <a:gd name="connsiteX1533" fmla="*/ 84418 w 859464"/>
                    <a:gd name="connsiteY1533" fmla="*/ 257880 h 798932"/>
                    <a:gd name="connsiteX1534" fmla="*/ 83750 w 859464"/>
                    <a:gd name="connsiteY1534" fmla="*/ 259300 h 798932"/>
                    <a:gd name="connsiteX1535" fmla="*/ 83422 w 859464"/>
                    <a:gd name="connsiteY1535" fmla="*/ 259701 h 798932"/>
                    <a:gd name="connsiteX1536" fmla="*/ 83373 w 859464"/>
                    <a:gd name="connsiteY1536" fmla="*/ 259738 h 798932"/>
                    <a:gd name="connsiteX1537" fmla="*/ 82608 w 859464"/>
                    <a:gd name="connsiteY1537" fmla="*/ 259980 h 798932"/>
                    <a:gd name="connsiteX1538" fmla="*/ 81163 w 859464"/>
                    <a:gd name="connsiteY1538" fmla="*/ 260223 h 798932"/>
                    <a:gd name="connsiteX1539" fmla="*/ 74060 w 859464"/>
                    <a:gd name="connsiteY1539" fmla="*/ 260673 h 798932"/>
                    <a:gd name="connsiteX1540" fmla="*/ 73477 w 859464"/>
                    <a:gd name="connsiteY1540" fmla="*/ 260721 h 798932"/>
                    <a:gd name="connsiteX1541" fmla="*/ 72918 w 859464"/>
                    <a:gd name="connsiteY1541" fmla="*/ 260867 h 798932"/>
                    <a:gd name="connsiteX1542" fmla="*/ 71315 w 859464"/>
                    <a:gd name="connsiteY1542" fmla="*/ 261292 h 798932"/>
                    <a:gd name="connsiteX1543" fmla="*/ 70793 w 859464"/>
                    <a:gd name="connsiteY1543" fmla="*/ 261437 h 798932"/>
                    <a:gd name="connsiteX1544" fmla="*/ 70308 w 859464"/>
                    <a:gd name="connsiteY1544" fmla="*/ 261668 h 798932"/>
                    <a:gd name="connsiteX1545" fmla="*/ 68705 w 859464"/>
                    <a:gd name="connsiteY1545" fmla="*/ 262421 h 798932"/>
                    <a:gd name="connsiteX1546" fmla="*/ 67891 w 859464"/>
                    <a:gd name="connsiteY1546" fmla="*/ 262797 h 798932"/>
                    <a:gd name="connsiteX1547" fmla="*/ 67223 w 859464"/>
                    <a:gd name="connsiteY1547" fmla="*/ 263393 h 798932"/>
                    <a:gd name="connsiteX1548" fmla="*/ 65377 w 859464"/>
                    <a:gd name="connsiteY1548" fmla="*/ 265044 h 798932"/>
                    <a:gd name="connsiteX1549" fmla="*/ 64843 w 859464"/>
                    <a:gd name="connsiteY1549" fmla="*/ 265530 h 798932"/>
                    <a:gd name="connsiteX1550" fmla="*/ 64430 w 859464"/>
                    <a:gd name="connsiteY1550" fmla="*/ 266125 h 798932"/>
                    <a:gd name="connsiteX1551" fmla="*/ 63289 w 859464"/>
                    <a:gd name="connsiteY1551" fmla="*/ 267788 h 798932"/>
                    <a:gd name="connsiteX1552" fmla="*/ 63058 w 859464"/>
                    <a:gd name="connsiteY1552" fmla="*/ 268116 h 798932"/>
                    <a:gd name="connsiteX1553" fmla="*/ 62876 w 859464"/>
                    <a:gd name="connsiteY1553" fmla="*/ 268468 h 798932"/>
                    <a:gd name="connsiteX1554" fmla="*/ 62111 w 859464"/>
                    <a:gd name="connsiteY1554" fmla="*/ 269962 h 798932"/>
                    <a:gd name="connsiteX1555" fmla="*/ 61710 w 859464"/>
                    <a:gd name="connsiteY1555" fmla="*/ 270484 h 798932"/>
                    <a:gd name="connsiteX1556" fmla="*/ 59027 w 859464"/>
                    <a:gd name="connsiteY1556" fmla="*/ 273058 h 798932"/>
                    <a:gd name="connsiteX1557" fmla="*/ 58468 w 859464"/>
                    <a:gd name="connsiteY1557" fmla="*/ 273593 h 798932"/>
                    <a:gd name="connsiteX1558" fmla="*/ 58068 w 859464"/>
                    <a:gd name="connsiteY1558" fmla="*/ 274248 h 798932"/>
                    <a:gd name="connsiteX1559" fmla="*/ 57193 w 859464"/>
                    <a:gd name="connsiteY1559" fmla="*/ 275657 h 798932"/>
                    <a:gd name="connsiteX1560" fmla="*/ 55347 w 859464"/>
                    <a:gd name="connsiteY1560" fmla="*/ 278632 h 798932"/>
                    <a:gd name="connsiteX1561" fmla="*/ 56720 w 859464"/>
                    <a:gd name="connsiteY1561" fmla="*/ 281182 h 798932"/>
                    <a:gd name="connsiteX1562" fmla="*/ 56562 w 859464"/>
                    <a:gd name="connsiteY1562" fmla="*/ 281401 h 798932"/>
                    <a:gd name="connsiteX1563" fmla="*/ 56270 w 859464"/>
                    <a:gd name="connsiteY1563" fmla="*/ 282178 h 798932"/>
                    <a:gd name="connsiteX1564" fmla="*/ 55748 w 859464"/>
                    <a:gd name="connsiteY1564" fmla="*/ 283586 h 798932"/>
                    <a:gd name="connsiteX1565" fmla="*/ 55457 w 859464"/>
                    <a:gd name="connsiteY1565" fmla="*/ 284376 h 798932"/>
                    <a:gd name="connsiteX1566" fmla="*/ 55396 w 859464"/>
                    <a:gd name="connsiteY1566" fmla="*/ 285213 h 798932"/>
                    <a:gd name="connsiteX1567" fmla="*/ 55105 w 859464"/>
                    <a:gd name="connsiteY1567" fmla="*/ 289002 h 798932"/>
                    <a:gd name="connsiteX1568" fmla="*/ 54692 w 859464"/>
                    <a:gd name="connsiteY1568" fmla="*/ 290641 h 798932"/>
                    <a:gd name="connsiteX1569" fmla="*/ 54388 w 859464"/>
                    <a:gd name="connsiteY1569" fmla="*/ 291151 h 798932"/>
                    <a:gd name="connsiteX1570" fmla="*/ 53878 w 859464"/>
                    <a:gd name="connsiteY1570" fmla="*/ 291661 h 798932"/>
                    <a:gd name="connsiteX1571" fmla="*/ 52482 w 859464"/>
                    <a:gd name="connsiteY1571" fmla="*/ 292560 h 798932"/>
                    <a:gd name="connsiteX1572" fmla="*/ 49932 w 859464"/>
                    <a:gd name="connsiteY1572" fmla="*/ 294539 h 798932"/>
                    <a:gd name="connsiteX1573" fmla="*/ 49482 w 859464"/>
                    <a:gd name="connsiteY1573" fmla="*/ 294891 h 798932"/>
                    <a:gd name="connsiteX1574" fmla="*/ 49118 w 859464"/>
                    <a:gd name="connsiteY1574" fmla="*/ 295316 h 798932"/>
                    <a:gd name="connsiteX1575" fmla="*/ 48207 w 859464"/>
                    <a:gd name="connsiteY1575" fmla="*/ 296373 h 798932"/>
                    <a:gd name="connsiteX1576" fmla="*/ 46981 w 859464"/>
                    <a:gd name="connsiteY1576" fmla="*/ 297781 h 798932"/>
                    <a:gd name="connsiteX1577" fmla="*/ 46762 w 859464"/>
                    <a:gd name="connsiteY1577" fmla="*/ 299639 h 798932"/>
                    <a:gd name="connsiteX1578" fmla="*/ 46592 w 859464"/>
                    <a:gd name="connsiteY1578" fmla="*/ 301133 h 798932"/>
                    <a:gd name="connsiteX1579" fmla="*/ 46167 w 859464"/>
                    <a:gd name="connsiteY1579" fmla="*/ 304788 h 798932"/>
                    <a:gd name="connsiteX1580" fmla="*/ 49203 w 859464"/>
                    <a:gd name="connsiteY1580" fmla="*/ 306852 h 798932"/>
                    <a:gd name="connsiteX1581" fmla="*/ 56610 w 859464"/>
                    <a:gd name="connsiteY1581" fmla="*/ 311891 h 798932"/>
                    <a:gd name="connsiteX1582" fmla="*/ 55894 w 859464"/>
                    <a:gd name="connsiteY1582" fmla="*/ 314332 h 798932"/>
                    <a:gd name="connsiteX1583" fmla="*/ 53975 w 859464"/>
                    <a:gd name="connsiteY1583" fmla="*/ 320865 h 798932"/>
                    <a:gd name="connsiteX1584" fmla="*/ 60302 w 859464"/>
                    <a:gd name="connsiteY1584" fmla="*/ 321958 h 798932"/>
                    <a:gd name="connsiteX1585" fmla="*/ 61358 w 859464"/>
                    <a:gd name="connsiteY1585" fmla="*/ 322516 h 798932"/>
                    <a:gd name="connsiteX1586" fmla="*/ 61285 w 859464"/>
                    <a:gd name="connsiteY1586" fmla="*/ 322650 h 798932"/>
                    <a:gd name="connsiteX1587" fmla="*/ 61164 w 859464"/>
                    <a:gd name="connsiteY1587" fmla="*/ 322990 h 798932"/>
                    <a:gd name="connsiteX1588" fmla="*/ 60302 w 859464"/>
                    <a:gd name="connsiteY1588" fmla="*/ 325370 h 798932"/>
                    <a:gd name="connsiteX1589" fmla="*/ 60095 w 859464"/>
                    <a:gd name="connsiteY1589" fmla="*/ 325953 h 798932"/>
                    <a:gd name="connsiteX1590" fmla="*/ 60010 w 859464"/>
                    <a:gd name="connsiteY1590" fmla="*/ 326560 h 798932"/>
                    <a:gd name="connsiteX1591" fmla="*/ 59549 w 859464"/>
                    <a:gd name="connsiteY1591" fmla="*/ 329632 h 798932"/>
                    <a:gd name="connsiteX1592" fmla="*/ 59440 w 859464"/>
                    <a:gd name="connsiteY1592" fmla="*/ 330397 h 798932"/>
                    <a:gd name="connsiteX1593" fmla="*/ 59525 w 859464"/>
                    <a:gd name="connsiteY1593" fmla="*/ 331174 h 798932"/>
                    <a:gd name="connsiteX1594" fmla="*/ 59743 w 859464"/>
                    <a:gd name="connsiteY1594" fmla="*/ 333129 h 798932"/>
                    <a:gd name="connsiteX1595" fmla="*/ 59840 w 859464"/>
                    <a:gd name="connsiteY1595" fmla="*/ 334016 h 798932"/>
                    <a:gd name="connsiteX1596" fmla="*/ 60193 w 859464"/>
                    <a:gd name="connsiteY1596" fmla="*/ 334842 h 798932"/>
                    <a:gd name="connsiteX1597" fmla="*/ 63933 w 859464"/>
                    <a:gd name="connsiteY1597" fmla="*/ 343585 h 798932"/>
                    <a:gd name="connsiteX1598" fmla="*/ 65122 w 859464"/>
                    <a:gd name="connsiteY1598" fmla="*/ 349705 h 798932"/>
                    <a:gd name="connsiteX1599" fmla="*/ 64430 w 859464"/>
                    <a:gd name="connsiteY1599" fmla="*/ 349838 h 798932"/>
                    <a:gd name="connsiteX1600" fmla="*/ 63775 w 859464"/>
                    <a:gd name="connsiteY1600" fmla="*/ 350130 h 798932"/>
                    <a:gd name="connsiteX1601" fmla="*/ 62524 w 859464"/>
                    <a:gd name="connsiteY1601" fmla="*/ 350700 h 798932"/>
                    <a:gd name="connsiteX1602" fmla="*/ 61273 w 859464"/>
                    <a:gd name="connsiteY1602" fmla="*/ 351271 h 798932"/>
                    <a:gd name="connsiteX1603" fmla="*/ 60387 w 859464"/>
                    <a:gd name="connsiteY1603" fmla="*/ 352315 h 798932"/>
                    <a:gd name="connsiteX1604" fmla="*/ 59537 w 859464"/>
                    <a:gd name="connsiteY1604" fmla="*/ 353323 h 798932"/>
                    <a:gd name="connsiteX1605" fmla="*/ 58796 w 859464"/>
                    <a:gd name="connsiteY1605" fmla="*/ 354197 h 798932"/>
                    <a:gd name="connsiteX1606" fmla="*/ 58432 w 859464"/>
                    <a:gd name="connsiteY1606" fmla="*/ 355290 h 798932"/>
                    <a:gd name="connsiteX1607" fmla="*/ 57800 w 859464"/>
                    <a:gd name="connsiteY1607" fmla="*/ 357148 h 798932"/>
                    <a:gd name="connsiteX1608" fmla="*/ 57339 w 859464"/>
                    <a:gd name="connsiteY1608" fmla="*/ 358520 h 798932"/>
                    <a:gd name="connsiteX1609" fmla="*/ 57545 w 859464"/>
                    <a:gd name="connsiteY1609" fmla="*/ 359941 h 798932"/>
                    <a:gd name="connsiteX1610" fmla="*/ 57764 w 859464"/>
                    <a:gd name="connsiteY1610" fmla="*/ 361435 h 798932"/>
                    <a:gd name="connsiteX1611" fmla="*/ 57910 w 859464"/>
                    <a:gd name="connsiteY1611" fmla="*/ 362442 h 798932"/>
                    <a:gd name="connsiteX1612" fmla="*/ 58383 w 859464"/>
                    <a:gd name="connsiteY1612" fmla="*/ 363341 h 798932"/>
                    <a:gd name="connsiteX1613" fmla="*/ 59136 w 859464"/>
                    <a:gd name="connsiteY1613" fmla="*/ 364810 h 798932"/>
                    <a:gd name="connsiteX1614" fmla="*/ 59682 w 859464"/>
                    <a:gd name="connsiteY1614" fmla="*/ 365891 h 798932"/>
                    <a:gd name="connsiteX1615" fmla="*/ 60605 w 859464"/>
                    <a:gd name="connsiteY1615" fmla="*/ 366668 h 798932"/>
                    <a:gd name="connsiteX1616" fmla="*/ 66094 w 859464"/>
                    <a:gd name="connsiteY1616" fmla="*/ 371331 h 798932"/>
                    <a:gd name="connsiteX1617" fmla="*/ 66895 w 859464"/>
                    <a:gd name="connsiteY1617" fmla="*/ 372387 h 798932"/>
                    <a:gd name="connsiteX1618" fmla="*/ 67940 w 859464"/>
                    <a:gd name="connsiteY1618" fmla="*/ 374646 h 798932"/>
                    <a:gd name="connsiteX1619" fmla="*/ 69567 w 859464"/>
                    <a:gd name="connsiteY1619" fmla="*/ 379698 h 798932"/>
                    <a:gd name="connsiteX1620" fmla="*/ 70308 w 859464"/>
                    <a:gd name="connsiteY1620" fmla="*/ 384871 h 798932"/>
                    <a:gd name="connsiteX1621" fmla="*/ 70380 w 859464"/>
                    <a:gd name="connsiteY1621" fmla="*/ 386376 h 798932"/>
                    <a:gd name="connsiteX1622" fmla="*/ 70380 w 859464"/>
                    <a:gd name="connsiteY1622" fmla="*/ 386401 h 798932"/>
                    <a:gd name="connsiteX1623" fmla="*/ 59986 w 859464"/>
                    <a:gd name="connsiteY1623" fmla="*/ 396249 h 798932"/>
                    <a:gd name="connsiteX1624" fmla="*/ 58930 w 859464"/>
                    <a:gd name="connsiteY1624" fmla="*/ 397001 h 798932"/>
                    <a:gd name="connsiteX1625" fmla="*/ 57825 w 859464"/>
                    <a:gd name="connsiteY1625" fmla="*/ 397536 h 798932"/>
                    <a:gd name="connsiteX1626" fmla="*/ 56343 w 859464"/>
                    <a:gd name="connsiteY1626" fmla="*/ 398070 h 798932"/>
                    <a:gd name="connsiteX1627" fmla="*/ 56015 w 859464"/>
                    <a:gd name="connsiteY1627" fmla="*/ 398191 h 798932"/>
                    <a:gd name="connsiteX1628" fmla="*/ 55700 w 859464"/>
                    <a:gd name="connsiteY1628" fmla="*/ 398361 h 798932"/>
                    <a:gd name="connsiteX1629" fmla="*/ 54437 w 859464"/>
                    <a:gd name="connsiteY1629" fmla="*/ 398993 h 798932"/>
                    <a:gd name="connsiteX1630" fmla="*/ 53720 w 859464"/>
                    <a:gd name="connsiteY1630" fmla="*/ 399345 h 798932"/>
                    <a:gd name="connsiteX1631" fmla="*/ 53125 w 859464"/>
                    <a:gd name="connsiteY1631" fmla="*/ 399867 h 798932"/>
                    <a:gd name="connsiteX1632" fmla="*/ 51692 w 859464"/>
                    <a:gd name="connsiteY1632" fmla="*/ 401130 h 798932"/>
                    <a:gd name="connsiteX1633" fmla="*/ 51182 w 859464"/>
                    <a:gd name="connsiteY1633" fmla="*/ 401591 h 798932"/>
                    <a:gd name="connsiteX1634" fmla="*/ 50782 w 859464"/>
                    <a:gd name="connsiteY1634" fmla="*/ 402138 h 798932"/>
                    <a:gd name="connsiteX1635" fmla="*/ 49288 w 859464"/>
                    <a:gd name="connsiteY1635" fmla="*/ 404226 h 798932"/>
                    <a:gd name="connsiteX1636" fmla="*/ 48936 w 859464"/>
                    <a:gd name="connsiteY1636" fmla="*/ 404712 h 798932"/>
                    <a:gd name="connsiteX1637" fmla="*/ 48693 w 859464"/>
                    <a:gd name="connsiteY1637" fmla="*/ 405246 h 798932"/>
                    <a:gd name="connsiteX1638" fmla="*/ 47552 w 859464"/>
                    <a:gd name="connsiteY1638" fmla="*/ 407748 h 798932"/>
                    <a:gd name="connsiteX1639" fmla="*/ 47297 w 859464"/>
                    <a:gd name="connsiteY1639" fmla="*/ 408294 h 798932"/>
                    <a:gd name="connsiteX1640" fmla="*/ 47163 w 859464"/>
                    <a:gd name="connsiteY1640" fmla="*/ 408877 h 798932"/>
                    <a:gd name="connsiteX1641" fmla="*/ 46884 w 859464"/>
                    <a:gd name="connsiteY1641" fmla="*/ 410055 h 798932"/>
                    <a:gd name="connsiteX1642" fmla="*/ 46714 w 859464"/>
                    <a:gd name="connsiteY1642" fmla="*/ 410747 h 798932"/>
                    <a:gd name="connsiteX1643" fmla="*/ 46714 w 859464"/>
                    <a:gd name="connsiteY1643" fmla="*/ 411464 h 798932"/>
                    <a:gd name="connsiteX1644" fmla="*/ 46714 w 859464"/>
                    <a:gd name="connsiteY1644" fmla="*/ 412131 h 798932"/>
                    <a:gd name="connsiteX1645" fmla="*/ 46714 w 859464"/>
                    <a:gd name="connsiteY1645" fmla="*/ 414171 h 798932"/>
                    <a:gd name="connsiteX1646" fmla="*/ 47940 w 859464"/>
                    <a:gd name="connsiteY1646" fmla="*/ 415799 h 798932"/>
                    <a:gd name="connsiteX1647" fmla="*/ 48329 w 859464"/>
                    <a:gd name="connsiteY1647" fmla="*/ 416308 h 798932"/>
                    <a:gd name="connsiteX1648" fmla="*/ 49494 w 859464"/>
                    <a:gd name="connsiteY1648" fmla="*/ 417620 h 798932"/>
                    <a:gd name="connsiteX1649" fmla="*/ 49713 w 859464"/>
                    <a:gd name="connsiteY1649" fmla="*/ 417863 h 798932"/>
                    <a:gd name="connsiteX1650" fmla="*/ 49956 w 859464"/>
                    <a:gd name="connsiteY1650" fmla="*/ 418093 h 798932"/>
                    <a:gd name="connsiteX1651" fmla="*/ 52020 w 859464"/>
                    <a:gd name="connsiteY1651" fmla="*/ 419915 h 798932"/>
                    <a:gd name="connsiteX1652" fmla="*/ 52554 w 859464"/>
                    <a:gd name="connsiteY1652" fmla="*/ 420571 h 798932"/>
                    <a:gd name="connsiteX1653" fmla="*/ 52640 w 859464"/>
                    <a:gd name="connsiteY1653" fmla="*/ 420729 h 798932"/>
                    <a:gd name="connsiteX1654" fmla="*/ 46835 w 859464"/>
                    <a:gd name="connsiteY1654" fmla="*/ 423121 h 798932"/>
                    <a:gd name="connsiteX1655" fmla="*/ 46374 w 859464"/>
                    <a:gd name="connsiteY1655" fmla="*/ 423315 h 798932"/>
                    <a:gd name="connsiteX1656" fmla="*/ 45961 w 859464"/>
                    <a:gd name="connsiteY1656" fmla="*/ 423570 h 798932"/>
                    <a:gd name="connsiteX1657" fmla="*/ 44006 w 859464"/>
                    <a:gd name="connsiteY1657" fmla="*/ 424784 h 798932"/>
                    <a:gd name="connsiteX1658" fmla="*/ 43314 w 859464"/>
                    <a:gd name="connsiteY1658" fmla="*/ 425209 h 798932"/>
                    <a:gd name="connsiteX1659" fmla="*/ 42755 w 859464"/>
                    <a:gd name="connsiteY1659" fmla="*/ 425804 h 798932"/>
                    <a:gd name="connsiteX1660" fmla="*/ 41505 w 859464"/>
                    <a:gd name="connsiteY1660" fmla="*/ 427140 h 798932"/>
                    <a:gd name="connsiteX1661" fmla="*/ 40825 w 859464"/>
                    <a:gd name="connsiteY1661" fmla="*/ 427868 h 798932"/>
                    <a:gd name="connsiteX1662" fmla="*/ 40412 w 859464"/>
                    <a:gd name="connsiteY1662" fmla="*/ 428767 h 798932"/>
                    <a:gd name="connsiteX1663" fmla="*/ 38566 w 859464"/>
                    <a:gd name="connsiteY1663" fmla="*/ 432823 h 798932"/>
                    <a:gd name="connsiteX1664" fmla="*/ 33636 w 859464"/>
                    <a:gd name="connsiteY1664" fmla="*/ 439380 h 798932"/>
                    <a:gd name="connsiteX1665" fmla="*/ 33381 w 859464"/>
                    <a:gd name="connsiteY1665" fmla="*/ 439708 h 798932"/>
                    <a:gd name="connsiteX1666" fmla="*/ 33186 w 859464"/>
                    <a:gd name="connsiteY1666" fmla="*/ 440060 h 798932"/>
                    <a:gd name="connsiteX1667" fmla="*/ 30819 w 859464"/>
                    <a:gd name="connsiteY1667" fmla="*/ 444286 h 798932"/>
                    <a:gd name="connsiteX1668" fmla="*/ 29070 w 859464"/>
                    <a:gd name="connsiteY1668" fmla="*/ 447407 h 798932"/>
                    <a:gd name="connsiteX1669" fmla="*/ 30952 w 859464"/>
                    <a:gd name="connsiteY1669" fmla="*/ 450455 h 798932"/>
                    <a:gd name="connsiteX1670" fmla="*/ 33138 w 859464"/>
                    <a:gd name="connsiteY1670" fmla="*/ 453988 h 798932"/>
                    <a:gd name="connsiteX1671" fmla="*/ 34170 w 859464"/>
                    <a:gd name="connsiteY1671" fmla="*/ 455652 h 798932"/>
                    <a:gd name="connsiteX1672" fmla="*/ 35979 w 859464"/>
                    <a:gd name="connsiteY1672" fmla="*/ 456404 h 798932"/>
                    <a:gd name="connsiteX1673" fmla="*/ 41990 w 859464"/>
                    <a:gd name="connsiteY1673" fmla="*/ 458882 h 798932"/>
                    <a:gd name="connsiteX1674" fmla="*/ 43775 w 859464"/>
                    <a:gd name="connsiteY1674" fmla="*/ 459865 h 798932"/>
                    <a:gd name="connsiteX1675" fmla="*/ 46252 w 859464"/>
                    <a:gd name="connsiteY1675" fmla="*/ 461723 h 798932"/>
                    <a:gd name="connsiteX1676" fmla="*/ 46774 w 859464"/>
                    <a:gd name="connsiteY1676" fmla="*/ 462112 h 798932"/>
                    <a:gd name="connsiteX1677" fmla="*/ 47357 w 859464"/>
                    <a:gd name="connsiteY1677" fmla="*/ 462379 h 798932"/>
                    <a:gd name="connsiteX1678" fmla="*/ 48851 w 859464"/>
                    <a:gd name="connsiteY1678" fmla="*/ 463071 h 798932"/>
                    <a:gd name="connsiteX1679" fmla="*/ 49689 w 859464"/>
                    <a:gd name="connsiteY1679" fmla="*/ 463448 h 798932"/>
                    <a:gd name="connsiteX1680" fmla="*/ 50600 w 859464"/>
                    <a:gd name="connsiteY1680" fmla="*/ 463569 h 798932"/>
                    <a:gd name="connsiteX1681" fmla="*/ 52542 w 859464"/>
                    <a:gd name="connsiteY1681" fmla="*/ 463824 h 798932"/>
                    <a:gd name="connsiteX1682" fmla="*/ 53004 w 859464"/>
                    <a:gd name="connsiteY1682" fmla="*/ 463897 h 798932"/>
                    <a:gd name="connsiteX1683" fmla="*/ 53477 w 859464"/>
                    <a:gd name="connsiteY1683" fmla="*/ 463884 h 798932"/>
                    <a:gd name="connsiteX1684" fmla="*/ 54400 w 859464"/>
                    <a:gd name="connsiteY1684" fmla="*/ 463860 h 798932"/>
                    <a:gd name="connsiteX1685" fmla="*/ 54400 w 859464"/>
                    <a:gd name="connsiteY1685" fmla="*/ 463860 h 798932"/>
                    <a:gd name="connsiteX1686" fmla="*/ 55250 w 859464"/>
                    <a:gd name="connsiteY1686" fmla="*/ 463860 h 798932"/>
                    <a:gd name="connsiteX1687" fmla="*/ 58577 w 859464"/>
                    <a:gd name="connsiteY1687" fmla="*/ 464285 h 798932"/>
                    <a:gd name="connsiteX1688" fmla="*/ 59063 w 859464"/>
                    <a:gd name="connsiteY1688" fmla="*/ 464358 h 798932"/>
                    <a:gd name="connsiteX1689" fmla="*/ 59561 w 859464"/>
                    <a:gd name="connsiteY1689" fmla="*/ 464346 h 798932"/>
                    <a:gd name="connsiteX1690" fmla="*/ 61613 w 859464"/>
                    <a:gd name="connsiteY1690" fmla="*/ 464285 h 798932"/>
                    <a:gd name="connsiteX1691" fmla="*/ 61953 w 859464"/>
                    <a:gd name="connsiteY1691" fmla="*/ 464273 h 798932"/>
                    <a:gd name="connsiteX1692" fmla="*/ 62293 w 859464"/>
                    <a:gd name="connsiteY1692" fmla="*/ 464225 h 798932"/>
                    <a:gd name="connsiteX1693" fmla="*/ 63265 w 859464"/>
                    <a:gd name="connsiteY1693" fmla="*/ 464079 h 798932"/>
                    <a:gd name="connsiteX1694" fmla="*/ 63265 w 859464"/>
                    <a:gd name="connsiteY1694" fmla="*/ 464091 h 798932"/>
                    <a:gd name="connsiteX1695" fmla="*/ 63617 w 859464"/>
                    <a:gd name="connsiteY1695" fmla="*/ 464042 h 798932"/>
                    <a:gd name="connsiteX1696" fmla="*/ 63872 w 859464"/>
                    <a:gd name="connsiteY1696" fmla="*/ 465087 h 798932"/>
                    <a:gd name="connsiteX1697" fmla="*/ 65025 w 859464"/>
                    <a:gd name="connsiteY1697" fmla="*/ 466277 h 798932"/>
                    <a:gd name="connsiteX1698" fmla="*/ 65778 w 859464"/>
                    <a:gd name="connsiteY1698" fmla="*/ 467054 h 798932"/>
                    <a:gd name="connsiteX1699" fmla="*/ 66434 w 859464"/>
                    <a:gd name="connsiteY1699" fmla="*/ 467734 h 798932"/>
                    <a:gd name="connsiteX1700" fmla="*/ 67260 w 859464"/>
                    <a:gd name="connsiteY1700" fmla="*/ 468183 h 798932"/>
                    <a:gd name="connsiteX1701" fmla="*/ 68340 w 859464"/>
                    <a:gd name="connsiteY1701" fmla="*/ 468766 h 798932"/>
                    <a:gd name="connsiteX1702" fmla="*/ 69348 w 859464"/>
                    <a:gd name="connsiteY1702" fmla="*/ 469300 h 798932"/>
                    <a:gd name="connsiteX1703" fmla="*/ 69190 w 859464"/>
                    <a:gd name="connsiteY1703" fmla="*/ 469337 h 798932"/>
                    <a:gd name="connsiteX1704" fmla="*/ 68425 w 859464"/>
                    <a:gd name="connsiteY1704" fmla="*/ 469774 h 798932"/>
                    <a:gd name="connsiteX1705" fmla="*/ 66592 w 859464"/>
                    <a:gd name="connsiteY1705" fmla="*/ 470806 h 798932"/>
                    <a:gd name="connsiteX1706" fmla="*/ 65633 w 859464"/>
                    <a:gd name="connsiteY1706" fmla="*/ 471340 h 798932"/>
                    <a:gd name="connsiteX1707" fmla="*/ 64916 w 859464"/>
                    <a:gd name="connsiteY1707" fmla="*/ 472178 h 798932"/>
                    <a:gd name="connsiteX1708" fmla="*/ 63313 w 859464"/>
                    <a:gd name="connsiteY1708" fmla="*/ 474073 h 798932"/>
                    <a:gd name="connsiteX1709" fmla="*/ 62245 w 859464"/>
                    <a:gd name="connsiteY1709" fmla="*/ 475335 h 798932"/>
                    <a:gd name="connsiteX1710" fmla="*/ 61977 w 859464"/>
                    <a:gd name="connsiteY1710" fmla="*/ 476987 h 798932"/>
                    <a:gd name="connsiteX1711" fmla="*/ 61698 w 859464"/>
                    <a:gd name="connsiteY1711" fmla="*/ 478723 h 798932"/>
                    <a:gd name="connsiteX1712" fmla="*/ 61067 w 859464"/>
                    <a:gd name="connsiteY1712" fmla="*/ 478845 h 798932"/>
                    <a:gd name="connsiteX1713" fmla="*/ 59160 w 859464"/>
                    <a:gd name="connsiteY1713" fmla="*/ 478966 h 798932"/>
                    <a:gd name="connsiteX1714" fmla="*/ 57958 w 859464"/>
                    <a:gd name="connsiteY1714" fmla="*/ 479039 h 798932"/>
                    <a:gd name="connsiteX1715" fmla="*/ 56877 w 859464"/>
                    <a:gd name="connsiteY1715" fmla="*/ 479561 h 798932"/>
                    <a:gd name="connsiteX1716" fmla="*/ 54922 w 859464"/>
                    <a:gd name="connsiteY1716" fmla="*/ 480508 h 798932"/>
                    <a:gd name="connsiteX1717" fmla="*/ 53757 w 859464"/>
                    <a:gd name="connsiteY1717" fmla="*/ 481079 h 798932"/>
                    <a:gd name="connsiteX1718" fmla="*/ 52919 w 859464"/>
                    <a:gd name="connsiteY1718" fmla="*/ 482075 h 798932"/>
                    <a:gd name="connsiteX1719" fmla="*/ 51134 w 859464"/>
                    <a:gd name="connsiteY1719" fmla="*/ 484200 h 798932"/>
                    <a:gd name="connsiteX1720" fmla="*/ 50405 w 859464"/>
                    <a:gd name="connsiteY1720" fmla="*/ 485050 h 798932"/>
                    <a:gd name="connsiteX1721" fmla="*/ 50041 w 859464"/>
                    <a:gd name="connsiteY1721" fmla="*/ 486106 h 798932"/>
                    <a:gd name="connsiteX1722" fmla="*/ 48632 w 859464"/>
                    <a:gd name="connsiteY1722" fmla="*/ 490174 h 798932"/>
                    <a:gd name="connsiteX1723" fmla="*/ 46908 w 859464"/>
                    <a:gd name="connsiteY1723" fmla="*/ 493465 h 798932"/>
                    <a:gd name="connsiteX1724" fmla="*/ 24395 w 859464"/>
                    <a:gd name="connsiteY1724" fmla="*/ 522414 h 798932"/>
                    <a:gd name="connsiteX1725" fmla="*/ 23715 w 859464"/>
                    <a:gd name="connsiteY1725" fmla="*/ 523276 h 798932"/>
                    <a:gd name="connsiteX1726" fmla="*/ 23387 w 859464"/>
                    <a:gd name="connsiteY1726" fmla="*/ 524320 h 798932"/>
                    <a:gd name="connsiteX1727" fmla="*/ 21663 w 859464"/>
                    <a:gd name="connsiteY1727" fmla="*/ 529845 h 798932"/>
                    <a:gd name="connsiteX1728" fmla="*/ 21299 w 859464"/>
                    <a:gd name="connsiteY1728" fmla="*/ 530999 h 798932"/>
                    <a:gd name="connsiteX1729" fmla="*/ 21408 w 859464"/>
                    <a:gd name="connsiteY1729" fmla="*/ 532201 h 798932"/>
                    <a:gd name="connsiteX1730" fmla="*/ 21639 w 859464"/>
                    <a:gd name="connsiteY1730" fmla="*/ 534799 h 798932"/>
                    <a:gd name="connsiteX1731" fmla="*/ 21699 w 859464"/>
                    <a:gd name="connsiteY1731" fmla="*/ 535540 h 798932"/>
                    <a:gd name="connsiteX1732" fmla="*/ 21930 w 859464"/>
                    <a:gd name="connsiteY1732" fmla="*/ 536232 h 798932"/>
                    <a:gd name="connsiteX1733" fmla="*/ 22671 w 859464"/>
                    <a:gd name="connsiteY1733" fmla="*/ 538418 h 798932"/>
                    <a:gd name="connsiteX1734" fmla="*/ 23144 w 859464"/>
                    <a:gd name="connsiteY1734" fmla="*/ 539778 h 798932"/>
                    <a:gd name="connsiteX1735" fmla="*/ 24177 w 859464"/>
                    <a:gd name="connsiteY1735" fmla="*/ 540798 h 798932"/>
                    <a:gd name="connsiteX1736" fmla="*/ 25622 w 859464"/>
                    <a:gd name="connsiteY1736" fmla="*/ 542207 h 798932"/>
                    <a:gd name="connsiteX1737" fmla="*/ 26362 w 859464"/>
                    <a:gd name="connsiteY1737" fmla="*/ 542935 h 798932"/>
                    <a:gd name="connsiteX1738" fmla="*/ 27297 w 859464"/>
                    <a:gd name="connsiteY1738" fmla="*/ 543372 h 798932"/>
                    <a:gd name="connsiteX1739" fmla="*/ 29022 w 859464"/>
                    <a:gd name="connsiteY1739" fmla="*/ 544174 h 798932"/>
                    <a:gd name="connsiteX1740" fmla="*/ 29507 w 859464"/>
                    <a:gd name="connsiteY1740" fmla="*/ 544404 h 798932"/>
                    <a:gd name="connsiteX1741" fmla="*/ 30017 w 859464"/>
                    <a:gd name="connsiteY1741" fmla="*/ 544538 h 798932"/>
                    <a:gd name="connsiteX1742" fmla="*/ 33211 w 859464"/>
                    <a:gd name="connsiteY1742" fmla="*/ 545400 h 798932"/>
                    <a:gd name="connsiteX1743" fmla="*/ 33563 w 859464"/>
                    <a:gd name="connsiteY1743" fmla="*/ 545546 h 798932"/>
                    <a:gd name="connsiteX1744" fmla="*/ 34231 w 859464"/>
                    <a:gd name="connsiteY1744" fmla="*/ 551168 h 798932"/>
                    <a:gd name="connsiteX1745" fmla="*/ 34352 w 859464"/>
                    <a:gd name="connsiteY1745" fmla="*/ 552176 h 798932"/>
                    <a:gd name="connsiteX1746" fmla="*/ 34789 w 859464"/>
                    <a:gd name="connsiteY1746" fmla="*/ 553087 h 798932"/>
                    <a:gd name="connsiteX1747" fmla="*/ 36234 w 859464"/>
                    <a:gd name="connsiteY1747" fmla="*/ 556074 h 798932"/>
                    <a:gd name="connsiteX1748" fmla="*/ 40400 w 859464"/>
                    <a:gd name="connsiteY1748" fmla="*/ 562971 h 798932"/>
                    <a:gd name="connsiteX1749" fmla="*/ 40521 w 859464"/>
                    <a:gd name="connsiteY1749" fmla="*/ 563809 h 798932"/>
                    <a:gd name="connsiteX1750" fmla="*/ 40363 w 859464"/>
                    <a:gd name="connsiteY1750" fmla="*/ 564416 h 798932"/>
                    <a:gd name="connsiteX1751" fmla="*/ 38529 w 859464"/>
                    <a:gd name="connsiteY1751" fmla="*/ 567197 h 798932"/>
                    <a:gd name="connsiteX1752" fmla="*/ 38323 w 859464"/>
                    <a:gd name="connsiteY1752" fmla="*/ 567500 h 798932"/>
                    <a:gd name="connsiteX1753" fmla="*/ 38165 w 859464"/>
                    <a:gd name="connsiteY1753" fmla="*/ 567816 h 798932"/>
                    <a:gd name="connsiteX1754" fmla="*/ 36441 w 859464"/>
                    <a:gd name="connsiteY1754" fmla="*/ 571265 h 798932"/>
                    <a:gd name="connsiteX1755" fmla="*/ 36222 w 859464"/>
                    <a:gd name="connsiteY1755" fmla="*/ 571690 h 798932"/>
                    <a:gd name="connsiteX1756" fmla="*/ 36077 w 859464"/>
                    <a:gd name="connsiteY1756" fmla="*/ 572151 h 798932"/>
                    <a:gd name="connsiteX1757" fmla="*/ 34874 w 859464"/>
                    <a:gd name="connsiteY1757" fmla="*/ 575964 h 798932"/>
                    <a:gd name="connsiteX1758" fmla="*/ 34692 w 859464"/>
                    <a:gd name="connsiteY1758" fmla="*/ 576547 h 798932"/>
                    <a:gd name="connsiteX1759" fmla="*/ 34632 w 859464"/>
                    <a:gd name="connsiteY1759" fmla="*/ 577154 h 798932"/>
                    <a:gd name="connsiteX1760" fmla="*/ 34219 w 859464"/>
                    <a:gd name="connsiteY1760" fmla="*/ 581052 h 798932"/>
                    <a:gd name="connsiteX1761" fmla="*/ 34182 w 859464"/>
                    <a:gd name="connsiteY1761" fmla="*/ 581392 h 798932"/>
                    <a:gd name="connsiteX1762" fmla="*/ 34182 w 859464"/>
                    <a:gd name="connsiteY1762" fmla="*/ 581732 h 798932"/>
                    <a:gd name="connsiteX1763" fmla="*/ 34364 w 859464"/>
                    <a:gd name="connsiteY1763" fmla="*/ 604269 h 798932"/>
                    <a:gd name="connsiteX1764" fmla="*/ 34316 w 859464"/>
                    <a:gd name="connsiteY1764" fmla="*/ 604318 h 798932"/>
                    <a:gd name="connsiteX1765" fmla="*/ 33223 w 859464"/>
                    <a:gd name="connsiteY1765" fmla="*/ 605435 h 798932"/>
                    <a:gd name="connsiteX1766" fmla="*/ 32409 w 859464"/>
                    <a:gd name="connsiteY1766" fmla="*/ 606261 h 798932"/>
                    <a:gd name="connsiteX1767" fmla="*/ 31960 w 859464"/>
                    <a:gd name="connsiteY1767" fmla="*/ 607341 h 798932"/>
                    <a:gd name="connsiteX1768" fmla="*/ 31159 w 859464"/>
                    <a:gd name="connsiteY1768" fmla="*/ 609260 h 798932"/>
                    <a:gd name="connsiteX1769" fmla="*/ 30831 w 859464"/>
                    <a:gd name="connsiteY1769" fmla="*/ 610025 h 798932"/>
                    <a:gd name="connsiteX1770" fmla="*/ 30734 w 859464"/>
                    <a:gd name="connsiteY1770" fmla="*/ 610863 h 798932"/>
                    <a:gd name="connsiteX1771" fmla="*/ 29762 w 859464"/>
                    <a:gd name="connsiteY1771" fmla="*/ 618926 h 798932"/>
                    <a:gd name="connsiteX1772" fmla="*/ 29726 w 859464"/>
                    <a:gd name="connsiteY1772" fmla="*/ 619278 h 798932"/>
                    <a:gd name="connsiteX1773" fmla="*/ 29726 w 859464"/>
                    <a:gd name="connsiteY1773" fmla="*/ 619642 h 798932"/>
                    <a:gd name="connsiteX1774" fmla="*/ 29726 w 859464"/>
                    <a:gd name="connsiteY1774" fmla="*/ 621864 h 798932"/>
                    <a:gd name="connsiteX1775" fmla="*/ 29726 w 859464"/>
                    <a:gd name="connsiteY1775" fmla="*/ 622459 h 798932"/>
                    <a:gd name="connsiteX1776" fmla="*/ 29835 w 859464"/>
                    <a:gd name="connsiteY1776" fmla="*/ 623042 h 798932"/>
                    <a:gd name="connsiteX1777" fmla="*/ 30054 w 859464"/>
                    <a:gd name="connsiteY1777" fmla="*/ 624159 h 798932"/>
                    <a:gd name="connsiteX1778" fmla="*/ 30527 w 859464"/>
                    <a:gd name="connsiteY1778" fmla="*/ 626563 h 798932"/>
                    <a:gd name="connsiteX1779" fmla="*/ 32555 w 859464"/>
                    <a:gd name="connsiteY1779" fmla="*/ 627972 h 798932"/>
                    <a:gd name="connsiteX1780" fmla="*/ 33429 w 859464"/>
                    <a:gd name="connsiteY1780" fmla="*/ 628579 h 798932"/>
                    <a:gd name="connsiteX1781" fmla="*/ 33782 w 859464"/>
                    <a:gd name="connsiteY1781" fmla="*/ 628798 h 798932"/>
                    <a:gd name="connsiteX1782" fmla="*/ 32895 w 859464"/>
                    <a:gd name="connsiteY1782" fmla="*/ 629660 h 798932"/>
                    <a:gd name="connsiteX1783" fmla="*/ 32179 w 859464"/>
                    <a:gd name="connsiteY1783" fmla="*/ 630376 h 798932"/>
                    <a:gd name="connsiteX1784" fmla="*/ 31729 w 859464"/>
                    <a:gd name="connsiteY1784" fmla="*/ 631275 h 798932"/>
                    <a:gd name="connsiteX1785" fmla="*/ 30697 w 859464"/>
                    <a:gd name="connsiteY1785" fmla="*/ 633351 h 798932"/>
                    <a:gd name="connsiteX1786" fmla="*/ 30151 w 859464"/>
                    <a:gd name="connsiteY1786" fmla="*/ 634456 h 798932"/>
                    <a:gd name="connsiteX1787" fmla="*/ 30078 w 859464"/>
                    <a:gd name="connsiteY1787" fmla="*/ 635683 h 798932"/>
                    <a:gd name="connsiteX1788" fmla="*/ 30017 w 859464"/>
                    <a:gd name="connsiteY1788" fmla="*/ 636630 h 798932"/>
                    <a:gd name="connsiteX1789" fmla="*/ 29714 w 859464"/>
                    <a:gd name="connsiteY1789" fmla="*/ 641439 h 798932"/>
                    <a:gd name="connsiteX1790" fmla="*/ 34316 w 859464"/>
                    <a:gd name="connsiteY1790" fmla="*/ 642823 h 798932"/>
                    <a:gd name="connsiteX1791" fmla="*/ 34947 w 859464"/>
                    <a:gd name="connsiteY1791" fmla="*/ 643017 h 798932"/>
                    <a:gd name="connsiteX1792" fmla="*/ 34729 w 859464"/>
                    <a:gd name="connsiteY1792" fmla="*/ 644037 h 798932"/>
                    <a:gd name="connsiteX1793" fmla="*/ 34486 w 859464"/>
                    <a:gd name="connsiteY1793" fmla="*/ 644754 h 798932"/>
                    <a:gd name="connsiteX1794" fmla="*/ 31207 w 859464"/>
                    <a:gd name="connsiteY1794" fmla="*/ 646029 h 798932"/>
                    <a:gd name="connsiteX1795" fmla="*/ 30406 w 859464"/>
                    <a:gd name="connsiteY1795" fmla="*/ 646344 h 798932"/>
                    <a:gd name="connsiteX1796" fmla="*/ 29714 w 859464"/>
                    <a:gd name="connsiteY1796" fmla="*/ 646879 h 798932"/>
                    <a:gd name="connsiteX1797" fmla="*/ 28269 w 859464"/>
                    <a:gd name="connsiteY1797" fmla="*/ 647996 h 798932"/>
                    <a:gd name="connsiteX1798" fmla="*/ 27273 w 859464"/>
                    <a:gd name="connsiteY1798" fmla="*/ 648761 h 798932"/>
                    <a:gd name="connsiteX1799" fmla="*/ 26666 w 859464"/>
                    <a:gd name="connsiteY1799" fmla="*/ 649866 h 798932"/>
                    <a:gd name="connsiteX1800" fmla="*/ 25634 w 859464"/>
                    <a:gd name="connsiteY1800" fmla="*/ 651736 h 798932"/>
                    <a:gd name="connsiteX1801" fmla="*/ 24942 w 859464"/>
                    <a:gd name="connsiteY1801" fmla="*/ 652999 h 798932"/>
                    <a:gd name="connsiteX1802" fmla="*/ 24893 w 859464"/>
                    <a:gd name="connsiteY1802" fmla="*/ 654432 h 798932"/>
                    <a:gd name="connsiteX1803" fmla="*/ 24832 w 859464"/>
                    <a:gd name="connsiteY1803" fmla="*/ 655901 h 798932"/>
                    <a:gd name="connsiteX1804" fmla="*/ 24832 w 859464"/>
                    <a:gd name="connsiteY1804" fmla="*/ 655913 h 798932"/>
                    <a:gd name="connsiteX1805" fmla="*/ 24796 w 859464"/>
                    <a:gd name="connsiteY1805" fmla="*/ 655950 h 798932"/>
                    <a:gd name="connsiteX1806" fmla="*/ 20740 w 859464"/>
                    <a:gd name="connsiteY1806" fmla="*/ 658196 h 798932"/>
                    <a:gd name="connsiteX1807" fmla="*/ 20339 w 859464"/>
                    <a:gd name="connsiteY1807" fmla="*/ 658415 h 798932"/>
                    <a:gd name="connsiteX1808" fmla="*/ 19975 w 859464"/>
                    <a:gd name="connsiteY1808" fmla="*/ 658694 h 798932"/>
                    <a:gd name="connsiteX1809" fmla="*/ 14098 w 859464"/>
                    <a:gd name="connsiteY1809" fmla="*/ 663211 h 798932"/>
                    <a:gd name="connsiteX1810" fmla="*/ 7383 w 859464"/>
                    <a:gd name="connsiteY1810" fmla="*/ 666890 h 798932"/>
                    <a:gd name="connsiteX1811" fmla="*/ 6885 w 859464"/>
                    <a:gd name="connsiteY1811" fmla="*/ 667158 h 798932"/>
                    <a:gd name="connsiteX1812" fmla="*/ 6448 w 859464"/>
                    <a:gd name="connsiteY1812" fmla="*/ 667510 h 798932"/>
                    <a:gd name="connsiteX1813" fmla="*/ 3983 w 859464"/>
                    <a:gd name="connsiteY1813" fmla="*/ 669525 h 798932"/>
                    <a:gd name="connsiteX1814" fmla="*/ 3072 w 859464"/>
                    <a:gd name="connsiteY1814" fmla="*/ 670266 h 798932"/>
                    <a:gd name="connsiteX1815" fmla="*/ 2501 w 859464"/>
                    <a:gd name="connsiteY1815" fmla="*/ 671298 h 798932"/>
                    <a:gd name="connsiteX1816" fmla="*/ 1931 w 859464"/>
                    <a:gd name="connsiteY1816" fmla="*/ 672330 h 798932"/>
                    <a:gd name="connsiteX1817" fmla="*/ 0 w 859464"/>
                    <a:gd name="connsiteY1817" fmla="*/ 675827 h 798932"/>
                    <a:gd name="connsiteX1818" fmla="*/ 2465 w 859464"/>
                    <a:gd name="connsiteY1818" fmla="*/ 678985 h 798932"/>
                    <a:gd name="connsiteX1819" fmla="*/ 7577 w 859464"/>
                    <a:gd name="connsiteY1819" fmla="*/ 685554 h 798932"/>
                    <a:gd name="connsiteX1820" fmla="*/ 7808 w 859464"/>
                    <a:gd name="connsiteY1820" fmla="*/ 685846 h 798932"/>
                    <a:gd name="connsiteX1821" fmla="*/ 8075 w 859464"/>
                    <a:gd name="connsiteY1821" fmla="*/ 686100 h 798932"/>
                    <a:gd name="connsiteX1822" fmla="*/ 9738 w 859464"/>
                    <a:gd name="connsiteY1822" fmla="*/ 687776 h 798932"/>
                    <a:gd name="connsiteX1823" fmla="*/ 10904 w 859464"/>
                    <a:gd name="connsiteY1823" fmla="*/ 688954 h 798932"/>
                    <a:gd name="connsiteX1824" fmla="*/ 12507 w 859464"/>
                    <a:gd name="connsiteY1824" fmla="*/ 689367 h 798932"/>
                    <a:gd name="connsiteX1825" fmla="*/ 31341 w 859464"/>
                    <a:gd name="connsiteY1825" fmla="*/ 694273 h 798932"/>
                    <a:gd name="connsiteX1826" fmla="*/ 31778 w 859464"/>
                    <a:gd name="connsiteY1826" fmla="*/ 694394 h 798932"/>
                    <a:gd name="connsiteX1827" fmla="*/ 32227 w 859464"/>
                    <a:gd name="connsiteY1827" fmla="*/ 694442 h 798932"/>
                    <a:gd name="connsiteX1828" fmla="*/ 35202 w 859464"/>
                    <a:gd name="connsiteY1828" fmla="*/ 694758 h 798932"/>
                    <a:gd name="connsiteX1829" fmla="*/ 35615 w 859464"/>
                    <a:gd name="connsiteY1829" fmla="*/ 694807 h 798932"/>
                    <a:gd name="connsiteX1830" fmla="*/ 36028 w 859464"/>
                    <a:gd name="connsiteY1830" fmla="*/ 694795 h 798932"/>
                    <a:gd name="connsiteX1831" fmla="*/ 46920 w 859464"/>
                    <a:gd name="connsiteY1831" fmla="*/ 694491 h 798932"/>
                    <a:gd name="connsiteX1832" fmla="*/ 47394 w 859464"/>
                    <a:gd name="connsiteY1832" fmla="*/ 694491 h 798932"/>
                    <a:gd name="connsiteX1833" fmla="*/ 49786 w 859464"/>
                    <a:gd name="connsiteY1833" fmla="*/ 694855 h 798932"/>
                    <a:gd name="connsiteX1834" fmla="*/ 54400 w 859464"/>
                    <a:gd name="connsiteY1834" fmla="*/ 696859 h 798932"/>
                    <a:gd name="connsiteX1835" fmla="*/ 54983 w 859464"/>
                    <a:gd name="connsiteY1835" fmla="*/ 698195 h 798932"/>
                    <a:gd name="connsiteX1836" fmla="*/ 56197 w 859464"/>
                    <a:gd name="connsiteY1836" fmla="*/ 699142 h 798932"/>
                    <a:gd name="connsiteX1837" fmla="*/ 56343 w 859464"/>
                    <a:gd name="connsiteY1837" fmla="*/ 699251 h 798932"/>
                    <a:gd name="connsiteX1838" fmla="*/ 55954 w 859464"/>
                    <a:gd name="connsiteY1838" fmla="*/ 699749 h 798932"/>
                    <a:gd name="connsiteX1839" fmla="*/ 55068 w 859464"/>
                    <a:gd name="connsiteY1839" fmla="*/ 700417 h 798932"/>
                    <a:gd name="connsiteX1840" fmla="*/ 49895 w 859464"/>
                    <a:gd name="connsiteY1840" fmla="*/ 703550 h 798932"/>
                    <a:gd name="connsiteX1841" fmla="*/ 49349 w 859464"/>
                    <a:gd name="connsiteY1841" fmla="*/ 703878 h 798932"/>
                    <a:gd name="connsiteX1842" fmla="*/ 48875 w 859464"/>
                    <a:gd name="connsiteY1842" fmla="*/ 704315 h 798932"/>
                    <a:gd name="connsiteX1843" fmla="*/ 47855 w 859464"/>
                    <a:gd name="connsiteY1843" fmla="*/ 705274 h 798932"/>
                    <a:gd name="connsiteX1844" fmla="*/ 47212 w 859464"/>
                    <a:gd name="connsiteY1844" fmla="*/ 705881 h 798932"/>
                    <a:gd name="connsiteX1845" fmla="*/ 46762 w 859464"/>
                    <a:gd name="connsiteY1845" fmla="*/ 706646 h 798932"/>
                    <a:gd name="connsiteX1846" fmla="*/ 45779 w 859464"/>
                    <a:gd name="connsiteY1846" fmla="*/ 708346 h 798932"/>
                    <a:gd name="connsiteX1847" fmla="*/ 45257 w 859464"/>
                    <a:gd name="connsiteY1847" fmla="*/ 709257 h 798932"/>
                    <a:gd name="connsiteX1848" fmla="*/ 45062 w 859464"/>
                    <a:gd name="connsiteY1848" fmla="*/ 710301 h 798932"/>
                    <a:gd name="connsiteX1849" fmla="*/ 44674 w 859464"/>
                    <a:gd name="connsiteY1849" fmla="*/ 712450 h 798932"/>
                    <a:gd name="connsiteX1850" fmla="*/ 44540 w 859464"/>
                    <a:gd name="connsiteY1850" fmla="*/ 713143 h 798932"/>
                    <a:gd name="connsiteX1851" fmla="*/ 44577 w 859464"/>
                    <a:gd name="connsiteY1851" fmla="*/ 713847 h 798932"/>
                    <a:gd name="connsiteX1852" fmla="*/ 44820 w 859464"/>
                    <a:gd name="connsiteY1852" fmla="*/ 718619 h 798932"/>
                    <a:gd name="connsiteX1853" fmla="*/ 44662 w 859464"/>
                    <a:gd name="connsiteY1853" fmla="*/ 719736 h 798932"/>
                    <a:gd name="connsiteX1854" fmla="*/ 44103 w 859464"/>
                    <a:gd name="connsiteY1854" fmla="*/ 721230 h 798932"/>
                    <a:gd name="connsiteX1855" fmla="*/ 43957 w 859464"/>
                    <a:gd name="connsiteY1855" fmla="*/ 721631 h 798932"/>
                    <a:gd name="connsiteX1856" fmla="*/ 43860 w 859464"/>
                    <a:gd name="connsiteY1856" fmla="*/ 722031 h 798932"/>
                    <a:gd name="connsiteX1857" fmla="*/ 43180 w 859464"/>
                    <a:gd name="connsiteY1857" fmla="*/ 725055 h 798932"/>
                    <a:gd name="connsiteX1858" fmla="*/ 43071 w 859464"/>
                    <a:gd name="connsiteY1858" fmla="*/ 725528 h 798932"/>
                    <a:gd name="connsiteX1859" fmla="*/ 43047 w 859464"/>
                    <a:gd name="connsiteY1859" fmla="*/ 726002 h 798932"/>
                    <a:gd name="connsiteX1860" fmla="*/ 42804 w 859464"/>
                    <a:gd name="connsiteY1860" fmla="*/ 729742 h 798932"/>
                    <a:gd name="connsiteX1861" fmla="*/ 42767 w 859464"/>
                    <a:gd name="connsiteY1861" fmla="*/ 730276 h 798932"/>
                    <a:gd name="connsiteX1862" fmla="*/ 42828 w 859464"/>
                    <a:gd name="connsiteY1862" fmla="*/ 730810 h 798932"/>
                    <a:gd name="connsiteX1863" fmla="*/ 43945 w 859464"/>
                    <a:gd name="connsiteY1863" fmla="*/ 740780 h 798932"/>
                    <a:gd name="connsiteX1864" fmla="*/ 43945 w 859464"/>
                    <a:gd name="connsiteY1864" fmla="*/ 743403 h 798932"/>
                    <a:gd name="connsiteX1865" fmla="*/ 43314 w 859464"/>
                    <a:gd name="connsiteY1865" fmla="*/ 747677 h 798932"/>
                    <a:gd name="connsiteX1866" fmla="*/ 43265 w 859464"/>
                    <a:gd name="connsiteY1866" fmla="*/ 748041 h 798932"/>
                    <a:gd name="connsiteX1867" fmla="*/ 43253 w 859464"/>
                    <a:gd name="connsiteY1867" fmla="*/ 748394 h 798932"/>
                    <a:gd name="connsiteX1868" fmla="*/ 43132 w 859464"/>
                    <a:gd name="connsiteY1868" fmla="*/ 752753 h 798932"/>
                    <a:gd name="connsiteX1869" fmla="*/ 43569 w 859464"/>
                    <a:gd name="connsiteY1869" fmla="*/ 760245 h 798932"/>
                    <a:gd name="connsiteX1870" fmla="*/ 42962 w 859464"/>
                    <a:gd name="connsiteY1870" fmla="*/ 761289 h 798932"/>
                    <a:gd name="connsiteX1871" fmla="*/ 42852 w 859464"/>
                    <a:gd name="connsiteY1871" fmla="*/ 761484 h 798932"/>
                    <a:gd name="connsiteX1872" fmla="*/ 37400 w 859464"/>
                    <a:gd name="connsiteY1872" fmla="*/ 770858 h 798932"/>
                    <a:gd name="connsiteX1873" fmla="*/ 47965 w 859464"/>
                    <a:gd name="connsiteY1873" fmla="*/ 770518 h 798932"/>
                    <a:gd name="connsiteX1874" fmla="*/ 47285 w 859464"/>
                    <a:gd name="connsiteY1874" fmla="*/ 773432 h 798932"/>
                    <a:gd name="connsiteX1875" fmla="*/ 45864 w 859464"/>
                    <a:gd name="connsiteY1875" fmla="*/ 779492 h 798932"/>
                    <a:gd name="connsiteX1876" fmla="*/ 51947 w 859464"/>
                    <a:gd name="connsiteY1876" fmla="*/ 780754 h 798932"/>
                    <a:gd name="connsiteX1877" fmla="*/ 56137 w 859464"/>
                    <a:gd name="connsiteY1877" fmla="*/ 781629 h 798932"/>
                    <a:gd name="connsiteX1878" fmla="*/ 59634 w 859464"/>
                    <a:gd name="connsiteY1878" fmla="*/ 782200 h 798932"/>
                    <a:gd name="connsiteX1879" fmla="*/ 63933 w 859464"/>
                    <a:gd name="connsiteY1879" fmla="*/ 782491 h 798932"/>
                    <a:gd name="connsiteX1880" fmla="*/ 64613 w 859464"/>
                    <a:gd name="connsiteY1880" fmla="*/ 782649 h 798932"/>
                    <a:gd name="connsiteX1881" fmla="*/ 65742 w 859464"/>
                    <a:gd name="connsiteY1881" fmla="*/ 783098 h 798932"/>
                    <a:gd name="connsiteX1882" fmla="*/ 67357 w 859464"/>
                    <a:gd name="connsiteY1882" fmla="*/ 783754 h 798932"/>
                    <a:gd name="connsiteX1883" fmla="*/ 69081 w 859464"/>
                    <a:gd name="connsiteY1883" fmla="*/ 783450 h 798932"/>
                    <a:gd name="connsiteX1884" fmla="*/ 70380 w 859464"/>
                    <a:gd name="connsiteY1884" fmla="*/ 783207 h 798932"/>
                    <a:gd name="connsiteX1885" fmla="*/ 70769 w 859464"/>
                    <a:gd name="connsiteY1885" fmla="*/ 783474 h 798932"/>
                    <a:gd name="connsiteX1886" fmla="*/ 71315 w 859464"/>
                    <a:gd name="connsiteY1886" fmla="*/ 784167 h 798932"/>
                    <a:gd name="connsiteX1887" fmla="*/ 72918 w 859464"/>
                    <a:gd name="connsiteY1887" fmla="*/ 786025 h 798932"/>
                    <a:gd name="connsiteX1888" fmla="*/ 73671 w 859464"/>
                    <a:gd name="connsiteY1888" fmla="*/ 786887 h 798932"/>
                    <a:gd name="connsiteX1889" fmla="*/ 74691 w 859464"/>
                    <a:gd name="connsiteY1889" fmla="*/ 787421 h 798932"/>
                    <a:gd name="connsiteX1890" fmla="*/ 76282 w 859464"/>
                    <a:gd name="connsiteY1890" fmla="*/ 788247 h 798932"/>
                    <a:gd name="connsiteX1891" fmla="*/ 76998 w 859464"/>
                    <a:gd name="connsiteY1891" fmla="*/ 788611 h 798932"/>
                    <a:gd name="connsiteX1892" fmla="*/ 77776 w 859464"/>
                    <a:gd name="connsiteY1892" fmla="*/ 788793 h 798932"/>
                    <a:gd name="connsiteX1893" fmla="*/ 79755 w 859464"/>
                    <a:gd name="connsiteY1893" fmla="*/ 789230 h 798932"/>
                    <a:gd name="connsiteX1894" fmla="*/ 80083 w 859464"/>
                    <a:gd name="connsiteY1894" fmla="*/ 789303 h 798932"/>
                    <a:gd name="connsiteX1895" fmla="*/ 80423 w 859464"/>
                    <a:gd name="connsiteY1895" fmla="*/ 789340 h 798932"/>
                    <a:gd name="connsiteX1896" fmla="*/ 85073 w 859464"/>
                    <a:gd name="connsiteY1896" fmla="*/ 789838 h 798932"/>
                    <a:gd name="connsiteX1897" fmla="*/ 85887 w 859464"/>
                    <a:gd name="connsiteY1897" fmla="*/ 789922 h 798932"/>
                    <a:gd name="connsiteX1898" fmla="*/ 86688 w 859464"/>
                    <a:gd name="connsiteY1898" fmla="*/ 789789 h 798932"/>
                    <a:gd name="connsiteX1899" fmla="*/ 88352 w 859464"/>
                    <a:gd name="connsiteY1899" fmla="*/ 789522 h 798932"/>
                    <a:gd name="connsiteX1900" fmla="*/ 89845 w 859464"/>
                    <a:gd name="connsiteY1900" fmla="*/ 789279 h 798932"/>
                    <a:gd name="connsiteX1901" fmla="*/ 91048 w 859464"/>
                    <a:gd name="connsiteY1901" fmla="*/ 788368 h 798932"/>
                    <a:gd name="connsiteX1902" fmla="*/ 91813 w 859464"/>
                    <a:gd name="connsiteY1902" fmla="*/ 787773 h 798932"/>
                    <a:gd name="connsiteX1903" fmla="*/ 92056 w 859464"/>
                    <a:gd name="connsiteY1903" fmla="*/ 787664 h 798932"/>
                    <a:gd name="connsiteX1904" fmla="*/ 92201 w 859464"/>
                    <a:gd name="connsiteY1904" fmla="*/ 787725 h 798932"/>
                    <a:gd name="connsiteX1905" fmla="*/ 93076 w 859464"/>
                    <a:gd name="connsiteY1905" fmla="*/ 788210 h 798932"/>
                    <a:gd name="connsiteX1906" fmla="*/ 93780 w 859464"/>
                    <a:gd name="connsiteY1906" fmla="*/ 788599 h 798932"/>
                    <a:gd name="connsiteX1907" fmla="*/ 94557 w 859464"/>
                    <a:gd name="connsiteY1907" fmla="*/ 788805 h 798932"/>
                    <a:gd name="connsiteX1908" fmla="*/ 96536 w 859464"/>
                    <a:gd name="connsiteY1908" fmla="*/ 789303 h 798932"/>
                    <a:gd name="connsiteX1909" fmla="*/ 97496 w 859464"/>
                    <a:gd name="connsiteY1909" fmla="*/ 789546 h 798932"/>
                    <a:gd name="connsiteX1910" fmla="*/ 98491 w 859464"/>
                    <a:gd name="connsiteY1910" fmla="*/ 789461 h 798932"/>
                    <a:gd name="connsiteX1911" fmla="*/ 99184 w 859464"/>
                    <a:gd name="connsiteY1911" fmla="*/ 789413 h 798932"/>
                    <a:gd name="connsiteX1912" fmla="*/ 99778 w 859464"/>
                    <a:gd name="connsiteY1912" fmla="*/ 789631 h 798932"/>
                    <a:gd name="connsiteX1913" fmla="*/ 100896 w 859464"/>
                    <a:gd name="connsiteY1913" fmla="*/ 790190 h 798932"/>
                    <a:gd name="connsiteX1914" fmla="*/ 101454 w 859464"/>
                    <a:gd name="connsiteY1914" fmla="*/ 790445 h 798932"/>
                    <a:gd name="connsiteX1915" fmla="*/ 102049 w 859464"/>
                    <a:gd name="connsiteY1915" fmla="*/ 790602 h 798932"/>
                    <a:gd name="connsiteX1916" fmla="*/ 104101 w 859464"/>
                    <a:gd name="connsiteY1916" fmla="*/ 791100 h 798932"/>
                    <a:gd name="connsiteX1917" fmla="*/ 106299 w 859464"/>
                    <a:gd name="connsiteY1917" fmla="*/ 791465 h 798932"/>
                    <a:gd name="connsiteX1918" fmla="*/ 107307 w 859464"/>
                    <a:gd name="connsiteY1918" fmla="*/ 791623 h 798932"/>
                    <a:gd name="connsiteX1919" fmla="*/ 108315 w 859464"/>
                    <a:gd name="connsiteY1919" fmla="*/ 791440 h 798932"/>
                    <a:gd name="connsiteX1920" fmla="*/ 110185 w 859464"/>
                    <a:gd name="connsiteY1920" fmla="*/ 791112 h 798932"/>
                    <a:gd name="connsiteX1921" fmla="*/ 110549 w 859464"/>
                    <a:gd name="connsiteY1921" fmla="*/ 791052 h 798932"/>
                    <a:gd name="connsiteX1922" fmla="*/ 110901 w 859464"/>
                    <a:gd name="connsiteY1922" fmla="*/ 790930 h 798932"/>
                    <a:gd name="connsiteX1923" fmla="*/ 112516 w 859464"/>
                    <a:gd name="connsiteY1923" fmla="*/ 790432 h 798932"/>
                    <a:gd name="connsiteX1924" fmla="*/ 113196 w 859464"/>
                    <a:gd name="connsiteY1924" fmla="*/ 790226 h 798932"/>
                    <a:gd name="connsiteX1925" fmla="*/ 113804 w 859464"/>
                    <a:gd name="connsiteY1925" fmla="*/ 789874 h 798932"/>
                    <a:gd name="connsiteX1926" fmla="*/ 113852 w 859464"/>
                    <a:gd name="connsiteY1926" fmla="*/ 789838 h 798932"/>
                    <a:gd name="connsiteX1927" fmla="*/ 113974 w 859464"/>
                    <a:gd name="connsiteY1927" fmla="*/ 789874 h 798932"/>
                    <a:gd name="connsiteX1928" fmla="*/ 114872 w 859464"/>
                    <a:gd name="connsiteY1928" fmla="*/ 789874 h 798932"/>
                    <a:gd name="connsiteX1929" fmla="*/ 116803 w 859464"/>
                    <a:gd name="connsiteY1929" fmla="*/ 789874 h 798932"/>
                    <a:gd name="connsiteX1930" fmla="*/ 117750 w 859464"/>
                    <a:gd name="connsiteY1930" fmla="*/ 789874 h 798932"/>
                    <a:gd name="connsiteX1931" fmla="*/ 118649 w 859464"/>
                    <a:gd name="connsiteY1931" fmla="*/ 789594 h 798932"/>
                    <a:gd name="connsiteX1932" fmla="*/ 119693 w 859464"/>
                    <a:gd name="connsiteY1932" fmla="*/ 789267 h 798932"/>
                    <a:gd name="connsiteX1933" fmla="*/ 121745 w 859464"/>
                    <a:gd name="connsiteY1933" fmla="*/ 788611 h 798932"/>
                    <a:gd name="connsiteX1934" fmla="*/ 122923 w 859464"/>
                    <a:gd name="connsiteY1934" fmla="*/ 786814 h 798932"/>
                    <a:gd name="connsiteX1935" fmla="*/ 123251 w 859464"/>
                    <a:gd name="connsiteY1935" fmla="*/ 786316 h 798932"/>
                    <a:gd name="connsiteX1936" fmla="*/ 124453 w 859464"/>
                    <a:gd name="connsiteY1936" fmla="*/ 786996 h 798932"/>
                    <a:gd name="connsiteX1937" fmla="*/ 124793 w 859464"/>
                    <a:gd name="connsiteY1937" fmla="*/ 787202 h 798932"/>
                    <a:gd name="connsiteX1938" fmla="*/ 125157 w 859464"/>
                    <a:gd name="connsiteY1938" fmla="*/ 787348 h 798932"/>
                    <a:gd name="connsiteX1939" fmla="*/ 129092 w 859464"/>
                    <a:gd name="connsiteY1939" fmla="*/ 788951 h 798932"/>
                    <a:gd name="connsiteX1940" fmla="*/ 129869 w 859464"/>
                    <a:gd name="connsiteY1940" fmla="*/ 789267 h 798932"/>
                    <a:gd name="connsiteX1941" fmla="*/ 130694 w 859464"/>
                    <a:gd name="connsiteY1941" fmla="*/ 789364 h 798932"/>
                    <a:gd name="connsiteX1942" fmla="*/ 133621 w 859464"/>
                    <a:gd name="connsiteY1942" fmla="*/ 789692 h 798932"/>
                    <a:gd name="connsiteX1943" fmla="*/ 134155 w 859464"/>
                    <a:gd name="connsiteY1943" fmla="*/ 789752 h 798932"/>
                    <a:gd name="connsiteX1944" fmla="*/ 134689 w 859464"/>
                    <a:gd name="connsiteY1944" fmla="*/ 789716 h 798932"/>
                    <a:gd name="connsiteX1945" fmla="*/ 137446 w 859464"/>
                    <a:gd name="connsiteY1945" fmla="*/ 789534 h 798932"/>
                    <a:gd name="connsiteX1946" fmla="*/ 140251 w 859464"/>
                    <a:gd name="connsiteY1946" fmla="*/ 791380 h 798932"/>
                    <a:gd name="connsiteX1947" fmla="*/ 141186 w 859464"/>
                    <a:gd name="connsiteY1947" fmla="*/ 791987 h 798932"/>
                    <a:gd name="connsiteX1948" fmla="*/ 142267 w 859464"/>
                    <a:gd name="connsiteY1948" fmla="*/ 792242 h 798932"/>
                    <a:gd name="connsiteX1949" fmla="*/ 143809 w 859464"/>
                    <a:gd name="connsiteY1949" fmla="*/ 792582 h 798932"/>
                    <a:gd name="connsiteX1950" fmla="*/ 149030 w 859464"/>
                    <a:gd name="connsiteY1950" fmla="*/ 793747 h 798932"/>
                    <a:gd name="connsiteX1951" fmla="*/ 150099 w 859464"/>
                    <a:gd name="connsiteY1951" fmla="*/ 790760 h 798932"/>
                    <a:gd name="connsiteX1952" fmla="*/ 150172 w 859464"/>
                    <a:gd name="connsiteY1952" fmla="*/ 790918 h 798932"/>
                    <a:gd name="connsiteX1953" fmla="*/ 150512 w 859464"/>
                    <a:gd name="connsiteY1953" fmla="*/ 791659 h 798932"/>
                    <a:gd name="connsiteX1954" fmla="*/ 151034 w 859464"/>
                    <a:gd name="connsiteY1954" fmla="*/ 792278 h 798932"/>
                    <a:gd name="connsiteX1955" fmla="*/ 151957 w 859464"/>
                    <a:gd name="connsiteY1955" fmla="*/ 793383 h 798932"/>
                    <a:gd name="connsiteX1956" fmla="*/ 152843 w 859464"/>
                    <a:gd name="connsiteY1956" fmla="*/ 794427 h 798932"/>
                    <a:gd name="connsiteX1957" fmla="*/ 154082 w 859464"/>
                    <a:gd name="connsiteY1957" fmla="*/ 794998 h 798932"/>
                    <a:gd name="connsiteX1958" fmla="*/ 161100 w 859464"/>
                    <a:gd name="connsiteY1958" fmla="*/ 798204 h 798932"/>
                    <a:gd name="connsiteX1959" fmla="*/ 162084 w 859464"/>
                    <a:gd name="connsiteY1959" fmla="*/ 798653 h 798932"/>
                    <a:gd name="connsiteX1960" fmla="*/ 163152 w 859464"/>
                    <a:gd name="connsiteY1960" fmla="*/ 798726 h 798932"/>
                    <a:gd name="connsiteX1961" fmla="*/ 164695 w 859464"/>
                    <a:gd name="connsiteY1961" fmla="*/ 798848 h 798932"/>
                    <a:gd name="connsiteX1962" fmla="*/ 165775 w 859464"/>
                    <a:gd name="connsiteY1962" fmla="*/ 798933 h 798932"/>
                    <a:gd name="connsiteX1963" fmla="*/ 166808 w 859464"/>
                    <a:gd name="connsiteY1963" fmla="*/ 798653 h 798932"/>
                    <a:gd name="connsiteX1964" fmla="*/ 168738 w 859464"/>
                    <a:gd name="connsiteY1964" fmla="*/ 798107 h 798932"/>
                    <a:gd name="connsiteX1965" fmla="*/ 169746 w 859464"/>
                    <a:gd name="connsiteY1965" fmla="*/ 797827 h 798932"/>
                    <a:gd name="connsiteX1966" fmla="*/ 170596 w 859464"/>
                    <a:gd name="connsiteY1966" fmla="*/ 797208 h 798932"/>
                    <a:gd name="connsiteX1967" fmla="*/ 171932 w 859464"/>
                    <a:gd name="connsiteY1967" fmla="*/ 796261 h 798932"/>
                    <a:gd name="connsiteX1968" fmla="*/ 174154 w 859464"/>
                    <a:gd name="connsiteY1968" fmla="*/ 794682 h 798932"/>
                    <a:gd name="connsiteX1969" fmla="*/ 175429 w 859464"/>
                    <a:gd name="connsiteY1969" fmla="*/ 794682 h 798932"/>
                    <a:gd name="connsiteX1970" fmla="*/ 177979 w 859464"/>
                    <a:gd name="connsiteY1970" fmla="*/ 794682 h 798932"/>
                    <a:gd name="connsiteX1971" fmla="*/ 179764 w 859464"/>
                    <a:gd name="connsiteY1971" fmla="*/ 792861 h 798932"/>
                    <a:gd name="connsiteX1972" fmla="*/ 180529 w 859464"/>
                    <a:gd name="connsiteY1972" fmla="*/ 792084 h 798932"/>
                    <a:gd name="connsiteX1973" fmla="*/ 181937 w 859464"/>
                    <a:gd name="connsiteY1973" fmla="*/ 790639 h 798932"/>
                    <a:gd name="connsiteX1974" fmla="*/ 182205 w 859464"/>
                    <a:gd name="connsiteY1974" fmla="*/ 788647 h 798932"/>
                    <a:gd name="connsiteX1975" fmla="*/ 182387 w 859464"/>
                    <a:gd name="connsiteY1975" fmla="*/ 787263 h 798932"/>
                    <a:gd name="connsiteX1976" fmla="*/ 182460 w 859464"/>
                    <a:gd name="connsiteY1976" fmla="*/ 787129 h 798932"/>
                    <a:gd name="connsiteX1977" fmla="*/ 183128 w 859464"/>
                    <a:gd name="connsiteY1977" fmla="*/ 786207 h 798932"/>
                    <a:gd name="connsiteX1978" fmla="*/ 183686 w 859464"/>
                    <a:gd name="connsiteY1978" fmla="*/ 785393 h 798932"/>
                    <a:gd name="connsiteX1979" fmla="*/ 183953 w 859464"/>
                    <a:gd name="connsiteY1979" fmla="*/ 784434 h 798932"/>
                    <a:gd name="connsiteX1980" fmla="*/ 184390 w 859464"/>
                    <a:gd name="connsiteY1980" fmla="*/ 782892 h 798932"/>
                    <a:gd name="connsiteX1981" fmla="*/ 184755 w 859464"/>
                    <a:gd name="connsiteY1981" fmla="*/ 781592 h 798932"/>
                    <a:gd name="connsiteX1982" fmla="*/ 185398 w 859464"/>
                    <a:gd name="connsiteY1982" fmla="*/ 781240 h 798932"/>
                    <a:gd name="connsiteX1983" fmla="*/ 188920 w 859464"/>
                    <a:gd name="connsiteY1983" fmla="*/ 780220 h 798932"/>
                    <a:gd name="connsiteX1984" fmla="*/ 189588 w 859464"/>
                    <a:gd name="connsiteY1984" fmla="*/ 780014 h 798932"/>
                    <a:gd name="connsiteX1985" fmla="*/ 190195 w 859464"/>
                    <a:gd name="connsiteY1985" fmla="*/ 779686 h 798932"/>
                    <a:gd name="connsiteX1986" fmla="*/ 192077 w 859464"/>
                    <a:gd name="connsiteY1986" fmla="*/ 778630 h 798932"/>
                    <a:gd name="connsiteX1987" fmla="*/ 193425 w 859464"/>
                    <a:gd name="connsiteY1987" fmla="*/ 777877 h 798932"/>
                    <a:gd name="connsiteX1988" fmla="*/ 194251 w 859464"/>
                    <a:gd name="connsiteY1988" fmla="*/ 776590 h 798932"/>
                    <a:gd name="connsiteX1989" fmla="*/ 195185 w 859464"/>
                    <a:gd name="connsiteY1989" fmla="*/ 775108 h 798932"/>
                    <a:gd name="connsiteX1990" fmla="*/ 195938 w 859464"/>
                    <a:gd name="connsiteY1990" fmla="*/ 773918 h 798932"/>
                    <a:gd name="connsiteX1991" fmla="*/ 196096 w 859464"/>
                    <a:gd name="connsiteY1991" fmla="*/ 772522 h 798932"/>
                    <a:gd name="connsiteX1992" fmla="*/ 196266 w 859464"/>
                    <a:gd name="connsiteY1992" fmla="*/ 770979 h 798932"/>
                    <a:gd name="connsiteX1993" fmla="*/ 196788 w 859464"/>
                    <a:gd name="connsiteY1993" fmla="*/ 768879 h 798932"/>
                    <a:gd name="connsiteX1994" fmla="*/ 196801 w 859464"/>
                    <a:gd name="connsiteY1994" fmla="*/ 768806 h 798932"/>
                    <a:gd name="connsiteX1995" fmla="*/ 197104 w 859464"/>
                    <a:gd name="connsiteY1995" fmla="*/ 768539 h 798932"/>
                    <a:gd name="connsiteX1996" fmla="*/ 197529 w 859464"/>
                    <a:gd name="connsiteY1996" fmla="*/ 766681 h 798932"/>
                    <a:gd name="connsiteX1997" fmla="*/ 197748 w 859464"/>
                    <a:gd name="connsiteY1997" fmla="*/ 765746 h 798932"/>
                    <a:gd name="connsiteX1998" fmla="*/ 198828 w 859464"/>
                    <a:gd name="connsiteY1998" fmla="*/ 763123 h 798932"/>
                    <a:gd name="connsiteX1999" fmla="*/ 199411 w 859464"/>
                    <a:gd name="connsiteY1999" fmla="*/ 761690 h 798932"/>
                    <a:gd name="connsiteX2000" fmla="*/ 199265 w 859464"/>
                    <a:gd name="connsiteY2000" fmla="*/ 760379 h 798932"/>
                    <a:gd name="connsiteX2001" fmla="*/ 199460 w 859464"/>
                    <a:gd name="connsiteY2001" fmla="*/ 760379 h 798932"/>
                    <a:gd name="connsiteX2002" fmla="*/ 203868 w 859464"/>
                    <a:gd name="connsiteY2002" fmla="*/ 760257 h 798932"/>
                    <a:gd name="connsiteX2003" fmla="*/ 206478 w 859464"/>
                    <a:gd name="connsiteY2003" fmla="*/ 760184 h 798932"/>
                    <a:gd name="connsiteX2004" fmla="*/ 208227 w 859464"/>
                    <a:gd name="connsiteY2004" fmla="*/ 758241 h 798932"/>
                    <a:gd name="connsiteX2005" fmla="*/ 209611 w 859464"/>
                    <a:gd name="connsiteY2005" fmla="*/ 756699 h 798932"/>
                    <a:gd name="connsiteX2006" fmla="*/ 210559 w 859464"/>
                    <a:gd name="connsiteY2006" fmla="*/ 755461 h 798932"/>
                    <a:gd name="connsiteX2007" fmla="*/ 211445 w 859464"/>
                    <a:gd name="connsiteY2007" fmla="*/ 755327 h 798932"/>
                    <a:gd name="connsiteX2008" fmla="*/ 211991 w 859464"/>
                    <a:gd name="connsiteY2008" fmla="*/ 755254 h 798932"/>
                    <a:gd name="connsiteX2009" fmla="*/ 212513 w 859464"/>
                    <a:gd name="connsiteY2009" fmla="*/ 755072 h 798932"/>
                    <a:gd name="connsiteX2010" fmla="*/ 215646 w 859464"/>
                    <a:gd name="connsiteY2010" fmla="*/ 754040 h 798932"/>
                    <a:gd name="connsiteX2011" fmla="*/ 216715 w 859464"/>
                    <a:gd name="connsiteY2011" fmla="*/ 753688 h 798932"/>
                    <a:gd name="connsiteX2012" fmla="*/ 217589 w 859464"/>
                    <a:gd name="connsiteY2012" fmla="*/ 752971 h 798932"/>
                    <a:gd name="connsiteX2013" fmla="*/ 219666 w 859464"/>
                    <a:gd name="connsiteY2013" fmla="*/ 751259 h 798932"/>
                    <a:gd name="connsiteX2014" fmla="*/ 222106 w 859464"/>
                    <a:gd name="connsiteY2014" fmla="*/ 750191 h 798932"/>
                    <a:gd name="connsiteX2015" fmla="*/ 223503 w 859464"/>
                    <a:gd name="connsiteY2015" fmla="*/ 749984 h 798932"/>
                    <a:gd name="connsiteX2016" fmla="*/ 228129 w 859464"/>
                    <a:gd name="connsiteY2016" fmla="*/ 750312 h 798932"/>
                    <a:gd name="connsiteX2017" fmla="*/ 235755 w 859464"/>
                    <a:gd name="connsiteY2017" fmla="*/ 751660 h 798932"/>
                    <a:gd name="connsiteX2018" fmla="*/ 240078 w 859464"/>
                    <a:gd name="connsiteY2018" fmla="*/ 753032 h 798932"/>
                    <a:gd name="connsiteX2019" fmla="*/ 242191 w 859464"/>
                    <a:gd name="connsiteY2019" fmla="*/ 753567 h 798932"/>
                    <a:gd name="connsiteX2020" fmla="*/ 244316 w 859464"/>
                    <a:gd name="connsiteY2020" fmla="*/ 754502 h 798932"/>
                    <a:gd name="connsiteX2021" fmla="*/ 245555 w 859464"/>
                    <a:gd name="connsiteY2021" fmla="*/ 755048 h 798932"/>
                    <a:gd name="connsiteX2022" fmla="*/ 246902 w 859464"/>
                    <a:gd name="connsiteY2022" fmla="*/ 755024 h 798932"/>
                    <a:gd name="connsiteX2023" fmla="*/ 249222 w 859464"/>
                    <a:gd name="connsiteY2023" fmla="*/ 754975 h 798932"/>
                    <a:gd name="connsiteX2024" fmla="*/ 251128 w 859464"/>
                    <a:gd name="connsiteY2024" fmla="*/ 754938 h 798932"/>
                    <a:gd name="connsiteX2025" fmla="*/ 252670 w 859464"/>
                    <a:gd name="connsiteY2025" fmla="*/ 753809 h 798932"/>
                    <a:gd name="connsiteX2026" fmla="*/ 254103 w 859464"/>
                    <a:gd name="connsiteY2026" fmla="*/ 752765 h 798932"/>
                    <a:gd name="connsiteX2027" fmla="*/ 256313 w 859464"/>
                    <a:gd name="connsiteY2027" fmla="*/ 750871 h 798932"/>
                    <a:gd name="connsiteX2028" fmla="*/ 256568 w 859464"/>
                    <a:gd name="connsiteY2028" fmla="*/ 750640 h 798932"/>
                    <a:gd name="connsiteX2029" fmla="*/ 256799 w 859464"/>
                    <a:gd name="connsiteY2029" fmla="*/ 750397 h 798932"/>
                    <a:gd name="connsiteX2030" fmla="*/ 259543 w 859464"/>
                    <a:gd name="connsiteY2030" fmla="*/ 747398 h 798932"/>
                    <a:gd name="connsiteX2031" fmla="*/ 259689 w 859464"/>
                    <a:gd name="connsiteY2031" fmla="*/ 747277 h 798932"/>
                    <a:gd name="connsiteX2032" fmla="*/ 260320 w 859464"/>
                    <a:gd name="connsiteY2032" fmla="*/ 747531 h 798932"/>
                    <a:gd name="connsiteX2033" fmla="*/ 261401 w 859464"/>
                    <a:gd name="connsiteY2033" fmla="*/ 748479 h 798932"/>
                    <a:gd name="connsiteX2034" fmla="*/ 262773 w 859464"/>
                    <a:gd name="connsiteY2034" fmla="*/ 749912 h 798932"/>
                    <a:gd name="connsiteX2035" fmla="*/ 264473 w 859464"/>
                    <a:gd name="connsiteY2035" fmla="*/ 752413 h 798932"/>
                    <a:gd name="connsiteX2036" fmla="*/ 264716 w 859464"/>
                    <a:gd name="connsiteY2036" fmla="*/ 752765 h 798932"/>
                    <a:gd name="connsiteX2037" fmla="*/ 265007 w 859464"/>
                    <a:gd name="connsiteY2037" fmla="*/ 753081 h 798932"/>
                    <a:gd name="connsiteX2038" fmla="*/ 266222 w 859464"/>
                    <a:gd name="connsiteY2038" fmla="*/ 754404 h 798932"/>
                    <a:gd name="connsiteX2039" fmla="*/ 266574 w 859464"/>
                    <a:gd name="connsiteY2039" fmla="*/ 754781 h 798932"/>
                    <a:gd name="connsiteX2040" fmla="*/ 266987 w 859464"/>
                    <a:gd name="connsiteY2040" fmla="*/ 755109 h 798932"/>
                    <a:gd name="connsiteX2041" fmla="*/ 269124 w 859464"/>
                    <a:gd name="connsiteY2041" fmla="*/ 756772 h 798932"/>
                    <a:gd name="connsiteX2042" fmla="*/ 269561 w 859464"/>
                    <a:gd name="connsiteY2042" fmla="*/ 757100 h 798932"/>
                    <a:gd name="connsiteX2043" fmla="*/ 270047 w 859464"/>
                    <a:gd name="connsiteY2043" fmla="*/ 757355 h 798932"/>
                    <a:gd name="connsiteX2044" fmla="*/ 275135 w 859464"/>
                    <a:gd name="connsiteY2044" fmla="*/ 760002 h 798932"/>
                    <a:gd name="connsiteX2045" fmla="*/ 275657 w 859464"/>
                    <a:gd name="connsiteY2045" fmla="*/ 760270 h 798932"/>
                    <a:gd name="connsiteX2046" fmla="*/ 276228 w 859464"/>
                    <a:gd name="connsiteY2046" fmla="*/ 760439 h 798932"/>
                    <a:gd name="connsiteX2047" fmla="*/ 278498 w 859464"/>
                    <a:gd name="connsiteY2047" fmla="*/ 761107 h 798932"/>
                    <a:gd name="connsiteX2048" fmla="*/ 278863 w 859464"/>
                    <a:gd name="connsiteY2048" fmla="*/ 761217 h 798932"/>
                    <a:gd name="connsiteX2049" fmla="*/ 279239 w 859464"/>
                    <a:gd name="connsiteY2049" fmla="*/ 761277 h 798932"/>
                    <a:gd name="connsiteX2050" fmla="*/ 281668 w 859464"/>
                    <a:gd name="connsiteY2050" fmla="*/ 761678 h 798932"/>
                    <a:gd name="connsiteX2051" fmla="*/ 282153 w 859464"/>
                    <a:gd name="connsiteY2051" fmla="*/ 761751 h 798932"/>
                    <a:gd name="connsiteX2052" fmla="*/ 282639 w 859464"/>
                    <a:gd name="connsiteY2052" fmla="*/ 761751 h 798932"/>
                    <a:gd name="connsiteX2053" fmla="*/ 285444 w 859464"/>
                    <a:gd name="connsiteY2053" fmla="*/ 761751 h 798932"/>
                    <a:gd name="connsiteX2054" fmla="*/ 285833 w 859464"/>
                    <a:gd name="connsiteY2054" fmla="*/ 761751 h 798932"/>
                    <a:gd name="connsiteX2055" fmla="*/ 286221 w 859464"/>
                    <a:gd name="connsiteY2055" fmla="*/ 761702 h 798932"/>
                    <a:gd name="connsiteX2056" fmla="*/ 290155 w 859464"/>
                    <a:gd name="connsiteY2056" fmla="*/ 761192 h 798932"/>
                    <a:gd name="connsiteX2057" fmla="*/ 291418 w 859464"/>
                    <a:gd name="connsiteY2057" fmla="*/ 761022 h 798932"/>
                    <a:gd name="connsiteX2058" fmla="*/ 292511 w 859464"/>
                    <a:gd name="connsiteY2058" fmla="*/ 760367 h 798932"/>
                    <a:gd name="connsiteX2059" fmla="*/ 295328 w 859464"/>
                    <a:gd name="connsiteY2059" fmla="*/ 758666 h 798932"/>
                    <a:gd name="connsiteX2060" fmla="*/ 295632 w 859464"/>
                    <a:gd name="connsiteY2060" fmla="*/ 758472 h 798932"/>
                    <a:gd name="connsiteX2061" fmla="*/ 295899 w 859464"/>
                    <a:gd name="connsiteY2061" fmla="*/ 758254 h 798932"/>
                    <a:gd name="connsiteX2062" fmla="*/ 299263 w 859464"/>
                    <a:gd name="connsiteY2062" fmla="*/ 755655 h 798932"/>
                    <a:gd name="connsiteX2063" fmla="*/ 299688 w 859464"/>
                    <a:gd name="connsiteY2063" fmla="*/ 755339 h 798932"/>
                    <a:gd name="connsiteX2064" fmla="*/ 300052 w 859464"/>
                    <a:gd name="connsiteY2064" fmla="*/ 754938 h 798932"/>
                    <a:gd name="connsiteX2065" fmla="*/ 301108 w 859464"/>
                    <a:gd name="connsiteY2065" fmla="*/ 753773 h 798932"/>
                    <a:gd name="connsiteX2066" fmla="*/ 302918 w 859464"/>
                    <a:gd name="connsiteY2066" fmla="*/ 751466 h 798932"/>
                    <a:gd name="connsiteX2067" fmla="*/ 303173 w 859464"/>
                    <a:gd name="connsiteY2067" fmla="*/ 751138 h 798932"/>
                    <a:gd name="connsiteX2068" fmla="*/ 303379 w 859464"/>
                    <a:gd name="connsiteY2068" fmla="*/ 750786 h 798932"/>
                    <a:gd name="connsiteX2069" fmla="*/ 306099 w 859464"/>
                    <a:gd name="connsiteY2069" fmla="*/ 746026 h 798932"/>
                    <a:gd name="connsiteX2070" fmla="*/ 306293 w 859464"/>
                    <a:gd name="connsiteY2070" fmla="*/ 745698 h 798932"/>
                    <a:gd name="connsiteX2071" fmla="*/ 306439 w 859464"/>
                    <a:gd name="connsiteY2071" fmla="*/ 745346 h 798932"/>
                    <a:gd name="connsiteX2072" fmla="*/ 306451 w 859464"/>
                    <a:gd name="connsiteY2072" fmla="*/ 745321 h 798932"/>
                    <a:gd name="connsiteX2073" fmla="*/ 307095 w 859464"/>
                    <a:gd name="connsiteY2073" fmla="*/ 745783 h 798932"/>
                    <a:gd name="connsiteX2074" fmla="*/ 308503 w 859464"/>
                    <a:gd name="connsiteY2074" fmla="*/ 746815 h 798932"/>
                    <a:gd name="connsiteX2075" fmla="*/ 310252 w 859464"/>
                    <a:gd name="connsiteY2075" fmla="*/ 746936 h 798932"/>
                    <a:gd name="connsiteX2076" fmla="*/ 312499 w 859464"/>
                    <a:gd name="connsiteY2076" fmla="*/ 747094 h 798932"/>
                    <a:gd name="connsiteX2077" fmla="*/ 314879 w 859464"/>
                    <a:gd name="connsiteY2077" fmla="*/ 747264 h 798932"/>
                    <a:gd name="connsiteX2078" fmla="*/ 316736 w 859464"/>
                    <a:gd name="connsiteY2078" fmla="*/ 745759 h 798932"/>
                    <a:gd name="connsiteX2079" fmla="*/ 318509 w 859464"/>
                    <a:gd name="connsiteY2079" fmla="*/ 744326 h 798932"/>
                    <a:gd name="connsiteX2080" fmla="*/ 319189 w 859464"/>
                    <a:gd name="connsiteY2080" fmla="*/ 743767 h 798932"/>
                    <a:gd name="connsiteX2081" fmla="*/ 319687 w 859464"/>
                    <a:gd name="connsiteY2081" fmla="*/ 743039 h 798932"/>
                    <a:gd name="connsiteX2082" fmla="*/ 319979 w 859464"/>
                    <a:gd name="connsiteY2082" fmla="*/ 742626 h 798932"/>
                    <a:gd name="connsiteX2083" fmla="*/ 320513 w 859464"/>
                    <a:gd name="connsiteY2083" fmla="*/ 742018 h 798932"/>
                    <a:gd name="connsiteX2084" fmla="*/ 321023 w 859464"/>
                    <a:gd name="connsiteY2084" fmla="*/ 741448 h 798932"/>
                    <a:gd name="connsiteX2085" fmla="*/ 321363 w 859464"/>
                    <a:gd name="connsiteY2085" fmla="*/ 740768 h 798932"/>
                    <a:gd name="connsiteX2086" fmla="*/ 322188 w 859464"/>
                    <a:gd name="connsiteY2086" fmla="*/ 739165 h 798932"/>
                    <a:gd name="connsiteX2087" fmla="*/ 322966 w 859464"/>
                    <a:gd name="connsiteY2087" fmla="*/ 737647 h 798932"/>
                    <a:gd name="connsiteX2088" fmla="*/ 322844 w 859464"/>
                    <a:gd name="connsiteY2088" fmla="*/ 735947 h 798932"/>
                    <a:gd name="connsiteX2089" fmla="*/ 322674 w 859464"/>
                    <a:gd name="connsiteY2089" fmla="*/ 733676 h 798932"/>
                    <a:gd name="connsiteX2090" fmla="*/ 322589 w 859464"/>
                    <a:gd name="connsiteY2090" fmla="*/ 732523 h 798932"/>
                    <a:gd name="connsiteX2091" fmla="*/ 322091 w 859464"/>
                    <a:gd name="connsiteY2091" fmla="*/ 731490 h 798932"/>
                    <a:gd name="connsiteX2092" fmla="*/ 319808 w 859464"/>
                    <a:gd name="connsiteY2092" fmla="*/ 726719 h 798932"/>
                    <a:gd name="connsiteX2093" fmla="*/ 319808 w 859464"/>
                    <a:gd name="connsiteY2093" fmla="*/ 726706 h 798932"/>
                    <a:gd name="connsiteX2094" fmla="*/ 320513 w 859464"/>
                    <a:gd name="connsiteY2094" fmla="*/ 726245 h 798932"/>
                    <a:gd name="connsiteX2095" fmla="*/ 323075 w 859464"/>
                    <a:gd name="connsiteY2095" fmla="*/ 724970 h 798932"/>
                    <a:gd name="connsiteX2096" fmla="*/ 326038 w 859464"/>
                    <a:gd name="connsiteY2096" fmla="*/ 723768 h 798932"/>
                    <a:gd name="connsiteX2097" fmla="*/ 329195 w 859464"/>
                    <a:gd name="connsiteY2097" fmla="*/ 722760 h 798932"/>
                    <a:gd name="connsiteX2098" fmla="*/ 332073 w 859464"/>
                    <a:gd name="connsiteY2098" fmla="*/ 721679 h 798932"/>
                    <a:gd name="connsiteX2099" fmla="*/ 332789 w 859464"/>
                    <a:gd name="connsiteY2099" fmla="*/ 721412 h 798932"/>
                    <a:gd name="connsiteX2100" fmla="*/ 333409 w 859464"/>
                    <a:gd name="connsiteY2100" fmla="*/ 720975 h 798932"/>
                    <a:gd name="connsiteX2101" fmla="*/ 336092 w 859464"/>
                    <a:gd name="connsiteY2101" fmla="*/ 719081 h 798932"/>
                    <a:gd name="connsiteX2102" fmla="*/ 336687 w 859464"/>
                    <a:gd name="connsiteY2102" fmla="*/ 718850 h 798932"/>
                    <a:gd name="connsiteX2103" fmla="*/ 337391 w 859464"/>
                    <a:gd name="connsiteY2103" fmla="*/ 718728 h 798932"/>
                    <a:gd name="connsiteX2104" fmla="*/ 338351 w 859464"/>
                    <a:gd name="connsiteY2104" fmla="*/ 718814 h 798932"/>
                    <a:gd name="connsiteX2105" fmla="*/ 340087 w 859464"/>
                    <a:gd name="connsiteY2105" fmla="*/ 719214 h 798932"/>
                    <a:gd name="connsiteX2106" fmla="*/ 342407 w 859464"/>
                    <a:gd name="connsiteY2106" fmla="*/ 719930 h 798932"/>
                    <a:gd name="connsiteX2107" fmla="*/ 343244 w 859464"/>
                    <a:gd name="connsiteY2107" fmla="*/ 720185 h 798932"/>
                    <a:gd name="connsiteX2108" fmla="*/ 344131 w 859464"/>
                    <a:gd name="connsiteY2108" fmla="*/ 720185 h 798932"/>
                    <a:gd name="connsiteX2109" fmla="*/ 353687 w 859464"/>
                    <a:gd name="connsiteY2109" fmla="*/ 720234 h 798932"/>
                    <a:gd name="connsiteX2110" fmla="*/ 354064 w 859464"/>
                    <a:gd name="connsiteY2110" fmla="*/ 720538 h 798932"/>
                    <a:gd name="connsiteX2111" fmla="*/ 354537 w 859464"/>
                    <a:gd name="connsiteY2111" fmla="*/ 720914 h 798932"/>
                    <a:gd name="connsiteX2112" fmla="*/ 355072 w 859464"/>
                    <a:gd name="connsiteY2112" fmla="*/ 721193 h 798932"/>
                    <a:gd name="connsiteX2113" fmla="*/ 356735 w 859464"/>
                    <a:gd name="connsiteY2113" fmla="*/ 722068 h 798932"/>
                    <a:gd name="connsiteX2114" fmla="*/ 357051 w 859464"/>
                    <a:gd name="connsiteY2114" fmla="*/ 722238 h 798932"/>
                    <a:gd name="connsiteX2115" fmla="*/ 357379 w 859464"/>
                    <a:gd name="connsiteY2115" fmla="*/ 722371 h 798932"/>
                    <a:gd name="connsiteX2116" fmla="*/ 359540 w 859464"/>
                    <a:gd name="connsiteY2116" fmla="*/ 723197 h 798932"/>
                    <a:gd name="connsiteX2117" fmla="*/ 359929 w 859464"/>
                    <a:gd name="connsiteY2117" fmla="*/ 723355 h 798932"/>
                    <a:gd name="connsiteX2118" fmla="*/ 360342 w 859464"/>
                    <a:gd name="connsiteY2118" fmla="*/ 723452 h 798932"/>
                    <a:gd name="connsiteX2119" fmla="*/ 362928 w 859464"/>
                    <a:gd name="connsiteY2119" fmla="*/ 724059 h 798932"/>
                    <a:gd name="connsiteX2120" fmla="*/ 364689 w 859464"/>
                    <a:gd name="connsiteY2120" fmla="*/ 724460 h 798932"/>
                    <a:gd name="connsiteX2121" fmla="*/ 366389 w 859464"/>
                    <a:gd name="connsiteY2121" fmla="*/ 723841 h 798932"/>
                    <a:gd name="connsiteX2122" fmla="*/ 369267 w 859464"/>
                    <a:gd name="connsiteY2122" fmla="*/ 722796 h 798932"/>
                    <a:gd name="connsiteX2123" fmla="*/ 369667 w 859464"/>
                    <a:gd name="connsiteY2123" fmla="*/ 722650 h 798932"/>
                    <a:gd name="connsiteX2124" fmla="*/ 370044 w 859464"/>
                    <a:gd name="connsiteY2124" fmla="*/ 722444 h 798932"/>
                    <a:gd name="connsiteX2125" fmla="*/ 372970 w 859464"/>
                    <a:gd name="connsiteY2125" fmla="*/ 720890 h 798932"/>
                    <a:gd name="connsiteX2126" fmla="*/ 373529 w 859464"/>
                    <a:gd name="connsiteY2126" fmla="*/ 720599 h 798932"/>
                    <a:gd name="connsiteX2127" fmla="*/ 374015 w 859464"/>
                    <a:gd name="connsiteY2127" fmla="*/ 720198 h 798932"/>
                    <a:gd name="connsiteX2128" fmla="*/ 376055 w 859464"/>
                    <a:gd name="connsiteY2128" fmla="*/ 718486 h 798932"/>
                    <a:gd name="connsiteX2129" fmla="*/ 376832 w 859464"/>
                    <a:gd name="connsiteY2129" fmla="*/ 717830 h 798932"/>
                    <a:gd name="connsiteX2130" fmla="*/ 377354 w 859464"/>
                    <a:gd name="connsiteY2130" fmla="*/ 716955 h 798932"/>
                    <a:gd name="connsiteX2131" fmla="*/ 378580 w 859464"/>
                    <a:gd name="connsiteY2131" fmla="*/ 714915 h 798932"/>
                    <a:gd name="connsiteX2132" fmla="*/ 379297 w 859464"/>
                    <a:gd name="connsiteY2132" fmla="*/ 713713 h 798932"/>
                    <a:gd name="connsiteX2133" fmla="*/ 379430 w 859464"/>
                    <a:gd name="connsiteY2133" fmla="*/ 712341 h 798932"/>
                    <a:gd name="connsiteX2134" fmla="*/ 380305 w 859464"/>
                    <a:gd name="connsiteY2134" fmla="*/ 702724 h 798932"/>
                    <a:gd name="connsiteX2135" fmla="*/ 380341 w 859464"/>
                    <a:gd name="connsiteY2135" fmla="*/ 702299 h 798932"/>
                    <a:gd name="connsiteX2136" fmla="*/ 380329 w 859464"/>
                    <a:gd name="connsiteY2136" fmla="*/ 701886 h 798932"/>
                    <a:gd name="connsiteX2137" fmla="*/ 380001 w 859464"/>
                    <a:gd name="connsiteY2137" fmla="*/ 694928 h 798932"/>
                    <a:gd name="connsiteX2138" fmla="*/ 379965 w 859464"/>
                    <a:gd name="connsiteY2138" fmla="*/ 694066 h 798932"/>
                    <a:gd name="connsiteX2139" fmla="*/ 379685 w 859464"/>
                    <a:gd name="connsiteY2139" fmla="*/ 693253 h 798932"/>
                    <a:gd name="connsiteX2140" fmla="*/ 378799 w 859464"/>
                    <a:gd name="connsiteY2140" fmla="*/ 690666 h 798932"/>
                    <a:gd name="connsiteX2141" fmla="*/ 378386 w 859464"/>
                    <a:gd name="connsiteY2141" fmla="*/ 689452 h 798932"/>
                    <a:gd name="connsiteX2142" fmla="*/ 377512 w 859464"/>
                    <a:gd name="connsiteY2142" fmla="*/ 688505 h 798932"/>
                    <a:gd name="connsiteX2143" fmla="*/ 377257 w 859464"/>
                    <a:gd name="connsiteY2143" fmla="*/ 688238 h 798932"/>
                    <a:gd name="connsiteX2144" fmla="*/ 377245 w 859464"/>
                    <a:gd name="connsiteY2144" fmla="*/ 687825 h 798932"/>
                    <a:gd name="connsiteX2145" fmla="*/ 377147 w 859464"/>
                    <a:gd name="connsiteY2145" fmla="*/ 684522 h 798932"/>
                    <a:gd name="connsiteX2146" fmla="*/ 377548 w 859464"/>
                    <a:gd name="connsiteY2146" fmla="*/ 680660 h 798932"/>
                    <a:gd name="connsiteX2147" fmla="*/ 378119 w 859464"/>
                    <a:gd name="connsiteY2147" fmla="*/ 677637 h 798932"/>
                    <a:gd name="connsiteX2148" fmla="*/ 378289 w 859464"/>
                    <a:gd name="connsiteY2148" fmla="*/ 677272 h 798932"/>
                    <a:gd name="connsiteX2149" fmla="*/ 378556 w 859464"/>
                    <a:gd name="connsiteY2149" fmla="*/ 677114 h 798932"/>
                    <a:gd name="connsiteX2150" fmla="*/ 381883 w 859464"/>
                    <a:gd name="connsiteY2150" fmla="*/ 675160 h 798932"/>
                    <a:gd name="connsiteX2151" fmla="*/ 381531 w 859464"/>
                    <a:gd name="connsiteY2151" fmla="*/ 671322 h 798932"/>
                    <a:gd name="connsiteX2152" fmla="*/ 381312 w 859464"/>
                    <a:gd name="connsiteY2152" fmla="*/ 669003 h 798932"/>
                    <a:gd name="connsiteX2153" fmla="*/ 381240 w 859464"/>
                    <a:gd name="connsiteY2153" fmla="*/ 668202 h 798932"/>
                    <a:gd name="connsiteX2154" fmla="*/ 380960 w 859464"/>
                    <a:gd name="connsiteY2154" fmla="*/ 667449 h 798932"/>
                    <a:gd name="connsiteX2155" fmla="*/ 380183 w 859464"/>
                    <a:gd name="connsiteY2155" fmla="*/ 665360 h 798932"/>
                    <a:gd name="connsiteX2156" fmla="*/ 379952 w 859464"/>
                    <a:gd name="connsiteY2156" fmla="*/ 664765 h 798932"/>
                    <a:gd name="connsiteX2157" fmla="*/ 379612 w 859464"/>
                    <a:gd name="connsiteY2157" fmla="*/ 664231 h 798932"/>
                    <a:gd name="connsiteX2158" fmla="*/ 379358 w 859464"/>
                    <a:gd name="connsiteY2158" fmla="*/ 663891 h 798932"/>
                    <a:gd name="connsiteX2159" fmla="*/ 379358 w 859464"/>
                    <a:gd name="connsiteY2159" fmla="*/ 663830 h 798932"/>
                    <a:gd name="connsiteX2160" fmla="*/ 379370 w 859464"/>
                    <a:gd name="connsiteY2160" fmla="*/ 663806 h 798932"/>
                    <a:gd name="connsiteX2161" fmla="*/ 384057 w 859464"/>
                    <a:gd name="connsiteY2161" fmla="*/ 659471 h 798932"/>
                    <a:gd name="connsiteX2162" fmla="*/ 385174 w 859464"/>
                    <a:gd name="connsiteY2162" fmla="*/ 658439 h 798932"/>
                    <a:gd name="connsiteX2163" fmla="*/ 385599 w 859464"/>
                    <a:gd name="connsiteY2163" fmla="*/ 657237 h 798932"/>
                    <a:gd name="connsiteX2164" fmla="*/ 387347 w 859464"/>
                    <a:gd name="connsiteY2164" fmla="*/ 656969 h 798932"/>
                    <a:gd name="connsiteX2165" fmla="*/ 387858 w 859464"/>
                    <a:gd name="connsiteY2165" fmla="*/ 656884 h 798932"/>
                    <a:gd name="connsiteX2166" fmla="*/ 388343 w 859464"/>
                    <a:gd name="connsiteY2166" fmla="*/ 656714 h 798932"/>
                    <a:gd name="connsiteX2167" fmla="*/ 392642 w 859464"/>
                    <a:gd name="connsiteY2167" fmla="*/ 655233 h 798932"/>
                    <a:gd name="connsiteX2168" fmla="*/ 394415 w 859464"/>
                    <a:gd name="connsiteY2168" fmla="*/ 654857 h 798932"/>
                    <a:gd name="connsiteX2169" fmla="*/ 396248 w 859464"/>
                    <a:gd name="connsiteY2169" fmla="*/ 654723 h 798932"/>
                    <a:gd name="connsiteX2170" fmla="*/ 406558 w 859464"/>
                    <a:gd name="connsiteY2170" fmla="*/ 654565 h 798932"/>
                    <a:gd name="connsiteX2171" fmla="*/ 411476 w 859464"/>
                    <a:gd name="connsiteY2171" fmla="*/ 654091 h 798932"/>
                    <a:gd name="connsiteX2172" fmla="*/ 412374 w 859464"/>
                    <a:gd name="connsiteY2172" fmla="*/ 654007 h 798932"/>
                    <a:gd name="connsiteX2173" fmla="*/ 413200 w 859464"/>
                    <a:gd name="connsiteY2173" fmla="*/ 653666 h 798932"/>
                    <a:gd name="connsiteX2174" fmla="*/ 414694 w 859464"/>
                    <a:gd name="connsiteY2174" fmla="*/ 653047 h 798932"/>
                    <a:gd name="connsiteX2175" fmla="*/ 415701 w 859464"/>
                    <a:gd name="connsiteY2175" fmla="*/ 652634 h 798932"/>
                    <a:gd name="connsiteX2176" fmla="*/ 416491 w 859464"/>
                    <a:gd name="connsiteY2176" fmla="*/ 651894 h 798932"/>
                    <a:gd name="connsiteX2177" fmla="*/ 418154 w 859464"/>
                    <a:gd name="connsiteY2177" fmla="*/ 650352 h 798932"/>
                    <a:gd name="connsiteX2178" fmla="*/ 419004 w 859464"/>
                    <a:gd name="connsiteY2178" fmla="*/ 649575 h 798932"/>
                    <a:gd name="connsiteX2179" fmla="*/ 419502 w 859464"/>
                    <a:gd name="connsiteY2179" fmla="*/ 648542 h 798932"/>
                    <a:gd name="connsiteX2180" fmla="*/ 420012 w 859464"/>
                    <a:gd name="connsiteY2180" fmla="*/ 647486 h 798932"/>
                    <a:gd name="connsiteX2181" fmla="*/ 421858 w 859464"/>
                    <a:gd name="connsiteY2181" fmla="*/ 646539 h 798932"/>
                    <a:gd name="connsiteX2182" fmla="*/ 426035 w 859464"/>
                    <a:gd name="connsiteY2182" fmla="*/ 644681 h 798932"/>
                    <a:gd name="connsiteX2183" fmla="*/ 427274 w 859464"/>
                    <a:gd name="connsiteY2183" fmla="*/ 644414 h 798932"/>
                    <a:gd name="connsiteX2184" fmla="*/ 430856 w 859464"/>
                    <a:gd name="connsiteY2184" fmla="*/ 644766 h 798932"/>
                    <a:gd name="connsiteX2185" fmla="*/ 431706 w 859464"/>
                    <a:gd name="connsiteY2185" fmla="*/ 644851 h 798932"/>
                    <a:gd name="connsiteX2186" fmla="*/ 432543 w 859464"/>
                    <a:gd name="connsiteY2186" fmla="*/ 644681 h 798932"/>
                    <a:gd name="connsiteX2187" fmla="*/ 435798 w 859464"/>
                    <a:gd name="connsiteY2187" fmla="*/ 644074 h 798932"/>
                    <a:gd name="connsiteX2188" fmla="*/ 436308 w 859464"/>
                    <a:gd name="connsiteY2188" fmla="*/ 643976 h 798932"/>
                    <a:gd name="connsiteX2189" fmla="*/ 436794 w 859464"/>
                    <a:gd name="connsiteY2189" fmla="*/ 643807 h 798932"/>
                    <a:gd name="connsiteX2190" fmla="*/ 438566 w 859464"/>
                    <a:gd name="connsiteY2190" fmla="*/ 643151 h 798932"/>
                    <a:gd name="connsiteX2191" fmla="*/ 438943 w 859464"/>
                    <a:gd name="connsiteY2191" fmla="*/ 643005 h 798932"/>
                    <a:gd name="connsiteX2192" fmla="*/ 439307 w 859464"/>
                    <a:gd name="connsiteY2192" fmla="*/ 642799 h 798932"/>
                    <a:gd name="connsiteX2193" fmla="*/ 441299 w 859464"/>
                    <a:gd name="connsiteY2193" fmla="*/ 641742 h 798932"/>
                    <a:gd name="connsiteX2194" fmla="*/ 441626 w 859464"/>
                    <a:gd name="connsiteY2194" fmla="*/ 641572 h 798932"/>
                    <a:gd name="connsiteX2195" fmla="*/ 441930 w 859464"/>
                    <a:gd name="connsiteY2195" fmla="*/ 641354 h 798932"/>
                    <a:gd name="connsiteX2196" fmla="*/ 444079 w 859464"/>
                    <a:gd name="connsiteY2196" fmla="*/ 639860 h 798932"/>
                    <a:gd name="connsiteX2197" fmla="*/ 444334 w 859464"/>
                    <a:gd name="connsiteY2197" fmla="*/ 639678 h 798932"/>
                    <a:gd name="connsiteX2198" fmla="*/ 444577 w 859464"/>
                    <a:gd name="connsiteY2198" fmla="*/ 639483 h 798932"/>
                    <a:gd name="connsiteX2199" fmla="*/ 445755 w 859464"/>
                    <a:gd name="connsiteY2199" fmla="*/ 638464 h 798932"/>
                    <a:gd name="connsiteX2200" fmla="*/ 445986 w 859464"/>
                    <a:gd name="connsiteY2200" fmla="*/ 638451 h 798932"/>
                    <a:gd name="connsiteX2201" fmla="*/ 448135 w 859464"/>
                    <a:gd name="connsiteY2201" fmla="*/ 638949 h 798932"/>
                    <a:gd name="connsiteX2202" fmla="*/ 449070 w 859464"/>
                    <a:gd name="connsiteY2202" fmla="*/ 639180 h 798932"/>
                    <a:gd name="connsiteX2203" fmla="*/ 450017 w 859464"/>
                    <a:gd name="connsiteY2203" fmla="*/ 639095 h 798932"/>
                    <a:gd name="connsiteX2204" fmla="*/ 452774 w 859464"/>
                    <a:gd name="connsiteY2204" fmla="*/ 638864 h 798932"/>
                    <a:gd name="connsiteX2205" fmla="*/ 455882 w 859464"/>
                    <a:gd name="connsiteY2205" fmla="*/ 638609 h 798932"/>
                    <a:gd name="connsiteX2206" fmla="*/ 457485 w 859464"/>
                    <a:gd name="connsiteY2206" fmla="*/ 635926 h 798932"/>
                    <a:gd name="connsiteX2207" fmla="*/ 458311 w 859464"/>
                    <a:gd name="connsiteY2207" fmla="*/ 634566 h 798932"/>
                    <a:gd name="connsiteX2208" fmla="*/ 459282 w 859464"/>
                    <a:gd name="connsiteY2208" fmla="*/ 633789 h 798932"/>
                    <a:gd name="connsiteX2209" fmla="*/ 460278 w 859464"/>
                    <a:gd name="connsiteY2209" fmla="*/ 633351 h 798932"/>
                    <a:gd name="connsiteX2210" fmla="*/ 466556 w 859464"/>
                    <a:gd name="connsiteY2210" fmla="*/ 632975 h 798932"/>
                    <a:gd name="connsiteX2211" fmla="*/ 467782 w 859464"/>
                    <a:gd name="connsiteY2211" fmla="*/ 632902 h 798932"/>
                    <a:gd name="connsiteX2212" fmla="*/ 468887 w 859464"/>
                    <a:gd name="connsiteY2212" fmla="*/ 632356 h 798932"/>
                    <a:gd name="connsiteX2213" fmla="*/ 470988 w 859464"/>
                    <a:gd name="connsiteY2213" fmla="*/ 631311 h 798932"/>
                    <a:gd name="connsiteX2214" fmla="*/ 472299 w 859464"/>
                    <a:gd name="connsiteY2214" fmla="*/ 630656 h 798932"/>
                    <a:gd name="connsiteX2215" fmla="*/ 473174 w 859464"/>
                    <a:gd name="connsiteY2215" fmla="*/ 629466 h 798932"/>
                    <a:gd name="connsiteX2216" fmla="*/ 474837 w 859464"/>
                    <a:gd name="connsiteY2216" fmla="*/ 627207 h 798932"/>
                    <a:gd name="connsiteX2217" fmla="*/ 477703 w 859464"/>
                    <a:gd name="connsiteY2217" fmla="*/ 630996 h 798932"/>
                    <a:gd name="connsiteX2218" fmla="*/ 479695 w 859464"/>
                    <a:gd name="connsiteY2218" fmla="*/ 633631 h 798932"/>
                    <a:gd name="connsiteX2219" fmla="*/ 482985 w 859464"/>
                    <a:gd name="connsiteY2219" fmla="*/ 633388 h 798932"/>
                    <a:gd name="connsiteX2220" fmla="*/ 485912 w 859464"/>
                    <a:gd name="connsiteY2220" fmla="*/ 633169 h 798932"/>
                    <a:gd name="connsiteX2221" fmla="*/ 486495 w 859464"/>
                    <a:gd name="connsiteY2221" fmla="*/ 633121 h 798932"/>
                    <a:gd name="connsiteX2222" fmla="*/ 487065 w 859464"/>
                    <a:gd name="connsiteY2222" fmla="*/ 632963 h 798932"/>
                    <a:gd name="connsiteX2223" fmla="*/ 489919 w 859464"/>
                    <a:gd name="connsiteY2223" fmla="*/ 632186 h 798932"/>
                    <a:gd name="connsiteX2224" fmla="*/ 490186 w 859464"/>
                    <a:gd name="connsiteY2224" fmla="*/ 632647 h 798932"/>
                    <a:gd name="connsiteX2225" fmla="*/ 491923 w 859464"/>
                    <a:gd name="connsiteY2225" fmla="*/ 637298 h 798932"/>
                    <a:gd name="connsiteX2226" fmla="*/ 492347 w 859464"/>
                    <a:gd name="connsiteY2226" fmla="*/ 638439 h 798932"/>
                    <a:gd name="connsiteX2227" fmla="*/ 493173 w 859464"/>
                    <a:gd name="connsiteY2227" fmla="*/ 639326 h 798932"/>
                    <a:gd name="connsiteX2228" fmla="*/ 495286 w 859464"/>
                    <a:gd name="connsiteY2228" fmla="*/ 641596 h 798932"/>
                    <a:gd name="connsiteX2229" fmla="*/ 496197 w 859464"/>
                    <a:gd name="connsiteY2229" fmla="*/ 642556 h 798932"/>
                    <a:gd name="connsiteX2230" fmla="*/ 497423 w 859464"/>
                    <a:gd name="connsiteY2230" fmla="*/ 643066 h 798932"/>
                    <a:gd name="connsiteX2231" fmla="*/ 499573 w 859464"/>
                    <a:gd name="connsiteY2231" fmla="*/ 643940 h 798932"/>
                    <a:gd name="connsiteX2232" fmla="*/ 499913 w 859464"/>
                    <a:gd name="connsiteY2232" fmla="*/ 644086 h 798932"/>
                    <a:gd name="connsiteX2233" fmla="*/ 500265 w 859464"/>
                    <a:gd name="connsiteY2233" fmla="*/ 644183 h 798932"/>
                    <a:gd name="connsiteX2234" fmla="*/ 502086 w 859464"/>
                    <a:gd name="connsiteY2234" fmla="*/ 644681 h 798932"/>
                    <a:gd name="connsiteX2235" fmla="*/ 503191 w 859464"/>
                    <a:gd name="connsiteY2235" fmla="*/ 644972 h 798932"/>
                    <a:gd name="connsiteX2236" fmla="*/ 504333 w 859464"/>
                    <a:gd name="connsiteY2236" fmla="*/ 644851 h 798932"/>
                    <a:gd name="connsiteX2237" fmla="*/ 507866 w 859464"/>
                    <a:gd name="connsiteY2237" fmla="*/ 644474 h 798932"/>
                    <a:gd name="connsiteX2238" fmla="*/ 509263 w 859464"/>
                    <a:gd name="connsiteY2238" fmla="*/ 644329 h 798932"/>
                    <a:gd name="connsiteX2239" fmla="*/ 510441 w 859464"/>
                    <a:gd name="connsiteY2239" fmla="*/ 643576 h 798932"/>
                    <a:gd name="connsiteX2240" fmla="*/ 513355 w 859464"/>
                    <a:gd name="connsiteY2240" fmla="*/ 641754 h 798932"/>
                    <a:gd name="connsiteX2241" fmla="*/ 514193 w 859464"/>
                    <a:gd name="connsiteY2241" fmla="*/ 641232 h 798932"/>
                    <a:gd name="connsiteX2242" fmla="*/ 514824 w 859464"/>
                    <a:gd name="connsiteY2242" fmla="*/ 640467 h 798932"/>
                    <a:gd name="connsiteX2243" fmla="*/ 517605 w 859464"/>
                    <a:gd name="connsiteY2243" fmla="*/ 637091 h 798932"/>
                    <a:gd name="connsiteX2244" fmla="*/ 517957 w 859464"/>
                    <a:gd name="connsiteY2244" fmla="*/ 636666 h 798932"/>
                    <a:gd name="connsiteX2245" fmla="*/ 518224 w 859464"/>
                    <a:gd name="connsiteY2245" fmla="*/ 636181 h 798932"/>
                    <a:gd name="connsiteX2246" fmla="*/ 521284 w 859464"/>
                    <a:gd name="connsiteY2246" fmla="*/ 630643 h 798932"/>
                    <a:gd name="connsiteX2247" fmla="*/ 522243 w 859464"/>
                    <a:gd name="connsiteY2247" fmla="*/ 629660 h 798932"/>
                    <a:gd name="connsiteX2248" fmla="*/ 524344 w 859464"/>
                    <a:gd name="connsiteY2248" fmla="*/ 628324 h 798932"/>
                    <a:gd name="connsiteX2249" fmla="*/ 524976 w 859464"/>
                    <a:gd name="connsiteY2249" fmla="*/ 627923 h 798932"/>
                    <a:gd name="connsiteX2250" fmla="*/ 525486 w 859464"/>
                    <a:gd name="connsiteY2250" fmla="*/ 627377 h 798932"/>
                    <a:gd name="connsiteX2251" fmla="*/ 526688 w 859464"/>
                    <a:gd name="connsiteY2251" fmla="*/ 626114 h 798932"/>
                    <a:gd name="connsiteX2252" fmla="*/ 526979 w 859464"/>
                    <a:gd name="connsiteY2252" fmla="*/ 625811 h 798932"/>
                    <a:gd name="connsiteX2253" fmla="*/ 527234 w 859464"/>
                    <a:gd name="connsiteY2253" fmla="*/ 625471 h 798932"/>
                    <a:gd name="connsiteX2254" fmla="*/ 528485 w 859464"/>
                    <a:gd name="connsiteY2254" fmla="*/ 623710 h 798932"/>
                    <a:gd name="connsiteX2255" fmla="*/ 529772 w 859464"/>
                    <a:gd name="connsiteY2255" fmla="*/ 622714 h 798932"/>
                    <a:gd name="connsiteX2256" fmla="*/ 530355 w 859464"/>
                    <a:gd name="connsiteY2256" fmla="*/ 622265 h 798932"/>
                    <a:gd name="connsiteX2257" fmla="*/ 530816 w 859464"/>
                    <a:gd name="connsiteY2257" fmla="*/ 621670 h 798932"/>
                    <a:gd name="connsiteX2258" fmla="*/ 531642 w 859464"/>
                    <a:gd name="connsiteY2258" fmla="*/ 620626 h 798932"/>
                    <a:gd name="connsiteX2259" fmla="*/ 532650 w 859464"/>
                    <a:gd name="connsiteY2259" fmla="*/ 619351 h 798932"/>
                    <a:gd name="connsiteX2260" fmla="*/ 532881 w 859464"/>
                    <a:gd name="connsiteY2260" fmla="*/ 617723 h 798932"/>
                    <a:gd name="connsiteX2261" fmla="*/ 533427 w 859464"/>
                    <a:gd name="connsiteY2261" fmla="*/ 613862 h 798932"/>
                    <a:gd name="connsiteX2262" fmla="*/ 533986 w 859464"/>
                    <a:gd name="connsiteY2262" fmla="*/ 612890 h 798932"/>
                    <a:gd name="connsiteX2263" fmla="*/ 534289 w 859464"/>
                    <a:gd name="connsiteY2263" fmla="*/ 612368 h 798932"/>
                    <a:gd name="connsiteX2264" fmla="*/ 534483 w 859464"/>
                    <a:gd name="connsiteY2264" fmla="*/ 611798 h 798932"/>
                    <a:gd name="connsiteX2265" fmla="*/ 535819 w 859464"/>
                    <a:gd name="connsiteY2265" fmla="*/ 607827 h 798932"/>
                    <a:gd name="connsiteX2266" fmla="*/ 536572 w 859464"/>
                    <a:gd name="connsiteY2266" fmla="*/ 606030 h 798932"/>
                    <a:gd name="connsiteX2267" fmla="*/ 538782 w 859464"/>
                    <a:gd name="connsiteY2267" fmla="*/ 600638 h 798932"/>
                    <a:gd name="connsiteX2268" fmla="*/ 533463 w 859464"/>
                    <a:gd name="connsiteY2268" fmla="*/ 598210 h 798932"/>
                    <a:gd name="connsiteX2269" fmla="*/ 530440 w 859464"/>
                    <a:gd name="connsiteY2269" fmla="*/ 596838 h 798932"/>
                    <a:gd name="connsiteX2270" fmla="*/ 530440 w 859464"/>
                    <a:gd name="connsiteY2270" fmla="*/ 596242 h 798932"/>
                    <a:gd name="connsiteX2271" fmla="*/ 530161 w 859464"/>
                    <a:gd name="connsiteY2271" fmla="*/ 595356 h 798932"/>
                    <a:gd name="connsiteX2272" fmla="*/ 529881 w 859464"/>
                    <a:gd name="connsiteY2272" fmla="*/ 594470 h 798932"/>
                    <a:gd name="connsiteX2273" fmla="*/ 528594 w 859464"/>
                    <a:gd name="connsiteY2273" fmla="*/ 590341 h 798932"/>
                    <a:gd name="connsiteX2274" fmla="*/ 524441 w 859464"/>
                    <a:gd name="connsiteY2274" fmla="*/ 590220 h 798932"/>
                    <a:gd name="connsiteX2275" fmla="*/ 525024 w 859464"/>
                    <a:gd name="connsiteY2275" fmla="*/ 588835 h 798932"/>
                    <a:gd name="connsiteX2276" fmla="*/ 525874 w 859464"/>
                    <a:gd name="connsiteY2276" fmla="*/ 587706 h 798932"/>
                    <a:gd name="connsiteX2277" fmla="*/ 527283 w 859464"/>
                    <a:gd name="connsiteY2277" fmla="*/ 586467 h 798932"/>
                    <a:gd name="connsiteX2278" fmla="*/ 527538 w 859464"/>
                    <a:gd name="connsiteY2278" fmla="*/ 586237 h 798932"/>
                    <a:gd name="connsiteX2279" fmla="*/ 527769 w 859464"/>
                    <a:gd name="connsiteY2279" fmla="*/ 585982 h 798932"/>
                    <a:gd name="connsiteX2280" fmla="*/ 529371 w 859464"/>
                    <a:gd name="connsiteY2280" fmla="*/ 584209 h 798932"/>
                    <a:gd name="connsiteX2281" fmla="*/ 530294 w 859464"/>
                    <a:gd name="connsiteY2281" fmla="*/ 583189 h 798932"/>
                    <a:gd name="connsiteX2282" fmla="*/ 530683 w 859464"/>
                    <a:gd name="connsiteY2282" fmla="*/ 581890 h 798932"/>
                    <a:gd name="connsiteX2283" fmla="*/ 530974 w 859464"/>
                    <a:gd name="connsiteY2283" fmla="*/ 580930 h 798932"/>
                    <a:gd name="connsiteX2284" fmla="*/ 533330 w 859464"/>
                    <a:gd name="connsiteY2284" fmla="*/ 581064 h 798932"/>
                    <a:gd name="connsiteX2285" fmla="*/ 539875 w 859464"/>
                    <a:gd name="connsiteY2285" fmla="*/ 581428 h 798932"/>
                    <a:gd name="connsiteX2286" fmla="*/ 539790 w 859464"/>
                    <a:gd name="connsiteY2286" fmla="*/ 577312 h 798932"/>
                    <a:gd name="connsiteX2287" fmla="*/ 539972 w 859464"/>
                    <a:gd name="connsiteY2287" fmla="*/ 577288 h 798932"/>
                    <a:gd name="connsiteX2288" fmla="*/ 542692 w 859464"/>
                    <a:gd name="connsiteY2288" fmla="*/ 576826 h 798932"/>
                    <a:gd name="connsiteX2289" fmla="*/ 542935 w 859464"/>
                    <a:gd name="connsiteY2289" fmla="*/ 576826 h 798932"/>
                    <a:gd name="connsiteX2290" fmla="*/ 545801 w 859464"/>
                    <a:gd name="connsiteY2290" fmla="*/ 576826 h 798932"/>
                    <a:gd name="connsiteX2291" fmla="*/ 547622 w 859464"/>
                    <a:gd name="connsiteY2291" fmla="*/ 574604 h 798932"/>
                    <a:gd name="connsiteX2292" fmla="*/ 548849 w 859464"/>
                    <a:gd name="connsiteY2292" fmla="*/ 573110 h 798932"/>
                    <a:gd name="connsiteX2293" fmla="*/ 549735 w 859464"/>
                    <a:gd name="connsiteY2293" fmla="*/ 572030 h 798932"/>
                    <a:gd name="connsiteX2294" fmla="*/ 550051 w 859464"/>
                    <a:gd name="connsiteY2294" fmla="*/ 570743 h 798932"/>
                    <a:gd name="connsiteX2295" fmla="*/ 550148 w 859464"/>
                    <a:gd name="connsiteY2295" fmla="*/ 570633 h 798932"/>
                    <a:gd name="connsiteX2296" fmla="*/ 551156 w 859464"/>
                    <a:gd name="connsiteY2296" fmla="*/ 569735 h 798932"/>
                    <a:gd name="connsiteX2297" fmla="*/ 551557 w 859464"/>
                    <a:gd name="connsiteY2297" fmla="*/ 570063 h 798932"/>
                    <a:gd name="connsiteX2298" fmla="*/ 554677 w 859464"/>
                    <a:gd name="connsiteY2298" fmla="*/ 572722 h 798932"/>
                    <a:gd name="connsiteX2299" fmla="*/ 557094 w 859464"/>
                    <a:gd name="connsiteY2299" fmla="*/ 571459 h 798932"/>
                    <a:gd name="connsiteX2300" fmla="*/ 557227 w 859464"/>
                    <a:gd name="connsiteY2300" fmla="*/ 571605 h 798932"/>
                    <a:gd name="connsiteX2301" fmla="*/ 557652 w 859464"/>
                    <a:gd name="connsiteY2301" fmla="*/ 571920 h 798932"/>
                    <a:gd name="connsiteX2302" fmla="*/ 558320 w 859464"/>
                    <a:gd name="connsiteY2302" fmla="*/ 572418 h 798932"/>
                    <a:gd name="connsiteX2303" fmla="*/ 560227 w 859464"/>
                    <a:gd name="connsiteY2303" fmla="*/ 573827 h 798932"/>
                    <a:gd name="connsiteX2304" fmla="*/ 562582 w 859464"/>
                    <a:gd name="connsiteY2304" fmla="*/ 573572 h 798932"/>
                    <a:gd name="connsiteX2305" fmla="*/ 563578 w 859464"/>
                    <a:gd name="connsiteY2305" fmla="*/ 573463 h 798932"/>
                    <a:gd name="connsiteX2306" fmla="*/ 564707 w 859464"/>
                    <a:gd name="connsiteY2306" fmla="*/ 573341 h 798932"/>
                    <a:gd name="connsiteX2307" fmla="*/ 564914 w 859464"/>
                    <a:gd name="connsiteY2307" fmla="*/ 573232 h 798932"/>
                    <a:gd name="connsiteX2308" fmla="*/ 566808 w 859464"/>
                    <a:gd name="connsiteY2308" fmla="*/ 575745 h 798932"/>
                    <a:gd name="connsiteX2309" fmla="*/ 568374 w 859464"/>
                    <a:gd name="connsiteY2309" fmla="*/ 578490 h 798932"/>
                    <a:gd name="connsiteX2310" fmla="*/ 568702 w 859464"/>
                    <a:gd name="connsiteY2310" fmla="*/ 580530 h 798932"/>
                    <a:gd name="connsiteX2311" fmla="*/ 569504 w 859464"/>
                    <a:gd name="connsiteY2311" fmla="*/ 583991 h 798932"/>
                    <a:gd name="connsiteX2312" fmla="*/ 569734 w 859464"/>
                    <a:gd name="connsiteY2312" fmla="*/ 584937 h 798932"/>
                    <a:gd name="connsiteX2313" fmla="*/ 570257 w 859464"/>
                    <a:gd name="connsiteY2313" fmla="*/ 585775 h 798932"/>
                    <a:gd name="connsiteX2314" fmla="*/ 570463 w 859464"/>
                    <a:gd name="connsiteY2314" fmla="*/ 586103 h 798932"/>
                    <a:gd name="connsiteX2315" fmla="*/ 570876 w 859464"/>
                    <a:gd name="connsiteY2315" fmla="*/ 588593 h 798932"/>
                    <a:gd name="connsiteX2316" fmla="*/ 570827 w 859464"/>
                    <a:gd name="connsiteY2316" fmla="*/ 590050 h 798932"/>
                    <a:gd name="connsiteX2317" fmla="*/ 570791 w 859464"/>
                    <a:gd name="connsiteY2317" fmla="*/ 591300 h 798932"/>
                    <a:gd name="connsiteX2318" fmla="*/ 571252 w 859464"/>
                    <a:gd name="connsiteY2318" fmla="*/ 592454 h 798932"/>
                    <a:gd name="connsiteX2319" fmla="*/ 571434 w 859464"/>
                    <a:gd name="connsiteY2319" fmla="*/ 592903 h 798932"/>
                    <a:gd name="connsiteX2320" fmla="*/ 571459 w 859464"/>
                    <a:gd name="connsiteY2320" fmla="*/ 593243 h 798932"/>
                    <a:gd name="connsiteX2321" fmla="*/ 571945 w 859464"/>
                    <a:gd name="connsiteY2321" fmla="*/ 598780 h 798932"/>
                    <a:gd name="connsiteX2322" fmla="*/ 573559 w 859464"/>
                    <a:gd name="connsiteY2322" fmla="*/ 598780 h 798932"/>
                    <a:gd name="connsiteX2323" fmla="*/ 573195 w 859464"/>
                    <a:gd name="connsiteY2323" fmla="*/ 600529 h 798932"/>
                    <a:gd name="connsiteX2324" fmla="*/ 579437 w 859464"/>
                    <a:gd name="connsiteY2324" fmla="*/ 601573 h 798932"/>
                    <a:gd name="connsiteX2325" fmla="*/ 580396 w 859464"/>
                    <a:gd name="connsiteY2325" fmla="*/ 601743 h 798932"/>
                    <a:gd name="connsiteX2326" fmla="*/ 580505 w 859464"/>
                    <a:gd name="connsiteY2326" fmla="*/ 602326 h 798932"/>
                    <a:gd name="connsiteX2327" fmla="*/ 580578 w 859464"/>
                    <a:gd name="connsiteY2327" fmla="*/ 602751 h 798932"/>
                    <a:gd name="connsiteX2328" fmla="*/ 580724 w 859464"/>
                    <a:gd name="connsiteY2328" fmla="*/ 603140 h 798932"/>
                    <a:gd name="connsiteX2329" fmla="*/ 581768 w 859464"/>
                    <a:gd name="connsiteY2329" fmla="*/ 606176 h 798932"/>
                    <a:gd name="connsiteX2330" fmla="*/ 583043 w 859464"/>
                    <a:gd name="connsiteY2330" fmla="*/ 609928 h 798932"/>
                    <a:gd name="connsiteX2331" fmla="*/ 586990 w 859464"/>
                    <a:gd name="connsiteY2331" fmla="*/ 610256 h 798932"/>
                    <a:gd name="connsiteX2332" fmla="*/ 589442 w 859464"/>
                    <a:gd name="connsiteY2332" fmla="*/ 610474 h 798932"/>
                    <a:gd name="connsiteX2333" fmla="*/ 591907 w 859464"/>
                    <a:gd name="connsiteY2333" fmla="*/ 608956 h 798932"/>
                    <a:gd name="connsiteX2334" fmla="*/ 593583 w 859464"/>
                    <a:gd name="connsiteY2334" fmla="*/ 607596 h 798932"/>
                    <a:gd name="connsiteX2335" fmla="*/ 593741 w 859464"/>
                    <a:gd name="connsiteY2335" fmla="*/ 607135 h 798932"/>
                    <a:gd name="connsiteX2336" fmla="*/ 594688 w 859464"/>
                    <a:gd name="connsiteY2336" fmla="*/ 606770 h 798932"/>
                    <a:gd name="connsiteX2337" fmla="*/ 596437 w 859464"/>
                    <a:gd name="connsiteY2337" fmla="*/ 607426 h 798932"/>
                    <a:gd name="connsiteX2338" fmla="*/ 596995 w 859464"/>
                    <a:gd name="connsiteY2338" fmla="*/ 607645 h 798932"/>
                    <a:gd name="connsiteX2339" fmla="*/ 597093 w 859464"/>
                    <a:gd name="connsiteY2339" fmla="*/ 608774 h 798932"/>
                    <a:gd name="connsiteX2340" fmla="*/ 597505 w 859464"/>
                    <a:gd name="connsiteY2340" fmla="*/ 613680 h 798932"/>
                    <a:gd name="connsiteX2341" fmla="*/ 602399 w 859464"/>
                    <a:gd name="connsiteY2341" fmla="*/ 614287 h 798932"/>
                    <a:gd name="connsiteX2342" fmla="*/ 604257 w 859464"/>
                    <a:gd name="connsiteY2342" fmla="*/ 614518 h 798932"/>
                    <a:gd name="connsiteX2343" fmla="*/ 604330 w 859464"/>
                    <a:gd name="connsiteY2343" fmla="*/ 614554 h 798932"/>
                    <a:gd name="connsiteX2344" fmla="*/ 604742 w 859464"/>
                    <a:gd name="connsiteY2344" fmla="*/ 615016 h 798932"/>
                    <a:gd name="connsiteX2345" fmla="*/ 605908 w 859464"/>
                    <a:gd name="connsiteY2345" fmla="*/ 616315 h 798932"/>
                    <a:gd name="connsiteX2346" fmla="*/ 607584 w 859464"/>
                    <a:gd name="connsiteY2346" fmla="*/ 616801 h 798932"/>
                    <a:gd name="connsiteX2347" fmla="*/ 611615 w 859464"/>
                    <a:gd name="connsiteY2347" fmla="*/ 617966 h 798932"/>
                    <a:gd name="connsiteX2348" fmla="*/ 611943 w 859464"/>
                    <a:gd name="connsiteY2348" fmla="*/ 618064 h 798932"/>
                    <a:gd name="connsiteX2349" fmla="*/ 612283 w 859464"/>
                    <a:gd name="connsiteY2349" fmla="*/ 618124 h 798932"/>
                    <a:gd name="connsiteX2350" fmla="*/ 613619 w 859464"/>
                    <a:gd name="connsiteY2350" fmla="*/ 618355 h 798932"/>
                    <a:gd name="connsiteX2351" fmla="*/ 614433 w 859464"/>
                    <a:gd name="connsiteY2351" fmla="*/ 618488 h 798932"/>
                    <a:gd name="connsiteX2352" fmla="*/ 615246 w 859464"/>
                    <a:gd name="connsiteY2352" fmla="*/ 618403 h 798932"/>
                    <a:gd name="connsiteX2353" fmla="*/ 616716 w 859464"/>
                    <a:gd name="connsiteY2353" fmla="*/ 618258 h 798932"/>
                    <a:gd name="connsiteX2354" fmla="*/ 618598 w 859464"/>
                    <a:gd name="connsiteY2354" fmla="*/ 618513 h 798932"/>
                    <a:gd name="connsiteX2355" fmla="*/ 621172 w 859464"/>
                    <a:gd name="connsiteY2355" fmla="*/ 619302 h 798932"/>
                    <a:gd name="connsiteX2356" fmla="*/ 625118 w 859464"/>
                    <a:gd name="connsiteY2356" fmla="*/ 620528 h 798932"/>
                    <a:gd name="connsiteX2357" fmla="*/ 627705 w 859464"/>
                    <a:gd name="connsiteY2357" fmla="*/ 617298 h 798932"/>
                    <a:gd name="connsiteX2358" fmla="*/ 628142 w 859464"/>
                    <a:gd name="connsiteY2358" fmla="*/ 616764 h 798932"/>
                    <a:gd name="connsiteX2359" fmla="*/ 632307 w 859464"/>
                    <a:gd name="connsiteY2359" fmla="*/ 614578 h 798932"/>
                    <a:gd name="connsiteX2360" fmla="*/ 632999 w 859464"/>
                    <a:gd name="connsiteY2360" fmla="*/ 614323 h 798932"/>
                    <a:gd name="connsiteX2361" fmla="*/ 643260 w 859464"/>
                    <a:gd name="connsiteY2361" fmla="*/ 610159 h 798932"/>
                    <a:gd name="connsiteX2362" fmla="*/ 634238 w 859464"/>
                    <a:gd name="connsiteY2362" fmla="*/ 603759 h 798932"/>
                    <a:gd name="connsiteX2363" fmla="*/ 633934 w 859464"/>
                    <a:gd name="connsiteY2363" fmla="*/ 603540 h 798932"/>
                    <a:gd name="connsiteX2364" fmla="*/ 633776 w 859464"/>
                    <a:gd name="connsiteY2364" fmla="*/ 603298 h 798932"/>
                    <a:gd name="connsiteX2365" fmla="*/ 633582 w 859464"/>
                    <a:gd name="connsiteY2365" fmla="*/ 603031 h 798932"/>
                    <a:gd name="connsiteX2366" fmla="*/ 633351 w 859464"/>
                    <a:gd name="connsiteY2366" fmla="*/ 602776 h 798932"/>
                    <a:gd name="connsiteX2367" fmla="*/ 631858 w 859464"/>
                    <a:gd name="connsiteY2367" fmla="*/ 601063 h 798932"/>
                    <a:gd name="connsiteX2368" fmla="*/ 630898 w 859464"/>
                    <a:gd name="connsiteY2368" fmla="*/ 599970 h 798932"/>
                    <a:gd name="connsiteX2369" fmla="*/ 629551 w 859464"/>
                    <a:gd name="connsiteY2369" fmla="*/ 599424 h 798932"/>
                    <a:gd name="connsiteX2370" fmla="*/ 629162 w 859464"/>
                    <a:gd name="connsiteY2370" fmla="*/ 599266 h 798932"/>
                    <a:gd name="connsiteX2371" fmla="*/ 629186 w 859464"/>
                    <a:gd name="connsiteY2371" fmla="*/ 599169 h 798932"/>
                    <a:gd name="connsiteX2372" fmla="*/ 629223 w 859464"/>
                    <a:gd name="connsiteY2372" fmla="*/ 598841 h 798932"/>
                    <a:gd name="connsiteX2373" fmla="*/ 629308 w 859464"/>
                    <a:gd name="connsiteY2373" fmla="*/ 598113 h 798932"/>
                    <a:gd name="connsiteX2374" fmla="*/ 633837 w 859464"/>
                    <a:gd name="connsiteY2374" fmla="*/ 597712 h 798932"/>
                    <a:gd name="connsiteX2375" fmla="*/ 633497 w 859464"/>
                    <a:gd name="connsiteY2375" fmla="*/ 591835 h 798932"/>
                    <a:gd name="connsiteX2376" fmla="*/ 633351 w 859464"/>
                    <a:gd name="connsiteY2376" fmla="*/ 589297 h 798932"/>
                    <a:gd name="connsiteX2377" fmla="*/ 633351 w 859464"/>
                    <a:gd name="connsiteY2377" fmla="*/ 589127 h 798932"/>
                    <a:gd name="connsiteX2378" fmla="*/ 633449 w 859464"/>
                    <a:gd name="connsiteY2378" fmla="*/ 589030 h 798932"/>
                    <a:gd name="connsiteX2379" fmla="*/ 633873 w 859464"/>
                    <a:gd name="connsiteY2379" fmla="*/ 587038 h 798932"/>
                    <a:gd name="connsiteX2380" fmla="*/ 634056 w 859464"/>
                    <a:gd name="connsiteY2380" fmla="*/ 586212 h 798932"/>
                    <a:gd name="connsiteX2381" fmla="*/ 634335 w 859464"/>
                    <a:gd name="connsiteY2381" fmla="*/ 584889 h 798932"/>
                    <a:gd name="connsiteX2382" fmla="*/ 634031 w 859464"/>
                    <a:gd name="connsiteY2382" fmla="*/ 583565 h 798932"/>
                    <a:gd name="connsiteX2383" fmla="*/ 633801 w 859464"/>
                    <a:gd name="connsiteY2383" fmla="*/ 582582 h 798932"/>
                    <a:gd name="connsiteX2384" fmla="*/ 633655 w 859464"/>
                    <a:gd name="connsiteY2384" fmla="*/ 581951 h 798932"/>
                    <a:gd name="connsiteX2385" fmla="*/ 633388 w 859464"/>
                    <a:gd name="connsiteY2385" fmla="*/ 581379 h 798932"/>
                    <a:gd name="connsiteX2386" fmla="*/ 632501 w 859464"/>
                    <a:gd name="connsiteY2386" fmla="*/ 579510 h 798932"/>
                    <a:gd name="connsiteX2387" fmla="*/ 630898 w 859464"/>
                    <a:gd name="connsiteY2387" fmla="*/ 576110 h 798932"/>
                    <a:gd name="connsiteX2388" fmla="*/ 627134 w 859464"/>
                    <a:gd name="connsiteY2388" fmla="*/ 576025 h 798932"/>
                    <a:gd name="connsiteX2389" fmla="*/ 626090 w 859464"/>
                    <a:gd name="connsiteY2389" fmla="*/ 576000 h 798932"/>
                    <a:gd name="connsiteX2390" fmla="*/ 620468 w 859464"/>
                    <a:gd name="connsiteY2390" fmla="*/ 572394 h 798932"/>
                    <a:gd name="connsiteX2391" fmla="*/ 615781 w 859464"/>
                    <a:gd name="connsiteY2391" fmla="*/ 569394 h 798932"/>
                    <a:gd name="connsiteX2392" fmla="*/ 613255 w 859464"/>
                    <a:gd name="connsiteY2392" fmla="*/ 572673 h 798932"/>
                    <a:gd name="connsiteX2393" fmla="*/ 611482 w 859464"/>
                    <a:gd name="connsiteY2393" fmla="*/ 572103 h 798932"/>
                    <a:gd name="connsiteX2394" fmla="*/ 605957 w 859464"/>
                    <a:gd name="connsiteY2394" fmla="*/ 570330 h 798932"/>
                    <a:gd name="connsiteX2395" fmla="*/ 605240 w 859464"/>
                    <a:gd name="connsiteY2395" fmla="*/ 572260 h 798932"/>
                    <a:gd name="connsiteX2396" fmla="*/ 607025 w 859464"/>
                    <a:gd name="connsiteY2396" fmla="*/ 566638 h 798932"/>
                    <a:gd name="connsiteX2397" fmla="*/ 609321 w 859464"/>
                    <a:gd name="connsiteY2397" fmla="*/ 566371 h 798932"/>
                    <a:gd name="connsiteX2398" fmla="*/ 610875 w 859464"/>
                    <a:gd name="connsiteY2398" fmla="*/ 564246 h 798932"/>
                    <a:gd name="connsiteX2399" fmla="*/ 611324 w 859464"/>
                    <a:gd name="connsiteY2399" fmla="*/ 563627 h 798932"/>
                    <a:gd name="connsiteX2400" fmla="*/ 612417 w 859464"/>
                    <a:gd name="connsiteY2400" fmla="*/ 562449 h 798932"/>
                    <a:gd name="connsiteX2401" fmla="*/ 613230 w 859464"/>
                    <a:gd name="connsiteY2401" fmla="*/ 561575 h 798932"/>
                    <a:gd name="connsiteX2402" fmla="*/ 613643 w 859464"/>
                    <a:gd name="connsiteY2402" fmla="*/ 560457 h 798932"/>
                    <a:gd name="connsiteX2403" fmla="*/ 614081 w 859464"/>
                    <a:gd name="connsiteY2403" fmla="*/ 559304 h 798932"/>
                    <a:gd name="connsiteX2404" fmla="*/ 614469 w 859464"/>
                    <a:gd name="connsiteY2404" fmla="*/ 558272 h 798932"/>
                    <a:gd name="connsiteX2405" fmla="*/ 614469 w 859464"/>
                    <a:gd name="connsiteY2405" fmla="*/ 557167 h 798932"/>
                    <a:gd name="connsiteX2406" fmla="*/ 614469 w 859464"/>
                    <a:gd name="connsiteY2406" fmla="*/ 555369 h 798932"/>
                    <a:gd name="connsiteX2407" fmla="*/ 614675 w 859464"/>
                    <a:gd name="connsiteY2407" fmla="*/ 553876 h 798932"/>
                    <a:gd name="connsiteX2408" fmla="*/ 614785 w 859464"/>
                    <a:gd name="connsiteY2408" fmla="*/ 553718 h 798932"/>
                    <a:gd name="connsiteX2409" fmla="*/ 615003 w 859464"/>
                    <a:gd name="connsiteY2409" fmla="*/ 553415 h 798932"/>
                    <a:gd name="connsiteX2410" fmla="*/ 616412 w 859464"/>
                    <a:gd name="connsiteY2410" fmla="*/ 553050 h 798932"/>
                    <a:gd name="connsiteX2411" fmla="*/ 617189 w 859464"/>
                    <a:gd name="connsiteY2411" fmla="*/ 552844 h 798932"/>
                    <a:gd name="connsiteX2412" fmla="*/ 617893 w 859464"/>
                    <a:gd name="connsiteY2412" fmla="*/ 552443 h 798932"/>
                    <a:gd name="connsiteX2413" fmla="*/ 619727 w 859464"/>
                    <a:gd name="connsiteY2413" fmla="*/ 551386 h 798932"/>
                    <a:gd name="connsiteX2414" fmla="*/ 620431 w 859464"/>
                    <a:gd name="connsiteY2414" fmla="*/ 550986 h 798932"/>
                    <a:gd name="connsiteX2415" fmla="*/ 620747 w 859464"/>
                    <a:gd name="connsiteY2415" fmla="*/ 550670 h 798932"/>
                    <a:gd name="connsiteX2416" fmla="*/ 621293 w 859464"/>
                    <a:gd name="connsiteY2416" fmla="*/ 550440 h 798932"/>
                    <a:gd name="connsiteX2417" fmla="*/ 622678 w 859464"/>
                    <a:gd name="connsiteY2417" fmla="*/ 549893 h 798932"/>
                    <a:gd name="connsiteX2418" fmla="*/ 624293 w 859464"/>
                    <a:gd name="connsiteY2418" fmla="*/ 549262 h 798932"/>
                    <a:gd name="connsiteX2419" fmla="*/ 624426 w 859464"/>
                    <a:gd name="connsiteY2419" fmla="*/ 549067 h 798932"/>
                    <a:gd name="connsiteX2420" fmla="*/ 625434 w 859464"/>
                    <a:gd name="connsiteY2420" fmla="*/ 549820 h 798932"/>
                    <a:gd name="connsiteX2421" fmla="*/ 625847 w 859464"/>
                    <a:gd name="connsiteY2421" fmla="*/ 550124 h 798932"/>
                    <a:gd name="connsiteX2422" fmla="*/ 626321 w 859464"/>
                    <a:gd name="connsiteY2422" fmla="*/ 550367 h 798932"/>
                    <a:gd name="connsiteX2423" fmla="*/ 626648 w 859464"/>
                    <a:gd name="connsiteY2423" fmla="*/ 550537 h 798932"/>
                    <a:gd name="connsiteX2424" fmla="*/ 626272 w 859464"/>
                    <a:gd name="connsiteY2424" fmla="*/ 551265 h 798932"/>
                    <a:gd name="connsiteX2425" fmla="*/ 630898 w 859464"/>
                    <a:gd name="connsiteY2425" fmla="*/ 553354 h 798932"/>
                    <a:gd name="connsiteX2426" fmla="*/ 630898 w 859464"/>
                    <a:gd name="connsiteY2426" fmla="*/ 553791 h 798932"/>
                    <a:gd name="connsiteX2427" fmla="*/ 628239 w 859464"/>
                    <a:gd name="connsiteY2427" fmla="*/ 558611 h 798932"/>
                    <a:gd name="connsiteX2428" fmla="*/ 632853 w 859464"/>
                    <a:gd name="connsiteY2428" fmla="*/ 561708 h 798932"/>
                    <a:gd name="connsiteX2429" fmla="*/ 633910 w 859464"/>
                    <a:gd name="connsiteY2429" fmla="*/ 562425 h 798932"/>
                    <a:gd name="connsiteX2430" fmla="*/ 635282 w 859464"/>
                    <a:gd name="connsiteY2430" fmla="*/ 563347 h 798932"/>
                    <a:gd name="connsiteX2431" fmla="*/ 636933 w 859464"/>
                    <a:gd name="connsiteY2431" fmla="*/ 563444 h 798932"/>
                    <a:gd name="connsiteX2432" fmla="*/ 638743 w 859464"/>
                    <a:gd name="connsiteY2432" fmla="*/ 563554 h 798932"/>
                    <a:gd name="connsiteX2433" fmla="*/ 639544 w 859464"/>
                    <a:gd name="connsiteY2433" fmla="*/ 563602 h 798932"/>
                    <a:gd name="connsiteX2434" fmla="*/ 640333 w 859464"/>
                    <a:gd name="connsiteY2434" fmla="*/ 563432 h 798932"/>
                    <a:gd name="connsiteX2435" fmla="*/ 642434 w 859464"/>
                    <a:gd name="connsiteY2435" fmla="*/ 562995 h 798932"/>
                    <a:gd name="connsiteX2436" fmla="*/ 643054 w 859464"/>
                    <a:gd name="connsiteY2436" fmla="*/ 562862 h 798932"/>
                    <a:gd name="connsiteX2437" fmla="*/ 643636 w 859464"/>
                    <a:gd name="connsiteY2437" fmla="*/ 562607 h 798932"/>
                    <a:gd name="connsiteX2438" fmla="*/ 644365 w 859464"/>
                    <a:gd name="connsiteY2438" fmla="*/ 562291 h 798932"/>
                    <a:gd name="connsiteX2439" fmla="*/ 645130 w 859464"/>
                    <a:gd name="connsiteY2439" fmla="*/ 562145 h 798932"/>
                    <a:gd name="connsiteX2440" fmla="*/ 645992 w 859464"/>
                    <a:gd name="connsiteY2440" fmla="*/ 561987 h 798932"/>
                    <a:gd name="connsiteX2441" fmla="*/ 646769 w 859464"/>
                    <a:gd name="connsiteY2441" fmla="*/ 561587 h 798932"/>
                    <a:gd name="connsiteX2442" fmla="*/ 647850 w 859464"/>
                    <a:gd name="connsiteY2442" fmla="*/ 561040 h 798932"/>
                    <a:gd name="connsiteX2443" fmla="*/ 649975 w 859464"/>
                    <a:gd name="connsiteY2443" fmla="*/ 561392 h 798932"/>
                    <a:gd name="connsiteX2444" fmla="*/ 650278 w 859464"/>
                    <a:gd name="connsiteY2444" fmla="*/ 561441 h 798932"/>
                    <a:gd name="connsiteX2445" fmla="*/ 650582 w 859464"/>
                    <a:gd name="connsiteY2445" fmla="*/ 561465 h 798932"/>
                    <a:gd name="connsiteX2446" fmla="*/ 651857 w 859464"/>
                    <a:gd name="connsiteY2446" fmla="*/ 561550 h 798932"/>
                    <a:gd name="connsiteX2447" fmla="*/ 654735 w 859464"/>
                    <a:gd name="connsiteY2447" fmla="*/ 562886 h 798932"/>
                    <a:gd name="connsiteX2448" fmla="*/ 655233 w 859464"/>
                    <a:gd name="connsiteY2448" fmla="*/ 563129 h 798932"/>
                    <a:gd name="connsiteX2449" fmla="*/ 655767 w 859464"/>
                    <a:gd name="connsiteY2449" fmla="*/ 563263 h 798932"/>
                    <a:gd name="connsiteX2450" fmla="*/ 659361 w 859464"/>
                    <a:gd name="connsiteY2450" fmla="*/ 564197 h 798932"/>
                    <a:gd name="connsiteX2451" fmla="*/ 659786 w 859464"/>
                    <a:gd name="connsiteY2451" fmla="*/ 564319 h 798932"/>
                    <a:gd name="connsiteX2452" fmla="*/ 660236 w 859464"/>
                    <a:gd name="connsiteY2452" fmla="*/ 564367 h 798932"/>
                    <a:gd name="connsiteX2453" fmla="*/ 662203 w 859464"/>
                    <a:gd name="connsiteY2453" fmla="*/ 564586 h 798932"/>
                    <a:gd name="connsiteX2454" fmla="*/ 662592 w 859464"/>
                    <a:gd name="connsiteY2454" fmla="*/ 564841 h 798932"/>
                    <a:gd name="connsiteX2455" fmla="*/ 663939 w 859464"/>
                    <a:gd name="connsiteY2455" fmla="*/ 565703 h 798932"/>
                    <a:gd name="connsiteX2456" fmla="*/ 665542 w 859464"/>
                    <a:gd name="connsiteY2456" fmla="*/ 565788 h 798932"/>
                    <a:gd name="connsiteX2457" fmla="*/ 666939 w 859464"/>
                    <a:gd name="connsiteY2457" fmla="*/ 565873 h 798932"/>
                    <a:gd name="connsiteX2458" fmla="*/ 668007 w 859464"/>
                    <a:gd name="connsiteY2458" fmla="*/ 566128 h 798932"/>
                    <a:gd name="connsiteX2459" fmla="*/ 670460 w 859464"/>
                    <a:gd name="connsiteY2459" fmla="*/ 571714 h 798932"/>
                    <a:gd name="connsiteX2460" fmla="*/ 676337 w 859464"/>
                    <a:gd name="connsiteY2460" fmla="*/ 568302 h 798932"/>
                    <a:gd name="connsiteX2461" fmla="*/ 678705 w 859464"/>
                    <a:gd name="connsiteY2461" fmla="*/ 566930 h 798932"/>
                    <a:gd name="connsiteX2462" fmla="*/ 679762 w 859464"/>
                    <a:gd name="connsiteY2462" fmla="*/ 566310 h 798932"/>
                    <a:gd name="connsiteX2463" fmla="*/ 680502 w 859464"/>
                    <a:gd name="connsiteY2463" fmla="*/ 565327 h 798932"/>
                    <a:gd name="connsiteX2464" fmla="*/ 681292 w 859464"/>
                    <a:gd name="connsiteY2464" fmla="*/ 564270 h 798932"/>
                    <a:gd name="connsiteX2465" fmla="*/ 681765 w 859464"/>
                    <a:gd name="connsiteY2465" fmla="*/ 563797 h 798932"/>
                    <a:gd name="connsiteX2466" fmla="*/ 682239 w 859464"/>
                    <a:gd name="connsiteY2466" fmla="*/ 563311 h 798932"/>
                    <a:gd name="connsiteX2467" fmla="*/ 682603 w 859464"/>
                    <a:gd name="connsiteY2467" fmla="*/ 562740 h 798932"/>
                    <a:gd name="connsiteX2468" fmla="*/ 683392 w 859464"/>
                    <a:gd name="connsiteY2468" fmla="*/ 561477 h 798932"/>
                    <a:gd name="connsiteX2469" fmla="*/ 684546 w 859464"/>
                    <a:gd name="connsiteY2469" fmla="*/ 559632 h 798932"/>
                    <a:gd name="connsiteX2470" fmla="*/ 684267 w 859464"/>
                    <a:gd name="connsiteY2470" fmla="*/ 557458 h 798932"/>
                    <a:gd name="connsiteX2471" fmla="*/ 684036 w 859464"/>
                    <a:gd name="connsiteY2471" fmla="*/ 555722 h 798932"/>
                    <a:gd name="connsiteX2472" fmla="*/ 684449 w 859464"/>
                    <a:gd name="connsiteY2472" fmla="*/ 554811 h 798932"/>
                    <a:gd name="connsiteX2473" fmla="*/ 684971 w 859464"/>
                    <a:gd name="connsiteY2473" fmla="*/ 553633 h 798932"/>
                    <a:gd name="connsiteX2474" fmla="*/ 684971 w 859464"/>
                    <a:gd name="connsiteY2474" fmla="*/ 552346 h 798932"/>
                    <a:gd name="connsiteX2475" fmla="*/ 684971 w 859464"/>
                    <a:gd name="connsiteY2475" fmla="*/ 552055 h 798932"/>
                    <a:gd name="connsiteX2476" fmla="*/ 685226 w 859464"/>
                    <a:gd name="connsiteY2476" fmla="*/ 550658 h 798932"/>
                    <a:gd name="connsiteX2477" fmla="*/ 685614 w 859464"/>
                    <a:gd name="connsiteY2477" fmla="*/ 548472 h 798932"/>
                    <a:gd name="connsiteX2478" fmla="*/ 684910 w 859464"/>
                    <a:gd name="connsiteY2478" fmla="*/ 547258 h 798932"/>
                    <a:gd name="connsiteX2479" fmla="*/ 685032 w 859464"/>
                    <a:gd name="connsiteY2479" fmla="*/ 547015 h 798932"/>
                    <a:gd name="connsiteX2480" fmla="*/ 686829 w 859464"/>
                    <a:gd name="connsiteY2480" fmla="*/ 546979 h 798932"/>
                    <a:gd name="connsiteX2481" fmla="*/ 687582 w 859464"/>
                    <a:gd name="connsiteY2481" fmla="*/ 546954 h 798932"/>
                    <a:gd name="connsiteX2482" fmla="*/ 688310 w 859464"/>
                    <a:gd name="connsiteY2482" fmla="*/ 546736 h 798932"/>
                    <a:gd name="connsiteX2483" fmla="*/ 689306 w 859464"/>
                    <a:gd name="connsiteY2483" fmla="*/ 546457 h 798932"/>
                    <a:gd name="connsiteX2484" fmla="*/ 690702 w 859464"/>
                    <a:gd name="connsiteY2484" fmla="*/ 546068 h 798932"/>
                    <a:gd name="connsiteX2485" fmla="*/ 691771 w 859464"/>
                    <a:gd name="connsiteY2485" fmla="*/ 545084 h 798932"/>
                    <a:gd name="connsiteX2486" fmla="*/ 692488 w 859464"/>
                    <a:gd name="connsiteY2486" fmla="*/ 544417 h 798932"/>
                    <a:gd name="connsiteX2487" fmla="*/ 694868 w 859464"/>
                    <a:gd name="connsiteY2487" fmla="*/ 542194 h 798932"/>
                    <a:gd name="connsiteX2488" fmla="*/ 694357 w 859464"/>
                    <a:gd name="connsiteY2488" fmla="*/ 538989 h 798932"/>
                    <a:gd name="connsiteX2489" fmla="*/ 694345 w 859464"/>
                    <a:gd name="connsiteY2489" fmla="*/ 538855 h 798932"/>
                    <a:gd name="connsiteX2490" fmla="*/ 694382 w 859464"/>
                    <a:gd name="connsiteY2490" fmla="*/ 538697 h 798932"/>
                    <a:gd name="connsiteX2491" fmla="*/ 694552 w 859464"/>
                    <a:gd name="connsiteY2491" fmla="*/ 538066 h 798932"/>
                    <a:gd name="connsiteX2492" fmla="*/ 694576 w 859464"/>
                    <a:gd name="connsiteY2492" fmla="*/ 537641 h 798932"/>
                    <a:gd name="connsiteX2493" fmla="*/ 696167 w 859464"/>
                    <a:gd name="connsiteY2493" fmla="*/ 538248 h 798932"/>
                    <a:gd name="connsiteX2494" fmla="*/ 700137 w 859464"/>
                    <a:gd name="connsiteY2494" fmla="*/ 539389 h 798932"/>
                    <a:gd name="connsiteX2495" fmla="*/ 701097 w 859464"/>
                    <a:gd name="connsiteY2495" fmla="*/ 539657 h 798932"/>
                    <a:gd name="connsiteX2496" fmla="*/ 702093 w 859464"/>
                    <a:gd name="connsiteY2496" fmla="*/ 539596 h 798932"/>
                    <a:gd name="connsiteX2497" fmla="*/ 703258 w 859464"/>
                    <a:gd name="connsiteY2497" fmla="*/ 539535 h 798932"/>
                    <a:gd name="connsiteX2498" fmla="*/ 704266 w 859464"/>
                    <a:gd name="connsiteY2498" fmla="*/ 539487 h 798932"/>
                    <a:gd name="connsiteX2499" fmla="*/ 705201 w 859464"/>
                    <a:gd name="connsiteY2499" fmla="*/ 539110 h 798932"/>
                    <a:gd name="connsiteX2500" fmla="*/ 706415 w 859464"/>
                    <a:gd name="connsiteY2500" fmla="*/ 538624 h 798932"/>
                    <a:gd name="connsiteX2501" fmla="*/ 706780 w 859464"/>
                    <a:gd name="connsiteY2501" fmla="*/ 538527 h 798932"/>
                    <a:gd name="connsiteX2502" fmla="*/ 710119 w 859464"/>
                    <a:gd name="connsiteY2502" fmla="*/ 538127 h 798932"/>
                    <a:gd name="connsiteX2503" fmla="*/ 712402 w 859464"/>
                    <a:gd name="connsiteY2503" fmla="*/ 537872 h 798932"/>
                    <a:gd name="connsiteX2504" fmla="*/ 713932 w 859464"/>
                    <a:gd name="connsiteY2504" fmla="*/ 536147 h 798932"/>
                    <a:gd name="connsiteX2505" fmla="*/ 714770 w 859464"/>
                    <a:gd name="connsiteY2505" fmla="*/ 535200 h 798932"/>
                    <a:gd name="connsiteX2506" fmla="*/ 715450 w 859464"/>
                    <a:gd name="connsiteY2506" fmla="*/ 535698 h 798932"/>
                    <a:gd name="connsiteX2507" fmla="*/ 718631 w 859464"/>
                    <a:gd name="connsiteY2507" fmla="*/ 534302 h 798932"/>
                    <a:gd name="connsiteX2508" fmla="*/ 722784 w 859464"/>
                    <a:gd name="connsiteY2508" fmla="*/ 532480 h 798932"/>
                    <a:gd name="connsiteX2509" fmla="*/ 728552 w 859464"/>
                    <a:gd name="connsiteY2509" fmla="*/ 530586 h 798932"/>
                    <a:gd name="connsiteX2510" fmla="*/ 732717 w 859464"/>
                    <a:gd name="connsiteY2510" fmla="*/ 529481 h 798932"/>
                    <a:gd name="connsiteX2511" fmla="*/ 735243 w 859464"/>
                    <a:gd name="connsiteY2511" fmla="*/ 529335 h 798932"/>
                    <a:gd name="connsiteX2512" fmla="*/ 738679 w 859464"/>
                    <a:gd name="connsiteY2512" fmla="*/ 529153 h 798932"/>
                    <a:gd name="connsiteX2513" fmla="*/ 740282 w 859464"/>
                    <a:gd name="connsiteY2513" fmla="*/ 526105 h 798932"/>
                    <a:gd name="connsiteX2514" fmla="*/ 740853 w 859464"/>
                    <a:gd name="connsiteY2514" fmla="*/ 525036 h 798932"/>
                    <a:gd name="connsiteX2515" fmla="*/ 742516 w 859464"/>
                    <a:gd name="connsiteY2515" fmla="*/ 523373 h 798932"/>
                    <a:gd name="connsiteX2516" fmla="*/ 746827 w 859464"/>
                    <a:gd name="connsiteY2516" fmla="*/ 519062 h 798932"/>
                    <a:gd name="connsiteX2517" fmla="*/ 742516 w 859464"/>
                    <a:gd name="connsiteY2517" fmla="*/ 514776 h 798932"/>
                    <a:gd name="connsiteX2518" fmla="*/ 742480 w 859464"/>
                    <a:gd name="connsiteY2518" fmla="*/ 511752 h 798932"/>
                    <a:gd name="connsiteX2519" fmla="*/ 744216 w 859464"/>
                    <a:gd name="connsiteY2519" fmla="*/ 512092 h 798932"/>
                    <a:gd name="connsiteX2520" fmla="*/ 745042 w 859464"/>
                    <a:gd name="connsiteY2520" fmla="*/ 512262 h 798932"/>
                    <a:gd name="connsiteX2521" fmla="*/ 745868 w 859464"/>
                    <a:gd name="connsiteY2521" fmla="*/ 512189 h 798932"/>
                    <a:gd name="connsiteX2522" fmla="*/ 748746 w 859464"/>
                    <a:gd name="connsiteY2522" fmla="*/ 511959 h 798932"/>
                    <a:gd name="connsiteX2523" fmla="*/ 751976 w 859464"/>
                    <a:gd name="connsiteY2523" fmla="*/ 512031 h 798932"/>
                    <a:gd name="connsiteX2524" fmla="*/ 752437 w 859464"/>
                    <a:gd name="connsiteY2524" fmla="*/ 512201 h 798932"/>
                    <a:gd name="connsiteX2525" fmla="*/ 755376 w 859464"/>
                    <a:gd name="connsiteY2525" fmla="*/ 513233 h 798932"/>
                    <a:gd name="connsiteX2526" fmla="*/ 757938 w 859464"/>
                    <a:gd name="connsiteY2526" fmla="*/ 511460 h 798932"/>
                    <a:gd name="connsiteX2527" fmla="*/ 760646 w 859464"/>
                    <a:gd name="connsiteY2527" fmla="*/ 509578 h 798932"/>
                    <a:gd name="connsiteX2528" fmla="*/ 761229 w 859464"/>
                    <a:gd name="connsiteY2528" fmla="*/ 509178 h 798932"/>
                    <a:gd name="connsiteX2529" fmla="*/ 761702 w 859464"/>
                    <a:gd name="connsiteY2529" fmla="*/ 508643 h 798932"/>
                    <a:gd name="connsiteX2530" fmla="*/ 763026 w 859464"/>
                    <a:gd name="connsiteY2530" fmla="*/ 507162 h 798932"/>
                    <a:gd name="connsiteX2531" fmla="*/ 763329 w 859464"/>
                    <a:gd name="connsiteY2531" fmla="*/ 506822 h 798932"/>
                    <a:gd name="connsiteX2532" fmla="*/ 763584 w 859464"/>
                    <a:gd name="connsiteY2532" fmla="*/ 506433 h 798932"/>
                    <a:gd name="connsiteX2533" fmla="*/ 765418 w 859464"/>
                    <a:gd name="connsiteY2533" fmla="*/ 503616 h 798932"/>
                    <a:gd name="connsiteX2534" fmla="*/ 765831 w 859464"/>
                    <a:gd name="connsiteY2534" fmla="*/ 502973 h 798932"/>
                    <a:gd name="connsiteX2535" fmla="*/ 766074 w 859464"/>
                    <a:gd name="connsiteY2535" fmla="*/ 502244 h 798932"/>
                    <a:gd name="connsiteX2536" fmla="*/ 766159 w 859464"/>
                    <a:gd name="connsiteY2536" fmla="*/ 501989 h 798932"/>
                    <a:gd name="connsiteX2537" fmla="*/ 766717 w 859464"/>
                    <a:gd name="connsiteY2537" fmla="*/ 502329 h 798932"/>
                    <a:gd name="connsiteX2538" fmla="*/ 769316 w 859464"/>
                    <a:gd name="connsiteY2538" fmla="*/ 503920 h 798932"/>
                    <a:gd name="connsiteX2539" fmla="*/ 769729 w 859464"/>
                    <a:gd name="connsiteY2539" fmla="*/ 504175 h 798932"/>
                    <a:gd name="connsiteX2540" fmla="*/ 770166 w 859464"/>
                    <a:gd name="connsiteY2540" fmla="*/ 504357 h 798932"/>
                    <a:gd name="connsiteX2541" fmla="*/ 771659 w 859464"/>
                    <a:gd name="connsiteY2541" fmla="*/ 504976 h 798932"/>
                    <a:gd name="connsiteX2542" fmla="*/ 772400 w 859464"/>
                    <a:gd name="connsiteY2542" fmla="*/ 505280 h 798932"/>
                    <a:gd name="connsiteX2543" fmla="*/ 773177 w 859464"/>
                    <a:gd name="connsiteY2543" fmla="*/ 505389 h 798932"/>
                    <a:gd name="connsiteX2544" fmla="*/ 774428 w 859464"/>
                    <a:gd name="connsiteY2544" fmla="*/ 505559 h 798932"/>
                    <a:gd name="connsiteX2545" fmla="*/ 775302 w 859464"/>
                    <a:gd name="connsiteY2545" fmla="*/ 505741 h 798932"/>
                    <a:gd name="connsiteX2546" fmla="*/ 776796 w 859464"/>
                    <a:gd name="connsiteY2546" fmla="*/ 506020 h 798932"/>
                    <a:gd name="connsiteX2547" fmla="*/ 778253 w 859464"/>
                    <a:gd name="connsiteY2547" fmla="*/ 505571 h 798932"/>
                    <a:gd name="connsiteX2548" fmla="*/ 781447 w 859464"/>
                    <a:gd name="connsiteY2548" fmla="*/ 504576 h 798932"/>
                    <a:gd name="connsiteX2549" fmla="*/ 782345 w 859464"/>
                    <a:gd name="connsiteY2549" fmla="*/ 504551 h 798932"/>
                    <a:gd name="connsiteX2550" fmla="*/ 786012 w 859464"/>
                    <a:gd name="connsiteY2550" fmla="*/ 504418 h 798932"/>
                    <a:gd name="connsiteX2551" fmla="*/ 787287 w 859464"/>
                    <a:gd name="connsiteY2551" fmla="*/ 501759 h 798932"/>
                    <a:gd name="connsiteX2552" fmla="*/ 788247 w 859464"/>
                    <a:gd name="connsiteY2552" fmla="*/ 501552 h 798932"/>
                    <a:gd name="connsiteX2553" fmla="*/ 789461 w 859464"/>
                    <a:gd name="connsiteY2553" fmla="*/ 500483 h 798932"/>
                    <a:gd name="connsiteX2554" fmla="*/ 790955 w 859464"/>
                    <a:gd name="connsiteY2554" fmla="*/ 499172 h 798932"/>
                    <a:gd name="connsiteX2555" fmla="*/ 791792 w 859464"/>
                    <a:gd name="connsiteY2555" fmla="*/ 498431 h 798932"/>
                    <a:gd name="connsiteX2556" fmla="*/ 792302 w 859464"/>
                    <a:gd name="connsiteY2556" fmla="*/ 497448 h 798932"/>
                    <a:gd name="connsiteX2557" fmla="*/ 793031 w 859464"/>
                    <a:gd name="connsiteY2557" fmla="*/ 496075 h 798932"/>
                    <a:gd name="connsiteX2558" fmla="*/ 793857 w 859464"/>
                    <a:gd name="connsiteY2558" fmla="*/ 494849 h 798932"/>
                    <a:gd name="connsiteX2559" fmla="*/ 794415 w 859464"/>
                    <a:gd name="connsiteY2559" fmla="*/ 494121 h 798932"/>
                    <a:gd name="connsiteX2560" fmla="*/ 796892 w 859464"/>
                    <a:gd name="connsiteY2560" fmla="*/ 491740 h 798932"/>
                    <a:gd name="connsiteX2561" fmla="*/ 797245 w 859464"/>
                    <a:gd name="connsiteY2561" fmla="*/ 491412 h 798932"/>
                    <a:gd name="connsiteX2562" fmla="*/ 797536 w 859464"/>
                    <a:gd name="connsiteY2562" fmla="*/ 491024 h 798932"/>
                    <a:gd name="connsiteX2563" fmla="*/ 799357 w 859464"/>
                    <a:gd name="connsiteY2563" fmla="*/ 488608 h 798932"/>
                    <a:gd name="connsiteX2564" fmla="*/ 801701 w 859464"/>
                    <a:gd name="connsiteY2564" fmla="*/ 485135 h 798932"/>
                    <a:gd name="connsiteX2565" fmla="*/ 802187 w 859464"/>
                    <a:gd name="connsiteY2565" fmla="*/ 484406 h 798932"/>
                    <a:gd name="connsiteX2566" fmla="*/ 802454 w 859464"/>
                    <a:gd name="connsiteY2566" fmla="*/ 483593 h 798932"/>
                    <a:gd name="connsiteX2567" fmla="*/ 802757 w 859464"/>
                    <a:gd name="connsiteY2567" fmla="*/ 482609 h 798932"/>
                    <a:gd name="connsiteX2568" fmla="*/ 802964 w 859464"/>
                    <a:gd name="connsiteY2568" fmla="*/ 481990 h 798932"/>
                    <a:gd name="connsiteX2569" fmla="*/ 803025 w 859464"/>
                    <a:gd name="connsiteY2569" fmla="*/ 481346 h 798932"/>
                    <a:gd name="connsiteX2570" fmla="*/ 803146 w 859464"/>
                    <a:gd name="connsiteY2570" fmla="*/ 480132 h 798932"/>
                    <a:gd name="connsiteX2571" fmla="*/ 803280 w 859464"/>
                    <a:gd name="connsiteY2571" fmla="*/ 478820 h 798932"/>
                    <a:gd name="connsiteX2572" fmla="*/ 802842 w 859464"/>
                    <a:gd name="connsiteY2572" fmla="*/ 477558 h 798932"/>
                    <a:gd name="connsiteX2573" fmla="*/ 802770 w 859464"/>
                    <a:gd name="connsiteY2573" fmla="*/ 477339 h 798932"/>
                    <a:gd name="connsiteX2574" fmla="*/ 802770 w 859464"/>
                    <a:gd name="connsiteY2574" fmla="*/ 477230 h 798932"/>
                    <a:gd name="connsiteX2575" fmla="*/ 803280 w 859464"/>
                    <a:gd name="connsiteY2575" fmla="*/ 475772 h 798932"/>
                    <a:gd name="connsiteX2576" fmla="*/ 803510 w 859464"/>
                    <a:gd name="connsiteY2576" fmla="*/ 475105 h 798932"/>
                    <a:gd name="connsiteX2577" fmla="*/ 803583 w 859464"/>
                    <a:gd name="connsiteY2577" fmla="*/ 474400 h 798932"/>
                    <a:gd name="connsiteX2578" fmla="*/ 803814 w 859464"/>
                    <a:gd name="connsiteY2578" fmla="*/ 472202 h 798932"/>
                    <a:gd name="connsiteX2579" fmla="*/ 803899 w 859464"/>
                    <a:gd name="connsiteY2579" fmla="*/ 471377 h 798932"/>
                    <a:gd name="connsiteX2580" fmla="*/ 803765 w 859464"/>
                    <a:gd name="connsiteY2580" fmla="*/ 470563 h 798932"/>
                    <a:gd name="connsiteX2581" fmla="*/ 803608 w 859464"/>
                    <a:gd name="connsiteY2581" fmla="*/ 469616 h 798932"/>
                    <a:gd name="connsiteX2582" fmla="*/ 803790 w 859464"/>
                    <a:gd name="connsiteY2582" fmla="*/ 466932 h 798932"/>
                    <a:gd name="connsiteX2583" fmla="*/ 804482 w 859464"/>
                    <a:gd name="connsiteY2583" fmla="*/ 466010 h 798932"/>
                    <a:gd name="connsiteX2584" fmla="*/ 804700 w 859464"/>
                    <a:gd name="connsiteY2584" fmla="*/ 465718 h 798932"/>
                    <a:gd name="connsiteX2585" fmla="*/ 804882 w 859464"/>
                    <a:gd name="connsiteY2585" fmla="*/ 465402 h 798932"/>
                    <a:gd name="connsiteX2586" fmla="*/ 805441 w 859464"/>
                    <a:gd name="connsiteY2586" fmla="*/ 464407 h 798932"/>
                    <a:gd name="connsiteX2587" fmla="*/ 806255 w 859464"/>
                    <a:gd name="connsiteY2587" fmla="*/ 463496 h 798932"/>
                    <a:gd name="connsiteX2588" fmla="*/ 806619 w 859464"/>
                    <a:gd name="connsiteY2588" fmla="*/ 463095 h 798932"/>
                    <a:gd name="connsiteX2589" fmla="*/ 806898 w 859464"/>
                    <a:gd name="connsiteY2589" fmla="*/ 462634 h 798932"/>
                    <a:gd name="connsiteX2590" fmla="*/ 807505 w 859464"/>
                    <a:gd name="connsiteY2590" fmla="*/ 461638 h 798932"/>
                    <a:gd name="connsiteX2591" fmla="*/ 808210 w 859464"/>
                    <a:gd name="connsiteY2591" fmla="*/ 460472 h 798932"/>
                    <a:gd name="connsiteX2592" fmla="*/ 808355 w 859464"/>
                    <a:gd name="connsiteY2592" fmla="*/ 459137 h 798932"/>
                    <a:gd name="connsiteX2593" fmla="*/ 808647 w 859464"/>
                    <a:gd name="connsiteY2593" fmla="*/ 456392 h 798932"/>
                    <a:gd name="connsiteX2594" fmla="*/ 806837 w 859464"/>
                    <a:gd name="connsiteY2594" fmla="*/ 453818 h 798932"/>
                    <a:gd name="connsiteX2595" fmla="*/ 806279 w 859464"/>
                    <a:gd name="connsiteY2595" fmla="*/ 453211 h 798932"/>
                    <a:gd name="connsiteX2596" fmla="*/ 806121 w 859464"/>
                    <a:gd name="connsiteY2596" fmla="*/ 453065 h 798932"/>
                    <a:gd name="connsiteX2597" fmla="*/ 808052 w 859464"/>
                    <a:gd name="connsiteY2597" fmla="*/ 451547 h 798932"/>
                    <a:gd name="connsiteX2598" fmla="*/ 808841 w 859464"/>
                    <a:gd name="connsiteY2598" fmla="*/ 450928 h 798932"/>
                    <a:gd name="connsiteX2599" fmla="*/ 809388 w 859464"/>
                    <a:gd name="connsiteY2599" fmla="*/ 450078 h 798932"/>
                    <a:gd name="connsiteX2600" fmla="*/ 811257 w 859464"/>
                    <a:gd name="connsiteY2600" fmla="*/ 447212 h 798932"/>
                    <a:gd name="connsiteX2601" fmla="*/ 811719 w 859464"/>
                    <a:gd name="connsiteY2601" fmla="*/ 446496 h 798932"/>
                    <a:gd name="connsiteX2602" fmla="*/ 811974 w 859464"/>
                    <a:gd name="connsiteY2602" fmla="*/ 445695 h 798932"/>
                    <a:gd name="connsiteX2603" fmla="*/ 812180 w 859464"/>
                    <a:gd name="connsiteY2603" fmla="*/ 445039 h 798932"/>
                    <a:gd name="connsiteX2604" fmla="*/ 813225 w 859464"/>
                    <a:gd name="connsiteY2604" fmla="*/ 442768 h 798932"/>
                    <a:gd name="connsiteX2605" fmla="*/ 813674 w 859464"/>
                    <a:gd name="connsiteY2605" fmla="*/ 442051 h 798932"/>
                    <a:gd name="connsiteX2606" fmla="*/ 814390 w 859464"/>
                    <a:gd name="connsiteY2606" fmla="*/ 441493 h 798932"/>
                    <a:gd name="connsiteX2607" fmla="*/ 815471 w 859464"/>
                    <a:gd name="connsiteY2607" fmla="*/ 440643 h 798932"/>
                    <a:gd name="connsiteX2608" fmla="*/ 816078 w 859464"/>
                    <a:gd name="connsiteY2608" fmla="*/ 439404 h 798932"/>
                    <a:gd name="connsiteX2609" fmla="*/ 816576 w 859464"/>
                    <a:gd name="connsiteY2609" fmla="*/ 438396 h 798932"/>
                    <a:gd name="connsiteX2610" fmla="*/ 817208 w 859464"/>
                    <a:gd name="connsiteY2610" fmla="*/ 437134 h 798932"/>
                    <a:gd name="connsiteX2611" fmla="*/ 817208 w 859464"/>
                    <a:gd name="connsiteY2611" fmla="*/ 435713 h 798932"/>
                    <a:gd name="connsiteX2612" fmla="*/ 817208 w 859464"/>
                    <a:gd name="connsiteY2612" fmla="*/ 433175 h 798932"/>
                    <a:gd name="connsiteX2613" fmla="*/ 817293 w 859464"/>
                    <a:gd name="connsiteY2613" fmla="*/ 432264 h 798932"/>
                    <a:gd name="connsiteX2614" fmla="*/ 820923 w 859464"/>
                    <a:gd name="connsiteY2614" fmla="*/ 430491 h 798932"/>
                    <a:gd name="connsiteX2615" fmla="*/ 821822 w 859464"/>
                    <a:gd name="connsiteY2615" fmla="*/ 430054 h 798932"/>
                    <a:gd name="connsiteX2616" fmla="*/ 822538 w 859464"/>
                    <a:gd name="connsiteY2616" fmla="*/ 429350 h 798932"/>
                    <a:gd name="connsiteX2617" fmla="*/ 823206 w 859464"/>
                    <a:gd name="connsiteY2617" fmla="*/ 428682 h 798932"/>
                    <a:gd name="connsiteX2618" fmla="*/ 823935 w 859464"/>
                    <a:gd name="connsiteY2618" fmla="*/ 427941 h 798932"/>
                    <a:gd name="connsiteX2619" fmla="*/ 824396 w 859464"/>
                    <a:gd name="connsiteY2619" fmla="*/ 427019 h 798932"/>
                    <a:gd name="connsiteX2620" fmla="*/ 824457 w 859464"/>
                    <a:gd name="connsiteY2620" fmla="*/ 426897 h 798932"/>
                    <a:gd name="connsiteX2621" fmla="*/ 824821 w 859464"/>
                    <a:gd name="connsiteY2621" fmla="*/ 426836 h 798932"/>
                    <a:gd name="connsiteX2622" fmla="*/ 826436 w 859464"/>
                    <a:gd name="connsiteY2622" fmla="*/ 426836 h 798932"/>
                    <a:gd name="connsiteX2623" fmla="*/ 830941 w 859464"/>
                    <a:gd name="connsiteY2623" fmla="*/ 426557 h 798932"/>
                    <a:gd name="connsiteX2624" fmla="*/ 831864 w 859464"/>
                    <a:gd name="connsiteY2624" fmla="*/ 426497 h 798932"/>
                    <a:gd name="connsiteX2625" fmla="*/ 832726 w 859464"/>
                    <a:gd name="connsiteY2625" fmla="*/ 426156 h 798932"/>
                    <a:gd name="connsiteX2626" fmla="*/ 834596 w 859464"/>
                    <a:gd name="connsiteY2626" fmla="*/ 425428 h 798932"/>
                    <a:gd name="connsiteX2627" fmla="*/ 835398 w 859464"/>
                    <a:gd name="connsiteY2627" fmla="*/ 425124 h 798932"/>
                    <a:gd name="connsiteX2628" fmla="*/ 836078 w 859464"/>
                    <a:gd name="connsiteY2628" fmla="*/ 424602 h 798932"/>
                    <a:gd name="connsiteX2629" fmla="*/ 837304 w 859464"/>
                    <a:gd name="connsiteY2629" fmla="*/ 423667 h 798932"/>
                    <a:gd name="connsiteX2630" fmla="*/ 838021 w 859464"/>
                    <a:gd name="connsiteY2630" fmla="*/ 423121 h 798932"/>
                    <a:gd name="connsiteX2631" fmla="*/ 838543 w 859464"/>
                    <a:gd name="connsiteY2631" fmla="*/ 422392 h 798932"/>
                    <a:gd name="connsiteX2632" fmla="*/ 839745 w 859464"/>
                    <a:gd name="connsiteY2632" fmla="*/ 420729 h 798932"/>
                    <a:gd name="connsiteX2633" fmla="*/ 840218 w 859464"/>
                    <a:gd name="connsiteY2633" fmla="*/ 420073 h 798932"/>
                    <a:gd name="connsiteX2634" fmla="*/ 840498 w 859464"/>
                    <a:gd name="connsiteY2634" fmla="*/ 419332 h 798932"/>
                    <a:gd name="connsiteX2635" fmla="*/ 841141 w 859464"/>
                    <a:gd name="connsiteY2635" fmla="*/ 417668 h 798932"/>
                    <a:gd name="connsiteX2636" fmla="*/ 842878 w 859464"/>
                    <a:gd name="connsiteY2636" fmla="*/ 416357 h 798932"/>
                    <a:gd name="connsiteX2637" fmla="*/ 843631 w 859464"/>
                    <a:gd name="connsiteY2637" fmla="*/ 416552 h 798932"/>
                    <a:gd name="connsiteX2638" fmla="*/ 847176 w 859464"/>
                    <a:gd name="connsiteY2638" fmla="*/ 417438 h 798932"/>
                    <a:gd name="connsiteX2639" fmla="*/ 849629 w 859464"/>
                    <a:gd name="connsiteY2639" fmla="*/ 414718 h 798932"/>
                    <a:gd name="connsiteX2640" fmla="*/ 850127 w 859464"/>
                    <a:gd name="connsiteY2640" fmla="*/ 414159 h 798932"/>
                    <a:gd name="connsiteX2641" fmla="*/ 851281 w 859464"/>
                    <a:gd name="connsiteY2641" fmla="*/ 414026 h 798932"/>
                    <a:gd name="connsiteX2642" fmla="*/ 853855 w 859464"/>
                    <a:gd name="connsiteY2642" fmla="*/ 413734 h 798932"/>
                    <a:gd name="connsiteX2643" fmla="*/ 855421 w 859464"/>
                    <a:gd name="connsiteY2643" fmla="*/ 411658 h 798932"/>
                    <a:gd name="connsiteX2644" fmla="*/ 856016 w 859464"/>
                    <a:gd name="connsiteY2644" fmla="*/ 410881 h 798932"/>
                    <a:gd name="connsiteX2645" fmla="*/ 856672 w 859464"/>
                    <a:gd name="connsiteY2645" fmla="*/ 410346 h 798932"/>
                    <a:gd name="connsiteX2646" fmla="*/ 859465 w 859464"/>
                    <a:gd name="connsiteY2646" fmla="*/ 408076 h 798932"/>
                    <a:gd name="connsiteX2647" fmla="*/ 858821 w 859464"/>
                    <a:gd name="connsiteY2647" fmla="*/ 404542 h 798932"/>
                    <a:gd name="connsiteX2648" fmla="*/ 858530 w 859464"/>
                    <a:gd name="connsiteY2648" fmla="*/ 402939 h 798932"/>
                    <a:gd name="connsiteX2649" fmla="*/ 858360 w 859464"/>
                    <a:gd name="connsiteY2649" fmla="*/ 402041 h 798932"/>
                    <a:gd name="connsiteX2650" fmla="*/ 857947 w 859464"/>
                    <a:gd name="connsiteY2650" fmla="*/ 401239 h 798932"/>
                    <a:gd name="connsiteX2651" fmla="*/ 856951 w 859464"/>
                    <a:gd name="connsiteY2651" fmla="*/ 399308 h 798932"/>
                    <a:gd name="connsiteX2652" fmla="*/ 856733 w 859464"/>
                    <a:gd name="connsiteY2652" fmla="*/ 398883 h 798932"/>
                    <a:gd name="connsiteX2653" fmla="*/ 856441 w 859464"/>
                    <a:gd name="connsiteY2653" fmla="*/ 398495 h 798932"/>
                    <a:gd name="connsiteX2654" fmla="*/ 855300 w 859464"/>
                    <a:gd name="connsiteY2654" fmla="*/ 396940 h 798932"/>
                    <a:gd name="connsiteX2655" fmla="*/ 854644 w 859464"/>
                    <a:gd name="connsiteY2655" fmla="*/ 396054 h 798932"/>
                    <a:gd name="connsiteX2656" fmla="*/ 853709 w 859464"/>
                    <a:gd name="connsiteY2656" fmla="*/ 395447 h 798932"/>
                    <a:gd name="connsiteX2657" fmla="*/ 852252 w 859464"/>
                    <a:gd name="connsiteY2657" fmla="*/ 394500 h 798932"/>
                    <a:gd name="connsiteX2658" fmla="*/ 851924 w 859464"/>
                    <a:gd name="connsiteY2658" fmla="*/ 394063 h 798932"/>
                    <a:gd name="connsiteX2659" fmla="*/ 851657 w 859464"/>
                    <a:gd name="connsiteY2659" fmla="*/ 393601 h 798932"/>
                    <a:gd name="connsiteX2660" fmla="*/ 847808 w 859464"/>
                    <a:gd name="connsiteY2660" fmla="*/ 387408 h 798932"/>
                    <a:gd name="connsiteX2661" fmla="*/ 842416 w 859464"/>
                    <a:gd name="connsiteY2661" fmla="*/ 392302 h 798932"/>
                    <a:gd name="connsiteX2662" fmla="*/ 840983 w 859464"/>
                    <a:gd name="connsiteY2662" fmla="*/ 393589 h 798932"/>
                    <a:gd name="connsiteX2663" fmla="*/ 840485 w 859464"/>
                    <a:gd name="connsiteY2663" fmla="*/ 394038 h 798932"/>
                    <a:gd name="connsiteX2664" fmla="*/ 840097 w 859464"/>
                    <a:gd name="connsiteY2664" fmla="*/ 394597 h 798932"/>
                    <a:gd name="connsiteX2665" fmla="*/ 838810 w 859464"/>
                    <a:gd name="connsiteY2665" fmla="*/ 396431 h 798932"/>
                    <a:gd name="connsiteX2666" fmla="*/ 837681 w 859464"/>
                    <a:gd name="connsiteY2666" fmla="*/ 397609 h 798932"/>
                    <a:gd name="connsiteX2667" fmla="*/ 837013 w 859464"/>
                    <a:gd name="connsiteY2667" fmla="*/ 397900 h 798932"/>
                    <a:gd name="connsiteX2668" fmla="*/ 831415 w 859464"/>
                    <a:gd name="connsiteY2668" fmla="*/ 398604 h 798932"/>
                    <a:gd name="connsiteX2669" fmla="*/ 830200 w 859464"/>
                    <a:gd name="connsiteY2669" fmla="*/ 398762 h 798932"/>
                    <a:gd name="connsiteX2670" fmla="*/ 829144 w 859464"/>
                    <a:gd name="connsiteY2670" fmla="*/ 399357 h 798932"/>
                    <a:gd name="connsiteX2671" fmla="*/ 826218 w 859464"/>
                    <a:gd name="connsiteY2671" fmla="*/ 401033 h 798932"/>
                    <a:gd name="connsiteX2672" fmla="*/ 825768 w 859464"/>
                    <a:gd name="connsiteY2672" fmla="*/ 401288 h 798932"/>
                    <a:gd name="connsiteX2673" fmla="*/ 825368 w 859464"/>
                    <a:gd name="connsiteY2673" fmla="*/ 401616 h 798932"/>
                    <a:gd name="connsiteX2674" fmla="*/ 822089 w 859464"/>
                    <a:gd name="connsiteY2674" fmla="*/ 404311 h 798932"/>
                    <a:gd name="connsiteX2675" fmla="*/ 821810 w 859464"/>
                    <a:gd name="connsiteY2675" fmla="*/ 404542 h 798932"/>
                    <a:gd name="connsiteX2676" fmla="*/ 821555 w 859464"/>
                    <a:gd name="connsiteY2676" fmla="*/ 404797 h 798932"/>
                    <a:gd name="connsiteX2677" fmla="*/ 819041 w 859464"/>
                    <a:gd name="connsiteY2677" fmla="*/ 407408 h 798932"/>
                    <a:gd name="connsiteX2678" fmla="*/ 816783 w 859464"/>
                    <a:gd name="connsiteY2678" fmla="*/ 408622 h 798932"/>
                    <a:gd name="connsiteX2679" fmla="*/ 815714 w 859464"/>
                    <a:gd name="connsiteY2679" fmla="*/ 408282 h 798932"/>
                    <a:gd name="connsiteX2680" fmla="*/ 810031 w 859464"/>
                    <a:gd name="connsiteY2680" fmla="*/ 404785 h 798932"/>
                    <a:gd name="connsiteX2681" fmla="*/ 809157 w 859464"/>
                    <a:gd name="connsiteY2681" fmla="*/ 404251 h 798932"/>
                    <a:gd name="connsiteX2682" fmla="*/ 808149 w 859464"/>
                    <a:gd name="connsiteY2682" fmla="*/ 404020 h 798932"/>
                    <a:gd name="connsiteX2683" fmla="*/ 805988 w 859464"/>
                    <a:gd name="connsiteY2683" fmla="*/ 403546 h 798932"/>
                    <a:gd name="connsiteX2684" fmla="*/ 804579 w 859464"/>
                    <a:gd name="connsiteY2684" fmla="*/ 403243 h 798932"/>
                    <a:gd name="connsiteX2685" fmla="*/ 803170 w 859464"/>
                    <a:gd name="connsiteY2685" fmla="*/ 403595 h 798932"/>
                    <a:gd name="connsiteX2686" fmla="*/ 801883 w 859464"/>
                    <a:gd name="connsiteY2686" fmla="*/ 403923 h 798932"/>
                    <a:gd name="connsiteX2687" fmla="*/ 799709 w 859464"/>
                    <a:gd name="connsiteY2687" fmla="*/ 404481 h 798932"/>
                    <a:gd name="connsiteX2688" fmla="*/ 798422 w 859464"/>
                    <a:gd name="connsiteY2688" fmla="*/ 406315 h 798932"/>
                    <a:gd name="connsiteX2689" fmla="*/ 797572 w 859464"/>
                    <a:gd name="connsiteY2689" fmla="*/ 407529 h 798932"/>
                    <a:gd name="connsiteX2690" fmla="*/ 797111 w 859464"/>
                    <a:gd name="connsiteY2690" fmla="*/ 408197 h 798932"/>
                    <a:gd name="connsiteX2691" fmla="*/ 796832 w 859464"/>
                    <a:gd name="connsiteY2691" fmla="*/ 408962 h 798932"/>
                    <a:gd name="connsiteX2692" fmla="*/ 796322 w 859464"/>
                    <a:gd name="connsiteY2692" fmla="*/ 410383 h 798932"/>
                    <a:gd name="connsiteX2693" fmla="*/ 795253 w 859464"/>
                    <a:gd name="connsiteY2693" fmla="*/ 409933 h 798932"/>
                    <a:gd name="connsiteX2694" fmla="*/ 794743 w 859464"/>
                    <a:gd name="connsiteY2694" fmla="*/ 409703 h 798932"/>
                    <a:gd name="connsiteX2695" fmla="*/ 794209 w 859464"/>
                    <a:gd name="connsiteY2695" fmla="*/ 409581 h 798932"/>
                    <a:gd name="connsiteX2696" fmla="*/ 783766 w 859464"/>
                    <a:gd name="connsiteY2696" fmla="*/ 407262 h 798932"/>
                    <a:gd name="connsiteX2697" fmla="*/ 783207 w 859464"/>
                    <a:gd name="connsiteY2697" fmla="*/ 407140 h 798932"/>
                    <a:gd name="connsiteX2698" fmla="*/ 782637 w 859464"/>
                    <a:gd name="connsiteY2698" fmla="*/ 407116 h 798932"/>
                    <a:gd name="connsiteX2699" fmla="*/ 768624 w 859464"/>
                    <a:gd name="connsiteY2699" fmla="*/ 406691 h 798932"/>
                    <a:gd name="connsiteX2700" fmla="*/ 768174 w 859464"/>
                    <a:gd name="connsiteY2700" fmla="*/ 406679 h 798932"/>
                    <a:gd name="connsiteX2701" fmla="*/ 767737 w 859464"/>
                    <a:gd name="connsiteY2701" fmla="*/ 406728 h 798932"/>
                    <a:gd name="connsiteX2702" fmla="*/ 759686 w 859464"/>
                    <a:gd name="connsiteY2702" fmla="*/ 407663 h 798932"/>
                    <a:gd name="connsiteX2703" fmla="*/ 755133 w 859464"/>
                    <a:gd name="connsiteY2703" fmla="*/ 407687 h 798932"/>
                    <a:gd name="connsiteX2704" fmla="*/ 751939 w 859464"/>
                    <a:gd name="connsiteY2704" fmla="*/ 406959 h 798932"/>
                    <a:gd name="connsiteX2705" fmla="*/ 749401 w 859464"/>
                    <a:gd name="connsiteY2705" fmla="*/ 405853 h 798932"/>
                    <a:gd name="connsiteX2706" fmla="*/ 744969 w 859464"/>
                    <a:gd name="connsiteY2706" fmla="*/ 403182 h 798932"/>
                    <a:gd name="connsiteX2707" fmla="*/ 742480 w 859464"/>
                    <a:gd name="connsiteY2707" fmla="*/ 401968 h 798932"/>
                    <a:gd name="connsiteX2708" fmla="*/ 741715 w 859464"/>
                    <a:gd name="connsiteY2708" fmla="*/ 401603 h 798932"/>
                    <a:gd name="connsiteX2709" fmla="*/ 740877 w 859464"/>
                    <a:gd name="connsiteY2709" fmla="*/ 401470 h 798932"/>
                    <a:gd name="connsiteX2710" fmla="*/ 738995 w 859464"/>
                    <a:gd name="connsiteY2710" fmla="*/ 401166 h 798932"/>
                    <a:gd name="connsiteX2711" fmla="*/ 738084 w 859464"/>
                    <a:gd name="connsiteY2711" fmla="*/ 401009 h 798932"/>
                    <a:gd name="connsiteX2712" fmla="*/ 737173 w 859464"/>
                    <a:gd name="connsiteY2712" fmla="*/ 401142 h 798932"/>
                    <a:gd name="connsiteX2713" fmla="*/ 735376 w 859464"/>
                    <a:gd name="connsiteY2713" fmla="*/ 401397 h 798932"/>
                    <a:gd name="connsiteX2714" fmla="*/ 734247 w 859464"/>
                    <a:gd name="connsiteY2714" fmla="*/ 401555 h 798932"/>
                    <a:gd name="connsiteX2715" fmla="*/ 733239 w 859464"/>
                    <a:gd name="connsiteY2715" fmla="*/ 402113 h 798932"/>
                    <a:gd name="connsiteX2716" fmla="*/ 730956 w 859464"/>
                    <a:gd name="connsiteY2716" fmla="*/ 403388 h 798932"/>
                    <a:gd name="connsiteX2717" fmla="*/ 725820 w 859464"/>
                    <a:gd name="connsiteY2717" fmla="*/ 406922 h 798932"/>
                    <a:gd name="connsiteX2718" fmla="*/ 721436 w 859464"/>
                    <a:gd name="connsiteY2718" fmla="*/ 409023 h 798932"/>
                    <a:gd name="connsiteX2719" fmla="*/ 720926 w 859464"/>
                    <a:gd name="connsiteY2719" fmla="*/ 409266 h 798932"/>
                    <a:gd name="connsiteX2720" fmla="*/ 720465 w 859464"/>
                    <a:gd name="connsiteY2720" fmla="*/ 409606 h 798932"/>
                    <a:gd name="connsiteX2721" fmla="*/ 716251 w 859464"/>
                    <a:gd name="connsiteY2721" fmla="*/ 412678 h 798932"/>
                    <a:gd name="connsiteX2722" fmla="*/ 715778 w 859464"/>
                    <a:gd name="connsiteY2722" fmla="*/ 412908 h 798932"/>
                    <a:gd name="connsiteX2723" fmla="*/ 715668 w 859464"/>
                    <a:gd name="connsiteY2723" fmla="*/ 412836 h 798932"/>
                    <a:gd name="connsiteX2724" fmla="*/ 713847 w 859464"/>
                    <a:gd name="connsiteY2724" fmla="*/ 410201 h 798932"/>
                    <a:gd name="connsiteX2725" fmla="*/ 711807 w 859464"/>
                    <a:gd name="connsiteY2725" fmla="*/ 405295 h 798932"/>
                    <a:gd name="connsiteX2726" fmla="*/ 710641 w 859464"/>
                    <a:gd name="connsiteY2726" fmla="*/ 382442 h 798932"/>
                    <a:gd name="connsiteX2727" fmla="*/ 710605 w 859464"/>
                    <a:gd name="connsiteY2727" fmla="*/ 381738 h 798932"/>
                    <a:gd name="connsiteX2728" fmla="*/ 710410 w 859464"/>
                    <a:gd name="connsiteY2728" fmla="*/ 381058 h 798932"/>
                    <a:gd name="connsiteX2729" fmla="*/ 709500 w 859464"/>
                    <a:gd name="connsiteY2729" fmla="*/ 377900 h 798932"/>
                    <a:gd name="connsiteX2730" fmla="*/ 709293 w 859464"/>
                    <a:gd name="connsiteY2730" fmla="*/ 377208 h 798932"/>
                    <a:gd name="connsiteX2731" fmla="*/ 708941 w 859464"/>
                    <a:gd name="connsiteY2731" fmla="*/ 376589 h 798932"/>
                    <a:gd name="connsiteX2732" fmla="*/ 705383 w 859464"/>
                    <a:gd name="connsiteY2732" fmla="*/ 370299 h 798932"/>
                    <a:gd name="connsiteX2733" fmla="*/ 704412 w 859464"/>
                    <a:gd name="connsiteY2733" fmla="*/ 368101 h 798932"/>
                    <a:gd name="connsiteX2734" fmla="*/ 703392 w 859464"/>
                    <a:gd name="connsiteY2734" fmla="*/ 364689 h 798932"/>
                    <a:gd name="connsiteX2735" fmla="*/ 702930 w 859464"/>
                    <a:gd name="connsiteY2735" fmla="*/ 362260 h 798932"/>
                    <a:gd name="connsiteX2736" fmla="*/ 702857 w 859464"/>
                    <a:gd name="connsiteY2736" fmla="*/ 359783 h 798932"/>
                    <a:gd name="connsiteX2737" fmla="*/ 703343 w 859464"/>
                    <a:gd name="connsiteY2737" fmla="*/ 358035 h 798932"/>
                    <a:gd name="connsiteX2738" fmla="*/ 704485 w 859464"/>
                    <a:gd name="connsiteY2738" fmla="*/ 355691 h 798932"/>
                    <a:gd name="connsiteX2739" fmla="*/ 705723 w 859464"/>
                    <a:gd name="connsiteY2739" fmla="*/ 353530 h 798932"/>
                    <a:gd name="connsiteX2740" fmla="*/ 705881 w 859464"/>
                    <a:gd name="connsiteY2740" fmla="*/ 353275 h 798932"/>
                    <a:gd name="connsiteX2741" fmla="*/ 706002 w 859464"/>
                    <a:gd name="connsiteY2741" fmla="*/ 352995 h 798932"/>
                    <a:gd name="connsiteX2742" fmla="*/ 706816 w 859464"/>
                    <a:gd name="connsiteY2742" fmla="*/ 351137 h 798932"/>
                    <a:gd name="connsiteX2743" fmla="*/ 707654 w 859464"/>
                    <a:gd name="connsiteY2743" fmla="*/ 349255 h 798932"/>
                    <a:gd name="connsiteX2744" fmla="*/ 707156 w 859464"/>
                    <a:gd name="connsiteY2744" fmla="*/ 347252 h 798932"/>
                    <a:gd name="connsiteX2745" fmla="*/ 706755 w 859464"/>
                    <a:gd name="connsiteY2745" fmla="*/ 345612 h 798932"/>
                    <a:gd name="connsiteX2746" fmla="*/ 706197 w 859464"/>
                    <a:gd name="connsiteY2746" fmla="*/ 343305 h 798932"/>
                    <a:gd name="connsiteX2747" fmla="*/ 704217 w 859464"/>
                    <a:gd name="connsiteY2747" fmla="*/ 342006 h 798932"/>
                    <a:gd name="connsiteX2748" fmla="*/ 702785 w 859464"/>
                    <a:gd name="connsiteY2748" fmla="*/ 341059 h 798932"/>
                    <a:gd name="connsiteX2749" fmla="*/ 701619 w 859464"/>
                    <a:gd name="connsiteY2749" fmla="*/ 340294 h 798932"/>
                    <a:gd name="connsiteX2750" fmla="*/ 700247 w 859464"/>
                    <a:gd name="connsiteY2750" fmla="*/ 340112 h 798932"/>
                    <a:gd name="connsiteX2751" fmla="*/ 697077 w 859464"/>
                    <a:gd name="connsiteY2751" fmla="*/ 339687 h 798932"/>
                    <a:gd name="connsiteX2752" fmla="*/ 695754 w 859464"/>
                    <a:gd name="connsiteY2752" fmla="*/ 339505 h 798932"/>
                    <a:gd name="connsiteX2753" fmla="*/ 694479 w 859464"/>
                    <a:gd name="connsiteY2753" fmla="*/ 339893 h 798932"/>
                    <a:gd name="connsiteX2754" fmla="*/ 692026 w 859464"/>
                    <a:gd name="connsiteY2754" fmla="*/ 340646 h 798932"/>
                    <a:gd name="connsiteX2755" fmla="*/ 691674 w 859464"/>
                    <a:gd name="connsiteY2755" fmla="*/ 340755 h 798932"/>
                    <a:gd name="connsiteX2756" fmla="*/ 691334 w 859464"/>
                    <a:gd name="connsiteY2756" fmla="*/ 340913 h 798932"/>
                    <a:gd name="connsiteX2757" fmla="*/ 687412 w 859464"/>
                    <a:gd name="connsiteY2757" fmla="*/ 342686 h 798932"/>
                    <a:gd name="connsiteX2758" fmla="*/ 687314 w 859464"/>
                    <a:gd name="connsiteY2758" fmla="*/ 342055 h 798932"/>
                    <a:gd name="connsiteX2759" fmla="*/ 687254 w 859464"/>
                    <a:gd name="connsiteY2759" fmla="*/ 340014 h 798932"/>
                    <a:gd name="connsiteX2760" fmla="*/ 686853 w 859464"/>
                    <a:gd name="connsiteY2760" fmla="*/ 336918 h 798932"/>
                    <a:gd name="connsiteX2761" fmla="*/ 686744 w 859464"/>
                    <a:gd name="connsiteY2761" fmla="*/ 336105 h 798932"/>
                    <a:gd name="connsiteX2762" fmla="*/ 686416 w 859464"/>
                    <a:gd name="connsiteY2762" fmla="*/ 335352 h 798932"/>
                    <a:gd name="connsiteX2763" fmla="*/ 685445 w 859464"/>
                    <a:gd name="connsiteY2763" fmla="*/ 333081 h 798932"/>
                    <a:gd name="connsiteX2764" fmla="*/ 684680 w 859464"/>
                    <a:gd name="connsiteY2764" fmla="*/ 331296 h 798932"/>
                    <a:gd name="connsiteX2765" fmla="*/ 683016 w 859464"/>
                    <a:gd name="connsiteY2765" fmla="*/ 330288 h 798932"/>
                    <a:gd name="connsiteX2766" fmla="*/ 681061 w 859464"/>
                    <a:gd name="connsiteY2766" fmla="*/ 329098 h 798932"/>
                    <a:gd name="connsiteX2767" fmla="*/ 680005 w 859464"/>
                    <a:gd name="connsiteY2767" fmla="*/ 328454 h 798932"/>
                    <a:gd name="connsiteX2768" fmla="*/ 678790 w 859464"/>
                    <a:gd name="connsiteY2768" fmla="*/ 328272 h 798932"/>
                    <a:gd name="connsiteX2769" fmla="*/ 677248 w 859464"/>
                    <a:gd name="connsiteY2769" fmla="*/ 328042 h 798932"/>
                    <a:gd name="connsiteX2770" fmla="*/ 675888 w 859464"/>
                    <a:gd name="connsiteY2770" fmla="*/ 327847 h 798932"/>
                    <a:gd name="connsiteX2771" fmla="*/ 674577 w 859464"/>
                    <a:gd name="connsiteY2771" fmla="*/ 328248 h 798932"/>
                    <a:gd name="connsiteX2772" fmla="*/ 673083 w 859464"/>
                    <a:gd name="connsiteY2772" fmla="*/ 328709 h 798932"/>
                    <a:gd name="connsiteX2773" fmla="*/ 672379 w 859464"/>
                    <a:gd name="connsiteY2773" fmla="*/ 328928 h 798932"/>
                    <a:gd name="connsiteX2774" fmla="*/ 672269 w 859464"/>
                    <a:gd name="connsiteY2774" fmla="*/ 327228 h 798932"/>
                    <a:gd name="connsiteX2775" fmla="*/ 672209 w 859464"/>
                    <a:gd name="connsiteY2775" fmla="*/ 326354 h 798932"/>
                    <a:gd name="connsiteX2776" fmla="*/ 671905 w 859464"/>
                    <a:gd name="connsiteY2776" fmla="*/ 325528 h 798932"/>
                    <a:gd name="connsiteX2777" fmla="*/ 671152 w 859464"/>
                    <a:gd name="connsiteY2777" fmla="*/ 323488 h 798932"/>
                    <a:gd name="connsiteX2778" fmla="*/ 670922 w 859464"/>
                    <a:gd name="connsiteY2778" fmla="*/ 322868 h 798932"/>
                    <a:gd name="connsiteX2779" fmla="*/ 670569 w 859464"/>
                    <a:gd name="connsiteY2779" fmla="*/ 322322 h 798932"/>
                    <a:gd name="connsiteX2780" fmla="*/ 666137 w 859464"/>
                    <a:gd name="connsiteY2780" fmla="*/ 315352 h 798932"/>
                    <a:gd name="connsiteX2781" fmla="*/ 661875 w 859464"/>
                    <a:gd name="connsiteY2781" fmla="*/ 305601 h 798932"/>
                    <a:gd name="connsiteX2782" fmla="*/ 660345 w 859464"/>
                    <a:gd name="connsiteY2782" fmla="*/ 300100 h 798932"/>
                    <a:gd name="connsiteX2783" fmla="*/ 659082 w 859464"/>
                    <a:gd name="connsiteY2783" fmla="*/ 296689 h 798932"/>
                    <a:gd name="connsiteX2784" fmla="*/ 658876 w 859464"/>
                    <a:gd name="connsiteY2784" fmla="*/ 296154 h 798932"/>
                    <a:gd name="connsiteX2785" fmla="*/ 658572 w 859464"/>
                    <a:gd name="connsiteY2785" fmla="*/ 295668 h 798932"/>
                    <a:gd name="connsiteX2786" fmla="*/ 656726 w 859464"/>
                    <a:gd name="connsiteY2786" fmla="*/ 292681 h 798932"/>
                    <a:gd name="connsiteX2787" fmla="*/ 656472 w 859464"/>
                    <a:gd name="connsiteY2787" fmla="*/ 292256 h 798932"/>
                    <a:gd name="connsiteX2788" fmla="*/ 656132 w 859464"/>
                    <a:gd name="connsiteY2788" fmla="*/ 291880 h 798932"/>
                    <a:gd name="connsiteX2789" fmla="*/ 653120 w 859464"/>
                    <a:gd name="connsiteY2789" fmla="*/ 288431 h 798932"/>
                    <a:gd name="connsiteX2790" fmla="*/ 650716 w 859464"/>
                    <a:gd name="connsiteY2790" fmla="*/ 285056 h 798932"/>
                    <a:gd name="connsiteX2791" fmla="*/ 650412 w 859464"/>
                    <a:gd name="connsiteY2791" fmla="*/ 284631 h 798932"/>
                    <a:gd name="connsiteX2792" fmla="*/ 650048 w 859464"/>
                    <a:gd name="connsiteY2792" fmla="*/ 284266 h 798932"/>
                    <a:gd name="connsiteX2793" fmla="*/ 646466 w 859464"/>
                    <a:gd name="connsiteY2793" fmla="*/ 280696 h 798932"/>
                    <a:gd name="connsiteX2794" fmla="*/ 644025 w 859464"/>
                    <a:gd name="connsiteY2794" fmla="*/ 277235 h 798932"/>
                    <a:gd name="connsiteX2795" fmla="*/ 643843 w 859464"/>
                    <a:gd name="connsiteY2795" fmla="*/ 276980 h 798932"/>
                    <a:gd name="connsiteX2796" fmla="*/ 643636 w 859464"/>
                    <a:gd name="connsiteY2796" fmla="*/ 276738 h 798932"/>
                    <a:gd name="connsiteX2797" fmla="*/ 635015 w 859464"/>
                    <a:gd name="connsiteY2797" fmla="*/ 266865 h 798932"/>
                    <a:gd name="connsiteX2798" fmla="*/ 634760 w 859464"/>
                    <a:gd name="connsiteY2798" fmla="*/ 266586 h 798932"/>
                    <a:gd name="connsiteX2799" fmla="*/ 634469 w 859464"/>
                    <a:gd name="connsiteY2799" fmla="*/ 266331 h 798932"/>
                    <a:gd name="connsiteX2800" fmla="*/ 630279 w 859464"/>
                    <a:gd name="connsiteY2800" fmla="*/ 262615 h 798932"/>
                    <a:gd name="connsiteX2801" fmla="*/ 628106 w 859464"/>
                    <a:gd name="connsiteY2801" fmla="*/ 260988 h 798932"/>
                    <a:gd name="connsiteX2802" fmla="*/ 627644 w 859464"/>
                    <a:gd name="connsiteY2802" fmla="*/ 260660 h 798932"/>
                    <a:gd name="connsiteX2803" fmla="*/ 627134 w 859464"/>
                    <a:gd name="connsiteY2803" fmla="*/ 260405 h 798932"/>
                    <a:gd name="connsiteX2804" fmla="*/ 623455 w 859464"/>
                    <a:gd name="connsiteY2804" fmla="*/ 258669 h 798932"/>
                    <a:gd name="connsiteX2805" fmla="*/ 622496 w 859464"/>
                    <a:gd name="connsiteY2805" fmla="*/ 257989 h 798932"/>
                    <a:gd name="connsiteX2806" fmla="*/ 619496 w 859464"/>
                    <a:gd name="connsiteY2806" fmla="*/ 255111 h 798932"/>
                    <a:gd name="connsiteX2807" fmla="*/ 618658 w 859464"/>
                    <a:gd name="connsiteY2807" fmla="*/ 254309 h 798932"/>
                    <a:gd name="connsiteX2808" fmla="*/ 617565 w 859464"/>
                    <a:gd name="connsiteY2808" fmla="*/ 253860 h 798932"/>
                    <a:gd name="connsiteX2809" fmla="*/ 614578 w 859464"/>
                    <a:gd name="connsiteY2809" fmla="*/ 252646 h 798932"/>
                    <a:gd name="connsiteX2810" fmla="*/ 613546 w 859464"/>
                    <a:gd name="connsiteY2810" fmla="*/ 252233 h 798932"/>
                    <a:gd name="connsiteX2811" fmla="*/ 612429 w 859464"/>
                    <a:gd name="connsiteY2811" fmla="*/ 252209 h 798932"/>
                    <a:gd name="connsiteX2812" fmla="*/ 608240 w 859464"/>
                    <a:gd name="connsiteY2812" fmla="*/ 252124 h 798932"/>
                    <a:gd name="connsiteX2813" fmla="*/ 607390 w 859464"/>
                    <a:gd name="connsiteY2813" fmla="*/ 252112 h 798932"/>
                    <a:gd name="connsiteX2814" fmla="*/ 606576 w 859464"/>
                    <a:gd name="connsiteY2814" fmla="*/ 252330 h 798932"/>
                    <a:gd name="connsiteX2815" fmla="*/ 599740 w 859464"/>
                    <a:gd name="connsiteY2815" fmla="*/ 254128 h 798932"/>
                    <a:gd name="connsiteX2816" fmla="*/ 599230 w 859464"/>
                    <a:gd name="connsiteY2816" fmla="*/ 254261 h 798932"/>
                    <a:gd name="connsiteX2817" fmla="*/ 598732 w 859464"/>
                    <a:gd name="connsiteY2817" fmla="*/ 254492 h 798932"/>
                    <a:gd name="connsiteX2818" fmla="*/ 598720 w 859464"/>
                    <a:gd name="connsiteY2818" fmla="*/ 254504 h 798932"/>
                    <a:gd name="connsiteX2819" fmla="*/ 597651 w 859464"/>
                    <a:gd name="connsiteY2819" fmla="*/ 253204 h 798932"/>
                    <a:gd name="connsiteX2820" fmla="*/ 596473 w 859464"/>
                    <a:gd name="connsiteY2820" fmla="*/ 251796 h 798932"/>
                    <a:gd name="connsiteX2821" fmla="*/ 594700 w 859464"/>
                    <a:gd name="connsiteY2821" fmla="*/ 251262 h 798932"/>
                    <a:gd name="connsiteX2822" fmla="*/ 592587 w 859464"/>
                    <a:gd name="connsiteY2822" fmla="*/ 250630 h 798932"/>
                    <a:gd name="connsiteX2823" fmla="*/ 587415 w 859464"/>
                    <a:gd name="connsiteY2823" fmla="*/ 249088 h 798932"/>
                    <a:gd name="connsiteX2824" fmla="*/ 587172 w 859464"/>
                    <a:gd name="connsiteY2824" fmla="*/ 249659 h 798932"/>
                    <a:gd name="connsiteX2825" fmla="*/ 586686 w 859464"/>
                    <a:gd name="connsiteY2825" fmla="*/ 248906 h 798932"/>
                    <a:gd name="connsiteX2826" fmla="*/ 586589 w 859464"/>
                    <a:gd name="connsiteY2826" fmla="*/ 248493 h 798932"/>
                    <a:gd name="connsiteX2827" fmla="*/ 586395 w 859464"/>
                    <a:gd name="connsiteY2827" fmla="*/ 244947 h 798932"/>
                    <a:gd name="connsiteX2828" fmla="*/ 586358 w 859464"/>
                    <a:gd name="connsiteY2828" fmla="*/ 244364 h 798932"/>
                    <a:gd name="connsiteX2829" fmla="*/ 586225 w 859464"/>
                    <a:gd name="connsiteY2829" fmla="*/ 243806 h 798932"/>
                    <a:gd name="connsiteX2830" fmla="*/ 585751 w 859464"/>
                    <a:gd name="connsiteY2830" fmla="*/ 241887 h 798932"/>
                    <a:gd name="connsiteX2831" fmla="*/ 585654 w 859464"/>
                    <a:gd name="connsiteY2831" fmla="*/ 241475 h 798932"/>
                    <a:gd name="connsiteX2832" fmla="*/ 585484 w 859464"/>
                    <a:gd name="connsiteY2832" fmla="*/ 241074 h 798932"/>
                    <a:gd name="connsiteX2833" fmla="*/ 584622 w 859464"/>
                    <a:gd name="connsiteY2833" fmla="*/ 238949 h 798932"/>
                    <a:gd name="connsiteX2834" fmla="*/ 584500 w 859464"/>
                    <a:gd name="connsiteY2834" fmla="*/ 238645 h 798932"/>
                    <a:gd name="connsiteX2835" fmla="*/ 584342 w 859464"/>
                    <a:gd name="connsiteY2835" fmla="*/ 238366 h 798932"/>
                    <a:gd name="connsiteX2836" fmla="*/ 583201 w 859464"/>
                    <a:gd name="connsiteY2836" fmla="*/ 236241 h 798932"/>
                    <a:gd name="connsiteX2837" fmla="*/ 582800 w 859464"/>
                    <a:gd name="connsiteY2837" fmla="*/ 235488 h 798932"/>
                    <a:gd name="connsiteX2838" fmla="*/ 582217 w 859464"/>
                    <a:gd name="connsiteY2838" fmla="*/ 234881 h 798932"/>
                    <a:gd name="connsiteX2839" fmla="*/ 580663 w 859464"/>
                    <a:gd name="connsiteY2839" fmla="*/ 233266 h 798932"/>
                    <a:gd name="connsiteX2840" fmla="*/ 579522 w 859464"/>
                    <a:gd name="connsiteY2840" fmla="*/ 232088 h 798932"/>
                    <a:gd name="connsiteX2841" fmla="*/ 577943 w 859464"/>
                    <a:gd name="connsiteY2841" fmla="*/ 231639 h 798932"/>
                    <a:gd name="connsiteX2842" fmla="*/ 575709 w 859464"/>
                    <a:gd name="connsiteY2842" fmla="*/ 231007 h 798932"/>
                    <a:gd name="connsiteX2843" fmla="*/ 574179 w 859464"/>
                    <a:gd name="connsiteY2843" fmla="*/ 230582 h 798932"/>
                    <a:gd name="connsiteX2844" fmla="*/ 572637 w 859464"/>
                    <a:gd name="connsiteY2844" fmla="*/ 230947 h 798932"/>
                    <a:gd name="connsiteX2845" fmla="*/ 570293 w 859464"/>
                    <a:gd name="connsiteY2845" fmla="*/ 231517 h 798932"/>
                    <a:gd name="connsiteX2846" fmla="*/ 569127 w 859464"/>
                    <a:gd name="connsiteY2846" fmla="*/ 231796 h 798932"/>
                    <a:gd name="connsiteX2847" fmla="*/ 568156 w 859464"/>
                    <a:gd name="connsiteY2847" fmla="*/ 232501 h 798932"/>
                    <a:gd name="connsiteX2848" fmla="*/ 565375 w 859464"/>
                    <a:gd name="connsiteY2848" fmla="*/ 234517 h 798932"/>
                    <a:gd name="connsiteX2849" fmla="*/ 565047 w 859464"/>
                    <a:gd name="connsiteY2849" fmla="*/ 234626 h 798932"/>
                    <a:gd name="connsiteX2850" fmla="*/ 552783 w 859464"/>
                    <a:gd name="connsiteY2850" fmla="*/ 235913 h 798932"/>
                    <a:gd name="connsiteX2851" fmla="*/ 540907 w 859464"/>
                    <a:gd name="connsiteY2851" fmla="*/ 234760 h 798932"/>
                    <a:gd name="connsiteX2852" fmla="*/ 538770 w 859464"/>
                    <a:gd name="connsiteY2852" fmla="*/ 231032 h 798932"/>
                    <a:gd name="connsiteX2853" fmla="*/ 538381 w 859464"/>
                    <a:gd name="connsiteY2853" fmla="*/ 230339 h 798932"/>
                    <a:gd name="connsiteX2854" fmla="*/ 537823 w 859464"/>
                    <a:gd name="connsiteY2854" fmla="*/ 229781 h 798932"/>
                    <a:gd name="connsiteX2855" fmla="*/ 536681 w 859464"/>
                    <a:gd name="connsiteY2855" fmla="*/ 228627 h 798932"/>
                    <a:gd name="connsiteX2856" fmla="*/ 536354 w 859464"/>
                    <a:gd name="connsiteY2856" fmla="*/ 228299 h 798932"/>
                    <a:gd name="connsiteX2857" fmla="*/ 535989 w 859464"/>
                    <a:gd name="connsiteY2857" fmla="*/ 228032 h 798932"/>
                    <a:gd name="connsiteX2858" fmla="*/ 532274 w 859464"/>
                    <a:gd name="connsiteY2858" fmla="*/ 225264 h 798932"/>
                    <a:gd name="connsiteX2859" fmla="*/ 525449 w 859464"/>
                    <a:gd name="connsiteY2859" fmla="*/ 218962 h 798932"/>
                    <a:gd name="connsiteX2860" fmla="*/ 524490 w 859464"/>
                    <a:gd name="connsiteY2860" fmla="*/ 218075 h 798932"/>
                    <a:gd name="connsiteX2861" fmla="*/ 523239 w 859464"/>
                    <a:gd name="connsiteY2861" fmla="*/ 217662 h 798932"/>
                    <a:gd name="connsiteX2862" fmla="*/ 517544 w 859464"/>
                    <a:gd name="connsiteY2862" fmla="*/ 215768 h 798932"/>
                    <a:gd name="connsiteX2863" fmla="*/ 515516 w 859464"/>
                    <a:gd name="connsiteY2863" fmla="*/ 214566 h 798932"/>
                    <a:gd name="connsiteX2864" fmla="*/ 515686 w 859464"/>
                    <a:gd name="connsiteY2864" fmla="*/ 214408 h 798932"/>
                    <a:gd name="connsiteX2865" fmla="*/ 515990 w 859464"/>
                    <a:gd name="connsiteY2865" fmla="*/ 214141 h 798932"/>
                    <a:gd name="connsiteX2866" fmla="*/ 516257 w 859464"/>
                    <a:gd name="connsiteY2866" fmla="*/ 213837 h 798932"/>
                    <a:gd name="connsiteX2867" fmla="*/ 518200 w 859464"/>
                    <a:gd name="connsiteY2867" fmla="*/ 211542 h 798932"/>
                    <a:gd name="connsiteX2868" fmla="*/ 519220 w 859464"/>
                    <a:gd name="connsiteY2868" fmla="*/ 210316 h 798932"/>
                    <a:gd name="connsiteX2869" fmla="*/ 519511 w 859464"/>
                    <a:gd name="connsiteY2869" fmla="*/ 208762 h 798932"/>
                    <a:gd name="connsiteX2870" fmla="*/ 520203 w 859464"/>
                    <a:gd name="connsiteY2870" fmla="*/ 205204 h 798932"/>
                    <a:gd name="connsiteX2871" fmla="*/ 520313 w 859464"/>
                    <a:gd name="connsiteY2871" fmla="*/ 204669 h 798932"/>
                    <a:gd name="connsiteX2872" fmla="*/ 520313 w 859464"/>
                    <a:gd name="connsiteY2872" fmla="*/ 204135 h 798932"/>
                    <a:gd name="connsiteX2873" fmla="*/ 520434 w 859464"/>
                    <a:gd name="connsiteY2873" fmla="*/ 194421 h 798932"/>
                    <a:gd name="connsiteX2874" fmla="*/ 520446 w 859464"/>
                    <a:gd name="connsiteY2874" fmla="*/ 193498 h 798932"/>
                    <a:gd name="connsiteX2875" fmla="*/ 520191 w 859464"/>
                    <a:gd name="connsiteY2875" fmla="*/ 192611 h 798932"/>
                    <a:gd name="connsiteX2876" fmla="*/ 518394 w 859464"/>
                    <a:gd name="connsiteY2876" fmla="*/ 186552 h 798932"/>
                    <a:gd name="connsiteX2877" fmla="*/ 516038 w 859464"/>
                    <a:gd name="connsiteY2877" fmla="*/ 173329 h 798932"/>
                    <a:gd name="connsiteX2878" fmla="*/ 515868 w 859464"/>
                    <a:gd name="connsiteY2878" fmla="*/ 172393 h 798932"/>
                    <a:gd name="connsiteX2879" fmla="*/ 515419 w 859464"/>
                    <a:gd name="connsiteY2879" fmla="*/ 171555 h 798932"/>
                    <a:gd name="connsiteX2880" fmla="*/ 513865 w 859464"/>
                    <a:gd name="connsiteY2880" fmla="*/ 168629 h 798932"/>
                    <a:gd name="connsiteX2881" fmla="*/ 511691 w 859464"/>
                    <a:gd name="connsiteY2881" fmla="*/ 164525 h 798932"/>
                    <a:gd name="connsiteX2882" fmla="*/ 507162 w 859464"/>
                    <a:gd name="connsiteY2882" fmla="*/ 165557 h 798932"/>
                    <a:gd name="connsiteX2883" fmla="*/ 501236 w 859464"/>
                    <a:gd name="connsiteY2883" fmla="*/ 166893 h 798932"/>
                    <a:gd name="connsiteX2884" fmla="*/ 501236 w 859464"/>
                    <a:gd name="connsiteY2884" fmla="*/ 166832 h 798932"/>
                    <a:gd name="connsiteX2885" fmla="*/ 502499 w 859464"/>
                    <a:gd name="connsiteY2885" fmla="*/ 163250 h 798932"/>
                    <a:gd name="connsiteX2886" fmla="*/ 505498 w 859464"/>
                    <a:gd name="connsiteY2886" fmla="*/ 159243 h 798932"/>
                    <a:gd name="connsiteX2887" fmla="*/ 509093 w 859464"/>
                    <a:gd name="connsiteY2887" fmla="*/ 156170 h 798932"/>
                    <a:gd name="connsiteX2888" fmla="*/ 512954 w 859464"/>
                    <a:gd name="connsiteY2888" fmla="*/ 154434 h 798932"/>
                    <a:gd name="connsiteX2889" fmla="*/ 518139 w 859464"/>
                    <a:gd name="connsiteY2889" fmla="*/ 152115 h 798932"/>
                    <a:gd name="connsiteX2890" fmla="*/ 516160 w 859464"/>
                    <a:gd name="connsiteY2890" fmla="*/ 146796 h 798932"/>
                    <a:gd name="connsiteX2891" fmla="*/ 514678 w 859464"/>
                    <a:gd name="connsiteY2891" fmla="*/ 142825 h 798932"/>
                    <a:gd name="connsiteX2892" fmla="*/ 513962 w 859464"/>
                    <a:gd name="connsiteY2892" fmla="*/ 139717 h 798932"/>
                    <a:gd name="connsiteX2893" fmla="*/ 513780 w 859464"/>
                    <a:gd name="connsiteY2893" fmla="*/ 136997 h 798932"/>
                    <a:gd name="connsiteX2894" fmla="*/ 514071 w 859464"/>
                    <a:gd name="connsiteY2894" fmla="*/ 133913 h 798932"/>
                    <a:gd name="connsiteX2895" fmla="*/ 514156 w 859464"/>
                    <a:gd name="connsiteY2895" fmla="*/ 133014 h 798932"/>
                    <a:gd name="connsiteX2896" fmla="*/ 513974 w 859464"/>
                    <a:gd name="connsiteY2896" fmla="*/ 132127 h 798932"/>
                    <a:gd name="connsiteX2897" fmla="*/ 513938 w 859464"/>
                    <a:gd name="connsiteY2897" fmla="*/ 131921 h 798932"/>
                    <a:gd name="connsiteX2898" fmla="*/ 514618 w 859464"/>
                    <a:gd name="connsiteY2898" fmla="*/ 131387 h 798932"/>
                    <a:gd name="connsiteX2899" fmla="*/ 515322 w 859464"/>
                    <a:gd name="connsiteY2899" fmla="*/ 130828 h 798932"/>
                    <a:gd name="connsiteX2900" fmla="*/ 515832 w 859464"/>
                    <a:gd name="connsiteY2900" fmla="*/ 130099 h 798932"/>
                    <a:gd name="connsiteX2901" fmla="*/ 516512 w 859464"/>
                    <a:gd name="connsiteY2901" fmla="*/ 129128 h 798932"/>
                    <a:gd name="connsiteX2902" fmla="*/ 516973 w 859464"/>
                    <a:gd name="connsiteY2902" fmla="*/ 128472 h 798932"/>
                    <a:gd name="connsiteX2903" fmla="*/ 517241 w 859464"/>
                    <a:gd name="connsiteY2903" fmla="*/ 127719 h 798932"/>
                    <a:gd name="connsiteX2904" fmla="*/ 517884 w 859464"/>
                    <a:gd name="connsiteY2904" fmla="*/ 125959 h 798932"/>
                    <a:gd name="connsiteX2905" fmla="*/ 518030 w 859464"/>
                    <a:gd name="connsiteY2905" fmla="*/ 125546 h 798932"/>
                    <a:gd name="connsiteX2906" fmla="*/ 518127 w 859464"/>
                    <a:gd name="connsiteY2906" fmla="*/ 125109 h 798932"/>
                    <a:gd name="connsiteX2907" fmla="*/ 518758 w 859464"/>
                    <a:gd name="connsiteY2907" fmla="*/ 122061 h 798932"/>
                    <a:gd name="connsiteX2908" fmla="*/ 518904 w 859464"/>
                    <a:gd name="connsiteY2908" fmla="*/ 121357 h 798932"/>
                    <a:gd name="connsiteX2909" fmla="*/ 518880 w 859464"/>
                    <a:gd name="connsiteY2909" fmla="*/ 120628 h 798932"/>
                    <a:gd name="connsiteX2910" fmla="*/ 518771 w 859464"/>
                    <a:gd name="connsiteY2910" fmla="*/ 117155 h 798932"/>
                    <a:gd name="connsiteX2911" fmla="*/ 519038 w 859464"/>
                    <a:gd name="connsiteY2911" fmla="*/ 114435 h 798932"/>
                    <a:gd name="connsiteX2912" fmla="*/ 519572 w 859464"/>
                    <a:gd name="connsiteY2912" fmla="*/ 112201 h 798932"/>
                    <a:gd name="connsiteX2913" fmla="*/ 519657 w 859464"/>
                    <a:gd name="connsiteY2913" fmla="*/ 111836 h 798932"/>
                    <a:gd name="connsiteX2914" fmla="*/ 519693 w 859464"/>
                    <a:gd name="connsiteY2914" fmla="*/ 111472 h 798932"/>
                    <a:gd name="connsiteX2915" fmla="*/ 520495 w 859464"/>
                    <a:gd name="connsiteY2915" fmla="*/ 104271 h 798932"/>
                    <a:gd name="connsiteX2916" fmla="*/ 520531 w 859464"/>
                    <a:gd name="connsiteY2916" fmla="*/ 103931 h 798932"/>
                    <a:gd name="connsiteX2917" fmla="*/ 520531 w 859464"/>
                    <a:gd name="connsiteY2917" fmla="*/ 103604 h 798932"/>
                    <a:gd name="connsiteX2918" fmla="*/ 520531 w 859464"/>
                    <a:gd name="connsiteY2918" fmla="*/ 101042 h 798932"/>
                    <a:gd name="connsiteX2919" fmla="*/ 520531 w 859464"/>
                    <a:gd name="connsiteY2919" fmla="*/ 100629 h 798932"/>
                    <a:gd name="connsiteX2920" fmla="*/ 520483 w 859464"/>
                    <a:gd name="connsiteY2920" fmla="*/ 100228 h 798932"/>
                    <a:gd name="connsiteX2921" fmla="*/ 520191 w 859464"/>
                    <a:gd name="connsiteY2921" fmla="*/ 98103 h 798932"/>
                    <a:gd name="connsiteX2922" fmla="*/ 520118 w 859464"/>
                    <a:gd name="connsiteY2922" fmla="*/ 97581 h 798932"/>
                    <a:gd name="connsiteX2923" fmla="*/ 519961 w 859464"/>
                    <a:gd name="connsiteY2923" fmla="*/ 97083 h 798932"/>
                    <a:gd name="connsiteX2924" fmla="*/ 518771 w 859464"/>
                    <a:gd name="connsiteY2924" fmla="*/ 93318 h 798932"/>
                    <a:gd name="connsiteX2925" fmla="*/ 518649 w 859464"/>
                    <a:gd name="connsiteY2925" fmla="*/ 92918 h 798932"/>
                    <a:gd name="connsiteX2926" fmla="*/ 518467 w 859464"/>
                    <a:gd name="connsiteY2926" fmla="*/ 92541 h 798932"/>
                    <a:gd name="connsiteX2927" fmla="*/ 517835 w 859464"/>
                    <a:gd name="connsiteY2927" fmla="*/ 91230 h 798932"/>
                    <a:gd name="connsiteX2928" fmla="*/ 517593 w 859464"/>
                    <a:gd name="connsiteY2928" fmla="*/ 90744 h 798932"/>
                    <a:gd name="connsiteX2929" fmla="*/ 517277 w 859464"/>
                    <a:gd name="connsiteY2929" fmla="*/ 90295 h 798932"/>
                    <a:gd name="connsiteX2930" fmla="*/ 516585 w 859464"/>
                    <a:gd name="connsiteY2930" fmla="*/ 89336 h 798932"/>
                    <a:gd name="connsiteX2931" fmla="*/ 516391 w 859464"/>
                    <a:gd name="connsiteY2931" fmla="*/ 89068 h 798932"/>
                    <a:gd name="connsiteX2932" fmla="*/ 516160 w 859464"/>
                    <a:gd name="connsiteY2932" fmla="*/ 88813 h 798932"/>
                    <a:gd name="connsiteX2933" fmla="*/ 515152 w 859464"/>
                    <a:gd name="connsiteY2933" fmla="*/ 87708 h 798932"/>
                    <a:gd name="connsiteX2934" fmla="*/ 513112 w 859464"/>
                    <a:gd name="connsiteY2934" fmla="*/ 84576 h 798932"/>
                    <a:gd name="connsiteX2935" fmla="*/ 512821 w 859464"/>
                    <a:gd name="connsiteY2935" fmla="*/ 84126 h 798932"/>
                    <a:gd name="connsiteX2936" fmla="*/ 512444 w 859464"/>
                    <a:gd name="connsiteY2936" fmla="*/ 83738 h 798932"/>
                    <a:gd name="connsiteX2937" fmla="*/ 511776 w 859464"/>
                    <a:gd name="connsiteY2937" fmla="*/ 83021 h 798932"/>
                    <a:gd name="connsiteX2938" fmla="*/ 511339 w 859464"/>
                    <a:gd name="connsiteY2938" fmla="*/ 82560 h 798932"/>
                    <a:gd name="connsiteX2939" fmla="*/ 510817 w 859464"/>
                    <a:gd name="connsiteY2939" fmla="*/ 82196 h 798932"/>
                    <a:gd name="connsiteX2940" fmla="*/ 510064 w 859464"/>
                    <a:gd name="connsiteY2940" fmla="*/ 81674 h 798932"/>
                    <a:gd name="connsiteX2941" fmla="*/ 509445 w 859464"/>
                    <a:gd name="connsiteY2941" fmla="*/ 81249 h 798932"/>
                    <a:gd name="connsiteX2942" fmla="*/ 508741 w 859464"/>
                    <a:gd name="connsiteY2942" fmla="*/ 80981 h 798932"/>
                    <a:gd name="connsiteX2943" fmla="*/ 507818 w 859464"/>
                    <a:gd name="connsiteY2943" fmla="*/ 80641 h 798932"/>
                    <a:gd name="connsiteX2944" fmla="*/ 505802 w 859464"/>
                    <a:gd name="connsiteY2944" fmla="*/ 80083 h 798932"/>
                    <a:gd name="connsiteX2945" fmla="*/ 503458 w 859464"/>
                    <a:gd name="connsiteY2945" fmla="*/ 79038 h 798932"/>
                    <a:gd name="connsiteX2946" fmla="*/ 503009 w 859464"/>
                    <a:gd name="connsiteY2946" fmla="*/ 78832 h 798932"/>
                    <a:gd name="connsiteX2947" fmla="*/ 502535 w 859464"/>
                    <a:gd name="connsiteY2947" fmla="*/ 78699 h 798932"/>
                    <a:gd name="connsiteX2948" fmla="*/ 499463 w 859464"/>
                    <a:gd name="connsiteY2948" fmla="*/ 77885 h 798932"/>
                    <a:gd name="connsiteX2949" fmla="*/ 499014 w 859464"/>
                    <a:gd name="connsiteY2949" fmla="*/ 77266 h 798932"/>
                    <a:gd name="connsiteX2950" fmla="*/ 496780 w 859464"/>
                    <a:gd name="connsiteY2950" fmla="*/ 72736 h 798932"/>
                    <a:gd name="connsiteX2951" fmla="*/ 496513 w 859464"/>
                    <a:gd name="connsiteY2951" fmla="*/ 72178 h 798932"/>
                    <a:gd name="connsiteX2952" fmla="*/ 496136 w 859464"/>
                    <a:gd name="connsiteY2952" fmla="*/ 71692 h 798932"/>
                    <a:gd name="connsiteX2953" fmla="*/ 494885 w 859464"/>
                    <a:gd name="connsiteY2953" fmla="*/ 70077 h 798932"/>
                    <a:gd name="connsiteX2954" fmla="*/ 494497 w 859464"/>
                    <a:gd name="connsiteY2954" fmla="*/ 69579 h 798932"/>
                    <a:gd name="connsiteX2955" fmla="*/ 494023 w 859464"/>
                    <a:gd name="connsiteY2955" fmla="*/ 69178 h 798932"/>
                    <a:gd name="connsiteX2956" fmla="*/ 489992 w 859464"/>
                    <a:gd name="connsiteY2956" fmla="*/ 65754 h 798932"/>
                    <a:gd name="connsiteX2957" fmla="*/ 488923 w 859464"/>
                    <a:gd name="connsiteY2957" fmla="*/ 64516 h 798932"/>
                    <a:gd name="connsiteX2958" fmla="*/ 487563 w 859464"/>
                    <a:gd name="connsiteY2958" fmla="*/ 62621 h 798932"/>
                    <a:gd name="connsiteX2959" fmla="*/ 486094 w 859464"/>
                    <a:gd name="connsiteY2959" fmla="*/ 60605 h 798932"/>
                    <a:gd name="connsiteX2960" fmla="*/ 483617 w 859464"/>
                    <a:gd name="connsiteY2960" fmla="*/ 60205 h 798932"/>
                    <a:gd name="connsiteX2961" fmla="*/ 472312 w 859464"/>
                    <a:gd name="connsiteY2961" fmla="*/ 58395 h 798932"/>
                    <a:gd name="connsiteX2962" fmla="*/ 471049 w 859464"/>
                    <a:gd name="connsiteY2962" fmla="*/ 58189 h 798932"/>
                    <a:gd name="connsiteX2963" fmla="*/ 469810 w 859464"/>
                    <a:gd name="connsiteY2963" fmla="*/ 58517 h 798932"/>
                    <a:gd name="connsiteX2964" fmla="*/ 466714 w 859464"/>
                    <a:gd name="connsiteY2964" fmla="*/ 59318 h 798932"/>
                    <a:gd name="connsiteX2965" fmla="*/ 465147 w 859464"/>
                    <a:gd name="connsiteY2965" fmla="*/ 59719 h 798932"/>
                    <a:gd name="connsiteX2966" fmla="*/ 463982 w 859464"/>
                    <a:gd name="connsiteY2966" fmla="*/ 60860 h 798932"/>
                    <a:gd name="connsiteX2967" fmla="*/ 463690 w 859464"/>
                    <a:gd name="connsiteY2967" fmla="*/ 61152 h 798932"/>
                    <a:gd name="connsiteX2968" fmla="*/ 450940 w 859464"/>
                    <a:gd name="connsiteY2968" fmla="*/ 65098 h 798932"/>
                    <a:gd name="connsiteX2969" fmla="*/ 450624 w 859464"/>
                    <a:gd name="connsiteY2969" fmla="*/ 65196 h 798932"/>
                    <a:gd name="connsiteX2970" fmla="*/ 450321 w 859464"/>
                    <a:gd name="connsiteY2970" fmla="*/ 65341 h 798932"/>
                    <a:gd name="connsiteX2971" fmla="*/ 447164 w 859464"/>
                    <a:gd name="connsiteY2971" fmla="*/ 66714 h 798932"/>
                    <a:gd name="connsiteX2972" fmla="*/ 446435 w 859464"/>
                    <a:gd name="connsiteY2972" fmla="*/ 67017 h 798932"/>
                    <a:gd name="connsiteX2973" fmla="*/ 445816 w 859464"/>
                    <a:gd name="connsiteY2973" fmla="*/ 67502 h 798932"/>
                    <a:gd name="connsiteX2974" fmla="*/ 444602 w 859464"/>
                    <a:gd name="connsiteY2974" fmla="*/ 68462 h 798932"/>
                    <a:gd name="connsiteX2975" fmla="*/ 444043 w 859464"/>
                    <a:gd name="connsiteY2975" fmla="*/ 68899 h 798932"/>
                    <a:gd name="connsiteX2976" fmla="*/ 443606 w 859464"/>
                    <a:gd name="connsiteY2976" fmla="*/ 69458 h 798932"/>
                    <a:gd name="connsiteX2977" fmla="*/ 442865 w 859464"/>
                    <a:gd name="connsiteY2977" fmla="*/ 70393 h 798932"/>
                    <a:gd name="connsiteX2978" fmla="*/ 441918 w 859464"/>
                    <a:gd name="connsiteY2978" fmla="*/ 71607 h 798932"/>
                    <a:gd name="connsiteX2979" fmla="*/ 441651 w 859464"/>
                    <a:gd name="connsiteY2979" fmla="*/ 73113 h 798932"/>
                    <a:gd name="connsiteX2980" fmla="*/ 441323 w 859464"/>
                    <a:gd name="connsiteY2980" fmla="*/ 74995 h 798932"/>
                    <a:gd name="connsiteX2981" fmla="*/ 440874 w 859464"/>
                    <a:gd name="connsiteY2981" fmla="*/ 74630 h 798932"/>
                    <a:gd name="connsiteX2982" fmla="*/ 439842 w 859464"/>
                    <a:gd name="connsiteY2982" fmla="*/ 73805 h 798932"/>
                    <a:gd name="connsiteX2983" fmla="*/ 439149 w 859464"/>
                    <a:gd name="connsiteY2983" fmla="*/ 73246 h 798932"/>
                    <a:gd name="connsiteX2984" fmla="*/ 438336 w 859464"/>
                    <a:gd name="connsiteY2984" fmla="*/ 72918 h 798932"/>
                    <a:gd name="connsiteX2985" fmla="*/ 436794 w 859464"/>
                    <a:gd name="connsiteY2985" fmla="*/ 72287 h 798932"/>
                    <a:gd name="connsiteX2986" fmla="*/ 435786 w 859464"/>
                    <a:gd name="connsiteY2986" fmla="*/ 71874 h 798932"/>
                    <a:gd name="connsiteX2987" fmla="*/ 434705 w 859464"/>
                    <a:gd name="connsiteY2987" fmla="*/ 71838 h 798932"/>
                    <a:gd name="connsiteX2988" fmla="*/ 429957 w 859464"/>
                    <a:gd name="connsiteY2988" fmla="*/ 71668 h 798932"/>
                    <a:gd name="connsiteX2989" fmla="*/ 429690 w 859464"/>
                    <a:gd name="connsiteY2989" fmla="*/ 71631 h 798932"/>
                    <a:gd name="connsiteX2990" fmla="*/ 429544 w 859464"/>
                    <a:gd name="connsiteY2990" fmla="*/ 71571 h 798932"/>
                    <a:gd name="connsiteX2991" fmla="*/ 428463 w 859464"/>
                    <a:gd name="connsiteY2991" fmla="*/ 71158 h 798932"/>
                    <a:gd name="connsiteX2992" fmla="*/ 427298 w 859464"/>
                    <a:gd name="connsiteY2992" fmla="*/ 71170 h 798932"/>
                    <a:gd name="connsiteX2993" fmla="*/ 412520 w 859464"/>
                    <a:gd name="connsiteY2993" fmla="*/ 71352 h 798932"/>
                    <a:gd name="connsiteX2994" fmla="*/ 410540 w 859464"/>
                    <a:gd name="connsiteY2994" fmla="*/ 71146 h 798932"/>
                    <a:gd name="connsiteX2995" fmla="*/ 410188 w 859464"/>
                    <a:gd name="connsiteY2995" fmla="*/ 71024 h 798932"/>
                    <a:gd name="connsiteX2996" fmla="*/ 410115 w 859464"/>
                    <a:gd name="connsiteY2996" fmla="*/ 70988 h 798932"/>
                    <a:gd name="connsiteX2997" fmla="*/ 410079 w 859464"/>
                    <a:gd name="connsiteY2997" fmla="*/ 70939 h 798932"/>
                    <a:gd name="connsiteX2998" fmla="*/ 407857 w 859464"/>
                    <a:gd name="connsiteY2998" fmla="*/ 67903 h 798932"/>
                    <a:gd name="connsiteX2999" fmla="*/ 407602 w 859464"/>
                    <a:gd name="connsiteY2999" fmla="*/ 67563 h 798932"/>
                    <a:gd name="connsiteX3000" fmla="*/ 407298 w 859464"/>
                    <a:gd name="connsiteY3000" fmla="*/ 67260 h 798932"/>
                    <a:gd name="connsiteX3001" fmla="*/ 405914 w 859464"/>
                    <a:gd name="connsiteY3001" fmla="*/ 65851 h 798932"/>
                    <a:gd name="connsiteX3002" fmla="*/ 405064 w 859464"/>
                    <a:gd name="connsiteY3002" fmla="*/ 64989 h 798932"/>
                    <a:gd name="connsiteX3003" fmla="*/ 403947 w 859464"/>
                    <a:gd name="connsiteY3003" fmla="*/ 64516 h 798932"/>
                    <a:gd name="connsiteX3004" fmla="*/ 401191 w 859464"/>
                    <a:gd name="connsiteY3004" fmla="*/ 63338 h 798932"/>
                    <a:gd name="connsiteX3005" fmla="*/ 400438 w 859464"/>
                    <a:gd name="connsiteY3005" fmla="*/ 63022 h 798932"/>
                    <a:gd name="connsiteX3006" fmla="*/ 399624 w 859464"/>
                    <a:gd name="connsiteY3006" fmla="*/ 62913 h 798932"/>
                    <a:gd name="connsiteX3007" fmla="*/ 383607 w 859464"/>
                    <a:gd name="connsiteY3007" fmla="*/ 60751 h 798932"/>
                    <a:gd name="connsiteX3008" fmla="*/ 383450 w 859464"/>
                    <a:gd name="connsiteY3008" fmla="*/ 60702 h 798932"/>
                    <a:gd name="connsiteX3009" fmla="*/ 381337 w 859464"/>
                    <a:gd name="connsiteY3009" fmla="*/ 56987 h 798932"/>
                    <a:gd name="connsiteX3010" fmla="*/ 381045 w 859464"/>
                    <a:gd name="connsiteY3010" fmla="*/ 56465 h 798932"/>
                    <a:gd name="connsiteX3011" fmla="*/ 380645 w 859464"/>
                    <a:gd name="connsiteY3011" fmla="*/ 56015 h 798932"/>
                    <a:gd name="connsiteX3012" fmla="*/ 379443 w 859464"/>
                    <a:gd name="connsiteY3012" fmla="*/ 54619 h 798932"/>
                    <a:gd name="connsiteX3013" fmla="*/ 378908 w 859464"/>
                    <a:gd name="connsiteY3013" fmla="*/ 54000 h 798932"/>
                    <a:gd name="connsiteX3014" fmla="*/ 378228 w 859464"/>
                    <a:gd name="connsiteY3014" fmla="*/ 53550 h 798932"/>
                    <a:gd name="connsiteX3015" fmla="*/ 376735 w 859464"/>
                    <a:gd name="connsiteY3015" fmla="*/ 52555 h 798932"/>
                    <a:gd name="connsiteX3016" fmla="*/ 376152 w 859464"/>
                    <a:gd name="connsiteY3016" fmla="*/ 52166 h 798932"/>
                    <a:gd name="connsiteX3017" fmla="*/ 375496 w 859464"/>
                    <a:gd name="connsiteY3017" fmla="*/ 51923 h 798932"/>
                    <a:gd name="connsiteX3018" fmla="*/ 371829 w 859464"/>
                    <a:gd name="connsiteY3018" fmla="*/ 50551 h 798932"/>
                    <a:gd name="connsiteX3019" fmla="*/ 371307 w 859464"/>
                    <a:gd name="connsiteY3019" fmla="*/ 50345 h 798932"/>
                    <a:gd name="connsiteX3020" fmla="*/ 370760 w 859464"/>
                    <a:gd name="connsiteY3020" fmla="*/ 50247 h 798932"/>
                    <a:gd name="connsiteX3021" fmla="*/ 368635 w 859464"/>
                    <a:gd name="connsiteY3021" fmla="*/ 49871 h 798932"/>
                    <a:gd name="connsiteX3022" fmla="*/ 368113 w 859464"/>
                    <a:gd name="connsiteY3022" fmla="*/ 49774 h 798932"/>
                    <a:gd name="connsiteX3023" fmla="*/ 367579 w 859464"/>
                    <a:gd name="connsiteY3023" fmla="*/ 49774 h 798932"/>
                    <a:gd name="connsiteX3024" fmla="*/ 365393 w 859464"/>
                    <a:gd name="connsiteY3024" fmla="*/ 49774 h 798932"/>
                    <a:gd name="connsiteX3025" fmla="*/ 364883 w 859464"/>
                    <a:gd name="connsiteY3025" fmla="*/ 49774 h 798932"/>
                    <a:gd name="connsiteX3026" fmla="*/ 364373 w 859464"/>
                    <a:gd name="connsiteY3026" fmla="*/ 49859 h 798932"/>
                    <a:gd name="connsiteX3027" fmla="*/ 352376 w 859464"/>
                    <a:gd name="connsiteY3027" fmla="*/ 51923 h 798932"/>
                    <a:gd name="connsiteX3028" fmla="*/ 351611 w 859464"/>
                    <a:gd name="connsiteY3028" fmla="*/ 52069 h 798932"/>
                    <a:gd name="connsiteX3029" fmla="*/ 350907 w 859464"/>
                    <a:gd name="connsiteY3029" fmla="*/ 52385 h 798932"/>
                    <a:gd name="connsiteX3030" fmla="*/ 343329 w 859464"/>
                    <a:gd name="connsiteY3030" fmla="*/ 55797 h 798932"/>
                    <a:gd name="connsiteX3031" fmla="*/ 342491 w 859464"/>
                    <a:gd name="connsiteY3031" fmla="*/ 56173 h 798932"/>
                    <a:gd name="connsiteX3032" fmla="*/ 341799 w 859464"/>
                    <a:gd name="connsiteY3032" fmla="*/ 56793 h 798932"/>
                    <a:gd name="connsiteX3033" fmla="*/ 340767 w 859464"/>
                    <a:gd name="connsiteY3033" fmla="*/ 57703 h 798932"/>
                    <a:gd name="connsiteX3034" fmla="*/ 339674 w 859464"/>
                    <a:gd name="connsiteY3034" fmla="*/ 58820 h 798932"/>
                    <a:gd name="connsiteX3035" fmla="*/ 339031 w 859464"/>
                    <a:gd name="connsiteY3035" fmla="*/ 59500 h 798932"/>
                    <a:gd name="connsiteX3036" fmla="*/ 338618 w 859464"/>
                    <a:gd name="connsiteY3036" fmla="*/ 60338 h 798932"/>
                    <a:gd name="connsiteX3037" fmla="*/ 337197 w 859464"/>
                    <a:gd name="connsiteY3037" fmla="*/ 63253 h 798932"/>
                    <a:gd name="connsiteX3038" fmla="*/ 336384 w 859464"/>
                    <a:gd name="connsiteY3038" fmla="*/ 63580 h 798932"/>
                    <a:gd name="connsiteX3039" fmla="*/ 333166 w 859464"/>
                    <a:gd name="connsiteY3039" fmla="*/ 64139 h 798932"/>
                    <a:gd name="connsiteX3040" fmla="*/ 333069 w 859464"/>
                    <a:gd name="connsiteY3040" fmla="*/ 64042 h 798932"/>
                    <a:gd name="connsiteX3041" fmla="*/ 332206 w 859464"/>
                    <a:gd name="connsiteY3041" fmla="*/ 63313 h 798932"/>
                    <a:gd name="connsiteX3042" fmla="*/ 331818 w 859464"/>
                    <a:gd name="connsiteY3042" fmla="*/ 62998 h 798932"/>
                    <a:gd name="connsiteX3043" fmla="*/ 331381 w 859464"/>
                    <a:gd name="connsiteY3043" fmla="*/ 62742 h 798932"/>
                    <a:gd name="connsiteX3044" fmla="*/ 329766 w 859464"/>
                    <a:gd name="connsiteY3044" fmla="*/ 61795 h 798932"/>
                    <a:gd name="connsiteX3045" fmla="*/ 329025 w 859464"/>
                    <a:gd name="connsiteY3045" fmla="*/ 61358 h 798932"/>
                    <a:gd name="connsiteX3046" fmla="*/ 328187 w 859464"/>
                    <a:gd name="connsiteY3046" fmla="*/ 61140 h 798932"/>
                    <a:gd name="connsiteX3047" fmla="*/ 325224 w 859464"/>
                    <a:gd name="connsiteY3047" fmla="*/ 60387 h 798932"/>
                    <a:gd name="connsiteX3048" fmla="*/ 325079 w 859464"/>
                    <a:gd name="connsiteY3048" fmla="*/ 58978 h 798932"/>
                    <a:gd name="connsiteX3049" fmla="*/ 324253 w 859464"/>
                    <a:gd name="connsiteY3049" fmla="*/ 57715 h 798932"/>
                    <a:gd name="connsiteX3050" fmla="*/ 323670 w 859464"/>
                    <a:gd name="connsiteY3050" fmla="*/ 56841 h 798932"/>
                    <a:gd name="connsiteX3051" fmla="*/ 322905 w 859464"/>
                    <a:gd name="connsiteY3051" fmla="*/ 55687 h 798932"/>
                    <a:gd name="connsiteX3052" fmla="*/ 321727 w 859464"/>
                    <a:gd name="connsiteY3052" fmla="*/ 54983 h 798932"/>
                    <a:gd name="connsiteX3053" fmla="*/ 320574 w 859464"/>
                    <a:gd name="connsiteY3053" fmla="*/ 54291 h 798932"/>
                    <a:gd name="connsiteX3054" fmla="*/ 320015 w 859464"/>
                    <a:gd name="connsiteY3054" fmla="*/ 53951 h 798932"/>
                    <a:gd name="connsiteX3055" fmla="*/ 319396 w 859464"/>
                    <a:gd name="connsiteY3055" fmla="*/ 53745 h 798932"/>
                    <a:gd name="connsiteX3056" fmla="*/ 314903 w 859464"/>
                    <a:gd name="connsiteY3056" fmla="*/ 52227 h 798932"/>
                    <a:gd name="connsiteX3057" fmla="*/ 310616 w 859464"/>
                    <a:gd name="connsiteY3057" fmla="*/ 38870 h 798932"/>
                    <a:gd name="connsiteX3058" fmla="*/ 310106 w 859464"/>
                    <a:gd name="connsiteY3058" fmla="*/ 37570 h 798932"/>
                    <a:gd name="connsiteX3059" fmla="*/ 309900 w 859464"/>
                    <a:gd name="connsiteY3059" fmla="*/ 37073 h 798932"/>
                    <a:gd name="connsiteX3060" fmla="*/ 309608 w 859464"/>
                    <a:gd name="connsiteY3060" fmla="*/ 36611 h 798932"/>
                    <a:gd name="connsiteX3061" fmla="*/ 309183 w 859464"/>
                    <a:gd name="connsiteY3061" fmla="*/ 35943 h 798932"/>
                    <a:gd name="connsiteX3062" fmla="*/ 308346 w 859464"/>
                    <a:gd name="connsiteY3062" fmla="*/ 34753 h 798932"/>
                    <a:gd name="connsiteX3063" fmla="*/ 307617 w 859464"/>
                    <a:gd name="connsiteY3063" fmla="*/ 33757 h 798932"/>
                    <a:gd name="connsiteX3064" fmla="*/ 306573 w 859464"/>
                    <a:gd name="connsiteY3064" fmla="*/ 33163 h 798932"/>
                    <a:gd name="connsiteX3065" fmla="*/ 304776 w 859464"/>
                    <a:gd name="connsiteY3065" fmla="*/ 32069 h 798932"/>
                    <a:gd name="connsiteX3066" fmla="*/ 304411 w 859464"/>
                    <a:gd name="connsiteY3066" fmla="*/ 31875 h 798932"/>
                    <a:gd name="connsiteX3067" fmla="*/ 302651 w 859464"/>
                    <a:gd name="connsiteY3067" fmla="*/ 30370 h 798932"/>
                    <a:gd name="connsiteX3068" fmla="*/ 301473 w 859464"/>
                    <a:gd name="connsiteY3068" fmla="*/ 29070 h 798932"/>
                    <a:gd name="connsiteX3069" fmla="*/ 300744 w 859464"/>
                    <a:gd name="connsiteY3069" fmla="*/ 28269 h 798932"/>
                    <a:gd name="connsiteX3070" fmla="*/ 299785 w 859464"/>
                    <a:gd name="connsiteY3070" fmla="*/ 27771 h 798932"/>
                    <a:gd name="connsiteX3071" fmla="*/ 294976 w 859464"/>
                    <a:gd name="connsiteY3071" fmla="*/ 25245 h 798932"/>
                    <a:gd name="connsiteX3072" fmla="*/ 293701 w 859464"/>
                    <a:gd name="connsiteY3072" fmla="*/ 24565 h 798932"/>
                    <a:gd name="connsiteX3073" fmla="*/ 292256 w 859464"/>
                    <a:gd name="connsiteY3073" fmla="*/ 24541 h 798932"/>
                    <a:gd name="connsiteX3074" fmla="*/ 284849 w 859464"/>
                    <a:gd name="connsiteY3074" fmla="*/ 24420 h 798932"/>
                    <a:gd name="connsiteX3075" fmla="*/ 284303 w 859464"/>
                    <a:gd name="connsiteY3075" fmla="*/ 24407 h 798932"/>
                    <a:gd name="connsiteX3076" fmla="*/ 283756 w 859464"/>
                    <a:gd name="connsiteY3076" fmla="*/ 24505 h 798932"/>
                    <a:gd name="connsiteX3077" fmla="*/ 280939 w 859464"/>
                    <a:gd name="connsiteY3077" fmla="*/ 24978 h 798932"/>
                    <a:gd name="connsiteX3078" fmla="*/ 276191 w 859464"/>
                    <a:gd name="connsiteY3078" fmla="*/ 22234 h 798932"/>
                    <a:gd name="connsiteX3079" fmla="*/ 275766 w 859464"/>
                    <a:gd name="connsiteY3079" fmla="*/ 21991 h 798932"/>
                    <a:gd name="connsiteX3080" fmla="*/ 275305 w 859464"/>
                    <a:gd name="connsiteY3080" fmla="*/ 21809 h 798932"/>
                    <a:gd name="connsiteX3081" fmla="*/ 263696 w 859464"/>
                    <a:gd name="connsiteY3081" fmla="*/ 17413 h 798932"/>
                    <a:gd name="connsiteX3082" fmla="*/ 263198 w 859464"/>
                    <a:gd name="connsiteY3082" fmla="*/ 17219 h 798932"/>
                    <a:gd name="connsiteX3083" fmla="*/ 262676 w 859464"/>
                    <a:gd name="connsiteY3083" fmla="*/ 17122 h 798932"/>
                    <a:gd name="connsiteX3084" fmla="*/ 259980 w 859464"/>
                    <a:gd name="connsiteY3084" fmla="*/ 16612 h 798932"/>
                    <a:gd name="connsiteX3085" fmla="*/ 258875 w 859464"/>
                    <a:gd name="connsiteY3085" fmla="*/ 16393 h 798932"/>
                    <a:gd name="connsiteX3086" fmla="*/ 257770 w 859464"/>
                    <a:gd name="connsiteY3086" fmla="*/ 16599 h 798932"/>
                    <a:gd name="connsiteX3087" fmla="*/ 254431 w 859464"/>
                    <a:gd name="connsiteY3087" fmla="*/ 17206 h 798932"/>
                    <a:gd name="connsiteX3088" fmla="*/ 253095 w 859464"/>
                    <a:gd name="connsiteY3088" fmla="*/ 17304 h 798932"/>
                    <a:gd name="connsiteX3089" fmla="*/ 252682 w 859464"/>
                    <a:gd name="connsiteY3089" fmla="*/ 17231 h 798932"/>
                    <a:gd name="connsiteX3090" fmla="*/ 251978 w 859464"/>
                    <a:gd name="connsiteY3090" fmla="*/ 16951 h 798932"/>
                    <a:gd name="connsiteX3091" fmla="*/ 250327 w 859464"/>
                    <a:gd name="connsiteY3091" fmla="*/ 16053 h 798932"/>
                    <a:gd name="connsiteX3092" fmla="*/ 249246 w 859464"/>
                    <a:gd name="connsiteY3092" fmla="*/ 15458 h 798932"/>
                    <a:gd name="connsiteX3093" fmla="*/ 248007 w 859464"/>
                    <a:gd name="connsiteY3093" fmla="*/ 15324 h 798932"/>
                    <a:gd name="connsiteX3094" fmla="*/ 246562 w 859464"/>
                    <a:gd name="connsiteY3094" fmla="*/ 15179 h 798932"/>
                    <a:gd name="connsiteX3095" fmla="*/ 245809 w 859464"/>
                    <a:gd name="connsiteY3095" fmla="*/ 15106 h 798932"/>
                    <a:gd name="connsiteX3096" fmla="*/ 245057 w 859464"/>
                    <a:gd name="connsiteY3096" fmla="*/ 15227 h 798932"/>
                    <a:gd name="connsiteX3097" fmla="*/ 243745 w 859464"/>
                    <a:gd name="connsiteY3097" fmla="*/ 15434 h 798932"/>
                    <a:gd name="connsiteX3098" fmla="*/ 243150 w 859464"/>
                    <a:gd name="connsiteY3098" fmla="*/ 15531 h 798932"/>
                    <a:gd name="connsiteX3099" fmla="*/ 242592 w 859464"/>
                    <a:gd name="connsiteY3099" fmla="*/ 15737 h 798932"/>
                    <a:gd name="connsiteX3100" fmla="*/ 241972 w 859464"/>
                    <a:gd name="connsiteY3100" fmla="*/ 15968 h 798932"/>
                    <a:gd name="connsiteX3101" fmla="*/ 241061 w 859464"/>
                    <a:gd name="connsiteY3101" fmla="*/ 16114 h 798932"/>
                    <a:gd name="connsiteX3102" fmla="*/ 240612 w 859464"/>
                    <a:gd name="connsiteY3102" fmla="*/ 16199 h 798932"/>
                    <a:gd name="connsiteX3103" fmla="*/ 240175 w 859464"/>
                    <a:gd name="connsiteY3103" fmla="*/ 16332 h 798932"/>
                    <a:gd name="connsiteX3104" fmla="*/ 239021 w 859464"/>
                    <a:gd name="connsiteY3104" fmla="*/ 16697 h 798932"/>
                    <a:gd name="connsiteX3105" fmla="*/ 238378 w 859464"/>
                    <a:gd name="connsiteY3105" fmla="*/ 16915 h 798932"/>
                    <a:gd name="connsiteX3106" fmla="*/ 237795 w 859464"/>
                    <a:gd name="connsiteY3106" fmla="*/ 17243 h 798932"/>
                    <a:gd name="connsiteX3107" fmla="*/ 237006 w 859464"/>
                    <a:gd name="connsiteY3107" fmla="*/ 17704 h 798932"/>
                    <a:gd name="connsiteX3108" fmla="*/ 235998 w 859464"/>
                    <a:gd name="connsiteY3108" fmla="*/ 18300 h 798932"/>
                    <a:gd name="connsiteX3109" fmla="*/ 235281 w 859464"/>
                    <a:gd name="connsiteY3109" fmla="*/ 19235 h 798932"/>
                    <a:gd name="connsiteX3110" fmla="*/ 235014 w 859464"/>
                    <a:gd name="connsiteY3110" fmla="*/ 19574 h 798932"/>
                    <a:gd name="connsiteX3111" fmla="*/ 226696 w 859464"/>
                    <a:gd name="connsiteY3111" fmla="*/ 16369 h 798932"/>
                    <a:gd name="connsiteX3112" fmla="*/ 224972 w 859464"/>
                    <a:gd name="connsiteY3112" fmla="*/ 12981 h 798932"/>
                    <a:gd name="connsiteX3113" fmla="*/ 223576 w 859464"/>
                    <a:gd name="connsiteY3113" fmla="*/ 10710 h 798932"/>
                    <a:gd name="connsiteX3114" fmla="*/ 223272 w 859464"/>
                    <a:gd name="connsiteY3114" fmla="*/ 10212 h 798932"/>
                    <a:gd name="connsiteX3115" fmla="*/ 222871 w 859464"/>
                    <a:gd name="connsiteY3115" fmla="*/ 9799 h 798932"/>
                    <a:gd name="connsiteX3116" fmla="*/ 222179 w 859464"/>
                    <a:gd name="connsiteY3116" fmla="*/ 9046 h 798932"/>
                    <a:gd name="connsiteX3117" fmla="*/ 221742 w 859464"/>
                    <a:gd name="connsiteY3117" fmla="*/ 8573 h 798932"/>
                    <a:gd name="connsiteX3118" fmla="*/ 221232 w 859464"/>
                    <a:gd name="connsiteY3118" fmla="*/ 8209 h 798932"/>
                    <a:gd name="connsiteX3119" fmla="*/ 218706 w 859464"/>
                    <a:gd name="connsiteY3119" fmla="*/ 6436 h 798932"/>
                    <a:gd name="connsiteX3120" fmla="*/ 218148 w 859464"/>
                    <a:gd name="connsiteY3120" fmla="*/ 6059 h 798932"/>
                    <a:gd name="connsiteX3121" fmla="*/ 217529 w 859464"/>
                    <a:gd name="connsiteY3121" fmla="*/ 5804 h 798932"/>
                    <a:gd name="connsiteX3122" fmla="*/ 209951 w 859464"/>
                    <a:gd name="connsiteY3122" fmla="*/ 2671 h 798932"/>
                    <a:gd name="connsiteX3123" fmla="*/ 203540 w 859464"/>
                    <a:gd name="connsiteY3123" fmla="*/ 0 h 798932"/>
                    <a:gd name="connsiteX3124" fmla="*/ 203540 w 859464"/>
                    <a:gd name="connsiteY3124" fmla="*/ 0 h 798932"/>
                    <a:gd name="connsiteX3125" fmla="*/ 595393 w 859464"/>
                    <a:gd name="connsiteY3125" fmla="*/ 570657 h 798932"/>
                    <a:gd name="connsiteX3126" fmla="*/ 595818 w 859464"/>
                    <a:gd name="connsiteY3126" fmla="*/ 569383 h 798932"/>
                    <a:gd name="connsiteX3127" fmla="*/ 595830 w 859464"/>
                    <a:gd name="connsiteY3127" fmla="*/ 569346 h 798932"/>
                    <a:gd name="connsiteX3128" fmla="*/ 597153 w 859464"/>
                    <a:gd name="connsiteY3128" fmla="*/ 569698 h 798932"/>
                    <a:gd name="connsiteX3129" fmla="*/ 599290 w 859464"/>
                    <a:gd name="connsiteY3129" fmla="*/ 570451 h 798932"/>
                    <a:gd name="connsiteX3130" fmla="*/ 605155 w 859464"/>
                    <a:gd name="connsiteY3130" fmla="*/ 572467 h 798932"/>
                    <a:gd name="connsiteX3131" fmla="*/ 604597 w 859464"/>
                    <a:gd name="connsiteY3131" fmla="*/ 573960 h 798932"/>
                    <a:gd name="connsiteX3132" fmla="*/ 603808 w 859464"/>
                    <a:gd name="connsiteY3132" fmla="*/ 573450 h 798932"/>
                    <a:gd name="connsiteX3133" fmla="*/ 603152 w 859464"/>
                    <a:gd name="connsiteY3133" fmla="*/ 573038 h 798932"/>
                    <a:gd name="connsiteX3134" fmla="*/ 602411 w 859464"/>
                    <a:gd name="connsiteY3134" fmla="*/ 572794 h 798932"/>
                    <a:gd name="connsiteX3135" fmla="*/ 596789 w 859464"/>
                    <a:gd name="connsiteY3135" fmla="*/ 570973 h 798932"/>
                    <a:gd name="connsiteX3136" fmla="*/ 596400 w 859464"/>
                    <a:gd name="connsiteY3136" fmla="*/ 570840 h 798932"/>
                    <a:gd name="connsiteX3137" fmla="*/ 595987 w 859464"/>
                    <a:gd name="connsiteY3137" fmla="*/ 570767 h 798932"/>
                    <a:gd name="connsiteX3138" fmla="*/ 595393 w 859464"/>
                    <a:gd name="connsiteY3138" fmla="*/ 570657 h 798932"/>
                    <a:gd name="connsiteX3139" fmla="*/ 595393 w 859464"/>
                    <a:gd name="connsiteY3139" fmla="*/ 570657 h 79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Lst>
                  <a:rect l="l" t="t" r="r" b="b"/>
                  <a:pathLst>
                    <a:path w="859464" h="798932">
                      <a:moveTo>
                        <a:pt x="207644" y="8269"/>
                      </a:moveTo>
                      <a:lnTo>
                        <a:pt x="215221" y="11402"/>
                      </a:lnTo>
                      <a:lnTo>
                        <a:pt x="217747" y="13175"/>
                      </a:lnTo>
                      <a:lnTo>
                        <a:pt x="218439" y="13928"/>
                      </a:lnTo>
                      <a:lnTo>
                        <a:pt x="219569" y="15725"/>
                      </a:lnTo>
                      <a:lnTo>
                        <a:pt x="221596" y="19720"/>
                      </a:lnTo>
                      <a:lnTo>
                        <a:pt x="222155" y="20546"/>
                      </a:lnTo>
                      <a:lnTo>
                        <a:pt x="222908" y="21214"/>
                      </a:lnTo>
                      <a:lnTo>
                        <a:pt x="223709" y="21724"/>
                      </a:lnTo>
                      <a:lnTo>
                        <a:pt x="235488" y="26241"/>
                      </a:lnTo>
                      <a:lnTo>
                        <a:pt x="236641" y="26265"/>
                      </a:lnTo>
                      <a:lnTo>
                        <a:pt x="238135" y="25597"/>
                      </a:lnTo>
                      <a:lnTo>
                        <a:pt x="238924" y="24832"/>
                      </a:lnTo>
                      <a:lnTo>
                        <a:pt x="239447" y="24031"/>
                      </a:lnTo>
                      <a:lnTo>
                        <a:pt x="239689" y="23460"/>
                      </a:lnTo>
                      <a:lnTo>
                        <a:pt x="240090" y="22938"/>
                      </a:lnTo>
                      <a:lnTo>
                        <a:pt x="240879" y="22477"/>
                      </a:lnTo>
                      <a:lnTo>
                        <a:pt x="242033" y="22112"/>
                      </a:lnTo>
                      <a:lnTo>
                        <a:pt x="243514" y="21869"/>
                      </a:lnTo>
                      <a:lnTo>
                        <a:pt x="244680" y="21444"/>
                      </a:lnTo>
                      <a:lnTo>
                        <a:pt x="245992" y="21238"/>
                      </a:lnTo>
                      <a:lnTo>
                        <a:pt x="247437" y="21384"/>
                      </a:lnTo>
                      <a:lnTo>
                        <a:pt x="249392" y="22452"/>
                      </a:lnTo>
                      <a:lnTo>
                        <a:pt x="250995" y="23108"/>
                      </a:lnTo>
                      <a:lnTo>
                        <a:pt x="252767" y="23424"/>
                      </a:lnTo>
                      <a:lnTo>
                        <a:pt x="255524" y="23193"/>
                      </a:lnTo>
                      <a:lnTo>
                        <a:pt x="258863" y="22586"/>
                      </a:lnTo>
                      <a:lnTo>
                        <a:pt x="261559" y="23096"/>
                      </a:lnTo>
                      <a:lnTo>
                        <a:pt x="273167" y="27492"/>
                      </a:lnTo>
                      <a:lnTo>
                        <a:pt x="279348" y="31050"/>
                      </a:lnTo>
                      <a:lnTo>
                        <a:pt x="280514" y="31195"/>
                      </a:lnTo>
                      <a:lnTo>
                        <a:pt x="284764" y="30479"/>
                      </a:lnTo>
                      <a:lnTo>
                        <a:pt x="292171" y="30600"/>
                      </a:lnTo>
                      <a:lnTo>
                        <a:pt x="296980" y="33126"/>
                      </a:lnTo>
                      <a:lnTo>
                        <a:pt x="298425" y="34729"/>
                      </a:lnTo>
                      <a:lnTo>
                        <a:pt x="300951" y="36890"/>
                      </a:lnTo>
                      <a:lnTo>
                        <a:pt x="301631" y="37254"/>
                      </a:lnTo>
                      <a:lnTo>
                        <a:pt x="303428" y="38347"/>
                      </a:lnTo>
                      <a:lnTo>
                        <a:pt x="304096" y="39270"/>
                      </a:lnTo>
                      <a:lnTo>
                        <a:pt x="304520" y="39938"/>
                      </a:lnTo>
                      <a:lnTo>
                        <a:pt x="304860" y="40764"/>
                      </a:lnTo>
                      <a:lnTo>
                        <a:pt x="309511" y="55251"/>
                      </a:lnTo>
                      <a:lnTo>
                        <a:pt x="310179" y="56380"/>
                      </a:lnTo>
                      <a:lnTo>
                        <a:pt x="311053" y="57145"/>
                      </a:lnTo>
                      <a:lnTo>
                        <a:pt x="312547" y="57873"/>
                      </a:lnTo>
                      <a:lnTo>
                        <a:pt x="317489" y="59537"/>
                      </a:lnTo>
                      <a:lnTo>
                        <a:pt x="318643" y="60229"/>
                      </a:lnTo>
                      <a:lnTo>
                        <a:pt x="319226" y="61103"/>
                      </a:lnTo>
                      <a:lnTo>
                        <a:pt x="319432" y="63156"/>
                      </a:lnTo>
                      <a:lnTo>
                        <a:pt x="319894" y="64309"/>
                      </a:lnTo>
                      <a:lnTo>
                        <a:pt x="321217" y="65402"/>
                      </a:lnTo>
                      <a:lnTo>
                        <a:pt x="323051" y="66131"/>
                      </a:lnTo>
                      <a:lnTo>
                        <a:pt x="326730" y="67066"/>
                      </a:lnTo>
                      <a:lnTo>
                        <a:pt x="328345" y="68013"/>
                      </a:lnTo>
                      <a:lnTo>
                        <a:pt x="329207" y="68741"/>
                      </a:lnTo>
                      <a:lnTo>
                        <a:pt x="329426" y="69494"/>
                      </a:lnTo>
                      <a:lnTo>
                        <a:pt x="329778" y="70150"/>
                      </a:lnTo>
                      <a:lnTo>
                        <a:pt x="331029" y="70405"/>
                      </a:lnTo>
                      <a:lnTo>
                        <a:pt x="333287" y="70320"/>
                      </a:lnTo>
                      <a:lnTo>
                        <a:pt x="338096" y="69494"/>
                      </a:lnTo>
                      <a:lnTo>
                        <a:pt x="340512" y="68523"/>
                      </a:lnTo>
                      <a:lnTo>
                        <a:pt x="341896" y="67600"/>
                      </a:lnTo>
                      <a:lnTo>
                        <a:pt x="344119" y="63034"/>
                      </a:lnTo>
                      <a:lnTo>
                        <a:pt x="344823" y="62281"/>
                      </a:lnTo>
                      <a:lnTo>
                        <a:pt x="345855" y="61371"/>
                      </a:lnTo>
                      <a:lnTo>
                        <a:pt x="353432" y="57946"/>
                      </a:lnTo>
                      <a:lnTo>
                        <a:pt x="365430" y="55882"/>
                      </a:lnTo>
                      <a:lnTo>
                        <a:pt x="367615" y="55882"/>
                      </a:lnTo>
                      <a:lnTo>
                        <a:pt x="369740" y="56258"/>
                      </a:lnTo>
                      <a:lnTo>
                        <a:pt x="373407" y="57630"/>
                      </a:lnTo>
                      <a:lnTo>
                        <a:pt x="374901" y="58626"/>
                      </a:lnTo>
                      <a:lnTo>
                        <a:pt x="376103" y="60011"/>
                      </a:lnTo>
                      <a:lnTo>
                        <a:pt x="378580" y="64370"/>
                      </a:lnTo>
                      <a:lnTo>
                        <a:pt x="379491" y="65438"/>
                      </a:lnTo>
                      <a:lnTo>
                        <a:pt x="380426" y="66203"/>
                      </a:lnTo>
                      <a:lnTo>
                        <a:pt x="382830" y="66774"/>
                      </a:lnTo>
                      <a:lnTo>
                        <a:pt x="398847" y="68935"/>
                      </a:lnTo>
                      <a:lnTo>
                        <a:pt x="401603" y="70114"/>
                      </a:lnTo>
                      <a:lnTo>
                        <a:pt x="402988" y="71522"/>
                      </a:lnTo>
                      <a:lnTo>
                        <a:pt x="405465" y="74898"/>
                      </a:lnTo>
                      <a:lnTo>
                        <a:pt x="406485" y="75942"/>
                      </a:lnTo>
                      <a:lnTo>
                        <a:pt x="407808" y="76634"/>
                      </a:lnTo>
                      <a:lnTo>
                        <a:pt x="409253" y="77144"/>
                      </a:lnTo>
                      <a:lnTo>
                        <a:pt x="412289" y="77436"/>
                      </a:lnTo>
                      <a:lnTo>
                        <a:pt x="427395" y="77253"/>
                      </a:lnTo>
                      <a:lnTo>
                        <a:pt x="428136" y="77533"/>
                      </a:lnTo>
                      <a:lnTo>
                        <a:pt x="429399" y="77739"/>
                      </a:lnTo>
                      <a:lnTo>
                        <a:pt x="434523" y="77921"/>
                      </a:lnTo>
                      <a:lnTo>
                        <a:pt x="436065" y="78553"/>
                      </a:lnTo>
                      <a:lnTo>
                        <a:pt x="437097" y="79379"/>
                      </a:lnTo>
                      <a:lnTo>
                        <a:pt x="437619" y="80386"/>
                      </a:lnTo>
                      <a:lnTo>
                        <a:pt x="438239" y="81139"/>
                      </a:lnTo>
                      <a:lnTo>
                        <a:pt x="438931" y="81771"/>
                      </a:lnTo>
                      <a:lnTo>
                        <a:pt x="440655" y="82633"/>
                      </a:lnTo>
                      <a:lnTo>
                        <a:pt x="441517" y="82936"/>
                      </a:lnTo>
                      <a:lnTo>
                        <a:pt x="442707" y="82912"/>
                      </a:lnTo>
                      <a:lnTo>
                        <a:pt x="444104" y="82487"/>
                      </a:lnTo>
                      <a:lnTo>
                        <a:pt x="446119" y="80811"/>
                      </a:lnTo>
                      <a:lnTo>
                        <a:pt x="446909" y="79548"/>
                      </a:lnTo>
                      <a:lnTo>
                        <a:pt x="447309" y="78310"/>
                      </a:lnTo>
                      <a:lnTo>
                        <a:pt x="447309" y="76173"/>
                      </a:lnTo>
                      <a:lnTo>
                        <a:pt x="447662" y="74194"/>
                      </a:lnTo>
                      <a:lnTo>
                        <a:pt x="448402" y="73258"/>
                      </a:lnTo>
                      <a:lnTo>
                        <a:pt x="449616" y="72299"/>
                      </a:lnTo>
                      <a:lnTo>
                        <a:pt x="452774" y="70927"/>
                      </a:lnTo>
                      <a:lnTo>
                        <a:pt x="466325" y="66725"/>
                      </a:lnTo>
                      <a:lnTo>
                        <a:pt x="467467" y="66009"/>
                      </a:lnTo>
                      <a:lnTo>
                        <a:pt x="468280" y="65208"/>
                      </a:lnTo>
                      <a:lnTo>
                        <a:pt x="471377" y="64406"/>
                      </a:lnTo>
                      <a:lnTo>
                        <a:pt x="482682" y="66215"/>
                      </a:lnTo>
                      <a:lnTo>
                        <a:pt x="484358" y="68510"/>
                      </a:lnTo>
                      <a:lnTo>
                        <a:pt x="485730" y="70089"/>
                      </a:lnTo>
                      <a:lnTo>
                        <a:pt x="490101" y="73817"/>
                      </a:lnTo>
                      <a:lnTo>
                        <a:pt x="491352" y="75432"/>
                      </a:lnTo>
                      <a:lnTo>
                        <a:pt x="493817" y="80423"/>
                      </a:lnTo>
                      <a:lnTo>
                        <a:pt x="495031" y="82062"/>
                      </a:lnTo>
                      <a:lnTo>
                        <a:pt x="495663" y="82790"/>
                      </a:lnTo>
                      <a:lnTo>
                        <a:pt x="496464" y="83276"/>
                      </a:lnTo>
                      <a:lnTo>
                        <a:pt x="497338" y="83616"/>
                      </a:lnTo>
                      <a:lnTo>
                        <a:pt x="501005" y="84588"/>
                      </a:lnTo>
                      <a:lnTo>
                        <a:pt x="503762" y="85826"/>
                      </a:lnTo>
                      <a:lnTo>
                        <a:pt x="505717" y="86348"/>
                      </a:lnTo>
                      <a:lnTo>
                        <a:pt x="506640" y="86689"/>
                      </a:lnTo>
                      <a:lnTo>
                        <a:pt x="507393" y="87211"/>
                      </a:lnTo>
                      <a:lnTo>
                        <a:pt x="508060" y="87927"/>
                      </a:lnTo>
                      <a:lnTo>
                        <a:pt x="510368" y="91461"/>
                      </a:lnTo>
                      <a:lnTo>
                        <a:pt x="511691" y="92918"/>
                      </a:lnTo>
                      <a:lnTo>
                        <a:pt x="512383" y="93877"/>
                      </a:lnTo>
                      <a:lnTo>
                        <a:pt x="513015" y="95188"/>
                      </a:lnTo>
                      <a:lnTo>
                        <a:pt x="514205" y="98953"/>
                      </a:lnTo>
                      <a:lnTo>
                        <a:pt x="514496" y="101078"/>
                      </a:lnTo>
                      <a:lnTo>
                        <a:pt x="514496" y="103640"/>
                      </a:lnTo>
                      <a:lnTo>
                        <a:pt x="513695" y="110841"/>
                      </a:lnTo>
                      <a:lnTo>
                        <a:pt x="513063" y="113464"/>
                      </a:lnTo>
                      <a:lnTo>
                        <a:pt x="512711" y="116985"/>
                      </a:lnTo>
                      <a:lnTo>
                        <a:pt x="512833" y="120859"/>
                      </a:lnTo>
                      <a:lnTo>
                        <a:pt x="512201" y="123907"/>
                      </a:lnTo>
                      <a:lnTo>
                        <a:pt x="511558" y="125667"/>
                      </a:lnTo>
                      <a:lnTo>
                        <a:pt x="510878" y="126639"/>
                      </a:lnTo>
                      <a:lnTo>
                        <a:pt x="508522" y="128497"/>
                      </a:lnTo>
                      <a:lnTo>
                        <a:pt x="507963" y="129274"/>
                      </a:lnTo>
                      <a:lnTo>
                        <a:pt x="507660" y="130476"/>
                      </a:lnTo>
                      <a:lnTo>
                        <a:pt x="507611" y="131144"/>
                      </a:lnTo>
                      <a:lnTo>
                        <a:pt x="508060" y="133354"/>
                      </a:lnTo>
                      <a:lnTo>
                        <a:pt x="507720" y="136924"/>
                      </a:lnTo>
                      <a:lnTo>
                        <a:pt x="507963" y="140627"/>
                      </a:lnTo>
                      <a:lnTo>
                        <a:pt x="508874" y="144586"/>
                      </a:lnTo>
                      <a:lnTo>
                        <a:pt x="510489" y="148921"/>
                      </a:lnTo>
                      <a:lnTo>
                        <a:pt x="505826" y="151010"/>
                      </a:lnTo>
                      <a:lnTo>
                        <a:pt x="501054" y="155090"/>
                      </a:lnTo>
                      <a:lnTo>
                        <a:pt x="497095" y="160384"/>
                      </a:lnTo>
                      <a:lnTo>
                        <a:pt x="495092" y="166030"/>
                      </a:lnTo>
                      <a:lnTo>
                        <a:pt x="495614" y="172369"/>
                      </a:lnTo>
                      <a:lnTo>
                        <a:pt x="498868" y="173632"/>
                      </a:lnTo>
                      <a:lnTo>
                        <a:pt x="508522" y="171446"/>
                      </a:lnTo>
                      <a:lnTo>
                        <a:pt x="510076" y="174373"/>
                      </a:lnTo>
                      <a:lnTo>
                        <a:pt x="512493" y="187924"/>
                      </a:lnTo>
                      <a:lnTo>
                        <a:pt x="514387" y="194311"/>
                      </a:lnTo>
                      <a:lnTo>
                        <a:pt x="514266" y="204026"/>
                      </a:lnTo>
                      <a:lnTo>
                        <a:pt x="513573" y="207584"/>
                      </a:lnTo>
                      <a:lnTo>
                        <a:pt x="511630" y="209879"/>
                      </a:lnTo>
                      <a:lnTo>
                        <a:pt x="505426" y="215476"/>
                      </a:lnTo>
                      <a:lnTo>
                        <a:pt x="505717" y="215792"/>
                      </a:lnTo>
                      <a:lnTo>
                        <a:pt x="515018" y="221293"/>
                      </a:lnTo>
                      <a:lnTo>
                        <a:pt x="521333" y="223394"/>
                      </a:lnTo>
                      <a:lnTo>
                        <a:pt x="528388" y="229914"/>
                      </a:lnTo>
                      <a:lnTo>
                        <a:pt x="532358" y="232865"/>
                      </a:lnTo>
                      <a:lnTo>
                        <a:pt x="533500" y="234019"/>
                      </a:lnTo>
                      <a:lnTo>
                        <a:pt x="536791" y="239762"/>
                      </a:lnTo>
                      <a:lnTo>
                        <a:pt x="537981" y="240539"/>
                      </a:lnTo>
                      <a:lnTo>
                        <a:pt x="552807" y="241972"/>
                      </a:lnTo>
                      <a:lnTo>
                        <a:pt x="566347" y="240539"/>
                      </a:lnTo>
                      <a:lnTo>
                        <a:pt x="568180" y="239920"/>
                      </a:lnTo>
                      <a:lnTo>
                        <a:pt x="571702" y="237370"/>
                      </a:lnTo>
                      <a:lnTo>
                        <a:pt x="574045" y="236800"/>
                      </a:lnTo>
                      <a:lnTo>
                        <a:pt x="576279" y="237431"/>
                      </a:lnTo>
                      <a:lnTo>
                        <a:pt x="577834" y="239046"/>
                      </a:lnTo>
                      <a:lnTo>
                        <a:pt x="578975" y="241171"/>
                      </a:lnTo>
                      <a:lnTo>
                        <a:pt x="579837" y="243296"/>
                      </a:lnTo>
                      <a:lnTo>
                        <a:pt x="580311" y="245214"/>
                      </a:lnTo>
                      <a:lnTo>
                        <a:pt x="580530" y="249319"/>
                      </a:lnTo>
                      <a:lnTo>
                        <a:pt x="580991" y="251250"/>
                      </a:lnTo>
                      <a:lnTo>
                        <a:pt x="582363" y="253423"/>
                      </a:lnTo>
                      <a:lnTo>
                        <a:pt x="584100" y="255317"/>
                      </a:lnTo>
                      <a:lnTo>
                        <a:pt x="585581" y="257357"/>
                      </a:lnTo>
                      <a:lnTo>
                        <a:pt x="586225" y="259932"/>
                      </a:lnTo>
                      <a:lnTo>
                        <a:pt x="587014" y="260952"/>
                      </a:lnTo>
                      <a:lnTo>
                        <a:pt x="588738" y="259580"/>
                      </a:lnTo>
                      <a:lnTo>
                        <a:pt x="590353" y="257515"/>
                      </a:lnTo>
                      <a:lnTo>
                        <a:pt x="590827" y="256410"/>
                      </a:lnTo>
                      <a:lnTo>
                        <a:pt x="592940" y="257042"/>
                      </a:lnTo>
                      <a:lnTo>
                        <a:pt x="594251" y="258633"/>
                      </a:lnTo>
                      <a:lnTo>
                        <a:pt x="594955" y="260818"/>
                      </a:lnTo>
                      <a:lnTo>
                        <a:pt x="597700" y="261620"/>
                      </a:lnTo>
                      <a:lnTo>
                        <a:pt x="601258" y="259968"/>
                      </a:lnTo>
                      <a:lnTo>
                        <a:pt x="608094" y="258171"/>
                      </a:lnTo>
                      <a:lnTo>
                        <a:pt x="612283" y="258256"/>
                      </a:lnTo>
                      <a:lnTo>
                        <a:pt x="615270" y="259470"/>
                      </a:lnTo>
                      <a:lnTo>
                        <a:pt x="618610" y="262688"/>
                      </a:lnTo>
                      <a:lnTo>
                        <a:pt x="620383" y="263927"/>
                      </a:lnTo>
                      <a:lnTo>
                        <a:pt x="624511" y="265882"/>
                      </a:lnTo>
                      <a:lnTo>
                        <a:pt x="626236" y="267145"/>
                      </a:lnTo>
                      <a:lnTo>
                        <a:pt x="630425" y="270860"/>
                      </a:lnTo>
                      <a:lnTo>
                        <a:pt x="639046" y="280733"/>
                      </a:lnTo>
                      <a:lnTo>
                        <a:pt x="641803" y="284631"/>
                      </a:lnTo>
                      <a:lnTo>
                        <a:pt x="645761" y="288565"/>
                      </a:lnTo>
                      <a:lnTo>
                        <a:pt x="648348" y="292208"/>
                      </a:lnTo>
                      <a:lnTo>
                        <a:pt x="651566" y="295887"/>
                      </a:lnTo>
                      <a:lnTo>
                        <a:pt x="653411" y="298874"/>
                      </a:lnTo>
                      <a:lnTo>
                        <a:pt x="654504" y="301740"/>
                      </a:lnTo>
                      <a:lnTo>
                        <a:pt x="656156" y="307653"/>
                      </a:lnTo>
                      <a:lnTo>
                        <a:pt x="660770" y="318218"/>
                      </a:lnTo>
                      <a:lnTo>
                        <a:pt x="665457" y="325589"/>
                      </a:lnTo>
                      <a:lnTo>
                        <a:pt x="666210" y="327629"/>
                      </a:lnTo>
                      <a:lnTo>
                        <a:pt x="666332" y="329487"/>
                      </a:lnTo>
                      <a:lnTo>
                        <a:pt x="665858" y="330701"/>
                      </a:lnTo>
                      <a:lnTo>
                        <a:pt x="664255" y="331648"/>
                      </a:lnTo>
                      <a:lnTo>
                        <a:pt x="660697" y="333227"/>
                      </a:lnTo>
                      <a:lnTo>
                        <a:pt x="659252" y="334283"/>
                      </a:lnTo>
                      <a:lnTo>
                        <a:pt x="658281" y="335607"/>
                      </a:lnTo>
                      <a:lnTo>
                        <a:pt x="657819" y="337404"/>
                      </a:lnTo>
                      <a:lnTo>
                        <a:pt x="657880" y="339505"/>
                      </a:lnTo>
                      <a:lnTo>
                        <a:pt x="658852" y="342115"/>
                      </a:lnTo>
                      <a:lnTo>
                        <a:pt x="660284" y="343415"/>
                      </a:lnTo>
                      <a:lnTo>
                        <a:pt x="662300" y="343961"/>
                      </a:lnTo>
                      <a:lnTo>
                        <a:pt x="667182" y="343840"/>
                      </a:lnTo>
                      <a:lnTo>
                        <a:pt x="669367" y="343548"/>
                      </a:lnTo>
                      <a:lnTo>
                        <a:pt x="670909" y="343062"/>
                      </a:lnTo>
                      <a:lnTo>
                        <a:pt x="671942" y="342346"/>
                      </a:lnTo>
                      <a:lnTo>
                        <a:pt x="672403" y="341520"/>
                      </a:lnTo>
                      <a:lnTo>
                        <a:pt x="672767" y="340306"/>
                      </a:lnTo>
                      <a:lnTo>
                        <a:pt x="673557" y="336347"/>
                      </a:lnTo>
                      <a:lnTo>
                        <a:pt x="674079" y="335218"/>
                      </a:lnTo>
                      <a:lnTo>
                        <a:pt x="674880" y="334501"/>
                      </a:lnTo>
                      <a:lnTo>
                        <a:pt x="676374" y="334040"/>
                      </a:lnTo>
                      <a:lnTo>
                        <a:pt x="677916" y="334271"/>
                      </a:lnTo>
                      <a:lnTo>
                        <a:pt x="679871" y="335461"/>
                      </a:lnTo>
                      <a:lnTo>
                        <a:pt x="680842" y="337732"/>
                      </a:lnTo>
                      <a:lnTo>
                        <a:pt x="681194" y="340294"/>
                      </a:lnTo>
                      <a:lnTo>
                        <a:pt x="681316" y="342929"/>
                      </a:lnTo>
                      <a:lnTo>
                        <a:pt x="681717" y="345636"/>
                      </a:lnTo>
                      <a:lnTo>
                        <a:pt x="683077" y="347980"/>
                      </a:lnTo>
                      <a:lnTo>
                        <a:pt x="684813" y="349134"/>
                      </a:lnTo>
                      <a:lnTo>
                        <a:pt x="686999" y="349255"/>
                      </a:lnTo>
                      <a:lnTo>
                        <a:pt x="689221" y="348527"/>
                      </a:lnTo>
                      <a:lnTo>
                        <a:pt x="693835" y="346450"/>
                      </a:lnTo>
                      <a:lnTo>
                        <a:pt x="696288" y="345697"/>
                      </a:lnTo>
                      <a:lnTo>
                        <a:pt x="699457" y="346122"/>
                      </a:lnTo>
                      <a:lnTo>
                        <a:pt x="700890" y="347069"/>
                      </a:lnTo>
                      <a:lnTo>
                        <a:pt x="701291" y="348709"/>
                      </a:lnTo>
                      <a:lnTo>
                        <a:pt x="700477" y="350567"/>
                      </a:lnTo>
                      <a:lnTo>
                        <a:pt x="699057" y="353068"/>
                      </a:lnTo>
                      <a:lnTo>
                        <a:pt x="697685" y="355909"/>
                      </a:lnTo>
                      <a:lnTo>
                        <a:pt x="696810" y="359067"/>
                      </a:lnTo>
                      <a:lnTo>
                        <a:pt x="696932" y="362940"/>
                      </a:lnTo>
                      <a:lnTo>
                        <a:pt x="697624" y="366437"/>
                      </a:lnTo>
                      <a:lnTo>
                        <a:pt x="698753" y="370226"/>
                      </a:lnTo>
                      <a:lnTo>
                        <a:pt x="700150" y="373298"/>
                      </a:lnTo>
                      <a:lnTo>
                        <a:pt x="703708" y="379588"/>
                      </a:lnTo>
                      <a:lnTo>
                        <a:pt x="704618" y="382745"/>
                      </a:lnTo>
                      <a:lnTo>
                        <a:pt x="705833" y="406643"/>
                      </a:lnTo>
                      <a:lnTo>
                        <a:pt x="708528" y="413127"/>
                      </a:lnTo>
                      <a:lnTo>
                        <a:pt x="711455" y="417353"/>
                      </a:lnTo>
                      <a:lnTo>
                        <a:pt x="714041" y="418931"/>
                      </a:lnTo>
                      <a:lnTo>
                        <a:pt x="716968" y="419114"/>
                      </a:lnTo>
                      <a:lnTo>
                        <a:pt x="719445" y="417899"/>
                      </a:lnTo>
                      <a:lnTo>
                        <a:pt x="724083" y="414512"/>
                      </a:lnTo>
                      <a:lnTo>
                        <a:pt x="728904" y="412216"/>
                      </a:lnTo>
                      <a:lnTo>
                        <a:pt x="733968" y="408707"/>
                      </a:lnTo>
                      <a:lnTo>
                        <a:pt x="736251" y="407432"/>
                      </a:lnTo>
                      <a:lnTo>
                        <a:pt x="738048" y="407177"/>
                      </a:lnTo>
                      <a:lnTo>
                        <a:pt x="739930" y="407481"/>
                      </a:lnTo>
                      <a:lnTo>
                        <a:pt x="741885" y="408403"/>
                      </a:lnTo>
                      <a:lnTo>
                        <a:pt x="746657" y="411269"/>
                      </a:lnTo>
                      <a:lnTo>
                        <a:pt x="750093" y="412763"/>
                      </a:lnTo>
                      <a:lnTo>
                        <a:pt x="754514" y="413759"/>
                      </a:lnTo>
                      <a:lnTo>
                        <a:pt x="760087" y="413734"/>
                      </a:lnTo>
                      <a:lnTo>
                        <a:pt x="768478" y="412763"/>
                      </a:lnTo>
                      <a:lnTo>
                        <a:pt x="782491" y="413188"/>
                      </a:lnTo>
                      <a:lnTo>
                        <a:pt x="792934" y="415507"/>
                      </a:lnTo>
                      <a:lnTo>
                        <a:pt x="794889" y="416333"/>
                      </a:lnTo>
                      <a:lnTo>
                        <a:pt x="797184" y="416940"/>
                      </a:lnTo>
                      <a:lnTo>
                        <a:pt x="797694" y="416916"/>
                      </a:lnTo>
                      <a:lnTo>
                        <a:pt x="797779" y="416940"/>
                      </a:lnTo>
                      <a:lnTo>
                        <a:pt x="799151" y="416879"/>
                      </a:lnTo>
                      <a:lnTo>
                        <a:pt x="800475" y="415872"/>
                      </a:lnTo>
                      <a:lnTo>
                        <a:pt x="801397" y="414354"/>
                      </a:lnTo>
                      <a:lnTo>
                        <a:pt x="802600" y="411002"/>
                      </a:lnTo>
                      <a:lnTo>
                        <a:pt x="803450" y="409788"/>
                      </a:lnTo>
                      <a:lnTo>
                        <a:pt x="804737" y="409460"/>
                      </a:lnTo>
                      <a:lnTo>
                        <a:pt x="806898" y="409933"/>
                      </a:lnTo>
                      <a:lnTo>
                        <a:pt x="813200" y="413807"/>
                      </a:lnTo>
                      <a:lnTo>
                        <a:pt x="817062" y="415070"/>
                      </a:lnTo>
                      <a:lnTo>
                        <a:pt x="817280" y="414961"/>
                      </a:lnTo>
                      <a:lnTo>
                        <a:pt x="817645" y="415070"/>
                      </a:lnTo>
                      <a:lnTo>
                        <a:pt x="822805" y="412289"/>
                      </a:lnTo>
                      <a:lnTo>
                        <a:pt x="825975" y="408986"/>
                      </a:lnTo>
                      <a:lnTo>
                        <a:pt x="829253" y="406291"/>
                      </a:lnTo>
                      <a:lnTo>
                        <a:pt x="832180" y="404615"/>
                      </a:lnTo>
                      <a:lnTo>
                        <a:pt x="838664" y="403813"/>
                      </a:lnTo>
                      <a:lnTo>
                        <a:pt x="841251" y="402672"/>
                      </a:lnTo>
                      <a:lnTo>
                        <a:pt x="843533" y="400292"/>
                      </a:lnTo>
                      <a:lnTo>
                        <a:pt x="845088" y="398070"/>
                      </a:lnTo>
                      <a:lnTo>
                        <a:pt x="846508" y="396783"/>
                      </a:lnTo>
                      <a:lnTo>
                        <a:pt x="847055" y="397657"/>
                      </a:lnTo>
                      <a:lnTo>
                        <a:pt x="848039" y="398980"/>
                      </a:lnTo>
                      <a:lnTo>
                        <a:pt x="850431" y="400523"/>
                      </a:lnTo>
                      <a:lnTo>
                        <a:pt x="851572" y="402077"/>
                      </a:lnTo>
                      <a:lnTo>
                        <a:pt x="852568" y="404008"/>
                      </a:lnTo>
                      <a:lnTo>
                        <a:pt x="852859" y="405611"/>
                      </a:lnTo>
                      <a:lnTo>
                        <a:pt x="851633" y="406606"/>
                      </a:lnTo>
                      <a:lnTo>
                        <a:pt x="850588" y="407978"/>
                      </a:lnTo>
                      <a:lnTo>
                        <a:pt x="847152" y="408367"/>
                      </a:lnTo>
                      <a:lnTo>
                        <a:pt x="845112" y="410638"/>
                      </a:lnTo>
                      <a:lnTo>
                        <a:pt x="842465" y="409970"/>
                      </a:lnTo>
                      <a:lnTo>
                        <a:pt x="840765" y="410407"/>
                      </a:lnTo>
                      <a:lnTo>
                        <a:pt x="839599" y="411196"/>
                      </a:lnTo>
                      <a:lnTo>
                        <a:pt x="837001" y="413163"/>
                      </a:lnTo>
                      <a:lnTo>
                        <a:pt x="835956" y="414208"/>
                      </a:lnTo>
                      <a:lnTo>
                        <a:pt x="834839" y="417134"/>
                      </a:lnTo>
                      <a:lnTo>
                        <a:pt x="833637" y="418798"/>
                      </a:lnTo>
                      <a:lnTo>
                        <a:pt x="832411" y="419733"/>
                      </a:lnTo>
                      <a:lnTo>
                        <a:pt x="830540" y="420461"/>
                      </a:lnTo>
                      <a:lnTo>
                        <a:pt x="826448" y="420729"/>
                      </a:lnTo>
                      <a:lnTo>
                        <a:pt x="824348" y="420729"/>
                      </a:lnTo>
                      <a:lnTo>
                        <a:pt x="820875" y="421287"/>
                      </a:lnTo>
                      <a:lnTo>
                        <a:pt x="820049" y="422052"/>
                      </a:lnTo>
                      <a:lnTo>
                        <a:pt x="818944" y="424323"/>
                      </a:lnTo>
                      <a:lnTo>
                        <a:pt x="818276" y="424991"/>
                      </a:lnTo>
                      <a:lnTo>
                        <a:pt x="813188" y="427480"/>
                      </a:lnTo>
                      <a:lnTo>
                        <a:pt x="812193" y="428354"/>
                      </a:lnTo>
                      <a:lnTo>
                        <a:pt x="811488" y="429787"/>
                      </a:lnTo>
                      <a:lnTo>
                        <a:pt x="811318" y="431111"/>
                      </a:lnTo>
                      <a:lnTo>
                        <a:pt x="811148" y="432823"/>
                      </a:lnTo>
                      <a:lnTo>
                        <a:pt x="811148" y="435689"/>
                      </a:lnTo>
                      <a:lnTo>
                        <a:pt x="810650" y="436697"/>
                      </a:lnTo>
                      <a:lnTo>
                        <a:pt x="809108" y="437911"/>
                      </a:lnTo>
                      <a:lnTo>
                        <a:pt x="807894" y="439842"/>
                      </a:lnTo>
                      <a:lnTo>
                        <a:pt x="806510" y="442817"/>
                      </a:lnTo>
                      <a:lnTo>
                        <a:pt x="806182" y="443873"/>
                      </a:lnTo>
                      <a:lnTo>
                        <a:pt x="804312" y="446739"/>
                      </a:lnTo>
                      <a:lnTo>
                        <a:pt x="801422" y="449009"/>
                      </a:lnTo>
                      <a:lnTo>
                        <a:pt x="800098" y="450722"/>
                      </a:lnTo>
                      <a:lnTo>
                        <a:pt x="799673" y="451948"/>
                      </a:lnTo>
                      <a:lnTo>
                        <a:pt x="799612" y="452944"/>
                      </a:lnTo>
                      <a:lnTo>
                        <a:pt x="799394" y="453551"/>
                      </a:lnTo>
                      <a:lnTo>
                        <a:pt x="798447" y="454595"/>
                      </a:lnTo>
                      <a:lnTo>
                        <a:pt x="800268" y="455919"/>
                      </a:lnTo>
                      <a:lnTo>
                        <a:pt x="801822" y="457303"/>
                      </a:lnTo>
                      <a:lnTo>
                        <a:pt x="802381" y="457910"/>
                      </a:lnTo>
                      <a:lnTo>
                        <a:pt x="802320" y="458457"/>
                      </a:lnTo>
                      <a:lnTo>
                        <a:pt x="801713" y="459452"/>
                      </a:lnTo>
                      <a:lnTo>
                        <a:pt x="800487" y="460837"/>
                      </a:lnTo>
                      <a:lnTo>
                        <a:pt x="799612" y="462379"/>
                      </a:lnTo>
                      <a:lnTo>
                        <a:pt x="798167" y="464322"/>
                      </a:lnTo>
                      <a:lnTo>
                        <a:pt x="797791" y="465803"/>
                      </a:lnTo>
                      <a:lnTo>
                        <a:pt x="797512" y="469895"/>
                      </a:lnTo>
                      <a:lnTo>
                        <a:pt x="797791" y="471559"/>
                      </a:lnTo>
                      <a:lnTo>
                        <a:pt x="797560" y="473757"/>
                      </a:lnTo>
                      <a:lnTo>
                        <a:pt x="796686" y="476246"/>
                      </a:lnTo>
                      <a:lnTo>
                        <a:pt x="796735" y="478408"/>
                      </a:lnTo>
                      <a:lnTo>
                        <a:pt x="797123" y="479525"/>
                      </a:lnTo>
                      <a:lnTo>
                        <a:pt x="797002" y="480739"/>
                      </a:lnTo>
                      <a:lnTo>
                        <a:pt x="796686" y="481747"/>
                      </a:lnTo>
                      <a:lnTo>
                        <a:pt x="794525" y="484965"/>
                      </a:lnTo>
                      <a:lnTo>
                        <a:pt x="792703" y="487381"/>
                      </a:lnTo>
                      <a:lnTo>
                        <a:pt x="789886" y="490089"/>
                      </a:lnTo>
                      <a:lnTo>
                        <a:pt x="788842" y="491473"/>
                      </a:lnTo>
                      <a:lnTo>
                        <a:pt x="787834" y="492967"/>
                      </a:lnTo>
                      <a:lnTo>
                        <a:pt x="786960" y="494631"/>
                      </a:lnTo>
                      <a:lnTo>
                        <a:pt x="785466" y="495942"/>
                      </a:lnTo>
                      <a:lnTo>
                        <a:pt x="783037" y="496440"/>
                      </a:lnTo>
                      <a:lnTo>
                        <a:pt x="782600" y="497545"/>
                      </a:lnTo>
                      <a:lnTo>
                        <a:pt x="782151" y="498480"/>
                      </a:lnTo>
                      <a:lnTo>
                        <a:pt x="780439" y="498540"/>
                      </a:lnTo>
                      <a:lnTo>
                        <a:pt x="776468" y="499779"/>
                      </a:lnTo>
                      <a:lnTo>
                        <a:pt x="775241" y="499536"/>
                      </a:lnTo>
                      <a:lnTo>
                        <a:pt x="773991" y="499366"/>
                      </a:lnTo>
                      <a:lnTo>
                        <a:pt x="772497" y="498747"/>
                      </a:lnTo>
                      <a:lnTo>
                        <a:pt x="769899" y="497156"/>
                      </a:lnTo>
                      <a:lnTo>
                        <a:pt x="768612" y="495784"/>
                      </a:lnTo>
                      <a:lnTo>
                        <a:pt x="768563" y="493902"/>
                      </a:lnTo>
                      <a:lnTo>
                        <a:pt x="767519" y="493076"/>
                      </a:lnTo>
                      <a:lnTo>
                        <a:pt x="766244" y="492712"/>
                      </a:lnTo>
                      <a:lnTo>
                        <a:pt x="765139" y="492967"/>
                      </a:lnTo>
                      <a:lnTo>
                        <a:pt x="764762" y="493234"/>
                      </a:lnTo>
                      <a:lnTo>
                        <a:pt x="762710" y="495942"/>
                      </a:lnTo>
                      <a:lnTo>
                        <a:pt x="760828" y="498868"/>
                      </a:lnTo>
                      <a:lnTo>
                        <a:pt x="760342" y="500301"/>
                      </a:lnTo>
                      <a:lnTo>
                        <a:pt x="758509" y="503119"/>
                      </a:lnTo>
                      <a:lnTo>
                        <a:pt x="757185" y="504600"/>
                      </a:lnTo>
                      <a:lnTo>
                        <a:pt x="754477" y="506482"/>
                      </a:lnTo>
                      <a:lnTo>
                        <a:pt x="753542" y="506154"/>
                      </a:lnTo>
                      <a:lnTo>
                        <a:pt x="752668" y="505984"/>
                      </a:lnTo>
                      <a:lnTo>
                        <a:pt x="748296" y="505923"/>
                      </a:lnTo>
                      <a:lnTo>
                        <a:pt x="745418" y="506154"/>
                      </a:lnTo>
                      <a:lnTo>
                        <a:pt x="740076" y="505098"/>
                      </a:lnTo>
                      <a:lnTo>
                        <a:pt x="738461" y="506045"/>
                      </a:lnTo>
                      <a:lnTo>
                        <a:pt x="737805" y="507526"/>
                      </a:lnTo>
                      <a:lnTo>
                        <a:pt x="736651" y="509299"/>
                      </a:lnTo>
                      <a:lnTo>
                        <a:pt x="736421" y="511024"/>
                      </a:lnTo>
                      <a:lnTo>
                        <a:pt x="736481" y="516767"/>
                      </a:lnTo>
                      <a:lnTo>
                        <a:pt x="737149" y="518006"/>
                      </a:lnTo>
                      <a:lnTo>
                        <a:pt x="738242" y="519098"/>
                      </a:lnTo>
                      <a:lnTo>
                        <a:pt x="735923" y="521406"/>
                      </a:lnTo>
                      <a:lnTo>
                        <a:pt x="734927" y="523288"/>
                      </a:lnTo>
                      <a:lnTo>
                        <a:pt x="731782" y="523458"/>
                      </a:lnTo>
                      <a:lnTo>
                        <a:pt x="726645" y="524830"/>
                      </a:lnTo>
                      <a:lnTo>
                        <a:pt x="720356" y="526931"/>
                      </a:lnTo>
                      <a:lnTo>
                        <a:pt x="716203" y="528752"/>
                      </a:lnTo>
                      <a:lnTo>
                        <a:pt x="714600" y="527586"/>
                      </a:lnTo>
                      <a:lnTo>
                        <a:pt x="713228" y="526919"/>
                      </a:lnTo>
                      <a:lnTo>
                        <a:pt x="712730" y="528691"/>
                      </a:lnTo>
                      <a:lnTo>
                        <a:pt x="712013" y="529578"/>
                      </a:lnTo>
                      <a:lnTo>
                        <a:pt x="711078" y="530064"/>
                      </a:lnTo>
                      <a:lnTo>
                        <a:pt x="710398" y="531011"/>
                      </a:lnTo>
                      <a:lnTo>
                        <a:pt x="709415" y="532116"/>
                      </a:lnTo>
                      <a:lnTo>
                        <a:pt x="705602" y="532565"/>
                      </a:lnTo>
                      <a:lnTo>
                        <a:pt x="704169" y="533002"/>
                      </a:lnTo>
                      <a:lnTo>
                        <a:pt x="702955" y="533488"/>
                      </a:lnTo>
                      <a:lnTo>
                        <a:pt x="701789" y="533549"/>
                      </a:lnTo>
                      <a:lnTo>
                        <a:pt x="698304" y="532565"/>
                      </a:lnTo>
                      <a:lnTo>
                        <a:pt x="696373" y="531836"/>
                      </a:lnTo>
                      <a:lnTo>
                        <a:pt x="694843" y="530841"/>
                      </a:lnTo>
                      <a:lnTo>
                        <a:pt x="693180" y="529469"/>
                      </a:lnTo>
                      <a:lnTo>
                        <a:pt x="691625" y="528582"/>
                      </a:lnTo>
                      <a:lnTo>
                        <a:pt x="689755" y="528400"/>
                      </a:lnTo>
                      <a:lnTo>
                        <a:pt x="688480" y="528521"/>
                      </a:lnTo>
                      <a:lnTo>
                        <a:pt x="686877" y="529298"/>
                      </a:lnTo>
                      <a:lnTo>
                        <a:pt x="687314" y="530962"/>
                      </a:lnTo>
                      <a:lnTo>
                        <a:pt x="687205" y="532662"/>
                      </a:lnTo>
                      <a:lnTo>
                        <a:pt x="687497" y="533779"/>
                      </a:lnTo>
                      <a:lnTo>
                        <a:pt x="688322" y="534605"/>
                      </a:lnTo>
                      <a:lnTo>
                        <a:pt x="688638" y="535370"/>
                      </a:lnTo>
                      <a:lnTo>
                        <a:pt x="688541" y="537082"/>
                      </a:lnTo>
                      <a:lnTo>
                        <a:pt x="688140" y="538515"/>
                      </a:lnTo>
                      <a:lnTo>
                        <a:pt x="688371" y="539948"/>
                      </a:lnTo>
                      <a:lnTo>
                        <a:pt x="687654" y="540616"/>
                      </a:lnTo>
                      <a:lnTo>
                        <a:pt x="686659" y="540895"/>
                      </a:lnTo>
                      <a:lnTo>
                        <a:pt x="685165" y="540944"/>
                      </a:lnTo>
                      <a:lnTo>
                        <a:pt x="683842" y="540895"/>
                      </a:lnTo>
                      <a:lnTo>
                        <a:pt x="681632" y="540118"/>
                      </a:lnTo>
                      <a:lnTo>
                        <a:pt x="680429" y="539899"/>
                      </a:lnTo>
                      <a:lnTo>
                        <a:pt x="679762" y="544040"/>
                      </a:lnTo>
                      <a:lnTo>
                        <a:pt x="679082" y="545315"/>
                      </a:lnTo>
                      <a:lnTo>
                        <a:pt x="677540" y="546578"/>
                      </a:lnTo>
                      <a:lnTo>
                        <a:pt x="679264" y="549565"/>
                      </a:lnTo>
                      <a:lnTo>
                        <a:pt x="678924" y="551496"/>
                      </a:lnTo>
                      <a:lnTo>
                        <a:pt x="678924" y="552322"/>
                      </a:lnTo>
                      <a:lnTo>
                        <a:pt x="677819" y="554799"/>
                      </a:lnTo>
                      <a:lnTo>
                        <a:pt x="678268" y="558223"/>
                      </a:lnTo>
                      <a:lnTo>
                        <a:pt x="677479" y="559486"/>
                      </a:lnTo>
                      <a:lnTo>
                        <a:pt x="676714" y="560251"/>
                      </a:lnTo>
                      <a:lnTo>
                        <a:pt x="675669" y="561635"/>
                      </a:lnTo>
                      <a:lnTo>
                        <a:pt x="673302" y="563007"/>
                      </a:lnTo>
                      <a:lnTo>
                        <a:pt x="672743" y="561745"/>
                      </a:lnTo>
                      <a:lnTo>
                        <a:pt x="671577" y="560700"/>
                      </a:lnTo>
                      <a:lnTo>
                        <a:pt x="667825" y="559814"/>
                      </a:lnTo>
                      <a:lnTo>
                        <a:pt x="665882" y="559705"/>
                      </a:lnTo>
                      <a:lnTo>
                        <a:pt x="664498" y="558818"/>
                      </a:lnTo>
                      <a:lnTo>
                        <a:pt x="663514" y="558600"/>
                      </a:lnTo>
                      <a:lnTo>
                        <a:pt x="660916" y="558320"/>
                      </a:lnTo>
                      <a:lnTo>
                        <a:pt x="657321" y="557385"/>
                      </a:lnTo>
                      <a:lnTo>
                        <a:pt x="653411" y="555564"/>
                      </a:lnTo>
                      <a:lnTo>
                        <a:pt x="650983" y="555406"/>
                      </a:lnTo>
                      <a:lnTo>
                        <a:pt x="647656" y="554847"/>
                      </a:lnTo>
                      <a:lnTo>
                        <a:pt x="645616" y="554738"/>
                      </a:lnTo>
                      <a:lnTo>
                        <a:pt x="645118" y="555612"/>
                      </a:lnTo>
                      <a:lnTo>
                        <a:pt x="644025" y="556171"/>
                      </a:lnTo>
                      <a:lnTo>
                        <a:pt x="642568" y="556438"/>
                      </a:lnTo>
                      <a:lnTo>
                        <a:pt x="641196" y="557045"/>
                      </a:lnTo>
                      <a:lnTo>
                        <a:pt x="639095" y="557482"/>
                      </a:lnTo>
                      <a:lnTo>
                        <a:pt x="637286" y="557373"/>
                      </a:lnTo>
                      <a:lnTo>
                        <a:pt x="636229" y="556657"/>
                      </a:lnTo>
                      <a:lnTo>
                        <a:pt x="636958" y="555333"/>
                      </a:lnTo>
                      <a:lnTo>
                        <a:pt x="636958" y="554107"/>
                      </a:lnTo>
                      <a:lnTo>
                        <a:pt x="638172" y="553123"/>
                      </a:lnTo>
                      <a:lnTo>
                        <a:pt x="640261" y="551800"/>
                      </a:lnTo>
                      <a:lnTo>
                        <a:pt x="640491" y="551071"/>
                      </a:lnTo>
                      <a:lnTo>
                        <a:pt x="638549" y="549808"/>
                      </a:lnTo>
                      <a:lnTo>
                        <a:pt x="636727" y="549310"/>
                      </a:lnTo>
                      <a:lnTo>
                        <a:pt x="634626" y="548363"/>
                      </a:lnTo>
                      <a:lnTo>
                        <a:pt x="635464" y="546772"/>
                      </a:lnTo>
                      <a:lnTo>
                        <a:pt x="634359" y="546432"/>
                      </a:lnTo>
                      <a:lnTo>
                        <a:pt x="633023" y="545716"/>
                      </a:lnTo>
                      <a:lnTo>
                        <a:pt x="632368" y="545485"/>
                      </a:lnTo>
                      <a:lnTo>
                        <a:pt x="630595" y="545716"/>
                      </a:lnTo>
                      <a:lnTo>
                        <a:pt x="629053" y="544939"/>
                      </a:lnTo>
                      <a:lnTo>
                        <a:pt x="626236" y="542838"/>
                      </a:lnTo>
                      <a:lnTo>
                        <a:pt x="624961" y="541964"/>
                      </a:lnTo>
                      <a:lnTo>
                        <a:pt x="622483" y="541466"/>
                      </a:lnTo>
                      <a:lnTo>
                        <a:pt x="620431" y="544234"/>
                      </a:lnTo>
                      <a:lnTo>
                        <a:pt x="619047" y="544781"/>
                      </a:lnTo>
                      <a:lnTo>
                        <a:pt x="617893" y="544890"/>
                      </a:lnTo>
                      <a:lnTo>
                        <a:pt x="616679" y="546116"/>
                      </a:lnTo>
                      <a:lnTo>
                        <a:pt x="614845" y="547173"/>
                      </a:lnTo>
                      <a:lnTo>
                        <a:pt x="613413" y="547550"/>
                      </a:lnTo>
                      <a:lnTo>
                        <a:pt x="610498" y="547234"/>
                      </a:lnTo>
                      <a:lnTo>
                        <a:pt x="610608" y="548497"/>
                      </a:lnTo>
                      <a:lnTo>
                        <a:pt x="609818" y="550221"/>
                      </a:lnTo>
                      <a:lnTo>
                        <a:pt x="609114" y="551217"/>
                      </a:lnTo>
                      <a:lnTo>
                        <a:pt x="608786" y="552030"/>
                      </a:lnTo>
                      <a:lnTo>
                        <a:pt x="608385" y="554957"/>
                      </a:lnTo>
                      <a:lnTo>
                        <a:pt x="608385" y="557179"/>
                      </a:lnTo>
                      <a:lnTo>
                        <a:pt x="607948" y="558332"/>
                      </a:lnTo>
                      <a:lnTo>
                        <a:pt x="606625" y="559765"/>
                      </a:lnTo>
                      <a:lnTo>
                        <a:pt x="605969" y="560651"/>
                      </a:lnTo>
                      <a:lnTo>
                        <a:pt x="604585" y="560822"/>
                      </a:lnTo>
                      <a:lnTo>
                        <a:pt x="602484" y="560882"/>
                      </a:lnTo>
                      <a:lnTo>
                        <a:pt x="601270" y="564683"/>
                      </a:lnTo>
                      <a:lnTo>
                        <a:pt x="598720" y="563809"/>
                      </a:lnTo>
                      <a:lnTo>
                        <a:pt x="596413" y="563190"/>
                      </a:lnTo>
                      <a:lnTo>
                        <a:pt x="595915" y="562473"/>
                      </a:lnTo>
                      <a:lnTo>
                        <a:pt x="595247" y="559935"/>
                      </a:lnTo>
                      <a:lnTo>
                        <a:pt x="592770" y="557555"/>
                      </a:lnTo>
                      <a:lnTo>
                        <a:pt x="592381" y="556511"/>
                      </a:lnTo>
                      <a:lnTo>
                        <a:pt x="592539" y="555406"/>
                      </a:lnTo>
                      <a:lnTo>
                        <a:pt x="592090" y="553742"/>
                      </a:lnTo>
                      <a:lnTo>
                        <a:pt x="591653" y="553074"/>
                      </a:lnTo>
                      <a:lnTo>
                        <a:pt x="591337" y="553014"/>
                      </a:lnTo>
                      <a:lnTo>
                        <a:pt x="590778" y="553293"/>
                      </a:lnTo>
                      <a:lnTo>
                        <a:pt x="588677" y="555224"/>
                      </a:lnTo>
                      <a:lnTo>
                        <a:pt x="587742" y="555831"/>
                      </a:lnTo>
                      <a:lnTo>
                        <a:pt x="586407" y="557094"/>
                      </a:lnTo>
                      <a:lnTo>
                        <a:pt x="586577" y="557823"/>
                      </a:lnTo>
                      <a:lnTo>
                        <a:pt x="587293" y="558806"/>
                      </a:lnTo>
                      <a:lnTo>
                        <a:pt x="588556" y="561404"/>
                      </a:lnTo>
                      <a:lnTo>
                        <a:pt x="588350" y="562631"/>
                      </a:lnTo>
                      <a:lnTo>
                        <a:pt x="588459" y="563505"/>
                      </a:lnTo>
                      <a:lnTo>
                        <a:pt x="589552" y="564185"/>
                      </a:lnTo>
                      <a:lnTo>
                        <a:pt x="590499" y="565278"/>
                      </a:lnTo>
                      <a:lnTo>
                        <a:pt x="590341" y="566553"/>
                      </a:lnTo>
                      <a:lnTo>
                        <a:pt x="590050" y="567427"/>
                      </a:lnTo>
                      <a:lnTo>
                        <a:pt x="589236" y="567974"/>
                      </a:lnTo>
                      <a:lnTo>
                        <a:pt x="587184" y="568739"/>
                      </a:lnTo>
                      <a:lnTo>
                        <a:pt x="587184" y="569310"/>
                      </a:lnTo>
                      <a:lnTo>
                        <a:pt x="587293" y="570402"/>
                      </a:lnTo>
                      <a:lnTo>
                        <a:pt x="586905" y="571179"/>
                      </a:lnTo>
                      <a:lnTo>
                        <a:pt x="585314" y="572843"/>
                      </a:lnTo>
                      <a:lnTo>
                        <a:pt x="584816" y="573560"/>
                      </a:lnTo>
                      <a:lnTo>
                        <a:pt x="585193" y="573620"/>
                      </a:lnTo>
                      <a:lnTo>
                        <a:pt x="589005" y="575102"/>
                      </a:lnTo>
                      <a:lnTo>
                        <a:pt x="592150" y="576207"/>
                      </a:lnTo>
                      <a:lnTo>
                        <a:pt x="594931" y="576705"/>
                      </a:lnTo>
                      <a:lnTo>
                        <a:pt x="600553" y="578526"/>
                      </a:lnTo>
                      <a:lnTo>
                        <a:pt x="602545" y="579789"/>
                      </a:lnTo>
                      <a:lnTo>
                        <a:pt x="604415" y="581343"/>
                      </a:lnTo>
                      <a:lnTo>
                        <a:pt x="605629" y="582072"/>
                      </a:lnTo>
                      <a:lnTo>
                        <a:pt x="606965" y="583055"/>
                      </a:lnTo>
                      <a:lnTo>
                        <a:pt x="608944" y="583772"/>
                      </a:lnTo>
                      <a:lnTo>
                        <a:pt x="608568" y="581962"/>
                      </a:lnTo>
                      <a:lnTo>
                        <a:pt x="608786" y="580092"/>
                      </a:lnTo>
                      <a:lnTo>
                        <a:pt x="609612" y="577870"/>
                      </a:lnTo>
                      <a:lnTo>
                        <a:pt x="613085" y="578987"/>
                      </a:lnTo>
                      <a:lnTo>
                        <a:pt x="615137" y="580141"/>
                      </a:lnTo>
                      <a:lnTo>
                        <a:pt x="617177" y="577494"/>
                      </a:lnTo>
                      <a:lnTo>
                        <a:pt x="624244" y="582023"/>
                      </a:lnTo>
                      <a:lnTo>
                        <a:pt x="627001" y="582084"/>
                      </a:lnTo>
                      <a:lnTo>
                        <a:pt x="627887" y="583954"/>
                      </a:lnTo>
                      <a:lnTo>
                        <a:pt x="628118" y="584937"/>
                      </a:lnTo>
                      <a:lnTo>
                        <a:pt x="627936" y="585763"/>
                      </a:lnTo>
                      <a:lnTo>
                        <a:pt x="627292" y="586322"/>
                      </a:lnTo>
                      <a:lnTo>
                        <a:pt x="626624" y="586553"/>
                      </a:lnTo>
                      <a:lnTo>
                        <a:pt x="626454" y="587779"/>
                      </a:lnTo>
                      <a:lnTo>
                        <a:pt x="626843" y="588981"/>
                      </a:lnTo>
                      <a:lnTo>
                        <a:pt x="627292" y="589661"/>
                      </a:lnTo>
                      <a:lnTo>
                        <a:pt x="627438" y="592199"/>
                      </a:lnTo>
                      <a:lnTo>
                        <a:pt x="625568" y="592369"/>
                      </a:lnTo>
                      <a:lnTo>
                        <a:pt x="623418" y="593134"/>
                      </a:lnTo>
                      <a:lnTo>
                        <a:pt x="623358" y="596777"/>
                      </a:lnTo>
                      <a:lnTo>
                        <a:pt x="623200" y="598149"/>
                      </a:lnTo>
                      <a:lnTo>
                        <a:pt x="622921" y="599376"/>
                      </a:lnTo>
                      <a:lnTo>
                        <a:pt x="621427" y="601585"/>
                      </a:lnTo>
                      <a:lnTo>
                        <a:pt x="621706" y="602812"/>
                      </a:lnTo>
                      <a:lnTo>
                        <a:pt x="622702" y="603079"/>
                      </a:lnTo>
                      <a:lnTo>
                        <a:pt x="623758" y="603079"/>
                      </a:lnTo>
                      <a:lnTo>
                        <a:pt x="624693" y="604026"/>
                      </a:lnTo>
                      <a:lnTo>
                        <a:pt x="627292" y="605071"/>
                      </a:lnTo>
                      <a:lnTo>
                        <a:pt x="628786" y="606783"/>
                      </a:lnTo>
                      <a:lnTo>
                        <a:pt x="629551" y="607888"/>
                      </a:lnTo>
                      <a:lnTo>
                        <a:pt x="630716" y="608713"/>
                      </a:lnTo>
                      <a:lnTo>
                        <a:pt x="629490" y="609211"/>
                      </a:lnTo>
                      <a:lnTo>
                        <a:pt x="624196" y="611992"/>
                      </a:lnTo>
                      <a:lnTo>
                        <a:pt x="622969" y="613522"/>
                      </a:lnTo>
                      <a:lnTo>
                        <a:pt x="619933" y="612587"/>
                      </a:lnTo>
                      <a:lnTo>
                        <a:pt x="616837" y="612150"/>
                      </a:lnTo>
                      <a:lnTo>
                        <a:pt x="614639" y="612381"/>
                      </a:lnTo>
                      <a:lnTo>
                        <a:pt x="613303" y="612150"/>
                      </a:lnTo>
                      <a:lnTo>
                        <a:pt x="609272" y="610984"/>
                      </a:lnTo>
                      <a:lnTo>
                        <a:pt x="608385" y="609988"/>
                      </a:lnTo>
                      <a:lnTo>
                        <a:pt x="607402" y="609272"/>
                      </a:lnTo>
                      <a:lnTo>
                        <a:pt x="605848" y="608604"/>
                      </a:lnTo>
                      <a:lnTo>
                        <a:pt x="603140" y="608276"/>
                      </a:lnTo>
                      <a:lnTo>
                        <a:pt x="602873" y="605119"/>
                      </a:lnTo>
                      <a:lnTo>
                        <a:pt x="602435" y="603407"/>
                      </a:lnTo>
                      <a:lnTo>
                        <a:pt x="600942" y="602642"/>
                      </a:lnTo>
                      <a:lnTo>
                        <a:pt x="598550" y="601755"/>
                      </a:lnTo>
                      <a:lnTo>
                        <a:pt x="598610" y="601148"/>
                      </a:lnTo>
                      <a:lnTo>
                        <a:pt x="596850" y="600711"/>
                      </a:lnTo>
                      <a:lnTo>
                        <a:pt x="596570" y="599218"/>
                      </a:lnTo>
                      <a:lnTo>
                        <a:pt x="596073" y="598222"/>
                      </a:lnTo>
                      <a:lnTo>
                        <a:pt x="592539" y="596789"/>
                      </a:lnTo>
                      <a:lnTo>
                        <a:pt x="592648" y="599218"/>
                      </a:lnTo>
                      <a:lnTo>
                        <a:pt x="592442" y="600274"/>
                      </a:lnTo>
                      <a:lnTo>
                        <a:pt x="591482" y="601537"/>
                      </a:lnTo>
                      <a:lnTo>
                        <a:pt x="588738" y="602606"/>
                      </a:lnTo>
                      <a:lnTo>
                        <a:pt x="588459" y="603978"/>
                      </a:lnTo>
                      <a:lnTo>
                        <a:pt x="588070" y="604294"/>
                      </a:lnTo>
                      <a:lnTo>
                        <a:pt x="587512" y="604245"/>
                      </a:lnTo>
                      <a:lnTo>
                        <a:pt x="586467" y="601209"/>
                      </a:lnTo>
                      <a:lnTo>
                        <a:pt x="586018" y="598890"/>
                      </a:lnTo>
                      <a:lnTo>
                        <a:pt x="585362" y="596680"/>
                      </a:lnTo>
                      <a:lnTo>
                        <a:pt x="584877" y="595793"/>
                      </a:lnTo>
                      <a:lnTo>
                        <a:pt x="583420" y="596121"/>
                      </a:lnTo>
                      <a:lnTo>
                        <a:pt x="580445" y="595623"/>
                      </a:lnTo>
                      <a:lnTo>
                        <a:pt x="580882" y="593535"/>
                      </a:lnTo>
                      <a:lnTo>
                        <a:pt x="579072" y="592758"/>
                      </a:lnTo>
                      <a:lnTo>
                        <a:pt x="577518" y="592758"/>
                      </a:lnTo>
                      <a:lnTo>
                        <a:pt x="577409" y="591543"/>
                      </a:lnTo>
                      <a:lnTo>
                        <a:pt x="576911" y="590280"/>
                      </a:lnTo>
                      <a:lnTo>
                        <a:pt x="576972" y="588228"/>
                      </a:lnTo>
                      <a:lnTo>
                        <a:pt x="576413" y="584865"/>
                      </a:lnTo>
                      <a:lnTo>
                        <a:pt x="576790" y="584804"/>
                      </a:lnTo>
                      <a:lnTo>
                        <a:pt x="575417" y="582606"/>
                      </a:lnTo>
                      <a:lnTo>
                        <a:pt x="574701" y="579619"/>
                      </a:lnTo>
                      <a:lnTo>
                        <a:pt x="574203" y="576474"/>
                      </a:lnTo>
                      <a:lnTo>
                        <a:pt x="571884" y="572430"/>
                      </a:lnTo>
                      <a:lnTo>
                        <a:pt x="569504" y="569285"/>
                      </a:lnTo>
                      <a:lnTo>
                        <a:pt x="566857" y="565970"/>
                      </a:lnTo>
                      <a:lnTo>
                        <a:pt x="564647" y="566590"/>
                      </a:lnTo>
                      <a:lnTo>
                        <a:pt x="562934" y="567464"/>
                      </a:lnTo>
                      <a:lnTo>
                        <a:pt x="561939" y="567573"/>
                      </a:lnTo>
                      <a:lnTo>
                        <a:pt x="561271" y="567075"/>
                      </a:lnTo>
                      <a:lnTo>
                        <a:pt x="558575" y="564222"/>
                      </a:lnTo>
                      <a:lnTo>
                        <a:pt x="557689" y="564331"/>
                      </a:lnTo>
                      <a:lnTo>
                        <a:pt x="555491" y="565484"/>
                      </a:lnTo>
                      <a:lnTo>
                        <a:pt x="554386" y="564550"/>
                      </a:lnTo>
                      <a:lnTo>
                        <a:pt x="554495" y="563056"/>
                      </a:lnTo>
                      <a:lnTo>
                        <a:pt x="554155" y="559850"/>
                      </a:lnTo>
                      <a:lnTo>
                        <a:pt x="551945" y="559352"/>
                      </a:lnTo>
                      <a:lnTo>
                        <a:pt x="549796" y="562169"/>
                      </a:lnTo>
                      <a:lnTo>
                        <a:pt x="549128" y="563432"/>
                      </a:lnTo>
                      <a:lnTo>
                        <a:pt x="545764" y="566468"/>
                      </a:lnTo>
                      <a:lnTo>
                        <a:pt x="544538" y="567743"/>
                      </a:lnTo>
                      <a:lnTo>
                        <a:pt x="544161" y="569285"/>
                      </a:lnTo>
                      <a:lnTo>
                        <a:pt x="542935" y="570779"/>
                      </a:lnTo>
                      <a:lnTo>
                        <a:pt x="541624" y="570779"/>
                      </a:lnTo>
                      <a:lnTo>
                        <a:pt x="540349" y="570499"/>
                      </a:lnTo>
                      <a:lnTo>
                        <a:pt x="539353" y="570670"/>
                      </a:lnTo>
                      <a:lnTo>
                        <a:pt x="538964" y="571337"/>
                      </a:lnTo>
                      <a:lnTo>
                        <a:pt x="537701" y="571556"/>
                      </a:lnTo>
                      <a:lnTo>
                        <a:pt x="536475" y="571301"/>
                      </a:lnTo>
                      <a:lnTo>
                        <a:pt x="534277" y="570415"/>
                      </a:lnTo>
                      <a:lnTo>
                        <a:pt x="533609" y="572285"/>
                      </a:lnTo>
                      <a:lnTo>
                        <a:pt x="533670" y="575053"/>
                      </a:lnTo>
                      <a:lnTo>
                        <a:pt x="526542" y="574665"/>
                      </a:lnTo>
                      <a:lnTo>
                        <a:pt x="524878" y="580190"/>
                      </a:lnTo>
                      <a:lnTo>
                        <a:pt x="523275" y="581962"/>
                      </a:lnTo>
                      <a:lnTo>
                        <a:pt x="521406" y="583614"/>
                      </a:lnTo>
                      <a:lnTo>
                        <a:pt x="519742" y="585836"/>
                      </a:lnTo>
                      <a:lnTo>
                        <a:pt x="518479" y="588872"/>
                      </a:lnTo>
                      <a:lnTo>
                        <a:pt x="517046" y="591592"/>
                      </a:lnTo>
                      <a:lnTo>
                        <a:pt x="516378" y="594300"/>
                      </a:lnTo>
                      <a:lnTo>
                        <a:pt x="516815" y="594518"/>
                      </a:lnTo>
                      <a:lnTo>
                        <a:pt x="520519" y="596242"/>
                      </a:lnTo>
                      <a:lnTo>
                        <a:pt x="524113" y="596352"/>
                      </a:lnTo>
                      <a:lnTo>
                        <a:pt x="524393" y="597238"/>
                      </a:lnTo>
                      <a:lnTo>
                        <a:pt x="524393" y="598902"/>
                      </a:lnTo>
                      <a:lnTo>
                        <a:pt x="524769" y="600213"/>
                      </a:lnTo>
                      <a:lnTo>
                        <a:pt x="525765" y="601440"/>
                      </a:lnTo>
                      <a:lnTo>
                        <a:pt x="530962" y="603808"/>
                      </a:lnTo>
                      <a:lnTo>
                        <a:pt x="530076" y="605969"/>
                      </a:lnTo>
                      <a:lnTo>
                        <a:pt x="528740" y="609940"/>
                      </a:lnTo>
                      <a:lnTo>
                        <a:pt x="527586" y="611931"/>
                      </a:lnTo>
                      <a:lnTo>
                        <a:pt x="526870" y="616959"/>
                      </a:lnTo>
                      <a:lnTo>
                        <a:pt x="526044" y="618003"/>
                      </a:lnTo>
                      <a:lnTo>
                        <a:pt x="524053" y="619545"/>
                      </a:lnTo>
                      <a:lnTo>
                        <a:pt x="522280" y="622034"/>
                      </a:lnTo>
                      <a:lnTo>
                        <a:pt x="521078" y="623297"/>
                      </a:lnTo>
                      <a:lnTo>
                        <a:pt x="518370" y="625022"/>
                      </a:lnTo>
                      <a:lnTo>
                        <a:pt x="516767" y="626685"/>
                      </a:lnTo>
                      <a:lnTo>
                        <a:pt x="516378" y="627062"/>
                      </a:lnTo>
                      <a:lnTo>
                        <a:pt x="512906" y="633351"/>
                      </a:lnTo>
                      <a:lnTo>
                        <a:pt x="510125" y="636727"/>
                      </a:lnTo>
                      <a:lnTo>
                        <a:pt x="507210" y="638549"/>
                      </a:lnTo>
                      <a:lnTo>
                        <a:pt x="503677" y="638925"/>
                      </a:lnTo>
                      <a:lnTo>
                        <a:pt x="501855" y="638427"/>
                      </a:lnTo>
                      <a:lnTo>
                        <a:pt x="499706" y="637553"/>
                      </a:lnTo>
                      <a:lnTo>
                        <a:pt x="497593" y="635282"/>
                      </a:lnTo>
                      <a:lnTo>
                        <a:pt x="495675" y="630146"/>
                      </a:lnTo>
                      <a:lnTo>
                        <a:pt x="494290" y="627766"/>
                      </a:lnTo>
                      <a:lnTo>
                        <a:pt x="492129" y="625956"/>
                      </a:lnTo>
                      <a:lnTo>
                        <a:pt x="488923" y="626272"/>
                      </a:lnTo>
                      <a:lnTo>
                        <a:pt x="485450" y="627219"/>
                      </a:lnTo>
                      <a:lnTo>
                        <a:pt x="482524" y="627438"/>
                      </a:lnTo>
                      <a:lnTo>
                        <a:pt x="477557" y="620868"/>
                      </a:lnTo>
                      <a:lnTo>
                        <a:pt x="475942" y="619982"/>
                      </a:lnTo>
                      <a:lnTo>
                        <a:pt x="473745" y="620431"/>
                      </a:lnTo>
                      <a:lnTo>
                        <a:pt x="471365" y="621767"/>
                      </a:lnTo>
                      <a:lnTo>
                        <a:pt x="468268" y="625956"/>
                      </a:lnTo>
                      <a:lnTo>
                        <a:pt x="466167" y="627001"/>
                      </a:lnTo>
                      <a:lnTo>
                        <a:pt x="458772" y="627438"/>
                      </a:lnTo>
                      <a:lnTo>
                        <a:pt x="456064" y="628664"/>
                      </a:lnTo>
                      <a:lnTo>
                        <a:pt x="453636" y="630595"/>
                      </a:lnTo>
                      <a:lnTo>
                        <a:pt x="452251" y="632902"/>
                      </a:lnTo>
                      <a:lnTo>
                        <a:pt x="449495" y="633133"/>
                      </a:lnTo>
                      <a:lnTo>
                        <a:pt x="446459" y="632416"/>
                      </a:lnTo>
                      <a:lnTo>
                        <a:pt x="443302" y="632635"/>
                      </a:lnTo>
                      <a:lnTo>
                        <a:pt x="440594" y="634954"/>
                      </a:lnTo>
                      <a:lnTo>
                        <a:pt x="438445" y="636448"/>
                      </a:lnTo>
                      <a:lnTo>
                        <a:pt x="436454" y="637504"/>
                      </a:lnTo>
                      <a:lnTo>
                        <a:pt x="434681" y="638160"/>
                      </a:lnTo>
                      <a:lnTo>
                        <a:pt x="431426" y="638767"/>
                      </a:lnTo>
                      <a:lnTo>
                        <a:pt x="426897" y="638330"/>
                      </a:lnTo>
                      <a:lnTo>
                        <a:pt x="424128" y="638937"/>
                      </a:lnTo>
                      <a:lnTo>
                        <a:pt x="419053" y="641208"/>
                      </a:lnTo>
                      <a:lnTo>
                        <a:pt x="415410" y="643090"/>
                      </a:lnTo>
                      <a:lnTo>
                        <a:pt x="414026" y="645956"/>
                      </a:lnTo>
                      <a:lnTo>
                        <a:pt x="412362" y="647498"/>
                      </a:lnTo>
                      <a:lnTo>
                        <a:pt x="410868" y="648117"/>
                      </a:lnTo>
                      <a:lnTo>
                        <a:pt x="406460" y="648554"/>
                      </a:lnTo>
                      <a:lnTo>
                        <a:pt x="395799" y="648724"/>
                      </a:lnTo>
                      <a:lnTo>
                        <a:pt x="393540" y="648895"/>
                      </a:lnTo>
                      <a:lnTo>
                        <a:pt x="391003" y="649441"/>
                      </a:lnTo>
                      <a:lnTo>
                        <a:pt x="386364" y="651044"/>
                      </a:lnTo>
                      <a:lnTo>
                        <a:pt x="383996" y="651432"/>
                      </a:lnTo>
                      <a:lnTo>
                        <a:pt x="380948" y="652197"/>
                      </a:lnTo>
                      <a:lnTo>
                        <a:pt x="379952" y="655063"/>
                      </a:lnTo>
                      <a:lnTo>
                        <a:pt x="374330" y="660260"/>
                      </a:lnTo>
                      <a:lnTo>
                        <a:pt x="373383" y="662422"/>
                      </a:lnTo>
                      <a:lnTo>
                        <a:pt x="373164" y="665518"/>
                      </a:lnTo>
                      <a:lnTo>
                        <a:pt x="374427" y="667510"/>
                      </a:lnTo>
                      <a:lnTo>
                        <a:pt x="375204" y="669598"/>
                      </a:lnTo>
                      <a:lnTo>
                        <a:pt x="375423" y="671918"/>
                      </a:lnTo>
                      <a:lnTo>
                        <a:pt x="373541" y="673023"/>
                      </a:lnTo>
                      <a:lnTo>
                        <a:pt x="372230" y="675791"/>
                      </a:lnTo>
                      <a:lnTo>
                        <a:pt x="371440" y="680090"/>
                      </a:lnTo>
                      <a:lnTo>
                        <a:pt x="371003" y="684352"/>
                      </a:lnTo>
                      <a:lnTo>
                        <a:pt x="371112" y="688067"/>
                      </a:lnTo>
                      <a:lnTo>
                        <a:pt x="370784" y="690326"/>
                      </a:lnTo>
                      <a:lnTo>
                        <a:pt x="372995" y="692706"/>
                      </a:lnTo>
                      <a:lnTo>
                        <a:pt x="373881" y="695293"/>
                      </a:lnTo>
                      <a:lnTo>
                        <a:pt x="374209" y="702250"/>
                      </a:lnTo>
                      <a:lnTo>
                        <a:pt x="373335" y="711868"/>
                      </a:lnTo>
                      <a:lnTo>
                        <a:pt x="372108" y="713908"/>
                      </a:lnTo>
                      <a:lnTo>
                        <a:pt x="370068" y="715620"/>
                      </a:lnTo>
                      <a:lnTo>
                        <a:pt x="367142" y="717174"/>
                      </a:lnTo>
                      <a:lnTo>
                        <a:pt x="364264" y="718218"/>
                      </a:lnTo>
                      <a:lnTo>
                        <a:pt x="361677" y="717611"/>
                      </a:lnTo>
                      <a:lnTo>
                        <a:pt x="359516" y="716785"/>
                      </a:lnTo>
                      <a:lnTo>
                        <a:pt x="357852" y="715911"/>
                      </a:lnTo>
                      <a:lnTo>
                        <a:pt x="356152" y="714527"/>
                      </a:lnTo>
                      <a:lnTo>
                        <a:pt x="354209" y="714248"/>
                      </a:lnTo>
                      <a:lnTo>
                        <a:pt x="344107" y="714199"/>
                      </a:lnTo>
                      <a:lnTo>
                        <a:pt x="341399" y="713385"/>
                      </a:lnTo>
                      <a:lnTo>
                        <a:pt x="339237" y="712888"/>
                      </a:lnTo>
                      <a:lnTo>
                        <a:pt x="337100" y="712705"/>
                      </a:lnTo>
                      <a:lnTo>
                        <a:pt x="335048" y="713033"/>
                      </a:lnTo>
                      <a:lnTo>
                        <a:pt x="333166" y="713762"/>
                      </a:lnTo>
                      <a:lnTo>
                        <a:pt x="329863" y="716081"/>
                      </a:lnTo>
                      <a:lnTo>
                        <a:pt x="327264" y="717065"/>
                      </a:lnTo>
                      <a:lnTo>
                        <a:pt x="323670" y="718231"/>
                      </a:lnTo>
                      <a:lnTo>
                        <a:pt x="320294" y="719615"/>
                      </a:lnTo>
                      <a:lnTo>
                        <a:pt x="317428" y="721048"/>
                      </a:lnTo>
                      <a:lnTo>
                        <a:pt x="314126" y="723197"/>
                      </a:lnTo>
                      <a:lnTo>
                        <a:pt x="313676" y="724921"/>
                      </a:lnTo>
                      <a:lnTo>
                        <a:pt x="313676" y="728188"/>
                      </a:lnTo>
                      <a:lnTo>
                        <a:pt x="316542" y="734199"/>
                      </a:lnTo>
                      <a:lnTo>
                        <a:pt x="316712" y="736469"/>
                      </a:lnTo>
                      <a:lnTo>
                        <a:pt x="315886" y="738072"/>
                      </a:lnTo>
                      <a:lnTo>
                        <a:pt x="315109" y="738946"/>
                      </a:lnTo>
                      <a:lnTo>
                        <a:pt x="314611" y="739675"/>
                      </a:lnTo>
                      <a:lnTo>
                        <a:pt x="312839" y="741108"/>
                      </a:lnTo>
                      <a:lnTo>
                        <a:pt x="310592" y="740950"/>
                      </a:lnTo>
                      <a:lnTo>
                        <a:pt x="307544" y="738728"/>
                      </a:lnTo>
                      <a:lnTo>
                        <a:pt x="306937" y="736518"/>
                      </a:lnTo>
                      <a:lnTo>
                        <a:pt x="306658" y="733858"/>
                      </a:lnTo>
                      <a:lnTo>
                        <a:pt x="306330" y="732207"/>
                      </a:lnTo>
                      <a:lnTo>
                        <a:pt x="305723" y="730434"/>
                      </a:lnTo>
                      <a:lnTo>
                        <a:pt x="304508" y="729378"/>
                      </a:lnTo>
                      <a:lnTo>
                        <a:pt x="302626" y="729208"/>
                      </a:lnTo>
                      <a:lnTo>
                        <a:pt x="301072" y="729754"/>
                      </a:lnTo>
                      <a:lnTo>
                        <a:pt x="299979" y="730689"/>
                      </a:lnTo>
                      <a:lnTo>
                        <a:pt x="299700" y="732511"/>
                      </a:lnTo>
                      <a:lnTo>
                        <a:pt x="299809" y="734283"/>
                      </a:lnTo>
                      <a:lnTo>
                        <a:pt x="300368" y="736773"/>
                      </a:lnTo>
                      <a:lnTo>
                        <a:pt x="301072" y="738546"/>
                      </a:lnTo>
                      <a:lnTo>
                        <a:pt x="301533" y="740100"/>
                      </a:lnTo>
                      <a:lnTo>
                        <a:pt x="301303" y="741751"/>
                      </a:lnTo>
                      <a:lnTo>
                        <a:pt x="300756" y="743075"/>
                      </a:lnTo>
                      <a:lnTo>
                        <a:pt x="298036" y="747835"/>
                      </a:lnTo>
                      <a:lnTo>
                        <a:pt x="296555" y="749766"/>
                      </a:lnTo>
                      <a:lnTo>
                        <a:pt x="295498" y="750931"/>
                      </a:lnTo>
                      <a:lnTo>
                        <a:pt x="292135" y="753530"/>
                      </a:lnTo>
                      <a:lnTo>
                        <a:pt x="289318" y="755230"/>
                      </a:lnTo>
                      <a:lnTo>
                        <a:pt x="285383" y="755740"/>
                      </a:lnTo>
                      <a:lnTo>
                        <a:pt x="282578" y="755740"/>
                      </a:lnTo>
                      <a:lnTo>
                        <a:pt x="280150" y="755352"/>
                      </a:lnTo>
                      <a:lnTo>
                        <a:pt x="277879" y="754684"/>
                      </a:lnTo>
                      <a:lnTo>
                        <a:pt x="272791" y="752037"/>
                      </a:lnTo>
                      <a:lnTo>
                        <a:pt x="270654" y="750373"/>
                      </a:lnTo>
                      <a:lnTo>
                        <a:pt x="269440" y="749049"/>
                      </a:lnTo>
                      <a:lnTo>
                        <a:pt x="267448" y="746123"/>
                      </a:lnTo>
                      <a:lnTo>
                        <a:pt x="265347" y="743961"/>
                      </a:lnTo>
                      <a:lnTo>
                        <a:pt x="263465" y="742310"/>
                      </a:lnTo>
                      <a:lnTo>
                        <a:pt x="259822" y="740877"/>
                      </a:lnTo>
                      <a:lnTo>
                        <a:pt x="257284" y="741314"/>
                      </a:lnTo>
                      <a:lnTo>
                        <a:pt x="255244" y="743087"/>
                      </a:lnTo>
                      <a:lnTo>
                        <a:pt x="252257" y="746353"/>
                      </a:lnTo>
                      <a:lnTo>
                        <a:pt x="250484" y="747908"/>
                      </a:lnTo>
                      <a:lnTo>
                        <a:pt x="249052" y="748952"/>
                      </a:lnTo>
                      <a:lnTo>
                        <a:pt x="246732" y="749001"/>
                      </a:lnTo>
                      <a:lnTo>
                        <a:pt x="244134" y="747847"/>
                      </a:lnTo>
                      <a:lnTo>
                        <a:pt x="241875" y="747289"/>
                      </a:lnTo>
                      <a:lnTo>
                        <a:pt x="237176" y="745795"/>
                      </a:lnTo>
                      <a:lnTo>
                        <a:pt x="228834" y="744313"/>
                      </a:lnTo>
                      <a:lnTo>
                        <a:pt x="223260" y="743925"/>
                      </a:lnTo>
                      <a:lnTo>
                        <a:pt x="220382" y="744313"/>
                      </a:lnTo>
                      <a:lnTo>
                        <a:pt x="216411" y="746074"/>
                      </a:lnTo>
                      <a:lnTo>
                        <a:pt x="213691" y="748309"/>
                      </a:lnTo>
                      <a:lnTo>
                        <a:pt x="210559" y="749341"/>
                      </a:lnTo>
                      <a:lnTo>
                        <a:pt x="208179" y="749669"/>
                      </a:lnTo>
                      <a:lnTo>
                        <a:pt x="206466" y="750774"/>
                      </a:lnTo>
                      <a:lnTo>
                        <a:pt x="205033" y="752656"/>
                      </a:lnTo>
                      <a:lnTo>
                        <a:pt x="203649" y="754198"/>
                      </a:lnTo>
                      <a:lnTo>
                        <a:pt x="199241" y="754319"/>
                      </a:lnTo>
                      <a:lnTo>
                        <a:pt x="197128" y="753651"/>
                      </a:lnTo>
                      <a:lnTo>
                        <a:pt x="194773" y="753093"/>
                      </a:lnTo>
                      <a:lnTo>
                        <a:pt x="192611" y="753822"/>
                      </a:lnTo>
                      <a:lnTo>
                        <a:pt x="191616" y="754878"/>
                      </a:lnTo>
                      <a:lnTo>
                        <a:pt x="192939" y="758837"/>
                      </a:lnTo>
                      <a:lnTo>
                        <a:pt x="193158" y="760828"/>
                      </a:lnTo>
                      <a:lnTo>
                        <a:pt x="191883" y="763925"/>
                      </a:lnTo>
                      <a:lnTo>
                        <a:pt x="191555" y="765357"/>
                      </a:lnTo>
                      <a:lnTo>
                        <a:pt x="191008" y="765855"/>
                      </a:lnTo>
                      <a:lnTo>
                        <a:pt x="190838" y="767458"/>
                      </a:lnTo>
                      <a:lnTo>
                        <a:pt x="190231" y="769947"/>
                      </a:lnTo>
                      <a:lnTo>
                        <a:pt x="190013" y="771878"/>
                      </a:lnTo>
                      <a:lnTo>
                        <a:pt x="189078" y="773360"/>
                      </a:lnTo>
                      <a:lnTo>
                        <a:pt x="187196" y="774416"/>
                      </a:lnTo>
                      <a:lnTo>
                        <a:pt x="182994" y="775642"/>
                      </a:lnTo>
                      <a:lnTo>
                        <a:pt x="181343" y="776577"/>
                      </a:lnTo>
                      <a:lnTo>
                        <a:pt x="178246" y="778836"/>
                      </a:lnTo>
                      <a:lnTo>
                        <a:pt x="178088" y="779893"/>
                      </a:lnTo>
                      <a:lnTo>
                        <a:pt x="178525" y="781277"/>
                      </a:lnTo>
                      <a:lnTo>
                        <a:pt x="178088" y="782819"/>
                      </a:lnTo>
                      <a:lnTo>
                        <a:pt x="177129" y="784203"/>
                      </a:lnTo>
                      <a:lnTo>
                        <a:pt x="176485" y="785357"/>
                      </a:lnTo>
                      <a:lnTo>
                        <a:pt x="176145" y="787895"/>
                      </a:lnTo>
                      <a:lnTo>
                        <a:pt x="175380" y="788672"/>
                      </a:lnTo>
                      <a:lnTo>
                        <a:pt x="172830" y="788672"/>
                      </a:lnTo>
                      <a:lnTo>
                        <a:pt x="172393" y="788489"/>
                      </a:lnTo>
                      <a:lnTo>
                        <a:pt x="170414" y="788441"/>
                      </a:lnTo>
                      <a:lnTo>
                        <a:pt x="168192" y="788708"/>
                      </a:lnTo>
                      <a:lnTo>
                        <a:pt x="168362" y="791367"/>
                      </a:lnTo>
                      <a:lnTo>
                        <a:pt x="167026" y="792314"/>
                      </a:lnTo>
                      <a:lnTo>
                        <a:pt x="165095" y="792861"/>
                      </a:lnTo>
                      <a:lnTo>
                        <a:pt x="163553" y="792740"/>
                      </a:lnTo>
                      <a:lnTo>
                        <a:pt x="156535" y="789534"/>
                      </a:lnTo>
                      <a:lnTo>
                        <a:pt x="155600" y="788429"/>
                      </a:lnTo>
                      <a:lnTo>
                        <a:pt x="153778" y="784507"/>
                      </a:lnTo>
                      <a:lnTo>
                        <a:pt x="152236" y="784240"/>
                      </a:lnTo>
                      <a:lnTo>
                        <a:pt x="152066" y="779273"/>
                      </a:lnTo>
                      <a:lnTo>
                        <a:pt x="151398" y="778508"/>
                      </a:lnTo>
                      <a:lnTo>
                        <a:pt x="150075" y="778386"/>
                      </a:lnTo>
                      <a:lnTo>
                        <a:pt x="149200" y="779164"/>
                      </a:lnTo>
                      <a:lnTo>
                        <a:pt x="147864" y="779832"/>
                      </a:lnTo>
                      <a:lnTo>
                        <a:pt x="147415" y="781046"/>
                      </a:lnTo>
                      <a:lnTo>
                        <a:pt x="145934" y="784300"/>
                      </a:lnTo>
                      <a:lnTo>
                        <a:pt x="145047" y="786753"/>
                      </a:lnTo>
                      <a:lnTo>
                        <a:pt x="143505" y="786413"/>
                      </a:lnTo>
                      <a:lnTo>
                        <a:pt x="139632" y="783863"/>
                      </a:lnTo>
                      <a:lnTo>
                        <a:pt x="137762" y="783535"/>
                      </a:lnTo>
                      <a:lnTo>
                        <a:pt x="134228" y="783766"/>
                      </a:lnTo>
                      <a:lnTo>
                        <a:pt x="131301" y="783438"/>
                      </a:lnTo>
                      <a:lnTo>
                        <a:pt x="127367" y="781835"/>
                      </a:lnTo>
                      <a:lnTo>
                        <a:pt x="123676" y="779735"/>
                      </a:lnTo>
                      <a:lnTo>
                        <a:pt x="121624" y="779698"/>
                      </a:lnTo>
                      <a:lnTo>
                        <a:pt x="119863" y="780402"/>
                      </a:lnTo>
                      <a:lnTo>
                        <a:pt x="117762" y="783608"/>
                      </a:lnTo>
                      <a:lnTo>
                        <a:pt x="116718" y="783936"/>
                      </a:lnTo>
                      <a:lnTo>
                        <a:pt x="114787" y="783936"/>
                      </a:lnTo>
                      <a:lnTo>
                        <a:pt x="113682" y="783608"/>
                      </a:lnTo>
                      <a:lnTo>
                        <a:pt x="112067" y="783936"/>
                      </a:lnTo>
                      <a:lnTo>
                        <a:pt x="110646" y="784762"/>
                      </a:lnTo>
                      <a:lnTo>
                        <a:pt x="109031" y="785260"/>
                      </a:lnTo>
                      <a:lnTo>
                        <a:pt x="107161" y="785587"/>
                      </a:lnTo>
                      <a:lnTo>
                        <a:pt x="105449" y="785320"/>
                      </a:lnTo>
                      <a:lnTo>
                        <a:pt x="103397" y="784823"/>
                      </a:lnTo>
                      <a:lnTo>
                        <a:pt x="101733" y="784045"/>
                      </a:lnTo>
                      <a:lnTo>
                        <a:pt x="99924" y="783390"/>
                      </a:lnTo>
                      <a:lnTo>
                        <a:pt x="97933" y="783547"/>
                      </a:lnTo>
                      <a:lnTo>
                        <a:pt x="95953" y="783049"/>
                      </a:lnTo>
                      <a:lnTo>
                        <a:pt x="94678" y="782333"/>
                      </a:lnTo>
                      <a:lnTo>
                        <a:pt x="93355" y="781835"/>
                      </a:lnTo>
                      <a:lnTo>
                        <a:pt x="91691" y="781507"/>
                      </a:lnTo>
                      <a:lnTo>
                        <a:pt x="90052" y="782005"/>
                      </a:lnTo>
                      <a:lnTo>
                        <a:pt x="88595" y="782673"/>
                      </a:lnTo>
                      <a:lnTo>
                        <a:pt x="87283" y="783669"/>
                      </a:lnTo>
                      <a:lnTo>
                        <a:pt x="85620" y="783936"/>
                      </a:lnTo>
                      <a:lnTo>
                        <a:pt x="80969" y="783438"/>
                      </a:lnTo>
                      <a:lnTo>
                        <a:pt x="78990" y="783001"/>
                      </a:lnTo>
                      <a:lnTo>
                        <a:pt x="77399" y="782175"/>
                      </a:lnTo>
                      <a:lnTo>
                        <a:pt x="75954" y="780512"/>
                      </a:lnTo>
                      <a:lnTo>
                        <a:pt x="74861" y="779139"/>
                      </a:lnTo>
                      <a:lnTo>
                        <a:pt x="73525" y="778205"/>
                      </a:lnTo>
                      <a:lnTo>
                        <a:pt x="72651" y="777427"/>
                      </a:lnTo>
                      <a:lnTo>
                        <a:pt x="71206" y="776711"/>
                      </a:lnTo>
                      <a:lnTo>
                        <a:pt x="69773" y="777257"/>
                      </a:lnTo>
                      <a:lnTo>
                        <a:pt x="67879" y="777598"/>
                      </a:lnTo>
                      <a:lnTo>
                        <a:pt x="66337" y="776978"/>
                      </a:lnTo>
                      <a:lnTo>
                        <a:pt x="64746" y="776602"/>
                      </a:lnTo>
                      <a:lnTo>
                        <a:pt x="60484" y="776335"/>
                      </a:lnTo>
                      <a:lnTo>
                        <a:pt x="57278" y="775824"/>
                      </a:lnTo>
                      <a:lnTo>
                        <a:pt x="53089" y="774950"/>
                      </a:lnTo>
                      <a:lnTo>
                        <a:pt x="54085" y="770688"/>
                      </a:lnTo>
                      <a:lnTo>
                        <a:pt x="54303" y="767980"/>
                      </a:lnTo>
                      <a:lnTo>
                        <a:pt x="54085" y="766875"/>
                      </a:lnTo>
                      <a:lnTo>
                        <a:pt x="53040" y="766049"/>
                      </a:lnTo>
                      <a:lnTo>
                        <a:pt x="52372" y="765054"/>
                      </a:lnTo>
                      <a:lnTo>
                        <a:pt x="52372" y="764556"/>
                      </a:lnTo>
                      <a:cubicBezTo>
                        <a:pt x="52045" y="764568"/>
                        <a:pt x="51571" y="764568"/>
                        <a:pt x="51061" y="764568"/>
                      </a:cubicBezTo>
                      <a:cubicBezTo>
                        <a:pt x="49932" y="764568"/>
                        <a:pt x="48596" y="764556"/>
                        <a:pt x="48183" y="764556"/>
                      </a:cubicBezTo>
                      <a:cubicBezTo>
                        <a:pt x="48122" y="764556"/>
                        <a:pt x="48074" y="764556"/>
                        <a:pt x="48062" y="764556"/>
                      </a:cubicBezTo>
                      <a:lnTo>
                        <a:pt x="48948" y="763026"/>
                      </a:lnTo>
                      <a:lnTo>
                        <a:pt x="49616" y="761496"/>
                      </a:lnTo>
                      <a:lnTo>
                        <a:pt x="49106" y="753044"/>
                      </a:lnTo>
                      <a:lnTo>
                        <a:pt x="49227" y="748685"/>
                      </a:lnTo>
                      <a:lnTo>
                        <a:pt x="49920" y="743974"/>
                      </a:lnTo>
                      <a:lnTo>
                        <a:pt x="49920" y="740561"/>
                      </a:lnTo>
                      <a:lnTo>
                        <a:pt x="48766" y="730252"/>
                      </a:lnTo>
                      <a:lnTo>
                        <a:pt x="49009" y="726512"/>
                      </a:lnTo>
                      <a:lnTo>
                        <a:pt x="49689" y="723488"/>
                      </a:lnTo>
                      <a:lnTo>
                        <a:pt x="50490" y="721363"/>
                      </a:lnTo>
                      <a:lnTo>
                        <a:pt x="50830" y="719020"/>
                      </a:lnTo>
                      <a:lnTo>
                        <a:pt x="50563" y="713677"/>
                      </a:lnTo>
                      <a:lnTo>
                        <a:pt x="50952" y="711528"/>
                      </a:lnTo>
                      <a:lnTo>
                        <a:pt x="51935" y="709828"/>
                      </a:lnTo>
                      <a:lnTo>
                        <a:pt x="52955" y="708868"/>
                      </a:lnTo>
                      <a:lnTo>
                        <a:pt x="58408" y="705578"/>
                      </a:lnTo>
                      <a:lnTo>
                        <a:pt x="60193" y="704230"/>
                      </a:lnTo>
                      <a:lnTo>
                        <a:pt x="61395" y="702675"/>
                      </a:lnTo>
                      <a:lnTo>
                        <a:pt x="62439" y="700720"/>
                      </a:lnTo>
                      <a:lnTo>
                        <a:pt x="62560" y="697940"/>
                      </a:lnTo>
                      <a:lnTo>
                        <a:pt x="61625" y="695851"/>
                      </a:lnTo>
                      <a:lnTo>
                        <a:pt x="59853" y="694479"/>
                      </a:lnTo>
                      <a:lnTo>
                        <a:pt x="58930" y="692378"/>
                      </a:lnTo>
                      <a:lnTo>
                        <a:pt x="51413" y="689100"/>
                      </a:lnTo>
                      <a:lnTo>
                        <a:pt x="47673" y="688529"/>
                      </a:lnTo>
                      <a:lnTo>
                        <a:pt x="47175" y="688541"/>
                      </a:lnTo>
                      <a:lnTo>
                        <a:pt x="47078" y="688529"/>
                      </a:lnTo>
                      <a:lnTo>
                        <a:pt x="35785" y="688845"/>
                      </a:lnTo>
                      <a:lnTo>
                        <a:pt x="32810" y="688529"/>
                      </a:lnTo>
                      <a:lnTo>
                        <a:pt x="13977" y="683623"/>
                      </a:lnTo>
                      <a:lnTo>
                        <a:pt x="12313" y="681947"/>
                      </a:lnTo>
                      <a:lnTo>
                        <a:pt x="7201" y="675378"/>
                      </a:lnTo>
                      <a:lnTo>
                        <a:pt x="7771" y="674346"/>
                      </a:lnTo>
                      <a:lnTo>
                        <a:pt x="10236" y="672330"/>
                      </a:lnTo>
                      <a:lnTo>
                        <a:pt x="17364" y="668432"/>
                      </a:lnTo>
                      <a:lnTo>
                        <a:pt x="23618" y="663624"/>
                      </a:lnTo>
                      <a:lnTo>
                        <a:pt x="28499" y="660928"/>
                      </a:lnTo>
                      <a:lnTo>
                        <a:pt x="29932" y="659410"/>
                      </a:lnTo>
                      <a:lnTo>
                        <a:pt x="30806" y="657370"/>
                      </a:lnTo>
                      <a:lnTo>
                        <a:pt x="30904" y="654784"/>
                      </a:lnTo>
                      <a:lnTo>
                        <a:pt x="31936" y="652914"/>
                      </a:lnTo>
                      <a:lnTo>
                        <a:pt x="33381" y="651797"/>
                      </a:lnTo>
                      <a:lnTo>
                        <a:pt x="37339" y="650242"/>
                      </a:lnTo>
                      <a:lnTo>
                        <a:pt x="39052" y="649089"/>
                      </a:lnTo>
                      <a:lnTo>
                        <a:pt x="39938" y="647571"/>
                      </a:lnTo>
                      <a:lnTo>
                        <a:pt x="40618" y="645385"/>
                      </a:lnTo>
                      <a:lnTo>
                        <a:pt x="41310" y="642082"/>
                      </a:lnTo>
                      <a:lnTo>
                        <a:pt x="42221" y="639957"/>
                      </a:lnTo>
                      <a:lnTo>
                        <a:pt x="42622" y="638464"/>
                      </a:lnTo>
                      <a:lnTo>
                        <a:pt x="42464" y="637553"/>
                      </a:lnTo>
                      <a:lnTo>
                        <a:pt x="41189" y="636606"/>
                      </a:lnTo>
                      <a:lnTo>
                        <a:pt x="39938" y="636399"/>
                      </a:lnTo>
                      <a:lnTo>
                        <a:pt x="39598" y="636448"/>
                      </a:lnTo>
                      <a:lnTo>
                        <a:pt x="39343" y="636399"/>
                      </a:lnTo>
                      <a:lnTo>
                        <a:pt x="38007" y="636582"/>
                      </a:lnTo>
                      <a:lnTo>
                        <a:pt x="36210" y="637189"/>
                      </a:lnTo>
                      <a:lnTo>
                        <a:pt x="36016" y="637128"/>
                      </a:lnTo>
                      <a:lnTo>
                        <a:pt x="36077" y="636181"/>
                      </a:lnTo>
                      <a:lnTo>
                        <a:pt x="37109" y="634104"/>
                      </a:lnTo>
                      <a:lnTo>
                        <a:pt x="38554" y="632671"/>
                      </a:lnTo>
                      <a:lnTo>
                        <a:pt x="41711" y="630121"/>
                      </a:lnTo>
                      <a:lnTo>
                        <a:pt x="42464" y="628968"/>
                      </a:lnTo>
                      <a:lnTo>
                        <a:pt x="42221" y="627839"/>
                      </a:lnTo>
                      <a:lnTo>
                        <a:pt x="40618" y="626017"/>
                      </a:lnTo>
                      <a:lnTo>
                        <a:pt x="36829" y="623722"/>
                      </a:lnTo>
                      <a:lnTo>
                        <a:pt x="35955" y="623115"/>
                      </a:lnTo>
                      <a:lnTo>
                        <a:pt x="35737" y="621998"/>
                      </a:lnTo>
                      <a:lnTo>
                        <a:pt x="35737" y="619776"/>
                      </a:lnTo>
                      <a:lnTo>
                        <a:pt x="36708" y="611713"/>
                      </a:lnTo>
                      <a:lnTo>
                        <a:pt x="37509" y="609794"/>
                      </a:lnTo>
                      <a:lnTo>
                        <a:pt x="38602" y="608677"/>
                      </a:lnTo>
                      <a:lnTo>
                        <a:pt x="39877" y="607875"/>
                      </a:lnTo>
                      <a:lnTo>
                        <a:pt x="40387" y="605338"/>
                      </a:lnTo>
                      <a:lnTo>
                        <a:pt x="40205" y="581805"/>
                      </a:lnTo>
                      <a:lnTo>
                        <a:pt x="40618" y="577907"/>
                      </a:lnTo>
                      <a:lnTo>
                        <a:pt x="41820" y="574094"/>
                      </a:lnTo>
                      <a:lnTo>
                        <a:pt x="43545" y="570645"/>
                      </a:lnTo>
                      <a:lnTo>
                        <a:pt x="45949" y="567002"/>
                      </a:lnTo>
                      <a:lnTo>
                        <a:pt x="46641" y="564234"/>
                      </a:lnTo>
                      <a:lnTo>
                        <a:pt x="46180" y="560992"/>
                      </a:lnTo>
                      <a:lnTo>
                        <a:pt x="41650" y="553524"/>
                      </a:lnTo>
                      <a:lnTo>
                        <a:pt x="40205" y="550537"/>
                      </a:lnTo>
                      <a:lnTo>
                        <a:pt x="39294" y="542959"/>
                      </a:lnTo>
                      <a:lnTo>
                        <a:pt x="38663" y="541757"/>
                      </a:lnTo>
                      <a:lnTo>
                        <a:pt x="36878" y="540434"/>
                      </a:lnTo>
                      <a:lnTo>
                        <a:pt x="35045" y="539717"/>
                      </a:lnTo>
                      <a:lnTo>
                        <a:pt x="31547" y="538770"/>
                      </a:lnTo>
                      <a:lnTo>
                        <a:pt x="29823" y="537969"/>
                      </a:lnTo>
                      <a:lnTo>
                        <a:pt x="28378" y="536560"/>
                      </a:lnTo>
                      <a:lnTo>
                        <a:pt x="27637" y="534375"/>
                      </a:lnTo>
                      <a:lnTo>
                        <a:pt x="27406" y="531776"/>
                      </a:lnTo>
                      <a:lnTo>
                        <a:pt x="29131" y="526251"/>
                      </a:lnTo>
                      <a:lnTo>
                        <a:pt x="51984" y="496877"/>
                      </a:lnTo>
                      <a:lnTo>
                        <a:pt x="54157" y="492688"/>
                      </a:lnTo>
                      <a:lnTo>
                        <a:pt x="55712" y="488207"/>
                      </a:lnTo>
                      <a:lnTo>
                        <a:pt x="57497" y="486082"/>
                      </a:lnTo>
                      <a:lnTo>
                        <a:pt x="59452" y="485135"/>
                      </a:lnTo>
                      <a:lnTo>
                        <a:pt x="61747" y="484989"/>
                      </a:lnTo>
                      <a:lnTo>
                        <a:pt x="64163" y="484528"/>
                      </a:lnTo>
                      <a:lnTo>
                        <a:pt x="65936" y="483265"/>
                      </a:lnTo>
                      <a:lnTo>
                        <a:pt x="67369" y="481249"/>
                      </a:lnTo>
                      <a:lnTo>
                        <a:pt x="67891" y="478092"/>
                      </a:lnTo>
                      <a:lnTo>
                        <a:pt x="69494" y="476197"/>
                      </a:lnTo>
                      <a:lnTo>
                        <a:pt x="71328" y="475165"/>
                      </a:lnTo>
                      <a:lnTo>
                        <a:pt x="80459" y="473101"/>
                      </a:lnTo>
                      <a:lnTo>
                        <a:pt x="81163" y="472785"/>
                      </a:lnTo>
                      <a:lnTo>
                        <a:pt x="81443" y="472640"/>
                      </a:lnTo>
                      <a:lnTo>
                        <a:pt x="86834" y="462015"/>
                      </a:lnTo>
                      <a:lnTo>
                        <a:pt x="87526" y="459671"/>
                      </a:lnTo>
                      <a:lnTo>
                        <a:pt x="87016" y="458347"/>
                      </a:lnTo>
                      <a:lnTo>
                        <a:pt x="85401" y="457740"/>
                      </a:lnTo>
                      <a:lnTo>
                        <a:pt x="85049" y="457837"/>
                      </a:lnTo>
                      <a:lnTo>
                        <a:pt x="84806" y="457740"/>
                      </a:lnTo>
                      <a:lnTo>
                        <a:pt x="81200" y="458688"/>
                      </a:lnTo>
                      <a:lnTo>
                        <a:pt x="78783" y="459865"/>
                      </a:lnTo>
                      <a:lnTo>
                        <a:pt x="74655" y="462452"/>
                      </a:lnTo>
                      <a:lnTo>
                        <a:pt x="72469" y="463338"/>
                      </a:lnTo>
                      <a:lnTo>
                        <a:pt x="71158" y="463532"/>
                      </a:lnTo>
                      <a:lnTo>
                        <a:pt x="70077" y="462950"/>
                      </a:lnTo>
                      <a:lnTo>
                        <a:pt x="69324" y="462172"/>
                      </a:lnTo>
                      <a:lnTo>
                        <a:pt x="68182" y="457436"/>
                      </a:lnTo>
                      <a:lnTo>
                        <a:pt x="67612" y="457522"/>
                      </a:lnTo>
                      <a:lnTo>
                        <a:pt x="67588" y="457436"/>
                      </a:lnTo>
                      <a:lnTo>
                        <a:pt x="61382" y="458323"/>
                      </a:lnTo>
                      <a:lnTo>
                        <a:pt x="59330" y="458384"/>
                      </a:lnTo>
                      <a:lnTo>
                        <a:pt x="55614" y="457886"/>
                      </a:lnTo>
                      <a:lnTo>
                        <a:pt x="55068" y="457898"/>
                      </a:lnTo>
                      <a:lnTo>
                        <a:pt x="55020" y="457886"/>
                      </a:lnTo>
                      <a:lnTo>
                        <a:pt x="53295" y="457922"/>
                      </a:lnTo>
                      <a:lnTo>
                        <a:pt x="51352" y="457667"/>
                      </a:lnTo>
                      <a:lnTo>
                        <a:pt x="49859" y="456975"/>
                      </a:lnTo>
                      <a:lnTo>
                        <a:pt x="47042" y="454850"/>
                      </a:lnTo>
                      <a:lnTo>
                        <a:pt x="44577" y="453502"/>
                      </a:lnTo>
                      <a:lnTo>
                        <a:pt x="38262" y="450892"/>
                      </a:lnTo>
                      <a:lnTo>
                        <a:pt x="36077" y="447358"/>
                      </a:lnTo>
                      <a:lnTo>
                        <a:pt x="38445" y="443132"/>
                      </a:lnTo>
                      <a:lnTo>
                        <a:pt x="43775" y="436041"/>
                      </a:lnTo>
                      <a:lnTo>
                        <a:pt x="45900" y="431378"/>
                      </a:lnTo>
                      <a:lnTo>
                        <a:pt x="47151" y="430042"/>
                      </a:lnTo>
                      <a:lnTo>
                        <a:pt x="49106" y="428828"/>
                      </a:lnTo>
                      <a:lnTo>
                        <a:pt x="55712" y="426096"/>
                      </a:lnTo>
                      <a:lnTo>
                        <a:pt x="57436" y="425015"/>
                      </a:lnTo>
                      <a:lnTo>
                        <a:pt x="58590" y="423521"/>
                      </a:lnTo>
                      <a:lnTo>
                        <a:pt x="58990" y="421737"/>
                      </a:lnTo>
                      <a:lnTo>
                        <a:pt x="58480" y="418956"/>
                      </a:lnTo>
                      <a:lnTo>
                        <a:pt x="57557" y="417243"/>
                      </a:lnTo>
                      <a:lnTo>
                        <a:pt x="56355" y="415786"/>
                      </a:lnTo>
                      <a:lnTo>
                        <a:pt x="53939" y="413637"/>
                      </a:lnTo>
                      <a:lnTo>
                        <a:pt x="53125" y="412738"/>
                      </a:lnTo>
                      <a:lnTo>
                        <a:pt x="52737" y="412228"/>
                      </a:lnTo>
                      <a:lnTo>
                        <a:pt x="52737" y="411561"/>
                      </a:lnTo>
                      <a:lnTo>
                        <a:pt x="53016" y="410383"/>
                      </a:lnTo>
                      <a:lnTo>
                        <a:pt x="54157" y="407881"/>
                      </a:lnTo>
                      <a:lnTo>
                        <a:pt x="55663" y="405793"/>
                      </a:lnTo>
                      <a:lnTo>
                        <a:pt x="57096" y="404530"/>
                      </a:lnTo>
                      <a:lnTo>
                        <a:pt x="58359" y="403898"/>
                      </a:lnTo>
                      <a:lnTo>
                        <a:pt x="60132" y="403255"/>
                      </a:lnTo>
                      <a:lnTo>
                        <a:pt x="61977" y="402369"/>
                      </a:lnTo>
                      <a:lnTo>
                        <a:pt x="63799" y="401081"/>
                      </a:lnTo>
                      <a:lnTo>
                        <a:pt x="75189" y="390286"/>
                      </a:lnTo>
                      <a:lnTo>
                        <a:pt x="75978" y="389024"/>
                      </a:lnTo>
                      <a:lnTo>
                        <a:pt x="76440" y="387105"/>
                      </a:lnTo>
                      <a:lnTo>
                        <a:pt x="76282" y="384154"/>
                      </a:lnTo>
                      <a:lnTo>
                        <a:pt x="75468" y="378471"/>
                      </a:lnTo>
                      <a:lnTo>
                        <a:pt x="73574" y="372460"/>
                      </a:lnTo>
                      <a:lnTo>
                        <a:pt x="72093" y="369242"/>
                      </a:lnTo>
                      <a:lnTo>
                        <a:pt x="70478" y="367142"/>
                      </a:lnTo>
                      <a:lnTo>
                        <a:pt x="64503" y="362066"/>
                      </a:lnTo>
                      <a:lnTo>
                        <a:pt x="63750" y="360597"/>
                      </a:lnTo>
                      <a:lnTo>
                        <a:pt x="63532" y="359103"/>
                      </a:lnTo>
                      <a:lnTo>
                        <a:pt x="64163" y="357245"/>
                      </a:lnTo>
                      <a:lnTo>
                        <a:pt x="65013" y="356237"/>
                      </a:lnTo>
                      <a:lnTo>
                        <a:pt x="66264" y="355667"/>
                      </a:lnTo>
                      <a:lnTo>
                        <a:pt x="68753" y="355181"/>
                      </a:lnTo>
                      <a:lnTo>
                        <a:pt x="69895" y="354804"/>
                      </a:lnTo>
                      <a:lnTo>
                        <a:pt x="70818" y="354319"/>
                      </a:lnTo>
                      <a:lnTo>
                        <a:pt x="71449" y="353566"/>
                      </a:lnTo>
                      <a:lnTo>
                        <a:pt x="71631" y="351575"/>
                      </a:lnTo>
                      <a:lnTo>
                        <a:pt x="69737" y="341812"/>
                      </a:lnTo>
                      <a:lnTo>
                        <a:pt x="65754" y="332474"/>
                      </a:lnTo>
                      <a:lnTo>
                        <a:pt x="65535" y="330519"/>
                      </a:lnTo>
                      <a:lnTo>
                        <a:pt x="65997" y="327447"/>
                      </a:lnTo>
                      <a:lnTo>
                        <a:pt x="66859" y="325066"/>
                      </a:lnTo>
                      <a:lnTo>
                        <a:pt x="68061" y="322687"/>
                      </a:lnTo>
                      <a:lnTo>
                        <a:pt x="68353" y="320683"/>
                      </a:lnTo>
                      <a:lnTo>
                        <a:pt x="68292" y="319299"/>
                      </a:lnTo>
                      <a:lnTo>
                        <a:pt x="62257" y="316141"/>
                      </a:lnTo>
                      <a:lnTo>
                        <a:pt x="61710" y="316044"/>
                      </a:lnTo>
                      <a:lnTo>
                        <a:pt x="62937" y="311855"/>
                      </a:lnTo>
                      <a:lnTo>
                        <a:pt x="63058" y="310507"/>
                      </a:lnTo>
                      <a:lnTo>
                        <a:pt x="61965" y="308783"/>
                      </a:lnTo>
                      <a:lnTo>
                        <a:pt x="61042" y="307569"/>
                      </a:lnTo>
                      <a:lnTo>
                        <a:pt x="52603" y="301825"/>
                      </a:lnTo>
                      <a:lnTo>
                        <a:pt x="52773" y="300331"/>
                      </a:lnTo>
                      <a:lnTo>
                        <a:pt x="53684" y="299275"/>
                      </a:lnTo>
                      <a:lnTo>
                        <a:pt x="55748" y="297636"/>
                      </a:lnTo>
                      <a:lnTo>
                        <a:pt x="57667" y="296397"/>
                      </a:lnTo>
                      <a:lnTo>
                        <a:pt x="59197" y="294904"/>
                      </a:lnTo>
                      <a:lnTo>
                        <a:pt x="60350" y="292948"/>
                      </a:lnTo>
                      <a:lnTo>
                        <a:pt x="61103" y="289961"/>
                      </a:lnTo>
                      <a:lnTo>
                        <a:pt x="61443" y="285663"/>
                      </a:lnTo>
                      <a:lnTo>
                        <a:pt x="61965" y="284254"/>
                      </a:lnTo>
                      <a:lnTo>
                        <a:pt x="62876" y="282991"/>
                      </a:lnTo>
                      <a:lnTo>
                        <a:pt x="63277" y="281230"/>
                      </a:lnTo>
                      <a:lnTo>
                        <a:pt x="63107" y="280198"/>
                      </a:lnTo>
                      <a:lnTo>
                        <a:pt x="62354" y="278802"/>
                      </a:lnTo>
                      <a:lnTo>
                        <a:pt x="63228" y="277393"/>
                      </a:lnTo>
                      <a:lnTo>
                        <a:pt x="66215" y="274528"/>
                      </a:lnTo>
                      <a:lnTo>
                        <a:pt x="67248" y="273216"/>
                      </a:lnTo>
                      <a:lnTo>
                        <a:pt x="68280" y="271201"/>
                      </a:lnTo>
                      <a:lnTo>
                        <a:pt x="69421" y="269537"/>
                      </a:lnTo>
                      <a:lnTo>
                        <a:pt x="71267" y="267885"/>
                      </a:lnTo>
                      <a:lnTo>
                        <a:pt x="72870" y="267132"/>
                      </a:lnTo>
                      <a:lnTo>
                        <a:pt x="74473" y="266707"/>
                      </a:lnTo>
                      <a:lnTo>
                        <a:pt x="82171" y="266185"/>
                      </a:lnTo>
                      <a:lnTo>
                        <a:pt x="84017" y="265882"/>
                      </a:lnTo>
                      <a:lnTo>
                        <a:pt x="85850" y="265311"/>
                      </a:lnTo>
                      <a:lnTo>
                        <a:pt x="87465" y="264364"/>
                      </a:lnTo>
                      <a:lnTo>
                        <a:pt x="88947" y="262530"/>
                      </a:lnTo>
                      <a:lnTo>
                        <a:pt x="90149" y="259968"/>
                      </a:lnTo>
                      <a:lnTo>
                        <a:pt x="91485" y="255062"/>
                      </a:lnTo>
                      <a:lnTo>
                        <a:pt x="91533" y="252197"/>
                      </a:lnTo>
                      <a:lnTo>
                        <a:pt x="91181" y="249817"/>
                      </a:lnTo>
                      <a:lnTo>
                        <a:pt x="90610" y="248092"/>
                      </a:lnTo>
                      <a:lnTo>
                        <a:pt x="90270" y="246052"/>
                      </a:lnTo>
                      <a:lnTo>
                        <a:pt x="90659" y="244134"/>
                      </a:lnTo>
                      <a:lnTo>
                        <a:pt x="91934" y="242118"/>
                      </a:lnTo>
                      <a:lnTo>
                        <a:pt x="94411" y="240017"/>
                      </a:lnTo>
                      <a:lnTo>
                        <a:pt x="96476" y="239265"/>
                      </a:lnTo>
                      <a:lnTo>
                        <a:pt x="98370" y="239094"/>
                      </a:lnTo>
                      <a:lnTo>
                        <a:pt x="102778" y="239520"/>
                      </a:lnTo>
                      <a:lnTo>
                        <a:pt x="103761" y="239556"/>
                      </a:lnTo>
                      <a:lnTo>
                        <a:pt x="104842" y="239313"/>
                      </a:lnTo>
                      <a:lnTo>
                        <a:pt x="106348" y="237127"/>
                      </a:lnTo>
                      <a:lnTo>
                        <a:pt x="112031" y="224499"/>
                      </a:lnTo>
                      <a:lnTo>
                        <a:pt x="114095" y="220965"/>
                      </a:lnTo>
                      <a:lnTo>
                        <a:pt x="115771" y="218779"/>
                      </a:lnTo>
                      <a:lnTo>
                        <a:pt x="117847" y="217808"/>
                      </a:lnTo>
                      <a:lnTo>
                        <a:pt x="120409" y="216253"/>
                      </a:lnTo>
                      <a:lnTo>
                        <a:pt x="122194" y="215489"/>
                      </a:lnTo>
                      <a:lnTo>
                        <a:pt x="124477" y="215513"/>
                      </a:lnTo>
                      <a:lnTo>
                        <a:pt x="128157" y="214335"/>
                      </a:lnTo>
                      <a:lnTo>
                        <a:pt x="129371" y="213752"/>
                      </a:lnTo>
                      <a:lnTo>
                        <a:pt x="129371" y="211518"/>
                      </a:lnTo>
                      <a:lnTo>
                        <a:pt x="129140" y="210304"/>
                      </a:lnTo>
                      <a:lnTo>
                        <a:pt x="127829" y="208604"/>
                      </a:lnTo>
                      <a:lnTo>
                        <a:pt x="126554" y="207389"/>
                      </a:lnTo>
                      <a:lnTo>
                        <a:pt x="118636" y="201767"/>
                      </a:lnTo>
                      <a:lnTo>
                        <a:pt x="116354" y="199387"/>
                      </a:lnTo>
                      <a:lnTo>
                        <a:pt x="115989" y="198039"/>
                      </a:lnTo>
                      <a:lnTo>
                        <a:pt x="115771" y="196181"/>
                      </a:lnTo>
                      <a:lnTo>
                        <a:pt x="116111" y="193777"/>
                      </a:lnTo>
                      <a:lnTo>
                        <a:pt x="115710" y="192077"/>
                      </a:lnTo>
                      <a:lnTo>
                        <a:pt x="114739" y="191324"/>
                      </a:lnTo>
                      <a:lnTo>
                        <a:pt x="113415" y="191264"/>
                      </a:lnTo>
                      <a:lnTo>
                        <a:pt x="111909" y="191348"/>
                      </a:lnTo>
                      <a:lnTo>
                        <a:pt x="110829" y="191093"/>
                      </a:lnTo>
                      <a:lnTo>
                        <a:pt x="109748" y="190341"/>
                      </a:lnTo>
                      <a:lnTo>
                        <a:pt x="109274" y="189551"/>
                      </a:lnTo>
                      <a:lnTo>
                        <a:pt x="109165" y="188665"/>
                      </a:lnTo>
                      <a:lnTo>
                        <a:pt x="109323" y="186856"/>
                      </a:lnTo>
                      <a:lnTo>
                        <a:pt x="109104" y="185908"/>
                      </a:lnTo>
                      <a:lnTo>
                        <a:pt x="108412" y="184876"/>
                      </a:lnTo>
                      <a:lnTo>
                        <a:pt x="107489" y="184269"/>
                      </a:lnTo>
                      <a:lnTo>
                        <a:pt x="106457" y="184123"/>
                      </a:lnTo>
                      <a:lnTo>
                        <a:pt x="103992" y="184645"/>
                      </a:lnTo>
                      <a:lnTo>
                        <a:pt x="102729" y="184463"/>
                      </a:lnTo>
                      <a:lnTo>
                        <a:pt x="102098" y="183832"/>
                      </a:lnTo>
                      <a:lnTo>
                        <a:pt x="101685" y="183030"/>
                      </a:lnTo>
                      <a:lnTo>
                        <a:pt x="101466" y="181901"/>
                      </a:lnTo>
                      <a:lnTo>
                        <a:pt x="101466" y="180019"/>
                      </a:lnTo>
                      <a:lnTo>
                        <a:pt x="101126" y="178258"/>
                      </a:lnTo>
                      <a:lnTo>
                        <a:pt x="100604" y="176303"/>
                      </a:lnTo>
                      <a:lnTo>
                        <a:pt x="99341" y="172830"/>
                      </a:lnTo>
                      <a:lnTo>
                        <a:pt x="99463" y="171337"/>
                      </a:lnTo>
                      <a:lnTo>
                        <a:pt x="100252" y="170256"/>
                      </a:lnTo>
                      <a:lnTo>
                        <a:pt x="102389" y="169127"/>
                      </a:lnTo>
                      <a:lnTo>
                        <a:pt x="104223" y="167585"/>
                      </a:lnTo>
                      <a:lnTo>
                        <a:pt x="106287" y="165533"/>
                      </a:lnTo>
                      <a:lnTo>
                        <a:pt x="108704" y="162412"/>
                      </a:lnTo>
                      <a:lnTo>
                        <a:pt x="110306" y="160761"/>
                      </a:lnTo>
                      <a:lnTo>
                        <a:pt x="111691" y="159740"/>
                      </a:lnTo>
                      <a:lnTo>
                        <a:pt x="113585" y="158902"/>
                      </a:lnTo>
                      <a:lnTo>
                        <a:pt x="114666" y="158150"/>
                      </a:lnTo>
                      <a:lnTo>
                        <a:pt x="115249" y="157117"/>
                      </a:lnTo>
                      <a:lnTo>
                        <a:pt x="115188" y="155515"/>
                      </a:lnTo>
                      <a:lnTo>
                        <a:pt x="114836" y="154082"/>
                      </a:lnTo>
                      <a:lnTo>
                        <a:pt x="114326" y="152734"/>
                      </a:lnTo>
                      <a:lnTo>
                        <a:pt x="114435" y="150864"/>
                      </a:lnTo>
                      <a:lnTo>
                        <a:pt x="115018" y="148569"/>
                      </a:lnTo>
                      <a:lnTo>
                        <a:pt x="116900" y="143663"/>
                      </a:lnTo>
                      <a:lnTo>
                        <a:pt x="118697" y="137349"/>
                      </a:lnTo>
                      <a:lnTo>
                        <a:pt x="119729" y="135515"/>
                      </a:lnTo>
                      <a:lnTo>
                        <a:pt x="121223" y="133475"/>
                      </a:lnTo>
                      <a:lnTo>
                        <a:pt x="125230" y="128995"/>
                      </a:lnTo>
                      <a:lnTo>
                        <a:pt x="125461" y="127416"/>
                      </a:lnTo>
                      <a:lnTo>
                        <a:pt x="124720" y="126748"/>
                      </a:lnTo>
                      <a:lnTo>
                        <a:pt x="121429" y="125352"/>
                      </a:lnTo>
                      <a:lnTo>
                        <a:pt x="120567" y="124769"/>
                      </a:lnTo>
                      <a:lnTo>
                        <a:pt x="120640" y="123943"/>
                      </a:lnTo>
                      <a:lnTo>
                        <a:pt x="121393" y="122789"/>
                      </a:lnTo>
                      <a:lnTo>
                        <a:pt x="123955" y="120410"/>
                      </a:lnTo>
                      <a:lnTo>
                        <a:pt x="125801" y="119074"/>
                      </a:lnTo>
                      <a:lnTo>
                        <a:pt x="127695" y="118029"/>
                      </a:lnTo>
                      <a:lnTo>
                        <a:pt x="129249" y="117544"/>
                      </a:lnTo>
                      <a:lnTo>
                        <a:pt x="130852" y="117265"/>
                      </a:lnTo>
                      <a:lnTo>
                        <a:pt x="132285" y="117301"/>
                      </a:lnTo>
                      <a:lnTo>
                        <a:pt x="133961" y="117665"/>
                      </a:lnTo>
                      <a:lnTo>
                        <a:pt x="137227" y="118819"/>
                      </a:lnTo>
                      <a:lnTo>
                        <a:pt x="138952" y="119025"/>
                      </a:lnTo>
                      <a:lnTo>
                        <a:pt x="142971" y="118503"/>
                      </a:lnTo>
                      <a:lnTo>
                        <a:pt x="143821" y="118564"/>
                      </a:lnTo>
                      <a:lnTo>
                        <a:pt x="144464" y="119025"/>
                      </a:lnTo>
                      <a:lnTo>
                        <a:pt x="148654" y="125631"/>
                      </a:lnTo>
                      <a:lnTo>
                        <a:pt x="150548" y="127610"/>
                      </a:lnTo>
                      <a:lnTo>
                        <a:pt x="152782" y="129128"/>
                      </a:lnTo>
                      <a:lnTo>
                        <a:pt x="155429" y="130160"/>
                      </a:lnTo>
                      <a:lnTo>
                        <a:pt x="157834" y="130415"/>
                      </a:lnTo>
                      <a:lnTo>
                        <a:pt x="160080" y="130136"/>
                      </a:lnTo>
                      <a:lnTo>
                        <a:pt x="163468" y="129334"/>
                      </a:lnTo>
                      <a:lnTo>
                        <a:pt x="164743" y="129274"/>
                      </a:lnTo>
                      <a:lnTo>
                        <a:pt x="165715" y="129419"/>
                      </a:lnTo>
                      <a:lnTo>
                        <a:pt x="168119" y="130221"/>
                      </a:lnTo>
                      <a:lnTo>
                        <a:pt x="170135" y="130646"/>
                      </a:lnTo>
                      <a:lnTo>
                        <a:pt x="175356" y="130804"/>
                      </a:lnTo>
                      <a:lnTo>
                        <a:pt x="177360" y="130427"/>
                      </a:lnTo>
                      <a:lnTo>
                        <a:pt x="178623" y="129371"/>
                      </a:lnTo>
                      <a:lnTo>
                        <a:pt x="179667" y="127525"/>
                      </a:lnTo>
                      <a:lnTo>
                        <a:pt x="179946" y="123737"/>
                      </a:lnTo>
                      <a:lnTo>
                        <a:pt x="179946" y="121466"/>
                      </a:lnTo>
                      <a:lnTo>
                        <a:pt x="178173" y="112334"/>
                      </a:lnTo>
                      <a:lnTo>
                        <a:pt x="178173" y="110756"/>
                      </a:lnTo>
                      <a:lnTo>
                        <a:pt x="178574" y="108922"/>
                      </a:lnTo>
                      <a:lnTo>
                        <a:pt x="179715" y="107052"/>
                      </a:lnTo>
                      <a:lnTo>
                        <a:pt x="180869" y="105741"/>
                      </a:lnTo>
                      <a:lnTo>
                        <a:pt x="181840" y="104211"/>
                      </a:lnTo>
                      <a:lnTo>
                        <a:pt x="184245" y="98504"/>
                      </a:lnTo>
                      <a:lnTo>
                        <a:pt x="185641" y="96172"/>
                      </a:lnTo>
                      <a:lnTo>
                        <a:pt x="187536" y="94084"/>
                      </a:lnTo>
                      <a:lnTo>
                        <a:pt x="189138" y="93015"/>
                      </a:lnTo>
                      <a:lnTo>
                        <a:pt x="190923" y="92262"/>
                      </a:lnTo>
                      <a:lnTo>
                        <a:pt x="198610" y="90999"/>
                      </a:lnTo>
                      <a:lnTo>
                        <a:pt x="200443" y="90222"/>
                      </a:lnTo>
                      <a:lnTo>
                        <a:pt x="201718" y="89190"/>
                      </a:lnTo>
                      <a:lnTo>
                        <a:pt x="202629" y="87878"/>
                      </a:lnTo>
                      <a:lnTo>
                        <a:pt x="203139" y="86239"/>
                      </a:lnTo>
                      <a:lnTo>
                        <a:pt x="203333" y="84199"/>
                      </a:lnTo>
                      <a:lnTo>
                        <a:pt x="202751" y="74521"/>
                      </a:lnTo>
                      <a:lnTo>
                        <a:pt x="203212" y="69919"/>
                      </a:lnTo>
                      <a:lnTo>
                        <a:pt x="204123" y="67138"/>
                      </a:lnTo>
                      <a:lnTo>
                        <a:pt x="207450" y="60788"/>
                      </a:lnTo>
                      <a:lnTo>
                        <a:pt x="208433" y="56598"/>
                      </a:lnTo>
                      <a:lnTo>
                        <a:pt x="209866" y="54073"/>
                      </a:lnTo>
                      <a:lnTo>
                        <a:pt x="211821" y="52008"/>
                      </a:lnTo>
                      <a:lnTo>
                        <a:pt x="217784" y="48560"/>
                      </a:lnTo>
                      <a:lnTo>
                        <a:pt x="219459" y="47102"/>
                      </a:lnTo>
                      <a:lnTo>
                        <a:pt x="220370" y="45609"/>
                      </a:lnTo>
                      <a:lnTo>
                        <a:pt x="221074" y="43775"/>
                      </a:lnTo>
                      <a:lnTo>
                        <a:pt x="221524" y="41796"/>
                      </a:lnTo>
                      <a:lnTo>
                        <a:pt x="221414" y="40072"/>
                      </a:lnTo>
                      <a:lnTo>
                        <a:pt x="220771" y="38517"/>
                      </a:lnTo>
                      <a:lnTo>
                        <a:pt x="219107" y="36902"/>
                      </a:lnTo>
                      <a:lnTo>
                        <a:pt x="217735" y="36210"/>
                      </a:lnTo>
                      <a:lnTo>
                        <a:pt x="215440" y="35639"/>
                      </a:lnTo>
                      <a:lnTo>
                        <a:pt x="213995" y="33745"/>
                      </a:lnTo>
                      <a:lnTo>
                        <a:pt x="207681" y="18530"/>
                      </a:lnTo>
                      <a:lnTo>
                        <a:pt x="206187" y="13709"/>
                      </a:lnTo>
                      <a:lnTo>
                        <a:pt x="207644" y="8269"/>
                      </a:lnTo>
                      <a:moveTo>
                        <a:pt x="48050" y="764422"/>
                      </a:moveTo>
                      <a:lnTo>
                        <a:pt x="48050" y="764422"/>
                      </a:lnTo>
                      <a:cubicBezTo>
                        <a:pt x="48037" y="764422"/>
                        <a:pt x="48037" y="764422"/>
                        <a:pt x="48050" y="764422"/>
                      </a:cubicBezTo>
                      <a:moveTo>
                        <a:pt x="203540" y="0"/>
                      </a:moveTo>
                      <a:lnTo>
                        <a:pt x="201767" y="6715"/>
                      </a:lnTo>
                      <a:lnTo>
                        <a:pt x="200322" y="12167"/>
                      </a:lnTo>
                      <a:lnTo>
                        <a:pt x="199873" y="13855"/>
                      </a:lnTo>
                      <a:lnTo>
                        <a:pt x="200383" y="15519"/>
                      </a:lnTo>
                      <a:lnTo>
                        <a:pt x="201876" y="20340"/>
                      </a:lnTo>
                      <a:lnTo>
                        <a:pt x="208385" y="36089"/>
                      </a:lnTo>
                      <a:lnTo>
                        <a:pt x="208688" y="36829"/>
                      </a:lnTo>
                      <a:lnTo>
                        <a:pt x="209174" y="37449"/>
                      </a:lnTo>
                      <a:lnTo>
                        <a:pt x="210619" y="39343"/>
                      </a:lnTo>
                      <a:lnTo>
                        <a:pt x="211906" y="41055"/>
                      </a:lnTo>
                      <a:lnTo>
                        <a:pt x="213971" y="41565"/>
                      </a:lnTo>
                      <a:lnTo>
                        <a:pt x="215270" y="41881"/>
                      </a:lnTo>
                      <a:lnTo>
                        <a:pt x="215233" y="42027"/>
                      </a:lnTo>
                      <a:lnTo>
                        <a:pt x="214893" y="42938"/>
                      </a:lnTo>
                      <a:lnTo>
                        <a:pt x="214760" y="43168"/>
                      </a:lnTo>
                      <a:lnTo>
                        <a:pt x="214226" y="43618"/>
                      </a:lnTo>
                      <a:lnTo>
                        <a:pt x="208773" y="46787"/>
                      </a:lnTo>
                      <a:lnTo>
                        <a:pt x="208021" y="47224"/>
                      </a:lnTo>
                      <a:lnTo>
                        <a:pt x="207413" y="47868"/>
                      </a:lnTo>
                      <a:lnTo>
                        <a:pt x="205458" y="49932"/>
                      </a:lnTo>
                      <a:lnTo>
                        <a:pt x="204948" y="50466"/>
                      </a:lnTo>
                      <a:lnTo>
                        <a:pt x="204584" y="51110"/>
                      </a:lnTo>
                      <a:lnTo>
                        <a:pt x="203151" y="53635"/>
                      </a:lnTo>
                      <a:lnTo>
                        <a:pt x="202714" y="54388"/>
                      </a:lnTo>
                      <a:lnTo>
                        <a:pt x="202508" y="55238"/>
                      </a:lnTo>
                      <a:lnTo>
                        <a:pt x="201706" y="58675"/>
                      </a:lnTo>
                      <a:lnTo>
                        <a:pt x="198731" y="64346"/>
                      </a:lnTo>
                      <a:lnTo>
                        <a:pt x="198488" y="64795"/>
                      </a:lnTo>
                      <a:lnTo>
                        <a:pt x="198331" y="65281"/>
                      </a:lnTo>
                      <a:lnTo>
                        <a:pt x="197420" y="68061"/>
                      </a:lnTo>
                      <a:lnTo>
                        <a:pt x="197213" y="68693"/>
                      </a:lnTo>
                      <a:lnTo>
                        <a:pt x="197153" y="69348"/>
                      </a:lnTo>
                      <a:lnTo>
                        <a:pt x="196691" y="73950"/>
                      </a:lnTo>
                      <a:lnTo>
                        <a:pt x="196643" y="74436"/>
                      </a:lnTo>
                      <a:lnTo>
                        <a:pt x="196667" y="74922"/>
                      </a:lnTo>
                      <a:lnTo>
                        <a:pt x="197213" y="84139"/>
                      </a:lnTo>
                      <a:lnTo>
                        <a:pt x="197128" y="85061"/>
                      </a:lnTo>
                      <a:lnTo>
                        <a:pt x="196873" y="85171"/>
                      </a:lnTo>
                      <a:lnTo>
                        <a:pt x="189916" y="86312"/>
                      </a:lnTo>
                      <a:lnTo>
                        <a:pt x="189211" y="86421"/>
                      </a:lnTo>
                      <a:lnTo>
                        <a:pt x="188556" y="86701"/>
                      </a:lnTo>
                      <a:lnTo>
                        <a:pt x="186770" y="87453"/>
                      </a:lnTo>
                      <a:lnTo>
                        <a:pt x="186236" y="87684"/>
                      </a:lnTo>
                      <a:lnTo>
                        <a:pt x="185750" y="88000"/>
                      </a:lnTo>
                      <a:lnTo>
                        <a:pt x="184148" y="89068"/>
                      </a:lnTo>
                      <a:lnTo>
                        <a:pt x="183528" y="89482"/>
                      </a:lnTo>
                      <a:lnTo>
                        <a:pt x="183018" y="90040"/>
                      </a:lnTo>
                      <a:lnTo>
                        <a:pt x="181124" y="92129"/>
                      </a:lnTo>
                      <a:lnTo>
                        <a:pt x="180711" y="92578"/>
                      </a:lnTo>
                      <a:lnTo>
                        <a:pt x="180408" y="93100"/>
                      </a:lnTo>
                      <a:lnTo>
                        <a:pt x="179011" y="95431"/>
                      </a:lnTo>
                      <a:lnTo>
                        <a:pt x="178793" y="95784"/>
                      </a:lnTo>
                      <a:lnTo>
                        <a:pt x="178635" y="96172"/>
                      </a:lnTo>
                      <a:lnTo>
                        <a:pt x="176413" y="101418"/>
                      </a:lnTo>
                      <a:lnTo>
                        <a:pt x="175963" y="102122"/>
                      </a:lnTo>
                      <a:lnTo>
                        <a:pt x="175125" y="103082"/>
                      </a:lnTo>
                      <a:lnTo>
                        <a:pt x="174773" y="103470"/>
                      </a:lnTo>
                      <a:lnTo>
                        <a:pt x="174506" y="103919"/>
                      </a:lnTo>
                      <a:lnTo>
                        <a:pt x="173365" y="105789"/>
                      </a:lnTo>
                      <a:lnTo>
                        <a:pt x="172830" y="106664"/>
                      </a:lnTo>
                      <a:lnTo>
                        <a:pt x="172612" y="107671"/>
                      </a:lnTo>
                      <a:lnTo>
                        <a:pt x="172211" y="109505"/>
                      </a:lnTo>
                      <a:lnTo>
                        <a:pt x="172077" y="110137"/>
                      </a:lnTo>
                      <a:lnTo>
                        <a:pt x="172077" y="110792"/>
                      </a:lnTo>
                      <a:lnTo>
                        <a:pt x="172077" y="112371"/>
                      </a:lnTo>
                      <a:lnTo>
                        <a:pt x="172077" y="112954"/>
                      </a:lnTo>
                      <a:lnTo>
                        <a:pt x="172187" y="113537"/>
                      </a:lnTo>
                      <a:lnTo>
                        <a:pt x="173850" y="122085"/>
                      </a:lnTo>
                      <a:lnTo>
                        <a:pt x="173850" y="123773"/>
                      </a:lnTo>
                      <a:lnTo>
                        <a:pt x="173777" y="124720"/>
                      </a:lnTo>
                      <a:lnTo>
                        <a:pt x="170839" y="124635"/>
                      </a:lnTo>
                      <a:lnTo>
                        <a:pt x="169697" y="124380"/>
                      </a:lnTo>
                      <a:lnTo>
                        <a:pt x="167633" y="123688"/>
                      </a:lnTo>
                      <a:lnTo>
                        <a:pt x="167123" y="123506"/>
                      </a:lnTo>
                      <a:lnTo>
                        <a:pt x="166589" y="123421"/>
                      </a:lnTo>
                      <a:lnTo>
                        <a:pt x="165617" y="123275"/>
                      </a:lnTo>
                      <a:lnTo>
                        <a:pt x="165047" y="123190"/>
                      </a:lnTo>
                      <a:lnTo>
                        <a:pt x="164464" y="123227"/>
                      </a:lnTo>
                      <a:lnTo>
                        <a:pt x="163189" y="123287"/>
                      </a:lnTo>
                      <a:lnTo>
                        <a:pt x="162630" y="123312"/>
                      </a:lnTo>
                      <a:lnTo>
                        <a:pt x="162072" y="123445"/>
                      </a:lnTo>
                      <a:lnTo>
                        <a:pt x="159000" y="124186"/>
                      </a:lnTo>
                      <a:lnTo>
                        <a:pt x="157785" y="124332"/>
                      </a:lnTo>
                      <a:lnTo>
                        <a:pt x="156887" y="124235"/>
                      </a:lnTo>
                      <a:lnTo>
                        <a:pt x="155624" y="123749"/>
                      </a:lnTo>
                      <a:lnTo>
                        <a:pt x="154495" y="122984"/>
                      </a:lnTo>
                      <a:lnTo>
                        <a:pt x="153462" y="121903"/>
                      </a:lnTo>
                      <a:lnTo>
                        <a:pt x="149601" y="115807"/>
                      </a:lnTo>
                      <a:lnTo>
                        <a:pt x="148969" y="114812"/>
                      </a:lnTo>
                      <a:lnTo>
                        <a:pt x="148010" y="114119"/>
                      </a:lnTo>
                      <a:lnTo>
                        <a:pt x="147367" y="113658"/>
                      </a:lnTo>
                      <a:lnTo>
                        <a:pt x="145970" y="112650"/>
                      </a:lnTo>
                      <a:lnTo>
                        <a:pt x="144258" y="112529"/>
                      </a:lnTo>
                      <a:lnTo>
                        <a:pt x="143408" y="112468"/>
                      </a:lnTo>
                      <a:lnTo>
                        <a:pt x="142813" y="112431"/>
                      </a:lnTo>
                      <a:lnTo>
                        <a:pt x="142206" y="112504"/>
                      </a:lnTo>
                      <a:lnTo>
                        <a:pt x="138927" y="112930"/>
                      </a:lnTo>
                      <a:lnTo>
                        <a:pt x="138624" y="112893"/>
                      </a:lnTo>
                      <a:lnTo>
                        <a:pt x="136001" y="111970"/>
                      </a:lnTo>
                      <a:lnTo>
                        <a:pt x="135649" y="111849"/>
                      </a:lnTo>
                      <a:lnTo>
                        <a:pt x="135284" y="111764"/>
                      </a:lnTo>
                      <a:lnTo>
                        <a:pt x="133609" y="111399"/>
                      </a:lnTo>
                      <a:lnTo>
                        <a:pt x="133038" y="111266"/>
                      </a:lnTo>
                      <a:lnTo>
                        <a:pt x="132455" y="111254"/>
                      </a:lnTo>
                      <a:lnTo>
                        <a:pt x="131034" y="111217"/>
                      </a:lnTo>
                      <a:lnTo>
                        <a:pt x="130427" y="111205"/>
                      </a:lnTo>
                      <a:lnTo>
                        <a:pt x="129820" y="111314"/>
                      </a:lnTo>
                      <a:lnTo>
                        <a:pt x="128217" y="111594"/>
                      </a:lnTo>
                      <a:lnTo>
                        <a:pt x="127841" y="111667"/>
                      </a:lnTo>
                      <a:lnTo>
                        <a:pt x="127464" y="111776"/>
                      </a:lnTo>
                      <a:lnTo>
                        <a:pt x="125910" y="112261"/>
                      </a:lnTo>
                      <a:lnTo>
                        <a:pt x="125327" y="112456"/>
                      </a:lnTo>
                      <a:lnTo>
                        <a:pt x="124793" y="112747"/>
                      </a:lnTo>
                      <a:lnTo>
                        <a:pt x="122899" y="113791"/>
                      </a:lnTo>
                      <a:lnTo>
                        <a:pt x="122571" y="113974"/>
                      </a:lnTo>
                      <a:lnTo>
                        <a:pt x="122267" y="114192"/>
                      </a:lnTo>
                      <a:lnTo>
                        <a:pt x="120421" y="115528"/>
                      </a:lnTo>
                      <a:lnTo>
                        <a:pt x="120118" y="115759"/>
                      </a:lnTo>
                      <a:lnTo>
                        <a:pt x="119851" y="116014"/>
                      </a:lnTo>
                      <a:lnTo>
                        <a:pt x="117289" y="118394"/>
                      </a:lnTo>
                      <a:lnTo>
                        <a:pt x="116754" y="118904"/>
                      </a:lnTo>
                      <a:lnTo>
                        <a:pt x="116354" y="119523"/>
                      </a:lnTo>
                      <a:lnTo>
                        <a:pt x="115601" y="120677"/>
                      </a:lnTo>
                      <a:lnTo>
                        <a:pt x="114763" y="121952"/>
                      </a:lnTo>
                      <a:lnTo>
                        <a:pt x="114629" y="123469"/>
                      </a:lnTo>
                      <a:lnTo>
                        <a:pt x="114556" y="124295"/>
                      </a:lnTo>
                      <a:lnTo>
                        <a:pt x="114253" y="127853"/>
                      </a:lnTo>
                      <a:lnTo>
                        <a:pt x="116706" y="129505"/>
                      </a:lnTo>
                      <a:lnTo>
                        <a:pt x="114860" y="131970"/>
                      </a:lnTo>
                      <a:lnTo>
                        <a:pt x="114641" y="132261"/>
                      </a:lnTo>
                      <a:lnTo>
                        <a:pt x="114459" y="132577"/>
                      </a:lnTo>
                      <a:lnTo>
                        <a:pt x="113427" y="134410"/>
                      </a:lnTo>
                      <a:lnTo>
                        <a:pt x="113075" y="135042"/>
                      </a:lnTo>
                      <a:lnTo>
                        <a:pt x="112881" y="135734"/>
                      </a:lnTo>
                      <a:lnTo>
                        <a:pt x="111084" y="142048"/>
                      </a:lnTo>
                      <a:lnTo>
                        <a:pt x="109371" y="146432"/>
                      </a:lnTo>
                      <a:lnTo>
                        <a:pt x="109238" y="146772"/>
                      </a:lnTo>
                      <a:lnTo>
                        <a:pt x="109153" y="147124"/>
                      </a:lnTo>
                      <a:lnTo>
                        <a:pt x="108570" y="149419"/>
                      </a:lnTo>
                      <a:lnTo>
                        <a:pt x="108436" y="149965"/>
                      </a:lnTo>
                      <a:lnTo>
                        <a:pt x="108400" y="150536"/>
                      </a:lnTo>
                      <a:lnTo>
                        <a:pt x="108291" y="152406"/>
                      </a:lnTo>
                      <a:lnTo>
                        <a:pt x="108218" y="153693"/>
                      </a:lnTo>
                      <a:lnTo>
                        <a:pt x="108546" y="154568"/>
                      </a:lnTo>
                      <a:lnTo>
                        <a:pt x="108133" y="154871"/>
                      </a:lnTo>
                      <a:lnTo>
                        <a:pt x="106749" y="155891"/>
                      </a:lnTo>
                      <a:lnTo>
                        <a:pt x="106336" y="156195"/>
                      </a:lnTo>
                      <a:lnTo>
                        <a:pt x="105984" y="156547"/>
                      </a:lnTo>
                      <a:lnTo>
                        <a:pt x="104381" y="158198"/>
                      </a:lnTo>
                      <a:lnTo>
                        <a:pt x="104138" y="158453"/>
                      </a:lnTo>
                      <a:lnTo>
                        <a:pt x="103931" y="158721"/>
                      </a:lnTo>
                      <a:lnTo>
                        <a:pt x="101758" y="161513"/>
                      </a:lnTo>
                      <a:lnTo>
                        <a:pt x="99973" y="163286"/>
                      </a:lnTo>
                      <a:lnTo>
                        <a:pt x="99038" y="164063"/>
                      </a:lnTo>
                      <a:lnTo>
                        <a:pt x="97447" y="164889"/>
                      </a:lnTo>
                      <a:lnTo>
                        <a:pt x="96208" y="165545"/>
                      </a:lnTo>
                      <a:lnTo>
                        <a:pt x="95383" y="166686"/>
                      </a:lnTo>
                      <a:lnTo>
                        <a:pt x="94593" y="167767"/>
                      </a:lnTo>
                      <a:lnTo>
                        <a:pt x="93586" y="169139"/>
                      </a:lnTo>
                      <a:lnTo>
                        <a:pt x="93452" y="170851"/>
                      </a:lnTo>
                      <a:lnTo>
                        <a:pt x="93330" y="172333"/>
                      </a:lnTo>
                      <a:lnTo>
                        <a:pt x="93221" y="173656"/>
                      </a:lnTo>
                      <a:lnTo>
                        <a:pt x="93683" y="174919"/>
                      </a:lnTo>
                      <a:lnTo>
                        <a:pt x="94946" y="178392"/>
                      </a:lnTo>
                      <a:lnTo>
                        <a:pt x="95310" y="179837"/>
                      </a:lnTo>
                      <a:lnTo>
                        <a:pt x="95444" y="180590"/>
                      </a:lnTo>
                      <a:lnTo>
                        <a:pt x="95444" y="181914"/>
                      </a:lnTo>
                      <a:lnTo>
                        <a:pt x="95444" y="182484"/>
                      </a:lnTo>
                      <a:lnTo>
                        <a:pt x="95553" y="183043"/>
                      </a:lnTo>
                      <a:lnTo>
                        <a:pt x="95771" y="184172"/>
                      </a:lnTo>
                      <a:lnTo>
                        <a:pt x="95941" y="185034"/>
                      </a:lnTo>
                      <a:lnTo>
                        <a:pt x="96342" y="185811"/>
                      </a:lnTo>
                      <a:lnTo>
                        <a:pt x="96755" y="186613"/>
                      </a:lnTo>
                      <a:lnTo>
                        <a:pt x="97192" y="187475"/>
                      </a:lnTo>
                      <a:lnTo>
                        <a:pt x="97872" y="188155"/>
                      </a:lnTo>
                      <a:lnTo>
                        <a:pt x="98504" y="188786"/>
                      </a:lnTo>
                      <a:lnTo>
                        <a:pt x="99936" y="190195"/>
                      </a:lnTo>
                      <a:lnTo>
                        <a:pt x="101928" y="190474"/>
                      </a:lnTo>
                      <a:lnTo>
                        <a:pt x="103191" y="190657"/>
                      </a:lnTo>
                      <a:lnTo>
                        <a:pt x="103336" y="190681"/>
                      </a:lnTo>
                      <a:lnTo>
                        <a:pt x="103446" y="191555"/>
                      </a:lnTo>
                      <a:lnTo>
                        <a:pt x="104113" y="192660"/>
                      </a:lnTo>
                      <a:lnTo>
                        <a:pt x="104587" y="193449"/>
                      </a:lnTo>
                      <a:lnTo>
                        <a:pt x="105267" y="194591"/>
                      </a:lnTo>
                      <a:lnTo>
                        <a:pt x="106360" y="195344"/>
                      </a:lnTo>
                      <a:lnTo>
                        <a:pt x="107441" y="196097"/>
                      </a:lnTo>
                      <a:lnTo>
                        <a:pt x="108364" y="196728"/>
                      </a:lnTo>
                      <a:lnTo>
                        <a:pt x="109456" y="196995"/>
                      </a:lnTo>
                      <a:lnTo>
                        <a:pt x="109821" y="197080"/>
                      </a:lnTo>
                      <a:lnTo>
                        <a:pt x="110015" y="198756"/>
                      </a:lnTo>
                      <a:lnTo>
                        <a:pt x="110064" y="199193"/>
                      </a:lnTo>
                      <a:lnTo>
                        <a:pt x="110173" y="199606"/>
                      </a:lnTo>
                      <a:lnTo>
                        <a:pt x="110537" y="200954"/>
                      </a:lnTo>
                      <a:lnTo>
                        <a:pt x="110938" y="202459"/>
                      </a:lnTo>
                      <a:lnTo>
                        <a:pt x="112006" y="203588"/>
                      </a:lnTo>
                      <a:lnTo>
                        <a:pt x="114289" y="205969"/>
                      </a:lnTo>
                      <a:lnTo>
                        <a:pt x="114690" y="206381"/>
                      </a:lnTo>
                      <a:lnTo>
                        <a:pt x="115164" y="206722"/>
                      </a:lnTo>
                      <a:lnTo>
                        <a:pt x="119717" y="209939"/>
                      </a:lnTo>
                      <a:lnTo>
                        <a:pt x="118054" y="210668"/>
                      </a:lnTo>
                      <a:lnTo>
                        <a:pt x="117665" y="210838"/>
                      </a:lnTo>
                      <a:lnTo>
                        <a:pt x="117301" y="211057"/>
                      </a:lnTo>
                      <a:lnTo>
                        <a:pt x="115018" y="212441"/>
                      </a:lnTo>
                      <a:lnTo>
                        <a:pt x="113245" y="213267"/>
                      </a:lnTo>
                      <a:lnTo>
                        <a:pt x="111897" y="213898"/>
                      </a:lnTo>
                      <a:lnTo>
                        <a:pt x="110998" y="215088"/>
                      </a:lnTo>
                      <a:lnTo>
                        <a:pt x="109323" y="217274"/>
                      </a:lnTo>
                      <a:lnTo>
                        <a:pt x="109092" y="217565"/>
                      </a:lnTo>
                      <a:lnTo>
                        <a:pt x="108898" y="217881"/>
                      </a:lnTo>
                      <a:lnTo>
                        <a:pt x="106833" y="221414"/>
                      </a:lnTo>
                      <a:lnTo>
                        <a:pt x="106676" y="221694"/>
                      </a:lnTo>
                      <a:lnTo>
                        <a:pt x="106542" y="221985"/>
                      </a:lnTo>
                      <a:lnTo>
                        <a:pt x="101478" y="233266"/>
                      </a:lnTo>
                      <a:lnTo>
                        <a:pt x="99013" y="233011"/>
                      </a:lnTo>
                      <a:lnTo>
                        <a:pt x="98455" y="232962"/>
                      </a:lnTo>
                      <a:lnTo>
                        <a:pt x="97896" y="233011"/>
                      </a:lnTo>
                      <a:lnTo>
                        <a:pt x="96002" y="233181"/>
                      </a:lnTo>
                      <a:lnTo>
                        <a:pt x="95213" y="233254"/>
                      </a:lnTo>
                      <a:lnTo>
                        <a:pt x="94460" y="233521"/>
                      </a:lnTo>
                      <a:lnTo>
                        <a:pt x="92396" y="234274"/>
                      </a:lnTo>
                      <a:lnTo>
                        <a:pt x="91376" y="234638"/>
                      </a:lnTo>
                      <a:lnTo>
                        <a:pt x="90550" y="235342"/>
                      </a:lnTo>
                      <a:lnTo>
                        <a:pt x="88000" y="237480"/>
                      </a:lnTo>
                      <a:lnTo>
                        <a:pt x="87283" y="238087"/>
                      </a:lnTo>
                      <a:lnTo>
                        <a:pt x="86785" y="238864"/>
                      </a:lnTo>
                      <a:lnTo>
                        <a:pt x="85523" y="240880"/>
                      </a:lnTo>
                      <a:lnTo>
                        <a:pt x="84928" y="241827"/>
                      </a:lnTo>
                      <a:lnTo>
                        <a:pt x="84709" y="242920"/>
                      </a:lnTo>
                      <a:lnTo>
                        <a:pt x="84321" y="244838"/>
                      </a:lnTo>
                      <a:lnTo>
                        <a:pt x="84090" y="245943"/>
                      </a:lnTo>
                      <a:lnTo>
                        <a:pt x="84272" y="247060"/>
                      </a:lnTo>
                      <a:lnTo>
                        <a:pt x="84612" y="249100"/>
                      </a:lnTo>
                      <a:lnTo>
                        <a:pt x="84685" y="249562"/>
                      </a:lnTo>
                      <a:lnTo>
                        <a:pt x="84830" y="249999"/>
                      </a:lnTo>
                      <a:lnTo>
                        <a:pt x="85231" y="251225"/>
                      </a:lnTo>
                      <a:lnTo>
                        <a:pt x="85438" y="252585"/>
                      </a:lnTo>
                      <a:lnTo>
                        <a:pt x="85413" y="254212"/>
                      </a:lnTo>
                      <a:lnTo>
                        <a:pt x="84418" y="257880"/>
                      </a:lnTo>
                      <a:lnTo>
                        <a:pt x="83750" y="259300"/>
                      </a:lnTo>
                      <a:lnTo>
                        <a:pt x="83422" y="259701"/>
                      </a:lnTo>
                      <a:lnTo>
                        <a:pt x="83373" y="259738"/>
                      </a:lnTo>
                      <a:lnTo>
                        <a:pt x="82608" y="259980"/>
                      </a:lnTo>
                      <a:lnTo>
                        <a:pt x="81163" y="260223"/>
                      </a:lnTo>
                      <a:lnTo>
                        <a:pt x="74060" y="260673"/>
                      </a:lnTo>
                      <a:lnTo>
                        <a:pt x="73477" y="260721"/>
                      </a:lnTo>
                      <a:lnTo>
                        <a:pt x="72918" y="260867"/>
                      </a:lnTo>
                      <a:lnTo>
                        <a:pt x="71315" y="261292"/>
                      </a:lnTo>
                      <a:lnTo>
                        <a:pt x="70793" y="261437"/>
                      </a:lnTo>
                      <a:lnTo>
                        <a:pt x="70308" y="261668"/>
                      </a:lnTo>
                      <a:lnTo>
                        <a:pt x="68705" y="262421"/>
                      </a:lnTo>
                      <a:lnTo>
                        <a:pt x="67891" y="262797"/>
                      </a:lnTo>
                      <a:lnTo>
                        <a:pt x="67223" y="263393"/>
                      </a:lnTo>
                      <a:lnTo>
                        <a:pt x="65377" y="265044"/>
                      </a:lnTo>
                      <a:lnTo>
                        <a:pt x="64843" y="265530"/>
                      </a:lnTo>
                      <a:lnTo>
                        <a:pt x="64430" y="266125"/>
                      </a:lnTo>
                      <a:lnTo>
                        <a:pt x="63289" y="267788"/>
                      </a:lnTo>
                      <a:lnTo>
                        <a:pt x="63058" y="268116"/>
                      </a:lnTo>
                      <a:lnTo>
                        <a:pt x="62876" y="268468"/>
                      </a:lnTo>
                      <a:lnTo>
                        <a:pt x="62111" y="269962"/>
                      </a:lnTo>
                      <a:lnTo>
                        <a:pt x="61710" y="270484"/>
                      </a:lnTo>
                      <a:lnTo>
                        <a:pt x="59027" y="273058"/>
                      </a:lnTo>
                      <a:lnTo>
                        <a:pt x="58468" y="273593"/>
                      </a:lnTo>
                      <a:lnTo>
                        <a:pt x="58068" y="274248"/>
                      </a:lnTo>
                      <a:lnTo>
                        <a:pt x="57193" y="275657"/>
                      </a:lnTo>
                      <a:lnTo>
                        <a:pt x="55347" y="278632"/>
                      </a:lnTo>
                      <a:lnTo>
                        <a:pt x="56720" y="281182"/>
                      </a:lnTo>
                      <a:lnTo>
                        <a:pt x="56562" y="281401"/>
                      </a:lnTo>
                      <a:lnTo>
                        <a:pt x="56270" y="282178"/>
                      </a:lnTo>
                      <a:lnTo>
                        <a:pt x="55748" y="283586"/>
                      </a:lnTo>
                      <a:lnTo>
                        <a:pt x="55457" y="284376"/>
                      </a:lnTo>
                      <a:lnTo>
                        <a:pt x="55396" y="285213"/>
                      </a:lnTo>
                      <a:lnTo>
                        <a:pt x="55105" y="289002"/>
                      </a:lnTo>
                      <a:lnTo>
                        <a:pt x="54692" y="290641"/>
                      </a:lnTo>
                      <a:lnTo>
                        <a:pt x="54388" y="291151"/>
                      </a:lnTo>
                      <a:lnTo>
                        <a:pt x="53878" y="291661"/>
                      </a:lnTo>
                      <a:lnTo>
                        <a:pt x="52482" y="292560"/>
                      </a:lnTo>
                      <a:lnTo>
                        <a:pt x="49932" y="294539"/>
                      </a:lnTo>
                      <a:lnTo>
                        <a:pt x="49482" y="294891"/>
                      </a:lnTo>
                      <a:lnTo>
                        <a:pt x="49118" y="295316"/>
                      </a:lnTo>
                      <a:lnTo>
                        <a:pt x="48207" y="296373"/>
                      </a:lnTo>
                      <a:lnTo>
                        <a:pt x="46981" y="297781"/>
                      </a:lnTo>
                      <a:lnTo>
                        <a:pt x="46762" y="299639"/>
                      </a:lnTo>
                      <a:lnTo>
                        <a:pt x="46592" y="301133"/>
                      </a:lnTo>
                      <a:lnTo>
                        <a:pt x="46167" y="304788"/>
                      </a:lnTo>
                      <a:lnTo>
                        <a:pt x="49203" y="306852"/>
                      </a:lnTo>
                      <a:lnTo>
                        <a:pt x="56610" y="311891"/>
                      </a:lnTo>
                      <a:lnTo>
                        <a:pt x="55894" y="314332"/>
                      </a:lnTo>
                      <a:lnTo>
                        <a:pt x="53975" y="320865"/>
                      </a:lnTo>
                      <a:lnTo>
                        <a:pt x="60302" y="321958"/>
                      </a:lnTo>
                      <a:lnTo>
                        <a:pt x="61358" y="322516"/>
                      </a:lnTo>
                      <a:lnTo>
                        <a:pt x="61285" y="322650"/>
                      </a:lnTo>
                      <a:lnTo>
                        <a:pt x="61164" y="322990"/>
                      </a:lnTo>
                      <a:lnTo>
                        <a:pt x="60302" y="325370"/>
                      </a:lnTo>
                      <a:lnTo>
                        <a:pt x="60095" y="325953"/>
                      </a:lnTo>
                      <a:lnTo>
                        <a:pt x="60010" y="326560"/>
                      </a:lnTo>
                      <a:lnTo>
                        <a:pt x="59549" y="329632"/>
                      </a:lnTo>
                      <a:lnTo>
                        <a:pt x="59440" y="330397"/>
                      </a:lnTo>
                      <a:lnTo>
                        <a:pt x="59525" y="331174"/>
                      </a:lnTo>
                      <a:lnTo>
                        <a:pt x="59743" y="333129"/>
                      </a:lnTo>
                      <a:lnTo>
                        <a:pt x="59840" y="334016"/>
                      </a:lnTo>
                      <a:lnTo>
                        <a:pt x="60193" y="334842"/>
                      </a:lnTo>
                      <a:lnTo>
                        <a:pt x="63933" y="343585"/>
                      </a:lnTo>
                      <a:lnTo>
                        <a:pt x="65122" y="349705"/>
                      </a:lnTo>
                      <a:lnTo>
                        <a:pt x="64430" y="349838"/>
                      </a:lnTo>
                      <a:lnTo>
                        <a:pt x="63775" y="350130"/>
                      </a:lnTo>
                      <a:lnTo>
                        <a:pt x="62524" y="350700"/>
                      </a:lnTo>
                      <a:lnTo>
                        <a:pt x="61273" y="351271"/>
                      </a:lnTo>
                      <a:lnTo>
                        <a:pt x="60387" y="352315"/>
                      </a:lnTo>
                      <a:lnTo>
                        <a:pt x="59537" y="353323"/>
                      </a:lnTo>
                      <a:lnTo>
                        <a:pt x="58796" y="354197"/>
                      </a:lnTo>
                      <a:lnTo>
                        <a:pt x="58432" y="355290"/>
                      </a:lnTo>
                      <a:lnTo>
                        <a:pt x="57800" y="357148"/>
                      </a:lnTo>
                      <a:lnTo>
                        <a:pt x="57339" y="358520"/>
                      </a:lnTo>
                      <a:lnTo>
                        <a:pt x="57545" y="359941"/>
                      </a:lnTo>
                      <a:lnTo>
                        <a:pt x="57764" y="361435"/>
                      </a:lnTo>
                      <a:lnTo>
                        <a:pt x="57910" y="362442"/>
                      </a:lnTo>
                      <a:lnTo>
                        <a:pt x="58383" y="363341"/>
                      </a:lnTo>
                      <a:lnTo>
                        <a:pt x="59136" y="364810"/>
                      </a:lnTo>
                      <a:lnTo>
                        <a:pt x="59682" y="365891"/>
                      </a:lnTo>
                      <a:lnTo>
                        <a:pt x="60605" y="366668"/>
                      </a:lnTo>
                      <a:lnTo>
                        <a:pt x="66094" y="371331"/>
                      </a:lnTo>
                      <a:lnTo>
                        <a:pt x="66895" y="372387"/>
                      </a:lnTo>
                      <a:lnTo>
                        <a:pt x="67940" y="374646"/>
                      </a:lnTo>
                      <a:lnTo>
                        <a:pt x="69567" y="379698"/>
                      </a:lnTo>
                      <a:lnTo>
                        <a:pt x="70308" y="384871"/>
                      </a:lnTo>
                      <a:lnTo>
                        <a:pt x="70380" y="386376"/>
                      </a:lnTo>
                      <a:lnTo>
                        <a:pt x="70380" y="386401"/>
                      </a:lnTo>
                      <a:lnTo>
                        <a:pt x="59986" y="396249"/>
                      </a:lnTo>
                      <a:lnTo>
                        <a:pt x="58930" y="397001"/>
                      </a:lnTo>
                      <a:lnTo>
                        <a:pt x="57825" y="397536"/>
                      </a:lnTo>
                      <a:lnTo>
                        <a:pt x="56343" y="398070"/>
                      </a:lnTo>
                      <a:lnTo>
                        <a:pt x="56015" y="398191"/>
                      </a:lnTo>
                      <a:lnTo>
                        <a:pt x="55700" y="398361"/>
                      </a:lnTo>
                      <a:lnTo>
                        <a:pt x="54437" y="398993"/>
                      </a:lnTo>
                      <a:lnTo>
                        <a:pt x="53720" y="399345"/>
                      </a:lnTo>
                      <a:lnTo>
                        <a:pt x="53125" y="399867"/>
                      </a:lnTo>
                      <a:lnTo>
                        <a:pt x="51692" y="401130"/>
                      </a:lnTo>
                      <a:lnTo>
                        <a:pt x="51182" y="401591"/>
                      </a:lnTo>
                      <a:lnTo>
                        <a:pt x="50782" y="402138"/>
                      </a:lnTo>
                      <a:lnTo>
                        <a:pt x="49288" y="404226"/>
                      </a:lnTo>
                      <a:lnTo>
                        <a:pt x="48936" y="404712"/>
                      </a:lnTo>
                      <a:lnTo>
                        <a:pt x="48693" y="405246"/>
                      </a:lnTo>
                      <a:lnTo>
                        <a:pt x="47552" y="407748"/>
                      </a:lnTo>
                      <a:lnTo>
                        <a:pt x="47297" y="408294"/>
                      </a:lnTo>
                      <a:lnTo>
                        <a:pt x="47163" y="408877"/>
                      </a:lnTo>
                      <a:lnTo>
                        <a:pt x="46884" y="410055"/>
                      </a:lnTo>
                      <a:lnTo>
                        <a:pt x="46714" y="410747"/>
                      </a:lnTo>
                      <a:lnTo>
                        <a:pt x="46714" y="411464"/>
                      </a:lnTo>
                      <a:lnTo>
                        <a:pt x="46714" y="412131"/>
                      </a:lnTo>
                      <a:lnTo>
                        <a:pt x="46714" y="414171"/>
                      </a:lnTo>
                      <a:lnTo>
                        <a:pt x="47940" y="415799"/>
                      </a:lnTo>
                      <a:lnTo>
                        <a:pt x="48329" y="416308"/>
                      </a:lnTo>
                      <a:lnTo>
                        <a:pt x="49494" y="417620"/>
                      </a:lnTo>
                      <a:lnTo>
                        <a:pt x="49713" y="417863"/>
                      </a:lnTo>
                      <a:lnTo>
                        <a:pt x="49956" y="418093"/>
                      </a:lnTo>
                      <a:lnTo>
                        <a:pt x="52020" y="419915"/>
                      </a:lnTo>
                      <a:lnTo>
                        <a:pt x="52554" y="420571"/>
                      </a:lnTo>
                      <a:lnTo>
                        <a:pt x="52640" y="420729"/>
                      </a:lnTo>
                      <a:lnTo>
                        <a:pt x="46835" y="423121"/>
                      </a:lnTo>
                      <a:lnTo>
                        <a:pt x="46374" y="423315"/>
                      </a:lnTo>
                      <a:lnTo>
                        <a:pt x="45961" y="423570"/>
                      </a:lnTo>
                      <a:lnTo>
                        <a:pt x="44006" y="424784"/>
                      </a:lnTo>
                      <a:lnTo>
                        <a:pt x="43314" y="425209"/>
                      </a:lnTo>
                      <a:lnTo>
                        <a:pt x="42755" y="425804"/>
                      </a:lnTo>
                      <a:lnTo>
                        <a:pt x="41505" y="427140"/>
                      </a:lnTo>
                      <a:lnTo>
                        <a:pt x="40825" y="427868"/>
                      </a:lnTo>
                      <a:lnTo>
                        <a:pt x="40412" y="428767"/>
                      </a:lnTo>
                      <a:lnTo>
                        <a:pt x="38566" y="432823"/>
                      </a:lnTo>
                      <a:lnTo>
                        <a:pt x="33636" y="439380"/>
                      </a:lnTo>
                      <a:lnTo>
                        <a:pt x="33381" y="439708"/>
                      </a:lnTo>
                      <a:lnTo>
                        <a:pt x="33186" y="440060"/>
                      </a:lnTo>
                      <a:lnTo>
                        <a:pt x="30819" y="444286"/>
                      </a:lnTo>
                      <a:lnTo>
                        <a:pt x="29070" y="447407"/>
                      </a:lnTo>
                      <a:lnTo>
                        <a:pt x="30952" y="450455"/>
                      </a:lnTo>
                      <a:lnTo>
                        <a:pt x="33138" y="453988"/>
                      </a:lnTo>
                      <a:lnTo>
                        <a:pt x="34170" y="455652"/>
                      </a:lnTo>
                      <a:lnTo>
                        <a:pt x="35979" y="456404"/>
                      </a:lnTo>
                      <a:lnTo>
                        <a:pt x="41990" y="458882"/>
                      </a:lnTo>
                      <a:lnTo>
                        <a:pt x="43775" y="459865"/>
                      </a:lnTo>
                      <a:lnTo>
                        <a:pt x="46252" y="461723"/>
                      </a:lnTo>
                      <a:lnTo>
                        <a:pt x="46774" y="462112"/>
                      </a:lnTo>
                      <a:lnTo>
                        <a:pt x="47357" y="462379"/>
                      </a:lnTo>
                      <a:lnTo>
                        <a:pt x="48851" y="463071"/>
                      </a:lnTo>
                      <a:lnTo>
                        <a:pt x="49689" y="463448"/>
                      </a:lnTo>
                      <a:lnTo>
                        <a:pt x="50600" y="463569"/>
                      </a:lnTo>
                      <a:lnTo>
                        <a:pt x="52542" y="463824"/>
                      </a:lnTo>
                      <a:lnTo>
                        <a:pt x="53004" y="463897"/>
                      </a:lnTo>
                      <a:lnTo>
                        <a:pt x="53477" y="463884"/>
                      </a:lnTo>
                      <a:lnTo>
                        <a:pt x="54400" y="463860"/>
                      </a:lnTo>
                      <a:lnTo>
                        <a:pt x="54400" y="463860"/>
                      </a:lnTo>
                      <a:lnTo>
                        <a:pt x="55250" y="463860"/>
                      </a:lnTo>
                      <a:lnTo>
                        <a:pt x="58577" y="464285"/>
                      </a:lnTo>
                      <a:lnTo>
                        <a:pt x="59063" y="464358"/>
                      </a:lnTo>
                      <a:lnTo>
                        <a:pt x="59561" y="464346"/>
                      </a:lnTo>
                      <a:lnTo>
                        <a:pt x="61613" y="464285"/>
                      </a:lnTo>
                      <a:lnTo>
                        <a:pt x="61953" y="464273"/>
                      </a:lnTo>
                      <a:lnTo>
                        <a:pt x="62293" y="464225"/>
                      </a:lnTo>
                      <a:lnTo>
                        <a:pt x="63265" y="464079"/>
                      </a:lnTo>
                      <a:lnTo>
                        <a:pt x="63265" y="464091"/>
                      </a:lnTo>
                      <a:lnTo>
                        <a:pt x="63617" y="464042"/>
                      </a:lnTo>
                      <a:lnTo>
                        <a:pt x="63872" y="465087"/>
                      </a:lnTo>
                      <a:lnTo>
                        <a:pt x="65025" y="466277"/>
                      </a:lnTo>
                      <a:lnTo>
                        <a:pt x="65778" y="467054"/>
                      </a:lnTo>
                      <a:lnTo>
                        <a:pt x="66434" y="467734"/>
                      </a:lnTo>
                      <a:lnTo>
                        <a:pt x="67260" y="468183"/>
                      </a:lnTo>
                      <a:lnTo>
                        <a:pt x="68340" y="468766"/>
                      </a:lnTo>
                      <a:lnTo>
                        <a:pt x="69348" y="469300"/>
                      </a:lnTo>
                      <a:lnTo>
                        <a:pt x="69190" y="469337"/>
                      </a:lnTo>
                      <a:lnTo>
                        <a:pt x="68425" y="469774"/>
                      </a:lnTo>
                      <a:lnTo>
                        <a:pt x="66592" y="470806"/>
                      </a:lnTo>
                      <a:lnTo>
                        <a:pt x="65633" y="471340"/>
                      </a:lnTo>
                      <a:lnTo>
                        <a:pt x="64916" y="472178"/>
                      </a:lnTo>
                      <a:lnTo>
                        <a:pt x="63313" y="474073"/>
                      </a:lnTo>
                      <a:lnTo>
                        <a:pt x="62245" y="475335"/>
                      </a:lnTo>
                      <a:lnTo>
                        <a:pt x="61977" y="476987"/>
                      </a:lnTo>
                      <a:lnTo>
                        <a:pt x="61698" y="478723"/>
                      </a:lnTo>
                      <a:lnTo>
                        <a:pt x="61067" y="478845"/>
                      </a:lnTo>
                      <a:lnTo>
                        <a:pt x="59160" y="478966"/>
                      </a:lnTo>
                      <a:lnTo>
                        <a:pt x="57958" y="479039"/>
                      </a:lnTo>
                      <a:lnTo>
                        <a:pt x="56877" y="479561"/>
                      </a:lnTo>
                      <a:lnTo>
                        <a:pt x="54922" y="480508"/>
                      </a:lnTo>
                      <a:lnTo>
                        <a:pt x="53757" y="481079"/>
                      </a:lnTo>
                      <a:lnTo>
                        <a:pt x="52919" y="482075"/>
                      </a:lnTo>
                      <a:lnTo>
                        <a:pt x="51134" y="484200"/>
                      </a:lnTo>
                      <a:lnTo>
                        <a:pt x="50405" y="485050"/>
                      </a:lnTo>
                      <a:lnTo>
                        <a:pt x="50041" y="486106"/>
                      </a:lnTo>
                      <a:lnTo>
                        <a:pt x="48632" y="490174"/>
                      </a:lnTo>
                      <a:lnTo>
                        <a:pt x="46908" y="493465"/>
                      </a:lnTo>
                      <a:lnTo>
                        <a:pt x="24395" y="522414"/>
                      </a:lnTo>
                      <a:lnTo>
                        <a:pt x="23715" y="523276"/>
                      </a:lnTo>
                      <a:lnTo>
                        <a:pt x="23387" y="524320"/>
                      </a:lnTo>
                      <a:lnTo>
                        <a:pt x="21663" y="529845"/>
                      </a:lnTo>
                      <a:lnTo>
                        <a:pt x="21299" y="530999"/>
                      </a:lnTo>
                      <a:lnTo>
                        <a:pt x="21408" y="532201"/>
                      </a:lnTo>
                      <a:lnTo>
                        <a:pt x="21639" y="534799"/>
                      </a:lnTo>
                      <a:lnTo>
                        <a:pt x="21699" y="535540"/>
                      </a:lnTo>
                      <a:lnTo>
                        <a:pt x="21930" y="536232"/>
                      </a:lnTo>
                      <a:lnTo>
                        <a:pt x="22671" y="538418"/>
                      </a:lnTo>
                      <a:lnTo>
                        <a:pt x="23144" y="539778"/>
                      </a:lnTo>
                      <a:lnTo>
                        <a:pt x="24177" y="540798"/>
                      </a:lnTo>
                      <a:lnTo>
                        <a:pt x="25622" y="542207"/>
                      </a:lnTo>
                      <a:lnTo>
                        <a:pt x="26362" y="542935"/>
                      </a:lnTo>
                      <a:lnTo>
                        <a:pt x="27297" y="543372"/>
                      </a:lnTo>
                      <a:lnTo>
                        <a:pt x="29022" y="544174"/>
                      </a:lnTo>
                      <a:lnTo>
                        <a:pt x="29507" y="544404"/>
                      </a:lnTo>
                      <a:lnTo>
                        <a:pt x="30017" y="544538"/>
                      </a:lnTo>
                      <a:lnTo>
                        <a:pt x="33211" y="545400"/>
                      </a:lnTo>
                      <a:lnTo>
                        <a:pt x="33563" y="545546"/>
                      </a:lnTo>
                      <a:lnTo>
                        <a:pt x="34231" y="551168"/>
                      </a:lnTo>
                      <a:lnTo>
                        <a:pt x="34352" y="552176"/>
                      </a:lnTo>
                      <a:lnTo>
                        <a:pt x="34789" y="553087"/>
                      </a:lnTo>
                      <a:lnTo>
                        <a:pt x="36234" y="556074"/>
                      </a:lnTo>
                      <a:lnTo>
                        <a:pt x="40400" y="562971"/>
                      </a:lnTo>
                      <a:lnTo>
                        <a:pt x="40521" y="563809"/>
                      </a:lnTo>
                      <a:lnTo>
                        <a:pt x="40363" y="564416"/>
                      </a:lnTo>
                      <a:lnTo>
                        <a:pt x="38529" y="567197"/>
                      </a:lnTo>
                      <a:lnTo>
                        <a:pt x="38323" y="567500"/>
                      </a:lnTo>
                      <a:lnTo>
                        <a:pt x="38165" y="567816"/>
                      </a:lnTo>
                      <a:lnTo>
                        <a:pt x="36441" y="571265"/>
                      </a:lnTo>
                      <a:lnTo>
                        <a:pt x="36222" y="571690"/>
                      </a:lnTo>
                      <a:lnTo>
                        <a:pt x="36077" y="572151"/>
                      </a:lnTo>
                      <a:lnTo>
                        <a:pt x="34874" y="575964"/>
                      </a:lnTo>
                      <a:lnTo>
                        <a:pt x="34692" y="576547"/>
                      </a:lnTo>
                      <a:lnTo>
                        <a:pt x="34632" y="577154"/>
                      </a:lnTo>
                      <a:lnTo>
                        <a:pt x="34219" y="581052"/>
                      </a:lnTo>
                      <a:lnTo>
                        <a:pt x="34182" y="581392"/>
                      </a:lnTo>
                      <a:lnTo>
                        <a:pt x="34182" y="581732"/>
                      </a:lnTo>
                      <a:lnTo>
                        <a:pt x="34364" y="604269"/>
                      </a:lnTo>
                      <a:lnTo>
                        <a:pt x="34316" y="604318"/>
                      </a:lnTo>
                      <a:lnTo>
                        <a:pt x="33223" y="605435"/>
                      </a:lnTo>
                      <a:lnTo>
                        <a:pt x="32409" y="606261"/>
                      </a:lnTo>
                      <a:lnTo>
                        <a:pt x="31960" y="607341"/>
                      </a:lnTo>
                      <a:lnTo>
                        <a:pt x="31159" y="609260"/>
                      </a:lnTo>
                      <a:lnTo>
                        <a:pt x="30831" y="610025"/>
                      </a:lnTo>
                      <a:lnTo>
                        <a:pt x="30734" y="610863"/>
                      </a:lnTo>
                      <a:lnTo>
                        <a:pt x="29762" y="618926"/>
                      </a:lnTo>
                      <a:lnTo>
                        <a:pt x="29726" y="619278"/>
                      </a:lnTo>
                      <a:lnTo>
                        <a:pt x="29726" y="619642"/>
                      </a:lnTo>
                      <a:lnTo>
                        <a:pt x="29726" y="621864"/>
                      </a:lnTo>
                      <a:lnTo>
                        <a:pt x="29726" y="622459"/>
                      </a:lnTo>
                      <a:lnTo>
                        <a:pt x="29835" y="623042"/>
                      </a:lnTo>
                      <a:lnTo>
                        <a:pt x="30054" y="624159"/>
                      </a:lnTo>
                      <a:lnTo>
                        <a:pt x="30527" y="626563"/>
                      </a:lnTo>
                      <a:lnTo>
                        <a:pt x="32555" y="627972"/>
                      </a:lnTo>
                      <a:lnTo>
                        <a:pt x="33429" y="628579"/>
                      </a:lnTo>
                      <a:lnTo>
                        <a:pt x="33782" y="628798"/>
                      </a:lnTo>
                      <a:lnTo>
                        <a:pt x="32895" y="629660"/>
                      </a:lnTo>
                      <a:lnTo>
                        <a:pt x="32179" y="630376"/>
                      </a:lnTo>
                      <a:lnTo>
                        <a:pt x="31729" y="631275"/>
                      </a:lnTo>
                      <a:lnTo>
                        <a:pt x="30697" y="633351"/>
                      </a:lnTo>
                      <a:lnTo>
                        <a:pt x="30151" y="634456"/>
                      </a:lnTo>
                      <a:lnTo>
                        <a:pt x="30078" y="635683"/>
                      </a:lnTo>
                      <a:lnTo>
                        <a:pt x="30017" y="636630"/>
                      </a:lnTo>
                      <a:lnTo>
                        <a:pt x="29714" y="641439"/>
                      </a:lnTo>
                      <a:lnTo>
                        <a:pt x="34316" y="642823"/>
                      </a:lnTo>
                      <a:lnTo>
                        <a:pt x="34947" y="643017"/>
                      </a:lnTo>
                      <a:lnTo>
                        <a:pt x="34729" y="644037"/>
                      </a:lnTo>
                      <a:lnTo>
                        <a:pt x="34486" y="644754"/>
                      </a:lnTo>
                      <a:lnTo>
                        <a:pt x="31207" y="646029"/>
                      </a:lnTo>
                      <a:lnTo>
                        <a:pt x="30406" y="646344"/>
                      </a:lnTo>
                      <a:lnTo>
                        <a:pt x="29714" y="646879"/>
                      </a:lnTo>
                      <a:lnTo>
                        <a:pt x="28269" y="647996"/>
                      </a:lnTo>
                      <a:lnTo>
                        <a:pt x="27273" y="648761"/>
                      </a:lnTo>
                      <a:lnTo>
                        <a:pt x="26666" y="649866"/>
                      </a:lnTo>
                      <a:lnTo>
                        <a:pt x="25634" y="651736"/>
                      </a:lnTo>
                      <a:lnTo>
                        <a:pt x="24942" y="652999"/>
                      </a:lnTo>
                      <a:lnTo>
                        <a:pt x="24893" y="654432"/>
                      </a:lnTo>
                      <a:lnTo>
                        <a:pt x="24832" y="655901"/>
                      </a:lnTo>
                      <a:lnTo>
                        <a:pt x="24832" y="655913"/>
                      </a:lnTo>
                      <a:lnTo>
                        <a:pt x="24796" y="655950"/>
                      </a:lnTo>
                      <a:lnTo>
                        <a:pt x="20740" y="658196"/>
                      </a:lnTo>
                      <a:lnTo>
                        <a:pt x="20339" y="658415"/>
                      </a:lnTo>
                      <a:lnTo>
                        <a:pt x="19975" y="658694"/>
                      </a:lnTo>
                      <a:lnTo>
                        <a:pt x="14098" y="663211"/>
                      </a:lnTo>
                      <a:lnTo>
                        <a:pt x="7383" y="666890"/>
                      </a:lnTo>
                      <a:lnTo>
                        <a:pt x="6885" y="667158"/>
                      </a:lnTo>
                      <a:lnTo>
                        <a:pt x="6448" y="667510"/>
                      </a:lnTo>
                      <a:lnTo>
                        <a:pt x="3983" y="669525"/>
                      </a:lnTo>
                      <a:lnTo>
                        <a:pt x="3072" y="670266"/>
                      </a:lnTo>
                      <a:lnTo>
                        <a:pt x="2501" y="671298"/>
                      </a:lnTo>
                      <a:lnTo>
                        <a:pt x="1931" y="672330"/>
                      </a:lnTo>
                      <a:lnTo>
                        <a:pt x="0" y="675827"/>
                      </a:lnTo>
                      <a:lnTo>
                        <a:pt x="2465" y="678985"/>
                      </a:lnTo>
                      <a:lnTo>
                        <a:pt x="7577" y="685554"/>
                      </a:lnTo>
                      <a:lnTo>
                        <a:pt x="7808" y="685846"/>
                      </a:lnTo>
                      <a:lnTo>
                        <a:pt x="8075" y="686100"/>
                      </a:lnTo>
                      <a:lnTo>
                        <a:pt x="9738" y="687776"/>
                      </a:lnTo>
                      <a:lnTo>
                        <a:pt x="10904" y="688954"/>
                      </a:lnTo>
                      <a:lnTo>
                        <a:pt x="12507" y="689367"/>
                      </a:lnTo>
                      <a:lnTo>
                        <a:pt x="31341" y="694273"/>
                      </a:lnTo>
                      <a:lnTo>
                        <a:pt x="31778" y="694394"/>
                      </a:lnTo>
                      <a:lnTo>
                        <a:pt x="32227" y="694442"/>
                      </a:lnTo>
                      <a:lnTo>
                        <a:pt x="35202" y="694758"/>
                      </a:lnTo>
                      <a:lnTo>
                        <a:pt x="35615" y="694807"/>
                      </a:lnTo>
                      <a:lnTo>
                        <a:pt x="36028" y="694795"/>
                      </a:lnTo>
                      <a:lnTo>
                        <a:pt x="46920" y="694491"/>
                      </a:lnTo>
                      <a:lnTo>
                        <a:pt x="47394" y="694491"/>
                      </a:lnTo>
                      <a:lnTo>
                        <a:pt x="49786" y="694855"/>
                      </a:lnTo>
                      <a:lnTo>
                        <a:pt x="54400" y="696859"/>
                      </a:lnTo>
                      <a:lnTo>
                        <a:pt x="54983" y="698195"/>
                      </a:lnTo>
                      <a:lnTo>
                        <a:pt x="56197" y="699142"/>
                      </a:lnTo>
                      <a:lnTo>
                        <a:pt x="56343" y="699251"/>
                      </a:lnTo>
                      <a:lnTo>
                        <a:pt x="55954" y="699749"/>
                      </a:lnTo>
                      <a:lnTo>
                        <a:pt x="55068" y="700417"/>
                      </a:lnTo>
                      <a:lnTo>
                        <a:pt x="49895" y="703550"/>
                      </a:lnTo>
                      <a:lnTo>
                        <a:pt x="49349" y="703878"/>
                      </a:lnTo>
                      <a:lnTo>
                        <a:pt x="48875" y="704315"/>
                      </a:lnTo>
                      <a:lnTo>
                        <a:pt x="47855" y="705274"/>
                      </a:lnTo>
                      <a:lnTo>
                        <a:pt x="47212" y="705881"/>
                      </a:lnTo>
                      <a:lnTo>
                        <a:pt x="46762" y="706646"/>
                      </a:lnTo>
                      <a:lnTo>
                        <a:pt x="45779" y="708346"/>
                      </a:lnTo>
                      <a:lnTo>
                        <a:pt x="45257" y="709257"/>
                      </a:lnTo>
                      <a:lnTo>
                        <a:pt x="45062" y="710301"/>
                      </a:lnTo>
                      <a:lnTo>
                        <a:pt x="44674" y="712450"/>
                      </a:lnTo>
                      <a:lnTo>
                        <a:pt x="44540" y="713143"/>
                      </a:lnTo>
                      <a:lnTo>
                        <a:pt x="44577" y="713847"/>
                      </a:lnTo>
                      <a:lnTo>
                        <a:pt x="44820" y="718619"/>
                      </a:lnTo>
                      <a:lnTo>
                        <a:pt x="44662" y="719736"/>
                      </a:lnTo>
                      <a:lnTo>
                        <a:pt x="44103" y="721230"/>
                      </a:lnTo>
                      <a:lnTo>
                        <a:pt x="43957" y="721631"/>
                      </a:lnTo>
                      <a:lnTo>
                        <a:pt x="43860" y="722031"/>
                      </a:lnTo>
                      <a:lnTo>
                        <a:pt x="43180" y="725055"/>
                      </a:lnTo>
                      <a:lnTo>
                        <a:pt x="43071" y="725528"/>
                      </a:lnTo>
                      <a:lnTo>
                        <a:pt x="43047" y="726002"/>
                      </a:lnTo>
                      <a:lnTo>
                        <a:pt x="42804" y="729742"/>
                      </a:lnTo>
                      <a:lnTo>
                        <a:pt x="42767" y="730276"/>
                      </a:lnTo>
                      <a:lnTo>
                        <a:pt x="42828" y="730810"/>
                      </a:lnTo>
                      <a:lnTo>
                        <a:pt x="43945" y="740780"/>
                      </a:lnTo>
                      <a:lnTo>
                        <a:pt x="43945" y="743403"/>
                      </a:lnTo>
                      <a:lnTo>
                        <a:pt x="43314" y="747677"/>
                      </a:lnTo>
                      <a:lnTo>
                        <a:pt x="43265" y="748041"/>
                      </a:lnTo>
                      <a:lnTo>
                        <a:pt x="43253" y="748394"/>
                      </a:lnTo>
                      <a:lnTo>
                        <a:pt x="43132" y="752753"/>
                      </a:lnTo>
                      <a:lnTo>
                        <a:pt x="43569" y="760245"/>
                      </a:lnTo>
                      <a:lnTo>
                        <a:pt x="42962" y="761289"/>
                      </a:lnTo>
                      <a:cubicBezTo>
                        <a:pt x="42925" y="761350"/>
                        <a:pt x="42889" y="761423"/>
                        <a:pt x="42852" y="761484"/>
                      </a:cubicBezTo>
                      <a:lnTo>
                        <a:pt x="37400" y="770858"/>
                      </a:lnTo>
                      <a:lnTo>
                        <a:pt x="47965" y="770518"/>
                      </a:lnTo>
                      <a:lnTo>
                        <a:pt x="47285" y="773432"/>
                      </a:lnTo>
                      <a:lnTo>
                        <a:pt x="45864" y="779492"/>
                      </a:lnTo>
                      <a:lnTo>
                        <a:pt x="51947" y="780754"/>
                      </a:lnTo>
                      <a:lnTo>
                        <a:pt x="56137" y="781629"/>
                      </a:lnTo>
                      <a:lnTo>
                        <a:pt x="59634" y="782200"/>
                      </a:lnTo>
                      <a:lnTo>
                        <a:pt x="63933" y="782491"/>
                      </a:lnTo>
                      <a:lnTo>
                        <a:pt x="64613" y="782649"/>
                      </a:lnTo>
                      <a:lnTo>
                        <a:pt x="65742" y="783098"/>
                      </a:lnTo>
                      <a:lnTo>
                        <a:pt x="67357" y="783754"/>
                      </a:lnTo>
                      <a:lnTo>
                        <a:pt x="69081" y="783450"/>
                      </a:lnTo>
                      <a:lnTo>
                        <a:pt x="70380" y="783207"/>
                      </a:lnTo>
                      <a:lnTo>
                        <a:pt x="70769" y="783474"/>
                      </a:lnTo>
                      <a:lnTo>
                        <a:pt x="71315" y="784167"/>
                      </a:lnTo>
                      <a:lnTo>
                        <a:pt x="72918" y="786025"/>
                      </a:lnTo>
                      <a:lnTo>
                        <a:pt x="73671" y="786887"/>
                      </a:lnTo>
                      <a:lnTo>
                        <a:pt x="74691" y="787421"/>
                      </a:lnTo>
                      <a:lnTo>
                        <a:pt x="76282" y="788247"/>
                      </a:lnTo>
                      <a:lnTo>
                        <a:pt x="76998" y="788611"/>
                      </a:lnTo>
                      <a:lnTo>
                        <a:pt x="77776" y="788793"/>
                      </a:lnTo>
                      <a:lnTo>
                        <a:pt x="79755" y="789230"/>
                      </a:lnTo>
                      <a:lnTo>
                        <a:pt x="80083" y="789303"/>
                      </a:lnTo>
                      <a:lnTo>
                        <a:pt x="80423" y="789340"/>
                      </a:lnTo>
                      <a:lnTo>
                        <a:pt x="85073" y="789838"/>
                      </a:lnTo>
                      <a:lnTo>
                        <a:pt x="85887" y="789922"/>
                      </a:lnTo>
                      <a:lnTo>
                        <a:pt x="86688" y="789789"/>
                      </a:lnTo>
                      <a:lnTo>
                        <a:pt x="88352" y="789522"/>
                      </a:lnTo>
                      <a:lnTo>
                        <a:pt x="89845" y="789279"/>
                      </a:lnTo>
                      <a:lnTo>
                        <a:pt x="91048" y="788368"/>
                      </a:lnTo>
                      <a:lnTo>
                        <a:pt x="91813" y="787773"/>
                      </a:lnTo>
                      <a:lnTo>
                        <a:pt x="92056" y="787664"/>
                      </a:lnTo>
                      <a:lnTo>
                        <a:pt x="92201" y="787725"/>
                      </a:lnTo>
                      <a:lnTo>
                        <a:pt x="93076" y="788210"/>
                      </a:lnTo>
                      <a:lnTo>
                        <a:pt x="93780" y="788599"/>
                      </a:lnTo>
                      <a:lnTo>
                        <a:pt x="94557" y="788805"/>
                      </a:lnTo>
                      <a:lnTo>
                        <a:pt x="96536" y="789303"/>
                      </a:lnTo>
                      <a:lnTo>
                        <a:pt x="97496" y="789546"/>
                      </a:lnTo>
                      <a:lnTo>
                        <a:pt x="98491" y="789461"/>
                      </a:lnTo>
                      <a:lnTo>
                        <a:pt x="99184" y="789413"/>
                      </a:lnTo>
                      <a:lnTo>
                        <a:pt x="99778" y="789631"/>
                      </a:lnTo>
                      <a:lnTo>
                        <a:pt x="100896" y="790190"/>
                      </a:lnTo>
                      <a:lnTo>
                        <a:pt x="101454" y="790445"/>
                      </a:lnTo>
                      <a:lnTo>
                        <a:pt x="102049" y="790602"/>
                      </a:lnTo>
                      <a:lnTo>
                        <a:pt x="104101" y="791100"/>
                      </a:lnTo>
                      <a:lnTo>
                        <a:pt x="106299" y="791465"/>
                      </a:lnTo>
                      <a:lnTo>
                        <a:pt x="107307" y="791623"/>
                      </a:lnTo>
                      <a:lnTo>
                        <a:pt x="108315" y="791440"/>
                      </a:lnTo>
                      <a:lnTo>
                        <a:pt x="110185" y="791112"/>
                      </a:lnTo>
                      <a:lnTo>
                        <a:pt x="110549" y="791052"/>
                      </a:lnTo>
                      <a:lnTo>
                        <a:pt x="110901" y="790930"/>
                      </a:lnTo>
                      <a:lnTo>
                        <a:pt x="112516" y="790432"/>
                      </a:lnTo>
                      <a:lnTo>
                        <a:pt x="113196" y="790226"/>
                      </a:lnTo>
                      <a:lnTo>
                        <a:pt x="113804" y="789874"/>
                      </a:lnTo>
                      <a:lnTo>
                        <a:pt x="113852" y="789838"/>
                      </a:lnTo>
                      <a:lnTo>
                        <a:pt x="113974" y="789874"/>
                      </a:lnTo>
                      <a:lnTo>
                        <a:pt x="114872" y="789874"/>
                      </a:lnTo>
                      <a:lnTo>
                        <a:pt x="116803" y="789874"/>
                      </a:lnTo>
                      <a:lnTo>
                        <a:pt x="117750" y="789874"/>
                      </a:lnTo>
                      <a:lnTo>
                        <a:pt x="118649" y="789594"/>
                      </a:lnTo>
                      <a:lnTo>
                        <a:pt x="119693" y="789267"/>
                      </a:lnTo>
                      <a:lnTo>
                        <a:pt x="121745" y="788611"/>
                      </a:lnTo>
                      <a:lnTo>
                        <a:pt x="122923" y="786814"/>
                      </a:lnTo>
                      <a:lnTo>
                        <a:pt x="123251" y="786316"/>
                      </a:lnTo>
                      <a:lnTo>
                        <a:pt x="124453" y="786996"/>
                      </a:lnTo>
                      <a:lnTo>
                        <a:pt x="124793" y="787202"/>
                      </a:lnTo>
                      <a:lnTo>
                        <a:pt x="125157" y="787348"/>
                      </a:lnTo>
                      <a:lnTo>
                        <a:pt x="129092" y="788951"/>
                      </a:lnTo>
                      <a:lnTo>
                        <a:pt x="129869" y="789267"/>
                      </a:lnTo>
                      <a:lnTo>
                        <a:pt x="130694" y="789364"/>
                      </a:lnTo>
                      <a:lnTo>
                        <a:pt x="133621" y="789692"/>
                      </a:lnTo>
                      <a:lnTo>
                        <a:pt x="134155" y="789752"/>
                      </a:lnTo>
                      <a:lnTo>
                        <a:pt x="134689" y="789716"/>
                      </a:lnTo>
                      <a:lnTo>
                        <a:pt x="137446" y="789534"/>
                      </a:lnTo>
                      <a:lnTo>
                        <a:pt x="140251" y="791380"/>
                      </a:lnTo>
                      <a:lnTo>
                        <a:pt x="141186" y="791987"/>
                      </a:lnTo>
                      <a:lnTo>
                        <a:pt x="142267" y="792242"/>
                      </a:lnTo>
                      <a:lnTo>
                        <a:pt x="143809" y="792582"/>
                      </a:lnTo>
                      <a:lnTo>
                        <a:pt x="149030" y="793747"/>
                      </a:lnTo>
                      <a:lnTo>
                        <a:pt x="150099" y="790760"/>
                      </a:lnTo>
                      <a:lnTo>
                        <a:pt x="150172" y="790918"/>
                      </a:lnTo>
                      <a:lnTo>
                        <a:pt x="150512" y="791659"/>
                      </a:lnTo>
                      <a:lnTo>
                        <a:pt x="151034" y="792278"/>
                      </a:lnTo>
                      <a:lnTo>
                        <a:pt x="151957" y="793383"/>
                      </a:lnTo>
                      <a:lnTo>
                        <a:pt x="152843" y="794427"/>
                      </a:lnTo>
                      <a:lnTo>
                        <a:pt x="154082" y="794998"/>
                      </a:lnTo>
                      <a:lnTo>
                        <a:pt x="161100" y="798204"/>
                      </a:lnTo>
                      <a:lnTo>
                        <a:pt x="162084" y="798653"/>
                      </a:lnTo>
                      <a:lnTo>
                        <a:pt x="163152" y="798726"/>
                      </a:lnTo>
                      <a:lnTo>
                        <a:pt x="164695" y="798848"/>
                      </a:lnTo>
                      <a:lnTo>
                        <a:pt x="165775" y="798933"/>
                      </a:lnTo>
                      <a:lnTo>
                        <a:pt x="166808" y="798653"/>
                      </a:lnTo>
                      <a:lnTo>
                        <a:pt x="168738" y="798107"/>
                      </a:lnTo>
                      <a:lnTo>
                        <a:pt x="169746" y="797827"/>
                      </a:lnTo>
                      <a:lnTo>
                        <a:pt x="170596" y="797208"/>
                      </a:lnTo>
                      <a:lnTo>
                        <a:pt x="171932" y="796261"/>
                      </a:lnTo>
                      <a:lnTo>
                        <a:pt x="174154" y="794682"/>
                      </a:lnTo>
                      <a:lnTo>
                        <a:pt x="175429" y="794682"/>
                      </a:lnTo>
                      <a:lnTo>
                        <a:pt x="177979" y="794682"/>
                      </a:lnTo>
                      <a:lnTo>
                        <a:pt x="179764" y="792861"/>
                      </a:lnTo>
                      <a:lnTo>
                        <a:pt x="180529" y="792084"/>
                      </a:lnTo>
                      <a:lnTo>
                        <a:pt x="181937" y="790639"/>
                      </a:lnTo>
                      <a:lnTo>
                        <a:pt x="182205" y="788647"/>
                      </a:lnTo>
                      <a:lnTo>
                        <a:pt x="182387" y="787263"/>
                      </a:lnTo>
                      <a:lnTo>
                        <a:pt x="182460" y="787129"/>
                      </a:lnTo>
                      <a:lnTo>
                        <a:pt x="183128" y="786207"/>
                      </a:lnTo>
                      <a:lnTo>
                        <a:pt x="183686" y="785393"/>
                      </a:lnTo>
                      <a:lnTo>
                        <a:pt x="183953" y="784434"/>
                      </a:lnTo>
                      <a:lnTo>
                        <a:pt x="184390" y="782892"/>
                      </a:lnTo>
                      <a:lnTo>
                        <a:pt x="184755" y="781592"/>
                      </a:lnTo>
                      <a:lnTo>
                        <a:pt x="185398" y="781240"/>
                      </a:lnTo>
                      <a:lnTo>
                        <a:pt x="188920" y="780220"/>
                      </a:lnTo>
                      <a:lnTo>
                        <a:pt x="189588" y="780014"/>
                      </a:lnTo>
                      <a:lnTo>
                        <a:pt x="190195" y="779686"/>
                      </a:lnTo>
                      <a:lnTo>
                        <a:pt x="192077" y="778630"/>
                      </a:lnTo>
                      <a:lnTo>
                        <a:pt x="193425" y="777877"/>
                      </a:lnTo>
                      <a:lnTo>
                        <a:pt x="194251" y="776590"/>
                      </a:lnTo>
                      <a:lnTo>
                        <a:pt x="195185" y="775108"/>
                      </a:lnTo>
                      <a:lnTo>
                        <a:pt x="195938" y="773918"/>
                      </a:lnTo>
                      <a:lnTo>
                        <a:pt x="196096" y="772522"/>
                      </a:lnTo>
                      <a:lnTo>
                        <a:pt x="196266" y="770979"/>
                      </a:lnTo>
                      <a:lnTo>
                        <a:pt x="196788" y="768879"/>
                      </a:lnTo>
                      <a:lnTo>
                        <a:pt x="196801" y="768806"/>
                      </a:lnTo>
                      <a:lnTo>
                        <a:pt x="197104" y="768539"/>
                      </a:lnTo>
                      <a:lnTo>
                        <a:pt x="197529" y="766681"/>
                      </a:lnTo>
                      <a:lnTo>
                        <a:pt x="197748" y="765746"/>
                      </a:lnTo>
                      <a:lnTo>
                        <a:pt x="198828" y="763123"/>
                      </a:lnTo>
                      <a:lnTo>
                        <a:pt x="199411" y="761690"/>
                      </a:lnTo>
                      <a:lnTo>
                        <a:pt x="199265" y="760379"/>
                      </a:lnTo>
                      <a:lnTo>
                        <a:pt x="199460" y="760379"/>
                      </a:lnTo>
                      <a:lnTo>
                        <a:pt x="203868" y="760257"/>
                      </a:lnTo>
                      <a:lnTo>
                        <a:pt x="206478" y="760184"/>
                      </a:lnTo>
                      <a:lnTo>
                        <a:pt x="208227" y="758241"/>
                      </a:lnTo>
                      <a:lnTo>
                        <a:pt x="209611" y="756699"/>
                      </a:lnTo>
                      <a:lnTo>
                        <a:pt x="210559" y="755461"/>
                      </a:lnTo>
                      <a:lnTo>
                        <a:pt x="211445" y="755327"/>
                      </a:lnTo>
                      <a:lnTo>
                        <a:pt x="211991" y="755254"/>
                      </a:lnTo>
                      <a:lnTo>
                        <a:pt x="212513" y="755072"/>
                      </a:lnTo>
                      <a:lnTo>
                        <a:pt x="215646" y="754040"/>
                      </a:lnTo>
                      <a:lnTo>
                        <a:pt x="216715" y="753688"/>
                      </a:lnTo>
                      <a:lnTo>
                        <a:pt x="217589" y="752971"/>
                      </a:lnTo>
                      <a:lnTo>
                        <a:pt x="219666" y="751259"/>
                      </a:lnTo>
                      <a:lnTo>
                        <a:pt x="222106" y="750191"/>
                      </a:lnTo>
                      <a:lnTo>
                        <a:pt x="223503" y="749984"/>
                      </a:lnTo>
                      <a:lnTo>
                        <a:pt x="228129" y="750312"/>
                      </a:lnTo>
                      <a:lnTo>
                        <a:pt x="235755" y="751660"/>
                      </a:lnTo>
                      <a:lnTo>
                        <a:pt x="240078" y="753032"/>
                      </a:lnTo>
                      <a:lnTo>
                        <a:pt x="242191" y="753567"/>
                      </a:lnTo>
                      <a:lnTo>
                        <a:pt x="244316" y="754502"/>
                      </a:lnTo>
                      <a:lnTo>
                        <a:pt x="245555" y="755048"/>
                      </a:lnTo>
                      <a:lnTo>
                        <a:pt x="246902" y="755024"/>
                      </a:lnTo>
                      <a:lnTo>
                        <a:pt x="249222" y="754975"/>
                      </a:lnTo>
                      <a:lnTo>
                        <a:pt x="251128" y="754938"/>
                      </a:lnTo>
                      <a:lnTo>
                        <a:pt x="252670" y="753809"/>
                      </a:lnTo>
                      <a:lnTo>
                        <a:pt x="254103" y="752765"/>
                      </a:lnTo>
                      <a:lnTo>
                        <a:pt x="256313" y="750871"/>
                      </a:lnTo>
                      <a:lnTo>
                        <a:pt x="256568" y="750640"/>
                      </a:lnTo>
                      <a:lnTo>
                        <a:pt x="256799" y="750397"/>
                      </a:lnTo>
                      <a:lnTo>
                        <a:pt x="259543" y="747398"/>
                      </a:lnTo>
                      <a:lnTo>
                        <a:pt x="259689" y="747277"/>
                      </a:lnTo>
                      <a:lnTo>
                        <a:pt x="260320" y="747531"/>
                      </a:lnTo>
                      <a:lnTo>
                        <a:pt x="261401" y="748479"/>
                      </a:lnTo>
                      <a:lnTo>
                        <a:pt x="262773" y="749912"/>
                      </a:lnTo>
                      <a:lnTo>
                        <a:pt x="264473" y="752413"/>
                      </a:lnTo>
                      <a:lnTo>
                        <a:pt x="264716" y="752765"/>
                      </a:lnTo>
                      <a:lnTo>
                        <a:pt x="265007" y="753081"/>
                      </a:lnTo>
                      <a:lnTo>
                        <a:pt x="266222" y="754404"/>
                      </a:lnTo>
                      <a:lnTo>
                        <a:pt x="266574" y="754781"/>
                      </a:lnTo>
                      <a:lnTo>
                        <a:pt x="266987" y="755109"/>
                      </a:lnTo>
                      <a:lnTo>
                        <a:pt x="269124" y="756772"/>
                      </a:lnTo>
                      <a:lnTo>
                        <a:pt x="269561" y="757100"/>
                      </a:lnTo>
                      <a:lnTo>
                        <a:pt x="270047" y="757355"/>
                      </a:lnTo>
                      <a:lnTo>
                        <a:pt x="275135" y="760002"/>
                      </a:lnTo>
                      <a:lnTo>
                        <a:pt x="275657" y="760270"/>
                      </a:lnTo>
                      <a:lnTo>
                        <a:pt x="276228" y="760439"/>
                      </a:lnTo>
                      <a:lnTo>
                        <a:pt x="278498" y="761107"/>
                      </a:lnTo>
                      <a:lnTo>
                        <a:pt x="278863" y="761217"/>
                      </a:lnTo>
                      <a:lnTo>
                        <a:pt x="279239" y="761277"/>
                      </a:lnTo>
                      <a:lnTo>
                        <a:pt x="281668" y="761678"/>
                      </a:lnTo>
                      <a:lnTo>
                        <a:pt x="282153" y="761751"/>
                      </a:lnTo>
                      <a:lnTo>
                        <a:pt x="282639" y="761751"/>
                      </a:lnTo>
                      <a:lnTo>
                        <a:pt x="285444" y="761751"/>
                      </a:lnTo>
                      <a:lnTo>
                        <a:pt x="285833" y="761751"/>
                      </a:lnTo>
                      <a:lnTo>
                        <a:pt x="286221" y="761702"/>
                      </a:lnTo>
                      <a:lnTo>
                        <a:pt x="290155" y="761192"/>
                      </a:lnTo>
                      <a:lnTo>
                        <a:pt x="291418" y="761022"/>
                      </a:lnTo>
                      <a:lnTo>
                        <a:pt x="292511" y="760367"/>
                      </a:lnTo>
                      <a:lnTo>
                        <a:pt x="295328" y="758666"/>
                      </a:lnTo>
                      <a:lnTo>
                        <a:pt x="295632" y="758472"/>
                      </a:lnTo>
                      <a:lnTo>
                        <a:pt x="295899" y="758254"/>
                      </a:lnTo>
                      <a:lnTo>
                        <a:pt x="299263" y="755655"/>
                      </a:lnTo>
                      <a:lnTo>
                        <a:pt x="299688" y="755339"/>
                      </a:lnTo>
                      <a:lnTo>
                        <a:pt x="300052" y="754938"/>
                      </a:lnTo>
                      <a:lnTo>
                        <a:pt x="301108" y="753773"/>
                      </a:lnTo>
                      <a:lnTo>
                        <a:pt x="302918" y="751466"/>
                      </a:lnTo>
                      <a:lnTo>
                        <a:pt x="303173" y="751138"/>
                      </a:lnTo>
                      <a:lnTo>
                        <a:pt x="303379" y="750786"/>
                      </a:lnTo>
                      <a:lnTo>
                        <a:pt x="306099" y="746026"/>
                      </a:lnTo>
                      <a:lnTo>
                        <a:pt x="306293" y="745698"/>
                      </a:lnTo>
                      <a:lnTo>
                        <a:pt x="306439" y="745346"/>
                      </a:lnTo>
                      <a:lnTo>
                        <a:pt x="306451" y="745321"/>
                      </a:lnTo>
                      <a:lnTo>
                        <a:pt x="307095" y="745783"/>
                      </a:lnTo>
                      <a:lnTo>
                        <a:pt x="308503" y="746815"/>
                      </a:lnTo>
                      <a:lnTo>
                        <a:pt x="310252" y="746936"/>
                      </a:lnTo>
                      <a:lnTo>
                        <a:pt x="312499" y="747094"/>
                      </a:lnTo>
                      <a:lnTo>
                        <a:pt x="314879" y="747264"/>
                      </a:lnTo>
                      <a:lnTo>
                        <a:pt x="316736" y="745759"/>
                      </a:lnTo>
                      <a:lnTo>
                        <a:pt x="318509" y="744326"/>
                      </a:lnTo>
                      <a:lnTo>
                        <a:pt x="319189" y="743767"/>
                      </a:lnTo>
                      <a:lnTo>
                        <a:pt x="319687" y="743039"/>
                      </a:lnTo>
                      <a:lnTo>
                        <a:pt x="319979" y="742626"/>
                      </a:lnTo>
                      <a:lnTo>
                        <a:pt x="320513" y="742018"/>
                      </a:lnTo>
                      <a:lnTo>
                        <a:pt x="321023" y="741448"/>
                      </a:lnTo>
                      <a:lnTo>
                        <a:pt x="321363" y="740768"/>
                      </a:lnTo>
                      <a:lnTo>
                        <a:pt x="322188" y="739165"/>
                      </a:lnTo>
                      <a:lnTo>
                        <a:pt x="322966" y="737647"/>
                      </a:lnTo>
                      <a:lnTo>
                        <a:pt x="322844" y="735947"/>
                      </a:lnTo>
                      <a:lnTo>
                        <a:pt x="322674" y="733676"/>
                      </a:lnTo>
                      <a:lnTo>
                        <a:pt x="322589" y="732523"/>
                      </a:lnTo>
                      <a:lnTo>
                        <a:pt x="322091" y="731490"/>
                      </a:lnTo>
                      <a:lnTo>
                        <a:pt x="319808" y="726719"/>
                      </a:lnTo>
                      <a:lnTo>
                        <a:pt x="319808" y="726706"/>
                      </a:lnTo>
                      <a:lnTo>
                        <a:pt x="320513" y="726245"/>
                      </a:lnTo>
                      <a:lnTo>
                        <a:pt x="323075" y="724970"/>
                      </a:lnTo>
                      <a:lnTo>
                        <a:pt x="326038" y="723768"/>
                      </a:lnTo>
                      <a:lnTo>
                        <a:pt x="329195" y="722760"/>
                      </a:lnTo>
                      <a:lnTo>
                        <a:pt x="332073" y="721679"/>
                      </a:lnTo>
                      <a:lnTo>
                        <a:pt x="332789" y="721412"/>
                      </a:lnTo>
                      <a:lnTo>
                        <a:pt x="333409" y="720975"/>
                      </a:lnTo>
                      <a:lnTo>
                        <a:pt x="336092" y="719081"/>
                      </a:lnTo>
                      <a:lnTo>
                        <a:pt x="336687" y="718850"/>
                      </a:lnTo>
                      <a:lnTo>
                        <a:pt x="337391" y="718728"/>
                      </a:lnTo>
                      <a:lnTo>
                        <a:pt x="338351" y="718814"/>
                      </a:lnTo>
                      <a:lnTo>
                        <a:pt x="340087" y="719214"/>
                      </a:lnTo>
                      <a:lnTo>
                        <a:pt x="342407" y="719930"/>
                      </a:lnTo>
                      <a:lnTo>
                        <a:pt x="343244" y="720185"/>
                      </a:lnTo>
                      <a:lnTo>
                        <a:pt x="344131" y="720185"/>
                      </a:lnTo>
                      <a:lnTo>
                        <a:pt x="353687" y="720234"/>
                      </a:lnTo>
                      <a:lnTo>
                        <a:pt x="354064" y="720538"/>
                      </a:lnTo>
                      <a:lnTo>
                        <a:pt x="354537" y="720914"/>
                      </a:lnTo>
                      <a:lnTo>
                        <a:pt x="355072" y="721193"/>
                      </a:lnTo>
                      <a:lnTo>
                        <a:pt x="356735" y="722068"/>
                      </a:lnTo>
                      <a:lnTo>
                        <a:pt x="357051" y="722238"/>
                      </a:lnTo>
                      <a:lnTo>
                        <a:pt x="357379" y="722371"/>
                      </a:lnTo>
                      <a:lnTo>
                        <a:pt x="359540" y="723197"/>
                      </a:lnTo>
                      <a:lnTo>
                        <a:pt x="359929" y="723355"/>
                      </a:lnTo>
                      <a:lnTo>
                        <a:pt x="360342" y="723452"/>
                      </a:lnTo>
                      <a:lnTo>
                        <a:pt x="362928" y="724059"/>
                      </a:lnTo>
                      <a:lnTo>
                        <a:pt x="364689" y="724460"/>
                      </a:lnTo>
                      <a:lnTo>
                        <a:pt x="366389" y="723841"/>
                      </a:lnTo>
                      <a:lnTo>
                        <a:pt x="369267" y="722796"/>
                      </a:lnTo>
                      <a:lnTo>
                        <a:pt x="369667" y="722650"/>
                      </a:lnTo>
                      <a:lnTo>
                        <a:pt x="370044" y="722444"/>
                      </a:lnTo>
                      <a:lnTo>
                        <a:pt x="372970" y="720890"/>
                      </a:lnTo>
                      <a:lnTo>
                        <a:pt x="373529" y="720599"/>
                      </a:lnTo>
                      <a:lnTo>
                        <a:pt x="374015" y="720198"/>
                      </a:lnTo>
                      <a:lnTo>
                        <a:pt x="376055" y="718486"/>
                      </a:lnTo>
                      <a:lnTo>
                        <a:pt x="376832" y="717830"/>
                      </a:lnTo>
                      <a:lnTo>
                        <a:pt x="377354" y="716955"/>
                      </a:lnTo>
                      <a:lnTo>
                        <a:pt x="378580" y="714915"/>
                      </a:lnTo>
                      <a:lnTo>
                        <a:pt x="379297" y="713713"/>
                      </a:lnTo>
                      <a:lnTo>
                        <a:pt x="379430" y="712341"/>
                      </a:lnTo>
                      <a:lnTo>
                        <a:pt x="380305" y="702724"/>
                      </a:lnTo>
                      <a:lnTo>
                        <a:pt x="380341" y="702299"/>
                      </a:lnTo>
                      <a:lnTo>
                        <a:pt x="380329" y="701886"/>
                      </a:lnTo>
                      <a:lnTo>
                        <a:pt x="380001" y="694928"/>
                      </a:lnTo>
                      <a:lnTo>
                        <a:pt x="379965" y="694066"/>
                      </a:lnTo>
                      <a:lnTo>
                        <a:pt x="379685" y="693253"/>
                      </a:lnTo>
                      <a:lnTo>
                        <a:pt x="378799" y="690666"/>
                      </a:lnTo>
                      <a:lnTo>
                        <a:pt x="378386" y="689452"/>
                      </a:lnTo>
                      <a:lnTo>
                        <a:pt x="377512" y="688505"/>
                      </a:lnTo>
                      <a:lnTo>
                        <a:pt x="377257" y="688238"/>
                      </a:lnTo>
                      <a:lnTo>
                        <a:pt x="377245" y="687825"/>
                      </a:lnTo>
                      <a:lnTo>
                        <a:pt x="377147" y="684522"/>
                      </a:lnTo>
                      <a:lnTo>
                        <a:pt x="377548" y="680660"/>
                      </a:lnTo>
                      <a:lnTo>
                        <a:pt x="378119" y="677637"/>
                      </a:lnTo>
                      <a:lnTo>
                        <a:pt x="378289" y="677272"/>
                      </a:lnTo>
                      <a:lnTo>
                        <a:pt x="378556" y="677114"/>
                      </a:lnTo>
                      <a:lnTo>
                        <a:pt x="381883" y="675160"/>
                      </a:lnTo>
                      <a:lnTo>
                        <a:pt x="381531" y="671322"/>
                      </a:lnTo>
                      <a:lnTo>
                        <a:pt x="381312" y="669003"/>
                      </a:lnTo>
                      <a:lnTo>
                        <a:pt x="381240" y="668202"/>
                      </a:lnTo>
                      <a:lnTo>
                        <a:pt x="380960" y="667449"/>
                      </a:lnTo>
                      <a:lnTo>
                        <a:pt x="380183" y="665360"/>
                      </a:lnTo>
                      <a:lnTo>
                        <a:pt x="379952" y="664765"/>
                      </a:lnTo>
                      <a:lnTo>
                        <a:pt x="379612" y="664231"/>
                      </a:lnTo>
                      <a:lnTo>
                        <a:pt x="379358" y="663891"/>
                      </a:lnTo>
                      <a:lnTo>
                        <a:pt x="379358" y="663830"/>
                      </a:lnTo>
                      <a:lnTo>
                        <a:pt x="379370" y="663806"/>
                      </a:lnTo>
                      <a:lnTo>
                        <a:pt x="384057" y="659471"/>
                      </a:lnTo>
                      <a:lnTo>
                        <a:pt x="385174" y="658439"/>
                      </a:lnTo>
                      <a:lnTo>
                        <a:pt x="385599" y="657237"/>
                      </a:lnTo>
                      <a:lnTo>
                        <a:pt x="387347" y="656969"/>
                      </a:lnTo>
                      <a:lnTo>
                        <a:pt x="387858" y="656884"/>
                      </a:lnTo>
                      <a:lnTo>
                        <a:pt x="388343" y="656714"/>
                      </a:lnTo>
                      <a:lnTo>
                        <a:pt x="392642" y="655233"/>
                      </a:lnTo>
                      <a:lnTo>
                        <a:pt x="394415" y="654857"/>
                      </a:lnTo>
                      <a:lnTo>
                        <a:pt x="396248" y="654723"/>
                      </a:lnTo>
                      <a:lnTo>
                        <a:pt x="406558" y="654565"/>
                      </a:lnTo>
                      <a:lnTo>
                        <a:pt x="411476" y="654091"/>
                      </a:lnTo>
                      <a:lnTo>
                        <a:pt x="412374" y="654007"/>
                      </a:lnTo>
                      <a:lnTo>
                        <a:pt x="413200" y="653666"/>
                      </a:lnTo>
                      <a:lnTo>
                        <a:pt x="414694" y="653047"/>
                      </a:lnTo>
                      <a:lnTo>
                        <a:pt x="415701" y="652634"/>
                      </a:lnTo>
                      <a:lnTo>
                        <a:pt x="416491" y="651894"/>
                      </a:lnTo>
                      <a:lnTo>
                        <a:pt x="418154" y="650352"/>
                      </a:lnTo>
                      <a:lnTo>
                        <a:pt x="419004" y="649575"/>
                      </a:lnTo>
                      <a:lnTo>
                        <a:pt x="419502" y="648542"/>
                      </a:lnTo>
                      <a:lnTo>
                        <a:pt x="420012" y="647486"/>
                      </a:lnTo>
                      <a:lnTo>
                        <a:pt x="421858" y="646539"/>
                      </a:lnTo>
                      <a:lnTo>
                        <a:pt x="426035" y="644681"/>
                      </a:lnTo>
                      <a:lnTo>
                        <a:pt x="427274" y="644414"/>
                      </a:lnTo>
                      <a:lnTo>
                        <a:pt x="430856" y="644766"/>
                      </a:lnTo>
                      <a:lnTo>
                        <a:pt x="431706" y="644851"/>
                      </a:lnTo>
                      <a:lnTo>
                        <a:pt x="432543" y="644681"/>
                      </a:lnTo>
                      <a:lnTo>
                        <a:pt x="435798" y="644074"/>
                      </a:lnTo>
                      <a:lnTo>
                        <a:pt x="436308" y="643976"/>
                      </a:lnTo>
                      <a:lnTo>
                        <a:pt x="436794" y="643807"/>
                      </a:lnTo>
                      <a:lnTo>
                        <a:pt x="438566" y="643151"/>
                      </a:lnTo>
                      <a:lnTo>
                        <a:pt x="438943" y="643005"/>
                      </a:lnTo>
                      <a:lnTo>
                        <a:pt x="439307" y="642799"/>
                      </a:lnTo>
                      <a:lnTo>
                        <a:pt x="441299" y="641742"/>
                      </a:lnTo>
                      <a:lnTo>
                        <a:pt x="441626" y="641572"/>
                      </a:lnTo>
                      <a:lnTo>
                        <a:pt x="441930" y="641354"/>
                      </a:lnTo>
                      <a:lnTo>
                        <a:pt x="444079" y="639860"/>
                      </a:lnTo>
                      <a:lnTo>
                        <a:pt x="444334" y="639678"/>
                      </a:lnTo>
                      <a:lnTo>
                        <a:pt x="444577" y="639483"/>
                      </a:lnTo>
                      <a:lnTo>
                        <a:pt x="445755" y="638464"/>
                      </a:lnTo>
                      <a:lnTo>
                        <a:pt x="445986" y="638451"/>
                      </a:lnTo>
                      <a:lnTo>
                        <a:pt x="448135" y="638949"/>
                      </a:lnTo>
                      <a:lnTo>
                        <a:pt x="449070" y="639180"/>
                      </a:lnTo>
                      <a:lnTo>
                        <a:pt x="450017" y="639095"/>
                      </a:lnTo>
                      <a:lnTo>
                        <a:pt x="452774" y="638864"/>
                      </a:lnTo>
                      <a:lnTo>
                        <a:pt x="455882" y="638609"/>
                      </a:lnTo>
                      <a:lnTo>
                        <a:pt x="457485" y="635926"/>
                      </a:lnTo>
                      <a:lnTo>
                        <a:pt x="458311" y="634566"/>
                      </a:lnTo>
                      <a:lnTo>
                        <a:pt x="459282" y="633789"/>
                      </a:lnTo>
                      <a:lnTo>
                        <a:pt x="460278" y="633351"/>
                      </a:lnTo>
                      <a:lnTo>
                        <a:pt x="466556" y="632975"/>
                      </a:lnTo>
                      <a:lnTo>
                        <a:pt x="467782" y="632902"/>
                      </a:lnTo>
                      <a:lnTo>
                        <a:pt x="468887" y="632356"/>
                      </a:lnTo>
                      <a:lnTo>
                        <a:pt x="470988" y="631311"/>
                      </a:lnTo>
                      <a:lnTo>
                        <a:pt x="472299" y="630656"/>
                      </a:lnTo>
                      <a:lnTo>
                        <a:pt x="473174" y="629466"/>
                      </a:lnTo>
                      <a:lnTo>
                        <a:pt x="474837" y="627207"/>
                      </a:lnTo>
                      <a:lnTo>
                        <a:pt x="477703" y="630996"/>
                      </a:lnTo>
                      <a:lnTo>
                        <a:pt x="479695" y="633631"/>
                      </a:lnTo>
                      <a:lnTo>
                        <a:pt x="482985" y="633388"/>
                      </a:lnTo>
                      <a:lnTo>
                        <a:pt x="485912" y="633169"/>
                      </a:lnTo>
                      <a:lnTo>
                        <a:pt x="486495" y="633121"/>
                      </a:lnTo>
                      <a:lnTo>
                        <a:pt x="487065" y="632963"/>
                      </a:lnTo>
                      <a:lnTo>
                        <a:pt x="489919" y="632186"/>
                      </a:lnTo>
                      <a:lnTo>
                        <a:pt x="490186" y="632647"/>
                      </a:lnTo>
                      <a:lnTo>
                        <a:pt x="491923" y="637298"/>
                      </a:lnTo>
                      <a:lnTo>
                        <a:pt x="492347" y="638439"/>
                      </a:lnTo>
                      <a:lnTo>
                        <a:pt x="493173" y="639326"/>
                      </a:lnTo>
                      <a:lnTo>
                        <a:pt x="495286" y="641596"/>
                      </a:lnTo>
                      <a:lnTo>
                        <a:pt x="496197" y="642556"/>
                      </a:lnTo>
                      <a:lnTo>
                        <a:pt x="497423" y="643066"/>
                      </a:lnTo>
                      <a:lnTo>
                        <a:pt x="499573" y="643940"/>
                      </a:lnTo>
                      <a:lnTo>
                        <a:pt x="499913" y="644086"/>
                      </a:lnTo>
                      <a:lnTo>
                        <a:pt x="500265" y="644183"/>
                      </a:lnTo>
                      <a:lnTo>
                        <a:pt x="502086" y="644681"/>
                      </a:lnTo>
                      <a:lnTo>
                        <a:pt x="503191" y="644972"/>
                      </a:lnTo>
                      <a:lnTo>
                        <a:pt x="504333" y="644851"/>
                      </a:lnTo>
                      <a:lnTo>
                        <a:pt x="507866" y="644474"/>
                      </a:lnTo>
                      <a:lnTo>
                        <a:pt x="509263" y="644329"/>
                      </a:lnTo>
                      <a:lnTo>
                        <a:pt x="510441" y="643576"/>
                      </a:lnTo>
                      <a:lnTo>
                        <a:pt x="513355" y="641754"/>
                      </a:lnTo>
                      <a:lnTo>
                        <a:pt x="514193" y="641232"/>
                      </a:lnTo>
                      <a:lnTo>
                        <a:pt x="514824" y="640467"/>
                      </a:lnTo>
                      <a:lnTo>
                        <a:pt x="517605" y="637091"/>
                      </a:lnTo>
                      <a:lnTo>
                        <a:pt x="517957" y="636666"/>
                      </a:lnTo>
                      <a:lnTo>
                        <a:pt x="518224" y="636181"/>
                      </a:lnTo>
                      <a:lnTo>
                        <a:pt x="521284" y="630643"/>
                      </a:lnTo>
                      <a:lnTo>
                        <a:pt x="522243" y="629660"/>
                      </a:lnTo>
                      <a:lnTo>
                        <a:pt x="524344" y="628324"/>
                      </a:lnTo>
                      <a:lnTo>
                        <a:pt x="524976" y="627923"/>
                      </a:lnTo>
                      <a:lnTo>
                        <a:pt x="525486" y="627377"/>
                      </a:lnTo>
                      <a:lnTo>
                        <a:pt x="526688" y="626114"/>
                      </a:lnTo>
                      <a:lnTo>
                        <a:pt x="526979" y="625811"/>
                      </a:lnTo>
                      <a:lnTo>
                        <a:pt x="527234" y="625471"/>
                      </a:lnTo>
                      <a:lnTo>
                        <a:pt x="528485" y="623710"/>
                      </a:lnTo>
                      <a:lnTo>
                        <a:pt x="529772" y="622714"/>
                      </a:lnTo>
                      <a:lnTo>
                        <a:pt x="530355" y="622265"/>
                      </a:lnTo>
                      <a:lnTo>
                        <a:pt x="530816" y="621670"/>
                      </a:lnTo>
                      <a:lnTo>
                        <a:pt x="531642" y="620626"/>
                      </a:lnTo>
                      <a:lnTo>
                        <a:pt x="532650" y="619351"/>
                      </a:lnTo>
                      <a:lnTo>
                        <a:pt x="532881" y="617723"/>
                      </a:lnTo>
                      <a:lnTo>
                        <a:pt x="533427" y="613862"/>
                      </a:lnTo>
                      <a:lnTo>
                        <a:pt x="533986" y="612890"/>
                      </a:lnTo>
                      <a:lnTo>
                        <a:pt x="534289" y="612368"/>
                      </a:lnTo>
                      <a:lnTo>
                        <a:pt x="534483" y="611798"/>
                      </a:lnTo>
                      <a:lnTo>
                        <a:pt x="535819" y="607827"/>
                      </a:lnTo>
                      <a:lnTo>
                        <a:pt x="536572" y="606030"/>
                      </a:lnTo>
                      <a:lnTo>
                        <a:pt x="538782" y="600638"/>
                      </a:lnTo>
                      <a:lnTo>
                        <a:pt x="533463" y="598210"/>
                      </a:lnTo>
                      <a:lnTo>
                        <a:pt x="530440" y="596838"/>
                      </a:lnTo>
                      <a:lnTo>
                        <a:pt x="530440" y="596242"/>
                      </a:lnTo>
                      <a:lnTo>
                        <a:pt x="530161" y="595356"/>
                      </a:lnTo>
                      <a:lnTo>
                        <a:pt x="529881" y="594470"/>
                      </a:lnTo>
                      <a:lnTo>
                        <a:pt x="528594" y="590341"/>
                      </a:lnTo>
                      <a:lnTo>
                        <a:pt x="524441" y="590220"/>
                      </a:lnTo>
                      <a:lnTo>
                        <a:pt x="525024" y="588835"/>
                      </a:lnTo>
                      <a:lnTo>
                        <a:pt x="525874" y="587706"/>
                      </a:lnTo>
                      <a:lnTo>
                        <a:pt x="527283" y="586467"/>
                      </a:lnTo>
                      <a:lnTo>
                        <a:pt x="527538" y="586237"/>
                      </a:lnTo>
                      <a:lnTo>
                        <a:pt x="527769" y="585982"/>
                      </a:lnTo>
                      <a:lnTo>
                        <a:pt x="529371" y="584209"/>
                      </a:lnTo>
                      <a:lnTo>
                        <a:pt x="530294" y="583189"/>
                      </a:lnTo>
                      <a:lnTo>
                        <a:pt x="530683" y="581890"/>
                      </a:lnTo>
                      <a:lnTo>
                        <a:pt x="530974" y="580930"/>
                      </a:lnTo>
                      <a:lnTo>
                        <a:pt x="533330" y="581064"/>
                      </a:lnTo>
                      <a:lnTo>
                        <a:pt x="539875" y="581428"/>
                      </a:lnTo>
                      <a:lnTo>
                        <a:pt x="539790" y="577312"/>
                      </a:lnTo>
                      <a:lnTo>
                        <a:pt x="539972" y="577288"/>
                      </a:lnTo>
                      <a:lnTo>
                        <a:pt x="542692" y="576826"/>
                      </a:lnTo>
                      <a:lnTo>
                        <a:pt x="542935" y="576826"/>
                      </a:lnTo>
                      <a:lnTo>
                        <a:pt x="545801" y="576826"/>
                      </a:lnTo>
                      <a:lnTo>
                        <a:pt x="547622" y="574604"/>
                      </a:lnTo>
                      <a:lnTo>
                        <a:pt x="548849" y="573110"/>
                      </a:lnTo>
                      <a:lnTo>
                        <a:pt x="549735" y="572030"/>
                      </a:lnTo>
                      <a:lnTo>
                        <a:pt x="550051" y="570743"/>
                      </a:lnTo>
                      <a:lnTo>
                        <a:pt x="550148" y="570633"/>
                      </a:lnTo>
                      <a:lnTo>
                        <a:pt x="551156" y="569735"/>
                      </a:lnTo>
                      <a:lnTo>
                        <a:pt x="551557" y="570063"/>
                      </a:lnTo>
                      <a:lnTo>
                        <a:pt x="554677" y="572722"/>
                      </a:lnTo>
                      <a:lnTo>
                        <a:pt x="557094" y="571459"/>
                      </a:lnTo>
                      <a:lnTo>
                        <a:pt x="557227" y="571605"/>
                      </a:lnTo>
                      <a:lnTo>
                        <a:pt x="557652" y="571920"/>
                      </a:lnTo>
                      <a:lnTo>
                        <a:pt x="558320" y="572418"/>
                      </a:lnTo>
                      <a:lnTo>
                        <a:pt x="560227" y="573827"/>
                      </a:lnTo>
                      <a:lnTo>
                        <a:pt x="562582" y="573572"/>
                      </a:lnTo>
                      <a:lnTo>
                        <a:pt x="563578" y="573463"/>
                      </a:lnTo>
                      <a:lnTo>
                        <a:pt x="564707" y="573341"/>
                      </a:lnTo>
                      <a:lnTo>
                        <a:pt x="564914" y="573232"/>
                      </a:lnTo>
                      <a:lnTo>
                        <a:pt x="566808" y="575745"/>
                      </a:lnTo>
                      <a:lnTo>
                        <a:pt x="568374" y="578490"/>
                      </a:lnTo>
                      <a:lnTo>
                        <a:pt x="568702" y="580530"/>
                      </a:lnTo>
                      <a:lnTo>
                        <a:pt x="569504" y="583991"/>
                      </a:lnTo>
                      <a:lnTo>
                        <a:pt x="569734" y="584937"/>
                      </a:lnTo>
                      <a:lnTo>
                        <a:pt x="570257" y="585775"/>
                      </a:lnTo>
                      <a:lnTo>
                        <a:pt x="570463" y="586103"/>
                      </a:lnTo>
                      <a:lnTo>
                        <a:pt x="570876" y="588593"/>
                      </a:lnTo>
                      <a:lnTo>
                        <a:pt x="570827" y="590050"/>
                      </a:lnTo>
                      <a:lnTo>
                        <a:pt x="570791" y="591300"/>
                      </a:lnTo>
                      <a:lnTo>
                        <a:pt x="571252" y="592454"/>
                      </a:lnTo>
                      <a:lnTo>
                        <a:pt x="571434" y="592903"/>
                      </a:lnTo>
                      <a:lnTo>
                        <a:pt x="571459" y="593243"/>
                      </a:lnTo>
                      <a:lnTo>
                        <a:pt x="571945" y="598780"/>
                      </a:lnTo>
                      <a:lnTo>
                        <a:pt x="573559" y="598780"/>
                      </a:lnTo>
                      <a:lnTo>
                        <a:pt x="573195" y="600529"/>
                      </a:lnTo>
                      <a:lnTo>
                        <a:pt x="579437" y="601573"/>
                      </a:lnTo>
                      <a:lnTo>
                        <a:pt x="580396" y="601743"/>
                      </a:lnTo>
                      <a:lnTo>
                        <a:pt x="580505" y="602326"/>
                      </a:lnTo>
                      <a:lnTo>
                        <a:pt x="580578" y="602751"/>
                      </a:lnTo>
                      <a:lnTo>
                        <a:pt x="580724" y="603140"/>
                      </a:lnTo>
                      <a:lnTo>
                        <a:pt x="581768" y="606176"/>
                      </a:lnTo>
                      <a:lnTo>
                        <a:pt x="583043" y="609928"/>
                      </a:lnTo>
                      <a:lnTo>
                        <a:pt x="586990" y="610256"/>
                      </a:lnTo>
                      <a:lnTo>
                        <a:pt x="589442" y="610474"/>
                      </a:lnTo>
                      <a:lnTo>
                        <a:pt x="591907" y="608956"/>
                      </a:lnTo>
                      <a:lnTo>
                        <a:pt x="593583" y="607596"/>
                      </a:lnTo>
                      <a:lnTo>
                        <a:pt x="593741" y="607135"/>
                      </a:lnTo>
                      <a:lnTo>
                        <a:pt x="594688" y="606770"/>
                      </a:lnTo>
                      <a:lnTo>
                        <a:pt x="596437" y="607426"/>
                      </a:lnTo>
                      <a:lnTo>
                        <a:pt x="596995" y="607645"/>
                      </a:lnTo>
                      <a:lnTo>
                        <a:pt x="597093" y="608774"/>
                      </a:lnTo>
                      <a:lnTo>
                        <a:pt x="597505" y="613680"/>
                      </a:lnTo>
                      <a:lnTo>
                        <a:pt x="602399" y="614287"/>
                      </a:lnTo>
                      <a:lnTo>
                        <a:pt x="604257" y="614518"/>
                      </a:lnTo>
                      <a:lnTo>
                        <a:pt x="604330" y="614554"/>
                      </a:lnTo>
                      <a:lnTo>
                        <a:pt x="604742" y="615016"/>
                      </a:lnTo>
                      <a:lnTo>
                        <a:pt x="605908" y="616315"/>
                      </a:lnTo>
                      <a:lnTo>
                        <a:pt x="607584" y="616801"/>
                      </a:lnTo>
                      <a:lnTo>
                        <a:pt x="611615" y="617966"/>
                      </a:lnTo>
                      <a:lnTo>
                        <a:pt x="611943" y="618064"/>
                      </a:lnTo>
                      <a:lnTo>
                        <a:pt x="612283" y="618124"/>
                      </a:lnTo>
                      <a:lnTo>
                        <a:pt x="613619" y="618355"/>
                      </a:lnTo>
                      <a:lnTo>
                        <a:pt x="614433" y="618488"/>
                      </a:lnTo>
                      <a:lnTo>
                        <a:pt x="615246" y="618403"/>
                      </a:lnTo>
                      <a:lnTo>
                        <a:pt x="616716" y="618258"/>
                      </a:lnTo>
                      <a:lnTo>
                        <a:pt x="618598" y="618513"/>
                      </a:lnTo>
                      <a:lnTo>
                        <a:pt x="621172" y="619302"/>
                      </a:lnTo>
                      <a:lnTo>
                        <a:pt x="625118" y="620528"/>
                      </a:lnTo>
                      <a:lnTo>
                        <a:pt x="627705" y="617298"/>
                      </a:lnTo>
                      <a:lnTo>
                        <a:pt x="628142" y="616764"/>
                      </a:lnTo>
                      <a:lnTo>
                        <a:pt x="632307" y="614578"/>
                      </a:lnTo>
                      <a:lnTo>
                        <a:pt x="632999" y="614323"/>
                      </a:lnTo>
                      <a:lnTo>
                        <a:pt x="643260" y="610159"/>
                      </a:lnTo>
                      <a:lnTo>
                        <a:pt x="634238" y="603759"/>
                      </a:lnTo>
                      <a:lnTo>
                        <a:pt x="633934" y="603540"/>
                      </a:lnTo>
                      <a:lnTo>
                        <a:pt x="633776" y="603298"/>
                      </a:lnTo>
                      <a:lnTo>
                        <a:pt x="633582" y="603031"/>
                      </a:lnTo>
                      <a:lnTo>
                        <a:pt x="633351" y="602776"/>
                      </a:lnTo>
                      <a:lnTo>
                        <a:pt x="631858" y="601063"/>
                      </a:lnTo>
                      <a:lnTo>
                        <a:pt x="630898" y="599970"/>
                      </a:lnTo>
                      <a:lnTo>
                        <a:pt x="629551" y="599424"/>
                      </a:lnTo>
                      <a:lnTo>
                        <a:pt x="629162" y="599266"/>
                      </a:lnTo>
                      <a:lnTo>
                        <a:pt x="629186" y="599169"/>
                      </a:lnTo>
                      <a:lnTo>
                        <a:pt x="629223" y="598841"/>
                      </a:lnTo>
                      <a:lnTo>
                        <a:pt x="629308" y="598113"/>
                      </a:lnTo>
                      <a:lnTo>
                        <a:pt x="633837" y="597712"/>
                      </a:lnTo>
                      <a:lnTo>
                        <a:pt x="633497" y="591835"/>
                      </a:lnTo>
                      <a:lnTo>
                        <a:pt x="633351" y="589297"/>
                      </a:lnTo>
                      <a:lnTo>
                        <a:pt x="633351" y="589127"/>
                      </a:lnTo>
                      <a:lnTo>
                        <a:pt x="633449" y="589030"/>
                      </a:lnTo>
                      <a:lnTo>
                        <a:pt x="633873" y="587038"/>
                      </a:lnTo>
                      <a:lnTo>
                        <a:pt x="634056" y="586212"/>
                      </a:lnTo>
                      <a:lnTo>
                        <a:pt x="634335" y="584889"/>
                      </a:lnTo>
                      <a:lnTo>
                        <a:pt x="634031" y="583565"/>
                      </a:lnTo>
                      <a:lnTo>
                        <a:pt x="633801" y="582582"/>
                      </a:lnTo>
                      <a:lnTo>
                        <a:pt x="633655" y="581951"/>
                      </a:lnTo>
                      <a:lnTo>
                        <a:pt x="633388" y="581379"/>
                      </a:lnTo>
                      <a:lnTo>
                        <a:pt x="632501" y="579510"/>
                      </a:lnTo>
                      <a:lnTo>
                        <a:pt x="630898" y="576110"/>
                      </a:lnTo>
                      <a:lnTo>
                        <a:pt x="627134" y="576025"/>
                      </a:lnTo>
                      <a:lnTo>
                        <a:pt x="626090" y="576000"/>
                      </a:lnTo>
                      <a:lnTo>
                        <a:pt x="620468" y="572394"/>
                      </a:lnTo>
                      <a:lnTo>
                        <a:pt x="615781" y="569394"/>
                      </a:lnTo>
                      <a:lnTo>
                        <a:pt x="613255" y="572673"/>
                      </a:lnTo>
                      <a:lnTo>
                        <a:pt x="611482" y="572103"/>
                      </a:lnTo>
                      <a:lnTo>
                        <a:pt x="605957" y="570330"/>
                      </a:lnTo>
                      <a:lnTo>
                        <a:pt x="605240" y="572260"/>
                      </a:lnTo>
                      <a:lnTo>
                        <a:pt x="607025" y="566638"/>
                      </a:lnTo>
                      <a:lnTo>
                        <a:pt x="609321" y="566371"/>
                      </a:lnTo>
                      <a:lnTo>
                        <a:pt x="610875" y="564246"/>
                      </a:lnTo>
                      <a:lnTo>
                        <a:pt x="611324" y="563627"/>
                      </a:lnTo>
                      <a:lnTo>
                        <a:pt x="612417" y="562449"/>
                      </a:lnTo>
                      <a:lnTo>
                        <a:pt x="613230" y="561575"/>
                      </a:lnTo>
                      <a:lnTo>
                        <a:pt x="613643" y="560457"/>
                      </a:lnTo>
                      <a:lnTo>
                        <a:pt x="614081" y="559304"/>
                      </a:lnTo>
                      <a:lnTo>
                        <a:pt x="614469" y="558272"/>
                      </a:lnTo>
                      <a:lnTo>
                        <a:pt x="614469" y="557167"/>
                      </a:lnTo>
                      <a:lnTo>
                        <a:pt x="614469" y="555369"/>
                      </a:lnTo>
                      <a:lnTo>
                        <a:pt x="614675" y="553876"/>
                      </a:lnTo>
                      <a:lnTo>
                        <a:pt x="614785" y="553718"/>
                      </a:lnTo>
                      <a:lnTo>
                        <a:pt x="615003" y="553415"/>
                      </a:lnTo>
                      <a:lnTo>
                        <a:pt x="616412" y="553050"/>
                      </a:lnTo>
                      <a:lnTo>
                        <a:pt x="617189" y="552844"/>
                      </a:lnTo>
                      <a:lnTo>
                        <a:pt x="617893" y="552443"/>
                      </a:lnTo>
                      <a:lnTo>
                        <a:pt x="619727" y="551386"/>
                      </a:lnTo>
                      <a:lnTo>
                        <a:pt x="620431" y="550986"/>
                      </a:lnTo>
                      <a:lnTo>
                        <a:pt x="620747" y="550670"/>
                      </a:lnTo>
                      <a:lnTo>
                        <a:pt x="621293" y="550440"/>
                      </a:lnTo>
                      <a:lnTo>
                        <a:pt x="622678" y="549893"/>
                      </a:lnTo>
                      <a:lnTo>
                        <a:pt x="624293" y="549262"/>
                      </a:lnTo>
                      <a:lnTo>
                        <a:pt x="624426" y="549067"/>
                      </a:lnTo>
                      <a:lnTo>
                        <a:pt x="625434" y="549820"/>
                      </a:lnTo>
                      <a:lnTo>
                        <a:pt x="625847" y="550124"/>
                      </a:lnTo>
                      <a:lnTo>
                        <a:pt x="626321" y="550367"/>
                      </a:lnTo>
                      <a:lnTo>
                        <a:pt x="626648" y="550537"/>
                      </a:lnTo>
                      <a:lnTo>
                        <a:pt x="626272" y="551265"/>
                      </a:lnTo>
                      <a:lnTo>
                        <a:pt x="630898" y="553354"/>
                      </a:lnTo>
                      <a:lnTo>
                        <a:pt x="630898" y="553791"/>
                      </a:lnTo>
                      <a:lnTo>
                        <a:pt x="628239" y="558611"/>
                      </a:lnTo>
                      <a:lnTo>
                        <a:pt x="632853" y="561708"/>
                      </a:lnTo>
                      <a:lnTo>
                        <a:pt x="633910" y="562425"/>
                      </a:lnTo>
                      <a:lnTo>
                        <a:pt x="635282" y="563347"/>
                      </a:lnTo>
                      <a:lnTo>
                        <a:pt x="636933" y="563444"/>
                      </a:lnTo>
                      <a:lnTo>
                        <a:pt x="638743" y="563554"/>
                      </a:lnTo>
                      <a:lnTo>
                        <a:pt x="639544" y="563602"/>
                      </a:lnTo>
                      <a:lnTo>
                        <a:pt x="640333" y="563432"/>
                      </a:lnTo>
                      <a:lnTo>
                        <a:pt x="642434" y="562995"/>
                      </a:lnTo>
                      <a:lnTo>
                        <a:pt x="643054" y="562862"/>
                      </a:lnTo>
                      <a:lnTo>
                        <a:pt x="643636" y="562607"/>
                      </a:lnTo>
                      <a:lnTo>
                        <a:pt x="644365" y="562291"/>
                      </a:lnTo>
                      <a:lnTo>
                        <a:pt x="645130" y="562145"/>
                      </a:lnTo>
                      <a:lnTo>
                        <a:pt x="645992" y="561987"/>
                      </a:lnTo>
                      <a:lnTo>
                        <a:pt x="646769" y="561587"/>
                      </a:lnTo>
                      <a:lnTo>
                        <a:pt x="647850" y="561040"/>
                      </a:lnTo>
                      <a:lnTo>
                        <a:pt x="649975" y="561392"/>
                      </a:lnTo>
                      <a:lnTo>
                        <a:pt x="650278" y="561441"/>
                      </a:lnTo>
                      <a:lnTo>
                        <a:pt x="650582" y="561465"/>
                      </a:lnTo>
                      <a:lnTo>
                        <a:pt x="651857" y="561550"/>
                      </a:lnTo>
                      <a:lnTo>
                        <a:pt x="654735" y="562886"/>
                      </a:lnTo>
                      <a:lnTo>
                        <a:pt x="655233" y="563129"/>
                      </a:lnTo>
                      <a:lnTo>
                        <a:pt x="655767" y="563263"/>
                      </a:lnTo>
                      <a:lnTo>
                        <a:pt x="659361" y="564197"/>
                      </a:lnTo>
                      <a:lnTo>
                        <a:pt x="659786" y="564319"/>
                      </a:lnTo>
                      <a:lnTo>
                        <a:pt x="660236" y="564367"/>
                      </a:lnTo>
                      <a:lnTo>
                        <a:pt x="662203" y="564586"/>
                      </a:lnTo>
                      <a:lnTo>
                        <a:pt x="662592" y="564841"/>
                      </a:lnTo>
                      <a:lnTo>
                        <a:pt x="663939" y="565703"/>
                      </a:lnTo>
                      <a:lnTo>
                        <a:pt x="665542" y="565788"/>
                      </a:lnTo>
                      <a:lnTo>
                        <a:pt x="666939" y="565873"/>
                      </a:lnTo>
                      <a:lnTo>
                        <a:pt x="668007" y="566128"/>
                      </a:lnTo>
                      <a:lnTo>
                        <a:pt x="670460" y="571714"/>
                      </a:lnTo>
                      <a:lnTo>
                        <a:pt x="676337" y="568302"/>
                      </a:lnTo>
                      <a:lnTo>
                        <a:pt x="678705" y="566930"/>
                      </a:lnTo>
                      <a:lnTo>
                        <a:pt x="679762" y="566310"/>
                      </a:lnTo>
                      <a:lnTo>
                        <a:pt x="680502" y="565327"/>
                      </a:lnTo>
                      <a:lnTo>
                        <a:pt x="681292" y="564270"/>
                      </a:lnTo>
                      <a:lnTo>
                        <a:pt x="681765" y="563797"/>
                      </a:lnTo>
                      <a:lnTo>
                        <a:pt x="682239" y="563311"/>
                      </a:lnTo>
                      <a:lnTo>
                        <a:pt x="682603" y="562740"/>
                      </a:lnTo>
                      <a:lnTo>
                        <a:pt x="683392" y="561477"/>
                      </a:lnTo>
                      <a:lnTo>
                        <a:pt x="684546" y="559632"/>
                      </a:lnTo>
                      <a:lnTo>
                        <a:pt x="684267" y="557458"/>
                      </a:lnTo>
                      <a:lnTo>
                        <a:pt x="684036" y="555722"/>
                      </a:lnTo>
                      <a:lnTo>
                        <a:pt x="684449" y="554811"/>
                      </a:lnTo>
                      <a:lnTo>
                        <a:pt x="684971" y="553633"/>
                      </a:lnTo>
                      <a:lnTo>
                        <a:pt x="684971" y="552346"/>
                      </a:lnTo>
                      <a:lnTo>
                        <a:pt x="684971" y="552055"/>
                      </a:lnTo>
                      <a:lnTo>
                        <a:pt x="685226" y="550658"/>
                      </a:lnTo>
                      <a:lnTo>
                        <a:pt x="685614" y="548472"/>
                      </a:lnTo>
                      <a:lnTo>
                        <a:pt x="684910" y="547258"/>
                      </a:lnTo>
                      <a:lnTo>
                        <a:pt x="685032" y="547015"/>
                      </a:lnTo>
                      <a:lnTo>
                        <a:pt x="686829" y="546979"/>
                      </a:lnTo>
                      <a:lnTo>
                        <a:pt x="687582" y="546954"/>
                      </a:lnTo>
                      <a:lnTo>
                        <a:pt x="688310" y="546736"/>
                      </a:lnTo>
                      <a:lnTo>
                        <a:pt x="689306" y="546457"/>
                      </a:lnTo>
                      <a:lnTo>
                        <a:pt x="690702" y="546068"/>
                      </a:lnTo>
                      <a:lnTo>
                        <a:pt x="691771" y="545084"/>
                      </a:lnTo>
                      <a:lnTo>
                        <a:pt x="692488" y="544417"/>
                      </a:lnTo>
                      <a:lnTo>
                        <a:pt x="694868" y="542194"/>
                      </a:lnTo>
                      <a:lnTo>
                        <a:pt x="694357" y="538989"/>
                      </a:lnTo>
                      <a:lnTo>
                        <a:pt x="694345" y="538855"/>
                      </a:lnTo>
                      <a:lnTo>
                        <a:pt x="694382" y="538697"/>
                      </a:lnTo>
                      <a:lnTo>
                        <a:pt x="694552" y="538066"/>
                      </a:lnTo>
                      <a:lnTo>
                        <a:pt x="694576" y="537641"/>
                      </a:lnTo>
                      <a:lnTo>
                        <a:pt x="696167" y="538248"/>
                      </a:lnTo>
                      <a:lnTo>
                        <a:pt x="700137" y="539389"/>
                      </a:lnTo>
                      <a:lnTo>
                        <a:pt x="701097" y="539657"/>
                      </a:lnTo>
                      <a:lnTo>
                        <a:pt x="702093" y="539596"/>
                      </a:lnTo>
                      <a:lnTo>
                        <a:pt x="703258" y="539535"/>
                      </a:lnTo>
                      <a:lnTo>
                        <a:pt x="704266" y="539487"/>
                      </a:lnTo>
                      <a:lnTo>
                        <a:pt x="705201" y="539110"/>
                      </a:lnTo>
                      <a:lnTo>
                        <a:pt x="706415" y="538624"/>
                      </a:lnTo>
                      <a:lnTo>
                        <a:pt x="706780" y="538527"/>
                      </a:lnTo>
                      <a:lnTo>
                        <a:pt x="710119" y="538127"/>
                      </a:lnTo>
                      <a:lnTo>
                        <a:pt x="712402" y="537872"/>
                      </a:lnTo>
                      <a:lnTo>
                        <a:pt x="713932" y="536147"/>
                      </a:lnTo>
                      <a:lnTo>
                        <a:pt x="714770" y="535200"/>
                      </a:lnTo>
                      <a:lnTo>
                        <a:pt x="715450" y="535698"/>
                      </a:lnTo>
                      <a:lnTo>
                        <a:pt x="718631" y="534302"/>
                      </a:lnTo>
                      <a:lnTo>
                        <a:pt x="722784" y="532480"/>
                      </a:lnTo>
                      <a:lnTo>
                        <a:pt x="728552" y="530586"/>
                      </a:lnTo>
                      <a:lnTo>
                        <a:pt x="732717" y="529481"/>
                      </a:lnTo>
                      <a:lnTo>
                        <a:pt x="735243" y="529335"/>
                      </a:lnTo>
                      <a:lnTo>
                        <a:pt x="738679" y="529153"/>
                      </a:lnTo>
                      <a:lnTo>
                        <a:pt x="740282" y="526105"/>
                      </a:lnTo>
                      <a:lnTo>
                        <a:pt x="740853" y="525036"/>
                      </a:lnTo>
                      <a:lnTo>
                        <a:pt x="742516" y="523373"/>
                      </a:lnTo>
                      <a:lnTo>
                        <a:pt x="746827" y="519062"/>
                      </a:lnTo>
                      <a:lnTo>
                        <a:pt x="742516" y="514776"/>
                      </a:lnTo>
                      <a:lnTo>
                        <a:pt x="742480" y="511752"/>
                      </a:lnTo>
                      <a:lnTo>
                        <a:pt x="744216" y="512092"/>
                      </a:lnTo>
                      <a:lnTo>
                        <a:pt x="745042" y="512262"/>
                      </a:lnTo>
                      <a:lnTo>
                        <a:pt x="745868" y="512189"/>
                      </a:lnTo>
                      <a:lnTo>
                        <a:pt x="748746" y="511959"/>
                      </a:lnTo>
                      <a:lnTo>
                        <a:pt x="751976" y="512031"/>
                      </a:lnTo>
                      <a:lnTo>
                        <a:pt x="752437" y="512201"/>
                      </a:lnTo>
                      <a:lnTo>
                        <a:pt x="755376" y="513233"/>
                      </a:lnTo>
                      <a:lnTo>
                        <a:pt x="757938" y="511460"/>
                      </a:lnTo>
                      <a:lnTo>
                        <a:pt x="760646" y="509578"/>
                      </a:lnTo>
                      <a:lnTo>
                        <a:pt x="761229" y="509178"/>
                      </a:lnTo>
                      <a:lnTo>
                        <a:pt x="761702" y="508643"/>
                      </a:lnTo>
                      <a:lnTo>
                        <a:pt x="763026" y="507162"/>
                      </a:lnTo>
                      <a:lnTo>
                        <a:pt x="763329" y="506822"/>
                      </a:lnTo>
                      <a:lnTo>
                        <a:pt x="763584" y="506433"/>
                      </a:lnTo>
                      <a:lnTo>
                        <a:pt x="765418" y="503616"/>
                      </a:lnTo>
                      <a:lnTo>
                        <a:pt x="765831" y="502973"/>
                      </a:lnTo>
                      <a:lnTo>
                        <a:pt x="766074" y="502244"/>
                      </a:lnTo>
                      <a:lnTo>
                        <a:pt x="766159" y="501989"/>
                      </a:lnTo>
                      <a:lnTo>
                        <a:pt x="766717" y="502329"/>
                      </a:lnTo>
                      <a:lnTo>
                        <a:pt x="769316" y="503920"/>
                      </a:lnTo>
                      <a:lnTo>
                        <a:pt x="769729" y="504175"/>
                      </a:lnTo>
                      <a:lnTo>
                        <a:pt x="770166" y="504357"/>
                      </a:lnTo>
                      <a:lnTo>
                        <a:pt x="771659" y="504976"/>
                      </a:lnTo>
                      <a:lnTo>
                        <a:pt x="772400" y="505280"/>
                      </a:lnTo>
                      <a:lnTo>
                        <a:pt x="773177" y="505389"/>
                      </a:lnTo>
                      <a:lnTo>
                        <a:pt x="774428" y="505559"/>
                      </a:lnTo>
                      <a:lnTo>
                        <a:pt x="775302" y="505741"/>
                      </a:lnTo>
                      <a:lnTo>
                        <a:pt x="776796" y="506020"/>
                      </a:lnTo>
                      <a:lnTo>
                        <a:pt x="778253" y="505571"/>
                      </a:lnTo>
                      <a:lnTo>
                        <a:pt x="781447" y="504576"/>
                      </a:lnTo>
                      <a:lnTo>
                        <a:pt x="782345" y="504551"/>
                      </a:lnTo>
                      <a:lnTo>
                        <a:pt x="786012" y="504418"/>
                      </a:lnTo>
                      <a:lnTo>
                        <a:pt x="787287" y="501759"/>
                      </a:lnTo>
                      <a:lnTo>
                        <a:pt x="788247" y="501552"/>
                      </a:lnTo>
                      <a:lnTo>
                        <a:pt x="789461" y="500483"/>
                      </a:lnTo>
                      <a:lnTo>
                        <a:pt x="790955" y="499172"/>
                      </a:lnTo>
                      <a:lnTo>
                        <a:pt x="791792" y="498431"/>
                      </a:lnTo>
                      <a:lnTo>
                        <a:pt x="792302" y="497448"/>
                      </a:lnTo>
                      <a:lnTo>
                        <a:pt x="793031" y="496075"/>
                      </a:lnTo>
                      <a:lnTo>
                        <a:pt x="793857" y="494849"/>
                      </a:lnTo>
                      <a:lnTo>
                        <a:pt x="794415" y="494121"/>
                      </a:lnTo>
                      <a:lnTo>
                        <a:pt x="796892" y="491740"/>
                      </a:lnTo>
                      <a:lnTo>
                        <a:pt x="797245" y="491412"/>
                      </a:lnTo>
                      <a:lnTo>
                        <a:pt x="797536" y="491024"/>
                      </a:lnTo>
                      <a:lnTo>
                        <a:pt x="799357" y="488608"/>
                      </a:lnTo>
                      <a:lnTo>
                        <a:pt x="801701" y="485135"/>
                      </a:lnTo>
                      <a:lnTo>
                        <a:pt x="802187" y="484406"/>
                      </a:lnTo>
                      <a:lnTo>
                        <a:pt x="802454" y="483593"/>
                      </a:lnTo>
                      <a:lnTo>
                        <a:pt x="802757" y="482609"/>
                      </a:lnTo>
                      <a:lnTo>
                        <a:pt x="802964" y="481990"/>
                      </a:lnTo>
                      <a:lnTo>
                        <a:pt x="803025" y="481346"/>
                      </a:lnTo>
                      <a:lnTo>
                        <a:pt x="803146" y="480132"/>
                      </a:lnTo>
                      <a:lnTo>
                        <a:pt x="803280" y="478820"/>
                      </a:lnTo>
                      <a:lnTo>
                        <a:pt x="802842" y="477558"/>
                      </a:lnTo>
                      <a:lnTo>
                        <a:pt x="802770" y="477339"/>
                      </a:lnTo>
                      <a:lnTo>
                        <a:pt x="802770" y="477230"/>
                      </a:lnTo>
                      <a:lnTo>
                        <a:pt x="803280" y="475772"/>
                      </a:lnTo>
                      <a:lnTo>
                        <a:pt x="803510" y="475105"/>
                      </a:lnTo>
                      <a:lnTo>
                        <a:pt x="803583" y="474400"/>
                      </a:lnTo>
                      <a:lnTo>
                        <a:pt x="803814" y="472202"/>
                      </a:lnTo>
                      <a:lnTo>
                        <a:pt x="803899" y="471377"/>
                      </a:lnTo>
                      <a:lnTo>
                        <a:pt x="803765" y="470563"/>
                      </a:lnTo>
                      <a:lnTo>
                        <a:pt x="803608" y="469616"/>
                      </a:lnTo>
                      <a:lnTo>
                        <a:pt x="803790" y="466932"/>
                      </a:lnTo>
                      <a:lnTo>
                        <a:pt x="804482" y="466010"/>
                      </a:lnTo>
                      <a:lnTo>
                        <a:pt x="804700" y="465718"/>
                      </a:lnTo>
                      <a:lnTo>
                        <a:pt x="804882" y="465402"/>
                      </a:lnTo>
                      <a:lnTo>
                        <a:pt x="805441" y="464407"/>
                      </a:lnTo>
                      <a:lnTo>
                        <a:pt x="806255" y="463496"/>
                      </a:lnTo>
                      <a:lnTo>
                        <a:pt x="806619" y="463095"/>
                      </a:lnTo>
                      <a:lnTo>
                        <a:pt x="806898" y="462634"/>
                      </a:lnTo>
                      <a:lnTo>
                        <a:pt x="807505" y="461638"/>
                      </a:lnTo>
                      <a:lnTo>
                        <a:pt x="808210" y="460472"/>
                      </a:lnTo>
                      <a:lnTo>
                        <a:pt x="808355" y="459137"/>
                      </a:lnTo>
                      <a:lnTo>
                        <a:pt x="808647" y="456392"/>
                      </a:lnTo>
                      <a:lnTo>
                        <a:pt x="806837" y="453818"/>
                      </a:lnTo>
                      <a:lnTo>
                        <a:pt x="806279" y="453211"/>
                      </a:lnTo>
                      <a:lnTo>
                        <a:pt x="806121" y="453065"/>
                      </a:lnTo>
                      <a:lnTo>
                        <a:pt x="808052" y="451547"/>
                      </a:lnTo>
                      <a:lnTo>
                        <a:pt x="808841" y="450928"/>
                      </a:lnTo>
                      <a:lnTo>
                        <a:pt x="809388" y="450078"/>
                      </a:lnTo>
                      <a:lnTo>
                        <a:pt x="811257" y="447212"/>
                      </a:lnTo>
                      <a:lnTo>
                        <a:pt x="811719" y="446496"/>
                      </a:lnTo>
                      <a:lnTo>
                        <a:pt x="811974" y="445695"/>
                      </a:lnTo>
                      <a:lnTo>
                        <a:pt x="812180" y="445039"/>
                      </a:lnTo>
                      <a:lnTo>
                        <a:pt x="813225" y="442768"/>
                      </a:lnTo>
                      <a:lnTo>
                        <a:pt x="813674" y="442051"/>
                      </a:lnTo>
                      <a:lnTo>
                        <a:pt x="814390" y="441493"/>
                      </a:lnTo>
                      <a:lnTo>
                        <a:pt x="815471" y="440643"/>
                      </a:lnTo>
                      <a:lnTo>
                        <a:pt x="816078" y="439404"/>
                      </a:lnTo>
                      <a:lnTo>
                        <a:pt x="816576" y="438396"/>
                      </a:lnTo>
                      <a:lnTo>
                        <a:pt x="817208" y="437134"/>
                      </a:lnTo>
                      <a:lnTo>
                        <a:pt x="817208" y="435713"/>
                      </a:lnTo>
                      <a:lnTo>
                        <a:pt x="817208" y="433175"/>
                      </a:lnTo>
                      <a:lnTo>
                        <a:pt x="817293" y="432264"/>
                      </a:lnTo>
                      <a:lnTo>
                        <a:pt x="820923" y="430491"/>
                      </a:lnTo>
                      <a:lnTo>
                        <a:pt x="821822" y="430054"/>
                      </a:lnTo>
                      <a:lnTo>
                        <a:pt x="822538" y="429350"/>
                      </a:lnTo>
                      <a:lnTo>
                        <a:pt x="823206" y="428682"/>
                      </a:lnTo>
                      <a:lnTo>
                        <a:pt x="823935" y="427941"/>
                      </a:lnTo>
                      <a:lnTo>
                        <a:pt x="824396" y="427019"/>
                      </a:lnTo>
                      <a:lnTo>
                        <a:pt x="824457" y="426897"/>
                      </a:lnTo>
                      <a:lnTo>
                        <a:pt x="824821" y="426836"/>
                      </a:lnTo>
                      <a:lnTo>
                        <a:pt x="826436" y="426836"/>
                      </a:lnTo>
                      <a:lnTo>
                        <a:pt x="830941" y="426557"/>
                      </a:lnTo>
                      <a:lnTo>
                        <a:pt x="831864" y="426497"/>
                      </a:lnTo>
                      <a:lnTo>
                        <a:pt x="832726" y="426156"/>
                      </a:lnTo>
                      <a:lnTo>
                        <a:pt x="834596" y="425428"/>
                      </a:lnTo>
                      <a:lnTo>
                        <a:pt x="835398" y="425124"/>
                      </a:lnTo>
                      <a:lnTo>
                        <a:pt x="836078" y="424602"/>
                      </a:lnTo>
                      <a:lnTo>
                        <a:pt x="837304" y="423667"/>
                      </a:lnTo>
                      <a:lnTo>
                        <a:pt x="838021" y="423121"/>
                      </a:lnTo>
                      <a:lnTo>
                        <a:pt x="838543" y="422392"/>
                      </a:lnTo>
                      <a:lnTo>
                        <a:pt x="839745" y="420729"/>
                      </a:lnTo>
                      <a:lnTo>
                        <a:pt x="840218" y="420073"/>
                      </a:lnTo>
                      <a:lnTo>
                        <a:pt x="840498" y="419332"/>
                      </a:lnTo>
                      <a:lnTo>
                        <a:pt x="841141" y="417668"/>
                      </a:lnTo>
                      <a:lnTo>
                        <a:pt x="842878" y="416357"/>
                      </a:lnTo>
                      <a:lnTo>
                        <a:pt x="843631" y="416552"/>
                      </a:lnTo>
                      <a:lnTo>
                        <a:pt x="847176" y="417438"/>
                      </a:lnTo>
                      <a:lnTo>
                        <a:pt x="849629" y="414718"/>
                      </a:lnTo>
                      <a:lnTo>
                        <a:pt x="850127" y="414159"/>
                      </a:lnTo>
                      <a:lnTo>
                        <a:pt x="851281" y="414026"/>
                      </a:lnTo>
                      <a:lnTo>
                        <a:pt x="853855" y="413734"/>
                      </a:lnTo>
                      <a:lnTo>
                        <a:pt x="855421" y="411658"/>
                      </a:lnTo>
                      <a:lnTo>
                        <a:pt x="856016" y="410881"/>
                      </a:lnTo>
                      <a:lnTo>
                        <a:pt x="856672" y="410346"/>
                      </a:lnTo>
                      <a:lnTo>
                        <a:pt x="859465" y="408076"/>
                      </a:lnTo>
                      <a:lnTo>
                        <a:pt x="858821" y="404542"/>
                      </a:lnTo>
                      <a:lnTo>
                        <a:pt x="858530" y="402939"/>
                      </a:lnTo>
                      <a:lnTo>
                        <a:pt x="858360" y="402041"/>
                      </a:lnTo>
                      <a:lnTo>
                        <a:pt x="857947" y="401239"/>
                      </a:lnTo>
                      <a:lnTo>
                        <a:pt x="856951" y="399308"/>
                      </a:lnTo>
                      <a:lnTo>
                        <a:pt x="856733" y="398883"/>
                      </a:lnTo>
                      <a:lnTo>
                        <a:pt x="856441" y="398495"/>
                      </a:lnTo>
                      <a:lnTo>
                        <a:pt x="855300" y="396940"/>
                      </a:lnTo>
                      <a:lnTo>
                        <a:pt x="854644" y="396054"/>
                      </a:lnTo>
                      <a:lnTo>
                        <a:pt x="853709" y="395447"/>
                      </a:lnTo>
                      <a:lnTo>
                        <a:pt x="852252" y="394500"/>
                      </a:lnTo>
                      <a:lnTo>
                        <a:pt x="851924" y="394063"/>
                      </a:lnTo>
                      <a:lnTo>
                        <a:pt x="851657" y="393601"/>
                      </a:lnTo>
                      <a:lnTo>
                        <a:pt x="847808" y="387408"/>
                      </a:lnTo>
                      <a:lnTo>
                        <a:pt x="842416" y="392302"/>
                      </a:lnTo>
                      <a:lnTo>
                        <a:pt x="840983" y="393589"/>
                      </a:lnTo>
                      <a:lnTo>
                        <a:pt x="840485" y="394038"/>
                      </a:lnTo>
                      <a:lnTo>
                        <a:pt x="840097" y="394597"/>
                      </a:lnTo>
                      <a:lnTo>
                        <a:pt x="838810" y="396431"/>
                      </a:lnTo>
                      <a:lnTo>
                        <a:pt x="837681" y="397609"/>
                      </a:lnTo>
                      <a:lnTo>
                        <a:pt x="837013" y="397900"/>
                      </a:lnTo>
                      <a:lnTo>
                        <a:pt x="831415" y="398604"/>
                      </a:lnTo>
                      <a:lnTo>
                        <a:pt x="830200" y="398762"/>
                      </a:lnTo>
                      <a:lnTo>
                        <a:pt x="829144" y="399357"/>
                      </a:lnTo>
                      <a:lnTo>
                        <a:pt x="826218" y="401033"/>
                      </a:lnTo>
                      <a:lnTo>
                        <a:pt x="825768" y="401288"/>
                      </a:lnTo>
                      <a:lnTo>
                        <a:pt x="825368" y="401616"/>
                      </a:lnTo>
                      <a:lnTo>
                        <a:pt x="822089" y="404311"/>
                      </a:lnTo>
                      <a:lnTo>
                        <a:pt x="821810" y="404542"/>
                      </a:lnTo>
                      <a:lnTo>
                        <a:pt x="821555" y="404797"/>
                      </a:lnTo>
                      <a:lnTo>
                        <a:pt x="819041" y="407408"/>
                      </a:lnTo>
                      <a:lnTo>
                        <a:pt x="816783" y="408622"/>
                      </a:lnTo>
                      <a:lnTo>
                        <a:pt x="815714" y="408282"/>
                      </a:lnTo>
                      <a:lnTo>
                        <a:pt x="810031" y="404785"/>
                      </a:lnTo>
                      <a:lnTo>
                        <a:pt x="809157" y="404251"/>
                      </a:lnTo>
                      <a:lnTo>
                        <a:pt x="808149" y="404020"/>
                      </a:lnTo>
                      <a:lnTo>
                        <a:pt x="805988" y="403546"/>
                      </a:lnTo>
                      <a:lnTo>
                        <a:pt x="804579" y="403243"/>
                      </a:lnTo>
                      <a:lnTo>
                        <a:pt x="803170" y="403595"/>
                      </a:lnTo>
                      <a:lnTo>
                        <a:pt x="801883" y="403923"/>
                      </a:lnTo>
                      <a:lnTo>
                        <a:pt x="799709" y="404481"/>
                      </a:lnTo>
                      <a:lnTo>
                        <a:pt x="798422" y="406315"/>
                      </a:lnTo>
                      <a:lnTo>
                        <a:pt x="797572" y="407529"/>
                      </a:lnTo>
                      <a:lnTo>
                        <a:pt x="797111" y="408197"/>
                      </a:lnTo>
                      <a:lnTo>
                        <a:pt x="796832" y="408962"/>
                      </a:lnTo>
                      <a:lnTo>
                        <a:pt x="796322" y="410383"/>
                      </a:lnTo>
                      <a:lnTo>
                        <a:pt x="795253" y="409933"/>
                      </a:lnTo>
                      <a:lnTo>
                        <a:pt x="794743" y="409703"/>
                      </a:lnTo>
                      <a:lnTo>
                        <a:pt x="794209" y="409581"/>
                      </a:lnTo>
                      <a:lnTo>
                        <a:pt x="783766" y="407262"/>
                      </a:lnTo>
                      <a:lnTo>
                        <a:pt x="783207" y="407140"/>
                      </a:lnTo>
                      <a:lnTo>
                        <a:pt x="782637" y="407116"/>
                      </a:lnTo>
                      <a:lnTo>
                        <a:pt x="768624" y="406691"/>
                      </a:lnTo>
                      <a:lnTo>
                        <a:pt x="768174" y="406679"/>
                      </a:lnTo>
                      <a:lnTo>
                        <a:pt x="767737" y="406728"/>
                      </a:lnTo>
                      <a:lnTo>
                        <a:pt x="759686" y="407663"/>
                      </a:lnTo>
                      <a:lnTo>
                        <a:pt x="755133" y="407687"/>
                      </a:lnTo>
                      <a:lnTo>
                        <a:pt x="751939" y="406959"/>
                      </a:lnTo>
                      <a:lnTo>
                        <a:pt x="749401" y="405853"/>
                      </a:lnTo>
                      <a:lnTo>
                        <a:pt x="744969" y="403182"/>
                      </a:lnTo>
                      <a:lnTo>
                        <a:pt x="742480" y="401968"/>
                      </a:lnTo>
                      <a:lnTo>
                        <a:pt x="741715" y="401603"/>
                      </a:lnTo>
                      <a:lnTo>
                        <a:pt x="740877" y="401470"/>
                      </a:lnTo>
                      <a:lnTo>
                        <a:pt x="738995" y="401166"/>
                      </a:lnTo>
                      <a:lnTo>
                        <a:pt x="738084" y="401009"/>
                      </a:lnTo>
                      <a:lnTo>
                        <a:pt x="737173" y="401142"/>
                      </a:lnTo>
                      <a:lnTo>
                        <a:pt x="735376" y="401397"/>
                      </a:lnTo>
                      <a:lnTo>
                        <a:pt x="734247" y="401555"/>
                      </a:lnTo>
                      <a:lnTo>
                        <a:pt x="733239" y="402113"/>
                      </a:lnTo>
                      <a:lnTo>
                        <a:pt x="730956" y="403388"/>
                      </a:lnTo>
                      <a:lnTo>
                        <a:pt x="725820" y="406922"/>
                      </a:lnTo>
                      <a:lnTo>
                        <a:pt x="721436" y="409023"/>
                      </a:lnTo>
                      <a:lnTo>
                        <a:pt x="720926" y="409266"/>
                      </a:lnTo>
                      <a:lnTo>
                        <a:pt x="720465" y="409606"/>
                      </a:lnTo>
                      <a:lnTo>
                        <a:pt x="716251" y="412678"/>
                      </a:lnTo>
                      <a:lnTo>
                        <a:pt x="715778" y="412908"/>
                      </a:lnTo>
                      <a:lnTo>
                        <a:pt x="715668" y="412836"/>
                      </a:lnTo>
                      <a:lnTo>
                        <a:pt x="713847" y="410201"/>
                      </a:lnTo>
                      <a:lnTo>
                        <a:pt x="711807" y="405295"/>
                      </a:lnTo>
                      <a:lnTo>
                        <a:pt x="710641" y="382442"/>
                      </a:lnTo>
                      <a:lnTo>
                        <a:pt x="710605" y="381738"/>
                      </a:lnTo>
                      <a:lnTo>
                        <a:pt x="710410" y="381058"/>
                      </a:lnTo>
                      <a:lnTo>
                        <a:pt x="709500" y="377900"/>
                      </a:lnTo>
                      <a:lnTo>
                        <a:pt x="709293" y="377208"/>
                      </a:lnTo>
                      <a:lnTo>
                        <a:pt x="708941" y="376589"/>
                      </a:lnTo>
                      <a:lnTo>
                        <a:pt x="705383" y="370299"/>
                      </a:lnTo>
                      <a:lnTo>
                        <a:pt x="704412" y="368101"/>
                      </a:lnTo>
                      <a:lnTo>
                        <a:pt x="703392" y="364689"/>
                      </a:lnTo>
                      <a:lnTo>
                        <a:pt x="702930" y="362260"/>
                      </a:lnTo>
                      <a:lnTo>
                        <a:pt x="702857" y="359783"/>
                      </a:lnTo>
                      <a:lnTo>
                        <a:pt x="703343" y="358035"/>
                      </a:lnTo>
                      <a:lnTo>
                        <a:pt x="704485" y="355691"/>
                      </a:lnTo>
                      <a:lnTo>
                        <a:pt x="705723" y="353530"/>
                      </a:lnTo>
                      <a:lnTo>
                        <a:pt x="705881" y="353275"/>
                      </a:lnTo>
                      <a:lnTo>
                        <a:pt x="706002" y="352995"/>
                      </a:lnTo>
                      <a:lnTo>
                        <a:pt x="706816" y="351137"/>
                      </a:lnTo>
                      <a:lnTo>
                        <a:pt x="707654" y="349255"/>
                      </a:lnTo>
                      <a:lnTo>
                        <a:pt x="707156" y="347252"/>
                      </a:lnTo>
                      <a:lnTo>
                        <a:pt x="706755" y="345612"/>
                      </a:lnTo>
                      <a:lnTo>
                        <a:pt x="706197" y="343305"/>
                      </a:lnTo>
                      <a:lnTo>
                        <a:pt x="704217" y="342006"/>
                      </a:lnTo>
                      <a:lnTo>
                        <a:pt x="702785" y="341059"/>
                      </a:lnTo>
                      <a:lnTo>
                        <a:pt x="701619" y="340294"/>
                      </a:lnTo>
                      <a:lnTo>
                        <a:pt x="700247" y="340112"/>
                      </a:lnTo>
                      <a:lnTo>
                        <a:pt x="697077" y="339687"/>
                      </a:lnTo>
                      <a:lnTo>
                        <a:pt x="695754" y="339505"/>
                      </a:lnTo>
                      <a:lnTo>
                        <a:pt x="694479" y="339893"/>
                      </a:lnTo>
                      <a:lnTo>
                        <a:pt x="692026" y="340646"/>
                      </a:lnTo>
                      <a:lnTo>
                        <a:pt x="691674" y="340755"/>
                      </a:lnTo>
                      <a:lnTo>
                        <a:pt x="691334" y="340913"/>
                      </a:lnTo>
                      <a:lnTo>
                        <a:pt x="687412" y="342686"/>
                      </a:lnTo>
                      <a:lnTo>
                        <a:pt x="687314" y="342055"/>
                      </a:lnTo>
                      <a:lnTo>
                        <a:pt x="687254" y="340014"/>
                      </a:lnTo>
                      <a:lnTo>
                        <a:pt x="686853" y="336918"/>
                      </a:lnTo>
                      <a:lnTo>
                        <a:pt x="686744" y="336105"/>
                      </a:lnTo>
                      <a:lnTo>
                        <a:pt x="686416" y="335352"/>
                      </a:lnTo>
                      <a:lnTo>
                        <a:pt x="685445" y="333081"/>
                      </a:lnTo>
                      <a:lnTo>
                        <a:pt x="684680" y="331296"/>
                      </a:lnTo>
                      <a:lnTo>
                        <a:pt x="683016" y="330288"/>
                      </a:lnTo>
                      <a:lnTo>
                        <a:pt x="681061" y="329098"/>
                      </a:lnTo>
                      <a:lnTo>
                        <a:pt x="680005" y="328454"/>
                      </a:lnTo>
                      <a:lnTo>
                        <a:pt x="678790" y="328272"/>
                      </a:lnTo>
                      <a:lnTo>
                        <a:pt x="677248" y="328042"/>
                      </a:lnTo>
                      <a:lnTo>
                        <a:pt x="675888" y="327847"/>
                      </a:lnTo>
                      <a:lnTo>
                        <a:pt x="674577" y="328248"/>
                      </a:lnTo>
                      <a:lnTo>
                        <a:pt x="673083" y="328709"/>
                      </a:lnTo>
                      <a:lnTo>
                        <a:pt x="672379" y="328928"/>
                      </a:lnTo>
                      <a:lnTo>
                        <a:pt x="672269" y="327228"/>
                      </a:lnTo>
                      <a:lnTo>
                        <a:pt x="672209" y="326354"/>
                      </a:lnTo>
                      <a:lnTo>
                        <a:pt x="671905" y="325528"/>
                      </a:lnTo>
                      <a:lnTo>
                        <a:pt x="671152" y="323488"/>
                      </a:lnTo>
                      <a:lnTo>
                        <a:pt x="670922" y="322868"/>
                      </a:lnTo>
                      <a:lnTo>
                        <a:pt x="670569" y="322322"/>
                      </a:lnTo>
                      <a:lnTo>
                        <a:pt x="666137" y="315352"/>
                      </a:lnTo>
                      <a:lnTo>
                        <a:pt x="661875" y="305601"/>
                      </a:lnTo>
                      <a:lnTo>
                        <a:pt x="660345" y="300100"/>
                      </a:lnTo>
                      <a:lnTo>
                        <a:pt x="659082" y="296689"/>
                      </a:lnTo>
                      <a:lnTo>
                        <a:pt x="658876" y="296154"/>
                      </a:lnTo>
                      <a:lnTo>
                        <a:pt x="658572" y="295668"/>
                      </a:lnTo>
                      <a:lnTo>
                        <a:pt x="656726" y="292681"/>
                      </a:lnTo>
                      <a:lnTo>
                        <a:pt x="656472" y="292256"/>
                      </a:lnTo>
                      <a:lnTo>
                        <a:pt x="656132" y="291880"/>
                      </a:lnTo>
                      <a:lnTo>
                        <a:pt x="653120" y="288431"/>
                      </a:lnTo>
                      <a:lnTo>
                        <a:pt x="650716" y="285056"/>
                      </a:lnTo>
                      <a:lnTo>
                        <a:pt x="650412" y="284631"/>
                      </a:lnTo>
                      <a:lnTo>
                        <a:pt x="650048" y="284266"/>
                      </a:lnTo>
                      <a:lnTo>
                        <a:pt x="646466" y="280696"/>
                      </a:lnTo>
                      <a:lnTo>
                        <a:pt x="644025" y="277235"/>
                      </a:lnTo>
                      <a:lnTo>
                        <a:pt x="643843" y="276980"/>
                      </a:lnTo>
                      <a:lnTo>
                        <a:pt x="643636" y="276738"/>
                      </a:lnTo>
                      <a:lnTo>
                        <a:pt x="635015" y="266865"/>
                      </a:lnTo>
                      <a:lnTo>
                        <a:pt x="634760" y="266586"/>
                      </a:lnTo>
                      <a:lnTo>
                        <a:pt x="634469" y="266331"/>
                      </a:lnTo>
                      <a:lnTo>
                        <a:pt x="630279" y="262615"/>
                      </a:lnTo>
                      <a:lnTo>
                        <a:pt x="628106" y="260988"/>
                      </a:lnTo>
                      <a:lnTo>
                        <a:pt x="627644" y="260660"/>
                      </a:lnTo>
                      <a:lnTo>
                        <a:pt x="627134" y="260405"/>
                      </a:lnTo>
                      <a:lnTo>
                        <a:pt x="623455" y="258669"/>
                      </a:lnTo>
                      <a:lnTo>
                        <a:pt x="622496" y="257989"/>
                      </a:lnTo>
                      <a:lnTo>
                        <a:pt x="619496" y="255111"/>
                      </a:lnTo>
                      <a:lnTo>
                        <a:pt x="618658" y="254309"/>
                      </a:lnTo>
                      <a:lnTo>
                        <a:pt x="617565" y="253860"/>
                      </a:lnTo>
                      <a:lnTo>
                        <a:pt x="614578" y="252646"/>
                      </a:lnTo>
                      <a:lnTo>
                        <a:pt x="613546" y="252233"/>
                      </a:lnTo>
                      <a:lnTo>
                        <a:pt x="612429" y="252209"/>
                      </a:lnTo>
                      <a:lnTo>
                        <a:pt x="608240" y="252124"/>
                      </a:lnTo>
                      <a:lnTo>
                        <a:pt x="607390" y="252112"/>
                      </a:lnTo>
                      <a:lnTo>
                        <a:pt x="606576" y="252330"/>
                      </a:lnTo>
                      <a:lnTo>
                        <a:pt x="599740" y="254128"/>
                      </a:lnTo>
                      <a:lnTo>
                        <a:pt x="599230" y="254261"/>
                      </a:lnTo>
                      <a:lnTo>
                        <a:pt x="598732" y="254492"/>
                      </a:lnTo>
                      <a:lnTo>
                        <a:pt x="598720" y="254504"/>
                      </a:lnTo>
                      <a:lnTo>
                        <a:pt x="597651" y="253204"/>
                      </a:lnTo>
                      <a:lnTo>
                        <a:pt x="596473" y="251796"/>
                      </a:lnTo>
                      <a:lnTo>
                        <a:pt x="594700" y="251262"/>
                      </a:lnTo>
                      <a:lnTo>
                        <a:pt x="592587" y="250630"/>
                      </a:lnTo>
                      <a:lnTo>
                        <a:pt x="587415" y="249088"/>
                      </a:lnTo>
                      <a:lnTo>
                        <a:pt x="587172" y="249659"/>
                      </a:lnTo>
                      <a:lnTo>
                        <a:pt x="586686" y="248906"/>
                      </a:lnTo>
                      <a:lnTo>
                        <a:pt x="586589" y="248493"/>
                      </a:lnTo>
                      <a:lnTo>
                        <a:pt x="586395" y="244947"/>
                      </a:lnTo>
                      <a:lnTo>
                        <a:pt x="586358" y="244364"/>
                      </a:lnTo>
                      <a:lnTo>
                        <a:pt x="586225" y="243806"/>
                      </a:lnTo>
                      <a:lnTo>
                        <a:pt x="585751" y="241887"/>
                      </a:lnTo>
                      <a:lnTo>
                        <a:pt x="585654" y="241475"/>
                      </a:lnTo>
                      <a:lnTo>
                        <a:pt x="585484" y="241074"/>
                      </a:lnTo>
                      <a:lnTo>
                        <a:pt x="584622" y="238949"/>
                      </a:lnTo>
                      <a:lnTo>
                        <a:pt x="584500" y="238645"/>
                      </a:lnTo>
                      <a:lnTo>
                        <a:pt x="584342" y="238366"/>
                      </a:lnTo>
                      <a:lnTo>
                        <a:pt x="583201" y="236241"/>
                      </a:lnTo>
                      <a:lnTo>
                        <a:pt x="582800" y="235488"/>
                      </a:lnTo>
                      <a:lnTo>
                        <a:pt x="582217" y="234881"/>
                      </a:lnTo>
                      <a:lnTo>
                        <a:pt x="580663" y="233266"/>
                      </a:lnTo>
                      <a:lnTo>
                        <a:pt x="579522" y="232088"/>
                      </a:lnTo>
                      <a:lnTo>
                        <a:pt x="577943" y="231639"/>
                      </a:lnTo>
                      <a:lnTo>
                        <a:pt x="575709" y="231007"/>
                      </a:lnTo>
                      <a:lnTo>
                        <a:pt x="574179" y="230582"/>
                      </a:lnTo>
                      <a:lnTo>
                        <a:pt x="572637" y="230947"/>
                      </a:lnTo>
                      <a:lnTo>
                        <a:pt x="570293" y="231517"/>
                      </a:lnTo>
                      <a:lnTo>
                        <a:pt x="569127" y="231796"/>
                      </a:lnTo>
                      <a:lnTo>
                        <a:pt x="568156" y="232501"/>
                      </a:lnTo>
                      <a:lnTo>
                        <a:pt x="565375" y="234517"/>
                      </a:lnTo>
                      <a:lnTo>
                        <a:pt x="565047" y="234626"/>
                      </a:lnTo>
                      <a:lnTo>
                        <a:pt x="552783" y="235913"/>
                      </a:lnTo>
                      <a:lnTo>
                        <a:pt x="540907" y="234760"/>
                      </a:lnTo>
                      <a:lnTo>
                        <a:pt x="538770" y="231032"/>
                      </a:lnTo>
                      <a:lnTo>
                        <a:pt x="538381" y="230339"/>
                      </a:lnTo>
                      <a:lnTo>
                        <a:pt x="537823" y="229781"/>
                      </a:lnTo>
                      <a:lnTo>
                        <a:pt x="536681" y="228627"/>
                      </a:lnTo>
                      <a:lnTo>
                        <a:pt x="536354" y="228299"/>
                      </a:lnTo>
                      <a:lnTo>
                        <a:pt x="535989" y="228032"/>
                      </a:lnTo>
                      <a:lnTo>
                        <a:pt x="532274" y="225264"/>
                      </a:lnTo>
                      <a:lnTo>
                        <a:pt x="525449" y="218962"/>
                      </a:lnTo>
                      <a:lnTo>
                        <a:pt x="524490" y="218075"/>
                      </a:lnTo>
                      <a:lnTo>
                        <a:pt x="523239" y="217662"/>
                      </a:lnTo>
                      <a:lnTo>
                        <a:pt x="517544" y="215768"/>
                      </a:lnTo>
                      <a:lnTo>
                        <a:pt x="515516" y="214566"/>
                      </a:lnTo>
                      <a:lnTo>
                        <a:pt x="515686" y="214408"/>
                      </a:lnTo>
                      <a:lnTo>
                        <a:pt x="515990" y="214141"/>
                      </a:lnTo>
                      <a:lnTo>
                        <a:pt x="516257" y="213837"/>
                      </a:lnTo>
                      <a:lnTo>
                        <a:pt x="518200" y="211542"/>
                      </a:lnTo>
                      <a:lnTo>
                        <a:pt x="519220" y="210316"/>
                      </a:lnTo>
                      <a:lnTo>
                        <a:pt x="519511" y="208762"/>
                      </a:lnTo>
                      <a:lnTo>
                        <a:pt x="520203" y="205204"/>
                      </a:lnTo>
                      <a:lnTo>
                        <a:pt x="520313" y="204669"/>
                      </a:lnTo>
                      <a:lnTo>
                        <a:pt x="520313" y="204135"/>
                      </a:lnTo>
                      <a:lnTo>
                        <a:pt x="520434" y="194421"/>
                      </a:lnTo>
                      <a:lnTo>
                        <a:pt x="520446" y="193498"/>
                      </a:lnTo>
                      <a:lnTo>
                        <a:pt x="520191" y="192611"/>
                      </a:lnTo>
                      <a:lnTo>
                        <a:pt x="518394" y="186552"/>
                      </a:lnTo>
                      <a:lnTo>
                        <a:pt x="516038" y="173329"/>
                      </a:lnTo>
                      <a:lnTo>
                        <a:pt x="515868" y="172393"/>
                      </a:lnTo>
                      <a:lnTo>
                        <a:pt x="515419" y="171555"/>
                      </a:lnTo>
                      <a:lnTo>
                        <a:pt x="513865" y="168629"/>
                      </a:lnTo>
                      <a:lnTo>
                        <a:pt x="511691" y="164525"/>
                      </a:lnTo>
                      <a:lnTo>
                        <a:pt x="507162" y="165557"/>
                      </a:lnTo>
                      <a:lnTo>
                        <a:pt x="501236" y="166893"/>
                      </a:lnTo>
                      <a:lnTo>
                        <a:pt x="501236" y="166832"/>
                      </a:lnTo>
                      <a:lnTo>
                        <a:pt x="502499" y="163250"/>
                      </a:lnTo>
                      <a:lnTo>
                        <a:pt x="505498" y="159243"/>
                      </a:lnTo>
                      <a:lnTo>
                        <a:pt x="509093" y="156170"/>
                      </a:lnTo>
                      <a:lnTo>
                        <a:pt x="512954" y="154434"/>
                      </a:lnTo>
                      <a:lnTo>
                        <a:pt x="518139" y="152115"/>
                      </a:lnTo>
                      <a:lnTo>
                        <a:pt x="516160" y="146796"/>
                      </a:lnTo>
                      <a:lnTo>
                        <a:pt x="514678" y="142825"/>
                      </a:lnTo>
                      <a:lnTo>
                        <a:pt x="513962" y="139717"/>
                      </a:lnTo>
                      <a:lnTo>
                        <a:pt x="513780" y="136997"/>
                      </a:lnTo>
                      <a:lnTo>
                        <a:pt x="514071" y="133913"/>
                      </a:lnTo>
                      <a:lnTo>
                        <a:pt x="514156" y="133014"/>
                      </a:lnTo>
                      <a:lnTo>
                        <a:pt x="513974" y="132127"/>
                      </a:lnTo>
                      <a:lnTo>
                        <a:pt x="513938" y="131921"/>
                      </a:lnTo>
                      <a:lnTo>
                        <a:pt x="514618" y="131387"/>
                      </a:lnTo>
                      <a:lnTo>
                        <a:pt x="515322" y="130828"/>
                      </a:lnTo>
                      <a:lnTo>
                        <a:pt x="515832" y="130099"/>
                      </a:lnTo>
                      <a:lnTo>
                        <a:pt x="516512" y="129128"/>
                      </a:lnTo>
                      <a:lnTo>
                        <a:pt x="516973" y="128472"/>
                      </a:lnTo>
                      <a:lnTo>
                        <a:pt x="517241" y="127719"/>
                      </a:lnTo>
                      <a:lnTo>
                        <a:pt x="517884" y="125959"/>
                      </a:lnTo>
                      <a:lnTo>
                        <a:pt x="518030" y="125546"/>
                      </a:lnTo>
                      <a:lnTo>
                        <a:pt x="518127" y="125109"/>
                      </a:lnTo>
                      <a:lnTo>
                        <a:pt x="518758" y="122061"/>
                      </a:lnTo>
                      <a:lnTo>
                        <a:pt x="518904" y="121357"/>
                      </a:lnTo>
                      <a:lnTo>
                        <a:pt x="518880" y="120628"/>
                      </a:lnTo>
                      <a:lnTo>
                        <a:pt x="518771" y="117155"/>
                      </a:lnTo>
                      <a:lnTo>
                        <a:pt x="519038" y="114435"/>
                      </a:lnTo>
                      <a:lnTo>
                        <a:pt x="519572" y="112201"/>
                      </a:lnTo>
                      <a:lnTo>
                        <a:pt x="519657" y="111836"/>
                      </a:lnTo>
                      <a:lnTo>
                        <a:pt x="519693" y="111472"/>
                      </a:lnTo>
                      <a:lnTo>
                        <a:pt x="520495" y="104271"/>
                      </a:lnTo>
                      <a:lnTo>
                        <a:pt x="520531" y="103931"/>
                      </a:lnTo>
                      <a:lnTo>
                        <a:pt x="520531" y="103604"/>
                      </a:lnTo>
                      <a:lnTo>
                        <a:pt x="520531" y="101042"/>
                      </a:lnTo>
                      <a:lnTo>
                        <a:pt x="520531" y="100629"/>
                      </a:lnTo>
                      <a:lnTo>
                        <a:pt x="520483" y="100228"/>
                      </a:lnTo>
                      <a:lnTo>
                        <a:pt x="520191" y="98103"/>
                      </a:lnTo>
                      <a:lnTo>
                        <a:pt x="520118" y="97581"/>
                      </a:lnTo>
                      <a:lnTo>
                        <a:pt x="519961" y="97083"/>
                      </a:lnTo>
                      <a:lnTo>
                        <a:pt x="518771" y="93318"/>
                      </a:lnTo>
                      <a:lnTo>
                        <a:pt x="518649" y="92918"/>
                      </a:lnTo>
                      <a:lnTo>
                        <a:pt x="518467" y="92541"/>
                      </a:lnTo>
                      <a:lnTo>
                        <a:pt x="517835" y="91230"/>
                      </a:lnTo>
                      <a:lnTo>
                        <a:pt x="517593" y="90744"/>
                      </a:lnTo>
                      <a:lnTo>
                        <a:pt x="517277" y="90295"/>
                      </a:lnTo>
                      <a:lnTo>
                        <a:pt x="516585" y="89336"/>
                      </a:lnTo>
                      <a:lnTo>
                        <a:pt x="516391" y="89068"/>
                      </a:lnTo>
                      <a:lnTo>
                        <a:pt x="516160" y="88813"/>
                      </a:lnTo>
                      <a:lnTo>
                        <a:pt x="515152" y="87708"/>
                      </a:lnTo>
                      <a:lnTo>
                        <a:pt x="513112" y="84576"/>
                      </a:lnTo>
                      <a:lnTo>
                        <a:pt x="512821" y="84126"/>
                      </a:lnTo>
                      <a:lnTo>
                        <a:pt x="512444" y="83738"/>
                      </a:lnTo>
                      <a:lnTo>
                        <a:pt x="511776" y="83021"/>
                      </a:lnTo>
                      <a:lnTo>
                        <a:pt x="511339" y="82560"/>
                      </a:lnTo>
                      <a:lnTo>
                        <a:pt x="510817" y="82196"/>
                      </a:lnTo>
                      <a:lnTo>
                        <a:pt x="510064" y="81674"/>
                      </a:lnTo>
                      <a:lnTo>
                        <a:pt x="509445" y="81249"/>
                      </a:lnTo>
                      <a:lnTo>
                        <a:pt x="508741" y="80981"/>
                      </a:lnTo>
                      <a:lnTo>
                        <a:pt x="507818" y="80641"/>
                      </a:lnTo>
                      <a:lnTo>
                        <a:pt x="505802" y="80083"/>
                      </a:lnTo>
                      <a:lnTo>
                        <a:pt x="503458" y="79038"/>
                      </a:lnTo>
                      <a:lnTo>
                        <a:pt x="503009" y="78832"/>
                      </a:lnTo>
                      <a:lnTo>
                        <a:pt x="502535" y="78699"/>
                      </a:lnTo>
                      <a:lnTo>
                        <a:pt x="499463" y="77885"/>
                      </a:lnTo>
                      <a:lnTo>
                        <a:pt x="499014" y="77266"/>
                      </a:lnTo>
                      <a:lnTo>
                        <a:pt x="496780" y="72736"/>
                      </a:lnTo>
                      <a:lnTo>
                        <a:pt x="496513" y="72178"/>
                      </a:lnTo>
                      <a:lnTo>
                        <a:pt x="496136" y="71692"/>
                      </a:lnTo>
                      <a:lnTo>
                        <a:pt x="494885" y="70077"/>
                      </a:lnTo>
                      <a:lnTo>
                        <a:pt x="494497" y="69579"/>
                      </a:lnTo>
                      <a:lnTo>
                        <a:pt x="494023" y="69178"/>
                      </a:lnTo>
                      <a:lnTo>
                        <a:pt x="489992" y="65754"/>
                      </a:lnTo>
                      <a:lnTo>
                        <a:pt x="488923" y="64516"/>
                      </a:lnTo>
                      <a:lnTo>
                        <a:pt x="487563" y="62621"/>
                      </a:lnTo>
                      <a:lnTo>
                        <a:pt x="486094" y="60605"/>
                      </a:lnTo>
                      <a:lnTo>
                        <a:pt x="483617" y="60205"/>
                      </a:lnTo>
                      <a:lnTo>
                        <a:pt x="472312" y="58395"/>
                      </a:lnTo>
                      <a:lnTo>
                        <a:pt x="471049" y="58189"/>
                      </a:lnTo>
                      <a:lnTo>
                        <a:pt x="469810" y="58517"/>
                      </a:lnTo>
                      <a:lnTo>
                        <a:pt x="466714" y="59318"/>
                      </a:lnTo>
                      <a:lnTo>
                        <a:pt x="465147" y="59719"/>
                      </a:lnTo>
                      <a:lnTo>
                        <a:pt x="463982" y="60860"/>
                      </a:lnTo>
                      <a:lnTo>
                        <a:pt x="463690" y="61152"/>
                      </a:lnTo>
                      <a:lnTo>
                        <a:pt x="450940" y="65098"/>
                      </a:lnTo>
                      <a:lnTo>
                        <a:pt x="450624" y="65196"/>
                      </a:lnTo>
                      <a:lnTo>
                        <a:pt x="450321" y="65341"/>
                      </a:lnTo>
                      <a:lnTo>
                        <a:pt x="447164" y="66714"/>
                      </a:lnTo>
                      <a:lnTo>
                        <a:pt x="446435" y="67017"/>
                      </a:lnTo>
                      <a:lnTo>
                        <a:pt x="445816" y="67502"/>
                      </a:lnTo>
                      <a:lnTo>
                        <a:pt x="444602" y="68462"/>
                      </a:lnTo>
                      <a:lnTo>
                        <a:pt x="444043" y="68899"/>
                      </a:lnTo>
                      <a:lnTo>
                        <a:pt x="443606" y="69458"/>
                      </a:lnTo>
                      <a:lnTo>
                        <a:pt x="442865" y="70393"/>
                      </a:lnTo>
                      <a:lnTo>
                        <a:pt x="441918" y="71607"/>
                      </a:lnTo>
                      <a:lnTo>
                        <a:pt x="441651" y="73113"/>
                      </a:lnTo>
                      <a:lnTo>
                        <a:pt x="441323" y="74995"/>
                      </a:lnTo>
                      <a:lnTo>
                        <a:pt x="440874" y="74630"/>
                      </a:lnTo>
                      <a:lnTo>
                        <a:pt x="439842" y="73805"/>
                      </a:lnTo>
                      <a:lnTo>
                        <a:pt x="439149" y="73246"/>
                      </a:lnTo>
                      <a:lnTo>
                        <a:pt x="438336" y="72918"/>
                      </a:lnTo>
                      <a:lnTo>
                        <a:pt x="436794" y="72287"/>
                      </a:lnTo>
                      <a:lnTo>
                        <a:pt x="435786" y="71874"/>
                      </a:lnTo>
                      <a:lnTo>
                        <a:pt x="434705" y="71838"/>
                      </a:lnTo>
                      <a:lnTo>
                        <a:pt x="429957" y="71668"/>
                      </a:lnTo>
                      <a:lnTo>
                        <a:pt x="429690" y="71631"/>
                      </a:lnTo>
                      <a:lnTo>
                        <a:pt x="429544" y="71571"/>
                      </a:lnTo>
                      <a:lnTo>
                        <a:pt x="428463" y="71158"/>
                      </a:lnTo>
                      <a:lnTo>
                        <a:pt x="427298" y="71170"/>
                      </a:lnTo>
                      <a:lnTo>
                        <a:pt x="412520" y="71352"/>
                      </a:lnTo>
                      <a:lnTo>
                        <a:pt x="410540" y="71146"/>
                      </a:lnTo>
                      <a:lnTo>
                        <a:pt x="410188" y="71024"/>
                      </a:lnTo>
                      <a:lnTo>
                        <a:pt x="410115" y="70988"/>
                      </a:lnTo>
                      <a:lnTo>
                        <a:pt x="410079" y="70939"/>
                      </a:lnTo>
                      <a:lnTo>
                        <a:pt x="407857" y="67903"/>
                      </a:lnTo>
                      <a:lnTo>
                        <a:pt x="407602" y="67563"/>
                      </a:lnTo>
                      <a:lnTo>
                        <a:pt x="407298" y="67260"/>
                      </a:lnTo>
                      <a:lnTo>
                        <a:pt x="405914" y="65851"/>
                      </a:lnTo>
                      <a:lnTo>
                        <a:pt x="405064" y="64989"/>
                      </a:lnTo>
                      <a:lnTo>
                        <a:pt x="403947" y="64516"/>
                      </a:lnTo>
                      <a:lnTo>
                        <a:pt x="401191" y="63338"/>
                      </a:lnTo>
                      <a:lnTo>
                        <a:pt x="400438" y="63022"/>
                      </a:lnTo>
                      <a:lnTo>
                        <a:pt x="399624" y="62913"/>
                      </a:lnTo>
                      <a:lnTo>
                        <a:pt x="383607" y="60751"/>
                      </a:lnTo>
                      <a:lnTo>
                        <a:pt x="383450" y="60702"/>
                      </a:lnTo>
                      <a:lnTo>
                        <a:pt x="381337" y="56987"/>
                      </a:lnTo>
                      <a:lnTo>
                        <a:pt x="381045" y="56465"/>
                      </a:lnTo>
                      <a:lnTo>
                        <a:pt x="380645" y="56015"/>
                      </a:lnTo>
                      <a:lnTo>
                        <a:pt x="379443" y="54619"/>
                      </a:lnTo>
                      <a:lnTo>
                        <a:pt x="378908" y="54000"/>
                      </a:lnTo>
                      <a:lnTo>
                        <a:pt x="378228" y="53550"/>
                      </a:lnTo>
                      <a:lnTo>
                        <a:pt x="376735" y="52555"/>
                      </a:lnTo>
                      <a:lnTo>
                        <a:pt x="376152" y="52166"/>
                      </a:lnTo>
                      <a:lnTo>
                        <a:pt x="375496" y="51923"/>
                      </a:lnTo>
                      <a:lnTo>
                        <a:pt x="371829" y="50551"/>
                      </a:lnTo>
                      <a:lnTo>
                        <a:pt x="371307" y="50345"/>
                      </a:lnTo>
                      <a:lnTo>
                        <a:pt x="370760" y="50247"/>
                      </a:lnTo>
                      <a:lnTo>
                        <a:pt x="368635" y="49871"/>
                      </a:lnTo>
                      <a:lnTo>
                        <a:pt x="368113" y="49774"/>
                      </a:lnTo>
                      <a:lnTo>
                        <a:pt x="367579" y="49774"/>
                      </a:lnTo>
                      <a:lnTo>
                        <a:pt x="365393" y="49774"/>
                      </a:lnTo>
                      <a:lnTo>
                        <a:pt x="364883" y="49774"/>
                      </a:lnTo>
                      <a:lnTo>
                        <a:pt x="364373" y="49859"/>
                      </a:lnTo>
                      <a:lnTo>
                        <a:pt x="352376" y="51923"/>
                      </a:lnTo>
                      <a:lnTo>
                        <a:pt x="351611" y="52069"/>
                      </a:lnTo>
                      <a:lnTo>
                        <a:pt x="350907" y="52385"/>
                      </a:lnTo>
                      <a:lnTo>
                        <a:pt x="343329" y="55797"/>
                      </a:lnTo>
                      <a:lnTo>
                        <a:pt x="342491" y="56173"/>
                      </a:lnTo>
                      <a:lnTo>
                        <a:pt x="341799" y="56793"/>
                      </a:lnTo>
                      <a:lnTo>
                        <a:pt x="340767" y="57703"/>
                      </a:lnTo>
                      <a:lnTo>
                        <a:pt x="339674" y="58820"/>
                      </a:lnTo>
                      <a:lnTo>
                        <a:pt x="339031" y="59500"/>
                      </a:lnTo>
                      <a:lnTo>
                        <a:pt x="338618" y="60338"/>
                      </a:lnTo>
                      <a:lnTo>
                        <a:pt x="337197" y="63253"/>
                      </a:lnTo>
                      <a:lnTo>
                        <a:pt x="336384" y="63580"/>
                      </a:lnTo>
                      <a:lnTo>
                        <a:pt x="333166" y="64139"/>
                      </a:lnTo>
                      <a:lnTo>
                        <a:pt x="333069" y="64042"/>
                      </a:lnTo>
                      <a:lnTo>
                        <a:pt x="332206" y="63313"/>
                      </a:lnTo>
                      <a:lnTo>
                        <a:pt x="331818" y="62998"/>
                      </a:lnTo>
                      <a:lnTo>
                        <a:pt x="331381" y="62742"/>
                      </a:lnTo>
                      <a:lnTo>
                        <a:pt x="329766" y="61795"/>
                      </a:lnTo>
                      <a:lnTo>
                        <a:pt x="329025" y="61358"/>
                      </a:lnTo>
                      <a:lnTo>
                        <a:pt x="328187" y="61140"/>
                      </a:lnTo>
                      <a:lnTo>
                        <a:pt x="325224" y="60387"/>
                      </a:lnTo>
                      <a:lnTo>
                        <a:pt x="325079" y="58978"/>
                      </a:lnTo>
                      <a:lnTo>
                        <a:pt x="324253" y="57715"/>
                      </a:lnTo>
                      <a:lnTo>
                        <a:pt x="323670" y="56841"/>
                      </a:lnTo>
                      <a:lnTo>
                        <a:pt x="322905" y="55687"/>
                      </a:lnTo>
                      <a:lnTo>
                        <a:pt x="321727" y="54983"/>
                      </a:lnTo>
                      <a:lnTo>
                        <a:pt x="320574" y="54291"/>
                      </a:lnTo>
                      <a:lnTo>
                        <a:pt x="320015" y="53951"/>
                      </a:lnTo>
                      <a:lnTo>
                        <a:pt x="319396" y="53745"/>
                      </a:lnTo>
                      <a:lnTo>
                        <a:pt x="314903" y="52227"/>
                      </a:lnTo>
                      <a:lnTo>
                        <a:pt x="310616" y="38870"/>
                      </a:lnTo>
                      <a:lnTo>
                        <a:pt x="310106" y="37570"/>
                      </a:lnTo>
                      <a:lnTo>
                        <a:pt x="309900" y="37073"/>
                      </a:lnTo>
                      <a:lnTo>
                        <a:pt x="309608" y="36611"/>
                      </a:lnTo>
                      <a:lnTo>
                        <a:pt x="309183" y="35943"/>
                      </a:lnTo>
                      <a:lnTo>
                        <a:pt x="308346" y="34753"/>
                      </a:lnTo>
                      <a:lnTo>
                        <a:pt x="307617" y="33757"/>
                      </a:lnTo>
                      <a:lnTo>
                        <a:pt x="306573" y="33163"/>
                      </a:lnTo>
                      <a:lnTo>
                        <a:pt x="304776" y="32069"/>
                      </a:lnTo>
                      <a:lnTo>
                        <a:pt x="304411" y="31875"/>
                      </a:lnTo>
                      <a:lnTo>
                        <a:pt x="302651" y="30370"/>
                      </a:lnTo>
                      <a:lnTo>
                        <a:pt x="301473" y="29070"/>
                      </a:lnTo>
                      <a:lnTo>
                        <a:pt x="300744" y="28269"/>
                      </a:lnTo>
                      <a:lnTo>
                        <a:pt x="299785" y="27771"/>
                      </a:lnTo>
                      <a:lnTo>
                        <a:pt x="294976" y="25245"/>
                      </a:lnTo>
                      <a:lnTo>
                        <a:pt x="293701" y="24565"/>
                      </a:lnTo>
                      <a:lnTo>
                        <a:pt x="292256" y="24541"/>
                      </a:lnTo>
                      <a:lnTo>
                        <a:pt x="284849" y="24420"/>
                      </a:lnTo>
                      <a:lnTo>
                        <a:pt x="284303" y="24407"/>
                      </a:lnTo>
                      <a:lnTo>
                        <a:pt x="283756" y="24505"/>
                      </a:lnTo>
                      <a:lnTo>
                        <a:pt x="280939" y="24978"/>
                      </a:lnTo>
                      <a:lnTo>
                        <a:pt x="276191" y="22234"/>
                      </a:lnTo>
                      <a:lnTo>
                        <a:pt x="275766" y="21991"/>
                      </a:lnTo>
                      <a:lnTo>
                        <a:pt x="275305" y="21809"/>
                      </a:lnTo>
                      <a:lnTo>
                        <a:pt x="263696" y="17413"/>
                      </a:lnTo>
                      <a:lnTo>
                        <a:pt x="263198" y="17219"/>
                      </a:lnTo>
                      <a:lnTo>
                        <a:pt x="262676" y="17122"/>
                      </a:lnTo>
                      <a:lnTo>
                        <a:pt x="259980" y="16612"/>
                      </a:lnTo>
                      <a:lnTo>
                        <a:pt x="258875" y="16393"/>
                      </a:lnTo>
                      <a:lnTo>
                        <a:pt x="257770" y="16599"/>
                      </a:lnTo>
                      <a:lnTo>
                        <a:pt x="254431" y="17206"/>
                      </a:lnTo>
                      <a:lnTo>
                        <a:pt x="253095" y="17304"/>
                      </a:lnTo>
                      <a:lnTo>
                        <a:pt x="252682" y="17231"/>
                      </a:lnTo>
                      <a:lnTo>
                        <a:pt x="251978" y="16951"/>
                      </a:lnTo>
                      <a:lnTo>
                        <a:pt x="250327" y="16053"/>
                      </a:lnTo>
                      <a:lnTo>
                        <a:pt x="249246" y="15458"/>
                      </a:lnTo>
                      <a:lnTo>
                        <a:pt x="248007" y="15324"/>
                      </a:lnTo>
                      <a:lnTo>
                        <a:pt x="246562" y="15179"/>
                      </a:lnTo>
                      <a:lnTo>
                        <a:pt x="245809" y="15106"/>
                      </a:lnTo>
                      <a:lnTo>
                        <a:pt x="245057" y="15227"/>
                      </a:lnTo>
                      <a:lnTo>
                        <a:pt x="243745" y="15434"/>
                      </a:lnTo>
                      <a:lnTo>
                        <a:pt x="243150" y="15531"/>
                      </a:lnTo>
                      <a:lnTo>
                        <a:pt x="242592" y="15737"/>
                      </a:lnTo>
                      <a:lnTo>
                        <a:pt x="241972" y="15968"/>
                      </a:lnTo>
                      <a:lnTo>
                        <a:pt x="241061" y="16114"/>
                      </a:lnTo>
                      <a:lnTo>
                        <a:pt x="240612" y="16199"/>
                      </a:lnTo>
                      <a:lnTo>
                        <a:pt x="240175" y="16332"/>
                      </a:lnTo>
                      <a:lnTo>
                        <a:pt x="239021" y="16697"/>
                      </a:lnTo>
                      <a:lnTo>
                        <a:pt x="238378" y="16915"/>
                      </a:lnTo>
                      <a:lnTo>
                        <a:pt x="237795" y="17243"/>
                      </a:lnTo>
                      <a:lnTo>
                        <a:pt x="237006" y="17704"/>
                      </a:lnTo>
                      <a:lnTo>
                        <a:pt x="235998" y="18300"/>
                      </a:lnTo>
                      <a:lnTo>
                        <a:pt x="235281" y="19235"/>
                      </a:lnTo>
                      <a:lnTo>
                        <a:pt x="235014" y="19574"/>
                      </a:lnTo>
                      <a:lnTo>
                        <a:pt x="226696" y="16369"/>
                      </a:lnTo>
                      <a:lnTo>
                        <a:pt x="224972" y="12981"/>
                      </a:lnTo>
                      <a:lnTo>
                        <a:pt x="223576" y="10710"/>
                      </a:lnTo>
                      <a:lnTo>
                        <a:pt x="223272" y="10212"/>
                      </a:lnTo>
                      <a:lnTo>
                        <a:pt x="222871" y="9799"/>
                      </a:lnTo>
                      <a:lnTo>
                        <a:pt x="222179" y="9046"/>
                      </a:lnTo>
                      <a:lnTo>
                        <a:pt x="221742" y="8573"/>
                      </a:lnTo>
                      <a:lnTo>
                        <a:pt x="221232" y="8209"/>
                      </a:lnTo>
                      <a:lnTo>
                        <a:pt x="218706" y="6436"/>
                      </a:lnTo>
                      <a:lnTo>
                        <a:pt x="218148" y="6059"/>
                      </a:lnTo>
                      <a:lnTo>
                        <a:pt x="217529" y="5804"/>
                      </a:lnTo>
                      <a:lnTo>
                        <a:pt x="209951" y="2671"/>
                      </a:lnTo>
                      <a:lnTo>
                        <a:pt x="203540" y="0"/>
                      </a:lnTo>
                      <a:lnTo>
                        <a:pt x="203540" y="0"/>
                      </a:lnTo>
                      <a:close/>
                      <a:moveTo>
                        <a:pt x="595393" y="570657"/>
                      </a:moveTo>
                      <a:lnTo>
                        <a:pt x="595818" y="569383"/>
                      </a:lnTo>
                      <a:lnTo>
                        <a:pt x="595830" y="569346"/>
                      </a:lnTo>
                      <a:lnTo>
                        <a:pt x="597153" y="569698"/>
                      </a:lnTo>
                      <a:lnTo>
                        <a:pt x="599290" y="570451"/>
                      </a:lnTo>
                      <a:lnTo>
                        <a:pt x="605155" y="572467"/>
                      </a:lnTo>
                      <a:lnTo>
                        <a:pt x="604597" y="573960"/>
                      </a:lnTo>
                      <a:lnTo>
                        <a:pt x="603808" y="573450"/>
                      </a:lnTo>
                      <a:lnTo>
                        <a:pt x="603152" y="573038"/>
                      </a:lnTo>
                      <a:lnTo>
                        <a:pt x="602411" y="572794"/>
                      </a:lnTo>
                      <a:lnTo>
                        <a:pt x="596789" y="570973"/>
                      </a:lnTo>
                      <a:lnTo>
                        <a:pt x="596400" y="570840"/>
                      </a:lnTo>
                      <a:lnTo>
                        <a:pt x="595987" y="570767"/>
                      </a:lnTo>
                      <a:lnTo>
                        <a:pt x="595393" y="570657"/>
                      </a:lnTo>
                      <a:lnTo>
                        <a:pt x="595393" y="570657"/>
                      </a:lnTo>
                      <a:close/>
                    </a:path>
                  </a:pathLst>
                </a:custGeom>
                <a:solidFill>
                  <a:srgbClr val="FFFFFF"/>
                </a:solidFill>
                <a:ln w="12138" cap="flat">
                  <a:noFill/>
                  <a:prstDash val="solid"/>
                  <a:miter/>
                </a:ln>
              </p:spPr>
              <p:txBody>
                <a:bodyPr rtlCol="0" anchor="ctr"/>
                <a:lstStyle/>
                <a:p>
                  <a:endParaRPr lang="en-US"/>
                </a:p>
              </p:txBody>
            </p:sp>
          </p:grpSp>
          <p:grpSp>
            <p:nvGrpSpPr>
              <p:cNvPr id="259" name="Graphic 280">
                <a:extLst>
                  <a:ext uri="{FF2B5EF4-FFF2-40B4-BE49-F238E27FC236}">
                    <a16:creationId xmlns:a16="http://schemas.microsoft.com/office/drawing/2014/main" id="{94D16E01-3C10-4BFE-A87F-E5A6C5C73DED}"/>
                  </a:ext>
                </a:extLst>
              </p:cNvPr>
              <p:cNvGrpSpPr/>
              <p:nvPr/>
            </p:nvGrpSpPr>
            <p:grpSpPr>
              <a:xfrm>
                <a:off x="3351696" y="3205317"/>
                <a:ext cx="1197657" cy="926154"/>
                <a:chOff x="3351696" y="3205317"/>
                <a:chExt cx="1197657" cy="926154"/>
              </a:xfrm>
            </p:grpSpPr>
            <p:sp>
              <p:nvSpPr>
                <p:cNvPr id="320" name="Freeform: Shape 319">
                  <a:extLst>
                    <a:ext uri="{FF2B5EF4-FFF2-40B4-BE49-F238E27FC236}">
                      <a16:creationId xmlns:a16="http://schemas.microsoft.com/office/drawing/2014/main" id="{731582C2-3910-428E-BB3D-52386B4830B0}"/>
                    </a:ext>
                  </a:extLst>
                </p:cNvPr>
                <p:cNvSpPr/>
                <p:nvPr/>
              </p:nvSpPr>
              <p:spPr>
                <a:xfrm>
                  <a:off x="3355193" y="3208426"/>
                  <a:ext cx="1191185" cy="920179"/>
                </a:xfrm>
                <a:custGeom>
                  <a:avLst/>
                  <a:gdLst>
                    <a:gd name="connsiteX0" fmla="*/ 855774 w 1191185"/>
                    <a:gd name="connsiteY0" fmla="*/ 920168 h 920179"/>
                    <a:gd name="connsiteX1" fmla="*/ 857073 w 1191185"/>
                    <a:gd name="connsiteY1" fmla="*/ 914448 h 920179"/>
                    <a:gd name="connsiteX2" fmla="*/ 860509 w 1191185"/>
                    <a:gd name="connsiteY2" fmla="*/ 904989 h 920179"/>
                    <a:gd name="connsiteX3" fmla="*/ 861566 w 1191185"/>
                    <a:gd name="connsiteY3" fmla="*/ 897023 h 920179"/>
                    <a:gd name="connsiteX4" fmla="*/ 862221 w 1191185"/>
                    <a:gd name="connsiteY4" fmla="*/ 894546 h 920179"/>
                    <a:gd name="connsiteX5" fmla="*/ 864687 w 1191185"/>
                    <a:gd name="connsiteY5" fmla="*/ 890867 h 920179"/>
                    <a:gd name="connsiteX6" fmla="*/ 863594 w 1191185"/>
                    <a:gd name="connsiteY6" fmla="*/ 889616 h 920179"/>
                    <a:gd name="connsiteX7" fmla="*/ 863375 w 1191185"/>
                    <a:gd name="connsiteY7" fmla="*/ 889070 h 920179"/>
                    <a:gd name="connsiteX8" fmla="*/ 862926 w 1191185"/>
                    <a:gd name="connsiteY8" fmla="*/ 887358 h 920179"/>
                    <a:gd name="connsiteX9" fmla="*/ 862926 w 1191185"/>
                    <a:gd name="connsiteY9" fmla="*/ 882731 h 920179"/>
                    <a:gd name="connsiteX10" fmla="*/ 863181 w 1191185"/>
                    <a:gd name="connsiteY10" fmla="*/ 882160 h 920179"/>
                    <a:gd name="connsiteX11" fmla="*/ 864116 w 1191185"/>
                    <a:gd name="connsiteY11" fmla="*/ 876113 h 920179"/>
                    <a:gd name="connsiteX12" fmla="*/ 866034 w 1191185"/>
                    <a:gd name="connsiteY12" fmla="*/ 872106 h 920179"/>
                    <a:gd name="connsiteX13" fmla="*/ 868329 w 1191185"/>
                    <a:gd name="connsiteY13" fmla="*/ 868681 h 920179"/>
                    <a:gd name="connsiteX14" fmla="*/ 869920 w 1191185"/>
                    <a:gd name="connsiteY14" fmla="*/ 865488 h 920179"/>
                    <a:gd name="connsiteX15" fmla="*/ 870394 w 1191185"/>
                    <a:gd name="connsiteY15" fmla="*/ 861991 h 920179"/>
                    <a:gd name="connsiteX16" fmla="*/ 870831 w 1191185"/>
                    <a:gd name="connsiteY16" fmla="*/ 859477 h 920179"/>
                    <a:gd name="connsiteX17" fmla="*/ 873381 w 1191185"/>
                    <a:gd name="connsiteY17" fmla="*/ 859477 h 920179"/>
                    <a:gd name="connsiteX18" fmla="*/ 874899 w 1191185"/>
                    <a:gd name="connsiteY18" fmla="*/ 858579 h 920179"/>
                    <a:gd name="connsiteX19" fmla="*/ 876829 w 1191185"/>
                    <a:gd name="connsiteY19" fmla="*/ 856939 h 920179"/>
                    <a:gd name="connsiteX20" fmla="*/ 877777 w 1191185"/>
                    <a:gd name="connsiteY20" fmla="*/ 855858 h 920179"/>
                    <a:gd name="connsiteX21" fmla="*/ 878663 w 1191185"/>
                    <a:gd name="connsiteY21" fmla="*/ 853734 h 920179"/>
                    <a:gd name="connsiteX22" fmla="*/ 880642 w 1191185"/>
                    <a:gd name="connsiteY22" fmla="*/ 854304 h 920179"/>
                    <a:gd name="connsiteX23" fmla="*/ 884540 w 1191185"/>
                    <a:gd name="connsiteY23" fmla="*/ 854790 h 920179"/>
                    <a:gd name="connsiteX24" fmla="*/ 887940 w 1191185"/>
                    <a:gd name="connsiteY24" fmla="*/ 854074 h 920179"/>
                    <a:gd name="connsiteX25" fmla="*/ 889288 w 1191185"/>
                    <a:gd name="connsiteY25" fmla="*/ 853090 h 920179"/>
                    <a:gd name="connsiteX26" fmla="*/ 889592 w 1191185"/>
                    <a:gd name="connsiteY26" fmla="*/ 849192 h 920179"/>
                    <a:gd name="connsiteX27" fmla="*/ 888778 w 1191185"/>
                    <a:gd name="connsiteY27" fmla="*/ 846120 h 920179"/>
                    <a:gd name="connsiteX28" fmla="*/ 886896 w 1191185"/>
                    <a:gd name="connsiteY28" fmla="*/ 843558 h 920179"/>
                    <a:gd name="connsiteX29" fmla="*/ 880946 w 1191185"/>
                    <a:gd name="connsiteY29" fmla="*/ 841275 h 920179"/>
                    <a:gd name="connsiteX30" fmla="*/ 889179 w 1191185"/>
                    <a:gd name="connsiteY30" fmla="*/ 829448 h 920179"/>
                    <a:gd name="connsiteX31" fmla="*/ 890223 w 1191185"/>
                    <a:gd name="connsiteY31" fmla="*/ 826376 h 920179"/>
                    <a:gd name="connsiteX32" fmla="*/ 890818 w 1191185"/>
                    <a:gd name="connsiteY32" fmla="*/ 822781 h 920179"/>
                    <a:gd name="connsiteX33" fmla="*/ 890952 w 1191185"/>
                    <a:gd name="connsiteY33" fmla="*/ 818823 h 920179"/>
                    <a:gd name="connsiteX34" fmla="*/ 890830 w 1191185"/>
                    <a:gd name="connsiteY34" fmla="*/ 816783 h 920179"/>
                    <a:gd name="connsiteX35" fmla="*/ 890041 w 1191185"/>
                    <a:gd name="connsiteY35" fmla="*/ 813031 h 920179"/>
                    <a:gd name="connsiteX36" fmla="*/ 889810 w 1191185"/>
                    <a:gd name="connsiteY36" fmla="*/ 810590 h 920179"/>
                    <a:gd name="connsiteX37" fmla="*/ 890515 w 1191185"/>
                    <a:gd name="connsiteY37" fmla="*/ 807615 h 920179"/>
                    <a:gd name="connsiteX38" fmla="*/ 890745 w 1191185"/>
                    <a:gd name="connsiteY38" fmla="*/ 806886 h 920179"/>
                    <a:gd name="connsiteX39" fmla="*/ 893405 w 1191185"/>
                    <a:gd name="connsiteY39" fmla="*/ 804288 h 920179"/>
                    <a:gd name="connsiteX40" fmla="*/ 893769 w 1191185"/>
                    <a:gd name="connsiteY40" fmla="*/ 802891 h 920179"/>
                    <a:gd name="connsiteX41" fmla="*/ 894340 w 1191185"/>
                    <a:gd name="connsiteY41" fmla="*/ 794537 h 920179"/>
                    <a:gd name="connsiteX42" fmla="*/ 894109 w 1191185"/>
                    <a:gd name="connsiteY42" fmla="*/ 791902 h 920179"/>
                    <a:gd name="connsiteX43" fmla="*/ 891316 w 1191185"/>
                    <a:gd name="connsiteY43" fmla="*/ 787348 h 920179"/>
                    <a:gd name="connsiteX44" fmla="*/ 899682 w 1191185"/>
                    <a:gd name="connsiteY44" fmla="*/ 781592 h 920179"/>
                    <a:gd name="connsiteX45" fmla="*/ 899209 w 1191185"/>
                    <a:gd name="connsiteY45" fmla="*/ 781362 h 920179"/>
                    <a:gd name="connsiteX46" fmla="*/ 896428 w 1191185"/>
                    <a:gd name="connsiteY46" fmla="*/ 778958 h 920179"/>
                    <a:gd name="connsiteX47" fmla="*/ 896343 w 1191185"/>
                    <a:gd name="connsiteY47" fmla="*/ 779067 h 920179"/>
                    <a:gd name="connsiteX48" fmla="*/ 890308 w 1191185"/>
                    <a:gd name="connsiteY48" fmla="*/ 775509 h 920179"/>
                    <a:gd name="connsiteX49" fmla="*/ 888693 w 1191185"/>
                    <a:gd name="connsiteY49" fmla="*/ 768939 h 920179"/>
                    <a:gd name="connsiteX50" fmla="*/ 889094 w 1191185"/>
                    <a:gd name="connsiteY50" fmla="*/ 767822 h 920179"/>
                    <a:gd name="connsiteX51" fmla="*/ 874838 w 1191185"/>
                    <a:gd name="connsiteY51" fmla="*/ 778059 h 920179"/>
                    <a:gd name="connsiteX52" fmla="*/ 882767 w 1191185"/>
                    <a:gd name="connsiteY52" fmla="*/ 763366 h 920179"/>
                    <a:gd name="connsiteX53" fmla="*/ 884285 w 1191185"/>
                    <a:gd name="connsiteY53" fmla="*/ 756323 h 920179"/>
                    <a:gd name="connsiteX54" fmla="*/ 884929 w 1191185"/>
                    <a:gd name="connsiteY54" fmla="*/ 755679 h 920179"/>
                    <a:gd name="connsiteX55" fmla="*/ 879549 w 1191185"/>
                    <a:gd name="connsiteY55" fmla="*/ 749280 h 920179"/>
                    <a:gd name="connsiteX56" fmla="*/ 885147 w 1191185"/>
                    <a:gd name="connsiteY56" fmla="*/ 743961 h 920179"/>
                    <a:gd name="connsiteX57" fmla="*/ 881759 w 1191185"/>
                    <a:gd name="connsiteY57" fmla="*/ 744399 h 920179"/>
                    <a:gd name="connsiteX58" fmla="*/ 878359 w 1191185"/>
                    <a:gd name="connsiteY58" fmla="*/ 740561 h 920179"/>
                    <a:gd name="connsiteX59" fmla="*/ 877862 w 1191185"/>
                    <a:gd name="connsiteY59" fmla="*/ 738011 h 920179"/>
                    <a:gd name="connsiteX60" fmla="*/ 877339 w 1191185"/>
                    <a:gd name="connsiteY60" fmla="*/ 737635 h 920179"/>
                    <a:gd name="connsiteX61" fmla="*/ 876732 w 1191185"/>
                    <a:gd name="connsiteY61" fmla="*/ 737502 h 920179"/>
                    <a:gd name="connsiteX62" fmla="*/ 876113 w 1191185"/>
                    <a:gd name="connsiteY62" fmla="*/ 737623 h 920179"/>
                    <a:gd name="connsiteX63" fmla="*/ 873514 w 1191185"/>
                    <a:gd name="connsiteY63" fmla="*/ 737356 h 920179"/>
                    <a:gd name="connsiteX64" fmla="*/ 872409 w 1191185"/>
                    <a:gd name="connsiteY64" fmla="*/ 736676 h 920179"/>
                    <a:gd name="connsiteX65" fmla="*/ 871037 w 1191185"/>
                    <a:gd name="connsiteY65" fmla="*/ 735546 h 920179"/>
                    <a:gd name="connsiteX66" fmla="*/ 869131 w 1191185"/>
                    <a:gd name="connsiteY66" fmla="*/ 732875 h 920179"/>
                    <a:gd name="connsiteX67" fmla="*/ 867747 w 1191185"/>
                    <a:gd name="connsiteY67" fmla="*/ 729159 h 920179"/>
                    <a:gd name="connsiteX68" fmla="*/ 866544 w 1191185"/>
                    <a:gd name="connsiteY68" fmla="*/ 725565 h 920179"/>
                    <a:gd name="connsiteX69" fmla="*/ 873527 w 1191185"/>
                    <a:gd name="connsiteY69" fmla="*/ 724836 h 920179"/>
                    <a:gd name="connsiteX70" fmla="*/ 881711 w 1191185"/>
                    <a:gd name="connsiteY70" fmla="*/ 726160 h 920179"/>
                    <a:gd name="connsiteX71" fmla="*/ 882658 w 1191185"/>
                    <a:gd name="connsiteY71" fmla="*/ 725881 h 920179"/>
                    <a:gd name="connsiteX72" fmla="*/ 877242 w 1191185"/>
                    <a:gd name="connsiteY72" fmla="*/ 713507 h 920179"/>
                    <a:gd name="connsiteX73" fmla="*/ 877121 w 1191185"/>
                    <a:gd name="connsiteY73" fmla="*/ 713519 h 920179"/>
                    <a:gd name="connsiteX74" fmla="*/ 867601 w 1191185"/>
                    <a:gd name="connsiteY74" fmla="*/ 718085 h 920179"/>
                    <a:gd name="connsiteX75" fmla="*/ 867564 w 1191185"/>
                    <a:gd name="connsiteY75" fmla="*/ 718898 h 920179"/>
                    <a:gd name="connsiteX76" fmla="*/ 865937 w 1191185"/>
                    <a:gd name="connsiteY76" fmla="*/ 720623 h 920179"/>
                    <a:gd name="connsiteX77" fmla="*/ 859417 w 1191185"/>
                    <a:gd name="connsiteY77" fmla="*/ 723865 h 920179"/>
                    <a:gd name="connsiteX78" fmla="*/ 854207 w 1191185"/>
                    <a:gd name="connsiteY78" fmla="*/ 726245 h 920179"/>
                    <a:gd name="connsiteX79" fmla="*/ 856211 w 1191185"/>
                    <a:gd name="connsiteY79" fmla="*/ 714418 h 920179"/>
                    <a:gd name="connsiteX80" fmla="*/ 859344 w 1191185"/>
                    <a:gd name="connsiteY80" fmla="*/ 708771 h 920179"/>
                    <a:gd name="connsiteX81" fmla="*/ 859720 w 1191185"/>
                    <a:gd name="connsiteY81" fmla="*/ 707897 h 920179"/>
                    <a:gd name="connsiteX82" fmla="*/ 856235 w 1191185"/>
                    <a:gd name="connsiteY82" fmla="*/ 707812 h 920179"/>
                    <a:gd name="connsiteX83" fmla="*/ 856016 w 1191185"/>
                    <a:gd name="connsiteY83" fmla="*/ 707921 h 920179"/>
                    <a:gd name="connsiteX84" fmla="*/ 855798 w 1191185"/>
                    <a:gd name="connsiteY84" fmla="*/ 708431 h 920179"/>
                    <a:gd name="connsiteX85" fmla="*/ 856089 w 1191185"/>
                    <a:gd name="connsiteY85" fmla="*/ 713531 h 920179"/>
                    <a:gd name="connsiteX86" fmla="*/ 855506 w 1191185"/>
                    <a:gd name="connsiteY86" fmla="*/ 718146 h 920179"/>
                    <a:gd name="connsiteX87" fmla="*/ 853418 w 1191185"/>
                    <a:gd name="connsiteY87" fmla="*/ 719250 h 920179"/>
                    <a:gd name="connsiteX88" fmla="*/ 851694 w 1191185"/>
                    <a:gd name="connsiteY88" fmla="*/ 719712 h 920179"/>
                    <a:gd name="connsiteX89" fmla="*/ 851184 w 1191185"/>
                    <a:gd name="connsiteY89" fmla="*/ 719688 h 920179"/>
                    <a:gd name="connsiteX90" fmla="*/ 846873 w 1191185"/>
                    <a:gd name="connsiteY90" fmla="*/ 722359 h 920179"/>
                    <a:gd name="connsiteX91" fmla="*/ 843096 w 1191185"/>
                    <a:gd name="connsiteY91" fmla="*/ 721121 h 920179"/>
                    <a:gd name="connsiteX92" fmla="*/ 839077 w 1191185"/>
                    <a:gd name="connsiteY92" fmla="*/ 716008 h 920179"/>
                    <a:gd name="connsiteX93" fmla="*/ 839271 w 1191185"/>
                    <a:gd name="connsiteY93" fmla="*/ 711090 h 920179"/>
                    <a:gd name="connsiteX94" fmla="*/ 842817 w 1191185"/>
                    <a:gd name="connsiteY94" fmla="*/ 707083 h 920179"/>
                    <a:gd name="connsiteX95" fmla="*/ 855154 w 1191185"/>
                    <a:gd name="connsiteY95" fmla="*/ 698292 h 920179"/>
                    <a:gd name="connsiteX96" fmla="*/ 857389 w 1191185"/>
                    <a:gd name="connsiteY96" fmla="*/ 696276 h 920179"/>
                    <a:gd name="connsiteX97" fmla="*/ 854086 w 1191185"/>
                    <a:gd name="connsiteY97" fmla="*/ 695183 h 920179"/>
                    <a:gd name="connsiteX98" fmla="*/ 852046 w 1191185"/>
                    <a:gd name="connsiteY98" fmla="*/ 692876 h 920179"/>
                    <a:gd name="connsiteX99" fmla="*/ 851026 w 1191185"/>
                    <a:gd name="connsiteY99" fmla="*/ 691322 h 920179"/>
                    <a:gd name="connsiteX100" fmla="*/ 849301 w 1191185"/>
                    <a:gd name="connsiteY100" fmla="*/ 690593 h 920179"/>
                    <a:gd name="connsiteX101" fmla="*/ 845489 w 1191185"/>
                    <a:gd name="connsiteY101" fmla="*/ 687813 h 920179"/>
                    <a:gd name="connsiteX102" fmla="*/ 842683 w 1191185"/>
                    <a:gd name="connsiteY102" fmla="*/ 690606 h 920179"/>
                    <a:gd name="connsiteX103" fmla="*/ 838215 w 1191185"/>
                    <a:gd name="connsiteY103" fmla="*/ 685493 h 920179"/>
                    <a:gd name="connsiteX104" fmla="*/ 836879 w 1191185"/>
                    <a:gd name="connsiteY104" fmla="*/ 682324 h 920179"/>
                    <a:gd name="connsiteX105" fmla="*/ 835932 w 1191185"/>
                    <a:gd name="connsiteY105" fmla="*/ 675864 h 920179"/>
                    <a:gd name="connsiteX106" fmla="*/ 834366 w 1191185"/>
                    <a:gd name="connsiteY106" fmla="*/ 671711 h 920179"/>
                    <a:gd name="connsiteX107" fmla="*/ 833722 w 1191185"/>
                    <a:gd name="connsiteY107" fmla="*/ 668420 h 920179"/>
                    <a:gd name="connsiteX108" fmla="*/ 834536 w 1191185"/>
                    <a:gd name="connsiteY108" fmla="*/ 666696 h 920179"/>
                    <a:gd name="connsiteX109" fmla="*/ 833880 w 1191185"/>
                    <a:gd name="connsiteY109" fmla="*/ 666502 h 920179"/>
                    <a:gd name="connsiteX110" fmla="*/ 830686 w 1191185"/>
                    <a:gd name="connsiteY110" fmla="*/ 663660 h 920179"/>
                    <a:gd name="connsiteX111" fmla="*/ 829059 w 1191185"/>
                    <a:gd name="connsiteY111" fmla="*/ 658548 h 920179"/>
                    <a:gd name="connsiteX112" fmla="*/ 831791 w 1191185"/>
                    <a:gd name="connsiteY112" fmla="*/ 657188 h 920179"/>
                    <a:gd name="connsiteX113" fmla="*/ 834621 w 1191185"/>
                    <a:gd name="connsiteY113" fmla="*/ 649805 h 920179"/>
                    <a:gd name="connsiteX114" fmla="*/ 840631 w 1191185"/>
                    <a:gd name="connsiteY114" fmla="*/ 638184 h 920179"/>
                    <a:gd name="connsiteX115" fmla="*/ 844068 w 1191185"/>
                    <a:gd name="connsiteY115" fmla="*/ 635428 h 920179"/>
                    <a:gd name="connsiteX116" fmla="*/ 847589 w 1191185"/>
                    <a:gd name="connsiteY116" fmla="*/ 633594 h 920179"/>
                    <a:gd name="connsiteX117" fmla="*/ 854268 w 1191185"/>
                    <a:gd name="connsiteY117" fmla="*/ 627450 h 920179"/>
                    <a:gd name="connsiteX118" fmla="*/ 857328 w 1191185"/>
                    <a:gd name="connsiteY118" fmla="*/ 625568 h 920179"/>
                    <a:gd name="connsiteX119" fmla="*/ 862537 w 1191185"/>
                    <a:gd name="connsiteY119" fmla="*/ 624268 h 920179"/>
                    <a:gd name="connsiteX120" fmla="*/ 866326 w 1191185"/>
                    <a:gd name="connsiteY120" fmla="*/ 622192 h 920179"/>
                    <a:gd name="connsiteX121" fmla="*/ 870078 w 1191185"/>
                    <a:gd name="connsiteY121" fmla="*/ 619411 h 920179"/>
                    <a:gd name="connsiteX122" fmla="*/ 872725 w 1191185"/>
                    <a:gd name="connsiteY122" fmla="*/ 616764 h 920179"/>
                    <a:gd name="connsiteX123" fmla="*/ 876429 w 1191185"/>
                    <a:gd name="connsiteY123" fmla="*/ 609126 h 920179"/>
                    <a:gd name="connsiteX124" fmla="*/ 880169 w 1191185"/>
                    <a:gd name="connsiteY124" fmla="*/ 606394 h 920179"/>
                    <a:gd name="connsiteX125" fmla="*/ 883168 w 1191185"/>
                    <a:gd name="connsiteY125" fmla="*/ 606273 h 920179"/>
                    <a:gd name="connsiteX126" fmla="*/ 888729 w 1191185"/>
                    <a:gd name="connsiteY126" fmla="*/ 607742 h 920179"/>
                    <a:gd name="connsiteX127" fmla="*/ 890527 w 1191185"/>
                    <a:gd name="connsiteY127" fmla="*/ 607839 h 920179"/>
                    <a:gd name="connsiteX128" fmla="*/ 892992 w 1191185"/>
                    <a:gd name="connsiteY128" fmla="*/ 607123 h 920179"/>
                    <a:gd name="connsiteX129" fmla="*/ 900205 w 1191185"/>
                    <a:gd name="connsiteY129" fmla="*/ 604148 h 920179"/>
                    <a:gd name="connsiteX130" fmla="*/ 891826 w 1191185"/>
                    <a:gd name="connsiteY130" fmla="*/ 602727 h 920179"/>
                    <a:gd name="connsiteX131" fmla="*/ 888256 w 1191185"/>
                    <a:gd name="connsiteY131" fmla="*/ 602460 h 920179"/>
                    <a:gd name="connsiteX132" fmla="*/ 885512 w 1191185"/>
                    <a:gd name="connsiteY132" fmla="*/ 603504 h 920179"/>
                    <a:gd name="connsiteX133" fmla="*/ 881480 w 1191185"/>
                    <a:gd name="connsiteY133" fmla="*/ 606248 h 920179"/>
                    <a:gd name="connsiteX134" fmla="*/ 876744 w 1191185"/>
                    <a:gd name="connsiteY134" fmla="*/ 606625 h 920179"/>
                    <a:gd name="connsiteX135" fmla="*/ 867747 w 1191185"/>
                    <a:gd name="connsiteY135" fmla="*/ 604281 h 920179"/>
                    <a:gd name="connsiteX136" fmla="*/ 863994 w 1191185"/>
                    <a:gd name="connsiteY136" fmla="*/ 603868 h 920179"/>
                    <a:gd name="connsiteX137" fmla="*/ 854207 w 1191185"/>
                    <a:gd name="connsiteY137" fmla="*/ 605678 h 920179"/>
                    <a:gd name="connsiteX138" fmla="*/ 848961 w 1191185"/>
                    <a:gd name="connsiteY138" fmla="*/ 605253 h 920179"/>
                    <a:gd name="connsiteX139" fmla="*/ 845185 w 1191185"/>
                    <a:gd name="connsiteY139" fmla="*/ 604378 h 920179"/>
                    <a:gd name="connsiteX140" fmla="*/ 842234 w 1191185"/>
                    <a:gd name="connsiteY140" fmla="*/ 604281 h 920179"/>
                    <a:gd name="connsiteX141" fmla="*/ 834839 w 1191185"/>
                    <a:gd name="connsiteY141" fmla="*/ 607074 h 920179"/>
                    <a:gd name="connsiteX142" fmla="*/ 829715 w 1191185"/>
                    <a:gd name="connsiteY142" fmla="*/ 608106 h 920179"/>
                    <a:gd name="connsiteX143" fmla="*/ 824554 w 1191185"/>
                    <a:gd name="connsiteY143" fmla="*/ 605933 h 920179"/>
                    <a:gd name="connsiteX144" fmla="*/ 822854 w 1191185"/>
                    <a:gd name="connsiteY144" fmla="*/ 599497 h 920179"/>
                    <a:gd name="connsiteX145" fmla="*/ 823595 w 1191185"/>
                    <a:gd name="connsiteY145" fmla="*/ 595174 h 920179"/>
                    <a:gd name="connsiteX146" fmla="*/ 827201 w 1191185"/>
                    <a:gd name="connsiteY146" fmla="*/ 586941 h 920179"/>
                    <a:gd name="connsiteX147" fmla="*/ 828246 w 1191185"/>
                    <a:gd name="connsiteY147" fmla="*/ 582995 h 920179"/>
                    <a:gd name="connsiteX148" fmla="*/ 829363 w 1191185"/>
                    <a:gd name="connsiteY148" fmla="*/ 570706 h 920179"/>
                    <a:gd name="connsiteX149" fmla="*/ 830698 w 1191185"/>
                    <a:gd name="connsiteY149" fmla="*/ 566893 h 920179"/>
                    <a:gd name="connsiteX150" fmla="*/ 834438 w 1191185"/>
                    <a:gd name="connsiteY150" fmla="*/ 564914 h 920179"/>
                    <a:gd name="connsiteX151" fmla="*/ 836466 w 1191185"/>
                    <a:gd name="connsiteY151" fmla="*/ 561307 h 920179"/>
                    <a:gd name="connsiteX152" fmla="*/ 839271 w 1191185"/>
                    <a:gd name="connsiteY152" fmla="*/ 554762 h 920179"/>
                    <a:gd name="connsiteX153" fmla="*/ 837814 w 1191185"/>
                    <a:gd name="connsiteY153" fmla="*/ 555952 h 920179"/>
                    <a:gd name="connsiteX154" fmla="*/ 833115 w 1191185"/>
                    <a:gd name="connsiteY154" fmla="*/ 558721 h 920179"/>
                    <a:gd name="connsiteX155" fmla="*/ 827638 w 1191185"/>
                    <a:gd name="connsiteY155" fmla="*/ 560409 h 920179"/>
                    <a:gd name="connsiteX156" fmla="*/ 824639 w 1191185"/>
                    <a:gd name="connsiteY156" fmla="*/ 557143 h 920179"/>
                    <a:gd name="connsiteX157" fmla="*/ 819333 w 1191185"/>
                    <a:gd name="connsiteY157" fmla="*/ 548375 h 920179"/>
                    <a:gd name="connsiteX158" fmla="*/ 817778 w 1191185"/>
                    <a:gd name="connsiteY158" fmla="*/ 544453 h 920179"/>
                    <a:gd name="connsiteX159" fmla="*/ 818471 w 1191185"/>
                    <a:gd name="connsiteY159" fmla="*/ 540094 h 920179"/>
                    <a:gd name="connsiteX160" fmla="*/ 821069 w 1191185"/>
                    <a:gd name="connsiteY160" fmla="*/ 532152 h 920179"/>
                    <a:gd name="connsiteX161" fmla="*/ 821761 w 1191185"/>
                    <a:gd name="connsiteY161" fmla="*/ 528206 h 920179"/>
                    <a:gd name="connsiteX162" fmla="*/ 821591 w 1191185"/>
                    <a:gd name="connsiteY162" fmla="*/ 526591 h 920179"/>
                    <a:gd name="connsiteX163" fmla="*/ 821239 w 1191185"/>
                    <a:gd name="connsiteY163" fmla="*/ 524660 h 920179"/>
                    <a:gd name="connsiteX164" fmla="*/ 821203 w 1191185"/>
                    <a:gd name="connsiteY164" fmla="*/ 521284 h 920179"/>
                    <a:gd name="connsiteX165" fmla="*/ 823558 w 1191185"/>
                    <a:gd name="connsiteY165" fmla="*/ 516852 h 920179"/>
                    <a:gd name="connsiteX166" fmla="*/ 823947 w 1191185"/>
                    <a:gd name="connsiteY166" fmla="*/ 515249 h 920179"/>
                    <a:gd name="connsiteX167" fmla="*/ 824311 w 1191185"/>
                    <a:gd name="connsiteY167" fmla="*/ 511461 h 920179"/>
                    <a:gd name="connsiteX168" fmla="*/ 825611 w 1191185"/>
                    <a:gd name="connsiteY168" fmla="*/ 507551 h 920179"/>
                    <a:gd name="connsiteX169" fmla="*/ 828901 w 1191185"/>
                    <a:gd name="connsiteY169" fmla="*/ 502851 h 920179"/>
                    <a:gd name="connsiteX170" fmla="*/ 832544 w 1191185"/>
                    <a:gd name="connsiteY170" fmla="*/ 499026 h 920179"/>
                    <a:gd name="connsiteX171" fmla="*/ 835750 w 1191185"/>
                    <a:gd name="connsiteY171" fmla="*/ 496622 h 920179"/>
                    <a:gd name="connsiteX172" fmla="*/ 841129 w 1191185"/>
                    <a:gd name="connsiteY172" fmla="*/ 494849 h 920179"/>
                    <a:gd name="connsiteX173" fmla="*/ 846023 w 1191185"/>
                    <a:gd name="connsiteY173" fmla="*/ 494995 h 920179"/>
                    <a:gd name="connsiteX174" fmla="*/ 850467 w 1191185"/>
                    <a:gd name="connsiteY174" fmla="*/ 496877 h 920179"/>
                    <a:gd name="connsiteX175" fmla="*/ 854329 w 1191185"/>
                    <a:gd name="connsiteY175" fmla="*/ 499900 h 920179"/>
                    <a:gd name="connsiteX176" fmla="*/ 855519 w 1191185"/>
                    <a:gd name="connsiteY176" fmla="*/ 500629 h 920179"/>
                    <a:gd name="connsiteX177" fmla="*/ 856429 w 1191185"/>
                    <a:gd name="connsiteY177" fmla="*/ 500581 h 920179"/>
                    <a:gd name="connsiteX178" fmla="*/ 856976 w 1191185"/>
                    <a:gd name="connsiteY178" fmla="*/ 500216 h 920179"/>
                    <a:gd name="connsiteX179" fmla="*/ 859841 w 1191185"/>
                    <a:gd name="connsiteY179" fmla="*/ 499779 h 920179"/>
                    <a:gd name="connsiteX180" fmla="*/ 862659 w 1191185"/>
                    <a:gd name="connsiteY180" fmla="*/ 500702 h 920179"/>
                    <a:gd name="connsiteX181" fmla="*/ 864941 w 1191185"/>
                    <a:gd name="connsiteY181" fmla="*/ 501783 h 920179"/>
                    <a:gd name="connsiteX182" fmla="*/ 866496 w 1191185"/>
                    <a:gd name="connsiteY182" fmla="*/ 502936 h 920179"/>
                    <a:gd name="connsiteX183" fmla="*/ 872604 w 1191185"/>
                    <a:gd name="connsiteY183" fmla="*/ 494861 h 920179"/>
                    <a:gd name="connsiteX184" fmla="*/ 877849 w 1191185"/>
                    <a:gd name="connsiteY184" fmla="*/ 490551 h 920179"/>
                    <a:gd name="connsiteX185" fmla="*/ 885888 w 1191185"/>
                    <a:gd name="connsiteY185" fmla="*/ 488996 h 920179"/>
                    <a:gd name="connsiteX186" fmla="*/ 885512 w 1191185"/>
                    <a:gd name="connsiteY186" fmla="*/ 488778 h 920179"/>
                    <a:gd name="connsiteX187" fmla="*/ 883775 w 1191185"/>
                    <a:gd name="connsiteY187" fmla="*/ 488110 h 920179"/>
                    <a:gd name="connsiteX188" fmla="*/ 880752 w 1191185"/>
                    <a:gd name="connsiteY188" fmla="*/ 488620 h 920179"/>
                    <a:gd name="connsiteX189" fmla="*/ 877740 w 1191185"/>
                    <a:gd name="connsiteY189" fmla="*/ 489968 h 920179"/>
                    <a:gd name="connsiteX190" fmla="*/ 875809 w 1191185"/>
                    <a:gd name="connsiteY190" fmla="*/ 491352 h 920179"/>
                    <a:gd name="connsiteX191" fmla="*/ 869131 w 1191185"/>
                    <a:gd name="connsiteY191" fmla="*/ 494643 h 920179"/>
                    <a:gd name="connsiteX192" fmla="*/ 862537 w 1191185"/>
                    <a:gd name="connsiteY192" fmla="*/ 493428 h 920179"/>
                    <a:gd name="connsiteX193" fmla="*/ 849350 w 1191185"/>
                    <a:gd name="connsiteY193" fmla="*/ 488353 h 920179"/>
                    <a:gd name="connsiteX194" fmla="*/ 848039 w 1191185"/>
                    <a:gd name="connsiteY194" fmla="*/ 488559 h 920179"/>
                    <a:gd name="connsiteX195" fmla="*/ 846521 w 1191185"/>
                    <a:gd name="connsiteY195" fmla="*/ 488923 h 920179"/>
                    <a:gd name="connsiteX196" fmla="*/ 843096 w 1191185"/>
                    <a:gd name="connsiteY196" fmla="*/ 489081 h 920179"/>
                    <a:gd name="connsiteX197" fmla="*/ 838810 w 1191185"/>
                    <a:gd name="connsiteY197" fmla="*/ 486021 h 920179"/>
                    <a:gd name="connsiteX198" fmla="*/ 837729 w 1191185"/>
                    <a:gd name="connsiteY198" fmla="*/ 485851 h 920179"/>
                    <a:gd name="connsiteX199" fmla="*/ 834244 w 1191185"/>
                    <a:gd name="connsiteY199" fmla="*/ 485705 h 920179"/>
                    <a:gd name="connsiteX200" fmla="*/ 832180 w 1191185"/>
                    <a:gd name="connsiteY200" fmla="*/ 486458 h 920179"/>
                    <a:gd name="connsiteX201" fmla="*/ 826667 w 1191185"/>
                    <a:gd name="connsiteY201" fmla="*/ 491777 h 920179"/>
                    <a:gd name="connsiteX202" fmla="*/ 822587 w 1191185"/>
                    <a:gd name="connsiteY202" fmla="*/ 494606 h 920179"/>
                    <a:gd name="connsiteX203" fmla="*/ 817584 w 1191185"/>
                    <a:gd name="connsiteY203" fmla="*/ 496379 h 920179"/>
                    <a:gd name="connsiteX204" fmla="*/ 813638 w 1191185"/>
                    <a:gd name="connsiteY204" fmla="*/ 496731 h 920179"/>
                    <a:gd name="connsiteX205" fmla="*/ 809885 w 1191185"/>
                    <a:gd name="connsiteY205" fmla="*/ 494958 h 920179"/>
                    <a:gd name="connsiteX206" fmla="*/ 809133 w 1191185"/>
                    <a:gd name="connsiteY206" fmla="*/ 491813 h 920179"/>
                    <a:gd name="connsiteX207" fmla="*/ 804664 w 1191185"/>
                    <a:gd name="connsiteY207" fmla="*/ 494230 h 920179"/>
                    <a:gd name="connsiteX208" fmla="*/ 797949 w 1191185"/>
                    <a:gd name="connsiteY208" fmla="*/ 491947 h 920179"/>
                    <a:gd name="connsiteX209" fmla="*/ 796395 w 1191185"/>
                    <a:gd name="connsiteY209" fmla="*/ 488073 h 920179"/>
                    <a:gd name="connsiteX210" fmla="*/ 795277 w 1191185"/>
                    <a:gd name="connsiteY210" fmla="*/ 482985 h 920179"/>
                    <a:gd name="connsiteX211" fmla="*/ 795071 w 1191185"/>
                    <a:gd name="connsiteY211" fmla="*/ 476999 h 920179"/>
                    <a:gd name="connsiteX212" fmla="*/ 793480 w 1191185"/>
                    <a:gd name="connsiteY212" fmla="*/ 480909 h 920179"/>
                    <a:gd name="connsiteX213" fmla="*/ 792910 w 1191185"/>
                    <a:gd name="connsiteY213" fmla="*/ 483981 h 920179"/>
                    <a:gd name="connsiteX214" fmla="*/ 790712 w 1191185"/>
                    <a:gd name="connsiteY214" fmla="*/ 490745 h 920179"/>
                    <a:gd name="connsiteX215" fmla="*/ 786790 w 1191185"/>
                    <a:gd name="connsiteY215" fmla="*/ 491498 h 920179"/>
                    <a:gd name="connsiteX216" fmla="*/ 789279 w 1191185"/>
                    <a:gd name="connsiteY216" fmla="*/ 502366 h 920179"/>
                    <a:gd name="connsiteX217" fmla="*/ 787506 w 1191185"/>
                    <a:gd name="connsiteY217" fmla="*/ 524150 h 920179"/>
                    <a:gd name="connsiteX218" fmla="*/ 785405 w 1191185"/>
                    <a:gd name="connsiteY218" fmla="*/ 528691 h 920179"/>
                    <a:gd name="connsiteX219" fmla="*/ 785211 w 1191185"/>
                    <a:gd name="connsiteY219" fmla="*/ 530027 h 920179"/>
                    <a:gd name="connsiteX220" fmla="*/ 784300 w 1191185"/>
                    <a:gd name="connsiteY220" fmla="*/ 534083 h 920179"/>
                    <a:gd name="connsiteX221" fmla="*/ 782236 w 1191185"/>
                    <a:gd name="connsiteY221" fmla="*/ 532869 h 920179"/>
                    <a:gd name="connsiteX222" fmla="*/ 781180 w 1191185"/>
                    <a:gd name="connsiteY222" fmla="*/ 534727 h 920179"/>
                    <a:gd name="connsiteX223" fmla="*/ 780985 w 1191185"/>
                    <a:gd name="connsiteY223" fmla="*/ 535686 h 920179"/>
                    <a:gd name="connsiteX224" fmla="*/ 777185 w 1191185"/>
                    <a:gd name="connsiteY224" fmla="*/ 539280 h 920179"/>
                    <a:gd name="connsiteX225" fmla="*/ 774902 w 1191185"/>
                    <a:gd name="connsiteY225" fmla="*/ 540531 h 920179"/>
                    <a:gd name="connsiteX226" fmla="*/ 771659 w 1191185"/>
                    <a:gd name="connsiteY226" fmla="*/ 541065 h 920179"/>
                    <a:gd name="connsiteX227" fmla="*/ 770081 w 1191185"/>
                    <a:gd name="connsiteY227" fmla="*/ 540749 h 920179"/>
                    <a:gd name="connsiteX228" fmla="*/ 769668 w 1191185"/>
                    <a:gd name="connsiteY228" fmla="*/ 543652 h 920179"/>
                    <a:gd name="connsiteX229" fmla="*/ 764337 w 1191185"/>
                    <a:gd name="connsiteY229" fmla="*/ 543652 h 920179"/>
                    <a:gd name="connsiteX230" fmla="*/ 764143 w 1191185"/>
                    <a:gd name="connsiteY230" fmla="*/ 543943 h 920179"/>
                    <a:gd name="connsiteX231" fmla="*/ 763305 w 1191185"/>
                    <a:gd name="connsiteY231" fmla="*/ 544866 h 920179"/>
                    <a:gd name="connsiteX232" fmla="*/ 760670 w 1191185"/>
                    <a:gd name="connsiteY232" fmla="*/ 547003 h 920179"/>
                    <a:gd name="connsiteX233" fmla="*/ 755582 w 1191185"/>
                    <a:gd name="connsiteY233" fmla="*/ 548351 h 920179"/>
                    <a:gd name="connsiteX234" fmla="*/ 753858 w 1191185"/>
                    <a:gd name="connsiteY234" fmla="*/ 543809 h 920179"/>
                    <a:gd name="connsiteX235" fmla="*/ 753724 w 1191185"/>
                    <a:gd name="connsiteY235" fmla="*/ 543627 h 920179"/>
                    <a:gd name="connsiteX236" fmla="*/ 752680 w 1191185"/>
                    <a:gd name="connsiteY236" fmla="*/ 547295 h 920179"/>
                    <a:gd name="connsiteX237" fmla="*/ 749486 w 1191185"/>
                    <a:gd name="connsiteY237" fmla="*/ 548290 h 920179"/>
                    <a:gd name="connsiteX238" fmla="*/ 749523 w 1191185"/>
                    <a:gd name="connsiteY238" fmla="*/ 549504 h 920179"/>
                    <a:gd name="connsiteX239" fmla="*/ 748418 w 1191185"/>
                    <a:gd name="connsiteY239" fmla="*/ 552249 h 920179"/>
                    <a:gd name="connsiteX240" fmla="*/ 752886 w 1191185"/>
                    <a:gd name="connsiteY240" fmla="*/ 551217 h 920179"/>
                    <a:gd name="connsiteX241" fmla="*/ 766086 w 1191185"/>
                    <a:gd name="connsiteY241" fmla="*/ 550318 h 920179"/>
                    <a:gd name="connsiteX242" fmla="*/ 758800 w 1191185"/>
                    <a:gd name="connsiteY242" fmla="*/ 555843 h 920179"/>
                    <a:gd name="connsiteX243" fmla="*/ 761909 w 1191185"/>
                    <a:gd name="connsiteY243" fmla="*/ 557288 h 920179"/>
                    <a:gd name="connsiteX244" fmla="*/ 760634 w 1191185"/>
                    <a:gd name="connsiteY244" fmla="*/ 558563 h 920179"/>
                    <a:gd name="connsiteX245" fmla="*/ 762139 w 1191185"/>
                    <a:gd name="connsiteY245" fmla="*/ 559255 h 920179"/>
                    <a:gd name="connsiteX246" fmla="*/ 761168 w 1191185"/>
                    <a:gd name="connsiteY246" fmla="*/ 563833 h 920179"/>
                    <a:gd name="connsiteX247" fmla="*/ 760002 w 1191185"/>
                    <a:gd name="connsiteY247" fmla="*/ 566225 h 920179"/>
                    <a:gd name="connsiteX248" fmla="*/ 760306 w 1191185"/>
                    <a:gd name="connsiteY248" fmla="*/ 567779 h 920179"/>
                    <a:gd name="connsiteX249" fmla="*/ 761253 w 1191185"/>
                    <a:gd name="connsiteY249" fmla="*/ 569139 h 920179"/>
                    <a:gd name="connsiteX250" fmla="*/ 763111 w 1191185"/>
                    <a:gd name="connsiteY250" fmla="*/ 572431 h 920179"/>
                    <a:gd name="connsiteX251" fmla="*/ 757258 w 1191185"/>
                    <a:gd name="connsiteY251" fmla="*/ 574203 h 920179"/>
                    <a:gd name="connsiteX252" fmla="*/ 750421 w 1191185"/>
                    <a:gd name="connsiteY252" fmla="*/ 572539 h 920179"/>
                    <a:gd name="connsiteX253" fmla="*/ 750931 w 1191185"/>
                    <a:gd name="connsiteY253" fmla="*/ 573426 h 920179"/>
                    <a:gd name="connsiteX254" fmla="*/ 743330 w 1191185"/>
                    <a:gd name="connsiteY254" fmla="*/ 575915 h 920179"/>
                    <a:gd name="connsiteX255" fmla="*/ 738096 w 1191185"/>
                    <a:gd name="connsiteY255" fmla="*/ 574993 h 920179"/>
                    <a:gd name="connsiteX256" fmla="*/ 728856 w 1191185"/>
                    <a:gd name="connsiteY256" fmla="*/ 571204 h 920179"/>
                    <a:gd name="connsiteX257" fmla="*/ 728807 w 1191185"/>
                    <a:gd name="connsiteY257" fmla="*/ 571495 h 920179"/>
                    <a:gd name="connsiteX258" fmla="*/ 728734 w 1191185"/>
                    <a:gd name="connsiteY258" fmla="*/ 576219 h 920179"/>
                    <a:gd name="connsiteX259" fmla="*/ 734186 w 1191185"/>
                    <a:gd name="connsiteY259" fmla="*/ 573681 h 920179"/>
                    <a:gd name="connsiteX260" fmla="*/ 733919 w 1191185"/>
                    <a:gd name="connsiteY260" fmla="*/ 579510 h 920179"/>
                    <a:gd name="connsiteX261" fmla="*/ 736117 w 1191185"/>
                    <a:gd name="connsiteY261" fmla="*/ 578732 h 920179"/>
                    <a:gd name="connsiteX262" fmla="*/ 740926 w 1191185"/>
                    <a:gd name="connsiteY262" fmla="*/ 577846 h 920179"/>
                    <a:gd name="connsiteX263" fmla="*/ 744180 w 1191185"/>
                    <a:gd name="connsiteY263" fmla="*/ 578915 h 920179"/>
                    <a:gd name="connsiteX264" fmla="*/ 746888 w 1191185"/>
                    <a:gd name="connsiteY264" fmla="*/ 580505 h 920179"/>
                    <a:gd name="connsiteX265" fmla="*/ 748527 w 1191185"/>
                    <a:gd name="connsiteY265" fmla="*/ 580323 h 920179"/>
                    <a:gd name="connsiteX266" fmla="*/ 758339 w 1191185"/>
                    <a:gd name="connsiteY266" fmla="*/ 576583 h 920179"/>
                    <a:gd name="connsiteX267" fmla="*/ 760828 w 1191185"/>
                    <a:gd name="connsiteY267" fmla="*/ 578137 h 920179"/>
                    <a:gd name="connsiteX268" fmla="*/ 761921 w 1191185"/>
                    <a:gd name="connsiteY268" fmla="*/ 580129 h 920179"/>
                    <a:gd name="connsiteX269" fmla="*/ 762261 w 1191185"/>
                    <a:gd name="connsiteY269" fmla="*/ 582752 h 920179"/>
                    <a:gd name="connsiteX270" fmla="*/ 762394 w 1191185"/>
                    <a:gd name="connsiteY270" fmla="*/ 583067 h 920179"/>
                    <a:gd name="connsiteX271" fmla="*/ 765782 w 1191185"/>
                    <a:gd name="connsiteY271" fmla="*/ 584768 h 920179"/>
                    <a:gd name="connsiteX272" fmla="*/ 767045 w 1191185"/>
                    <a:gd name="connsiteY272" fmla="*/ 587147 h 920179"/>
                    <a:gd name="connsiteX273" fmla="*/ 769959 w 1191185"/>
                    <a:gd name="connsiteY273" fmla="*/ 594968 h 920179"/>
                    <a:gd name="connsiteX274" fmla="*/ 771137 w 1191185"/>
                    <a:gd name="connsiteY274" fmla="*/ 596303 h 920179"/>
                    <a:gd name="connsiteX275" fmla="*/ 771854 w 1191185"/>
                    <a:gd name="connsiteY275" fmla="*/ 596728 h 920179"/>
                    <a:gd name="connsiteX276" fmla="*/ 773177 w 1191185"/>
                    <a:gd name="connsiteY276" fmla="*/ 597250 h 920179"/>
                    <a:gd name="connsiteX277" fmla="*/ 774307 w 1191185"/>
                    <a:gd name="connsiteY277" fmla="*/ 597166 h 920179"/>
                    <a:gd name="connsiteX278" fmla="*/ 775800 w 1191185"/>
                    <a:gd name="connsiteY278" fmla="*/ 596898 h 920179"/>
                    <a:gd name="connsiteX279" fmla="*/ 778338 w 1191185"/>
                    <a:gd name="connsiteY279" fmla="*/ 597202 h 920179"/>
                    <a:gd name="connsiteX280" fmla="*/ 780111 w 1191185"/>
                    <a:gd name="connsiteY280" fmla="*/ 597505 h 920179"/>
                    <a:gd name="connsiteX281" fmla="*/ 781726 w 1191185"/>
                    <a:gd name="connsiteY281" fmla="*/ 602290 h 920179"/>
                    <a:gd name="connsiteX282" fmla="*/ 782552 w 1191185"/>
                    <a:gd name="connsiteY282" fmla="*/ 603128 h 920179"/>
                    <a:gd name="connsiteX283" fmla="*/ 783657 w 1191185"/>
                    <a:gd name="connsiteY283" fmla="*/ 604039 h 920179"/>
                    <a:gd name="connsiteX284" fmla="*/ 784956 w 1191185"/>
                    <a:gd name="connsiteY284" fmla="*/ 606006 h 920179"/>
                    <a:gd name="connsiteX285" fmla="*/ 785272 w 1191185"/>
                    <a:gd name="connsiteY285" fmla="*/ 606588 h 920179"/>
                    <a:gd name="connsiteX286" fmla="*/ 785466 w 1191185"/>
                    <a:gd name="connsiteY286" fmla="*/ 609576 h 920179"/>
                    <a:gd name="connsiteX287" fmla="*/ 785794 w 1191185"/>
                    <a:gd name="connsiteY287" fmla="*/ 610595 h 920179"/>
                    <a:gd name="connsiteX288" fmla="*/ 785940 w 1191185"/>
                    <a:gd name="connsiteY288" fmla="*/ 612781 h 920179"/>
                    <a:gd name="connsiteX289" fmla="*/ 784992 w 1191185"/>
                    <a:gd name="connsiteY289" fmla="*/ 616351 h 920179"/>
                    <a:gd name="connsiteX290" fmla="*/ 783936 w 1191185"/>
                    <a:gd name="connsiteY290" fmla="*/ 617651 h 920179"/>
                    <a:gd name="connsiteX291" fmla="*/ 781216 w 1191185"/>
                    <a:gd name="connsiteY291" fmla="*/ 620164 h 920179"/>
                    <a:gd name="connsiteX292" fmla="*/ 780852 w 1191185"/>
                    <a:gd name="connsiteY292" fmla="*/ 620747 h 920179"/>
                    <a:gd name="connsiteX293" fmla="*/ 775205 w 1191185"/>
                    <a:gd name="connsiteY293" fmla="*/ 642240 h 920179"/>
                    <a:gd name="connsiteX294" fmla="*/ 770700 w 1191185"/>
                    <a:gd name="connsiteY294" fmla="*/ 650084 h 920179"/>
                    <a:gd name="connsiteX295" fmla="*/ 760707 w 1191185"/>
                    <a:gd name="connsiteY295" fmla="*/ 660527 h 920179"/>
                    <a:gd name="connsiteX296" fmla="*/ 759541 w 1191185"/>
                    <a:gd name="connsiteY296" fmla="*/ 663624 h 920179"/>
                    <a:gd name="connsiteX297" fmla="*/ 757926 w 1191185"/>
                    <a:gd name="connsiteY297" fmla="*/ 666611 h 920179"/>
                    <a:gd name="connsiteX298" fmla="*/ 750846 w 1191185"/>
                    <a:gd name="connsiteY298" fmla="*/ 674528 h 920179"/>
                    <a:gd name="connsiteX299" fmla="*/ 750239 w 1191185"/>
                    <a:gd name="connsiteY299" fmla="*/ 674965 h 920179"/>
                    <a:gd name="connsiteX300" fmla="*/ 750931 w 1191185"/>
                    <a:gd name="connsiteY300" fmla="*/ 678256 h 920179"/>
                    <a:gd name="connsiteX301" fmla="*/ 749098 w 1191185"/>
                    <a:gd name="connsiteY301" fmla="*/ 681474 h 920179"/>
                    <a:gd name="connsiteX302" fmla="*/ 749231 w 1191185"/>
                    <a:gd name="connsiteY302" fmla="*/ 681814 h 920179"/>
                    <a:gd name="connsiteX303" fmla="*/ 748357 w 1191185"/>
                    <a:gd name="connsiteY303" fmla="*/ 684680 h 920179"/>
                    <a:gd name="connsiteX304" fmla="*/ 747094 w 1191185"/>
                    <a:gd name="connsiteY304" fmla="*/ 686501 h 920179"/>
                    <a:gd name="connsiteX305" fmla="*/ 747289 w 1191185"/>
                    <a:gd name="connsiteY305" fmla="*/ 687169 h 920179"/>
                    <a:gd name="connsiteX306" fmla="*/ 749450 w 1191185"/>
                    <a:gd name="connsiteY306" fmla="*/ 691467 h 920179"/>
                    <a:gd name="connsiteX307" fmla="*/ 749523 w 1191185"/>
                    <a:gd name="connsiteY307" fmla="*/ 696786 h 920179"/>
                    <a:gd name="connsiteX308" fmla="*/ 745989 w 1191185"/>
                    <a:gd name="connsiteY308" fmla="*/ 700344 h 920179"/>
                    <a:gd name="connsiteX309" fmla="*/ 744010 w 1191185"/>
                    <a:gd name="connsiteY309" fmla="*/ 701486 h 920179"/>
                    <a:gd name="connsiteX310" fmla="*/ 741982 w 1191185"/>
                    <a:gd name="connsiteY310" fmla="*/ 702226 h 920179"/>
                    <a:gd name="connsiteX311" fmla="*/ 741557 w 1191185"/>
                    <a:gd name="connsiteY311" fmla="*/ 702457 h 920179"/>
                    <a:gd name="connsiteX312" fmla="*/ 741290 w 1191185"/>
                    <a:gd name="connsiteY312" fmla="*/ 702955 h 920179"/>
                    <a:gd name="connsiteX313" fmla="*/ 739068 w 1191185"/>
                    <a:gd name="connsiteY313" fmla="*/ 705080 h 920179"/>
                    <a:gd name="connsiteX314" fmla="*/ 726476 w 1191185"/>
                    <a:gd name="connsiteY314" fmla="*/ 711734 h 920179"/>
                    <a:gd name="connsiteX315" fmla="*/ 722311 w 1191185"/>
                    <a:gd name="connsiteY315" fmla="*/ 712791 h 920179"/>
                    <a:gd name="connsiteX316" fmla="*/ 713920 w 1191185"/>
                    <a:gd name="connsiteY316" fmla="*/ 713264 h 920179"/>
                    <a:gd name="connsiteX317" fmla="*/ 691977 w 1191185"/>
                    <a:gd name="connsiteY317" fmla="*/ 726196 h 920179"/>
                    <a:gd name="connsiteX318" fmla="*/ 689160 w 1191185"/>
                    <a:gd name="connsiteY318" fmla="*/ 728722 h 920179"/>
                    <a:gd name="connsiteX319" fmla="*/ 683927 w 1191185"/>
                    <a:gd name="connsiteY319" fmla="*/ 732001 h 920179"/>
                    <a:gd name="connsiteX320" fmla="*/ 678742 w 1191185"/>
                    <a:gd name="connsiteY320" fmla="*/ 733470 h 920179"/>
                    <a:gd name="connsiteX321" fmla="*/ 675487 w 1191185"/>
                    <a:gd name="connsiteY321" fmla="*/ 732693 h 920179"/>
                    <a:gd name="connsiteX322" fmla="*/ 674577 w 1191185"/>
                    <a:gd name="connsiteY322" fmla="*/ 732596 h 920179"/>
                    <a:gd name="connsiteX323" fmla="*/ 669015 w 1191185"/>
                    <a:gd name="connsiteY323" fmla="*/ 736081 h 920179"/>
                    <a:gd name="connsiteX324" fmla="*/ 660333 w 1191185"/>
                    <a:gd name="connsiteY324" fmla="*/ 739226 h 920179"/>
                    <a:gd name="connsiteX325" fmla="*/ 649951 w 1191185"/>
                    <a:gd name="connsiteY325" fmla="*/ 746754 h 920179"/>
                    <a:gd name="connsiteX326" fmla="*/ 636666 w 1191185"/>
                    <a:gd name="connsiteY326" fmla="*/ 749632 h 920179"/>
                    <a:gd name="connsiteX327" fmla="*/ 636824 w 1191185"/>
                    <a:gd name="connsiteY327" fmla="*/ 749341 h 920179"/>
                    <a:gd name="connsiteX328" fmla="*/ 633776 w 1191185"/>
                    <a:gd name="connsiteY328" fmla="*/ 751952 h 920179"/>
                    <a:gd name="connsiteX329" fmla="*/ 632951 w 1191185"/>
                    <a:gd name="connsiteY329" fmla="*/ 753190 h 920179"/>
                    <a:gd name="connsiteX330" fmla="*/ 632174 w 1191185"/>
                    <a:gd name="connsiteY330" fmla="*/ 756930 h 920179"/>
                    <a:gd name="connsiteX331" fmla="*/ 627936 w 1191185"/>
                    <a:gd name="connsiteY331" fmla="*/ 760549 h 920179"/>
                    <a:gd name="connsiteX332" fmla="*/ 611093 w 1191185"/>
                    <a:gd name="connsiteY332" fmla="*/ 766183 h 920179"/>
                    <a:gd name="connsiteX333" fmla="*/ 599570 w 1191185"/>
                    <a:gd name="connsiteY333" fmla="*/ 768296 h 920179"/>
                    <a:gd name="connsiteX334" fmla="*/ 566298 w 1191185"/>
                    <a:gd name="connsiteY334" fmla="*/ 784737 h 920179"/>
                    <a:gd name="connsiteX335" fmla="*/ 562509 w 1191185"/>
                    <a:gd name="connsiteY335" fmla="*/ 784519 h 920179"/>
                    <a:gd name="connsiteX336" fmla="*/ 560943 w 1191185"/>
                    <a:gd name="connsiteY336" fmla="*/ 786328 h 920179"/>
                    <a:gd name="connsiteX337" fmla="*/ 557604 w 1191185"/>
                    <a:gd name="connsiteY337" fmla="*/ 785320 h 920179"/>
                    <a:gd name="connsiteX338" fmla="*/ 556450 w 1191185"/>
                    <a:gd name="connsiteY338" fmla="*/ 786025 h 920179"/>
                    <a:gd name="connsiteX339" fmla="*/ 555066 w 1191185"/>
                    <a:gd name="connsiteY339" fmla="*/ 787652 h 920179"/>
                    <a:gd name="connsiteX340" fmla="*/ 551787 w 1191185"/>
                    <a:gd name="connsiteY340" fmla="*/ 789995 h 920179"/>
                    <a:gd name="connsiteX341" fmla="*/ 547294 w 1191185"/>
                    <a:gd name="connsiteY341" fmla="*/ 789594 h 920179"/>
                    <a:gd name="connsiteX342" fmla="*/ 543141 w 1191185"/>
                    <a:gd name="connsiteY342" fmla="*/ 788769 h 920179"/>
                    <a:gd name="connsiteX343" fmla="*/ 542716 w 1191185"/>
                    <a:gd name="connsiteY343" fmla="*/ 790226 h 920179"/>
                    <a:gd name="connsiteX344" fmla="*/ 539450 w 1191185"/>
                    <a:gd name="connsiteY344" fmla="*/ 790238 h 920179"/>
                    <a:gd name="connsiteX345" fmla="*/ 538126 w 1191185"/>
                    <a:gd name="connsiteY345" fmla="*/ 789813 h 920179"/>
                    <a:gd name="connsiteX346" fmla="*/ 537374 w 1191185"/>
                    <a:gd name="connsiteY346" fmla="*/ 789789 h 920179"/>
                    <a:gd name="connsiteX347" fmla="*/ 536924 w 1191185"/>
                    <a:gd name="connsiteY347" fmla="*/ 790190 h 920179"/>
                    <a:gd name="connsiteX348" fmla="*/ 536924 w 1191185"/>
                    <a:gd name="connsiteY348" fmla="*/ 791428 h 920179"/>
                    <a:gd name="connsiteX349" fmla="*/ 537131 w 1191185"/>
                    <a:gd name="connsiteY349" fmla="*/ 791938 h 920179"/>
                    <a:gd name="connsiteX350" fmla="*/ 537944 w 1191185"/>
                    <a:gd name="connsiteY350" fmla="*/ 795435 h 920179"/>
                    <a:gd name="connsiteX351" fmla="*/ 509445 w 1191185"/>
                    <a:gd name="connsiteY351" fmla="*/ 797196 h 920179"/>
                    <a:gd name="connsiteX352" fmla="*/ 505219 w 1191185"/>
                    <a:gd name="connsiteY352" fmla="*/ 796953 h 920179"/>
                    <a:gd name="connsiteX353" fmla="*/ 501030 w 1191185"/>
                    <a:gd name="connsiteY353" fmla="*/ 795617 h 920179"/>
                    <a:gd name="connsiteX354" fmla="*/ 496986 w 1191185"/>
                    <a:gd name="connsiteY354" fmla="*/ 792509 h 920179"/>
                    <a:gd name="connsiteX355" fmla="*/ 496683 w 1191185"/>
                    <a:gd name="connsiteY355" fmla="*/ 792363 h 920179"/>
                    <a:gd name="connsiteX356" fmla="*/ 495602 w 1191185"/>
                    <a:gd name="connsiteY356" fmla="*/ 792642 h 920179"/>
                    <a:gd name="connsiteX357" fmla="*/ 493890 w 1191185"/>
                    <a:gd name="connsiteY357" fmla="*/ 793444 h 920179"/>
                    <a:gd name="connsiteX358" fmla="*/ 489931 w 1191185"/>
                    <a:gd name="connsiteY358" fmla="*/ 793978 h 920179"/>
                    <a:gd name="connsiteX359" fmla="*/ 487357 w 1191185"/>
                    <a:gd name="connsiteY359" fmla="*/ 792642 h 920179"/>
                    <a:gd name="connsiteX360" fmla="*/ 480909 w 1191185"/>
                    <a:gd name="connsiteY360" fmla="*/ 787846 h 920179"/>
                    <a:gd name="connsiteX361" fmla="*/ 452130 w 1191185"/>
                    <a:gd name="connsiteY361" fmla="*/ 776189 h 920179"/>
                    <a:gd name="connsiteX362" fmla="*/ 440813 w 1191185"/>
                    <a:gd name="connsiteY362" fmla="*/ 768855 h 920179"/>
                    <a:gd name="connsiteX363" fmla="*/ 437814 w 1191185"/>
                    <a:gd name="connsiteY363" fmla="*/ 768332 h 920179"/>
                    <a:gd name="connsiteX364" fmla="*/ 434693 w 1191185"/>
                    <a:gd name="connsiteY364" fmla="*/ 766547 h 920179"/>
                    <a:gd name="connsiteX365" fmla="*/ 427711 w 1191185"/>
                    <a:gd name="connsiteY365" fmla="*/ 759298 h 920179"/>
                    <a:gd name="connsiteX366" fmla="*/ 424663 w 1191185"/>
                    <a:gd name="connsiteY366" fmla="*/ 757100 h 920179"/>
                    <a:gd name="connsiteX367" fmla="*/ 413746 w 1191185"/>
                    <a:gd name="connsiteY367" fmla="*/ 752850 h 920179"/>
                    <a:gd name="connsiteX368" fmla="*/ 405951 w 1191185"/>
                    <a:gd name="connsiteY368" fmla="*/ 746111 h 920179"/>
                    <a:gd name="connsiteX369" fmla="*/ 399539 w 1191185"/>
                    <a:gd name="connsiteY369" fmla="*/ 742164 h 920179"/>
                    <a:gd name="connsiteX370" fmla="*/ 378180 w 1191185"/>
                    <a:gd name="connsiteY370" fmla="*/ 722602 h 920179"/>
                    <a:gd name="connsiteX371" fmla="*/ 360633 w 1191185"/>
                    <a:gd name="connsiteY371" fmla="*/ 708893 h 920179"/>
                    <a:gd name="connsiteX372" fmla="*/ 343924 w 1191185"/>
                    <a:gd name="connsiteY372" fmla="*/ 687800 h 920179"/>
                    <a:gd name="connsiteX373" fmla="*/ 342662 w 1191185"/>
                    <a:gd name="connsiteY373" fmla="*/ 685542 h 920179"/>
                    <a:gd name="connsiteX374" fmla="*/ 341423 w 1191185"/>
                    <a:gd name="connsiteY374" fmla="*/ 683987 h 920179"/>
                    <a:gd name="connsiteX375" fmla="*/ 333044 w 1191185"/>
                    <a:gd name="connsiteY375" fmla="*/ 676179 h 920179"/>
                    <a:gd name="connsiteX376" fmla="*/ 320282 w 1191185"/>
                    <a:gd name="connsiteY376" fmla="*/ 661329 h 920179"/>
                    <a:gd name="connsiteX377" fmla="*/ 314429 w 1191185"/>
                    <a:gd name="connsiteY377" fmla="*/ 652367 h 920179"/>
                    <a:gd name="connsiteX378" fmla="*/ 313288 w 1191185"/>
                    <a:gd name="connsiteY378" fmla="*/ 647012 h 920179"/>
                    <a:gd name="connsiteX379" fmla="*/ 311539 w 1191185"/>
                    <a:gd name="connsiteY379" fmla="*/ 646697 h 920179"/>
                    <a:gd name="connsiteX380" fmla="*/ 307374 w 1191185"/>
                    <a:gd name="connsiteY380" fmla="*/ 644608 h 920179"/>
                    <a:gd name="connsiteX381" fmla="*/ 304035 w 1191185"/>
                    <a:gd name="connsiteY381" fmla="*/ 641851 h 920179"/>
                    <a:gd name="connsiteX382" fmla="*/ 280040 w 1191185"/>
                    <a:gd name="connsiteY382" fmla="*/ 616995 h 920179"/>
                    <a:gd name="connsiteX383" fmla="*/ 269173 w 1191185"/>
                    <a:gd name="connsiteY383" fmla="*/ 610802 h 920179"/>
                    <a:gd name="connsiteX384" fmla="*/ 265651 w 1191185"/>
                    <a:gd name="connsiteY384" fmla="*/ 607341 h 920179"/>
                    <a:gd name="connsiteX385" fmla="*/ 259252 w 1191185"/>
                    <a:gd name="connsiteY385" fmla="*/ 599351 h 920179"/>
                    <a:gd name="connsiteX386" fmla="*/ 255925 w 1191185"/>
                    <a:gd name="connsiteY386" fmla="*/ 596777 h 920179"/>
                    <a:gd name="connsiteX387" fmla="*/ 251869 w 1191185"/>
                    <a:gd name="connsiteY387" fmla="*/ 590450 h 920179"/>
                    <a:gd name="connsiteX388" fmla="*/ 246623 w 1191185"/>
                    <a:gd name="connsiteY388" fmla="*/ 588155 h 920179"/>
                    <a:gd name="connsiteX389" fmla="*/ 242397 w 1191185"/>
                    <a:gd name="connsiteY389" fmla="*/ 584780 h 920179"/>
                    <a:gd name="connsiteX390" fmla="*/ 236435 w 1191185"/>
                    <a:gd name="connsiteY390" fmla="*/ 577713 h 920179"/>
                    <a:gd name="connsiteX391" fmla="*/ 234504 w 1191185"/>
                    <a:gd name="connsiteY391" fmla="*/ 572807 h 920179"/>
                    <a:gd name="connsiteX392" fmla="*/ 234772 w 1191185"/>
                    <a:gd name="connsiteY392" fmla="*/ 570354 h 920179"/>
                    <a:gd name="connsiteX393" fmla="*/ 234614 w 1191185"/>
                    <a:gd name="connsiteY393" fmla="*/ 570499 h 920179"/>
                    <a:gd name="connsiteX394" fmla="*/ 230473 w 1191185"/>
                    <a:gd name="connsiteY394" fmla="*/ 571556 h 920179"/>
                    <a:gd name="connsiteX395" fmla="*/ 225834 w 1191185"/>
                    <a:gd name="connsiteY395" fmla="*/ 569200 h 920179"/>
                    <a:gd name="connsiteX396" fmla="*/ 207778 w 1191185"/>
                    <a:gd name="connsiteY396" fmla="*/ 552285 h 920179"/>
                    <a:gd name="connsiteX397" fmla="*/ 202192 w 1191185"/>
                    <a:gd name="connsiteY397" fmla="*/ 548315 h 920179"/>
                    <a:gd name="connsiteX398" fmla="*/ 199302 w 1191185"/>
                    <a:gd name="connsiteY398" fmla="*/ 545655 h 920179"/>
                    <a:gd name="connsiteX399" fmla="*/ 189976 w 1191185"/>
                    <a:gd name="connsiteY399" fmla="*/ 533160 h 920179"/>
                    <a:gd name="connsiteX400" fmla="*/ 184755 w 1191185"/>
                    <a:gd name="connsiteY400" fmla="*/ 529711 h 920179"/>
                    <a:gd name="connsiteX401" fmla="*/ 180954 w 1191185"/>
                    <a:gd name="connsiteY401" fmla="*/ 526251 h 920179"/>
                    <a:gd name="connsiteX402" fmla="*/ 178623 w 1191185"/>
                    <a:gd name="connsiteY402" fmla="*/ 521090 h 920179"/>
                    <a:gd name="connsiteX403" fmla="*/ 170718 w 1191185"/>
                    <a:gd name="connsiteY403" fmla="*/ 510125 h 920179"/>
                    <a:gd name="connsiteX404" fmla="*/ 164610 w 1191185"/>
                    <a:gd name="connsiteY404" fmla="*/ 505256 h 920179"/>
                    <a:gd name="connsiteX405" fmla="*/ 160858 w 1191185"/>
                    <a:gd name="connsiteY405" fmla="*/ 501455 h 920179"/>
                    <a:gd name="connsiteX406" fmla="*/ 157688 w 1191185"/>
                    <a:gd name="connsiteY406" fmla="*/ 494230 h 920179"/>
                    <a:gd name="connsiteX407" fmla="*/ 152843 w 1191185"/>
                    <a:gd name="connsiteY407" fmla="*/ 486762 h 920179"/>
                    <a:gd name="connsiteX408" fmla="*/ 150997 w 1191185"/>
                    <a:gd name="connsiteY408" fmla="*/ 482548 h 920179"/>
                    <a:gd name="connsiteX409" fmla="*/ 150621 w 1191185"/>
                    <a:gd name="connsiteY409" fmla="*/ 476210 h 920179"/>
                    <a:gd name="connsiteX410" fmla="*/ 152248 w 1191185"/>
                    <a:gd name="connsiteY410" fmla="*/ 472336 h 920179"/>
                    <a:gd name="connsiteX411" fmla="*/ 154167 w 1191185"/>
                    <a:gd name="connsiteY411" fmla="*/ 469082 h 920179"/>
                    <a:gd name="connsiteX412" fmla="*/ 154628 w 1191185"/>
                    <a:gd name="connsiteY412" fmla="*/ 466532 h 920179"/>
                    <a:gd name="connsiteX413" fmla="*/ 155077 w 1191185"/>
                    <a:gd name="connsiteY413" fmla="*/ 462828 h 920179"/>
                    <a:gd name="connsiteX414" fmla="*/ 156522 w 1191185"/>
                    <a:gd name="connsiteY414" fmla="*/ 458712 h 920179"/>
                    <a:gd name="connsiteX415" fmla="*/ 158392 w 1191185"/>
                    <a:gd name="connsiteY415" fmla="*/ 455360 h 920179"/>
                    <a:gd name="connsiteX416" fmla="*/ 160360 w 1191185"/>
                    <a:gd name="connsiteY416" fmla="*/ 452664 h 920179"/>
                    <a:gd name="connsiteX417" fmla="*/ 163650 w 1191185"/>
                    <a:gd name="connsiteY417" fmla="*/ 449847 h 920179"/>
                    <a:gd name="connsiteX418" fmla="*/ 171640 w 1191185"/>
                    <a:gd name="connsiteY418" fmla="*/ 445427 h 920179"/>
                    <a:gd name="connsiteX419" fmla="*/ 177238 w 1191185"/>
                    <a:gd name="connsiteY419" fmla="*/ 441347 h 920179"/>
                    <a:gd name="connsiteX420" fmla="*/ 181452 w 1191185"/>
                    <a:gd name="connsiteY420" fmla="*/ 442100 h 920179"/>
                    <a:gd name="connsiteX421" fmla="*/ 183358 w 1191185"/>
                    <a:gd name="connsiteY421" fmla="*/ 445949 h 920179"/>
                    <a:gd name="connsiteX422" fmla="*/ 182411 w 1191185"/>
                    <a:gd name="connsiteY422" fmla="*/ 450224 h 920179"/>
                    <a:gd name="connsiteX423" fmla="*/ 180128 w 1191185"/>
                    <a:gd name="connsiteY423" fmla="*/ 453429 h 920179"/>
                    <a:gd name="connsiteX424" fmla="*/ 176886 w 1191185"/>
                    <a:gd name="connsiteY424" fmla="*/ 454814 h 920179"/>
                    <a:gd name="connsiteX425" fmla="*/ 178501 w 1191185"/>
                    <a:gd name="connsiteY425" fmla="*/ 457692 h 920179"/>
                    <a:gd name="connsiteX426" fmla="*/ 178829 w 1191185"/>
                    <a:gd name="connsiteY426" fmla="*/ 457935 h 920179"/>
                    <a:gd name="connsiteX427" fmla="*/ 180687 w 1191185"/>
                    <a:gd name="connsiteY427" fmla="*/ 458238 h 920179"/>
                    <a:gd name="connsiteX428" fmla="*/ 181743 w 1191185"/>
                    <a:gd name="connsiteY428" fmla="*/ 457983 h 920179"/>
                    <a:gd name="connsiteX429" fmla="*/ 183978 w 1191185"/>
                    <a:gd name="connsiteY429" fmla="*/ 456526 h 920179"/>
                    <a:gd name="connsiteX430" fmla="*/ 186710 w 1191185"/>
                    <a:gd name="connsiteY430" fmla="*/ 455445 h 920179"/>
                    <a:gd name="connsiteX431" fmla="*/ 189151 w 1191185"/>
                    <a:gd name="connsiteY431" fmla="*/ 455591 h 920179"/>
                    <a:gd name="connsiteX432" fmla="*/ 191652 w 1191185"/>
                    <a:gd name="connsiteY432" fmla="*/ 456526 h 920179"/>
                    <a:gd name="connsiteX433" fmla="*/ 192089 w 1191185"/>
                    <a:gd name="connsiteY433" fmla="*/ 456356 h 920179"/>
                    <a:gd name="connsiteX434" fmla="*/ 193765 w 1191185"/>
                    <a:gd name="connsiteY434" fmla="*/ 454437 h 920179"/>
                    <a:gd name="connsiteX435" fmla="*/ 196873 w 1191185"/>
                    <a:gd name="connsiteY435" fmla="*/ 452069 h 920179"/>
                    <a:gd name="connsiteX436" fmla="*/ 200796 w 1191185"/>
                    <a:gd name="connsiteY436" fmla="*/ 452628 h 920179"/>
                    <a:gd name="connsiteX437" fmla="*/ 204876 w 1191185"/>
                    <a:gd name="connsiteY437" fmla="*/ 456149 h 920179"/>
                    <a:gd name="connsiteX438" fmla="*/ 205981 w 1191185"/>
                    <a:gd name="connsiteY438" fmla="*/ 461626 h 920179"/>
                    <a:gd name="connsiteX439" fmla="*/ 201548 w 1191185"/>
                    <a:gd name="connsiteY439" fmla="*/ 468025 h 920179"/>
                    <a:gd name="connsiteX440" fmla="*/ 202180 w 1191185"/>
                    <a:gd name="connsiteY440" fmla="*/ 471316 h 920179"/>
                    <a:gd name="connsiteX441" fmla="*/ 199253 w 1191185"/>
                    <a:gd name="connsiteY441" fmla="*/ 475590 h 920179"/>
                    <a:gd name="connsiteX442" fmla="*/ 199581 w 1191185"/>
                    <a:gd name="connsiteY442" fmla="*/ 477303 h 920179"/>
                    <a:gd name="connsiteX443" fmla="*/ 202071 w 1191185"/>
                    <a:gd name="connsiteY443" fmla="*/ 479768 h 920179"/>
                    <a:gd name="connsiteX444" fmla="*/ 205398 w 1191185"/>
                    <a:gd name="connsiteY444" fmla="*/ 481395 h 920179"/>
                    <a:gd name="connsiteX445" fmla="*/ 206673 w 1191185"/>
                    <a:gd name="connsiteY445" fmla="*/ 482087 h 920179"/>
                    <a:gd name="connsiteX446" fmla="*/ 217444 w 1191185"/>
                    <a:gd name="connsiteY446" fmla="*/ 480448 h 920179"/>
                    <a:gd name="connsiteX447" fmla="*/ 224960 w 1191185"/>
                    <a:gd name="connsiteY447" fmla="*/ 476890 h 920179"/>
                    <a:gd name="connsiteX448" fmla="*/ 227061 w 1191185"/>
                    <a:gd name="connsiteY448" fmla="*/ 473052 h 920179"/>
                    <a:gd name="connsiteX449" fmla="*/ 230704 w 1191185"/>
                    <a:gd name="connsiteY449" fmla="*/ 471802 h 920179"/>
                    <a:gd name="connsiteX450" fmla="*/ 245822 w 1191185"/>
                    <a:gd name="connsiteY450" fmla="*/ 471413 h 920179"/>
                    <a:gd name="connsiteX451" fmla="*/ 251444 w 1191185"/>
                    <a:gd name="connsiteY451" fmla="*/ 470029 h 920179"/>
                    <a:gd name="connsiteX452" fmla="*/ 252962 w 1191185"/>
                    <a:gd name="connsiteY452" fmla="*/ 469325 h 920179"/>
                    <a:gd name="connsiteX453" fmla="*/ 253120 w 1191185"/>
                    <a:gd name="connsiteY453" fmla="*/ 468888 h 920179"/>
                    <a:gd name="connsiteX454" fmla="*/ 255548 w 1191185"/>
                    <a:gd name="connsiteY454" fmla="*/ 465487 h 920179"/>
                    <a:gd name="connsiteX455" fmla="*/ 256070 w 1191185"/>
                    <a:gd name="connsiteY455" fmla="*/ 464261 h 920179"/>
                    <a:gd name="connsiteX456" fmla="*/ 257455 w 1191185"/>
                    <a:gd name="connsiteY456" fmla="*/ 463338 h 920179"/>
                    <a:gd name="connsiteX457" fmla="*/ 258900 w 1191185"/>
                    <a:gd name="connsiteY457" fmla="*/ 462828 h 920179"/>
                    <a:gd name="connsiteX458" fmla="*/ 259373 w 1191185"/>
                    <a:gd name="connsiteY458" fmla="*/ 462767 h 920179"/>
                    <a:gd name="connsiteX459" fmla="*/ 259616 w 1191185"/>
                    <a:gd name="connsiteY459" fmla="*/ 462100 h 920179"/>
                    <a:gd name="connsiteX460" fmla="*/ 259288 w 1191185"/>
                    <a:gd name="connsiteY460" fmla="*/ 460606 h 920179"/>
                    <a:gd name="connsiteX461" fmla="*/ 258402 w 1191185"/>
                    <a:gd name="connsiteY461" fmla="*/ 458821 h 920179"/>
                    <a:gd name="connsiteX462" fmla="*/ 257564 w 1191185"/>
                    <a:gd name="connsiteY462" fmla="*/ 455117 h 920179"/>
                    <a:gd name="connsiteX463" fmla="*/ 257989 w 1191185"/>
                    <a:gd name="connsiteY463" fmla="*/ 450831 h 920179"/>
                    <a:gd name="connsiteX464" fmla="*/ 258305 w 1191185"/>
                    <a:gd name="connsiteY464" fmla="*/ 448609 h 920179"/>
                    <a:gd name="connsiteX465" fmla="*/ 261255 w 1191185"/>
                    <a:gd name="connsiteY465" fmla="*/ 448135 h 920179"/>
                    <a:gd name="connsiteX466" fmla="*/ 263113 w 1191185"/>
                    <a:gd name="connsiteY466" fmla="*/ 448196 h 920179"/>
                    <a:gd name="connsiteX467" fmla="*/ 263392 w 1191185"/>
                    <a:gd name="connsiteY467" fmla="*/ 448293 h 920179"/>
                    <a:gd name="connsiteX468" fmla="*/ 264862 w 1191185"/>
                    <a:gd name="connsiteY468" fmla="*/ 447407 h 920179"/>
                    <a:gd name="connsiteX469" fmla="*/ 269270 w 1191185"/>
                    <a:gd name="connsiteY469" fmla="*/ 447407 h 920179"/>
                    <a:gd name="connsiteX470" fmla="*/ 272123 w 1191185"/>
                    <a:gd name="connsiteY470" fmla="*/ 457631 h 920179"/>
                    <a:gd name="connsiteX471" fmla="*/ 272633 w 1191185"/>
                    <a:gd name="connsiteY471" fmla="*/ 462950 h 920179"/>
                    <a:gd name="connsiteX472" fmla="*/ 272233 w 1191185"/>
                    <a:gd name="connsiteY472" fmla="*/ 463787 h 920179"/>
                    <a:gd name="connsiteX473" fmla="*/ 277600 w 1191185"/>
                    <a:gd name="connsiteY473" fmla="*/ 464880 h 920179"/>
                    <a:gd name="connsiteX474" fmla="*/ 277843 w 1191185"/>
                    <a:gd name="connsiteY474" fmla="*/ 465002 h 920179"/>
                    <a:gd name="connsiteX475" fmla="*/ 279834 w 1191185"/>
                    <a:gd name="connsiteY475" fmla="*/ 462136 h 920179"/>
                    <a:gd name="connsiteX476" fmla="*/ 281655 w 1191185"/>
                    <a:gd name="connsiteY476" fmla="*/ 459635 h 920179"/>
                    <a:gd name="connsiteX477" fmla="*/ 283865 w 1191185"/>
                    <a:gd name="connsiteY477" fmla="*/ 461310 h 920179"/>
                    <a:gd name="connsiteX478" fmla="*/ 285286 w 1191185"/>
                    <a:gd name="connsiteY478" fmla="*/ 459343 h 920179"/>
                    <a:gd name="connsiteX479" fmla="*/ 286245 w 1191185"/>
                    <a:gd name="connsiteY479" fmla="*/ 458347 h 920179"/>
                    <a:gd name="connsiteX480" fmla="*/ 288018 w 1191185"/>
                    <a:gd name="connsiteY480" fmla="*/ 456307 h 920179"/>
                    <a:gd name="connsiteX481" fmla="*/ 289548 w 1191185"/>
                    <a:gd name="connsiteY481" fmla="*/ 455725 h 920179"/>
                    <a:gd name="connsiteX482" fmla="*/ 291455 w 1191185"/>
                    <a:gd name="connsiteY482" fmla="*/ 455591 h 920179"/>
                    <a:gd name="connsiteX483" fmla="*/ 293070 w 1191185"/>
                    <a:gd name="connsiteY483" fmla="*/ 456040 h 920179"/>
                    <a:gd name="connsiteX484" fmla="*/ 293944 w 1191185"/>
                    <a:gd name="connsiteY484" fmla="*/ 456417 h 920179"/>
                    <a:gd name="connsiteX485" fmla="*/ 294563 w 1191185"/>
                    <a:gd name="connsiteY485" fmla="*/ 455409 h 920179"/>
                    <a:gd name="connsiteX486" fmla="*/ 297393 w 1191185"/>
                    <a:gd name="connsiteY486" fmla="*/ 447018 h 920179"/>
                    <a:gd name="connsiteX487" fmla="*/ 300744 w 1191185"/>
                    <a:gd name="connsiteY487" fmla="*/ 440084 h 920179"/>
                    <a:gd name="connsiteX488" fmla="*/ 305383 w 1191185"/>
                    <a:gd name="connsiteY488" fmla="*/ 444043 h 920179"/>
                    <a:gd name="connsiteX489" fmla="*/ 313907 w 1191185"/>
                    <a:gd name="connsiteY489" fmla="*/ 453587 h 920179"/>
                    <a:gd name="connsiteX490" fmla="*/ 314174 w 1191185"/>
                    <a:gd name="connsiteY490" fmla="*/ 453199 h 920179"/>
                    <a:gd name="connsiteX491" fmla="*/ 314563 w 1191185"/>
                    <a:gd name="connsiteY491" fmla="*/ 451693 h 920179"/>
                    <a:gd name="connsiteX492" fmla="*/ 315631 w 1191185"/>
                    <a:gd name="connsiteY492" fmla="*/ 449228 h 920179"/>
                    <a:gd name="connsiteX493" fmla="*/ 318764 w 1191185"/>
                    <a:gd name="connsiteY493" fmla="*/ 445512 h 920179"/>
                    <a:gd name="connsiteX494" fmla="*/ 321800 w 1191185"/>
                    <a:gd name="connsiteY494" fmla="*/ 444553 h 920179"/>
                    <a:gd name="connsiteX495" fmla="*/ 324180 w 1191185"/>
                    <a:gd name="connsiteY495" fmla="*/ 444857 h 920179"/>
                    <a:gd name="connsiteX496" fmla="*/ 326099 w 1191185"/>
                    <a:gd name="connsiteY496" fmla="*/ 444747 h 920179"/>
                    <a:gd name="connsiteX497" fmla="*/ 329001 w 1191185"/>
                    <a:gd name="connsiteY497" fmla="*/ 443424 h 920179"/>
                    <a:gd name="connsiteX498" fmla="*/ 332364 w 1191185"/>
                    <a:gd name="connsiteY498" fmla="*/ 441165 h 920179"/>
                    <a:gd name="connsiteX499" fmla="*/ 342601 w 1191185"/>
                    <a:gd name="connsiteY499" fmla="*/ 431815 h 920179"/>
                    <a:gd name="connsiteX500" fmla="*/ 347774 w 1191185"/>
                    <a:gd name="connsiteY500" fmla="*/ 428694 h 920179"/>
                    <a:gd name="connsiteX501" fmla="*/ 348539 w 1191185"/>
                    <a:gd name="connsiteY501" fmla="*/ 429969 h 920179"/>
                    <a:gd name="connsiteX502" fmla="*/ 350858 w 1191185"/>
                    <a:gd name="connsiteY502" fmla="*/ 429812 h 920179"/>
                    <a:gd name="connsiteX503" fmla="*/ 351489 w 1191185"/>
                    <a:gd name="connsiteY503" fmla="*/ 429581 h 920179"/>
                    <a:gd name="connsiteX504" fmla="*/ 353906 w 1191185"/>
                    <a:gd name="connsiteY504" fmla="*/ 427662 h 920179"/>
                    <a:gd name="connsiteX505" fmla="*/ 354574 w 1191185"/>
                    <a:gd name="connsiteY505" fmla="*/ 427201 h 920179"/>
                    <a:gd name="connsiteX506" fmla="*/ 362564 w 1191185"/>
                    <a:gd name="connsiteY506" fmla="*/ 426460 h 920179"/>
                    <a:gd name="connsiteX507" fmla="*/ 378459 w 1191185"/>
                    <a:gd name="connsiteY507" fmla="*/ 428452 h 920179"/>
                    <a:gd name="connsiteX508" fmla="*/ 383195 w 1191185"/>
                    <a:gd name="connsiteY508" fmla="*/ 426375 h 920179"/>
                    <a:gd name="connsiteX509" fmla="*/ 384749 w 1191185"/>
                    <a:gd name="connsiteY509" fmla="*/ 424007 h 920179"/>
                    <a:gd name="connsiteX510" fmla="*/ 387870 w 1191185"/>
                    <a:gd name="connsiteY510" fmla="*/ 417073 h 920179"/>
                    <a:gd name="connsiteX511" fmla="*/ 393407 w 1191185"/>
                    <a:gd name="connsiteY511" fmla="*/ 409800 h 920179"/>
                    <a:gd name="connsiteX512" fmla="*/ 399223 w 1191185"/>
                    <a:gd name="connsiteY512" fmla="*/ 398944 h 920179"/>
                    <a:gd name="connsiteX513" fmla="*/ 409071 w 1191185"/>
                    <a:gd name="connsiteY513" fmla="*/ 384397 h 920179"/>
                    <a:gd name="connsiteX514" fmla="*/ 409326 w 1191185"/>
                    <a:gd name="connsiteY514" fmla="*/ 383765 h 920179"/>
                    <a:gd name="connsiteX515" fmla="*/ 409035 w 1191185"/>
                    <a:gd name="connsiteY515" fmla="*/ 379722 h 920179"/>
                    <a:gd name="connsiteX516" fmla="*/ 409290 w 1191185"/>
                    <a:gd name="connsiteY516" fmla="*/ 376164 h 920179"/>
                    <a:gd name="connsiteX517" fmla="*/ 410650 w 1191185"/>
                    <a:gd name="connsiteY517" fmla="*/ 374476 h 920179"/>
                    <a:gd name="connsiteX518" fmla="*/ 413928 w 1191185"/>
                    <a:gd name="connsiteY518" fmla="*/ 371137 h 920179"/>
                    <a:gd name="connsiteX519" fmla="*/ 419781 w 1191185"/>
                    <a:gd name="connsiteY519" fmla="*/ 359540 h 920179"/>
                    <a:gd name="connsiteX520" fmla="*/ 422526 w 1191185"/>
                    <a:gd name="connsiteY520" fmla="*/ 357367 h 920179"/>
                    <a:gd name="connsiteX521" fmla="*/ 419951 w 1191185"/>
                    <a:gd name="connsiteY521" fmla="*/ 357440 h 920179"/>
                    <a:gd name="connsiteX522" fmla="*/ 419660 w 1191185"/>
                    <a:gd name="connsiteY522" fmla="*/ 357986 h 920179"/>
                    <a:gd name="connsiteX523" fmla="*/ 419247 w 1191185"/>
                    <a:gd name="connsiteY523" fmla="*/ 358277 h 920179"/>
                    <a:gd name="connsiteX524" fmla="*/ 416393 w 1191185"/>
                    <a:gd name="connsiteY524" fmla="*/ 359164 h 920179"/>
                    <a:gd name="connsiteX525" fmla="*/ 413916 w 1191185"/>
                    <a:gd name="connsiteY525" fmla="*/ 357707 h 920179"/>
                    <a:gd name="connsiteX526" fmla="*/ 412338 w 1191185"/>
                    <a:gd name="connsiteY526" fmla="*/ 356262 h 920179"/>
                    <a:gd name="connsiteX527" fmla="*/ 412168 w 1191185"/>
                    <a:gd name="connsiteY527" fmla="*/ 356225 h 920179"/>
                    <a:gd name="connsiteX528" fmla="*/ 411014 w 1191185"/>
                    <a:gd name="connsiteY528" fmla="*/ 356954 h 920179"/>
                    <a:gd name="connsiteX529" fmla="*/ 407177 w 1191185"/>
                    <a:gd name="connsiteY529" fmla="*/ 358217 h 920179"/>
                    <a:gd name="connsiteX530" fmla="*/ 405368 w 1191185"/>
                    <a:gd name="connsiteY530" fmla="*/ 354708 h 920179"/>
                    <a:gd name="connsiteX531" fmla="*/ 404955 w 1191185"/>
                    <a:gd name="connsiteY531" fmla="*/ 354282 h 920179"/>
                    <a:gd name="connsiteX532" fmla="*/ 400498 w 1191185"/>
                    <a:gd name="connsiteY532" fmla="*/ 353141 h 920179"/>
                    <a:gd name="connsiteX533" fmla="*/ 397863 w 1191185"/>
                    <a:gd name="connsiteY533" fmla="*/ 349692 h 920179"/>
                    <a:gd name="connsiteX534" fmla="*/ 397608 w 1191185"/>
                    <a:gd name="connsiteY534" fmla="*/ 349243 h 920179"/>
                    <a:gd name="connsiteX535" fmla="*/ 395508 w 1191185"/>
                    <a:gd name="connsiteY535" fmla="*/ 352765 h 920179"/>
                    <a:gd name="connsiteX536" fmla="*/ 390638 w 1191185"/>
                    <a:gd name="connsiteY536" fmla="*/ 354780 h 920179"/>
                    <a:gd name="connsiteX537" fmla="*/ 385308 w 1191185"/>
                    <a:gd name="connsiteY537" fmla="*/ 354586 h 920179"/>
                    <a:gd name="connsiteX538" fmla="*/ 385053 w 1191185"/>
                    <a:gd name="connsiteY538" fmla="*/ 354768 h 920179"/>
                    <a:gd name="connsiteX539" fmla="*/ 383389 w 1191185"/>
                    <a:gd name="connsiteY539" fmla="*/ 355351 h 920179"/>
                    <a:gd name="connsiteX540" fmla="*/ 382211 w 1191185"/>
                    <a:gd name="connsiteY540" fmla="*/ 355400 h 920179"/>
                    <a:gd name="connsiteX541" fmla="*/ 380438 w 1191185"/>
                    <a:gd name="connsiteY541" fmla="*/ 354683 h 920179"/>
                    <a:gd name="connsiteX542" fmla="*/ 379795 w 1191185"/>
                    <a:gd name="connsiteY542" fmla="*/ 354149 h 920179"/>
                    <a:gd name="connsiteX543" fmla="*/ 380839 w 1191185"/>
                    <a:gd name="connsiteY543" fmla="*/ 358083 h 920179"/>
                    <a:gd name="connsiteX544" fmla="*/ 375253 w 1191185"/>
                    <a:gd name="connsiteY544" fmla="*/ 359965 h 920179"/>
                    <a:gd name="connsiteX545" fmla="*/ 363766 w 1191185"/>
                    <a:gd name="connsiteY545" fmla="*/ 361459 h 920179"/>
                    <a:gd name="connsiteX546" fmla="*/ 352327 w 1191185"/>
                    <a:gd name="connsiteY546" fmla="*/ 366085 h 920179"/>
                    <a:gd name="connsiteX547" fmla="*/ 341083 w 1191185"/>
                    <a:gd name="connsiteY547" fmla="*/ 367785 h 920179"/>
                    <a:gd name="connsiteX548" fmla="*/ 331065 w 1191185"/>
                    <a:gd name="connsiteY548" fmla="*/ 371270 h 920179"/>
                    <a:gd name="connsiteX549" fmla="*/ 324581 w 1191185"/>
                    <a:gd name="connsiteY549" fmla="*/ 372242 h 920179"/>
                    <a:gd name="connsiteX550" fmla="*/ 321290 w 1191185"/>
                    <a:gd name="connsiteY550" fmla="*/ 373177 h 920179"/>
                    <a:gd name="connsiteX551" fmla="*/ 316955 w 1191185"/>
                    <a:gd name="connsiteY551" fmla="*/ 375533 h 920179"/>
                    <a:gd name="connsiteX552" fmla="*/ 312292 w 1191185"/>
                    <a:gd name="connsiteY552" fmla="*/ 378836 h 920179"/>
                    <a:gd name="connsiteX553" fmla="*/ 308904 w 1191185"/>
                    <a:gd name="connsiteY553" fmla="*/ 382284 h 920179"/>
                    <a:gd name="connsiteX554" fmla="*/ 303185 w 1191185"/>
                    <a:gd name="connsiteY554" fmla="*/ 392824 h 920179"/>
                    <a:gd name="connsiteX555" fmla="*/ 299190 w 1191185"/>
                    <a:gd name="connsiteY555" fmla="*/ 395459 h 920179"/>
                    <a:gd name="connsiteX556" fmla="*/ 293968 w 1191185"/>
                    <a:gd name="connsiteY556" fmla="*/ 394718 h 920179"/>
                    <a:gd name="connsiteX557" fmla="*/ 286003 w 1191185"/>
                    <a:gd name="connsiteY557" fmla="*/ 392508 h 920179"/>
                    <a:gd name="connsiteX558" fmla="*/ 274042 w 1191185"/>
                    <a:gd name="connsiteY558" fmla="*/ 392484 h 920179"/>
                    <a:gd name="connsiteX559" fmla="*/ 271261 w 1191185"/>
                    <a:gd name="connsiteY559" fmla="*/ 391743 h 920179"/>
                    <a:gd name="connsiteX560" fmla="*/ 267339 w 1191185"/>
                    <a:gd name="connsiteY560" fmla="*/ 388817 h 920179"/>
                    <a:gd name="connsiteX561" fmla="*/ 265542 w 1191185"/>
                    <a:gd name="connsiteY561" fmla="*/ 388331 h 920179"/>
                    <a:gd name="connsiteX562" fmla="*/ 260114 w 1191185"/>
                    <a:gd name="connsiteY562" fmla="*/ 388659 h 920179"/>
                    <a:gd name="connsiteX563" fmla="*/ 257649 w 1191185"/>
                    <a:gd name="connsiteY563" fmla="*/ 388404 h 920179"/>
                    <a:gd name="connsiteX564" fmla="*/ 255111 w 1191185"/>
                    <a:gd name="connsiteY564" fmla="*/ 387676 h 920179"/>
                    <a:gd name="connsiteX565" fmla="*/ 253241 w 1191185"/>
                    <a:gd name="connsiteY565" fmla="*/ 386692 h 920179"/>
                    <a:gd name="connsiteX566" fmla="*/ 251978 w 1191185"/>
                    <a:gd name="connsiteY566" fmla="*/ 385793 h 920179"/>
                    <a:gd name="connsiteX567" fmla="*/ 243259 w 1191185"/>
                    <a:gd name="connsiteY567" fmla="*/ 383887 h 920179"/>
                    <a:gd name="connsiteX568" fmla="*/ 238924 w 1191185"/>
                    <a:gd name="connsiteY568" fmla="*/ 381750 h 920179"/>
                    <a:gd name="connsiteX569" fmla="*/ 233582 w 1191185"/>
                    <a:gd name="connsiteY569" fmla="*/ 381021 h 920179"/>
                    <a:gd name="connsiteX570" fmla="*/ 226429 w 1191185"/>
                    <a:gd name="connsiteY570" fmla="*/ 378022 h 920179"/>
                    <a:gd name="connsiteX571" fmla="*/ 208689 w 1191185"/>
                    <a:gd name="connsiteY571" fmla="*/ 376504 h 920179"/>
                    <a:gd name="connsiteX572" fmla="*/ 201233 w 1191185"/>
                    <a:gd name="connsiteY572" fmla="*/ 374355 h 920179"/>
                    <a:gd name="connsiteX573" fmla="*/ 188118 w 1191185"/>
                    <a:gd name="connsiteY573" fmla="*/ 366923 h 920179"/>
                    <a:gd name="connsiteX574" fmla="*/ 170001 w 1191185"/>
                    <a:gd name="connsiteY574" fmla="*/ 354550 h 920179"/>
                    <a:gd name="connsiteX575" fmla="*/ 137968 w 1191185"/>
                    <a:gd name="connsiteY575" fmla="*/ 341120 h 920179"/>
                    <a:gd name="connsiteX576" fmla="*/ 104624 w 1191185"/>
                    <a:gd name="connsiteY576" fmla="*/ 318959 h 920179"/>
                    <a:gd name="connsiteX577" fmla="*/ 98649 w 1191185"/>
                    <a:gd name="connsiteY577" fmla="*/ 314101 h 920179"/>
                    <a:gd name="connsiteX578" fmla="*/ 97289 w 1191185"/>
                    <a:gd name="connsiteY578" fmla="*/ 313373 h 920179"/>
                    <a:gd name="connsiteX579" fmla="*/ 95456 w 1191185"/>
                    <a:gd name="connsiteY579" fmla="*/ 311224 h 920179"/>
                    <a:gd name="connsiteX580" fmla="*/ 95638 w 1191185"/>
                    <a:gd name="connsiteY580" fmla="*/ 308601 h 920179"/>
                    <a:gd name="connsiteX581" fmla="*/ 91509 w 1191185"/>
                    <a:gd name="connsiteY581" fmla="*/ 306889 h 920179"/>
                    <a:gd name="connsiteX582" fmla="*/ 88510 w 1191185"/>
                    <a:gd name="connsiteY582" fmla="*/ 303306 h 920179"/>
                    <a:gd name="connsiteX583" fmla="*/ 86361 w 1191185"/>
                    <a:gd name="connsiteY583" fmla="*/ 299032 h 920179"/>
                    <a:gd name="connsiteX584" fmla="*/ 85158 w 1191185"/>
                    <a:gd name="connsiteY584" fmla="*/ 294709 h 920179"/>
                    <a:gd name="connsiteX585" fmla="*/ 78201 w 1191185"/>
                    <a:gd name="connsiteY585" fmla="*/ 293604 h 920179"/>
                    <a:gd name="connsiteX586" fmla="*/ 74570 w 1191185"/>
                    <a:gd name="connsiteY586" fmla="*/ 287290 h 920179"/>
                    <a:gd name="connsiteX587" fmla="*/ 79658 w 1191185"/>
                    <a:gd name="connsiteY587" fmla="*/ 277223 h 920179"/>
                    <a:gd name="connsiteX588" fmla="*/ 82171 w 1191185"/>
                    <a:gd name="connsiteY588" fmla="*/ 276373 h 920179"/>
                    <a:gd name="connsiteX589" fmla="*/ 81552 w 1191185"/>
                    <a:gd name="connsiteY589" fmla="*/ 276106 h 920179"/>
                    <a:gd name="connsiteX590" fmla="*/ 80180 w 1191185"/>
                    <a:gd name="connsiteY590" fmla="*/ 273823 h 920179"/>
                    <a:gd name="connsiteX591" fmla="*/ 78941 w 1191185"/>
                    <a:gd name="connsiteY591" fmla="*/ 274783 h 920179"/>
                    <a:gd name="connsiteX592" fmla="*/ 76501 w 1191185"/>
                    <a:gd name="connsiteY592" fmla="*/ 274236 h 920179"/>
                    <a:gd name="connsiteX593" fmla="*/ 74376 w 1191185"/>
                    <a:gd name="connsiteY593" fmla="*/ 273034 h 920179"/>
                    <a:gd name="connsiteX594" fmla="*/ 72420 w 1191185"/>
                    <a:gd name="connsiteY594" fmla="*/ 271638 h 920179"/>
                    <a:gd name="connsiteX595" fmla="*/ 70283 w 1191185"/>
                    <a:gd name="connsiteY595" fmla="*/ 268796 h 920179"/>
                    <a:gd name="connsiteX596" fmla="*/ 69785 w 1191185"/>
                    <a:gd name="connsiteY596" fmla="*/ 265979 h 920179"/>
                    <a:gd name="connsiteX597" fmla="*/ 70028 w 1191185"/>
                    <a:gd name="connsiteY597" fmla="*/ 263939 h 920179"/>
                    <a:gd name="connsiteX598" fmla="*/ 65669 w 1191185"/>
                    <a:gd name="connsiteY598" fmla="*/ 265323 h 920179"/>
                    <a:gd name="connsiteX599" fmla="*/ 60873 w 1191185"/>
                    <a:gd name="connsiteY599" fmla="*/ 263648 h 920179"/>
                    <a:gd name="connsiteX600" fmla="*/ 59488 w 1191185"/>
                    <a:gd name="connsiteY600" fmla="*/ 259373 h 920179"/>
                    <a:gd name="connsiteX601" fmla="*/ 59258 w 1191185"/>
                    <a:gd name="connsiteY601" fmla="*/ 259446 h 920179"/>
                    <a:gd name="connsiteX602" fmla="*/ 55603 w 1191185"/>
                    <a:gd name="connsiteY602" fmla="*/ 258499 h 920179"/>
                    <a:gd name="connsiteX603" fmla="*/ 52494 w 1191185"/>
                    <a:gd name="connsiteY603" fmla="*/ 254443 h 920179"/>
                    <a:gd name="connsiteX604" fmla="*/ 54947 w 1191185"/>
                    <a:gd name="connsiteY604" fmla="*/ 248809 h 920179"/>
                    <a:gd name="connsiteX605" fmla="*/ 55797 w 1191185"/>
                    <a:gd name="connsiteY605" fmla="*/ 247473 h 920179"/>
                    <a:gd name="connsiteX606" fmla="*/ 51595 w 1191185"/>
                    <a:gd name="connsiteY606" fmla="*/ 247194 h 920179"/>
                    <a:gd name="connsiteX607" fmla="*/ 49652 w 1191185"/>
                    <a:gd name="connsiteY607" fmla="*/ 241887 h 920179"/>
                    <a:gd name="connsiteX608" fmla="*/ 50587 w 1191185"/>
                    <a:gd name="connsiteY608" fmla="*/ 233266 h 920179"/>
                    <a:gd name="connsiteX609" fmla="*/ 49495 w 1191185"/>
                    <a:gd name="connsiteY609" fmla="*/ 224256 h 920179"/>
                    <a:gd name="connsiteX610" fmla="*/ 50502 w 1191185"/>
                    <a:gd name="connsiteY610" fmla="*/ 217298 h 920179"/>
                    <a:gd name="connsiteX611" fmla="*/ 56404 w 1191185"/>
                    <a:gd name="connsiteY611" fmla="*/ 213934 h 920179"/>
                    <a:gd name="connsiteX612" fmla="*/ 61383 w 1191185"/>
                    <a:gd name="connsiteY612" fmla="*/ 215464 h 920179"/>
                    <a:gd name="connsiteX613" fmla="*/ 60642 w 1191185"/>
                    <a:gd name="connsiteY613" fmla="*/ 211676 h 920179"/>
                    <a:gd name="connsiteX614" fmla="*/ 62172 w 1191185"/>
                    <a:gd name="connsiteY614" fmla="*/ 209879 h 920179"/>
                    <a:gd name="connsiteX615" fmla="*/ 63726 w 1191185"/>
                    <a:gd name="connsiteY615" fmla="*/ 208810 h 920179"/>
                    <a:gd name="connsiteX616" fmla="*/ 67405 w 1191185"/>
                    <a:gd name="connsiteY616" fmla="*/ 207717 h 920179"/>
                    <a:gd name="connsiteX617" fmla="*/ 70247 w 1191185"/>
                    <a:gd name="connsiteY617" fmla="*/ 205823 h 920179"/>
                    <a:gd name="connsiteX618" fmla="*/ 74570 w 1191185"/>
                    <a:gd name="connsiteY618" fmla="*/ 205398 h 920179"/>
                    <a:gd name="connsiteX619" fmla="*/ 74873 w 1191185"/>
                    <a:gd name="connsiteY619" fmla="*/ 205264 h 920179"/>
                    <a:gd name="connsiteX620" fmla="*/ 75468 w 1191185"/>
                    <a:gd name="connsiteY620" fmla="*/ 204669 h 920179"/>
                    <a:gd name="connsiteX621" fmla="*/ 78091 w 1191185"/>
                    <a:gd name="connsiteY621" fmla="*/ 200662 h 920179"/>
                    <a:gd name="connsiteX622" fmla="*/ 83798 w 1191185"/>
                    <a:gd name="connsiteY622" fmla="*/ 194566 h 920179"/>
                    <a:gd name="connsiteX623" fmla="*/ 87599 w 1191185"/>
                    <a:gd name="connsiteY623" fmla="*/ 191591 h 920179"/>
                    <a:gd name="connsiteX624" fmla="*/ 93913 w 1191185"/>
                    <a:gd name="connsiteY624" fmla="*/ 189090 h 920179"/>
                    <a:gd name="connsiteX625" fmla="*/ 96512 w 1191185"/>
                    <a:gd name="connsiteY625" fmla="*/ 182824 h 920179"/>
                    <a:gd name="connsiteX626" fmla="*/ 99256 w 1191185"/>
                    <a:gd name="connsiteY626" fmla="*/ 179643 h 920179"/>
                    <a:gd name="connsiteX627" fmla="*/ 96731 w 1191185"/>
                    <a:gd name="connsiteY627" fmla="*/ 180080 h 920179"/>
                    <a:gd name="connsiteX628" fmla="*/ 95929 w 1191185"/>
                    <a:gd name="connsiteY628" fmla="*/ 180796 h 920179"/>
                    <a:gd name="connsiteX629" fmla="*/ 93671 w 1191185"/>
                    <a:gd name="connsiteY629" fmla="*/ 185981 h 920179"/>
                    <a:gd name="connsiteX630" fmla="*/ 91291 w 1191185"/>
                    <a:gd name="connsiteY630" fmla="*/ 189248 h 920179"/>
                    <a:gd name="connsiteX631" fmla="*/ 88376 w 1191185"/>
                    <a:gd name="connsiteY631" fmla="*/ 191251 h 920179"/>
                    <a:gd name="connsiteX632" fmla="*/ 81297 w 1191185"/>
                    <a:gd name="connsiteY632" fmla="*/ 193024 h 920179"/>
                    <a:gd name="connsiteX633" fmla="*/ 78856 w 1191185"/>
                    <a:gd name="connsiteY633" fmla="*/ 194251 h 920179"/>
                    <a:gd name="connsiteX634" fmla="*/ 76780 w 1191185"/>
                    <a:gd name="connsiteY634" fmla="*/ 195829 h 920179"/>
                    <a:gd name="connsiteX635" fmla="*/ 73708 w 1191185"/>
                    <a:gd name="connsiteY635" fmla="*/ 197566 h 920179"/>
                    <a:gd name="connsiteX636" fmla="*/ 65863 w 1191185"/>
                    <a:gd name="connsiteY636" fmla="*/ 199217 h 920179"/>
                    <a:gd name="connsiteX637" fmla="*/ 62573 w 1191185"/>
                    <a:gd name="connsiteY637" fmla="*/ 201597 h 920179"/>
                    <a:gd name="connsiteX638" fmla="*/ 58007 w 1191185"/>
                    <a:gd name="connsiteY638" fmla="*/ 203613 h 920179"/>
                    <a:gd name="connsiteX639" fmla="*/ 55639 w 1191185"/>
                    <a:gd name="connsiteY639" fmla="*/ 205859 h 920179"/>
                    <a:gd name="connsiteX640" fmla="*/ 45269 w 1191185"/>
                    <a:gd name="connsiteY640" fmla="*/ 218099 h 920179"/>
                    <a:gd name="connsiteX641" fmla="*/ 45342 w 1191185"/>
                    <a:gd name="connsiteY641" fmla="*/ 218148 h 920179"/>
                    <a:gd name="connsiteX642" fmla="*/ 45949 w 1191185"/>
                    <a:gd name="connsiteY642" fmla="*/ 221888 h 920179"/>
                    <a:gd name="connsiteX643" fmla="*/ 44747 w 1191185"/>
                    <a:gd name="connsiteY643" fmla="*/ 224207 h 920179"/>
                    <a:gd name="connsiteX644" fmla="*/ 42913 w 1191185"/>
                    <a:gd name="connsiteY644" fmla="*/ 226284 h 920179"/>
                    <a:gd name="connsiteX645" fmla="*/ 39003 w 1191185"/>
                    <a:gd name="connsiteY645" fmla="*/ 229028 h 920179"/>
                    <a:gd name="connsiteX646" fmla="*/ 36405 w 1191185"/>
                    <a:gd name="connsiteY646" fmla="*/ 229247 h 920179"/>
                    <a:gd name="connsiteX647" fmla="*/ 33442 w 1191185"/>
                    <a:gd name="connsiteY647" fmla="*/ 228530 h 920179"/>
                    <a:gd name="connsiteX648" fmla="*/ 31426 w 1191185"/>
                    <a:gd name="connsiteY648" fmla="*/ 228397 h 920179"/>
                    <a:gd name="connsiteX649" fmla="*/ 19975 w 1191185"/>
                    <a:gd name="connsiteY649" fmla="*/ 228882 h 920179"/>
                    <a:gd name="connsiteX650" fmla="*/ 10212 w 1191185"/>
                    <a:gd name="connsiteY650" fmla="*/ 227656 h 920179"/>
                    <a:gd name="connsiteX651" fmla="*/ 4554 w 1191185"/>
                    <a:gd name="connsiteY651" fmla="*/ 226041 h 920179"/>
                    <a:gd name="connsiteX652" fmla="*/ 0 w 1191185"/>
                    <a:gd name="connsiteY652" fmla="*/ 221900 h 920179"/>
                    <a:gd name="connsiteX653" fmla="*/ 2331 w 1191185"/>
                    <a:gd name="connsiteY653" fmla="*/ 214724 h 920179"/>
                    <a:gd name="connsiteX654" fmla="*/ 4408 w 1191185"/>
                    <a:gd name="connsiteY654" fmla="*/ 214214 h 920179"/>
                    <a:gd name="connsiteX655" fmla="*/ 5646 w 1191185"/>
                    <a:gd name="connsiteY655" fmla="*/ 214044 h 920179"/>
                    <a:gd name="connsiteX656" fmla="*/ 7492 w 1191185"/>
                    <a:gd name="connsiteY656" fmla="*/ 214141 h 920179"/>
                    <a:gd name="connsiteX657" fmla="*/ 7820 w 1191185"/>
                    <a:gd name="connsiteY657" fmla="*/ 212829 h 920179"/>
                    <a:gd name="connsiteX658" fmla="*/ 8913 w 1191185"/>
                    <a:gd name="connsiteY658" fmla="*/ 210935 h 920179"/>
                    <a:gd name="connsiteX659" fmla="*/ 12240 w 1191185"/>
                    <a:gd name="connsiteY659" fmla="*/ 209126 h 920179"/>
                    <a:gd name="connsiteX660" fmla="*/ 15215 w 1191185"/>
                    <a:gd name="connsiteY660" fmla="*/ 208057 h 920179"/>
                    <a:gd name="connsiteX661" fmla="*/ 13637 w 1191185"/>
                    <a:gd name="connsiteY661" fmla="*/ 206637 h 920179"/>
                    <a:gd name="connsiteX662" fmla="*/ 10601 w 1191185"/>
                    <a:gd name="connsiteY662" fmla="*/ 201706 h 920179"/>
                    <a:gd name="connsiteX663" fmla="*/ 10261 w 1191185"/>
                    <a:gd name="connsiteY663" fmla="*/ 197274 h 920179"/>
                    <a:gd name="connsiteX664" fmla="*/ 10346 w 1191185"/>
                    <a:gd name="connsiteY664" fmla="*/ 196339 h 920179"/>
                    <a:gd name="connsiteX665" fmla="*/ 6666 w 1191185"/>
                    <a:gd name="connsiteY665" fmla="*/ 198974 h 920179"/>
                    <a:gd name="connsiteX666" fmla="*/ 4129 w 1191185"/>
                    <a:gd name="connsiteY666" fmla="*/ 192599 h 920179"/>
                    <a:gd name="connsiteX667" fmla="*/ 4663 w 1191185"/>
                    <a:gd name="connsiteY667" fmla="*/ 188738 h 920179"/>
                    <a:gd name="connsiteX668" fmla="*/ 6642 w 1191185"/>
                    <a:gd name="connsiteY668" fmla="*/ 183140 h 920179"/>
                    <a:gd name="connsiteX669" fmla="*/ 7237 w 1191185"/>
                    <a:gd name="connsiteY669" fmla="*/ 178003 h 920179"/>
                    <a:gd name="connsiteX670" fmla="*/ 7881 w 1191185"/>
                    <a:gd name="connsiteY670" fmla="*/ 175830 h 920179"/>
                    <a:gd name="connsiteX671" fmla="*/ 7893 w 1191185"/>
                    <a:gd name="connsiteY671" fmla="*/ 174640 h 920179"/>
                    <a:gd name="connsiteX672" fmla="*/ 8281 w 1191185"/>
                    <a:gd name="connsiteY672" fmla="*/ 173875 h 920179"/>
                    <a:gd name="connsiteX673" fmla="*/ 13236 w 1191185"/>
                    <a:gd name="connsiteY673" fmla="*/ 166358 h 920179"/>
                    <a:gd name="connsiteX674" fmla="*/ 15276 w 1191185"/>
                    <a:gd name="connsiteY674" fmla="*/ 165071 h 920179"/>
                    <a:gd name="connsiteX675" fmla="*/ 19016 w 1191185"/>
                    <a:gd name="connsiteY675" fmla="*/ 163383 h 920179"/>
                    <a:gd name="connsiteX676" fmla="*/ 20546 w 1191185"/>
                    <a:gd name="connsiteY676" fmla="*/ 162412 h 920179"/>
                    <a:gd name="connsiteX677" fmla="*/ 20813 w 1191185"/>
                    <a:gd name="connsiteY677" fmla="*/ 162388 h 920179"/>
                    <a:gd name="connsiteX678" fmla="*/ 21019 w 1191185"/>
                    <a:gd name="connsiteY678" fmla="*/ 161258 h 920179"/>
                    <a:gd name="connsiteX679" fmla="*/ 20874 w 1191185"/>
                    <a:gd name="connsiteY679" fmla="*/ 160190 h 920179"/>
                    <a:gd name="connsiteX680" fmla="*/ 21408 w 1191185"/>
                    <a:gd name="connsiteY680" fmla="*/ 157470 h 920179"/>
                    <a:gd name="connsiteX681" fmla="*/ 21663 w 1191185"/>
                    <a:gd name="connsiteY681" fmla="*/ 156486 h 920179"/>
                    <a:gd name="connsiteX682" fmla="*/ 24723 w 1191185"/>
                    <a:gd name="connsiteY682" fmla="*/ 153997 h 920179"/>
                    <a:gd name="connsiteX683" fmla="*/ 29143 w 1191185"/>
                    <a:gd name="connsiteY683" fmla="*/ 153220 h 920179"/>
                    <a:gd name="connsiteX684" fmla="*/ 30673 w 1191185"/>
                    <a:gd name="connsiteY684" fmla="*/ 155065 h 920179"/>
                    <a:gd name="connsiteX685" fmla="*/ 31535 w 1191185"/>
                    <a:gd name="connsiteY685" fmla="*/ 156498 h 920179"/>
                    <a:gd name="connsiteX686" fmla="*/ 31984 w 1191185"/>
                    <a:gd name="connsiteY686" fmla="*/ 158053 h 920179"/>
                    <a:gd name="connsiteX687" fmla="*/ 32167 w 1191185"/>
                    <a:gd name="connsiteY687" fmla="*/ 158308 h 920179"/>
                    <a:gd name="connsiteX688" fmla="*/ 32895 w 1191185"/>
                    <a:gd name="connsiteY688" fmla="*/ 158623 h 920179"/>
                    <a:gd name="connsiteX689" fmla="*/ 33697 w 1191185"/>
                    <a:gd name="connsiteY689" fmla="*/ 158295 h 920179"/>
                    <a:gd name="connsiteX690" fmla="*/ 35482 w 1191185"/>
                    <a:gd name="connsiteY690" fmla="*/ 156413 h 920179"/>
                    <a:gd name="connsiteX691" fmla="*/ 36174 w 1191185"/>
                    <a:gd name="connsiteY691" fmla="*/ 155260 h 920179"/>
                    <a:gd name="connsiteX692" fmla="*/ 36125 w 1191185"/>
                    <a:gd name="connsiteY692" fmla="*/ 154956 h 920179"/>
                    <a:gd name="connsiteX693" fmla="*/ 35567 w 1191185"/>
                    <a:gd name="connsiteY693" fmla="*/ 153475 h 920179"/>
                    <a:gd name="connsiteX694" fmla="*/ 35518 w 1191185"/>
                    <a:gd name="connsiteY694" fmla="*/ 150597 h 920179"/>
                    <a:gd name="connsiteX695" fmla="*/ 35676 w 1191185"/>
                    <a:gd name="connsiteY695" fmla="*/ 148193 h 920179"/>
                    <a:gd name="connsiteX696" fmla="*/ 41444 w 1191185"/>
                    <a:gd name="connsiteY696" fmla="*/ 147233 h 920179"/>
                    <a:gd name="connsiteX697" fmla="*/ 44480 w 1191185"/>
                    <a:gd name="connsiteY697" fmla="*/ 149164 h 920179"/>
                    <a:gd name="connsiteX698" fmla="*/ 45160 w 1191185"/>
                    <a:gd name="connsiteY698" fmla="*/ 150900 h 920179"/>
                    <a:gd name="connsiteX699" fmla="*/ 47673 w 1191185"/>
                    <a:gd name="connsiteY699" fmla="*/ 149127 h 920179"/>
                    <a:gd name="connsiteX700" fmla="*/ 57048 w 1191185"/>
                    <a:gd name="connsiteY700" fmla="*/ 147682 h 920179"/>
                    <a:gd name="connsiteX701" fmla="*/ 109408 w 1191185"/>
                    <a:gd name="connsiteY701" fmla="*/ 148010 h 920179"/>
                    <a:gd name="connsiteX702" fmla="*/ 109663 w 1191185"/>
                    <a:gd name="connsiteY702" fmla="*/ 85984 h 920179"/>
                    <a:gd name="connsiteX703" fmla="*/ 114848 w 1191185"/>
                    <a:gd name="connsiteY703" fmla="*/ 75213 h 920179"/>
                    <a:gd name="connsiteX704" fmla="*/ 128169 w 1191185"/>
                    <a:gd name="connsiteY704" fmla="*/ 75796 h 920179"/>
                    <a:gd name="connsiteX705" fmla="*/ 132127 w 1191185"/>
                    <a:gd name="connsiteY705" fmla="*/ 81831 h 920179"/>
                    <a:gd name="connsiteX706" fmla="*/ 133172 w 1191185"/>
                    <a:gd name="connsiteY706" fmla="*/ 92821 h 920179"/>
                    <a:gd name="connsiteX707" fmla="*/ 133839 w 1191185"/>
                    <a:gd name="connsiteY707" fmla="*/ 93331 h 920179"/>
                    <a:gd name="connsiteX708" fmla="*/ 139000 w 1191185"/>
                    <a:gd name="connsiteY708" fmla="*/ 83604 h 920179"/>
                    <a:gd name="connsiteX709" fmla="*/ 139365 w 1191185"/>
                    <a:gd name="connsiteY709" fmla="*/ 82451 h 920179"/>
                    <a:gd name="connsiteX710" fmla="*/ 139753 w 1191185"/>
                    <a:gd name="connsiteY710" fmla="*/ 80459 h 920179"/>
                    <a:gd name="connsiteX711" fmla="*/ 142024 w 1191185"/>
                    <a:gd name="connsiteY711" fmla="*/ 77751 h 920179"/>
                    <a:gd name="connsiteX712" fmla="*/ 146650 w 1191185"/>
                    <a:gd name="connsiteY712" fmla="*/ 77351 h 920179"/>
                    <a:gd name="connsiteX713" fmla="*/ 148982 w 1191185"/>
                    <a:gd name="connsiteY713" fmla="*/ 78298 h 920179"/>
                    <a:gd name="connsiteX714" fmla="*/ 151410 w 1191185"/>
                    <a:gd name="connsiteY714" fmla="*/ 80071 h 920179"/>
                    <a:gd name="connsiteX715" fmla="*/ 153195 w 1191185"/>
                    <a:gd name="connsiteY715" fmla="*/ 82098 h 920179"/>
                    <a:gd name="connsiteX716" fmla="*/ 157142 w 1191185"/>
                    <a:gd name="connsiteY716" fmla="*/ 88947 h 920179"/>
                    <a:gd name="connsiteX717" fmla="*/ 158405 w 1191185"/>
                    <a:gd name="connsiteY717" fmla="*/ 90137 h 920179"/>
                    <a:gd name="connsiteX718" fmla="*/ 160165 w 1191185"/>
                    <a:gd name="connsiteY718" fmla="*/ 90246 h 920179"/>
                    <a:gd name="connsiteX719" fmla="*/ 164561 w 1191185"/>
                    <a:gd name="connsiteY719" fmla="*/ 88656 h 920179"/>
                    <a:gd name="connsiteX720" fmla="*/ 171786 w 1191185"/>
                    <a:gd name="connsiteY720" fmla="*/ 84746 h 920179"/>
                    <a:gd name="connsiteX721" fmla="*/ 176995 w 1191185"/>
                    <a:gd name="connsiteY721" fmla="*/ 83629 h 920179"/>
                    <a:gd name="connsiteX722" fmla="*/ 182217 w 1191185"/>
                    <a:gd name="connsiteY722" fmla="*/ 85158 h 920179"/>
                    <a:gd name="connsiteX723" fmla="*/ 193231 w 1191185"/>
                    <a:gd name="connsiteY723" fmla="*/ 90356 h 920179"/>
                    <a:gd name="connsiteX724" fmla="*/ 195975 w 1191185"/>
                    <a:gd name="connsiteY724" fmla="*/ 90793 h 920179"/>
                    <a:gd name="connsiteX725" fmla="*/ 202338 w 1191185"/>
                    <a:gd name="connsiteY725" fmla="*/ 89676 h 920179"/>
                    <a:gd name="connsiteX726" fmla="*/ 215780 w 1191185"/>
                    <a:gd name="connsiteY726" fmla="*/ 84831 h 920179"/>
                    <a:gd name="connsiteX727" fmla="*/ 269828 w 1191185"/>
                    <a:gd name="connsiteY727" fmla="*/ 86033 h 920179"/>
                    <a:gd name="connsiteX728" fmla="*/ 276446 w 1191185"/>
                    <a:gd name="connsiteY728" fmla="*/ 88741 h 920179"/>
                    <a:gd name="connsiteX729" fmla="*/ 292074 w 1191185"/>
                    <a:gd name="connsiteY729" fmla="*/ 104478 h 920179"/>
                    <a:gd name="connsiteX730" fmla="*/ 299493 w 1191185"/>
                    <a:gd name="connsiteY730" fmla="*/ 107890 h 920179"/>
                    <a:gd name="connsiteX731" fmla="*/ 308674 w 1191185"/>
                    <a:gd name="connsiteY731" fmla="*/ 108777 h 920179"/>
                    <a:gd name="connsiteX732" fmla="*/ 346414 w 1191185"/>
                    <a:gd name="connsiteY732" fmla="*/ 108242 h 920179"/>
                    <a:gd name="connsiteX733" fmla="*/ 353299 w 1191185"/>
                    <a:gd name="connsiteY733" fmla="*/ 106724 h 920179"/>
                    <a:gd name="connsiteX734" fmla="*/ 359516 w 1191185"/>
                    <a:gd name="connsiteY734" fmla="*/ 101612 h 920179"/>
                    <a:gd name="connsiteX735" fmla="*/ 360864 w 1191185"/>
                    <a:gd name="connsiteY735" fmla="*/ 98819 h 920179"/>
                    <a:gd name="connsiteX736" fmla="*/ 365187 w 1191185"/>
                    <a:gd name="connsiteY736" fmla="*/ 86895 h 920179"/>
                    <a:gd name="connsiteX737" fmla="*/ 367810 w 1191185"/>
                    <a:gd name="connsiteY737" fmla="*/ 82451 h 920179"/>
                    <a:gd name="connsiteX738" fmla="*/ 371319 w 1191185"/>
                    <a:gd name="connsiteY738" fmla="*/ 80508 h 920179"/>
                    <a:gd name="connsiteX739" fmla="*/ 378508 w 1191185"/>
                    <a:gd name="connsiteY739" fmla="*/ 79889 h 920179"/>
                    <a:gd name="connsiteX740" fmla="*/ 388623 w 1191185"/>
                    <a:gd name="connsiteY740" fmla="*/ 76489 h 920179"/>
                    <a:gd name="connsiteX741" fmla="*/ 393237 w 1191185"/>
                    <a:gd name="connsiteY741" fmla="*/ 76124 h 920179"/>
                    <a:gd name="connsiteX742" fmla="*/ 395896 w 1191185"/>
                    <a:gd name="connsiteY742" fmla="*/ 75541 h 920179"/>
                    <a:gd name="connsiteX743" fmla="*/ 402211 w 1191185"/>
                    <a:gd name="connsiteY743" fmla="*/ 71048 h 920179"/>
                    <a:gd name="connsiteX744" fmla="*/ 406400 w 1191185"/>
                    <a:gd name="connsiteY744" fmla="*/ 69093 h 920179"/>
                    <a:gd name="connsiteX745" fmla="*/ 417705 w 1191185"/>
                    <a:gd name="connsiteY745" fmla="*/ 68255 h 920179"/>
                    <a:gd name="connsiteX746" fmla="*/ 420158 w 1191185"/>
                    <a:gd name="connsiteY746" fmla="*/ 67223 h 920179"/>
                    <a:gd name="connsiteX747" fmla="*/ 428026 w 1191185"/>
                    <a:gd name="connsiteY747" fmla="*/ 61698 h 920179"/>
                    <a:gd name="connsiteX748" fmla="*/ 448633 w 1191185"/>
                    <a:gd name="connsiteY748" fmla="*/ 56659 h 920179"/>
                    <a:gd name="connsiteX749" fmla="*/ 459173 w 1191185"/>
                    <a:gd name="connsiteY749" fmla="*/ 56781 h 920179"/>
                    <a:gd name="connsiteX750" fmla="*/ 462962 w 1191185"/>
                    <a:gd name="connsiteY750" fmla="*/ 64673 h 920179"/>
                    <a:gd name="connsiteX751" fmla="*/ 460679 w 1191185"/>
                    <a:gd name="connsiteY751" fmla="*/ 68753 h 920179"/>
                    <a:gd name="connsiteX752" fmla="*/ 457109 w 1191185"/>
                    <a:gd name="connsiteY752" fmla="*/ 71036 h 920179"/>
                    <a:gd name="connsiteX753" fmla="*/ 456999 w 1191185"/>
                    <a:gd name="connsiteY753" fmla="*/ 72360 h 920179"/>
                    <a:gd name="connsiteX754" fmla="*/ 458760 w 1191185"/>
                    <a:gd name="connsiteY754" fmla="*/ 78310 h 920179"/>
                    <a:gd name="connsiteX755" fmla="*/ 459768 w 1191185"/>
                    <a:gd name="connsiteY755" fmla="*/ 86652 h 920179"/>
                    <a:gd name="connsiteX756" fmla="*/ 460861 w 1191185"/>
                    <a:gd name="connsiteY756" fmla="*/ 88571 h 920179"/>
                    <a:gd name="connsiteX757" fmla="*/ 463387 w 1191185"/>
                    <a:gd name="connsiteY757" fmla="*/ 90586 h 920179"/>
                    <a:gd name="connsiteX758" fmla="*/ 469543 w 1191185"/>
                    <a:gd name="connsiteY758" fmla="*/ 93440 h 920179"/>
                    <a:gd name="connsiteX759" fmla="*/ 493550 w 1191185"/>
                    <a:gd name="connsiteY759" fmla="*/ 95055 h 920179"/>
                    <a:gd name="connsiteX760" fmla="*/ 496452 w 1191185"/>
                    <a:gd name="connsiteY760" fmla="*/ 94120 h 920179"/>
                    <a:gd name="connsiteX761" fmla="*/ 502863 w 1191185"/>
                    <a:gd name="connsiteY761" fmla="*/ 90817 h 920179"/>
                    <a:gd name="connsiteX762" fmla="*/ 507077 w 1191185"/>
                    <a:gd name="connsiteY762" fmla="*/ 89311 h 920179"/>
                    <a:gd name="connsiteX763" fmla="*/ 507951 w 1191185"/>
                    <a:gd name="connsiteY763" fmla="*/ 89105 h 920179"/>
                    <a:gd name="connsiteX764" fmla="*/ 507162 w 1191185"/>
                    <a:gd name="connsiteY764" fmla="*/ 88049 h 920179"/>
                    <a:gd name="connsiteX765" fmla="*/ 506178 w 1191185"/>
                    <a:gd name="connsiteY765" fmla="*/ 82475 h 920179"/>
                    <a:gd name="connsiteX766" fmla="*/ 509967 w 1191185"/>
                    <a:gd name="connsiteY766" fmla="*/ 77812 h 920179"/>
                    <a:gd name="connsiteX767" fmla="*/ 522098 w 1191185"/>
                    <a:gd name="connsiteY767" fmla="*/ 69652 h 920179"/>
                    <a:gd name="connsiteX768" fmla="*/ 526360 w 1191185"/>
                    <a:gd name="connsiteY768" fmla="*/ 68195 h 920179"/>
                    <a:gd name="connsiteX769" fmla="*/ 531059 w 1191185"/>
                    <a:gd name="connsiteY769" fmla="*/ 68341 h 920179"/>
                    <a:gd name="connsiteX770" fmla="*/ 536086 w 1191185"/>
                    <a:gd name="connsiteY770" fmla="*/ 70271 h 920179"/>
                    <a:gd name="connsiteX771" fmla="*/ 537507 w 1191185"/>
                    <a:gd name="connsiteY771" fmla="*/ 70211 h 920179"/>
                    <a:gd name="connsiteX772" fmla="*/ 538721 w 1191185"/>
                    <a:gd name="connsiteY772" fmla="*/ 69300 h 920179"/>
                    <a:gd name="connsiteX773" fmla="*/ 539341 w 1191185"/>
                    <a:gd name="connsiteY773" fmla="*/ 67891 h 920179"/>
                    <a:gd name="connsiteX774" fmla="*/ 542219 w 1191185"/>
                    <a:gd name="connsiteY774" fmla="*/ 64661 h 920179"/>
                    <a:gd name="connsiteX775" fmla="*/ 551277 w 1191185"/>
                    <a:gd name="connsiteY775" fmla="*/ 61528 h 920179"/>
                    <a:gd name="connsiteX776" fmla="*/ 551362 w 1191185"/>
                    <a:gd name="connsiteY776" fmla="*/ 61443 h 920179"/>
                    <a:gd name="connsiteX777" fmla="*/ 550852 w 1191185"/>
                    <a:gd name="connsiteY777" fmla="*/ 59731 h 920179"/>
                    <a:gd name="connsiteX778" fmla="*/ 545837 w 1191185"/>
                    <a:gd name="connsiteY778" fmla="*/ 58141 h 920179"/>
                    <a:gd name="connsiteX779" fmla="*/ 538806 w 1191185"/>
                    <a:gd name="connsiteY779" fmla="*/ 57035 h 920179"/>
                    <a:gd name="connsiteX780" fmla="*/ 532456 w 1191185"/>
                    <a:gd name="connsiteY780" fmla="*/ 53733 h 920179"/>
                    <a:gd name="connsiteX781" fmla="*/ 531557 w 1191185"/>
                    <a:gd name="connsiteY781" fmla="*/ 51207 h 920179"/>
                    <a:gd name="connsiteX782" fmla="*/ 531181 w 1191185"/>
                    <a:gd name="connsiteY782" fmla="*/ 49179 h 920179"/>
                    <a:gd name="connsiteX783" fmla="*/ 531205 w 1191185"/>
                    <a:gd name="connsiteY783" fmla="*/ 47066 h 920179"/>
                    <a:gd name="connsiteX784" fmla="*/ 531533 w 1191185"/>
                    <a:gd name="connsiteY784" fmla="*/ 45111 h 920179"/>
                    <a:gd name="connsiteX785" fmla="*/ 531909 w 1191185"/>
                    <a:gd name="connsiteY785" fmla="*/ 41347 h 920179"/>
                    <a:gd name="connsiteX786" fmla="*/ 532869 w 1191185"/>
                    <a:gd name="connsiteY786" fmla="*/ 38991 h 920179"/>
                    <a:gd name="connsiteX787" fmla="*/ 532395 w 1191185"/>
                    <a:gd name="connsiteY787" fmla="*/ 38275 h 920179"/>
                    <a:gd name="connsiteX788" fmla="*/ 528400 w 1191185"/>
                    <a:gd name="connsiteY788" fmla="*/ 35008 h 920179"/>
                    <a:gd name="connsiteX789" fmla="*/ 527769 w 1191185"/>
                    <a:gd name="connsiteY789" fmla="*/ 28087 h 920179"/>
                    <a:gd name="connsiteX790" fmla="*/ 529335 w 1191185"/>
                    <a:gd name="connsiteY790" fmla="*/ 20874 h 920179"/>
                    <a:gd name="connsiteX791" fmla="*/ 532747 w 1191185"/>
                    <a:gd name="connsiteY791" fmla="*/ 14487 h 920179"/>
                    <a:gd name="connsiteX792" fmla="*/ 546104 w 1191185"/>
                    <a:gd name="connsiteY792" fmla="*/ 8221 h 920179"/>
                    <a:gd name="connsiteX793" fmla="*/ 547088 w 1191185"/>
                    <a:gd name="connsiteY793" fmla="*/ 7517 h 920179"/>
                    <a:gd name="connsiteX794" fmla="*/ 543336 w 1191185"/>
                    <a:gd name="connsiteY794" fmla="*/ 1870 h 920179"/>
                    <a:gd name="connsiteX795" fmla="*/ 556110 w 1191185"/>
                    <a:gd name="connsiteY795" fmla="*/ 4323 h 920179"/>
                    <a:gd name="connsiteX796" fmla="*/ 565254 w 1191185"/>
                    <a:gd name="connsiteY796" fmla="*/ 10054 h 920179"/>
                    <a:gd name="connsiteX797" fmla="*/ 581732 w 1191185"/>
                    <a:gd name="connsiteY797" fmla="*/ 14462 h 920179"/>
                    <a:gd name="connsiteX798" fmla="*/ 583541 w 1191185"/>
                    <a:gd name="connsiteY798" fmla="*/ 14523 h 920179"/>
                    <a:gd name="connsiteX799" fmla="*/ 585362 w 1191185"/>
                    <a:gd name="connsiteY799" fmla="*/ 14414 h 920179"/>
                    <a:gd name="connsiteX800" fmla="*/ 587512 w 1191185"/>
                    <a:gd name="connsiteY800" fmla="*/ 12847 h 920179"/>
                    <a:gd name="connsiteX801" fmla="*/ 590390 w 1191185"/>
                    <a:gd name="connsiteY801" fmla="*/ 11342 h 920179"/>
                    <a:gd name="connsiteX802" fmla="*/ 593850 w 1191185"/>
                    <a:gd name="connsiteY802" fmla="*/ 10212 h 920179"/>
                    <a:gd name="connsiteX803" fmla="*/ 599145 w 1191185"/>
                    <a:gd name="connsiteY803" fmla="*/ 9302 h 920179"/>
                    <a:gd name="connsiteX804" fmla="*/ 602763 w 1191185"/>
                    <a:gd name="connsiteY804" fmla="*/ 9775 h 920179"/>
                    <a:gd name="connsiteX805" fmla="*/ 607681 w 1191185"/>
                    <a:gd name="connsiteY805" fmla="*/ 11912 h 920179"/>
                    <a:gd name="connsiteX806" fmla="*/ 610814 w 1191185"/>
                    <a:gd name="connsiteY806" fmla="*/ 12459 h 920179"/>
                    <a:gd name="connsiteX807" fmla="*/ 612538 w 1191185"/>
                    <a:gd name="connsiteY807" fmla="*/ 11973 h 920179"/>
                    <a:gd name="connsiteX808" fmla="*/ 614700 w 1191185"/>
                    <a:gd name="connsiteY808" fmla="*/ 10941 h 920179"/>
                    <a:gd name="connsiteX809" fmla="*/ 619788 w 1191185"/>
                    <a:gd name="connsiteY809" fmla="*/ 7104 h 920179"/>
                    <a:gd name="connsiteX810" fmla="*/ 622119 w 1191185"/>
                    <a:gd name="connsiteY810" fmla="*/ 5780 h 920179"/>
                    <a:gd name="connsiteX811" fmla="*/ 626479 w 1191185"/>
                    <a:gd name="connsiteY811" fmla="*/ 4578 h 920179"/>
                    <a:gd name="connsiteX812" fmla="*/ 641572 w 1191185"/>
                    <a:gd name="connsiteY812" fmla="*/ 4165 h 920179"/>
                    <a:gd name="connsiteX813" fmla="*/ 646721 w 1191185"/>
                    <a:gd name="connsiteY813" fmla="*/ 4505 h 920179"/>
                    <a:gd name="connsiteX814" fmla="*/ 651517 w 1191185"/>
                    <a:gd name="connsiteY814" fmla="*/ 5610 h 920179"/>
                    <a:gd name="connsiteX815" fmla="*/ 655488 w 1191185"/>
                    <a:gd name="connsiteY815" fmla="*/ 8828 h 920179"/>
                    <a:gd name="connsiteX816" fmla="*/ 657091 w 1191185"/>
                    <a:gd name="connsiteY816" fmla="*/ 9763 h 920179"/>
                    <a:gd name="connsiteX817" fmla="*/ 659568 w 1191185"/>
                    <a:gd name="connsiteY817" fmla="*/ 10346 h 920179"/>
                    <a:gd name="connsiteX818" fmla="*/ 661414 w 1191185"/>
                    <a:gd name="connsiteY818" fmla="*/ 10152 h 920179"/>
                    <a:gd name="connsiteX819" fmla="*/ 679470 w 1191185"/>
                    <a:gd name="connsiteY819" fmla="*/ 6193 h 920179"/>
                    <a:gd name="connsiteX820" fmla="*/ 682773 w 1191185"/>
                    <a:gd name="connsiteY820" fmla="*/ 6472 h 920179"/>
                    <a:gd name="connsiteX821" fmla="*/ 683732 w 1191185"/>
                    <a:gd name="connsiteY821" fmla="*/ 6618 h 920179"/>
                    <a:gd name="connsiteX822" fmla="*/ 686246 w 1191185"/>
                    <a:gd name="connsiteY822" fmla="*/ 9010 h 920179"/>
                    <a:gd name="connsiteX823" fmla="*/ 686914 w 1191185"/>
                    <a:gd name="connsiteY823" fmla="*/ 11852 h 920179"/>
                    <a:gd name="connsiteX824" fmla="*/ 687315 w 1191185"/>
                    <a:gd name="connsiteY824" fmla="*/ 12884 h 920179"/>
                    <a:gd name="connsiteX825" fmla="*/ 688444 w 1191185"/>
                    <a:gd name="connsiteY825" fmla="*/ 13831 h 920179"/>
                    <a:gd name="connsiteX826" fmla="*/ 691795 w 1191185"/>
                    <a:gd name="connsiteY826" fmla="*/ 14644 h 920179"/>
                    <a:gd name="connsiteX827" fmla="*/ 691844 w 1191185"/>
                    <a:gd name="connsiteY827" fmla="*/ 11354 h 920179"/>
                    <a:gd name="connsiteX828" fmla="*/ 692876 w 1191185"/>
                    <a:gd name="connsiteY828" fmla="*/ 9229 h 920179"/>
                    <a:gd name="connsiteX829" fmla="*/ 694977 w 1191185"/>
                    <a:gd name="connsiteY829" fmla="*/ 6922 h 920179"/>
                    <a:gd name="connsiteX830" fmla="*/ 698729 w 1191185"/>
                    <a:gd name="connsiteY830" fmla="*/ 5027 h 920179"/>
                    <a:gd name="connsiteX831" fmla="*/ 701461 w 1191185"/>
                    <a:gd name="connsiteY831" fmla="*/ 4481 h 920179"/>
                    <a:gd name="connsiteX832" fmla="*/ 704728 w 1191185"/>
                    <a:gd name="connsiteY832" fmla="*/ 4748 h 920179"/>
                    <a:gd name="connsiteX833" fmla="*/ 707071 w 1191185"/>
                    <a:gd name="connsiteY833" fmla="*/ 6181 h 920179"/>
                    <a:gd name="connsiteX834" fmla="*/ 709330 w 1191185"/>
                    <a:gd name="connsiteY834" fmla="*/ 9520 h 920179"/>
                    <a:gd name="connsiteX835" fmla="*/ 710228 w 1191185"/>
                    <a:gd name="connsiteY835" fmla="*/ 10030 h 920179"/>
                    <a:gd name="connsiteX836" fmla="*/ 712705 w 1191185"/>
                    <a:gd name="connsiteY836" fmla="*/ 10443 h 920179"/>
                    <a:gd name="connsiteX837" fmla="*/ 714320 w 1191185"/>
                    <a:gd name="connsiteY837" fmla="*/ 10127 h 920179"/>
                    <a:gd name="connsiteX838" fmla="*/ 716008 w 1191185"/>
                    <a:gd name="connsiteY838" fmla="*/ 9399 h 920179"/>
                    <a:gd name="connsiteX839" fmla="*/ 716895 w 1191185"/>
                    <a:gd name="connsiteY839" fmla="*/ 8452 h 920179"/>
                    <a:gd name="connsiteX840" fmla="*/ 719566 w 1191185"/>
                    <a:gd name="connsiteY840" fmla="*/ 5294 h 920179"/>
                    <a:gd name="connsiteX841" fmla="*/ 720938 w 1191185"/>
                    <a:gd name="connsiteY841" fmla="*/ 4129 h 920179"/>
                    <a:gd name="connsiteX842" fmla="*/ 722930 w 1191185"/>
                    <a:gd name="connsiteY842" fmla="*/ 3036 h 920179"/>
                    <a:gd name="connsiteX843" fmla="*/ 732559 w 1191185"/>
                    <a:gd name="connsiteY843" fmla="*/ 571 h 920179"/>
                    <a:gd name="connsiteX844" fmla="*/ 737149 w 1191185"/>
                    <a:gd name="connsiteY844" fmla="*/ 0 h 920179"/>
                    <a:gd name="connsiteX845" fmla="*/ 740513 w 1191185"/>
                    <a:gd name="connsiteY845" fmla="*/ 2307 h 920179"/>
                    <a:gd name="connsiteX846" fmla="*/ 742286 w 1191185"/>
                    <a:gd name="connsiteY846" fmla="*/ 5112 h 920179"/>
                    <a:gd name="connsiteX847" fmla="*/ 744301 w 1191185"/>
                    <a:gd name="connsiteY847" fmla="*/ 8986 h 920179"/>
                    <a:gd name="connsiteX848" fmla="*/ 747167 w 1191185"/>
                    <a:gd name="connsiteY848" fmla="*/ 10941 h 920179"/>
                    <a:gd name="connsiteX849" fmla="*/ 760172 w 1191185"/>
                    <a:gd name="connsiteY849" fmla="*/ 15070 h 920179"/>
                    <a:gd name="connsiteX850" fmla="*/ 765867 w 1191185"/>
                    <a:gd name="connsiteY850" fmla="*/ 15725 h 920179"/>
                    <a:gd name="connsiteX851" fmla="*/ 776395 w 1191185"/>
                    <a:gd name="connsiteY851" fmla="*/ 14644 h 920179"/>
                    <a:gd name="connsiteX852" fmla="*/ 782892 w 1191185"/>
                    <a:gd name="connsiteY852" fmla="*/ 13090 h 920179"/>
                    <a:gd name="connsiteX853" fmla="*/ 786947 w 1191185"/>
                    <a:gd name="connsiteY853" fmla="*/ 12568 h 920179"/>
                    <a:gd name="connsiteX854" fmla="*/ 790262 w 1191185"/>
                    <a:gd name="connsiteY854" fmla="*/ 13855 h 920179"/>
                    <a:gd name="connsiteX855" fmla="*/ 792084 w 1191185"/>
                    <a:gd name="connsiteY855" fmla="*/ 16697 h 920179"/>
                    <a:gd name="connsiteX856" fmla="*/ 792375 w 1191185"/>
                    <a:gd name="connsiteY856" fmla="*/ 19477 h 920179"/>
                    <a:gd name="connsiteX857" fmla="*/ 791902 w 1191185"/>
                    <a:gd name="connsiteY857" fmla="*/ 21882 h 920179"/>
                    <a:gd name="connsiteX858" fmla="*/ 790918 w 1191185"/>
                    <a:gd name="connsiteY858" fmla="*/ 23035 h 920179"/>
                    <a:gd name="connsiteX859" fmla="*/ 789570 w 1191185"/>
                    <a:gd name="connsiteY859" fmla="*/ 24116 h 920179"/>
                    <a:gd name="connsiteX860" fmla="*/ 788016 w 1191185"/>
                    <a:gd name="connsiteY860" fmla="*/ 24772 h 920179"/>
                    <a:gd name="connsiteX861" fmla="*/ 785284 w 1191185"/>
                    <a:gd name="connsiteY861" fmla="*/ 25403 h 920179"/>
                    <a:gd name="connsiteX862" fmla="*/ 777124 w 1191185"/>
                    <a:gd name="connsiteY862" fmla="*/ 26022 h 920179"/>
                    <a:gd name="connsiteX863" fmla="*/ 780378 w 1191185"/>
                    <a:gd name="connsiteY863" fmla="*/ 28706 h 920179"/>
                    <a:gd name="connsiteX864" fmla="*/ 782455 w 1191185"/>
                    <a:gd name="connsiteY864" fmla="*/ 29799 h 920179"/>
                    <a:gd name="connsiteX865" fmla="*/ 784446 w 1191185"/>
                    <a:gd name="connsiteY865" fmla="*/ 30199 h 920179"/>
                    <a:gd name="connsiteX866" fmla="*/ 785915 w 1191185"/>
                    <a:gd name="connsiteY866" fmla="*/ 30127 h 920179"/>
                    <a:gd name="connsiteX867" fmla="*/ 789218 w 1191185"/>
                    <a:gd name="connsiteY867" fmla="*/ 30491 h 920179"/>
                    <a:gd name="connsiteX868" fmla="*/ 792145 w 1191185"/>
                    <a:gd name="connsiteY868" fmla="*/ 31645 h 920179"/>
                    <a:gd name="connsiteX869" fmla="*/ 793007 w 1191185"/>
                    <a:gd name="connsiteY869" fmla="*/ 32652 h 920179"/>
                    <a:gd name="connsiteX870" fmla="*/ 793942 w 1191185"/>
                    <a:gd name="connsiteY870" fmla="*/ 34122 h 920179"/>
                    <a:gd name="connsiteX871" fmla="*/ 794452 w 1191185"/>
                    <a:gd name="connsiteY871" fmla="*/ 35785 h 920179"/>
                    <a:gd name="connsiteX872" fmla="*/ 795022 w 1191185"/>
                    <a:gd name="connsiteY872" fmla="*/ 36842 h 920179"/>
                    <a:gd name="connsiteX873" fmla="*/ 795229 w 1191185"/>
                    <a:gd name="connsiteY873" fmla="*/ 37060 h 920179"/>
                    <a:gd name="connsiteX874" fmla="*/ 796115 w 1191185"/>
                    <a:gd name="connsiteY874" fmla="*/ 37340 h 920179"/>
                    <a:gd name="connsiteX875" fmla="*/ 798544 w 1191185"/>
                    <a:gd name="connsiteY875" fmla="*/ 36793 h 920179"/>
                    <a:gd name="connsiteX876" fmla="*/ 801070 w 1191185"/>
                    <a:gd name="connsiteY876" fmla="*/ 36575 h 920179"/>
                    <a:gd name="connsiteX877" fmla="*/ 805903 w 1191185"/>
                    <a:gd name="connsiteY877" fmla="*/ 37230 h 920179"/>
                    <a:gd name="connsiteX878" fmla="*/ 808246 w 1191185"/>
                    <a:gd name="connsiteY878" fmla="*/ 39890 h 920179"/>
                    <a:gd name="connsiteX879" fmla="*/ 808525 w 1191185"/>
                    <a:gd name="connsiteY879" fmla="*/ 42330 h 920179"/>
                    <a:gd name="connsiteX880" fmla="*/ 808125 w 1191185"/>
                    <a:gd name="connsiteY880" fmla="*/ 45063 h 920179"/>
                    <a:gd name="connsiteX881" fmla="*/ 808355 w 1191185"/>
                    <a:gd name="connsiteY881" fmla="*/ 46532 h 920179"/>
                    <a:gd name="connsiteX882" fmla="*/ 810505 w 1191185"/>
                    <a:gd name="connsiteY882" fmla="*/ 50247 h 920179"/>
                    <a:gd name="connsiteX883" fmla="*/ 812253 w 1191185"/>
                    <a:gd name="connsiteY883" fmla="*/ 54133 h 920179"/>
                    <a:gd name="connsiteX884" fmla="*/ 813310 w 1191185"/>
                    <a:gd name="connsiteY884" fmla="*/ 55506 h 920179"/>
                    <a:gd name="connsiteX885" fmla="*/ 814318 w 1191185"/>
                    <a:gd name="connsiteY885" fmla="*/ 55615 h 920179"/>
                    <a:gd name="connsiteX886" fmla="*/ 814524 w 1191185"/>
                    <a:gd name="connsiteY886" fmla="*/ 55360 h 920179"/>
                    <a:gd name="connsiteX887" fmla="*/ 817948 w 1191185"/>
                    <a:gd name="connsiteY887" fmla="*/ 44322 h 920179"/>
                    <a:gd name="connsiteX888" fmla="*/ 818616 w 1191185"/>
                    <a:gd name="connsiteY888" fmla="*/ 43010 h 920179"/>
                    <a:gd name="connsiteX889" fmla="*/ 819333 w 1191185"/>
                    <a:gd name="connsiteY889" fmla="*/ 41930 h 920179"/>
                    <a:gd name="connsiteX890" fmla="*/ 819758 w 1191185"/>
                    <a:gd name="connsiteY890" fmla="*/ 41420 h 920179"/>
                    <a:gd name="connsiteX891" fmla="*/ 820802 w 1191185"/>
                    <a:gd name="connsiteY891" fmla="*/ 40594 h 920179"/>
                    <a:gd name="connsiteX892" fmla="*/ 822077 w 1191185"/>
                    <a:gd name="connsiteY892" fmla="*/ 39987 h 920179"/>
                    <a:gd name="connsiteX893" fmla="*/ 824724 w 1191185"/>
                    <a:gd name="connsiteY893" fmla="*/ 39355 h 920179"/>
                    <a:gd name="connsiteX894" fmla="*/ 829181 w 1191185"/>
                    <a:gd name="connsiteY894" fmla="*/ 39598 h 920179"/>
                    <a:gd name="connsiteX895" fmla="*/ 831986 w 1191185"/>
                    <a:gd name="connsiteY895" fmla="*/ 40412 h 920179"/>
                    <a:gd name="connsiteX896" fmla="*/ 840911 w 1191185"/>
                    <a:gd name="connsiteY896" fmla="*/ 46034 h 920179"/>
                    <a:gd name="connsiteX897" fmla="*/ 843303 w 1191185"/>
                    <a:gd name="connsiteY897" fmla="*/ 46823 h 920179"/>
                    <a:gd name="connsiteX898" fmla="*/ 845586 w 1191185"/>
                    <a:gd name="connsiteY898" fmla="*/ 47273 h 920179"/>
                    <a:gd name="connsiteX899" fmla="*/ 848876 w 1191185"/>
                    <a:gd name="connsiteY899" fmla="*/ 47637 h 920179"/>
                    <a:gd name="connsiteX900" fmla="*/ 851208 w 1191185"/>
                    <a:gd name="connsiteY900" fmla="*/ 48317 h 920179"/>
                    <a:gd name="connsiteX901" fmla="*/ 853746 w 1191185"/>
                    <a:gd name="connsiteY901" fmla="*/ 49907 h 920179"/>
                    <a:gd name="connsiteX902" fmla="*/ 855555 w 1191185"/>
                    <a:gd name="connsiteY902" fmla="*/ 51984 h 920179"/>
                    <a:gd name="connsiteX903" fmla="*/ 856854 w 1191185"/>
                    <a:gd name="connsiteY903" fmla="*/ 54230 h 920179"/>
                    <a:gd name="connsiteX904" fmla="*/ 859161 w 1191185"/>
                    <a:gd name="connsiteY904" fmla="*/ 60132 h 920179"/>
                    <a:gd name="connsiteX905" fmla="*/ 859987 w 1191185"/>
                    <a:gd name="connsiteY905" fmla="*/ 61516 h 920179"/>
                    <a:gd name="connsiteX906" fmla="*/ 861007 w 1191185"/>
                    <a:gd name="connsiteY906" fmla="*/ 62427 h 920179"/>
                    <a:gd name="connsiteX907" fmla="*/ 863205 w 1191185"/>
                    <a:gd name="connsiteY907" fmla="*/ 64042 h 920179"/>
                    <a:gd name="connsiteX908" fmla="*/ 865512 w 1191185"/>
                    <a:gd name="connsiteY908" fmla="*/ 64819 h 920179"/>
                    <a:gd name="connsiteX909" fmla="*/ 867807 w 1191185"/>
                    <a:gd name="connsiteY909" fmla="*/ 65487 h 920179"/>
                    <a:gd name="connsiteX910" fmla="*/ 876344 w 1191185"/>
                    <a:gd name="connsiteY910" fmla="*/ 65997 h 920179"/>
                    <a:gd name="connsiteX911" fmla="*/ 883605 w 1191185"/>
                    <a:gd name="connsiteY911" fmla="*/ 66106 h 920179"/>
                    <a:gd name="connsiteX912" fmla="*/ 888924 w 1191185"/>
                    <a:gd name="connsiteY912" fmla="*/ 67138 h 920179"/>
                    <a:gd name="connsiteX913" fmla="*/ 896112 w 1191185"/>
                    <a:gd name="connsiteY913" fmla="*/ 69506 h 920179"/>
                    <a:gd name="connsiteX914" fmla="*/ 897837 w 1191185"/>
                    <a:gd name="connsiteY914" fmla="*/ 69433 h 920179"/>
                    <a:gd name="connsiteX915" fmla="*/ 899427 w 1191185"/>
                    <a:gd name="connsiteY915" fmla="*/ 68887 h 920179"/>
                    <a:gd name="connsiteX916" fmla="*/ 903277 w 1191185"/>
                    <a:gd name="connsiteY916" fmla="*/ 66106 h 920179"/>
                    <a:gd name="connsiteX917" fmla="*/ 904102 w 1191185"/>
                    <a:gd name="connsiteY917" fmla="*/ 64831 h 920179"/>
                    <a:gd name="connsiteX918" fmla="*/ 904163 w 1191185"/>
                    <a:gd name="connsiteY918" fmla="*/ 64358 h 920179"/>
                    <a:gd name="connsiteX919" fmla="*/ 904127 w 1191185"/>
                    <a:gd name="connsiteY919" fmla="*/ 62075 h 920179"/>
                    <a:gd name="connsiteX920" fmla="*/ 904273 w 1191185"/>
                    <a:gd name="connsiteY920" fmla="*/ 61043 h 920179"/>
                    <a:gd name="connsiteX921" fmla="*/ 905256 w 1191185"/>
                    <a:gd name="connsiteY921" fmla="*/ 58566 h 920179"/>
                    <a:gd name="connsiteX922" fmla="*/ 908717 w 1191185"/>
                    <a:gd name="connsiteY922" fmla="*/ 58966 h 920179"/>
                    <a:gd name="connsiteX923" fmla="*/ 905985 w 1191185"/>
                    <a:gd name="connsiteY923" fmla="*/ 57351 h 920179"/>
                    <a:gd name="connsiteX924" fmla="*/ 906082 w 1191185"/>
                    <a:gd name="connsiteY924" fmla="*/ 56307 h 920179"/>
                    <a:gd name="connsiteX925" fmla="*/ 906130 w 1191185"/>
                    <a:gd name="connsiteY925" fmla="*/ 53696 h 920179"/>
                    <a:gd name="connsiteX926" fmla="*/ 906264 w 1191185"/>
                    <a:gd name="connsiteY926" fmla="*/ 52591 h 920179"/>
                    <a:gd name="connsiteX927" fmla="*/ 906592 w 1191185"/>
                    <a:gd name="connsiteY927" fmla="*/ 51073 h 920179"/>
                    <a:gd name="connsiteX928" fmla="*/ 907745 w 1191185"/>
                    <a:gd name="connsiteY928" fmla="*/ 48718 h 920179"/>
                    <a:gd name="connsiteX929" fmla="*/ 908911 w 1191185"/>
                    <a:gd name="connsiteY929" fmla="*/ 46933 h 920179"/>
                    <a:gd name="connsiteX930" fmla="*/ 911400 w 1191185"/>
                    <a:gd name="connsiteY930" fmla="*/ 44261 h 920179"/>
                    <a:gd name="connsiteX931" fmla="*/ 913198 w 1191185"/>
                    <a:gd name="connsiteY931" fmla="*/ 43095 h 920179"/>
                    <a:gd name="connsiteX932" fmla="*/ 915055 w 1191185"/>
                    <a:gd name="connsiteY932" fmla="*/ 42792 h 920179"/>
                    <a:gd name="connsiteX933" fmla="*/ 916877 w 1191185"/>
                    <a:gd name="connsiteY933" fmla="*/ 42646 h 920179"/>
                    <a:gd name="connsiteX934" fmla="*/ 919403 w 1191185"/>
                    <a:gd name="connsiteY934" fmla="*/ 42160 h 920179"/>
                    <a:gd name="connsiteX935" fmla="*/ 925025 w 1191185"/>
                    <a:gd name="connsiteY935" fmla="*/ 40278 h 920179"/>
                    <a:gd name="connsiteX936" fmla="*/ 928995 w 1191185"/>
                    <a:gd name="connsiteY936" fmla="*/ 39805 h 920179"/>
                    <a:gd name="connsiteX937" fmla="*/ 932869 w 1191185"/>
                    <a:gd name="connsiteY937" fmla="*/ 40351 h 920179"/>
                    <a:gd name="connsiteX938" fmla="*/ 933841 w 1191185"/>
                    <a:gd name="connsiteY938" fmla="*/ 41286 h 920179"/>
                    <a:gd name="connsiteX939" fmla="*/ 934776 w 1191185"/>
                    <a:gd name="connsiteY939" fmla="*/ 42342 h 920179"/>
                    <a:gd name="connsiteX940" fmla="*/ 935553 w 1191185"/>
                    <a:gd name="connsiteY940" fmla="*/ 43824 h 920179"/>
                    <a:gd name="connsiteX941" fmla="*/ 935953 w 1191185"/>
                    <a:gd name="connsiteY941" fmla="*/ 45208 h 920179"/>
                    <a:gd name="connsiteX942" fmla="*/ 936306 w 1191185"/>
                    <a:gd name="connsiteY942" fmla="*/ 47078 h 920179"/>
                    <a:gd name="connsiteX943" fmla="*/ 936354 w 1191185"/>
                    <a:gd name="connsiteY943" fmla="*/ 51923 h 920179"/>
                    <a:gd name="connsiteX944" fmla="*/ 935868 w 1191185"/>
                    <a:gd name="connsiteY944" fmla="*/ 56416 h 920179"/>
                    <a:gd name="connsiteX945" fmla="*/ 934096 w 1191185"/>
                    <a:gd name="connsiteY945" fmla="*/ 61443 h 920179"/>
                    <a:gd name="connsiteX946" fmla="*/ 934970 w 1191185"/>
                    <a:gd name="connsiteY946" fmla="*/ 61759 h 920179"/>
                    <a:gd name="connsiteX947" fmla="*/ 935905 w 1191185"/>
                    <a:gd name="connsiteY947" fmla="*/ 62378 h 920179"/>
                    <a:gd name="connsiteX948" fmla="*/ 937241 w 1191185"/>
                    <a:gd name="connsiteY948" fmla="*/ 62925 h 920179"/>
                    <a:gd name="connsiteX949" fmla="*/ 946214 w 1191185"/>
                    <a:gd name="connsiteY949" fmla="*/ 65900 h 920179"/>
                    <a:gd name="connsiteX950" fmla="*/ 950282 w 1191185"/>
                    <a:gd name="connsiteY950" fmla="*/ 63483 h 920179"/>
                    <a:gd name="connsiteX951" fmla="*/ 953172 w 1191185"/>
                    <a:gd name="connsiteY951" fmla="*/ 63204 h 920179"/>
                    <a:gd name="connsiteX952" fmla="*/ 956366 w 1191185"/>
                    <a:gd name="connsiteY952" fmla="*/ 64783 h 920179"/>
                    <a:gd name="connsiteX953" fmla="*/ 957568 w 1191185"/>
                    <a:gd name="connsiteY953" fmla="*/ 67235 h 920179"/>
                    <a:gd name="connsiteX954" fmla="*/ 958041 w 1191185"/>
                    <a:gd name="connsiteY954" fmla="*/ 70453 h 920179"/>
                    <a:gd name="connsiteX955" fmla="*/ 957325 w 1191185"/>
                    <a:gd name="connsiteY955" fmla="*/ 73999 h 920179"/>
                    <a:gd name="connsiteX956" fmla="*/ 956014 w 1191185"/>
                    <a:gd name="connsiteY956" fmla="*/ 76610 h 920179"/>
                    <a:gd name="connsiteX957" fmla="*/ 954022 w 1191185"/>
                    <a:gd name="connsiteY957" fmla="*/ 78723 h 920179"/>
                    <a:gd name="connsiteX958" fmla="*/ 951788 w 1191185"/>
                    <a:gd name="connsiteY958" fmla="*/ 79974 h 920179"/>
                    <a:gd name="connsiteX959" fmla="*/ 949056 w 1191185"/>
                    <a:gd name="connsiteY959" fmla="*/ 80738 h 920179"/>
                    <a:gd name="connsiteX960" fmla="*/ 945413 w 1191185"/>
                    <a:gd name="connsiteY960" fmla="*/ 80836 h 920179"/>
                    <a:gd name="connsiteX961" fmla="*/ 942474 w 1191185"/>
                    <a:gd name="connsiteY961" fmla="*/ 80532 h 920179"/>
                    <a:gd name="connsiteX962" fmla="*/ 941697 w 1191185"/>
                    <a:gd name="connsiteY962" fmla="*/ 82839 h 920179"/>
                    <a:gd name="connsiteX963" fmla="*/ 939487 w 1191185"/>
                    <a:gd name="connsiteY963" fmla="*/ 85450 h 920179"/>
                    <a:gd name="connsiteX964" fmla="*/ 937459 w 1191185"/>
                    <a:gd name="connsiteY964" fmla="*/ 86992 h 920179"/>
                    <a:gd name="connsiteX965" fmla="*/ 936840 w 1191185"/>
                    <a:gd name="connsiteY965" fmla="*/ 87878 h 920179"/>
                    <a:gd name="connsiteX966" fmla="*/ 932226 w 1191185"/>
                    <a:gd name="connsiteY966" fmla="*/ 100058 h 920179"/>
                    <a:gd name="connsiteX967" fmla="*/ 931849 w 1191185"/>
                    <a:gd name="connsiteY967" fmla="*/ 102062 h 920179"/>
                    <a:gd name="connsiteX968" fmla="*/ 932213 w 1191185"/>
                    <a:gd name="connsiteY968" fmla="*/ 102911 h 920179"/>
                    <a:gd name="connsiteX969" fmla="*/ 934678 w 1191185"/>
                    <a:gd name="connsiteY969" fmla="*/ 106858 h 920179"/>
                    <a:gd name="connsiteX970" fmla="*/ 936293 w 1191185"/>
                    <a:gd name="connsiteY970" fmla="*/ 111375 h 920179"/>
                    <a:gd name="connsiteX971" fmla="*/ 937143 w 1191185"/>
                    <a:gd name="connsiteY971" fmla="*/ 112905 h 920179"/>
                    <a:gd name="connsiteX972" fmla="*/ 938601 w 1191185"/>
                    <a:gd name="connsiteY972" fmla="*/ 114374 h 920179"/>
                    <a:gd name="connsiteX973" fmla="*/ 941940 w 1191185"/>
                    <a:gd name="connsiteY973" fmla="*/ 115759 h 920179"/>
                    <a:gd name="connsiteX974" fmla="*/ 943968 w 1191185"/>
                    <a:gd name="connsiteY974" fmla="*/ 117192 h 920179"/>
                    <a:gd name="connsiteX975" fmla="*/ 947101 w 1191185"/>
                    <a:gd name="connsiteY975" fmla="*/ 120895 h 920179"/>
                    <a:gd name="connsiteX976" fmla="*/ 947890 w 1191185"/>
                    <a:gd name="connsiteY976" fmla="*/ 121332 h 920179"/>
                    <a:gd name="connsiteX977" fmla="*/ 951703 w 1191185"/>
                    <a:gd name="connsiteY977" fmla="*/ 122862 h 920179"/>
                    <a:gd name="connsiteX978" fmla="*/ 953476 w 1191185"/>
                    <a:gd name="connsiteY978" fmla="*/ 124805 h 920179"/>
                    <a:gd name="connsiteX979" fmla="*/ 954739 w 1191185"/>
                    <a:gd name="connsiteY979" fmla="*/ 127039 h 920179"/>
                    <a:gd name="connsiteX980" fmla="*/ 955589 w 1191185"/>
                    <a:gd name="connsiteY980" fmla="*/ 131059 h 920179"/>
                    <a:gd name="connsiteX981" fmla="*/ 956135 w 1191185"/>
                    <a:gd name="connsiteY981" fmla="*/ 132079 h 920179"/>
                    <a:gd name="connsiteX982" fmla="*/ 959754 w 1191185"/>
                    <a:gd name="connsiteY982" fmla="*/ 136232 h 920179"/>
                    <a:gd name="connsiteX983" fmla="*/ 961587 w 1191185"/>
                    <a:gd name="connsiteY983" fmla="*/ 137920 h 920179"/>
                    <a:gd name="connsiteX984" fmla="*/ 967938 w 1191185"/>
                    <a:gd name="connsiteY984" fmla="*/ 133864 h 920179"/>
                    <a:gd name="connsiteX985" fmla="*/ 969480 w 1191185"/>
                    <a:gd name="connsiteY985" fmla="*/ 132662 h 920179"/>
                    <a:gd name="connsiteX986" fmla="*/ 970622 w 1191185"/>
                    <a:gd name="connsiteY986" fmla="*/ 131095 h 920179"/>
                    <a:gd name="connsiteX987" fmla="*/ 971666 w 1191185"/>
                    <a:gd name="connsiteY987" fmla="*/ 129189 h 920179"/>
                    <a:gd name="connsiteX988" fmla="*/ 973694 w 1191185"/>
                    <a:gd name="connsiteY988" fmla="*/ 124295 h 920179"/>
                    <a:gd name="connsiteX989" fmla="*/ 975612 w 1191185"/>
                    <a:gd name="connsiteY989" fmla="*/ 121393 h 920179"/>
                    <a:gd name="connsiteX990" fmla="*/ 979158 w 1191185"/>
                    <a:gd name="connsiteY990" fmla="*/ 119159 h 920179"/>
                    <a:gd name="connsiteX991" fmla="*/ 982789 w 1191185"/>
                    <a:gd name="connsiteY991" fmla="*/ 120907 h 920179"/>
                    <a:gd name="connsiteX992" fmla="*/ 989734 w 1191185"/>
                    <a:gd name="connsiteY992" fmla="*/ 130974 h 920179"/>
                    <a:gd name="connsiteX993" fmla="*/ 991374 w 1191185"/>
                    <a:gd name="connsiteY993" fmla="*/ 134471 h 920179"/>
                    <a:gd name="connsiteX994" fmla="*/ 992114 w 1191185"/>
                    <a:gd name="connsiteY994" fmla="*/ 137725 h 920179"/>
                    <a:gd name="connsiteX995" fmla="*/ 992114 w 1191185"/>
                    <a:gd name="connsiteY995" fmla="*/ 142655 h 920179"/>
                    <a:gd name="connsiteX996" fmla="*/ 993317 w 1191185"/>
                    <a:gd name="connsiteY996" fmla="*/ 145655 h 920179"/>
                    <a:gd name="connsiteX997" fmla="*/ 995345 w 1191185"/>
                    <a:gd name="connsiteY997" fmla="*/ 148666 h 920179"/>
                    <a:gd name="connsiteX998" fmla="*/ 996826 w 1191185"/>
                    <a:gd name="connsiteY998" fmla="*/ 155296 h 920179"/>
                    <a:gd name="connsiteX999" fmla="*/ 997117 w 1191185"/>
                    <a:gd name="connsiteY999" fmla="*/ 156850 h 920179"/>
                    <a:gd name="connsiteX1000" fmla="*/ 994980 w 1191185"/>
                    <a:gd name="connsiteY1000" fmla="*/ 159036 h 920179"/>
                    <a:gd name="connsiteX1001" fmla="*/ 992248 w 1191185"/>
                    <a:gd name="connsiteY1001" fmla="*/ 161101 h 920179"/>
                    <a:gd name="connsiteX1002" fmla="*/ 989200 w 1191185"/>
                    <a:gd name="connsiteY1002" fmla="*/ 162788 h 920179"/>
                    <a:gd name="connsiteX1003" fmla="*/ 986468 w 1191185"/>
                    <a:gd name="connsiteY1003" fmla="*/ 164683 h 920179"/>
                    <a:gd name="connsiteX1004" fmla="*/ 985812 w 1191185"/>
                    <a:gd name="connsiteY1004" fmla="*/ 165836 h 920179"/>
                    <a:gd name="connsiteX1005" fmla="*/ 985497 w 1191185"/>
                    <a:gd name="connsiteY1005" fmla="*/ 167123 h 920179"/>
                    <a:gd name="connsiteX1006" fmla="*/ 985569 w 1191185"/>
                    <a:gd name="connsiteY1006" fmla="*/ 168678 h 920179"/>
                    <a:gd name="connsiteX1007" fmla="*/ 985958 w 1191185"/>
                    <a:gd name="connsiteY1007" fmla="*/ 173243 h 920179"/>
                    <a:gd name="connsiteX1008" fmla="*/ 985849 w 1191185"/>
                    <a:gd name="connsiteY1008" fmla="*/ 176073 h 920179"/>
                    <a:gd name="connsiteX1009" fmla="*/ 984586 w 1191185"/>
                    <a:gd name="connsiteY1009" fmla="*/ 183747 h 920179"/>
                    <a:gd name="connsiteX1010" fmla="*/ 988277 w 1191185"/>
                    <a:gd name="connsiteY1010" fmla="*/ 183565 h 920179"/>
                    <a:gd name="connsiteX1011" fmla="*/ 990706 w 1191185"/>
                    <a:gd name="connsiteY1011" fmla="*/ 184026 h 920179"/>
                    <a:gd name="connsiteX1012" fmla="*/ 993122 w 1191185"/>
                    <a:gd name="connsiteY1012" fmla="*/ 185313 h 920179"/>
                    <a:gd name="connsiteX1013" fmla="*/ 995223 w 1191185"/>
                    <a:gd name="connsiteY1013" fmla="*/ 187657 h 920179"/>
                    <a:gd name="connsiteX1014" fmla="*/ 996656 w 1191185"/>
                    <a:gd name="connsiteY1014" fmla="*/ 190304 h 920179"/>
                    <a:gd name="connsiteX1015" fmla="*/ 998028 w 1191185"/>
                    <a:gd name="connsiteY1015" fmla="*/ 194117 h 920179"/>
                    <a:gd name="connsiteX1016" fmla="*/ 999340 w 1191185"/>
                    <a:gd name="connsiteY1016" fmla="*/ 196254 h 920179"/>
                    <a:gd name="connsiteX1017" fmla="*/ 1000821 w 1191185"/>
                    <a:gd name="connsiteY1017" fmla="*/ 197493 h 920179"/>
                    <a:gd name="connsiteX1018" fmla="*/ 1002302 w 1191185"/>
                    <a:gd name="connsiteY1018" fmla="*/ 197881 h 920179"/>
                    <a:gd name="connsiteX1019" fmla="*/ 1006589 w 1191185"/>
                    <a:gd name="connsiteY1019" fmla="*/ 198525 h 920179"/>
                    <a:gd name="connsiteX1020" fmla="*/ 1009115 w 1191185"/>
                    <a:gd name="connsiteY1020" fmla="*/ 199642 h 920179"/>
                    <a:gd name="connsiteX1021" fmla="*/ 1010815 w 1191185"/>
                    <a:gd name="connsiteY1021" fmla="*/ 201124 h 920179"/>
                    <a:gd name="connsiteX1022" fmla="*/ 1012915 w 1191185"/>
                    <a:gd name="connsiteY1022" fmla="*/ 204244 h 920179"/>
                    <a:gd name="connsiteX1023" fmla="*/ 1013255 w 1191185"/>
                    <a:gd name="connsiteY1023" fmla="*/ 206977 h 920179"/>
                    <a:gd name="connsiteX1024" fmla="*/ 1012660 w 1191185"/>
                    <a:gd name="connsiteY1024" fmla="*/ 208895 h 920179"/>
                    <a:gd name="connsiteX1025" fmla="*/ 1011798 w 1191185"/>
                    <a:gd name="connsiteY1025" fmla="*/ 210899 h 920179"/>
                    <a:gd name="connsiteX1026" fmla="*/ 1011495 w 1191185"/>
                    <a:gd name="connsiteY1026" fmla="*/ 212392 h 920179"/>
                    <a:gd name="connsiteX1027" fmla="*/ 1011543 w 1191185"/>
                    <a:gd name="connsiteY1027" fmla="*/ 216691 h 920179"/>
                    <a:gd name="connsiteX1028" fmla="*/ 1011106 w 1191185"/>
                    <a:gd name="connsiteY1028" fmla="*/ 220018 h 920179"/>
                    <a:gd name="connsiteX1029" fmla="*/ 1011130 w 1191185"/>
                    <a:gd name="connsiteY1029" fmla="*/ 220164 h 920179"/>
                    <a:gd name="connsiteX1030" fmla="*/ 1011847 w 1191185"/>
                    <a:gd name="connsiteY1030" fmla="*/ 219933 h 920179"/>
                    <a:gd name="connsiteX1031" fmla="*/ 1013255 w 1191185"/>
                    <a:gd name="connsiteY1031" fmla="*/ 218767 h 920179"/>
                    <a:gd name="connsiteX1032" fmla="*/ 1016631 w 1191185"/>
                    <a:gd name="connsiteY1032" fmla="*/ 215501 h 920179"/>
                    <a:gd name="connsiteX1033" fmla="*/ 1019728 w 1191185"/>
                    <a:gd name="connsiteY1033" fmla="*/ 213376 h 920179"/>
                    <a:gd name="connsiteX1034" fmla="*/ 1023978 w 1191185"/>
                    <a:gd name="connsiteY1034" fmla="*/ 213473 h 920179"/>
                    <a:gd name="connsiteX1035" fmla="*/ 1027329 w 1191185"/>
                    <a:gd name="connsiteY1035" fmla="*/ 215367 h 920179"/>
                    <a:gd name="connsiteX1036" fmla="*/ 1032575 w 1191185"/>
                    <a:gd name="connsiteY1036" fmla="*/ 221718 h 920179"/>
                    <a:gd name="connsiteX1037" fmla="*/ 1033716 w 1191185"/>
                    <a:gd name="connsiteY1037" fmla="*/ 226150 h 920179"/>
                    <a:gd name="connsiteX1038" fmla="*/ 1033510 w 1191185"/>
                    <a:gd name="connsiteY1038" fmla="*/ 231287 h 920179"/>
                    <a:gd name="connsiteX1039" fmla="*/ 1032757 w 1191185"/>
                    <a:gd name="connsiteY1039" fmla="*/ 235075 h 920179"/>
                    <a:gd name="connsiteX1040" fmla="*/ 1033048 w 1191185"/>
                    <a:gd name="connsiteY1040" fmla="*/ 238123 h 920179"/>
                    <a:gd name="connsiteX1041" fmla="*/ 1033826 w 1191185"/>
                    <a:gd name="connsiteY1041" fmla="*/ 239750 h 920179"/>
                    <a:gd name="connsiteX1042" fmla="*/ 1035125 w 1191185"/>
                    <a:gd name="connsiteY1042" fmla="*/ 242227 h 920179"/>
                    <a:gd name="connsiteX1043" fmla="*/ 1035805 w 1191185"/>
                    <a:gd name="connsiteY1043" fmla="*/ 245117 h 920179"/>
                    <a:gd name="connsiteX1044" fmla="*/ 1035428 w 1191185"/>
                    <a:gd name="connsiteY1044" fmla="*/ 248785 h 920179"/>
                    <a:gd name="connsiteX1045" fmla="*/ 1033971 w 1191185"/>
                    <a:gd name="connsiteY1045" fmla="*/ 252209 h 920179"/>
                    <a:gd name="connsiteX1046" fmla="*/ 1039946 w 1191185"/>
                    <a:gd name="connsiteY1046" fmla="*/ 251699 h 920179"/>
                    <a:gd name="connsiteX1047" fmla="*/ 1042738 w 1191185"/>
                    <a:gd name="connsiteY1047" fmla="*/ 253168 h 920179"/>
                    <a:gd name="connsiteX1048" fmla="*/ 1046697 w 1191185"/>
                    <a:gd name="connsiteY1048" fmla="*/ 256957 h 920179"/>
                    <a:gd name="connsiteX1049" fmla="*/ 1047316 w 1191185"/>
                    <a:gd name="connsiteY1049" fmla="*/ 257030 h 920179"/>
                    <a:gd name="connsiteX1050" fmla="*/ 1061499 w 1191185"/>
                    <a:gd name="connsiteY1050" fmla="*/ 252330 h 920179"/>
                    <a:gd name="connsiteX1051" fmla="*/ 1065288 w 1191185"/>
                    <a:gd name="connsiteY1051" fmla="*/ 252391 h 920179"/>
                    <a:gd name="connsiteX1052" fmla="*/ 1068044 w 1191185"/>
                    <a:gd name="connsiteY1052" fmla="*/ 253533 h 920179"/>
                    <a:gd name="connsiteX1053" fmla="*/ 1068870 w 1191185"/>
                    <a:gd name="connsiteY1053" fmla="*/ 253957 h 920179"/>
                    <a:gd name="connsiteX1054" fmla="*/ 1070449 w 1191185"/>
                    <a:gd name="connsiteY1054" fmla="*/ 256799 h 920179"/>
                    <a:gd name="connsiteX1055" fmla="*/ 1077358 w 1191185"/>
                    <a:gd name="connsiteY1055" fmla="*/ 267473 h 920179"/>
                    <a:gd name="connsiteX1056" fmla="*/ 1082203 w 1191185"/>
                    <a:gd name="connsiteY1056" fmla="*/ 272585 h 920179"/>
                    <a:gd name="connsiteX1057" fmla="*/ 1083514 w 1191185"/>
                    <a:gd name="connsiteY1057" fmla="*/ 273131 h 920179"/>
                    <a:gd name="connsiteX1058" fmla="*/ 1084607 w 1191185"/>
                    <a:gd name="connsiteY1058" fmla="*/ 273301 h 920179"/>
                    <a:gd name="connsiteX1059" fmla="*/ 1084838 w 1191185"/>
                    <a:gd name="connsiteY1059" fmla="*/ 273058 h 920179"/>
                    <a:gd name="connsiteX1060" fmla="*/ 1085943 w 1191185"/>
                    <a:gd name="connsiteY1060" fmla="*/ 272670 h 920179"/>
                    <a:gd name="connsiteX1061" fmla="*/ 1086477 w 1191185"/>
                    <a:gd name="connsiteY1061" fmla="*/ 272293 h 920179"/>
                    <a:gd name="connsiteX1062" fmla="*/ 1087121 w 1191185"/>
                    <a:gd name="connsiteY1062" fmla="*/ 270168 h 920179"/>
                    <a:gd name="connsiteX1063" fmla="*/ 1088578 w 1191185"/>
                    <a:gd name="connsiteY1063" fmla="*/ 267533 h 920179"/>
                    <a:gd name="connsiteX1064" fmla="*/ 1091869 w 1191185"/>
                    <a:gd name="connsiteY1064" fmla="*/ 267533 h 920179"/>
                    <a:gd name="connsiteX1065" fmla="*/ 1095791 w 1191185"/>
                    <a:gd name="connsiteY1065" fmla="*/ 268517 h 920179"/>
                    <a:gd name="connsiteX1066" fmla="*/ 1103065 w 1191185"/>
                    <a:gd name="connsiteY1066" fmla="*/ 274564 h 920179"/>
                    <a:gd name="connsiteX1067" fmla="*/ 1109707 w 1191185"/>
                    <a:gd name="connsiteY1067" fmla="*/ 281206 h 920179"/>
                    <a:gd name="connsiteX1068" fmla="*/ 1119057 w 1191185"/>
                    <a:gd name="connsiteY1068" fmla="*/ 285845 h 920179"/>
                    <a:gd name="connsiteX1069" fmla="*/ 1122250 w 1191185"/>
                    <a:gd name="connsiteY1069" fmla="*/ 288541 h 920179"/>
                    <a:gd name="connsiteX1070" fmla="*/ 1124728 w 1191185"/>
                    <a:gd name="connsiteY1070" fmla="*/ 292208 h 920179"/>
                    <a:gd name="connsiteX1071" fmla="*/ 1125104 w 1191185"/>
                    <a:gd name="connsiteY1071" fmla="*/ 295292 h 920179"/>
                    <a:gd name="connsiteX1072" fmla="*/ 1124885 w 1191185"/>
                    <a:gd name="connsiteY1072" fmla="*/ 298534 h 920179"/>
                    <a:gd name="connsiteX1073" fmla="*/ 1124898 w 1191185"/>
                    <a:gd name="connsiteY1073" fmla="*/ 301230 h 920179"/>
                    <a:gd name="connsiteX1074" fmla="*/ 1125383 w 1191185"/>
                    <a:gd name="connsiteY1074" fmla="*/ 303962 h 920179"/>
                    <a:gd name="connsiteX1075" fmla="*/ 1127010 w 1191185"/>
                    <a:gd name="connsiteY1075" fmla="*/ 306427 h 920179"/>
                    <a:gd name="connsiteX1076" fmla="*/ 1128978 w 1191185"/>
                    <a:gd name="connsiteY1076" fmla="*/ 307824 h 920179"/>
                    <a:gd name="connsiteX1077" fmla="*/ 1129342 w 1191185"/>
                    <a:gd name="connsiteY1077" fmla="*/ 307884 h 920179"/>
                    <a:gd name="connsiteX1078" fmla="*/ 1130908 w 1191185"/>
                    <a:gd name="connsiteY1078" fmla="*/ 307593 h 920179"/>
                    <a:gd name="connsiteX1079" fmla="*/ 1131904 w 1191185"/>
                    <a:gd name="connsiteY1079" fmla="*/ 307180 h 920179"/>
                    <a:gd name="connsiteX1080" fmla="*/ 1132560 w 1191185"/>
                    <a:gd name="connsiteY1080" fmla="*/ 306706 h 920179"/>
                    <a:gd name="connsiteX1081" fmla="*/ 1135523 w 1191185"/>
                    <a:gd name="connsiteY1081" fmla="*/ 304059 h 920179"/>
                    <a:gd name="connsiteX1082" fmla="*/ 1138279 w 1191185"/>
                    <a:gd name="connsiteY1082" fmla="*/ 304156 h 920179"/>
                    <a:gd name="connsiteX1083" fmla="*/ 1141752 w 1191185"/>
                    <a:gd name="connsiteY1083" fmla="*/ 305395 h 920179"/>
                    <a:gd name="connsiteX1084" fmla="*/ 1147301 w 1191185"/>
                    <a:gd name="connsiteY1084" fmla="*/ 308795 h 920179"/>
                    <a:gd name="connsiteX1085" fmla="*/ 1150313 w 1191185"/>
                    <a:gd name="connsiteY1085" fmla="*/ 312450 h 920179"/>
                    <a:gd name="connsiteX1086" fmla="*/ 1151952 w 1191185"/>
                    <a:gd name="connsiteY1086" fmla="*/ 315219 h 920179"/>
                    <a:gd name="connsiteX1087" fmla="*/ 1152936 w 1191185"/>
                    <a:gd name="connsiteY1087" fmla="*/ 317756 h 920179"/>
                    <a:gd name="connsiteX1088" fmla="*/ 1155643 w 1191185"/>
                    <a:gd name="connsiteY1088" fmla="*/ 322249 h 920179"/>
                    <a:gd name="connsiteX1089" fmla="*/ 1156457 w 1191185"/>
                    <a:gd name="connsiteY1089" fmla="*/ 322784 h 920179"/>
                    <a:gd name="connsiteX1090" fmla="*/ 1158084 w 1191185"/>
                    <a:gd name="connsiteY1090" fmla="*/ 323415 h 920179"/>
                    <a:gd name="connsiteX1091" fmla="*/ 1160112 w 1191185"/>
                    <a:gd name="connsiteY1091" fmla="*/ 324629 h 920179"/>
                    <a:gd name="connsiteX1092" fmla="*/ 1161921 w 1191185"/>
                    <a:gd name="connsiteY1092" fmla="*/ 326390 h 920179"/>
                    <a:gd name="connsiteX1093" fmla="*/ 1163949 w 1191185"/>
                    <a:gd name="connsiteY1093" fmla="*/ 329899 h 920179"/>
                    <a:gd name="connsiteX1094" fmla="*/ 1165504 w 1191185"/>
                    <a:gd name="connsiteY1094" fmla="*/ 334028 h 920179"/>
                    <a:gd name="connsiteX1095" fmla="*/ 1169329 w 1191185"/>
                    <a:gd name="connsiteY1095" fmla="*/ 343657 h 920179"/>
                    <a:gd name="connsiteX1096" fmla="*/ 1171587 w 1191185"/>
                    <a:gd name="connsiteY1096" fmla="*/ 361823 h 920179"/>
                    <a:gd name="connsiteX1097" fmla="*/ 1172255 w 1191185"/>
                    <a:gd name="connsiteY1097" fmla="*/ 364143 h 920179"/>
                    <a:gd name="connsiteX1098" fmla="*/ 1173676 w 1191185"/>
                    <a:gd name="connsiteY1098" fmla="*/ 364240 h 920179"/>
                    <a:gd name="connsiteX1099" fmla="*/ 1176566 w 1191185"/>
                    <a:gd name="connsiteY1099" fmla="*/ 362406 h 920179"/>
                    <a:gd name="connsiteX1100" fmla="*/ 1179881 w 1191185"/>
                    <a:gd name="connsiteY1100" fmla="*/ 362977 h 920179"/>
                    <a:gd name="connsiteX1101" fmla="*/ 1183597 w 1191185"/>
                    <a:gd name="connsiteY1101" fmla="*/ 364980 h 920179"/>
                    <a:gd name="connsiteX1102" fmla="*/ 1189122 w 1191185"/>
                    <a:gd name="connsiteY1102" fmla="*/ 371793 h 920179"/>
                    <a:gd name="connsiteX1103" fmla="*/ 1191186 w 1191185"/>
                    <a:gd name="connsiteY1103" fmla="*/ 376808 h 920179"/>
                    <a:gd name="connsiteX1104" fmla="*/ 1190931 w 1191185"/>
                    <a:gd name="connsiteY1104" fmla="*/ 381713 h 920179"/>
                    <a:gd name="connsiteX1105" fmla="*/ 1175303 w 1191185"/>
                    <a:gd name="connsiteY1105" fmla="*/ 412532 h 920179"/>
                    <a:gd name="connsiteX1106" fmla="*/ 1173591 w 1191185"/>
                    <a:gd name="connsiteY1106" fmla="*/ 414888 h 920179"/>
                    <a:gd name="connsiteX1107" fmla="*/ 1171781 w 1191185"/>
                    <a:gd name="connsiteY1107" fmla="*/ 416879 h 920179"/>
                    <a:gd name="connsiteX1108" fmla="*/ 1169547 w 1191185"/>
                    <a:gd name="connsiteY1108" fmla="*/ 418713 h 920179"/>
                    <a:gd name="connsiteX1109" fmla="*/ 1166888 w 1191185"/>
                    <a:gd name="connsiteY1109" fmla="*/ 420291 h 920179"/>
                    <a:gd name="connsiteX1110" fmla="*/ 1164994 w 1191185"/>
                    <a:gd name="connsiteY1110" fmla="*/ 421044 h 920179"/>
                    <a:gd name="connsiteX1111" fmla="*/ 1161958 w 1191185"/>
                    <a:gd name="connsiteY1111" fmla="*/ 421530 h 920179"/>
                    <a:gd name="connsiteX1112" fmla="*/ 1156688 w 1191185"/>
                    <a:gd name="connsiteY1112" fmla="*/ 421481 h 920179"/>
                    <a:gd name="connsiteX1113" fmla="*/ 1155085 w 1191185"/>
                    <a:gd name="connsiteY1113" fmla="*/ 421785 h 920179"/>
                    <a:gd name="connsiteX1114" fmla="*/ 1154113 w 1191185"/>
                    <a:gd name="connsiteY1114" fmla="*/ 422174 h 920179"/>
                    <a:gd name="connsiteX1115" fmla="*/ 1140878 w 1191185"/>
                    <a:gd name="connsiteY1115" fmla="*/ 432374 h 920179"/>
                    <a:gd name="connsiteX1116" fmla="*/ 1134478 w 1191185"/>
                    <a:gd name="connsiteY1116" fmla="*/ 439672 h 920179"/>
                    <a:gd name="connsiteX1117" fmla="*/ 1132098 w 1191185"/>
                    <a:gd name="connsiteY1117" fmla="*/ 441420 h 920179"/>
                    <a:gd name="connsiteX1118" fmla="*/ 1129305 w 1191185"/>
                    <a:gd name="connsiteY1118" fmla="*/ 442610 h 920179"/>
                    <a:gd name="connsiteX1119" fmla="*/ 1126938 w 1191185"/>
                    <a:gd name="connsiteY1119" fmla="*/ 443157 h 920179"/>
                    <a:gd name="connsiteX1120" fmla="*/ 1124218 w 1191185"/>
                    <a:gd name="connsiteY1120" fmla="*/ 443096 h 920179"/>
                    <a:gd name="connsiteX1121" fmla="*/ 1112900 w 1191185"/>
                    <a:gd name="connsiteY1121" fmla="*/ 439732 h 920179"/>
                    <a:gd name="connsiteX1122" fmla="*/ 1111759 w 1191185"/>
                    <a:gd name="connsiteY1122" fmla="*/ 439902 h 920179"/>
                    <a:gd name="connsiteX1123" fmla="*/ 1111419 w 1191185"/>
                    <a:gd name="connsiteY1123" fmla="*/ 440376 h 920179"/>
                    <a:gd name="connsiteX1124" fmla="*/ 1110703 w 1191185"/>
                    <a:gd name="connsiteY1124" fmla="*/ 440947 h 920179"/>
                    <a:gd name="connsiteX1125" fmla="*/ 1109695 w 1191185"/>
                    <a:gd name="connsiteY1125" fmla="*/ 443193 h 920179"/>
                    <a:gd name="connsiteX1126" fmla="*/ 1109731 w 1191185"/>
                    <a:gd name="connsiteY1126" fmla="*/ 443703 h 920179"/>
                    <a:gd name="connsiteX1127" fmla="*/ 1111018 w 1191185"/>
                    <a:gd name="connsiteY1127" fmla="*/ 445160 h 920179"/>
                    <a:gd name="connsiteX1128" fmla="*/ 1119373 w 1191185"/>
                    <a:gd name="connsiteY1128" fmla="*/ 452956 h 920179"/>
                    <a:gd name="connsiteX1129" fmla="*/ 1122129 w 1191185"/>
                    <a:gd name="connsiteY1129" fmla="*/ 454826 h 920179"/>
                    <a:gd name="connsiteX1130" fmla="*/ 1123732 w 1191185"/>
                    <a:gd name="connsiteY1130" fmla="*/ 455506 h 920179"/>
                    <a:gd name="connsiteX1131" fmla="*/ 1125201 w 1191185"/>
                    <a:gd name="connsiteY1131" fmla="*/ 455469 h 920179"/>
                    <a:gd name="connsiteX1132" fmla="*/ 1132341 w 1191185"/>
                    <a:gd name="connsiteY1132" fmla="*/ 454364 h 920179"/>
                    <a:gd name="connsiteX1133" fmla="*/ 1139020 w 1191185"/>
                    <a:gd name="connsiteY1133" fmla="*/ 454705 h 920179"/>
                    <a:gd name="connsiteX1134" fmla="*/ 1144217 w 1191185"/>
                    <a:gd name="connsiteY1134" fmla="*/ 455846 h 920179"/>
                    <a:gd name="connsiteX1135" fmla="*/ 1147301 w 1191185"/>
                    <a:gd name="connsiteY1135" fmla="*/ 457291 h 920179"/>
                    <a:gd name="connsiteX1136" fmla="*/ 1150458 w 1191185"/>
                    <a:gd name="connsiteY1136" fmla="*/ 460169 h 920179"/>
                    <a:gd name="connsiteX1137" fmla="*/ 1151041 w 1191185"/>
                    <a:gd name="connsiteY1137" fmla="*/ 462877 h 920179"/>
                    <a:gd name="connsiteX1138" fmla="*/ 1150859 w 1191185"/>
                    <a:gd name="connsiteY1138" fmla="*/ 465876 h 920179"/>
                    <a:gd name="connsiteX1139" fmla="*/ 1149669 w 1191185"/>
                    <a:gd name="connsiteY1139" fmla="*/ 468742 h 920179"/>
                    <a:gd name="connsiteX1140" fmla="*/ 1148273 w 1191185"/>
                    <a:gd name="connsiteY1140" fmla="*/ 470636 h 920179"/>
                    <a:gd name="connsiteX1141" fmla="*/ 1146257 w 1191185"/>
                    <a:gd name="connsiteY1141" fmla="*/ 472785 h 920179"/>
                    <a:gd name="connsiteX1142" fmla="*/ 1143488 w 1191185"/>
                    <a:gd name="connsiteY1142" fmla="*/ 474874 h 920179"/>
                    <a:gd name="connsiteX1143" fmla="*/ 1140234 w 1191185"/>
                    <a:gd name="connsiteY1143" fmla="*/ 476635 h 920179"/>
                    <a:gd name="connsiteX1144" fmla="*/ 1136737 w 1191185"/>
                    <a:gd name="connsiteY1144" fmla="*/ 477922 h 920179"/>
                    <a:gd name="connsiteX1145" fmla="*/ 1130459 w 1191185"/>
                    <a:gd name="connsiteY1145" fmla="*/ 479221 h 920179"/>
                    <a:gd name="connsiteX1146" fmla="*/ 1127666 w 1191185"/>
                    <a:gd name="connsiteY1146" fmla="*/ 479318 h 920179"/>
                    <a:gd name="connsiteX1147" fmla="*/ 1125128 w 1191185"/>
                    <a:gd name="connsiteY1147" fmla="*/ 478820 h 920179"/>
                    <a:gd name="connsiteX1148" fmla="*/ 1122955 w 1191185"/>
                    <a:gd name="connsiteY1148" fmla="*/ 477740 h 920179"/>
                    <a:gd name="connsiteX1149" fmla="*/ 1119664 w 1191185"/>
                    <a:gd name="connsiteY1149" fmla="*/ 474570 h 920179"/>
                    <a:gd name="connsiteX1150" fmla="*/ 1118583 w 1191185"/>
                    <a:gd name="connsiteY1150" fmla="*/ 473769 h 920179"/>
                    <a:gd name="connsiteX1151" fmla="*/ 1117903 w 1191185"/>
                    <a:gd name="connsiteY1151" fmla="*/ 473575 h 920179"/>
                    <a:gd name="connsiteX1152" fmla="*/ 1116835 w 1191185"/>
                    <a:gd name="connsiteY1152" fmla="*/ 475190 h 920179"/>
                    <a:gd name="connsiteX1153" fmla="*/ 1115875 w 1191185"/>
                    <a:gd name="connsiteY1153" fmla="*/ 477533 h 920179"/>
                    <a:gd name="connsiteX1154" fmla="*/ 1115535 w 1191185"/>
                    <a:gd name="connsiteY1154" fmla="*/ 481905 h 920179"/>
                    <a:gd name="connsiteX1155" fmla="*/ 1115936 w 1191185"/>
                    <a:gd name="connsiteY1155" fmla="*/ 484625 h 920179"/>
                    <a:gd name="connsiteX1156" fmla="*/ 1116883 w 1191185"/>
                    <a:gd name="connsiteY1156" fmla="*/ 487794 h 920179"/>
                    <a:gd name="connsiteX1157" fmla="*/ 1117272 w 1191185"/>
                    <a:gd name="connsiteY1157" fmla="*/ 490891 h 920179"/>
                    <a:gd name="connsiteX1158" fmla="*/ 1117053 w 1191185"/>
                    <a:gd name="connsiteY1158" fmla="*/ 497193 h 920179"/>
                    <a:gd name="connsiteX1159" fmla="*/ 1117187 w 1191185"/>
                    <a:gd name="connsiteY1159" fmla="*/ 497763 h 920179"/>
                    <a:gd name="connsiteX1160" fmla="*/ 1117927 w 1191185"/>
                    <a:gd name="connsiteY1160" fmla="*/ 498868 h 920179"/>
                    <a:gd name="connsiteX1161" fmla="*/ 1120526 w 1191185"/>
                    <a:gd name="connsiteY1161" fmla="*/ 501054 h 920179"/>
                    <a:gd name="connsiteX1162" fmla="*/ 1122457 w 1191185"/>
                    <a:gd name="connsiteY1162" fmla="*/ 503471 h 920179"/>
                    <a:gd name="connsiteX1163" fmla="*/ 1124703 w 1191185"/>
                    <a:gd name="connsiteY1163" fmla="*/ 508231 h 920179"/>
                    <a:gd name="connsiteX1164" fmla="*/ 1125748 w 1191185"/>
                    <a:gd name="connsiteY1164" fmla="*/ 512043 h 920179"/>
                    <a:gd name="connsiteX1165" fmla="*/ 1126391 w 1191185"/>
                    <a:gd name="connsiteY1165" fmla="*/ 516974 h 920179"/>
                    <a:gd name="connsiteX1166" fmla="*/ 1126865 w 1191185"/>
                    <a:gd name="connsiteY1166" fmla="*/ 518625 h 920179"/>
                    <a:gd name="connsiteX1167" fmla="*/ 1127618 w 1191185"/>
                    <a:gd name="connsiteY1167" fmla="*/ 519426 h 920179"/>
                    <a:gd name="connsiteX1168" fmla="*/ 1128978 w 1191185"/>
                    <a:gd name="connsiteY1168" fmla="*/ 520714 h 920179"/>
                    <a:gd name="connsiteX1169" fmla="*/ 1131285 w 1191185"/>
                    <a:gd name="connsiteY1169" fmla="*/ 524381 h 920179"/>
                    <a:gd name="connsiteX1170" fmla="*/ 1131698 w 1191185"/>
                    <a:gd name="connsiteY1170" fmla="*/ 527380 h 920179"/>
                    <a:gd name="connsiteX1171" fmla="*/ 1129063 w 1191185"/>
                    <a:gd name="connsiteY1171" fmla="*/ 535552 h 920179"/>
                    <a:gd name="connsiteX1172" fmla="*/ 1129160 w 1191185"/>
                    <a:gd name="connsiteY1172" fmla="*/ 551532 h 920179"/>
                    <a:gd name="connsiteX1173" fmla="*/ 1113957 w 1191185"/>
                    <a:gd name="connsiteY1173" fmla="*/ 554216 h 920179"/>
                    <a:gd name="connsiteX1174" fmla="*/ 1099252 w 1191185"/>
                    <a:gd name="connsiteY1174" fmla="*/ 561295 h 920179"/>
                    <a:gd name="connsiteX1175" fmla="*/ 1097564 w 1191185"/>
                    <a:gd name="connsiteY1175" fmla="*/ 563809 h 920179"/>
                    <a:gd name="connsiteX1176" fmla="*/ 1092792 w 1191185"/>
                    <a:gd name="connsiteY1176" fmla="*/ 566723 h 920179"/>
                    <a:gd name="connsiteX1177" fmla="*/ 1086720 w 1191185"/>
                    <a:gd name="connsiteY1177" fmla="*/ 568775 h 920179"/>
                    <a:gd name="connsiteX1178" fmla="*/ 1083660 w 1191185"/>
                    <a:gd name="connsiteY1178" fmla="*/ 568265 h 920179"/>
                    <a:gd name="connsiteX1179" fmla="*/ 1079192 w 1191185"/>
                    <a:gd name="connsiteY1179" fmla="*/ 570730 h 920179"/>
                    <a:gd name="connsiteX1180" fmla="*/ 1071481 w 1191185"/>
                    <a:gd name="connsiteY1180" fmla="*/ 573159 h 920179"/>
                    <a:gd name="connsiteX1181" fmla="*/ 1069465 w 1191185"/>
                    <a:gd name="connsiteY1181" fmla="*/ 573511 h 920179"/>
                    <a:gd name="connsiteX1182" fmla="*/ 1068457 w 1191185"/>
                    <a:gd name="connsiteY1182" fmla="*/ 573948 h 920179"/>
                    <a:gd name="connsiteX1183" fmla="*/ 1066696 w 1191185"/>
                    <a:gd name="connsiteY1183" fmla="*/ 577518 h 920179"/>
                    <a:gd name="connsiteX1184" fmla="*/ 1066696 w 1191185"/>
                    <a:gd name="connsiteY1184" fmla="*/ 578295 h 920179"/>
                    <a:gd name="connsiteX1185" fmla="*/ 1066842 w 1191185"/>
                    <a:gd name="connsiteY1185" fmla="*/ 579716 h 920179"/>
                    <a:gd name="connsiteX1186" fmla="*/ 1068287 w 1191185"/>
                    <a:gd name="connsiteY1186" fmla="*/ 584537 h 920179"/>
                    <a:gd name="connsiteX1187" fmla="*/ 1068615 w 1191185"/>
                    <a:gd name="connsiteY1187" fmla="*/ 587573 h 920179"/>
                    <a:gd name="connsiteX1188" fmla="*/ 1068166 w 1191185"/>
                    <a:gd name="connsiteY1188" fmla="*/ 590475 h 920179"/>
                    <a:gd name="connsiteX1189" fmla="*/ 1068615 w 1191185"/>
                    <a:gd name="connsiteY1189" fmla="*/ 592284 h 920179"/>
                    <a:gd name="connsiteX1190" fmla="*/ 1069781 w 1191185"/>
                    <a:gd name="connsiteY1190" fmla="*/ 593826 h 920179"/>
                    <a:gd name="connsiteX1191" fmla="*/ 1071117 w 1191185"/>
                    <a:gd name="connsiteY1191" fmla="*/ 594385 h 920179"/>
                    <a:gd name="connsiteX1192" fmla="*/ 1074261 w 1191185"/>
                    <a:gd name="connsiteY1192" fmla="*/ 597542 h 920179"/>
                    <a:gd name="connsiteX1193" fmla="*/ 1074893 w 1191185"/>
                    <a:gd name="connsiteY1193" fmla="*/ 602241 h 920179"/>
                    <a:gd name="connsiteX1194" fmla="*/ 1072428 w 1191185"/>
                    <a:gd name="connsiteY1194" fmla="*/ 609758 h 920179"/>
                    <a:gd name="connsiteX1195" fmla="*/ 1068615 w 1191185"/>
                    <a:gd name="connsiteY1195" fmla="*/ 613449 h 920179"/>
                    <a:gd name="connsiteX1196" fmla="*/ 1064341 w 1191185"/>
                    <a:gd name="connsiteY1196" fmla="*/ 615611 h 920179"/>
                    <a:gd name="connsiteX1197" fmla="*/ 1058731 w 1191185"/>
                    <a:gd name="connsiteY1197" fmla="*/ 616303 h 920179"/>
                    <a:gd name="connsiteX1198" fmla="*/ 1059265 w 1191185"/>
                    <a:gd name="connsiteY1198" fmla="*/ 617796 h 920179"/>
                    <a:gd name="connsiteX1199" fmla="*/ 1060224 w 1191185"/>
                    <a:gd name="connsiteY1199" fmla="*/ 619460 h 920179"/>
                    <a:gd name="connsiteX1200" fmla="*/ 1065385 w 1191185"/>
                    <a:gd name="connsiteY1200" fmla="*/ 625434 h 920179"/>
                    <a:gd name="connsiteX1201" fmla="*/ 1067109 w 1191185"/>
                    <a:gd name="connsiteY1201" fmla="*/ 628215 h 920179"/>
                    <a:gd name="connsiteX1202" fmla="*/ 1069307 w 1191185"/>
                    <a:gd name="connsiteY1202" fmla="*/ 632902 h 920179"/>
                    <a:gd name="connsiteX1203" fmla="*/ 1073812 w 1191185"/>
                    <a:gd name="connsiteY1203" fmla="*/ 630850 h 920179"/>
                    <a:gd name="connsiteX1204" fmla="*/ 1087218 w 1191185"/>
                    <a:gd name="connsiteY1204" fmla="*/ 628592 h 920179"/>
                    <a:gd name="connsiteX1205" fmla="*/ 1092318 w 1191185"/>
                    <a:gd name="connsiteY1205" fmla="*/ 626345 h 920179"/>
                    <a:gd name="connsiteX1206" fmla="*/ 1100320 w 1191185"/>
                    <a:gd name="connsiteY1206" fmla="*/ 623965 h 920179"/>
                    <a:gd name="connsiteX1207" fmla="*/ 1104995 w 1191185"/>
                    <a:gd name="connsiteY1207" fmla="*/ 623176 h 920179"/>
                    <a:gd name="connsiteX1208" fmla="*/ 1108990 w 1191185"/>
                    <a:gd name="connsiteY1208" fmla="*/ 623042 h 920179"/>
                    <a:gd name="connsiteX1209" fmla="*/ 1122748 w 1191185"/>
                    <a:gd name="connsiteY1209" fmla="*/ 624342 h 920179"/>
                    <a:gd name="connsiteX1210" fmla="*/ 1123501 w 1191185"/>
                    <a:gd name="connsiteY1210" fmla="*/ 623722 h 920179"/>
                    <a:gd name="connsiteX1211" fmla="*/ 1123562 w 1191185"/>
                    <a:gd name="connsiteY1211" fmla="*/ 623358 h 920179"/>
                    <a:gd name="connsiteX1212" fmla="*/ 1123732 w 1191185"/>
                    <a:gd name="connsiteY1212" fmla="*/ 623091 h 920179"/>
                    <a:gd name="connsiteX1213" fmla="*/ 1124995 w 1191185"/>
                    <a:gd name="connsiteY1213" fmla="*/ 621816 h 920179"/>
                    <a:gd name="connsiteX1214" fmla="*/ 1125978 w 1191185"/>
                    <a:gd name="connsiteY1214" fmla="*/ 621439 h 920179"/>
                    <a:gd name="connsiteX1215" fmla="*/ 1127326 w 1191185"/>
                    <a:gd name="connsiteY1215" fmla="*/ 621039 h 920179"/>
                    <a:gd name="connsiteX1216" fmla="*/ 1129111 w 1191185"/>
                    <a:gd name="connsiteY1216" fmla="*/ 620832 h 920179"/>
                    <a:gd name="connsiteX1217" fmla="*/ 1131795 w 1191185"/>
                    <a:gd name="connsiteY1217" fmla="*/ 621257 h 920179"/>
                    <a:gd name="connsiteX1218" fmla="*/ 1133507 w 1191185"/>
                    <a:gd name="connsiteY1218" fmla="*/ 621961 h 920179"/>
                    <a:gd name="connsiteX1219" fmla="*/ 1135668 w 1191185"/>
                    <a:gd name="connsiteY1219" fmla="*/ 623625 h 920179"/>
                    <a:gd name="connsiteX1220" fmla="*/ 1137174 w 1191185"/>
                    <a:gd name="connsiteY1220" fmla="*/ 625252 h 920179"/>
                    <a:gd name="connsiteX1221" fmla="*/ 1137648 w 1191185"/>
                    <a:gd name="connsiteY1221" fmla="*/ 625665 h 920179"/>
                    <a:gd name="connsiteX1222" fmla="*/ 1137951 w 1191185"/>
                    <a:gd name="connsiteY1222" fmla="*/ 625726 h 920179"/>
                    <a:gd name="connsiteX1223" fmla="*/ 1144436 w 1191185"/>
                    <a:gd name="connsiteY1223" fmla="*/ 624463 h 920179"/>
                    <a:gd name="connsiteX1224" fmla="*/ 1146026 w 1191185"/>
                    <a:gd name="connsiteY1224" fmla="*/ 623953 h 920179"/>
                    <a:gd name="connsiteX1225" fmla="*/ 1147326 w 1191185"/>
                    <a:gd name="connsiteY1225" fmla="*/ 623285 h 920179"/>
                    <a:gd name="connsiteX1226" fmla="*/ 1150118 w 1191185"/>
                    <a:gd name="connsiteY1226" fmla="*/ 621512 h 920179"/>
                    <a:gd name="connsiteX1227" fmla="*/ 1151928 w 1191185"/>
                    <a:gd name="connsiteY1227" fmla="*/ 620674 h 920179"/>
                    <a:gd name="connsiteX1228" fmla="*/ 1154405 w 1191185"/>
                    <a:gd name="connsiteY1228" fmla="*/ 620140 h 920179"/>
                    <a:gd name="connsiteX1229" fmla="*/ 1156627 w 1191185"/>
                    <a:gd name="connsiteY1229" fmla="*/ 620504 h 920179"/>
                    <a:gd name="connsiteX1230" fmla="*/ 1157781 w 1191185"/>
                    <a:gd name="connsiteY1230" fmla="*/ 621306 h 920179"/>
                    <a:gd name="connsiteX1231" fmla="*/ 1158898 w 1191185"/>
                    <a:gd name="connsiteY1231" fmla="*/ 622556 h 920179"/>
                    <a:gd name="connsiteX1232" fmla="*/ 1159420 w 1191185"/>
                    <a:gd name="connsiteY1232" fmla="*/ 623540 h 920179"/>
                    <a:gd name="connsiteX1233" fmla="*/ 1160513 w 1191185"/>
                    <a:gd name="connsiteY1233" fmla="*/ 626151 h 920179"/>
                    <a:gd name="connsiteX1234" fmla="*/ 1161071 w 1191185"/>
                    <a:gd name="connsiteY1234" fmla="*/ 627936 h 920179"/>
                    <a:gd name="connsiteX1235" fmla="*/ 1161399 w 1191185"/>
                    <a:gd name="connsiteY1235" fmla="*/ 630073 h 920179"/>
                    <a:gd name="connsiteX1236" fmla="*/ 1161253 w 1191185"/>
                    <a:gd name="connsiteY1236" fmla="*/ 632538 h 920179"/>
                    <a:gd name="connsiteX1237" fmla="*/ 1160489 w 1191185"/>
                    <a:gd name="connsiteY1237" fmla="*/ 634869 h 920179"/>
                    <a:gd name="connsiteX1238" fmla="*/ 1158959 w 1191185"/>
                    <a:gd name="connsiteY1238" fmla="*/ 636958 h 920179"/>
                    <a:gd name="connsiteX1239" fmla="*/ 1156542 w 1191185"/>
                    <a:gd name="connsiteY1239" fmla="*/ 639022 h 920179"/>
                    <a:gd name="connsiteX1240" fmla="*/ 1153263 w 1191185"/>
                    <a:gd name="connsiteY1240" fmla="*/ 641050 h 920179"/>
                    <a:gd name="connsiteX1241" fmla="*/ 1148309 w 1191185"/>
                    <a:gd name="connsiteY1241" fmla="*/ 643260 h 920179"/>
                    <a:gd name="connsiteX1242" fmla="*/ 1123137 w 1191185"/>
                    <a:gd name="connsiteY1242" fmla="*/ 650169 h 920179"/>
                    <a:gd name="connsiteX1243" fmla="*/ 1120599 w 1191185"/>
                    <a:gd name="connsiteY1243" fmla="*/ 650412 h 920179"/>
                    <a:gd name="connsiteX1244" fmla="*/ 1117782 w 1191185"/>
                    <a:gd name="connsiteY1244" fmla="*/ 649975 h 920179"/>
                    <a:gd name="connsiteX1245" fmla="*/ 1112050 w 1191185"/>
                    <a:gd name="connsiteY1245" fmla="*/ 647680 h 920179"/>
                    <a:gd name="connsiteX1246" fmla="*/ 1110909 w 1191185"/>
                    <a:gd name="connsiteY1246" fmla="*/ 648093 h 920179"/>
                    <a:gd name="connsiteX1247" fmla="*/ 1105505 w 1191185"/>
                    <a:gd name="connsiteY1247" fmla="*/ 654067 h 920179"/>
                    <a:gd name="connsiteX1248" fmla="*/ 1102300 w 1191185"/>
                    <a:gd name="connsiteY1248" fmla="*/ 656593 h 920179"/>
                    <a:gd name="connsiteX1249" fmla="*/ 1098645 w 1191185"/>
                    <a:gd name="connsiteY1249" fmla="*/ 658682 h 920179"/>
                    <a:gd name="connsiteX1250" fmla="*/ 1096519 w 1191185"/>
                    <a:gd name="connsiteY1250" fmla="*/ 660722 h 920179"/>
                    <a:gd name="connsiteX1251" fmla="*/ 1094443 w 1191185"/>
                    <a:gd name="connsiteY1251" fmla="*/ 664207 h 920179"/>
                    <a:gd name="connsiteX1252" fmla="*/ 1091662 w 1191185"/>
                    <a:gd name="connsiteY1252" fmla="*/ 676070 h 920179"/>
                    <a:gd name="connsiteX1253" fmla="*/ 1088797 w 1191185"/>
                    <a:gd name="connsiteY1253" fmla="*/ 680964 h 920179"/>
                    <a:gd name="connsiteX1254" fmla="*/ 1086392 w 1191185"/>
                    <a:gd name="connsiteY1254" fmla="*/ 682227 h 920179"/>
                    <a:gd name="connsiteX1255" fmla="*/ 1075500 w 1191185"/>
                    <a:gd name="connsiteY1255" fmla="*/ 686161 h 920179"/>
                    <a:gd name="connsiteX1256" fmla="*/ 1072003 w 1191185"/>
                    <a:gd name="connsiteY1256" fmla="*/ 686829 h 920179"/>
                    <a:gd name="connsiteX1257" fmla="*/ 1068773 w 1191185"/>
                    <a:gd name="connsiteY1257" fmla="*/ 685846 h 920179"/>
                    <a:gd name="connsiteX1258" fmla="*/ 1066514 w 1191185"/>
                    <a:gd name="connsiteY1258" fmla="*/ 683538 h 920179"/>
                    <a:gd name="connsiteX1259" fmla="*/ 1065834 w 1191185"/>
                    <a:gd name="connsiteY1259" fmla="*/ 685105 h 920179"/>
                    <a:gd name="connsiteX1260" fmla="*/ 1063066 w 1191185"/>
                    <a:gd name="connsiteY1260" fmla="*/ 694248 h 920179"/>
                    <a:gd name="connsiteX1261" fmla="*/ 1060601 w 1191185"/>
                    <a:gd name="connsiteY1261" fmla="*/ 697733 h 920179"/>
                    <a:gd name="connsiteX1262" fmla="*/ 1057686 w 1191185"/>
                    <a:gd name="connsiteY1262" fmla="*/ 699761 h 920179"/>
                    <a:gd name="connsiteX1263" fmla="*/ 1054602 w 1191185"/>
                    <a:gd name="connsiteY1263" fmla="*/ 700562 h 920179"/>
                    <a:gd name="connsiteX1264" fmla="*/ 1052890 w 1191185"/>
                    <a:gd name="connsiteY1264" fmla="*/ 701206 h 920179"/>
                    <a:gd name="connsiteX1265" fmla="*/ 1051445 w 1191185"/>
                    <a:gd name="connsiteY1265" fmla="*/ 701995 h 920179"/>
                    <a:gd name="connsiteX1266" fmla="*/ 1050085 w 1191185"/>
                    <a:gd name="connsiteY1266" fmla="*/ 702930 h 920179"/>
                    <a:gd name="connsiteX1267" fmla="*/ 1047353 w 1191185"/>
                    <a:gd name="connsiteY1267" fmla="*/ 705553 h 920179"/>
                    <a:gd name="connsiteX1268" fmla="*/ 1046600 w 1191185"/>
                    <a:gd name="connsiteY1268" fmla="*/ 705954 h 920179"/>
                    <a:gd name="connsiteX1269" fmla="*/ 1044766 w 1191185"/>
                    <a:gd name="connsiteY1269" fmla="*/ 706561 h 920179"/>
                    <a:gd name="connsiteX1270" fmla="*/ 1043297 w 1191185"/>
                    <a:gd name="connsiteY1270" fmla="*/ 706355 h 920179"/>
                    <a:gd name="connsiteX1271" fmla="*/ 1042143 w 1191185"/>
                    <a:gd name="connsiteY1271" fmla="*/ 706003 h 920179"/>
                    <a:gd name="connsiteX1272" fmla="*/ 1040820 w 1191185"/>
                    <a:gd name="connsiteY1272" fmla="*/ 705480 h 920179"/>
                    <a:gd name="connsiteX1273" fmla="*/ 1039448 w 1191185"/>
                    <a:gd name="connsiteY1273" fmla="*/ 705080 h 920179"/>
                    <a:gd name="connsiteX1274" fmla="*/ 1038318 w 1191185"/>
                    <a:gd name="connsiteY1274" fmla="*/ 705031 h 920179"/>
                    <a:gd name="connsiteX1275" fmla="*/ 1037687 w 1191185"/>
                    <a:gd name="connsiteY1275" fmla="*/ 705371 h 920179"/>
                    <a:gd name="connsiteX1276" fmla="*/ 1037128 w 1191185"/>
                    <a:gd name="connsiteY1276" fmla="*/ 705808 h 920179"/>
                    <a:gd name="connsiteX1277" fmla="*/ 1034360 w 1191185"/>
                    <a:gd name="connsiteY1277" fmla="*/ 706646 h 920179"/>
                    <a:gd name="connsiteX1278" fmla="*/ 1032296 w 1191185"/>
                    <a:gd name="connsiteY1278" fmla="*/ 706270 h 920179"/>
                    <a:gd name="connsiteX1279" fmla="*/ 1023771 w 1191185"/>
                    <a:gd name="connsiteY1279" fmla="*/ 701753 h 920179"/>
                    <a:gd name="connsiteX1280" fmla="*/ 1028470 w 1191185"/>
                    <a:gd name="connsiteY1280" fmla="*/ 706209 h 920179"/>
                    <a:gd name="connsiteX1281" fmla="*/ 1034117 w 1191185"/>
                    <a:gd name="connsiteY1281" fmla="*/ 709415 h 920179"/>
                    <a:gd name="connsiteX1282" fmla="*/ 1036655 w 1191185"/>
                    <a:gd name="connsiteY1282" fmla="*/ 709524 h 920179"/>
                    <a:gd name="connsiteX1283" fmla="*/ 1038804 w 1191185"/>
                    <a:gd name="connsiteY1283" fmla="*/ 709415 h 920179"/>
                    <a:gd name="connsiteX1284" fmla="*/ 1039897 w 1191185"/>
                    <a:gd name="connsiteY1284" fmla="*/ 708820 h 920179"/>
                    <a:gd name="connsiteX1285" fmla="*/ 1042593 w 1191185"/>
                    <a:gd name="connsiteY1285" fmla="*/ 708528 h 920179"/>
                    <a:gd name="connsiteX1286" fmla="*/ 1044985 w 1191185"/>
                    <a:gd name="connsiteY1286" fmla="*/ 708747 h 920179"/>
                    <a:gd name="connsiteX1287" fmla="*/ 1047717 w 1191185"/>
                    <a:gd name="connsiteY1287" fmla="*/ 709730 h 920179"/>
                    <a:gd name="connsiteX1288" fmla="*/ 1050146 w 1191185"/>
                    <a:gd name="connsiteY1288" fmla="*/ 711443 h 920179"/>
                    <a:gd name="connsiteX1289" fmla="*/ 1052939 w 1191185"/>
                    <a:gd name="connsiteY1289" fmla="*/ 714903 h 920179"/>
                    <a:gd name="connsiteX1290" fmla="*/ 1054129 w 1191185"/>
                    <a:gd name="connsiteY1290" fmla="*/ 717308 h 920179"/>
                    <a:gd name="connsiteX1291" fmla="*/ 1055391 w 1191185"/>
                    <a:gd name="connsiteY1291" fmla="*/ 718898 h 920179"/>
                    <a:gd name="connsiteX1292" fmla="*/ 1060649 w 1191185"/>
                    <a:gd name="connsiteY1292" fmla="*/ 720756 h 920179"/>
                    <a:gd name="connsiteX1293" fmla="*/ 1064207 w 1191185"/>
                    <a:gd name="connsiteY1293" fmla="*/ 721582 h 920179"/>
                    <a:gd name="connsiteX1294" fmla="*/ 1066466 w 1191185"/>
                    <a:gd name="connsiteY1294" fmla="*/ 724326 h 920179"/>
                    <a:gd name="connsiteX1295" fmla="*/ 1069647 w 1191185"/>
                    <a:gd name="connsiteY1295" fmla="*/ 729196 h 920179"/>
                    <a:gd name="connsiteX1296" fmla="*/ 1072901 w 1191185"/>
                    <a:gd name="connsiteY1296" fmla="*/ 733130 h 920179"/>
                    <a:gd name="connsiteX1297" fmla="*/ 1075379 w 1191185"/>
                    <a:gd name="connsiteY1297" fmla="*/ 735437 h 920179"/>
                    <a:gd name="connsiteX1298" fmla="*/ 1077285 w 1191185"/>
                    <a:gd name="connsiteY1298" fmla="*/ 736724 h 920179"/>
                    <a:gd name="connsiteX1299" fmla="*/ 1079240 w 1191185"/>
                    <a:gd name="connsiteY1299" fmla="*/ 738449 h 920179"/>
                    <a:gd name="connsiteX1300" fmla="*/ 1081159 w 1191185"/>
                    <a:gd name="connsiteY1300" fmla="*/ 741654 h 920179"/>
                    <a:gd name="connsiteX1301" fmla="*/ 1083211 w 1191185"/>
                    <a:gd name="connsiteY1301" fmla="*/ 749426 h 920179"/>
                    <a:gd name="connsiteX1302" fmla="*/ 1084862 w 1191185"/>
                    <a:gd name="connsiteY1302" fmla="*/ 752546 h 920179"/>
                    <a:gd name="connsiteX1303" fmla="*/ 1086587 w 1191185"/>
                    <a:gd name="connsiteY1303" fmla="*/ 757550 h 920179"/>
                    <a:gd name="connsiteX1304" fmla="*/ 1088347 w 1191185"/>
                    <a:gd name="connsiteY1304" fmla="*/ 773396 h 920179"/>
                    <a:gd name="connsiteX1305" fmla="*/ 1088311 w 1191185"/>
                    <a:gd name="connsiteY1305" fmla="*/ 776905 h 920179"/>
                    <a:gd name="connsiteX1306" fmla="*/ 1087874 w 1191185"/>
                    <a:gd name="connsiteY1306" fmla="*/ 780111 h 920179"/>
                    <a:gd name="connsiteX1307" fmla="*/ 1087024 w 1191185"/>
                    <a:gd name="connsiteY1307" fmla="*/ 783098 h 920179"/>
                    <a:gd name="connsiteX1308" fmla="*/ 1085676 w 1191185"/>
                    <a:gd name="connsiteY1308" fmla="*/ 785891 h 920179"/>
                    <a:gd name="connsiteX1309" fmla="*/ 1083357 w 1191185"/>
                    <a:gd name="connsiteY1309" fmla="*/ 788599 h 920179"/>
                    <a:gd name="connsiteX1310" fmla="*/ 1073703 w 1191185"/>
                    <a:gd name="connsiteY1310" fmla="*/ 795909 h 920179"/>
                    <a:gd name="connsiteX1311" fmla="*/ 1069319 w 1191185"/>
                    <a:gd name="connsiteY1311" fmla="*/ 800463 h 920179"/>
                    <a:gd name="connsiteX1312" fmla="*/ 1069247 w 1191185"/>
                    <a:gd name="connsiteY1312" fmla="*/ 800924 h 920179"/>
                    <a:gd name="connsiteX1313" fmla="*/ 1069684 w 1191185"/>
                    <a:gd name="connsiteY1313" fmla="*/ 803668 h 920179"/>
                    <a:gd name="connsiteX1314" fmla="*/ 1069380 w 1191185"/>
                    <a:gd name="connsiteY1314" fmla="*/ 806789 h 920179"/>
                    <a:gd name="connsiteX1315" fmla="*/ 1068481 w 1191185"/>
                    <a:gd name="connsiteY1315" fmla="*/ 809837 h 920179"/>
                    <a:gd name="connsiteX1316" fmla="*/ 1067194 w 1191185"/>
                    <a:gd name="connsiteY1316" fmla="*/ 812460 h 920179"/>
                    <a:gd name="connsiteX1317" fmla="*/ 1065336 w 1191185"/>
                    <a:gd name="connsiteY1317" fmla="*/ 814828 h 920179"/>
                    <a:gd name="connsiteX1318" fmla="*/ 1062289 w 1191185"/>
                    <a:gd name="connsiteY1318" fmla="*/ 816831 h 920179"/>
                    <a:gd name="connsiteX1319" fmla="*/ 1058682 w 1191185"/>
                    <a:gd name="connsiteY1319" fmla="*/ 818179 h 920179"/>
                    <a:gd name="connsiteX1320" fmla="*/ 1053946 w 1191185"/>
                    <a:gd name="connsiteY1320" fmla="*/ 820523 h 920179"/>
                    <a:gd name="connsiteX1321" fmla="*/ 1049672 w 1191185"/>
                    <a:gd name="connsiteY1321" fmla="*/ 823206 h 920179"/>
                    <a:gd name="connsiteX1322" fmla="*/ 1046624 w 1191185"/>
                    <a:gd name="connsiteY1322" fmla="*/ 824323 h 920179"/>
                    <a:gd name="connsiteX1323" fmla="*/ 1036023 w 1191185"/>
                    <a:gd name="connsiteY1323" fmla="*/ 825101 h 920179"/>
                    <a:gd name="connsiteX1324" fmla="*/ 1033583 w 1191185"/>
                    <a:gd name="connsiteY1324" fmla="*/ 824809 h 920179"/>
                    <a:gd name="connsiteX1325" fmla="*/ 1030717 w 1191185"/>
                    <a:gd name="connsiteY1325" fmla="*/ 823680 h 920179"/>
                    <a:gd name="connsiteX1326" fmla="*/ 1028968 w 1191185"/>
                    <a:gd name="connsiteY1326" fmla="*/ 821774 h 920179"/>
                    <a:gd name="connsiteX1327" fmla="*/ 1024269 w 1191185"/>
                    <a:gd name="connsiteY1327" fmla="*/ 814913 h 920179"/>
                    <a:gd name="connsiteX1328" fmla="*/ 1022302 w 1191185"/>
                    <a:gd name="connsiteY1328" fmla="*/ 813407 h 920179"/>
                    <a:gd name="connsiteX1329" fmla="*/ 1019594 w 1191185"/>
                    <a:gd name="connsiteY1329" fmla="*/ 811816 h 920179"/>
                    <a:gd name="connsiteX1330" fmla="*/ 1014118 w 1191185"/>
                    <a:gd name="connsiteY1330" fmla="*/ 809266 h 920179"/>
                    <a:gd name="connsiteX1331" fmla="*/ 1006637 w 1191185"/>
                    <a:gd name="connsiteY1331" fmla="*/ 803935 h 920179"/>
                    <a:gd name="connsiteX1332" fmla="*/ 1004622 w 1191185"/>
                    <a:gd name="connsiteY1332" fmla="*/ 803122 h 920179"/>
                    <a:gd name="connsiteX1333" fmla="*/ 1003104 w 1191185"/>
                    <a:gd name="connsiteY1333" fmla="*/ 802320 h 920179"/>
                    <a:gd name="connsiteX1334" fmla="*/ 1001452 w 1191185"/>
                    <a:gd name="connsiteY1334" fmla="*/ 800851 h 920179"/>
                    <a:gd name="connsiteX1335" fmla="*/ 998732 w 1191185"/>
                    <a:gd name="connsiteY1335" fmla="*/ 795156 h 920179"/>
                    <a:gd name="connsiteX1336" fmla="*/ 998028 w 1191185"/>
                    <a:gd name="connsiteY1336" fmla="*/ 793966 h 920179"/>
                    <a:gd name="connsiteX1337" fmla="*/ 997810 w 1191185"/>
                    <a:gd name="connsiteY1337" fmla="*/ 793784 h 920179"/>
                    <a:gd name="connsiteX1338" fmla="*/ 997178 w 1191185"/>
                    <a:gd name="connsiteY1338" fmla="*/ 794379 h 920179"/>
                    <a:gd name="connsiteX1339" fmla="*/ 995624 w 1191185"/>
                    <a:gd name="connsiteY1339" fmla="*/ 798799 h 920179"/>
                    <a:gd name="connsiteX1340" fmla="*/ 991811 w 1191185"/>
                    <a:gd name="connsiteY1340" fmla="*/ 803086 h 920179"/>
                    <a:gd name="connsiteX1341" fmla="*/ 988836 w 1191185"/>
                    <a:gd name="connsiteY1341" fmla="*/ 804081 h 920179"/>
                    <a:gd name="connsiteX1342" fmla="*/ 989176 w 1191185"/>
                    <a:gd name="connsiteY1342" fmla="*/ 804118 h 920179"/>
                    <a:gd name="connsiteX1343" fmla="*/ 991641 w 1191185"/>
                    <a:gd name="connsiteY1343" fmla="*/ 804871 h 920179"/>
                    <a:gd name="connsiteX1344" fmla="*/ 992685 w 1191185"/>
                    <a:gd name="connsiteY1344" fmla="*/ 805903 h 920179"/>
                    <a:gd name="connsiteX1345" fmla="*/ 993547 w 1191185"/>
                    <a:gd name="connsiteY1345" fmla="*/ 807238 h 920179"/>
                    <a:gd name="connsiteX1346" fmla="*/ 994009 w 1191185"/>
                    <a:gd name="connsiteY1346" fmla="*/ 808829 h 920179"/>
                    <a:gd name="connsiteX1347" fmla="*/ 994640 w 1191185"/>
                    <a:gd name="connsiteY1347" fmla="*/ 813298 h 920179"/>
                    <a:gd name="connsiteX1348" fmla="*/ 997263 w 1191185"/>
                    <a:gd name="connsiteY1348" fmla="*/ 813516 h 920179"/>
                    <a:gd name="connsiteX1349" fmla="*/ 999170 w 1191185"/>
                    <a:gd name="connsiteY1349" fmla="*/ 813978 h 920179"/>
                    <a:gd name="connsiteX1350" fmla="*/ 1000129 w 1191185"/>
                    <a:gd name="connsiteY1350" fmla="*/ 814974 h 920179"/>
                    <a:gd name="connsiteX1351" fmla="*/ 1000870 w 1191185"/>
                    <a:gd name="connsiteY1351" fmla="*/ 816054 h 920179"/>
                    <a:gd name="connsiteX1352" fmla="*/ 1001331 w 1191185"/>
                    <a:gd name="connsiteY1352" fmla="*/ 817050 h 920179"/>
                    <a:gd name="connsiteX1353" fmla="*/ 1001744 w 1191185"/>
                    <a:gd name="connsiteY1353" fmla="*/ 818216 h 920179"/>
                    <a:gd name="connsiteX1354" fmla="*/ 1003492 w 1191185"/>
                    <a:gd name="connsiteY1354" fmla="*/ 826315 h 920179"/>
                    <a:gd name="connsiteX1355" fmla="*/ 1002363 w 1191185"/>
                    <a:gd name="connsiteY1355" fmla="*/ 830504 h 920179"/>
                    <a:gd name="connsiteX1356" fmla="*/ 1000032 w 1191185"/>
                    <a:gd name="connsiteY1356" fmla="*/ 835786 h 920179"/>
                    <a:gd name="connsiteX1357" fmla="*/ 990609 w 1191185"/>
                    <a:gd name="connsiteY1357" fmla="*/ 851208 h 920179"/>
                    <a:gd name="connsiteX1358" fmla="*/ 985157 w 1191185"/>
                    <a:gd name="connsiteY1358" fmla="*/ 858506 h 920179"/>
                    <a:gd name="connsiteX1359" fmla="*/ 985132 w 1191185"/>
                    <a:gd name="connsiteY1359" fmla="*/ 858676 h 920179"/>
                    <a:gd name="connsiteX1360" fmla="*/ 986225 w 1191185"/>
                    <a:gd name="connsiteY1360" fmla="*/ 859016 h 920179"/>
                    <a:gd name="connsiteX1361" fmla="*/ 987937 w 1191185"/>
                    <a:gd name="connsiteY1361" fmla="*/ 860121 h 920179"/>
                    <a:gd name="connsiteX1362" fmla="*/ 988496 w 1191185"/>
                    <a:gd name="connsiteY1362" fmla="*/ 861092 h 920179"/>
                    <a:gd name="connsiteX1363" fmla="*/ 989164 w 1191185"/>
                    <a:gd name="connsiteY1363" fmla="*/ 862440 h 920179"/>
                    <a:gd name="connsiteX1364" fmla="*/ 989577 w 1191185"/>
                    <a:gd name="connsiteY1364" fmla="*/ 863921 h 920179"/>
                    <a:gd name="connsiteX1365" fmla="*/ 989880 w 1191185"/>
                    <a:gd name="connsiteY1365" fmla="*/ 865986 h 920179"/>
                    <a:gd name="connsiteX1366" fmla="*/ 990026 w 1191185"/>
                    <a:gd name="connsiteY1366" fmla="*/ 869046 h 920179"/>
                    <a:gd name="connsiteX1367" fmla="*/ 991264 w 1191185"/>
                    <a:gd name="connsiteY1367" fmla="*/ 878153 h 920179"/>
                    <a:gd name="connsiteX1368" fmla="*/ 990985 w 1191185"/>
                    <a:gd name="connsiteY1368" fmla="*/ 881674 h 920179"/>
                    <a:gd name="connsiteX1369" fmla="*/ 990269 w 1191185"/>
                    <a:gd name="connsiteY1369" fmla="*/ 884455 h 920179"/>
                    <a:gd name="connsiteX1370" fmla="*/ 988265 w 1191185"/>
                    <a:gd name="connsiteY1370" fmla="*/ 888244 h 920179"/>
                    <a:gd name="connsiteX1371" fmla="*/ 988192 w 1191185"/>
                    <a:gd name="connsiteY1371" fmla="*/ 889288 h 920179"/>
                    <a:gd name="connsiteX1372" fmla="*/ 988350 w 1191185"/>
                    <a:gd name="connsiteY1372" fmla="*/ 890187 h 920179"/>
                    <a:gd name="connsiteX1373" fmla="*/ 989443 w 1191185"/>
                    <a:gd name="connsiteY1373" fmla="*/ 893089 h 920179"/>
                    <a:gd name="connsiteX1374" fmla="*/ 989115 w 1191185"/>
                    <a:gd name="connsiteY1374" fmla="*/ 896258 h 920179"/>
                    <a:gd name="connsiteX1375" fmla="*/ 986796 w 1191185"/>
                    <a:gd name="connsiteY1375" fmla="*/ 898978 h 920179"/>
                    <a:gd name="connsiteX1376" fmla="*/ 983032 w 1191185"/>
                    <a:gd name="connsiteY1376" fmla="*/ 899549 h 920179"/>
                    <a:gd name="connsiteX1377" fmla="*/ 980591 w 1191185"/>
                    <a:gd name="connsiteY1377" fmla="*/ 899355 h 920179"/>
                    <a:gd name="connsiteX1378" fmla="*/ 976912 w 1191185"/>
                    <a:gd name="connsiteY1378" fmla="*/ 898420 h 920179"/>
                    <a:gd name="connsiteX1379" fmla="*/ 965521 w 1191185"/>
                    <a:gd name="connsiteY1379" fmla="*/ 896683 h 920179"/>
                    <a:gd name="connsiteX1380" fmla="*/ 964356 w 1191185"/>
                    <a:gd name="connsiteY1380" fmla="*/ 896999 h 920179"/>
                    <a:gd name="connsiteX1381" fmla="*/ 963919 w 1191185"/>
                    <a:gd name="connsiteY1381" fmla="*/ 897485 h 920179"/>
                    <a:gd name="connsiteX1382" fmla="*/ 963239 w 1191185"/>
                    <a:gd name="connsiteY1382" fmla="*/ 898832 h 920179"/>
                    <a:gd name="connsiteX1383" fmla="*/ 963263 w 1191185"/>
                    <a:gd name="connsiteY1383" fmla="*/ 900205 h 920179"/>
                    <a:gd name="connsiteX1384" fmla="*/ 963421 w 1191185"/>
                    <a:gd name="connsiteY1384" fmla="*/ 901152 h 920179"/>
                    <a:gd name="connsiteX1385" fmla="*/ 963311 w 1191185"/>
                    <a:gd name="connsiteY1385" fmla="*/ 903131 h 920179"/>
                    <a:gd name="connsiteX1386" fmla="*/ 962826 w 1191185"/>
                    <a:gd name="connsiteY1386" fmla="*/ 905584 h 920179"/>
                    <a:gd name="connsiteX1387" fmla="*/ 961308 w 1191185"/>
                    <a:gd name="connsiteY1387" fmla="*/ 907539 h 920179"/>
                    <a:gd name="connsiteX1388" fmla="*/ 959644 w 1191185"/>
                    <a:gd name="connsiteY1388" fmla="*/ 909081 h 920179"/>
                    <a:gd name="connsiteX1389" fmla="*/ 956499 w 1191185"/>
                    <a:gd name="connsiteY1389" fmla="*/ 910939 h 920179"/>
                    <a:gd name="connsiteX1390" fmla="*/ 953306 w 1191185"/>
                    <a:gd name="connsiteY1390" fmla="*/ 912117 h 920179"/>
                    <a:gd name="connsiteX1391" fmla="*/ 951217 w 1191185"/>
                    <a:gd name="connsiteY1391" fmla="*/ 912627 h 920179"/>
                    <a:gd name="connsiteX1392" fmla="*/ 945036 w 1191185"/>
                    <a:gd name="connsiteY1392" fmla="*/ 911886 h 920179"/>
                    <a:gd name="connsiteX1393" fmla="*/ 942268 w 1191185"/>
                    <a:gd name="connsiteY1393" fmla="*/ 911461 h 920179"/>
                    <a:gd name="connsiteX1394" fmla="*/ 943081 w 1191185"/>
                    <a:gd name="connsiteY1394" fmla="*/ 900229 h 920179"/>
                    <a:gd name="connsiteX1395" fmla="*/ 942826 w 1191185"/>
                    <a:gd name="connsiteY1395" fmla="*/ 899925 h 920179"/>
                    <a:gd name="connsiteX1396" fmla="*/ 942219 w 1191185"/>
                    <a:gd name="connsiteY1396" fmla="*/ 899525 h 920179"/>
                    <a:gd name="connsiteX1397" fmla="*/ 937156 w 1191185"/>
                    <a:gd name="connsiteY1397" fmla="*/ 898845 h 920179"/>
                    <a:gd name="connsiteX1398" fmla="*/ 936986 w 1191185"/>
                    <a:gd name="connsiteY1398" fmla="*/ 899112 h 920179"/>
                    <a:gd name="connsiteX1399" fmla="*/ 936779 w 1191185"/>
                    <a:gd name="connsiteY1399" fmla="*/ 902354 h 920179"/>
                    <a:gd name="connsiteX1400" fmla="*/ 936099 w 1191185"/>
                    <a:gd name="connsiteY1400" fmla="*/ 904515 h 920179"/>
                    <a:gd name="connsiteX1401" fmla="*/ 934205 w 1191185"/>
                    <a:gd name="connsiteY1401" fmla="*/ 905912 h 920179"/>
                    <a:gd name="connsiteX1402" fmla="*/ 931473 w 1191185"/>
                    <a:gd name="connsiteY1402" fmla="*/ 907017 h 920179"/>
                    <a:gd name="connsiteX1403" fmla="*/ 926822 w 1191185"/>
                    <a:gd name="connsiteY1403" fmla="*/ 907393 h 920179"/>
                    <a:gd name="connsiteX1404" fmla="*/ 923410 w 1191185"/>
                    <a:gd name="connsiteY1404" fmla="*/ 906470 h 920179"/>
                    <a:gd name="connsiteX1405" fmla="*/ 920872 w 1191185"/>
                    <a:gd name="connsiteY1405" fmla="*/ 904528 h 920179"/>
                    <a:gd name="connsiteX1406" fmla="*/ 920374 w 1191185"/>
                    <a:gd name="connsiteY1406" fmla="*/ 904090 h 920179"/>
                    <a:gd name="connsiteX1407" fmla="*/ 919354 w 1191185"/>
                    <a:gd name="connsiteY1407" fmla="*/ 901783 h 920179"/>
                    <a:gd name="connsiteX1408" fmla="*/ 917678 w 1191185"/>
                    <a:gd name="connsiteY1408" fmla="*/ 894169 h 920179"/>
                    <a:gd name="connsiteX1409" fmla="*/ 917630 w 1191185"/>
                    <a:gd name="connsiteY1409" fmla="*/ 892530 h 920179"/>
                    <a:gd name="connsiteX1410" fmla="*/ 917775 w 1191185"/>
                    <a:gd name="connsiteY1410" fmla="*/ 890927 h 920179"/>
                    <a:gd name="connsiteX1411" fmla="*/ 918249 w 1191185"/>
                    <a:gd name="connsiteY1411" fmla="*/ 889385 h 920179"/>
                    <a:gd name="connsiteX1412" fmla="*/ 918978 w 1191185"/>
                    <a:gd name="connsiteY1412" fmla="*/ 888049 h 920179"/>
                    <a:gd name="connsiteX1413" fmla="*/ 920034 w 1191185"/>
                    <a:gd name="connsiteY1413" fmla="*/ 886799 h 920179"/>
                    <a:gd name="connsiteX1414" fmla="*/ 921127 w 1191185"/>
                    <a:gd name="connsiteY1414" fmla="*/ 885852 h 920179"/>
                    <a:gd name="connsiteX1415" fmla="*/ 933913 w 1191185"/>
                    <a:gd name="connsiteY1415" fmla="*/ 878894 h 920179"/>
                    <a:gd name="connsiteX1416" fmla="*/ 934241 w 1191185"/>
                    <a:gd name="connsiteY1416" fmla="*/ 878396 h 920179"/>
                    <a:gd name="connsiteX1417" fmla="*/ 933525 w 1191185"/>
                    <a:gd name="connsiteY1417" fmla="*/ 878578 h 920179"/>
                    <a:gd name="connsiteX1418" fmla="*/ 931509 w 1191185"/>
                    <a:gd name="connsiteY1418" fmla="*/ 878687 h 920179"/>
                    <a:gd name="connsiteX1419" fmla="*/ 928680 w 1191185"/>
                    <a:gd name="connsiteY1419" fmla="*/ 878335 h 920179"/>
                    <a:gd name="connsiteX1420" fmla="*/ 925935 w 1191185"/>
                    <a:gd name="connsiteY1420" fmla="*/ 876453 h 920179"/>
                    <a:gd name="connsiteX1421" fmla="*/ 925195 w 1191185"/>
                    <a:gd name="connsiteY1421" fmla="*/ 875069 h 920179"/>
                    <a:gd name="connsiteX1422" fmla="*/ 924697 w 1191185"/>
                    <a:gd name="connsiteY1422" fmla="*/ 873272 h 920179"/>
                    <a:gd name="connsiteX1423" fmla="*/ 924758 w 1191185"/>
                    <a:gd name="connsiteY1423" fmla="*/ 871863 h 920179"/>
                    <a:gd name="connsiteX1424" fmla="*/ 925389 w 1191185"/>
                    <a:gd name="connsiteY1424" fmla="*/ 869361 h 920179"/>
                    <a:gd name="connsiteX1425" fmla="*/ 919645 w 1191185"/>
                    <a:gd name="connsiteY1425" fmla="*/ 874243 h 920179"/>
                    <a:gd name="connsiteX1426" fmla="*/ 914837 w 1191185"/>
                    <a:gd name="connsiteY1426" fmla="*/ 876951 h 920179"/>
                    <a:gd name="connsiteX1427" fmla="*/ 913210 w 1191185"/>
                    <a:gd name="connsiteY1427" fmla="*/ 877133 h 920179"/>
                    <a:gd name="connsiteX1428" fmla="*/ 911012 w 1191185"/>
                    <a:gd name="connsiteY1428" fmla="*/ 876854 h 920179"/>
                    <a:gd name="connsiteX1429" fmla="*/ 909530 w 1191185"/>
                    <a:gd name="connsiteY1429" fmla="*/ 876307 h 920179"/>
                    <a:gd name="connsiteX1430" fmla="*/ 909251 w 1191185"/>
                    <a:gd name="connsiteY1430" fmla="*/ 876684 h 920179"/>
                    <a:gd name="connsiteX1431" fmla="*/ 906665 w 1191185"/>
                    <a:gd name="connsiteY1431" fmla="*/ 883034 h 920179"/>
                    <a:gd name="connsiteX1432" fmla="*/ 905062 w 1191185"/>
                    <a:gd name="connsiteY1432" fmla="*/ 884735 h 920179"/>
                    <a:gd name="connsiteX1433" fmla="*/ 902742 w 1191185"/>
                    <a:gd name="connsiteY1433" fmla="*/ 884990 h 920179"/>
                    <a:gd name="connsiteX1434" fmla="*/ 900350 w 1191185"/>
                    <a:gd name="connsiteY1434" fmla="*/ 884771 h 920179"/>
                    <a:gd name="connsiteX1435" fmla="*/ 896744 w 1191185"/>
                    <a:gd name="connsiteY1435" fmla="*/ 883994 h 920179"/>
                    <a:gd name="connsiteX1436" fmla="*/ 896222 w 1191185"/>
                    <a:gd name="connsiteY1436" fmla="*/ 884929 h 920179"/>
                    <a:gd name="connsiteX1437" fmla="*/ 897339 w 1191185"/>
                    <a:gd name="connsiteY1437" fmla="*/ 886192 h 920179"/>
                    <a:gd name="connsiteX1438" fmla="*/ 901297 w 1191185"/>
                    <a:gd name="connsiteY1438" fmla="*/ 888790 h 920179"/>
                    <a:gd name="connsiteX1439" fmla="*/ 903082 w 1191185"/>
                    <a:gd name="connsiteY1439" fmla="*/ 890235 h 920179"/>
                    <a:gd name="connsiteX1440" fmla="*/ 904576 w 1191185"/>
                    <a:gd name="connsiteY1440" fmla="*/ 891923 h 920179"/>
                    <a:gd name="connsiteX1441" fmla="*/ 905705 w 1191185"/>
                    <a:gd name="connsiteY1441" fmla="*/ 893963 h 920179"/>
                    <a:gd name="connsiteX1442" fmla="*/ 906313 w 1191185"/>
                    <a:gd name="connsiteY1442" fmla="*/ 895821 h 920179"/>
                    <a:gd name="connsiteX1443" fmla="*/ 907017 w 1191185"/>
                    <a:gd name="connsiteY1443" fmla="*/ 904163 h 920179"/>
                    <a:gd name="connsiteX1444" fmla="*/ 907940 w 1191185"/>
                    <a:gd name="connsiteY1444" fmla="*/ 908268 h 920179"/>
                    <a:gd name="connsiteX1445" fmla="*/ 896343 w 1191185"/>
                    <a:gd name="connsiteY1445" fmla="*/ 913210 h 920179"/>
                    <a:gd name="connsiteX1446" fmla="*/ 891158 w 1191185"/>
                    <a:gd name="connsiteY1446" fmla="*/ 914424 h 920179"/>
                    <a:gd name="connsiteX1447" fmla="*/ 887418 w 1191185"/>
                    <a:gd name="connsiteY1447" fmla="*/ 914521 h 920179"/>
                    <a:gd name="connsiteX1448" fmla="*/ 882330 w 1191185"/>
                    <a:gd name="connsiteY1448" fmla="*/ 914048 h 920179"/>
                    <a:gd name="connsiteX1449" fmla="*/ 882075 w 1191185"/>
                    <a:gd name="connsiteY1449" fmla="*/ 914363 h 920179"/>
                    <a:gd name="connsiteX1450" fmla="*/ 881492 w 1191185"/>
                    <a:gd name="connsiteY1450" fmla="*/ 914776 h 920179"/>
                    <a:gd name="connsiteX1451" fmla="*/ 881019 w 1191185"/>
                    <a:gd name="connsiteY1451" fmla="*/ 915371 h 920179"/>
                    <a:gd name="connsiteX1452" fmla="*/ 880229 w 1191185"/>
                    <a:gd name="connsiteY1452" fmla="*/ 916124 h 920179"/>
                    <a:gd name="connsiteX1453" fmla="*/ 878432 w 1191185"/>
                    <a:gd name="connsiteY1453" fmla="*/ 916270 h 920179"/>
                    <a:gd name="connsiteX1454" fmla="*/ 876842 w 1191185"/>
                    <a:gd name="connsiteY1454" fmla="*/ 916063 h 920179"/>
                    <a:gd name="connsiteX1455" fmla="*/ 873429 w 1191185"/>
                    <a:gd name="connsiteY1455" fmla="*/ 914679 h 920179"/>
                    <a:gd name="connsiteX1456" fmla="*/ 870722 w 1191185"/>
                    <a:gd name="connsiteY1456" fmla="*/ 915978 h 920179"/>
                    <a:gd name="connsiteX1457" fmla="*/ 869726 w 1191185"/>
                    <a:gd name="connsiteY1457" fmla="*/ 916840 h 920179"/>
                    <a:gd name="connsiteX1458" fmla="*/ 865646 w 1191185"/>
                    <a:gd name="connsiteY1458" fmla="*/ 919196 h 920179"/>
                    <a:gd name="connsiteX1459" fmla="*/ 859866 w 1191185"/>
                    <a:gd name="connsiteY1459" fmla="*/ 920180 h 920179"/>
                    <a:gd name="connsiteX1460" fmla="*/ 855774 w 1191185"/>
                    <a:gd name="connsiteY1460" fmla="*/ 920180 h 920179"/>
                    <a:gd name="connsiteX1461" fmla="*/ 894060 w 1191185"/>
                    <a:gd name="connsiteY1461" fmla="*/ 493744 h 920179"/>
                    <a:gd name="connsiteX1462" fmla="*/ 894910 w 1191185"/>
                    <a:gd name="connsiteY1462" fmla="*/ 494108 h 920179"/>
                    <a:gd name="connsiteX1463" fmla="*/ 896258 w 1191185"/>
                    <a:gd name="connsiteY1463" fmla="*/ 493356 h 920179"/>
                    <a:gd name="connsiteX1464" fmla="*/ 896987 w 1191185"/>
                    <a:gd name="connsiteY1464" fmla="*/ 491656 h 920179"/>
                    <a:gd name="connsiteX1465" fmla="*/ 896780 w 1191185"/>
                    <a:gd name="connsiteY1465" fmla="*/ 489203 h 920179"/>
                    <a:gd name="connsiteX1466" fmla="*/ 893769 w 1191185"/>
                    <a:gd name="connsiteY1466" fmla="*/ 490818 h 920179"/>
                    <a:gd name="connsiteX1467" fmla="*/ 890417 w 1191185"/>
                    <a:gd name="connsiteY1467" fmla="*/ 490818 h 920179"/>
                    <a:gd name="connsiteX1468" fmla="*/ 894060 w 1191185"/>
                    <a:gd name="connsiteY1468" fmla="*/ 493744 h 920179"/>
                    <a:gd name="connsiteX1469" fmla="*/ 777573 w 1191185"/>
                    <a:gd name="connsiteY1469" fmla="*/ 491716 h 920179"/>
                    <a:gd name="connsiteX1470" fmla="*/ 782588 w 1191185"/>
                    <a:gd name="connsiteY1470" fmla="*/ 491340 h 920179"/>
                    <a:gd name="connsiteX1471" fmla="*/ 780245 w 1191185"/>
                    <a:gd name="connsiteY1471" fmla="*/ 490976 h 920179"/>
                    <a:gd name="connsiteX1472" fmla="*/ 778642 w 1191185"/>
                    <a:gd name="connsiteY1472" fmla="*/ 491231 h 920179"/>
                    <a:gd name="connsiteX1473" fmla="*/ 776917 w 1191185"/>
                    <a:gd name="connsiteY1473" fmla="*/ 491376 h 920179"/>
                    <a:gd name="connsiteX1474" fmla="*/ 774962 w 1191185"/>
                    <a:gd name="connsiteY1474" fmla="*/ 488608 h 920179"/>
                    <a:gd name="connsiteX1475" fmla="*/ 774027 w 1191185"/>
                    <a:gd name="connsiteY1475" fmla="*/ 490380 h 920179"/>
                    <a:gd name="connsiteX1476" fmla="*/ 777573 w 1191185"/>
                    <a:gd name="connsiteY1476" fmla="*/ 491716 h 920179"/>
                    <a:gd name="connsiteX1477" fmla="*/ 796905 w 1191185"/>
                    <a:gd name="connsiteY1477" fmla="*/ 473672 h 920179"/>
                    <a:gd name="connsiteX1478" fmla="*/ 795217 w 1191185"/>
                    <a:gd name="connsiteY1478" fmla="*/ 476744 h 920179"/>
                    <a:gd name="connsiteX1479" fmla="*/ 797220 w 1191185"/>
                    <a:gd name="connsiteY1479" fmla="*/ 474121 h 920179"/>
                    <a:gd name="connsiteX1480" fmla="*/ 799904 w 1191185"/>
                    <a:gd name="connsiteY1480" fmla="*/ 472166 h 920179"/>
                    <a:gd name="connsiteX1481" fmla="*/ 800062 w 1191185"/>
                    <a:gd name="connsiteY1481" fmla="*/ 471073 h 920179"/>
                    <a:gd name="connsiteX1482" fmla="*/ 798337 w 1191185"/>
                    <a:gd name="connsiteY1482" fmla="*/ 471838 h 920179"/>
                    <a:gd name="connsiteX1483" fmla="*/ 796905 w 1191185"/>
                    <a:gd name="connsiteY1483" fmla="*/ 473672 h 920179"/>
                    <a:gd name="connsiteX1484" fmla="*/ 429556 w 1191185"/>
                    <a:gd name="connsiteY1484" fmla="*/ 330458 h 920179"/>
                    <a:gd name="connsiteX1485" fmla="*/ 429921 w 1191185"/>
                    <a:gd name="connsiteY1485" fmla="*/ 332838 h 920179"/>
                    <a:gd name="connsiteX1486" fmla="*/ 430479 w 1191185"/>
                    <a:gd name="connsiteY1486" fmla="*/ 334842 h 920179"/>
                    <a:gd name="connsiteX1487" fmla="*/ 431354 w 1191185"/>
                    <a:gd name="connsiteY1487" fmla="*/ 336068 h 920179"/>
                    <a:gd name="connsiteX1488" fmla="*/ 432082 w 1191185"/>
                    <a:gd name="connsiteY1488" fmla="*/ 337294 h 920179"/>
                    <a:gd name="connsiteX1489" fmla="*/ 429957 w 1191185"/>
                    <a:gd name="connsiteY1489" fmla="*/ 343378 h 920179"/>
                    <a:gd name="connsiteX1490" fmla="*/ 430394 w 1191185"/>
                    <a:gd name="connsiteY1490" fmla="*/ 345236 h 920179"/>
                    <a:gd name="connsiteX1491" fmla="*/ 430394 w 1191185"/>
                    <a:gd name="connsiteY1491" fmla="*/ 348648 h 920179"/>
                    <a:gd name="connsiteX1492" fmla="*/ 430188 w 1191185"/>
                    <a:gd name="connsiteY1492" fmla="*/ 350469 h 920179"/>
                    <a:gd name="connsiteX1493" fmla="*/ 431341 w 1191185"/>
                    <a:gd name="connsiteY1493" fmla="*/ 349146 h 920179"/>
                    <a:gd name="connsiteX1494" fmla="*/ 435737 w 1191185"/>
                    <a:gd name="connsiteY1494" fmla="*/ 345795 h 920179"/>
                    <a:gd name="connsiteX1495" fmla="*/ 438457 w 1191185"/>
                    <a:gd name="connsiteY1495" fmla="*/ 345795 h 920179"/>
                    <a:gd name="connsiteX1496" fmla="*/ 441347 w 1191185"/>
                    <a:gd name="connsiteY1496" fmla="*/ 346402 h 920179"/>
                    <a:gd name="connsiteX1497" fmla="*/ 442015 w 1191185"/>
                    <a:gd name="connsiteY1497" fmla="*/ 346402 h 920179"/>
                    <a:gd name="connsiteX1498" fmla="*/ 442889 w 1191185"/>
                    <a:gd name="connsiteY1498" fmla="*/ 345892 h 920179"/>
                    <a:gd name="connsiteX1499" fmla="*/ 443837 w 1191185"/>
                    <a:gd name="connsiteY1499" fmla="*/ 344544 h 920179"/>
                    <a:gd name="connsiteX1500" fmla="*/ 445002 w 1191185"/>
                    <a:gd name="connsiteY1500" fmla="*/ 341897 h 920179"/>
                    <a:gd name="connsiteX1501" fmla="*/ 446217 w 1191185"/>
                    <a:gd name="connsiteY1501" fmla="*/ 339869 h 920179"/>
                    <a:gd name="connsiteX1502" fmla="*/ 447819 w 1191185"/>
                    <a:gd name="connsiteY1502" fmla="*/ 336323 h 920179"/>
                    <a:gd name="connsiteX1503" fmla="*/ 447783 w 1191185"/>
                    <a:gd name="connsiteY1503" fmla="*/ 332777 h 920179"/>
                    <a:gd name="connsiteX1504" fmla="*/ 446921 w 1191185"/>
                    <a:gd name="connsiteY1504" fmla="*/ 328904 h 920179"/>
                    <a:gd name="connsiteX1505" fmla="*/ 445488 w 1191185"/>
                    <a:gd name="connsiteY1505" fmla="*/ 325698 h 920179"/>
                    <a:gd name="connsiteX1506" fmla="*/ 443630 w 1191185"/>
                    <a:gd name="connsiteY1506" fmla="*/ 323439 h 920179"/>
                    <a:gd name="connsiteX1507" fmla="*/ 440789 w 1191185"/>
                    <a:gd name="connsiteY1507" fmla="*/ 320671 h 920179"/>
                    <a:gd name="connsiteX1508" fmla="*/ 440631 w 1191185"/>
                    <a:gd name="connsiteY1508" fmla="*/ 320962 h 920179"/>
                    <a:gd name="connsiteX1509" fmla="*/ 438445 w 1191185"/>
                    <a:gd name="connsiteY1509" fmla="*/ 323452 h 920179"/>
                    <a:gd name="connsiteX1510" fmla="*/ 430807 w 1191185"/>
                    <a:gd name="connsiteY1510" fmla="*/ 327556 h 920179"/>
                    <a:gd name="connsiteX1511" fmla="*/ 429532 w 1191185"/>
                    <a:gd name="connsiteY1511" fmla="*/ 329474 h 920179"/>
                    <a:gd name="connsiteX1512" fmla="*/ 429556 w 1191185"/>
                    <a:gd name="connsiteY1512" fmla="*/ 330458 h 920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Lst>
                  <a:rect l="l" t="t" r="r" b="b"/>
                  <a:pathLst>
                    <a:path w="1191185" h="920179">
                      <a:moveTo>
                        <a:pt x="855774" y="920168"/>
                      </a:moveTo>
                      <a:lnTo>
                        <a:pt x="857073" y="914448"/>
                      </a:lnTo>
                      <a:lnTo>
                        <a:pt x="860509" y="904989"/>
                      </a:lnTo>
                      <a:lnTo>
                        <a:pt x="861566" y="897023"/>
                      </a:lnTo>
                      <a:lnTo>
                        <a:pt x="862221" y="894546"/>
                      </a:lnTo>
                      <a:lnTo>
                        <a:pt x="864687" y="890867"/>
                      </a:lnTo>
                      <a:lnTo>
                        <a:pt x="863594" y="889616"/>
                      </a:lnTo>
                      <a:lnTo>
                        <a:pt x="863375" y="889070"/>
                      </a:lnTo>
                      <a:lnTo>
                        <a:pt x="862926" y="887358"/>
                      </a:lnTo>
                      <a:lnTo>
                        <a:pt x="862926" y="882731"/>
                      </a:lnTo>
                      <a:lnTo>
                        <a:pt x="863181" y="882160"/>
                      </a:lnTo>
                      <a:lnTo>
                        <a:pt x="864116" y="876113"/>
                      </a:lnTo>
                      <a:lnTo>
                        <a:pt x="866034" y="872106"/>
                      </a:lnTo>
                      <a:lnTo>
                        <a:pt x="868329" y="868681"/>
                      </a:lnTo>
                      <a:lnTo>
                        <a:pt x="869920" y="865488"/>
                      </a:lnTo>
                      <a:lnTo>
                        <a:pt x="870394" y="861991"/>
                      </a:lnTo>
                      <a:lnTo>
                        <a:pt x="870831" y="859477"/>
                      </a:lnTo>
                      <a:lnTo>
                        <a:pt x="873381" y="859477"/>
                      </a:lnTo>
                      <a:lnTo>
                        <a:pt x="874899" y="858579"/>
                      </a:lnTo>
                      <a:lnTo>
                        <a:pt x="876829" y="856939"/>
                      </a:lnTo>
                      <a:lnTo>
                        <a:pt x="877777" y="855858"/>
                      </a:lnTo>
                      <a:lnTo>
                        <a:pt x="878663" y="853734"/>
                      </a:lnTo>
                      <a:lnTo>
                        <a:pt x="880642" y="854304"/>
                      </a:lnTo>
                      <a:lnTo>
                        <a:pt x="884540" y="854790"/>
                      </a:lnTo>
                      <a:lnTo>
                        <a:pt x="887940" y="854074"/>
                      </a:lnTo>
                      <a:lnTo>
                        <a:pt x="889288" y="853090"/>
                      </a:lnTo>
                      <a:lnTo>
                        <a:pt x="889592" y="849192"/>
                      </a:lnTo>
                      <a:lnTo>
                        <a:pt x="888778" y="846120"/>
                      </a:lnTo>
                      <a:lnTo>
                        <a:pt x="886896" y="843558"/>
                      </a:lnTo>
                      <a:lnTo>
                        <a:pt x="880946" y="841275"/>
                      </a:lnTo>
                      <a:lnTo>
                        <a:pt x="889179" y="829448"/>
                      </a:lnTo>
                      <a:lnTo>
                        <a:pt x="890223" y="826376"/>
                      </a:lnTo>
                      <a:lnTo>
                        <a:pt x="890818" y="822781"/>
                      </a:lnTo>
                      <a:lnTo>
                        <a:pt x="890952" y="818823"/>
                      </a:lnTo>
                      <a:lnTo>
                        <a:pt x="890830" y="816783"/>
                      </a:lnTo>
                      <a:lnTo>
                        <a:pt x="890041" y="813031"/>
                      </a:lnTo>
                      <a:lnTo>
                        <a:pt x="889810" y="810590"/>
                      </a:lnTo>
                      <a:lnTo>
                        <a:pt x="890515" y="807615"/>
                      </a:lnTo>
                      <a:lnTo>
                        <a:pt x="890745" y="806886"/>
                      </a:lnTo>
                      <a:lnTo>
                        <a:pt x="893405" y="804288"/>
                      </a:lnTo>
                      <a:lnTo>
                        <a:pt x="893769" y="802891"/>
                      </a:lnTo>
                      <a:lnTo>
                        <a:pt x="894340" y="794537"/>
                      </a:lnTo>
                      <a:lnTo>
                        <a:pt x="894109" y="791902"/>
                      </a:lnTo>
                      <a:lnTo>
                        <a:pt x="891316" y="787348"/>
                      </a:lnTo>
                      <a:lnTo>
                        <a:pt x="899682" y="781592"/>
                      </a:lnTo>
                      <a:lnTo>
                        <a:pt x="899209" y="781362"/>
                      </a:lnTo>
                      <a:lnTo>
                        <a:pt x="896428" y="778958"/>
                      </a:lnTo>
                      <a:lnTo>
                        <a:pt x="896343" y="779067"/>
                      </a:lnTo>
                      <a:lnTo>
                        <a:pt x="890308" y="775509"/>
                      </a:lnTo>
                      <a:lnTo>
                        <a:pt x="888693" y="768939"/>
                      </a:lnTo>
                      <a:lnTo>
                        <a:pt x="889094" y="767822"/>
                      </a:lnTo>
                      <a:lnTo>
                        <a:pt x="874838" y="778059"/>
                      </a:lnTo>
                      <a:lnTo>
                        <a:pt x="882767" y="763366"/>
                      </a:lnTo>
                      <a:lnTo>
                        <a:pt x="884285" y="756323"/>
                      </a:lnTo>
                      <a:lnTo>
                        <a:pt x="884929" y="755679"/>
                      </a:lnTo>
                      <a:lnTo>
                        <a:pt x="879549" y="749280"/>
                      </a:lnTo>
                      <a:lnTo>
                        <a:pt x="885147" y="743961"/>
                      </a:lnTo>
                      <a:lnTo>
                        <a:pt x="881759" y="744399"/>
                      </a:lnTo>
                      <a:lnTo>
                        <a:pt x="878359" y="740561"/>
                      </a:lnTo>
                      <a:lnTo>
                        <a:pt x="877862" y="738011"/>
                      </a:lnTo>
                      <a:lnTo>
                        <a:pt x="877339" y="737635"/>
                      </a:lnTo>
                      <a:lnTo>
                        <a:pt x="876732" y="737502"/>
                      </a:lnTo>
                      <a:lnTo>
                        <a:pt x="876113" y="737623"/>
                      </a:lnTo>
                      <a:lnTo>
                        <a:pt x="873514" y="737356"/>
                      </a:lnTo>
                      <a:lnTo>
                        <a:pt x="872409" y="736676"/>
                      </a:lnTo>
                      <a:lnTo>
                        <a:pt x="871037" y="735546"/>
                      </a:lnTo>
                      <a:lnTo>
                        <a:pt x="869131" y="732875"/>
                      </a:lnTo>
                      <a:lnTo>
                        <a:pt x="867747" y="729159"/>
                      </a:lnTo>
                      <a:lnTo>
                        <a:pt x="866544" y="725565"/>
                      </a:lnTo>
                      <a:lnTo>
                        <a:pt x="873527" y="724836"/>
                      </a:lnTo>
                      <a:lnTo>
                        <a:pt x="881711" y="726160"/>
                      </a:lnTo>
                      <a:lnTo>
                        <a:pt x="882658" y="725881"/>
                      </a:lnTo>
                      <a:lnTo>
                        <a:pt x="877242" y="713507"/>
                      </a:lnTo>
                      <a:lnTo>
                        <a:pt x="877121" y="713519"/>
                      </a:lnTo>
                      <a:lnTo>
                        <a:pt x="867601" y="718085"/>
                      </a:lnTo>
                      <a:lnTo>
                        <a:pt x="867564" y="718898"/>
                      </a:lnTo>
                      <a:lnTo>
                        <a:pt x="865937" y="720623"/>
                      </a:lnTo>
                      <a:lnTo>
                        <a:pt x="859417" y="723865"/>
                      </a:lnTo>
                      <a:lnTo>
                        <a:pt x="854207" y="726245"/>
                      </a:lnTo>
                      <a:lnTo>
                        <a:pt x="856211" y="714418"/>
                      </a:lnTo>
                      <a:lnTo>
                        <a:pt x="859344" y="708771"/>
                      </a:lnTo>
                      <a:lnTo>
                        <a:pt x="859720" y="707897"/>
                      </a:lnTo>
                      <a:lnTo>
                        <a:pt x="856235" y="707812"/>
                      </a:lnTo>
                      <a:lnTo>
                        <a:pt x="856016" y="707921"/>
                      </a:lnTo>
                      <a:lnTo>
                        <a:pt x="855798" y="708431"/>
                      </a:lnTo>
                      <a:lnTo>
                        <a:pt x="856089" y="713531"/>
                      </a:lnTo>
                      <a:lnTo>
                        <a:pt x="855506" y="718146"/>
                      </a:lnTo>
                      <a:lnTo>
                        <a:pt x="853418" y="719250"/>
                      </a:lnTo>
                      <a:lnTo>
                        <a:pt x="851694" y="719712"/>
                      </a:lnTo>
                      <a:lnTo>
                        <a:pt x="851184" y="719688"/>
                      </a:lnTo>
                      <a:lnTo>
                        <a:pt x="846873" y="722359"/>
                      </a:lnTo>
                      <a:lnTo>
                        <a:pt x="843096" y="721121"/>
                      </a:lnTo>
                      <a:lnTo>
                        <a:pt x="839077" y="716008"/>
                      </a:lnTo>
                      <a:lnTo>
                        <a:pt x="839271" y="711090"/>
                      </a:lnTo>
                      <a:lnTo>
                        <a:pt x="842817" y="707083"/>
                      </a:lnTo>
                      <a:lnTo>
                        <a:pt x="855154" y="698292"/>
                      </a:lnTo>
                      <a:lnTo>
                        <a:pt x="857389" y="696276"/>
                      </a:lnTo>
                      <a:lnTo>
                        <a:pt x="854086" y="695183"/>
                      </a:lnTo>
                      <a:lnTo>
                        <a:pt x="852046" y="692876"/>
                      </a:lnTo>
                      <a:lnTo>
                        <a:pt x="851026" y="691322"/>
                      </a:lnTo>
                      <a:lnTo>
                        <a:pt x="849301" y="690593"/>
                      </a:lnTo>
                      <a:lnTo>
                        <a:pt x="845489" y="687813"/>
                      </a:lnTo>
                      <a:lnTo>
                        <a:pt x="842683" y="690606"/>
                      </a:lnTo>
                      <a:lnTo>
                        <a:pt x="838215" y="685493"/>
                      </a:lnTo>
                      <a:lnTo>
                        <a:pt x="836879" y="682324"/>
                      </a:lnTo>
                      <a:lnTo>
                        <a:pt x="835932" y="675864"/>
                      </a:lnTo>
                      <a:lnTo>
                        <a:pt x="834366" y="671711"/>
                      </a:lnTo>
                      <a:lnTo>
                        <a:pt x="833722" y="668420"/>
                      </a:lnTo>
                      <a:lnTo>
                        <a:pt x="834536" y="666696"/>
                      </a:lnTo>
                      <a:lnTo>
                        <a:pt x="833880" y="666502"/>
                      </a:lnTo>
                      <a:lnTo>
                        <a:pt x="830686" y="663660"/>
                      </a:lnTo>
                      <a:lnTo>
                        <a:pt x="829059" y="658548"/>
                      </a:lnTo>
                      <a:lnTo>
                        <a:pt x="831791" y="657188"/>
                      </a:lnTo>
                      <a:lnTo>
                        <a:pt x="834621" y="649805"/>
                      </a:lnTo>
                      <a:lnTo>
                        <a:pt x="840631" y="638184"/>
                      </a:lnTo>
                      <a:lnTo>
                        <a:pt x="844068" y="635428"/>
                      </a:lnTo>
                      <a:lnTo>
                        <a:pt x="847589" y="633594"/>
                      </a:lnTo>
                      <a:lnTo>
                        <a:pt x="854268" y="627450"/>
                      </a:lnTo>
                      <a:lnTo>
                        <a:pt x="857328" y="625568"/>
                      </a:lnTo>
                      <a:lnTo>
                        <a:pt x="862537" y="624268"/>
                      </a:lnTo>
                      <a:lnTo>
                        <a:pt x="866326" y="622192"/>
                      </a:lnTo>
                      <a:lnTo>
                        <a:pt x="870078" y="619411"/>
                      </a:lnTo>
                      <a:lnTo>
                        <a:pt x="872725" y="616764"/>
                      </a:lnTo>
                      <a:lnTo>
                        <a:pt x="876429" y="609126"/>
                      </a:lnTo>
                      <a:lnTo>
                        <a:pt x="880169" y="606394"/>
                      </a:lnTo>
                      <a:lnTo>
                        <a:pt x="883168" y="606273"/>
                      </a:lnTo>
                      <a:lnTo>
                        <a:pt x="888729" y="607742"/>
                      </a:lnTo>
                      <a:lnTo>
                        <a:pt x="890527" y="607839"/>
                      </a:lnTo>
                      <a:lnTo>
                        <a:pt x="892992" y="607123"/>
                      </a:lnTo>
                      <a:lnTo>
                        <a:pt x="900205" y="604148"/>
                      </a:lnTo>
                      <a:lnTo>
                        <a:pt x="891826" y="602727"/>
                      </a:lnTo>
                      <a:lnTo>
                        <a:pt x="888256" y="602460"/>
                      </a:lnTo>
                      <a:lnTo>
                        <a:pt x="885512" y="603504"/>
                      </a:lnTo>
                      <a:lnTo>
                        <a:pt x="881480" y="606248"/>
                      </a:lnTo>
                      <a:lnTo>
                        <a:pt x="876744" y="606625"/>
                      </a:lnTo>
                      <a:lnTo>
                        <a:pt x="867747" y="604281"/>
                      </a:lnTo>
                      <a:lnTo>
                        <a:pt x="863994" y="603868"/>
                      </a:lnTo>
                      <a:lnTo>
                        <a:pt x="854207" y="605678"/>
                      </a:lnTo>
                      <a:lnTo>
                        <a:pt x="848961" y="605253"/>
                      </a:lnTo>
                      <a:lnTo>
                        <a:pt x="845185" y="604378"/>
                      </a:lnTo>
                      <a:lnTo>
                        <a:pt x="842234" y="604281"/>
                      </a:lnTo>
                      <a:lnTo>
                        <a:pt x="834839" y="607074"/>
                      </a:lnTo>
                      <a:lnTo>
                        <a:pt x="829715" y="608106"/>
                      </a:lnTo>
                      <a:lnTo>
                        <a:pt x="824554" y="605933"/>
                      </a:lnTo>
                      <a:lnTo>
                        <a:pt x="822854" y="599497"/>
                      </a:lnTo>
                      <a:lnTo>
                        <a:pt x="823595" y="595174"/>
                      </a:lnTo>
                      <a:lnTo>
                        <a:pt x="827201" y="586941"/>
                      </a:lnTo>
                      <a:lnTo>
                        <a:pt x="828246" y="582995"/>
                      </a:lnTo>
                      <a:lnTo>
                        <a:pt x="829363" y="570706"/>
                      </a:lnTo>
                      <a:lnTo>
                        <a:pt x="830698" y="566893"/>
                      </a:lnTo>
                      <a:lnTo>
                        <a:pt x="834438" y="564914"/>
                      </a:lnTo>
                      <a:lnTo>
                        <a:pt x="836466" y="561307"/>
                      </a:lnTo>
                      <a:lnTo>
                        <a:pt x="839271" y="554762"/>
                      </a:lnTo>
                      <a:lnTo>
                        <a:pt x="837814" y="555952"/>
                      </a:lnTo>
                      <a:lnTo>
                        <a:pt x="833115" y="558721"/>
                      </a:lnTo>
                      <a:lnTo>
                        <a:pt x="827638" y="560409"/>
                      </a:lnTo>
                      <a:lnTo>
                        <a:pt x="824639" y="557143"/>
                      </a:lnTo>
                      <a:lnTo>
                        <a:pt x="819333" y="548375"/>
                      </a:lnTo>
                      <a:lnTo>
                        <a:pt x="817778" y="544453"/>
                      </a:lnTo>
                      <a:lnTo>
                        <a:pt x="818471" y="540094"/>
                      </a:lnTo>
                      <a:lnTo>
                        <a:pt x="821069" y="532152"/>
                      </a:lnTo>
                      <a:lnTo>
                        <a:pt x="821761" y="528206"/>
                      </a:lnTo>
                      <a:lnTo>
                        <a:pt x="821591" y="526591"/>
                      </a:lnTo>
                      <a:lnTo>
                        <a:pt x="821239" y="524660"/>
                      </a:lnTo>
                      <a:lnTo>
                        <a:pt x="821203" y="521284"/>
                      </a:lnTo>
                      <a:lnTo>
                        <a:pt x="823558" y="516852"/>
                      </a:lnTo>
                      <a:lnTo>
                        <a:pt x="823947" y="515249"/>
                      </a:lnTo>
                      <a:lnTo>
                        <a:pt x="824311" y="511461"/>
                      </a:lnTo>
                      <a:lnTo>
                        <a:pt x="825611" y="507551"/>
                      </a:lnTo>
                      <a:lnTo>
                        <a:pt x="828901" y="502851"/>
                      </a:lnTo>
                      <a:lnTo>
                        <a:pt x="832544" y="499026"/>
                      </a:lnTo>
                      <a:lnTo>
                        <a:pt x="835750" y="496622"/>
                      </a:lnTo>
                      <a:lnTo>
                        <a:pt x="841129" y="494849"/>
                      </a:lnTo>
                      <a:lnTo>
                        <a:pt x="846023" y="494995"/>
                      </a:lnTo>
                      <a:lnTo>
                        <a:pt x="850467" y="496877"/>
                      </a:lnTo>
                      <a:lnTo>
                        <a:pt x="854329" y="499900"/>
                      </a:lnTo>
                      <a:lnTo>
                        <a:pt x="855519" y="500629"/>
                      </a:lnTo>
                      <a:lnTo>
                        <a:pt x="856429" y="500581"/>
                      </a:lnTo>
                      <a:lnTo>
                        <a:pt x="856976" y="500216"/>
                      </a:lnTo>
                      <a:lnTo>
                        <a:pt x="859841" y="499779"/>
                      </a:lnTo>
                      <a:lnTo>
                        <a:pt x="862659" y="500702"/>
                      </a:lnTo>
                      <a:lnTo>
                        <a:pt x="864941" y="501783"/>
                      </a:lnTo>
                      <a:lnTo>
                        <a:pt x="866496" y="502936"/>
                      </a:lnTo>
                      <a:lnTo>
                        <a:pt x="872604" y="494861"/>
                      </a:lnTo>
                      <a:lnTo>
                        <a:pt x="877849" y="490551"/>
                      </a:lnTo>
                      <a:lnTo>
                        <a:pt x="885888" y="488996"/>
                      </a:lnTo>
                      <a:lnTo>
                        <a:pt x="885512" y="488778"/>
                      </a:lnTo>
                      <a:lnTo>
                        <a:pt x="883775" y="488110"/>
                      </a:lnTo>
                      <a:lnTo>
                        <a:pt x="880752" y="488620"/>
                      </a:lnTo>
                      <a:lnTo>
                        <a:pt x="877740" y="489968"/>
                      </a:lnTo>
                      <a:lnTo>
                        <a:pt x="875809" y="491352"/>
                      </a:lnTo>
                      <a:lnTo>
                        <a:pt x="869131" y="494643"/>
                      </a:lnTo>
                      <a:lnTo>
                        <a:pt x="862537" y="493428"/>
                      </a:lnTo>
                      <a:lnTo>
                        <a:pt x="849350" y="488353"/>
                      </a:lnTo>
                      <a:lnTo>
                        <a:pt x="848039" y="488559"/>
                      </a:lnTo>
                      <a:lnTo>
                        <a:pt x="846521" y="488923"/>
                      </a:lnTo>
                      <a:lnTo>
                        <a:pt x="843096" y="489081"/>
                      </a:lnTo>
                      <a:lnTo>
                        <a:pt x="838810" y="486021"/>
                      </a:lnTo>
                      <a:lnTo>
                        <a:pt x="837729" y="485851"/>
                      </a:lnTo>
                      <a:lnTo>
                        <a:pt x="834244" y="485705"/>
                      </a:lnTo>
                      <a:lnTo>
                        <a:pt x="832180" y="486458"/>
                      </a:lnTo>
                      <a:lnTo>
                        <a:pt x="826667" y="491777"/>
                      </a:lnTo>
                      <a:lnTo>
                        <a:pt x="822587" y="494606"/>
                      </a:lnTo>
                      <a:lnTo>
                        <a:pt x="817584" y="496379"/>
                      </a:lnTo>
                      <a:lnTo>
                        <a:pt x="813638" y="496731"/>
                      </a:lnTo>
                      <a:lnTo>
                        <a:pt x="809885" y="494958"/>
                      </a:lnTo>
                      <a:lnTo>
                        <a:pt x="809133" y="491813"/>
                      </a:lnTo>
                      <a:lnTo>
                        <a:pt x="804664" y="494230"/>
                      </a:lnTo>
                      <a:lnTo>
                        <a:pt x="797949" y="491947"/>
                      </a:lnTo>
                      <a:lnTo>
                        <a:pt x="796395" y="488073"/>
                      </a:lnTo>
                      <a:lnTo>
                        <a:pt x="795277" y="482985"/>
                      </a:lnTo>
                      <a:lnTo>
                        <a:pt x="795071" y="476999"/>
                      </a:lnTo>
                      <a:lnTo>
                        <a:pt x="793480" y="480909"/>
                      </a:lnTo>
                      <a:lnTo>
                        <a:pt x="792910" y="483981"/>
                      </a:lnTo>
                      <a:lnTo>
                        <a:pt x="790712" y="490745"/>
                      </a:lnTo>
                      <a:lnTo>
                        <a:pt x="786790" y="491498"/>
                      </a:lnTo>
                      <a:lnTo>
                        <a:pt x="789279" y="502366"/>
                      </a:lnTo>
                      <a:lnTo>
                        <a:pt x="787506" y="524150"/>
                      </a:lnTo>
                      <a:lnTo>
                        <a:pt x="785405" y="528691"/>
                      </a:lnTo>
                      <a:lnTo>
                        <a:pt x="785211" y="530027"/>
                      </a:lnTo>
                      <a:lnTo>
                        <a:pt x="784300" y="534083"/>
                      </a:lnTo>
                      <a:lnTo>
                        <a:pt x="782236" y="532869"/>
                      </a:lnTo>
                      <a:lnTo>
                        <a:pt x="781180" y="534727"/>
                      </a:lnTo>
                      <a:lnTo>
                        <a:pt x="780985" y="535686"/>
                      </a:lnTo>
                      <a:lnTo>
                        <a:pt x="777185" y="539280"/>
                      </a:lnTo>
                      <a:lnTo>
                        <a:pt x="774902" y="540531"/>
                      </a:lnTo>
                      <a:lnTo>
                        <a:pt x="771659" y="541065"/>
                      </a:lnTo>
                      <a:lnTo>
                        <a:pt x="770081" y="540749"/>
                      </a:lnTo>
                      <a:lnTo>
                        <a:pt x="769668" y="543652"/>
                      </a:lnTo>
                      <a:lnTo>
                        <a:pt x="764337" y="543652"/>
                      </a:lnTo>
                      <a:lnTo>
                        <a:pt x="764143" y="543943"/>
                      </a:lnTo>
                      <a:lnTo>
                        <a:pt x="763305" y="544866"/>
                      </a:lnTo>
                      <a:lnTo>
                        <a:pt x="760670" y="547003"/>
                      </a:lnTo>
                      <a:lnTo>
                        <a:pt x="755582" y="548351"/>
                      </a:lnTo>
                      <a:lnTo>
                        <a:pt x="753858" y="543809"/>
                      </a:lnTo>
                      <a:lnTo>
                        <a:pt x="753724" y="543627"/>
                      </a:lnTo>
                      <a:lnTo>
                        <a:pt x="752680" y="547295"/>
                      </a:lnTo>
                      <a:lnTo>
                        <a:pt x="749486" y="548290"/>
                      </a:lnTo>
                      <a:lnTo>
                        <a:pt x="749523" y="549504"/>
                      </a:lnTo>
                      <a:lnTo>
                        <a:pt x="748418" y="552249"/>
                      </a:lnTo>
                      <a:lnTo>
                        <a:pt x="752886" y="551217"/>
                      </a:lnTo>
                      <a:lnTo>
                        <a:pt x="766086" y="550318"/>
                      </a:lnTo>
                      <a:lnTo>
                        <a:pt x="758800" y="555843"/>
                      </a:lnTo>
                      <a:lnTo>
                        <a:pt x="761909" y="557288"/>
                      </a:lnTo>
                      <a:lnTo>
                        <a:pt x="760634" y="558563"/>
                      </a:lnTo>
                      <a:lnTo>
                        <a:pt x="762139" y="559255"/>
                      </a:lnTo>
                      <a:lnTo>
                        <a:pt x="761168" y="563833"/>
                      </a:lnTo>
                      <a:lnTo>
                        <a:pt x="760002" y="566225"/>
                      </a:lnTo>
                      <a:lnTo>
                        <a:pt x="760306" y="567779"/>
                      </a:lnTo>
                      <a:lnTo>
                        <a:pt x="761253" y="569139"/>
                      </a:lnTo>
                      <a:lnTo>
                        <a:pt x="763111" y="572431"/>
                      </a:lnTo>
                      <a:lnTo>
                        <a:pt x="757258" y="574203"/>
                      </a:lnTo>
                      <a:lnTo>
                        <a:pt x="750421" y="572539"/>
                      </a:lnTo>
                      <a:lnTo>
                        <a:pt x="750931" y="573426"/>
                      </a:lnTo>
                      <a:lnTo>
                        <a:pt x="743330" y="575915"/>
                      </a:lnTo>
                      <a:lnTo>
                        <a:pt x="738096" y="574993"/>
                      </a:lnTo>
                      <a:lnTo>
                        <a:pt x="728856" y="571204"/>
                      </a:lnTo>
                      <a:lnTo>
                        <a:pt x="728807" y="571495"/>
                      </a:lnTo>
                      <a:lnTo>
                        <a:pt x="728734" y="576219"/>
                      </a:lnTo>
                      <a:lnTo>
                        <a:pt x="734186" y="573681"/>
                      </a:lnTo>
                      <a:lnTo>
                        <a:pt x="733919" y="579510"/>
                      </a:lnTo>
                      <a:lnTo>
                        <a:pt x="736117" y="578732"/>
                      </a:lnTo>
                      <a:lnTo>
                        <a:pt x="740926" y="577846"/>
                      </a:lnTo>
                      <a:lnTo>
                        <a:pt x="744180" y="578915"/>
                      </a:lnTo>
                      <a:lnTo>
                        <a:pt x="746888" y="580505"/>
                      </a:lnTo>
                      <a:lnTo>
                        <a:pt x="748527" y="580323"/>
                      </a:lnTo>
                      <a:lnTo>
                        <a:pt x="758339" y="576583"/>
                      </a:lnTo>
                      <a:lnTo>
                        <a:pt x="760828" y="578137"/>
                      </a:lnTo>
                      <a:lnTo>
                        <a:pt x="761921" y="580129"/>
                      </a:lnTo>
                      <a:lnTo>
                        <a:pt x="762261" y="582752"/>
                      </a:lnTo>
                      <a:lnTo>
                        <a:pt x="762394" y="583067"/>
                      </a:lnTo>
                      <a:lnTo>
                        <a:pt x="765782" y="584768"/>
                      </a:lnTo>
                      <a:lnTo>
                        <a:pt x="767045" y="587147"/>
                      </a:lnTo>
                      <a:lnTo>
                        <a:pt x="769959" y="594968"/>
                      </a:lnTo>
                      <a:lnTo>
                        <a:pt x="771137" y="596303"/>
                      </a:lnTo>
                      <a:lnTo>
                        <a:pt x="771854" y="596728"/>
                      </a:lnTo>
                      <a:lnTo>
                        <a:pt x="773177" y="597250"/>
                      </a:lnTo>
                      <a:lnTo>
                        <a:pt x="774307" y="597166"/>
                      </a:lnTo>
                      <a:lnTo>
                        <a:pt x="775800" y="596898"/>
                      </a:lnTo>
                      <a:lnTo>
                        <a:pt x="778338" y="597202"/>
                      </a:lnTo>
                      <a:lnTo>
                        <a:pt x="780111" y="597505"/>
                      </a:lnTo>
                      <a:lnTo>
                        <a:pt x="781726" y="602290"/>
                      </a:lnTo>
                      <a:lnTo>
                        <a:pt x="782552" y="603128"/>
                      </a:lnTo>
                      <a:lnTo>
                        <a:pt x="783657" y="604039"/>
                      </a:lnTo>
                      <a:lnTo>
                        <a:pt x="784956" y="606006"/>
                      </a:lnTo>
                      <a:lnTo>
                        <a:pt x="785272" y="606588"/>
                      </a:lnTo>
                      <a:lnTo>
                        <a:pt x="785466" y="609576"/>
                      </a:lnTo>
                      <a:lnTo>
                        <a:pt x="785794" y="610595"/>
                      </a:lnTo>
                      <a:lnTo>
                        <a:pt x="785940" y="612781"/>
                      </a:lnTo>
                      <a:lnTo>
                        <a:pt x="784992" y="616351"/>
                      </a:lnTo>
                      <a:lnTo>
                        <a:pt x="783936" y="617651"/>
                      </a:lnTo>
                      <a:lnTo>
                        <a:pt x="781216" y="620164"/>
                      </a:lnTo>
                      <a:lnTo>
                        <a:pt x="780852" y="620747"/>
                      </a:lnTo>
                      <a:lnTo>
                        <a:pt x="775205" y="642240"/>
                      </a:lnTo>
                      <a:lnTo>
                        <a:pt x="770700" y="650084"/>
                      </a:lnTo>
                      <a:lnTo>
                        <a:pt x="760707" y="660527"/>
                      </a:lnTo>
                      <a:lnTo>
                        <a:pt x="759541" y="663624"/>
                      </a:lnTo>
                      <a:lnTo>
                        <a:pt x="757926" y="666611"/>
                      </a:lnTo>
                      <a:lnTo>
                        <a:pt x="750846" y="674528"/>
                      </a:lnTo>
                      <a:lnTo>
                        <a:pt x="750239" y="674965"/>
                      </a:lnTo>
                      <a:lnTo>
                        <a:pt x="750931" y="678256"/>
                      </a:lnTo>
                      <a:lnTo>
                        <a:pt x="749098" y="681474"/>
                      </a:lnTo>
                      <a:lnTo>
                        <a:pt x="749231" y="681814"/>
                      </a:lnTo>
                      <a:lnTo>
                        <a:pt x="748357" y="684680"/>
                      </a:lnTo>
                      <a:lnTo>
                        <a:pt x="747094" y="686501"/>
                      </a:lnTo>
                      <a:lnTo>
                        <a:pt x="747289" y="687169"/>
                      </a:lnTo>
                      <a:lnTo>
                        <a:pt x="749450" y="691467"/>
                      </a:lnTo>
                      <a:lnTo>
                        <a:pt x="749523" y="696786"/>
                      </a:lnTo>
                      <a:lnTo>
                        <a:pt x="745989" y="700344"/>
                      </a:lnTo>
                      <a:lnTo>
                        <a:pt x="744010" y="701486"/>
                      </a:lnTo>
                      <a:lnTo>
                        <a:pt x="741982" y="702226"/>
                      </a:lnTo>
                      <a:lnTo>
                        <a:pt x="741557" y="702457"/>
                      </a:lnTo>
                      <a:lnTo>
                        <a:pt x="741290" y="702955"/>
                      </a:lnTo>
                      <a:lnTo>
                        <a:pt x="739068" y="705080"/>
                      </a:lnTo>
                      <a:lnTo>
                        <a:pt x="726476" y="711734"/>
                      </a:lnTo>
                      <a:lnTo>
                        <a:pt x="722311" y="712791"/>
                      </a:lnTo>
                      <a:lnTo>
                        <a:pt x="713920" y="713264"/>
                      </a:lnTo>
                      <a:lnTo>
                        <a:pt x="691977" y="726196"/>
                      </a:lnTo>
                      <a:lnTo>
                        <a:pt x="689160" y="728722"/>
                      </a:lnTo>
                      <a:lnTo>
                        <a:pt x="683927" y="732001"/>
                      </a:lnTo>
                      <a:lnTo>
                        <a:pt x="678742" y="733470"/>
                      </a:lnTo>
                      <a:lnTo>
                        <a:pt x="675487" y="732693"/>
                      </a:lnTo>
                      <a:lnTo>
                        <a:pt x="674577" y="732596"/>
                      </a:lnTo>
                      <a:lnTo>
                        <a:pt x="669015" y="736081"/>
                      </a:lnTo>
                      <a:lnTo>
                        <a:pt x="660333" y="739226"/>
                      </a:lnTo>
                      <a:lnTo>
                        <a:pt x="649951" y="746754"/>
                      </a:lnTo>
                      <a:lnTo>
                        <a:pt x="636666" y="749632"/>
                      </a:lnTo>
                      <a:lnTo>
                        <a:pt x="636824" y="749341"/>
                      </a:lnTo>
                      <a:lnTo>
                        <a:pt x="633776" y="751952"/>
                      </a:lnTo>
                      <a:lnTo>
                        <a:pt x="632951" y="753190"/>
                      </a:lnTo>
                      <a:lnTo>
                        <a:pt x="632174" y="756930"/>
                      </a:lnTo>
                      <a:lnTo>
                        <a:pt x="627936" y="760549"/>
                      </a:lnTo>
                      <a:lnTo>
                        <a:pt x="611093" y="766183"/>
                      </a:lnTo>
                      <a:lnTo>
                        <a:pt x="599570" y="768296"/>
                      </a:lnTo>
                      <a:lnTo>
                        <a:pt x="566298" y="784737"/>
                      </a:lnTo>
                      <a:lnTo>
                        <a:pt x="562509" y="784519"/>
                      </a:lnTo>
                      <a:lnTo>
                        <a:pt x="560943" y="786328"/>
                      </a:lnTo>
                      <a:lnTo>
                        <a:pt x="557604" y="785320"/>
                      </a:lnTo>
                      <a:lnTo>
                        <a:pt x="556450" y="786025"/>
                      </a:lnTo>
                      <a:lnTo>
                        <a:pt x="555066" y="787652"/>
                      </a:lnTo>
                      <a:lnTo>
                        <a:pt x="551787" y="789995"/>
                      </a:lnTo>
                      <a:lnTo>
                        <a:pt x="547294" y="789594"/>
                      </a:lnTo>
                      <a:lnTo>
                        <a:pt x="543141" y="788769"/>
                      </a:lnTo>
                      <a:lnTo>
                        <a:pt x="542716" y="790226"/>
                      </a:lnTo>
                      <a:lnTo>
                        <a:pt x="539450" y="790238"/>
                      </a:lnTo>
                      <a:lnTo>
                        <a:pt x="538126" y="789813"/>
                      </a:lnTo>
                      <a:lnTo>
                        <a:pt x="537374" y="789789"/>
                      </a:lnTo>
                      <a:lnTo>
                        <a:pt x="536924" y="790190"/>
                      </a:lnTo>
                      <a:lnTo>
                        <a:pt x="536924" y="791428"/>
                      </a:lnTo>
                      <a:lnTo>
                        <a:pt x="537131" y="791938"/>
                      </a:lnTo>
                      <a:lnTo>
                        <a:pt x="537944" y="795435"/>
                      </a:lnTo>
                      <a:lnTo>
                        <a:pt x="509445" y="797196"/>
                      </a:lnTo>
                      <a:lnTo>
                        <a:pt x="505219" y="796953"/>
                      </a:lnTo>
                      <a:lnTo>
                        <a:pt x="501030" y="795617"/>
                      </a:lnTo>
                      <a:lnTo>
                        <a:pt x="496986" y="792509"/>
                      </a:lnTo>
                      <a:lnTo>
                        <a:pt x="496683" y="792363"/>
                      </a:lnTo>
                      <a:lnTo>
                        <a:pt x="495602" y="792642"/>
                      </a:lnTo>
                      <a:lnTo>
                        <a:pt x="493890" y="793444"/>
                      </a:lnTo>
                      <a:lnTo>
                        <a:pt x="489931" y="793978"/>
                      </a:lnTo>
                      <a:lnTo>
                        <a:pt x="487357" y="792642"/>
                      </a:lnTo>
                      <a:lnTo>
                        <a:pt x="480909" y="787846"/>
                      </a:lnTo>
                      <a:lnTo>
                        <a:pt x="452130" y="776189"/>
                      </a:lnTo>
                      <a:lnTo>
                        <a:pt x="440813" y="768855"/>
                      </a:lnTo>
                      <a:lnTo>
                        <a:pt x="437814" y="768332"/>
                      </a:lnTo>
                      <a:lnTo>
                        <a:pt x="434693" y="766547"/>
                      </a:lnTo>
                      <a:lnTo>
                        <a:pt x="427711" y="759298"/>
                      </a:lnTo>
                      <a:lnTo>
                        <a:pt x="424663" y="757100"/>
                      </a:lnTo>
                      <a:lnTo>
                        <a:pt x="413746" y="752850"/>
                      </a:lnTo>
                      <a:lnTo>
                        <a:pt x="405951" y="746111"/>
                      </a:lnTo>
                      <a:lnTo>
                        <a:pt x="399539" y="742164"/>
                      </a:lnTo>
                      <a:lnTo>
                        <a:pt x="378180" y="722602"/>
                      </a:lnTo>
                      <a:lnTo>
                        <a:pt x="360633" y="708893"/>
                      </a:lnTo>
                      <a:lnTo>
                        <a:pt x="343924" y="687800"/>
                      </a:lnTo>
                      <a:lnTo>
                        <a:pt x="342662" y="685542"/>
                      </a:lnTo>
                      <a:lnTo>
                        <a:pt x="341423" y="683987"/>
                      </a:lnTo>
                      <a:lnTo>
                        <a:pt x="333044" y="676179"/>
                      </a:lnTo>
                      <a:lnTo>
                        <a:pt x="320282" y="661329"/>
                      </a:lnTo>
                      <a:lnTo>
                        <a:pt x="314429" y="652367"/>
                      </a:lnTo>
                      <a:lnTo>
                        <a:pt x="313288" y="647012"/>
                      </a:lnTo>
                      <a:lnTo>
                        <a:pt x="311539" y="646697"/>
                      </a:lnTo>
                      <a:lnTo>
                        <a:pt x="307374" y="644608"/>
                      </a:lnTo>
                      <a:lnTo>
                        <a:pt x="304035" y="641851"/>
                      </a:lnTo>
                      <a:lnTo>
                        <a:pt x="280040" y="616995"/>
                      </a:lnTo>
                      <a:lnTo>
                        <a:pt x="269173" y="610802"/>
                      </a:lnTo>
                      <a:lnTo>
                        <a:pt x="265651" y="607341"/>
                      </a:lnTo>
                      <a:lnTo>
                        <a:pt x="259252" y="599351"/>
                      </a:lnTo>
                      <a:lnTo>
                        <a:pt x="255925" y="596777"/>
                      </a:lnTo>
                      <a:lnTo>
                        <a:pt x="251869" y="590450"/>
                      </a:lnTo>
                      <a:lnTo>
                        <a:pt x="246623" y="588155"/>
                      </a:lnTo>
                      <a:lnTo>
                        <a:pt x="242397" y="584780"/>
                      </a:lnTo>
                      <a:lnTo>
                        <a:pt x="236435" y="577713"/>
                      </a:lnTo>
                      <a:lnTo>
                        <a:pt x="234504" y="572807"/>
                      </a:lnTo>
                      <a:lnTo>
                        <a:pt x="234772" y="570354"/>
                      </a:lnTo>
                      <a:lnTo>
                        <a:pt x="234614" y="570499"/>
                      </a:lnTo>
                      <a:lnTo>
                        <a:pt x="230473" y="571556"/>
                      </a:lnTo>
                      <a:lnTo>
                        <a:pt x="225834" y="569200"/>
                      </a:lnTo>
                      <a:lnTo>
                        <a:pt x="207778" y="552285"/>
                      </a:lnTo>
                      <a:lnTo>
                        <a:pt x="202192" y="548315"/>
                      </a:lnTo>
                      <a:lnTo>
                        <a:pt x="199302" y="545655"/>
                      </a:lnTo>
                      <a:lnTo>
                        <a:pt x="189976" y="533160"/>
                      </a:lnTo>
                      <a:lnTo>
                        <a:pt x="184755" y="529711"/>
                      </a:lnTo>
                      <a:lnTo>
                        <a:pt x="180954" y="526251"/>
                      </a:lnTo>
                      <a:lnTo>
                        <a:pt x="178623" y="521090"/>
                      </a:lnTo>
                      <a:lnTo>
                        <a:pt x="170718" y="510125"/>
                      </a:lnTo>
                      <a:lnTo>
                        <a:pt x="164610" y="505256"/>
                      </a:lnTo>
                      <a:lnTo>
                        <a:pt x="160858" y="501455"/>
                      </a:lnTo>
                      <a:lnTo>
                        <a:pt x="157688" y="494230"/>
                      </a:lnTo>
                      <a:lnTo>
                        <a:pt x="152843" y="486762"/>
                      </a:lnTo>
                      <a:lnTo>
                        <a:pt x="150997" y="482548"/>
                      </a:lnTo>
                      <a:lnTo>
                        <a:pt x="150621" y="476210"/>
                      </a:lnTo>
                      <a:lnTo>
                        <a:pt x="152248" y="472336"/>
                      </a:lnTo>
                      <a:lnTo>
                        <a:pt x="154167" y="469082"/>
                      </a:lnTo>
                      <a:lnTo>
                        <a:pt x="154628" y="466532"/>
                      </a:lnTo>
                      <a:lnTo>
                        <a:pt x="155077" y="462828"/>
                      </a:lnTo>
                      <a:lnTo>
                        <a:pt x="156522" y="458712"/>
                      </a:lnTo>
                      <a:lnTo>
                        <a:pt x="158392" y="455360"/>
                      </a:lnTo>
                      <a:lnTo>
                        <a:pt x="160360" y="452664"/>
                      </a:lnTo>
                      <a:lnTo>
                        <a:pt x="163650" y="449847"/>
                      </a:lnTo>
                      <a:lnTo>
                        <a:pt x="171640" y="445427"/>
                      </a:lnTo>
                      <a:lnTo>
                        <a:pt x="177238" y="441347"/>
                      </a:lnTo>
                      <a:lnTo>
                        <a:pt x="181452" y="442100"/>
                      </a:lnTo>
                      <a:lnTo>
                        <a:pt x="183358" y="445949"/>
                      </a:lnTo>
                      <a:lnTo>
                        <a:pt x="182411" y="450224"/>
                      </a:lnTo>
                      <a:lnTo>
                        <a:pt x="180128" y="453429"/>
                      </a:lnTo>
                      <a:lnTo>
                        <a:pt x="176886" y="454814"/>
                      </a:lnTo>
                      <a:lnTo>
                        <a:pt x="178501" y="457692"/>
                      </a:lnTo>
                      <a:lnTo>
                        <a:pt x="178829" y="457935"/>
                      </a:lnTo>
                      <a:lnTo>
                        <a:pt x="180687" y="458238"/>
                      </a:lnTo>
                      <a:lnTo>
                        <a:pt x="181743" y="457983"/>
                      </a:lnTo>
                      <a:lnTo>
                        <a:pt x="183978" y="456526"/>
                      </a:lnTo>
                      <a:lnTo>
                        <a:pt x="186710" y="455445"/>
                      </a:lnTo>
                      <a:lnTo>
                        <a:pt x="189151" y="455591"/>
                      </a:lnTo>
                      <a:lnTo>
                        <a:pt x="191652" y="456526"/>
                      </a:lnTo>
                      <a:lnTo>
                        <a:pt x="192089" y="456356"/>
                      </a:lnTo>
                      <a:lnTo>
                        <a:pt x="193765" y="454437"/>
                      </a:lnTo>
                      <a:lnTo>
                        <a:pt x="196873" y="452069"/>
                      </a:lnTo>
                      <a:lnTo>
                        <a:pt x="200796" y="452628"/>
                      </a:lnTo>
                      <a:lnTo>
                        <a:pt x="204876" y="456149"/>
                      </a:lnTo>
                      <a:lnTo>
                        <a:pt x="205981" y="461626"/>
                      </a:lnTo>
                      <a:lnTo>
                        <a:pt x="201548" y="468025"/>
                      </a:lnTo>
                      <a:lnTo>
                        <a:pt x="202180" y="471316"/>
                      </a:lnTo>
                      <a:lnTo>
                        <a:pt x="199253" y="475590"/>
                      </a:lnTo>
                      <a:lnTo>
                        <a:pt x="199581" y="477303"/>
                      </a:lnTo>
                      <a:lnTo>
                        <a:pt x="202071" y="479768"/>
                      </a:lnTo>
                      <a:lnTo>
                        <a:pt x="205398" y="481395"/>
                      </a:lnTo>
                      <a:lnTo>
                        <a:pt x="206673" y="482087"/>
                      </a:lnTo>
                      <a:lnTo>
                        <a:pt x="217444" y="480448"/>
                      </a:lnTo>
                      <a:lnTo>
                        <a:pt x="224960" y="476890"/>
                      </a:lnTo>
                      <a:lnTo>
                        <a:pt x="227061" y="473052"/>
                      </a:lnTo>
                      <a:lnTo>
                        <a:pt x="230704" y="471802"/>
                      </a:lnTo>
                      <a:lnTo>
                        <a:pt x="245822" y="471413"/>
                      </a:lnTo>
                      <a:lnTo>
                        <a:pt x="251444" y="470029"/>
                      </a:lnTo>
                      <a:lnTo>
                        <a:pt x="252962" y="469325"/>
                      </a:lnTo>
                      <a:lnTo>
                        <a:pt x="253120" y="468888"/>
                      </a:lnTo>
                      <a:lnTo>
                        <a:pt x="255548" y="465487"/>
                      </a:lnTo>
                      <a:lnTo>
                        <a:pt x="256070" y="464261"/>
                      </a:lnTo>
                      <a:lnTo>
                        <a:pt x="257455" y="463338"/>
                      </a:lnTo>
                      <a:lnTo>
                        <a:pt x="258900" y="462828"/>
                      </a:lnTo>
                      <a:lnTo>
                        <a:pt x="259373" y="462767"/>
                      </a:lnTo>
                      <a:lnTo>
                        <a:pt x="259616" y="462100"/>
                      </a:lnTo>
                      <a:lnTo>
                        <a:pt x="259288" y="460606"/>
                      </a:lnTo>
                      <a:lnTo>
                        <a:pt x="258402" y="458821"/>
                      </a:lnTo>
                      <a:lnTo>
                        <a:pt x="257564" y="455117"/>
                      </a:lnTo>
                      <a:lnTo>
                        <a:pt x="257989" y="450831"/>
                      </a:lnTo>
                      <a:lnTo>
                        <a:pt x="258305" y="448609"/>
                      </a:lnTo>
                      <a:lnTo>
                        <a:pt x="261255" y="448135"/>
                      </a:lnTo>
                      <a:lnTo>
                        <a:pt x="263113" y="448196"/>
                      </a:lnTo>
                      <a:lnTo>
                        <a:pt x="263392" y="448293"/>
                      </a:lnTo>
                      <a:lnTo>
                        <a:pt x="264862" y="447407"/>
                      </a:lnTo>
                      <a:lnTo>
                        <a:pt x="269270" y="447407"/>
                      </a:lnTo>
                      <a:lnTo>
                        <a:pt x="272123" y="457631"/>
                      </a:lnTo>
                      <a:lnTo>
                        <a:pt x="272633" y="462950"/>
                      </a:lnTo>
                      <a:lnTo>
                        <a:pt x="272233" y="463787"/>
                      </a:lnTo>
                      <a:lnTo>
                        <a:pt x="277600" y="464880"/>
                      </a:lnTo>
                      <a:lnTo>
                        <a:pt x="277843" y="465002"/>
                      </a:lnTo>
                      <a:lnTo>
                        <a:pt x="279834" y="462136"/>
                      </a:lnTo>
                      <a:lnTo>
                        <a:pt x="281655" y="459635"/>
                      </a:lnTo>
                      <a:lnTo>
                        <a:pt x="283865" y="461310"/>
                      </a:lnTo>
                      <a:lnTo>
                        <a:pt x="285286" y="459343"/>
                      </a:lnTo>
                      <a:lnTo>
                        <a:pt x="286245" y="458347"/>
                      </a:lnTo>
                      <a:lnTo>
                        <a:pt x="288018" y="456307"/>
                      </a:lnTo>
                      <a:lnTo>
                        <a:pt x="289548" y="455725"/>
                      </a:lnTo>
                      <a:lnTo>
                        <a:pt x="291455" y="455591"/>
                      </a:lnTo>
                      <a:lnTo>
                        <a:pt x="293070" y="456040"/>
                      </a:lnTo>
                      <a:lnTo>
                        <a:pt x="293944" y="456417"/>
                      </a:lnTo>
                      <a:lnTo>
                        <a:pt x="294563" y="455409"/>
                      </a:lnTo>
                      <a:lnTo>
                        <a:pt x="297393" y="447018"/>
                      </a:lnTo>
                      <a:lnTo>
                        <a:pt x="300744" y="440084"/>
                      </a:lnTo>
                      <a:lnTo>
                        <a:pt x="305383" y="444043"/>
                      </a:lnTo>
                      <a:lnTo>
                        <a:pt x="313907" y="453587"/>
                      </a:lnTo>
                      <a:lnTo>
                        <a:pt x="314174" y="453199"/>
                      </a:lnTo>
                      <a:lnTo>
                        <a:pt x="314563" y="451693"/>
                      </a:lnTo>
                      <a:lnTo>
                        <a:pt x="315631" y="449228"/>
                      </a:lnTo>
                      <a:lnTo>
                        <a:pt x="318764" y="445512"/>
                      </a:lnTo>
                      <a:lnTo>
                        <a:pt x="321800" y="444553"/>
                      </a:lnTo>
                      <a:lnTo>
                        <a:pt x="324180" y="444857"/>
                      </a:lnTo>
                      <a:lnTo>
                        <a:pt x="326099" y="444747"/>
                      </a:lnTo>
                      <a:lnTo>
                        <a:pt x="329001" y="443424"/>
                      </a:lnTo>
                      <a:lnTo>
                        <a:pt x="332364" y="441165"/>
                      </a:lnTo>
                      <a:lnTo>
                        <a:pt x="342601" y="431815"/>
                      </a:lnTo>
                      <a:lnTo>
                        <a:pt x="347774" y="428694"/>
                      </a:lnTo>
                      <a:lnTo>
                        <a:pt x="348539" y="429969"/>
                      </a:lnTo>
                      <a:lnTo>
                        <a:pt x="350858" y="429812"/>
                      </a:lnTo>
                      <a:lnTo>
                        <a:pt x="351489" y="429581"/>
                      </a:lnTo>
                      <a:lnTo>
                        <a:pt x="353906" y="427662"/>
                      </a:lnTo>
                      <a:lnTo>
                        <a:pt x="354574" y="427201"/>
                      </a:lnTo>
                      <a:lnTo>
                        <a:pt x="362564" y="426460"/>
                      </a:lnTo>
                      <a:lnTo>
                        <a:pt x="378459" y="428452"/>
                      </a:lnTo>
                      <a:lnTo>
                        <a:pt x="383195" y="426375"/>
                      </a:lnTo>
                      <a:lnTo>
                        <a:pt x="384749" y="424007"/>
                      </a:lnTo>
                      <a:lnTo>
                        <a:pt x="387870" y="417073"/>
                      </a:lnTo>
                      <a:lnTo>
                        <a:pt x="393407" y="409800"/>
                      </a:lnTo>
                      <a:lnTo>
                        <a:pt x="399223" y="398944"/>
                      </a:lnTo>
                      <a:lnTo>
                        <a:pt x="409071" y="384397"/>
                      </a:lnTo>
                      <a:lnTo>
                        <a:pt x="409326" y="383765"/>
                      </a:lnTo>
                      <a:lnTo>
                        <a:pt x="409035" y="379722"/>
                      </a:lnTo>
                      <a:lnTo>
                        <a:pt x="409290" y="376164"/>
                      </a:lnTo>
                      <a:lnTo>
                        <a:pt x="410650" y="374476"/>
                      </a:lnTo>
                      <a:lnTo>
                        <a:pt x="413928" y="371137"/>
                      </a:lnTo>
                      <a:lnTo>
                        <a:pt x="419781" y="359540"/>
                      </a:lnTo>
                      <a:lnTo>
                        <a:pt x="422526" y="357367"/>
                      </a:lnTo>
                      <a:lnTo>
                        <a:pt x="419951" y="357440"/>
                      </a:lnTo>
                      <a:lnTo>
                        <a:pt x="419660" y="357986"/>
                      </a:lnTo>
                      <a:lnTo>
                        <a:pt x="419247" y="358277"/>
                      </a:lnTo>
                      <a:lnTo>
                        <a:pt x="416393" y="359164"/>
                      </a:lnTo>
                      <a:lnTo>
                        <a:pt x="413916" y="357707"/>
                      </a:lnTo>
                      <a:lnTo>
                        <a:pt x="412338" y="356262"/>
                      </a:lnTo>
                      <a:lnTo>
                        <a:pt x="412168" y="356225"/>
                      </a:lnTo>
                      <a:lnTo>
                        <a:pt x="411014" y="356954"/>
                      </a:lnTo>
                      <a:lnTo>
                        <a:pt x="407177" y="358217"/>
                      </a:lnTo>
                      <a:lnTo>
                        <a:pt x="405368" y="354708"/>
                      </a:lnTo>
                      <a:lnTo>
                        <a:pt x="404955" y="354282"/>
                      </a:lnTo>
                      <a:lnTo>
                        <a:pt x="400498" y="353141"/>
                      </a:lnTo>
                      <a:lnTo>
                        <a:pt x="397863" y="349692"/>
                      </a:lnTo>
                      <a:lnTo>
                        <a:pt x="397608" y="349243"/>
                      </a:lnTo>
                      <a:lnTo>
                        <a:pt x="395508" y="352765"/>
                      </a:lnTo>
                      <a:lnTo>
                        <a:pt x="390638" y="354780"/>
                      </a:lnTo>
                      <a:lnTo>
                        <a:pt x="385308" y="354586"/>
                      </a:lnTo>
                      <a:lnTo>
                        <a:pt x="385053" y="354768"/>
                      </a:lnTo>
                      <a:lnTo>
                        <a:pt x="383389" y="355351"/>
                      </a:lnTo>
                      <a:lnTo>
                        <a:pt x="382211" y="355400"/>
                      </a:lnTo>
                      <a:lnTo>
                        <a:pt x="380438" y="354683"/>
                      </a:lnTo>
                      <a:lnTo>
                        <a:pt x="379795" y="354149"/>
                      </a:lnTo>
                      <a:lnTo>
                        <a:pt x="380839" y="358083"/>
                      </a:lnTo>
                      <a:lnTo>
                        <a:pt x="375253" y="359965"/>
                      </a:lnTo>
                      <a:lnTo>
                        <a:pt x="363766" y="361459"/>
                      </a:lnTo>
                      <a:lnTo>
                        <a:pt x="352327" y="366085"/>
                      </a:lnTo>
                      <a:lnTo>
                        <a:pt x="341083" y="367785"/>
                      </a:lnTo>
                      <a:lnTo>
                        <a:pt x="331065" y="371270"/>
                      </a:lnTo>
                      <a:lnTo>
                        <a:pt x="324581" y="372242"/>
                      </a:lnTo>
                      <a:lnTo>
                        <a:pt x="321290" y="373177"/>
                      </a:lnTo>
                      <a:lnTo>
                        <a:pt x="316955" y="375533"/>
                      </a:lnTo>
                      <a:lnTo>
                        <a:pt x="312292" y="378836"/>
                      </a:lnTo>
                      <a:lnTo>
                        <a:pt x="308904" y="382284"/>
                      </a:lnTo>
                      <a:lnTo>
                        <a:pt x="303185" y="392824"/>
                      </a:lnTo>
                      <a:lnTo>
                        <a:pt x="299190" y="395459"/>
                      </a:lnTo>
                      <a:lnTo>
                        <a:pt x="293968" y="394718"/>
                      </a:lnTo>
                      <a:lnTo>
                        <a:pt x="286003" y="392508"/>
                      </a:lnTo>
                      <a:lnTo>
                        <a:pt x="274042" y="392484"/>
                      </a:lnTo>
                      <a:lnTo>
                        <a:pt x="271261" y="391743"/>
                      </a:lnTo>
                      <a:lnTo>
                        <a:pt x="267339" y="388817"/>
                      </a:lnTo>
                      <a:lnTo>
                        <a:pt x="265542" y="388331"/>
                      </a:lnTo>
                      <a:lnTo>
                        <a:pt x="260114" y="388659"/>
                      </a:lnTo>
                      <a:lnTo>
                        <a:pt x="257649" y="388404"/>
                      </a:lnTo>
                      <a:lnTo>
                        <a:pt x="255111" y="387676"/>
                      </a:lnTo>
                      <a:lnTo>
                        <a:pt x="253241" y="386692"/>
                      </a:lnTo>
                      <a:lnTo>
                        <a:pt x="251978" y="385793"/>
                      </a:lnTo>
                      <a:lnTo>
                        <a:pt x="243259" y="383887"/>
                      </a:lnTo>
                      <a:lnTo>
                        <a:pt x="238924" y="381750"/>
                      </a:lnTo>
                      <a:lnTo>
                        <a:pt x="233582" y="381021"/>
                      </a:lnTo>
                      <a:lnTo>
                        <a:pt x="226429" y="378022"/>
                      </a:lnTo>
                      <a:lnTo>
                        <a:pt x="208689" y="376504"/>
                      </a:lnTo>
                      <a:lnTo>
                        <a:pt x="201233" y="374355"/>
                      </a:lnTo>
                      <a:lnTo>
                        <a:pt x="188118" y="366923"/>
                      </a:lnTo>
                      <a:lnTo>
                        <a:pt x="170001" y="354550"/>
                      </a:lnTo>
                      <a:lnTo>
                        <a:pt x="137968" y="341120"/>
                      </a:lnTo>
                      <a:lnTo>
                        <a:pt x="104624" y="318959"/>
                      </a:lnTo>
                      <a:lnTo>
                        <a:pt x="98649" y="314101"/>
                      </a:lnTo>
                      <a:lnTo>
                        <a:pt x="97289" y="313373"/>
                      </a:lnTo>
                      <a:lnTo>
                        <a:pt x="95456" y="311224"/>
                      </a:lnTo>
                      <a:lnTo>
                        <a:pt x="95638" y="308601"/>
                      </a:lnTo>
                      <a:lnTo>
                        <a:pt x="91509" y="306889"/>
                      </a:lnTo>
                      <a:lnTo>
                        <a:pt x="88510" y="303306"/>
                      </a:lnTo>
                      <a:lnTo>
                        <a:pt x="86361" y="299032"/>
                      </a:lnTo>
                      <a:lnTo>
                        <a:pt x="85158" y="294709"/>
                      </a:lnTo>
                      <a:lnTo>
                        <a:pt x="78201" y="293604"/>
                      </a:lnTo>
                      <a:lnTo>
                        <a:pt x="74570" y="287290"/>
                      </a:lnTo>
                      <a:lnTo>
                        <a:pt x="79658" y="277223"/>
                      </a:lnTo>
                      <a:lnTo>
                        <a:pt x="82171" y="276373"/>
                      </a:lnTo>
                      <a:lnTo>
                        <a:pt x="81552" y="276106"/>
                      </a:lnTo>
                      <a:lnTo>
                        <a:pt x="80180" y="273823"/>
                      </a:lnTo>
                      <a:lnTo>
                        <a:pt x="78941" y="274783"/>
                      </a:lnTo>
                      <a:lnTo>
                        <a:pt x="76501" y="274236"/>
                      </a:lnTo>
                      <a:lnTo>
                        <a:pt x="74376" y="273034"/>
                      </a:lnTo>
                      <a:lnTo>
                        <a:pt x="72420" y="271638"/>
                      </a:lnTo>
                      <a:lnTo>
                        <a:pt x="70283" y="268796"/>
                      </a:lnTo>
                      <a:lnTo>
                        <a:pt x="69785" y="265979"/>
                      </a:lnTo>
                      <a:lnTo>
                        <a:pt x="70028" y="263939"/>
                      </a:lnTo>
                      <a:lnTo>
                        <a:pt x="65669" y="265323"/>
                      </a:lnTo>
                      <a:lnTo>
                        <a:pt x="60873" y="263648"/>
                      </a:lnTo>
                      <a:lnTo>
                        <a:pt x="59488" y="259373"/>
                      </a:lnTo>
                      <a:lnTo>
                        <a:pt x="59258" y="259446"/>
                      </a:lnTo>
                      <a:lnTo>
                        <a:pt x="55603" y="258499"/>
                      </a:lnTo>
                      <a:lnTo>
                        <a:pt x="52494" y="254443"/>
                      </a:lnTo>
                      <a:lnTo>
                        <a:pt x="54947" y="248809"/>
                      </a:lnTo>
                      <a:lnTo>
                        <a:pt x="55797" y="247473"/>
                      </a:lnTo>
                      <a:lnTo>
                        <a:pt x="51595" y="247194"/>
                      </a:lnTo>
                      <a:lnTo>
                        <a:pt x="49652" y="241887"/>
                      </a:lnTo>
                      <a:lnTo>
                        <a:pt x="50587" y="233266"/>
                      </a:lnTo>
                      <a:lnTo>
                        <a:pt x="49495" y="224256"/>
                      </a:lnTo>
                      <a:lnTo>
                        <a:pt x="50502" y="217298"/>
                      </a:lnTo>
                      <a:lnTo>
                        <a:pt x="56404" y="213934"/>
                      </a:lnTo>
                      <a:lnTo>
                        <a:pt x="61383" y="215464"/>
                      </a:lnTo>
                      <a:lnTo>
                        <a:pt x="60642" y="211676"/>
                      </a:lnTo>
                      <a:lnTo>
                        <a:pt x="62172" y="209879"/>
                      </a:lnTo>
                      <a:lnTo>
                        <a:pt x="63726" y="208810"/>
                      </a:lnTo>
                      <a:lnTo>
                        <a:pt x="67405" y="207717"/>
                      </a:lnTo>
                      <a:lnTo>
                        <a:pt x="70247" y="205823"/>
                      </a:lnTo>
                      <a:lnTo>
                        <a:pt x="74570" y="205398"/>
                      </a:lnTo>
                      <a:lnTo>
                        <a:pt x="74873" y="205264"/>
                      </a:lnTo>
                      <a:lnTo>
                        <a:pt x="75468" y="204669"/>
                      </a:lnTo>
                      <a:lnTo>
                        <a:pt x="78091" y="200662"/>
                      </a:lnTo>
                      <a:lnTo>
                        <a:pt x="83798" y="194566"/>
                      </a:lnTo>
                      <a:lnTo>
                        <a:pt x="87599" y="191591"/>
                      </a:lnTo>
                      <a:lnTo>
                        <a:pt x="93913" y="189090"/>
                      </a:lnTo>
                      <a:lnTo>
                        <a:pt x="96512" y="182824"/>
                      </a:lnTo>
                      <a:lnTo>
                        <a:pt x="99256" y="179643"/>
                      </a:lnTo>
                      <a:lnTo>
                        <a:pt x="96731" y="180080"/>
                      </a:lnTo>
                      <a:lnTo>
                        <a:pt x="95929" y="180796"/>
                      </a:lnTo>
                      <a:lnTo>
                        <a:pt x="93671" y="185981"/>
                      </a:lnTo>
                      <a:lnTo>
                        <a:pt x="91291" y="189248"/>
                      </a:lnTo>
                      <a:lnTo>
                        <a:pt x="88376" y="191251"/>
                      </a:lnTo>
                      <a:lnTo>
                        <a:pt x="81297" y="193024"/>
                      </a:lnTo>
                      <a:lnTo>
                        <a:pt x="78856" y="194251"/>
                      </a:lnTo>
                      <a:lnTo>
                        <a:pt x="76780" y="195829"/>
                      </a:lnTo>
                      <a:lnTo>
                        <a:pt x="73708" y="197566"/>
                      </a:lnTo>
                      <a:lnTo>
                        <a:pt x="65863" y="199217"/>
                      </a:lnTo>
                      <a:lnTo>
                        <a:pt x="62573" y="201597"/>
                      </a:lnTo>
                      <a:lnTo>
                        <a:pt x="58007" y="203613"/>
                      </a:lnTo>
                      <a:lnTo>
                        <a:pt x="55639" y="205859"/>
                      </a:lnTo>
                      <a:lnTo>
                        <a:pt x="45269" y="218099"/>
                      </a:lnTo>
                      <a:lnTo>
                        <a:pt x="45342" y="218148"/>
                      </a:lnTo>
                      <a:lnTo>
                        <a:pt x="45949" y="221888"/>
                      </a:lnTo>
                      <a:lnTo>
                        <a:pt x="44747" y="224207"/>
                      </a:lnTo>
                      <a:lnTo>
                        <a:pt x="42913" y="226284"/>
                      </a:lnTo>
                      <a:lnTo>
                        <a:pt x="39003" y="229028"/>
                      </a:lnTo>
                      <a:lnTo>
                        <a:pt x="36405" y="229247"/>
                      </a:lnTo>
                      <a:lnTo>
                        <a:pt x="33442" y="228530"/>
                      </a:lnTo>
                      <a:lnTo>
                        <a:pt x="31426" y="228397"/>
                      </a:lnTo>
                      <a:lnTo>
                        <a:pt x="19975" y="228882"/>
                      </a:lnTo>
                      <a:lnTo>
                        <a:pt x="10212" y="227656"/>
                      </a:lnTo>
                      <a:lnTo>
                        <a:pt x="4554" y="226041"/>
                      </a:lnTo>
                      <a:lnTo>
                        <a:pt x="0" y="221900"/>
                      </a:lnTo>
                      <a:lnTo>
                        <a:pt x="2331" y="214724"/>
                      </a:lnTo>
                      <a:lnTo>
                        <a:pt x="4408" y="214214"/>
                      </a:lnTo>
                      <a:lnTo>
                        <a:pt x="5646" y="214044"/>
                      </a:lnTo>
                      <a:lnTo>
                        <a:pt x="7492" y="214141"/>
                      </a:lnTo>
                      <a:lnTo>
                        <a:pt x="7820" y="212829"/>
                      </a:lnTo>
                      <a:lnTo>
                        <a:pt x="8913" y="210935"/>
                      </a:lnTo>
                      <a:lnTo>
                        <a:pt x="12240" y="209126"/>
                      </a:lnTo>
                      <a:lnTo>
                        <a:pt x="15215" y="208057"/>
                      </a:lnTo>
                      <a:lnTo>
                        <a:pt x="13637" y="206637"/>
                      </a:lnTo>
                      <a:lnTo>
                        <a:pt x="10601" y="201706"/>
                      </a:lnTo>
                      <a:lnTo>
                        <a:pt x="10261" y="197274"/>
                      </a:lnTo>
                      <a:lnTo>
                        <a:pt x="10346" y="196339"/>
                      </a:lnTo>
                      <a:lnTo>
                        <a:pt x="6666" y="198974"/>
                      </a:lnTo>
                      <a:lnTo>
                        <a:pt x="4129" y="192599"/>
                      </a:lnTo>
                      <a:lnTo>
                        <a:pt x="4663" y="188738"/>
                      </a:lnTo>
                      <a:lnTo>
                        <a:pt x="6642" y="183140"/>
                      </a:lnTo>
                      <a:lnTo>
                        <a:pt x="7237" y="178003"/>
                      </a:lnTo>
                      <a:lnTo>
                        <a:pt x="7881" y="175830"/>
                      </a:lnTo>
                      <a:lnTo>
                        <a:pt x="7893" y="174640"/>
                      </a:lnTo>
                      <a:lnTo>
                        <a:pt x="8281" y="173875"/>
                      </a:lnTo>
                      <a:lnTo>
                        <a:pt x="13236" y="166358"/>
                      </a:lnTo>
                      <a:lnTo>
                        <a:pt x="15276" y="165071"/>
                      </a:lnTo>
                      <a:lnTo>
                        <a:pt x="19016" y="163383"/>
                      </a:lnTo>
                      <a:lnTo>
                        <a:pt x="20546" y="162412"/>
                      </a:lnTo>
                      <a:lnTo>
                        <a:pt x="20813" y="162388"/>
                      </a:lnTo>
                      <a:lnTo>
                        <a:pt x="21019" y="161258"/>
                      </a:lnTo>
                      <a:lnTo>
                        <a:pt x="20874" y="160190"/>
                      </a:lnTo>
                      <a:lnTo>
                        <a:pt x="21408" y="157470"/>
                      </a:lnTo>
                      <a:lnTo>
                        <a:pt x="21663" y="156486"/>
                      </a:lnTo>
                      <a:lnTo>
                        <a:pt x="24723" y="153997"/>
                      </a:lnTo>
                      <a:lnTo>
                        <a:pt x="29143" y="153220"/>
                      </a:lnTo>
                      <a:lnTo>
                        <a:pt x="30673" y="155065"/>
                      </a:lnTo>
                      <a:lnTo>
                        <a:pt x="31535" y="156498"/>
                      </a:lnTo>
                      <a:lnTo>
                        <a:pt x="31984" y="158053"/>
                      </a:lnTo>
                      <a:lnTo>
                        <a:pt x="32167" y="158308"/>
                      </a:lnTo>
                      <a:lnTo>
                        <a:pt x="32895" y="158623"/>
                      </a:lnTo>
                      <a:lnTo>
                        <a:pt x="33697" y="158295"/>
                      </a:lnTo>
                      <a:lnTo>
                        <a:pt x="35482" y="156413"/>
                      </a:lnTo>
                      <a:lnTo>
                        <a:pt x="36174" y="155260"/>
                      </a:lnTo>
                      <a:lnTo>
                        <a:pt x="36125" y="154956"/>
                      </a:lnTo>
                      <a:lnTo>
                        <a:pt x="35567" y="153475"/>
                      </a:lnTo>
                      <a:lnTo>
                        <a:pt x="35518" y="150597"/>
                      </a:lnTo>
                      <a:lnTo>
                        <a:pt x="35676" y="148193"/>
                      </a:lnTo>
                      <a:lnTo>
                        <a:pt x="41444" y="147233"/>
                      </a:lnTo>
                      <a:lnTo>
                        <a:pt x="44480" y="149164"/>
                      </a:lnTo>
                      <a:lnTo>
                        <a:pt x="45160" y="150900"/>
                      </a:lnTo>
                      <a:lnTo>
                        <a:pt x="47673" y="149127"/>
                      </a:lnTo>
                      <a:lnTo>
                        <a:pt x="57048" y="147682"/>
                      </a:lnTo>
                      <a:lnTo>
                        <a:pt x="109408" y="148010"/>
                      </a:lnTo>
                      <a:lnTo>
                        <a:pt x="109663" y="85984"/>
                      </a:lnTo>
                      <a:lnTo>
                        <a:pt x="114848" y="75213"/>
                      </a:lnTo>
                      <a:lnTo>
                        <a:pt x="128169" y="75796"/>
                      </a:lnTo>
                      <a:lnTo>
                        <a:pt x="132127" y="81831"/>
                      </a:lnTo>
                      <a:lnTo>
                        <a:pt x="133172" y="92821"/>
                      </a:lnTo>
                      <a:lnTo>
                        <a:pt x="133839" y="93331"/>
                      </a:lnTo>
                      <a:lnTo>
                        <a:pt x="139000" y="83604"/>
                      </a:lnTo>
                      <a:lnTo>
                        <a:pt x="139365" y="82451"/>
                      </a:lnTo>
                      <a:lnTo>
                        <a:pt x="139753" y="80459"/>
                      </a:lnTo>
                      <a:lnTo>
                        <a:pt x="142024" y="77751"/>
                      </a:lnTo>
                      <a:lnTo>
                        <a:pt x="146650" y="77351"/>
                      </a:lnTo>
                      <a:lnTo>
                        <a:pt x="148982" y="78298"/>
                      </a:lnTo>
                      <a:lnTo>
                        <a:pt x="151410" y="80071"/>
                      </a:lnTo>
                      <a:lnTo>
                        <a:pt x="153195" y="82098"/>
                      </a:lnTo>
                      <a:lnTo>
                        <a:pt x="157142" y="88947"/>
                      </a:lnTo>
                      <a:lnTo>
                        <a:pt x="158405" y="90137"/>
                      </a:lnTo>
                      <a:lnTo>
                        <a:pt x="160165" y="90246"/>
                      </a:lnTo>
                      <a:lnTo>
                        <a:pt x="164561" y="88656"/>
                      </a:lnTo>
                      <a:lnTo>
                        <a:pt x="171786" y="84746"/>
                      </a:lnTo>
                      <a:lnTo>
                        <a:pt x="176995" y="83629"/>
                      </a:lnTo>
                      <a:lnTo>
                        <a:pt x="182217" y="85158"/>
                      </a:lnTo>
                      <a:lnTo>
                        <a:pt x="193231" y="90356"/>
                      </a:lnTo>
                      <a:lnTo>
                        <a:pt x="195975" y="90793"/>
                      </a:lnTo>
                      <a:lnTo>
                        <a:pt x="202338" y="89676"/>
                      </a:lnTo>
                      <a:lnTo>
                        <a:pt x="215780" y="84831"/>
                      </a:lnTo>
                      <a:lnTo>
                        <a:pt x="269828" y="86033"/>
                      </a:lnTo>
                      <a:lnTo>
                        <a:pt x="276446" y="88741"/>
                      </a:lnTo>
                      <a:lnTo>
                        <a:pt x="292074" y="104478"/>
                      </a:lnTo>
                      <a:lnTo>
                        <a:pt x="299493" y="107890"/>
                      </a:lnTo>
                      <a:lnTo>
                        <a:pt x="308674" y="108777"/>
                      </a:lnTo>
                      <a:lnTo>
                        <a:pt x="346414" y="108242"/>
                      </a:lnTo>
                      <a:lnTo>
                        <a:pt x="353299" y="106724"/>
                      </a:lnTo>
                      <a:lnTo>
                        <a:pt x="359516" y="101612"/>
                      </a:lnTo>
                      <a:lnTo>
                        <a:pt x="360864" y="98819"/>
                      </a:lnTo>
                      <a:lnTo>
                        <a:pt x="365187" y="86895"/>
                      </a:lnTo>
                      <a:lnTo>
                        <a:pt x="367810" y="82451"/>
                      </a:lnTo>
                      <a:lnTo>
                        <a:pt x="371319" y="80508"/>
                      </a:lnTo>
                      <a:lnTo>
                        <a:pt x="378508" y="79889"/>
                      </a:lnTo>
                      <a:lnTo>
                        <a:pt x="388623" y="76489"/>
                      </a:lnTo>
                      <a:lnTo>
                        <a:pt x="393237" y="76124"/>
                      </a:lnTo>
                      <a:lnTo>
                        <a:pt x="395896" y="75541"/>
                      </a:lnTo>
                      <a:lnTo>
                        <a:pt x="402211" y="71048"/>
                      </a:lnTo>
                      <a:lnTo>
                        <a:pt x="406400" y="69093"/>
                      </a:lnTo>
                      <a:lnTo>
                        <a:pt x="417705" y="68255"/>
                      </a:lnTo>
                      <a:lnTo>
                        <a:pt x="420158" y="67223"/>
                      </a:lnTo>
                      <a:lnTo>
                        <a:pt x="428026" y="61698"/>
                      </a:lnTo>
                      <a:lnTo>
                        <a:pt x="448633" y="56659"/>
                      </a:lnTo>
                      <a:lnTo>
                        <a:pt x="459173" y="56781"/>
                      </a:lnTo>
                      <a:lnTo>
                        <a:pt x="462962" y="64673"/>
                      </a:lnTo>
                      <a:lnTo>
                        <a:pt x="460679" y="68753"/>
                      </a:lnTo>
                      <a:lnTo>
                        <a:pt x="457109" y="71036"/>
                      </a:lnTo>
                      <a:lnTo>
                        <a:pt x="456999" y="72360"/>
                      </a:lnTo>
                      <a:lnTo>
                        <a:pt x="458760" y="78310"/>
                      </a:lnTo>
                      <a:lnTo>
                        <a:pt x="459768" y="86652"/>
                      </a:lnTo>
                      <a:lnTo>
                        <a:pt x="460861" y="88571"/>
                      </a:lnTo>
                      <a:lnTo>
                        <a:pt x="463387" y="90586"/>
                      </a:lnTo>
                      <a:lnTo>
                        <a:pt x="469543" y="93440"/>
                      </a:lnTo>
                      <a:lnTo>
                        <a:pt x="493550" y="95055"/>
                      </a:lnTo>
                      <a:lnTo>
                        <a:pt x="496452" y="94120"/>
                      </a:lnTo>
                      <a:lnTo>
                        <a:pt x="502863" y="90817"/>
                      </a:lnTo>
                      <a:lnTo>
                        <a:pt x="507077" y="89311"/>
                      </a:lnTo>
                      <a:lnTo>
                        <a:pt x="507951" y="89105"/>
                      </a:lnTo>
                      <a:lnTo>
                        <a:pt x="507162" y="88049"/>
                      </a:lnTo>
                      <a:lnTo>
                        <a:pt x="506178" y="82475"/>
                      </a:lnTo>
                      <a:lnTo>
                        <a:pt x="509967" y="77812"/>
                      </a:lnTo>
                      <a:lnTo>
                        <a:pt x="522098" y="69652"/>
                      </a:lnTo>
                      <a:lnTo>
                        <a:pt x="526360" y="68195"/>
                      </a:lnTo>
                      <a:lnTo>
                        <a:pt x="531059" y="68341"/>
                      </a:lnTo>
                      <a:lnTo>
                        <a:pt x="536086" y="70271"/>
                      </a:lnTo>
                      <a:lnTo>
                        <a:pt x="537507" y="70211"/>
                      </a:lnTo>
                      <a:lnTo>
                        <a:pt x="538721" y="69300"/>
                      </a:lnTo>
                      <a:lnTo>
                        <a:pt x="539341" y="67891"/>
                      </a:lnTo>
                      <a:lnTo>
                        <a:pt x="542219" y="64661"/>
                      </a:lnTo>
                      <a:lnTo>
                        <a:pt x="551277" y="61528"/>
                      </a:lnTo>
                      <a:lnTo>
                        <a:pt x="551362" y="61443"/>
                      </a:lnTo>
                      <a:lnTo>
                        <a:pt x="550852" y="59731"/>
                      </a:lnTo>
                      <a:lnTo>
                        <a:pt x="545837" y="58141"/>
                      </a:lnTo>
                      <a:lnTo>
                        <a:pt x="538806" y="57035"/>
                      </a:lnTo>
                      <a:lnTo>
                        <a:pt x="532456" y="53733"/>
                      </a:lnTo>
                      <a:lnTo>
                        <a:pt x="531557" y="51207"/>
                      </a:lnTo>
                      <a:lnTo>
                        <a:pt x="531181" y="49179"/>
                      </a:lnTo>
                      <a:lnTo>
                        <a:pt x="531205" y="47066"/>
                      </a:lnTo>
                      <a:lnTo>
                        <a:pt x="531533" y="45111"/>
                      </a:lnTo>
                      <a:lnTo>
                        <a:pt x="531909" y="41347"/>
                      </a:lnTo>
                      <a:lnTo>
                        <a:pt x="532869" y="38991"/>
                      </a:lnTo>
                      <a:lnTo>
                        <a:pt x="532395" y="38275"/>
                      </a:lnTo>
                      <a:lnTo>
                        <a:pt x="528400" y="35008"/>
                      </a:lnTo>
                      <a:lnTo>
                        <a:pt x="527769" y="28087"/>
                      </a:lnTo>
                      <a:lnTo>
                        <a:pt x="529335" y="20874"/>
                      </a:lnTo>
                      <a:lnTo>
                        <a:pt x="532747" y="14487"/>
                      </a:lnTo>
                      <a:lnTo>
                        <a:pt x="546104" y="8221"/>
                      </a:lnTo>
                      <a:lnTo>
                        <a:pt x="547088" y="7517"/>
                      </a:lnTo>
                      <a:lnTo>
                        <a:pt x="543336" y="1870"/>
                      </a:lnTo>
                      <a:lnTo>
                        <a:pt x="556110" y="4323"/>
                      </a:lnTo>
                      <a:lnTo>
                        <a:pt x="565254" y="10054"/>
                      </a:lnTo>
                      <a:lnTo>
                        <a:pt x="581732" y="14462"/>
                      </a:lnTo>
                      <a:lnTo>
                        <a:pt x="583541" y="14523"/>
                      </a:lnTo>
                      <a:lnTo>
                        <a:pt x="585362" y="14414"/>
                      </a:lnTo>
                      <a:lnTo>
                        <a:pt x="587512" y="12847"/>
                      </a:lnTo>
                      <a:lnTo>
                        <a:pt x="590390" y="11342"/>
                      </a:lnTo>
                      <a:lnTo>
                        <a:pt x="593850" y="10212"/>
                      </a:lnTo>
                      <a:lnTo>
                        <a:pt x="599145" y="9302"/>
                      </a:lnTo>
                      <a:lnTo>
                        <a:pt x="602763" y="9775"/>
                      </a:lnTo>
                      <a:lnTo>
                        <a:pt x="607681" y="11912"/>
                      </a:lnTo>
                      <a:lnTo>
                        <a:pt x="610814" y="12459"/>
                      </a:lnTo>
                      <a:lnTo>
                        <a:pt x="612538" y="11973"/>
                      </a:lnTo>
                      <a:lnTo>
                        <a:pt x="614700" y="10941"/>
                      </a:lnTo>
                      <a:lnTo>
                        <a:pt x="619788" y="7104"/>
                      </a:lnTo>
                      <a:lnTo>
                        <a:pt x="622119" y="5780"/>
                      </a:lnTo>
                      <a:lnTo>
                        <a:pt x="626479" y="4578"/>
                      </a:lnTo>
                      <a:lnTo>
                        <a:pt x="641572" y="4165"/>
                      </a:lnTo>
                      <a:lnTo>
                        <a:pt x="646721" y="4505"/>
                      </a:lnTo>
                      <a:lnTo>
                        <a:pt x="651517" y="5610"/>
                      </a:lnTo>
                      <a:lnTo>
                        <a:pt x="655488" y="8828"/>
                      </a:lnTo>
                      <a:lnTo>
                        <a:pt x="657091" y="9763"/>
                      </a:lnTo>
                      <a:lnTo>
                        <a:pt x="659568" y="10346"/>
                      </a:lnTo>
                      <a:lnTo>
                        <a:pt x="661414" y="10152"/>
                      </a:lnTo>
                      <a:lnTo>
                        <a:pt x="679470" y="6193"/>
                      </a:lnTo>
                      <a:lnTo>
                        <a:pt x="682773" y="6472"/>
                      </a:lnTo>
                      <a:lnTo>
                        <a:pt x="683732" y="6618"/>
                      </a:lnTo>
                      <a:lnTo>
                        <a:pt x="686246" y="9010"/>
                      </a:lnTo>
                      <a:lnTo>
                        <a:pt x="686914" y="11852"/>
                      </a:lnTo>
                      <a:lnTo>
                        <a:pt x="687315" y="12884"/>
                      </a:lnTo>
                      <a:lnTo>
                        <a:pt x="688444" y="13831"/>
                      </a:lnTo>
                      <a:lnTo>
                        <a:pt x="691795" y="14644"/>
                      </a:lnTo>
                      <a:lnTo>
                        <a:pt x="691844" y="11354"/>
                      </a:lnTo>
                      <a:lnTo>
                        <a:pt x="692876" y="9229"/>
                      </a:lnTo>
                      <a:lnTo>
                        <a:pt x="694977" y="6922"/>
                      </a:lnTo>
                      <a:lnTo>
                        <a:pt x="698729" y="5027"/>
                      </a:lnTo>
                      <a:lnTo>
                        <a:pt x="701461" y="4481"/>
                      </a:lnTo>
                      <a:lnTo>
                        <a:pt x="704728" y="4748"/>
                      </a:lnTo>
                      <a:lnTo>
                        <a:pt x="707071" y="6181"/>
                      </a:lnTo>
                      <a:lnTo>
                        <a:pt x="709330" y="9520"/>
                      </a:lnTo>
                      <a:lnTo>
                        <a:pt x="710228" y="10030"/>
                      </a:lnTo>
                      <a:lnTo>
                        <a:pt x="712705" y="10443"/>
                      </a:lnTo>
                      <a:lnTo>
                        <a:pt x="714320" y="10127"/>
                      </a:lnTo>
                      <a:lnTo>
                        <a:pt x="716008" y="9399"/>
                      </a:lnTo>
                      <a:lnTo>
                        <a:pt x="716895" y="8452"/>
                      </a:lnTo>
                      <a:lnTo>
                        <a:pt x="719566" y="5294"/>
                      </a:lnTo>
                      <a:lnTo>
                        <a:pt x="720938" y="4129"/>
                      </a:lnTo>
                      <a:lnTo>
                        <a:pt x="722930" y="3036"/>
                      </a:lnTo>
                      <a:lnTo>
                        <a:pt x="732559" y="571"/>
                      </a:lnTo>
                      <a:lnTo>
                        <a:pt x="737149" y="0"/>
                      </a:lnTo>
                      <a:lnTo>
                        <a:pt x="740513" y="2307"/>
                      </a:lnTo>
                      <a:lnTo>
                        <a:pt x="742286" y="5112"/>
                      </a:lnTo>
                      <a:lnTo>
                        <a:pt x="744301" y="8986"/>
                      </a:lnTo>
                      <a:lnTo>
                        <a:pt x="747167" y="10941"/>
                      </a:lnTo>
                      <a:lnTo>
                        <a:pt x="760172" y="15070"/>
                      </a:lnTo>
                      <a:lnTo>
                        <a:pt x="765867" y="15725"/>
                      </a:lnTo>
                      <a:lnTo>
                        <a:pt x="776395" y="14644"/>
                      </a:lnTo>
                      <a:lnTo>
                        <a:pt x="782892" y="13090"/>
                      </a:lnTo>
                      <a:lnTo>
                        <a:pt x="786947" y="12568"/>
                      </a:lnTo>
                      <a:lnTo>
                        <a:pt x="790262" y="13855"/>
                      </a:lnTo>
                      <a:lnTo>
                        <a:pt x="792084" y="16697"/>
                      </a:lnTo>
                      <a:lnTo>
                        <a:pt x="792375" y="19477"/>
                      </a:lnTo>
                      <a:lnTo>
                        <a:pt x="791902" y="21882"/>
                      </a:lnTo>
                      <a:lnTo>
                        <a:pt x="790918" y="23035"/>
                      </a:lnTo>
                      <a:lnTo>
                        <a:pt x="789570" y="24116"/>
                      </a:lnTo>
                      <a:lnTo>
                        <a:pt x="788016" y="24772"/>
                      </a:lnTo>
                      <a:lnTo>
                        <a:pt x="785284" y="25403"/>
                      </a:lnTo>
                      <a:lnTo>
                        <a:pt x="777124" y="26022"/>
                      </a:lnTo>
                      <a:lnTo>
                        <a:pt x="780378" y="28706"/>
                      </a:lnTo>
                      <a:lnTo>
                        <a:pt x="782455" y="29799"/>
                      </a:lnTo>
                      <a:lnTo>
                        <a:pt x="784446" y="30199"/>
                      </a:lnTo>
                      <a:lnTo>
                        <a:pt x="785915" y="30127"/>
                      </a:lnTo>
                      <a:lnTo>
                        <a:pt x="789218" y="30491"/>
                      </a:lnTo>
                      <a:lnTo>
                        <a:pt x="792145" y="31645"/>
                      </a:lnTo>
                      <a:lnTo>
                        <a:pt x="793007" y="32652"/>
                      </a:lnTo>
                      <a:lnTo>
                        <a:pt x="793942" y="34122"/>
                      </a:lnTo>
                      <a:lnTo>
                        <a:pt x="794452" y="35785"/>
                      </a:lnTo>
                      <a:lnTo>
                        <a:pt x="795022" y="36842"/>
                      </a:lnTo>
                      <a:lnTo>
                        <a:pt x="795229" y="37060"/>
                      </a:lnTo>
                      <a:lnTo>
                        <a:pt x="796115" y="37340"/>
                      </a:lnTo>
                      <a:lnTo>
                        <a:pt x="798544" y="36793"/>
                      </a:lnTo>
                      <a:lnTo>
                        <a:pt x="801070" y="36575"/>
                      </a:lnTo>
                      <a:lnTo>
                        <a:pt x="805903" y="37230"/>
                      </a:lnTo>
                      <a:lnTo>
                        <a:pt x="808246" y="39890"/>
                      </a:lnTo>
                      <a:lnTo>
                        <a:pt x="808525" y="42330"/>
                      </a:lnTo>
                      <a:lnTo>
                        <a:pt x="808125" y="45063"/>
                      </a:lnTo>
                      <a:lnTo>
                        <a:pt x="808355" y="46532"/>
                      </a:lnTo>
                      <a:lnTo>
                        <a:pt x="810505" y="50247"/>
                      </a:lnTo>
                      <a:lnTo>
                        <a:pt x="812253" y="54133"/>
                      </a:lnTo>
                      <a:lnTo>
                        <a:pt x="813310" y="55506"/>
                      </a:lnTo>
                      <a:lnTo>
                        <a:pt x="814318" y="55615"/>
                      </a:lnTo>
                      <a:lnTo>
                        <a:pt x="814524" y="55360"/>
                      </a:lnTo>
                      <a:lnTo>
                        <a:pt x="817948" y="44322"/>
                      </a:lnTo>
                      <a:lnTo>
                        <a:pt x="818616" y="43010"/>
                      </a:lnTo>
                      <a:lnTo>
                        <a:pt x="819333" y="41930"/>
                      </a:lnTo>
                      <a:lnTo>
                        <a:pt x="819758" y="41420"/>
                      </a:lnTo>
                      <a:lnTo>
                        <a:pt x="820802" y="40594"/>
                      </a:lnTo>
                      <a:lnTo>
                        <a:pt x="822077" y="39987"/>
                      </a:lnTo>
                      <a:lnTo>
                        <a:pt x="824724" y="39355"/>
                      </a:lnTo>
                      <a:lnTo>
                        <a:pt x="829181" y="39598"/>
                      </a:lnTo>
                      <a:lnTo>
                        <a:pt x="831986" y="40412"/>
                      </a:lnTo>
                      <a:lnTo>
                        <a:pt x="840911" y="46034"/>
                      </a:lnTo>
                      <a:lnTo>
                        <a:pt x="843303" y="46823"/>
                      </a:lnTo>
                      <a:lnTo>
                        <a:pt x="845586" y="47273"/>
                      </a:lnTo>
                      <a:lnTo>
                        <a:pt x="848876" y="47637"/>
                      </a:lnTo>
                      <a:lnTo>
                        <a:pt x="851208" y="48317"/>
                      </a:lnTo>
                      <a:lnTo>
                        <a:pt x="853746" y="49907"/>
                      </a:lnTo>
                      <a:lnTo>
                        <a:pt x="855555" y="51984"/>
                      </a:lnTo>
                      <a:lnTo>
                        <a:pt x="856854" y="54230"/>
                      </a:lnTo>
                      <a:lnTo>
                        <a:pt x="859161" y="60132"/>
                      </a:lnTo>
                      <a:lnTo>
                        <a:pt x="859987" y="61516"/>
                      </a:lnTo>
                      <a:lnTo>
                        <a:pt x="861007" y="62427"/>
                      </a:lnTo>
                      <a:lnTo>
                        <a:pt x="863205" y="64042"/>
                      </a:lnTo>
                      <a:lnTo>
                        <a:pt x="865512" y="64819"/>
                      </a:lnTo>
                      <a:lnTo>
                        <a:pt x="867807" y="65487"/>
                      </a:lnTo>
                      <a:lnTo>
                        <a:pt x="876344" y="65997"/>
                      </a:lnTo>
                      <a:lnTo>
                        <a:pt x="883605" y="66106"/>
                      </a:lnTo>
                      <a:lnTo>
                        <a:pt x="888924" y="67138"/>
                      </a:lnTo>
                      <a:lnTo>
                        <a:pt x="896112" y="69506"/>
                      </a:lnTo>
                      <a:lnTo>
                        <a:pt x="897837" y="69433"/>
                      </a:lnTo>
                      <a:lnTo>
                        <a:pt x="899427" y="68887"/>
                      </a:lnTo>
                      <a:lnTo>
                        <a:pt x="903277" y="66106"/>
                      </a:lnTo>
                      <a:lnTo>
                        <a:pt x="904102" y="64831"/>
                      </a:lnTo>
                      <a:lnTo>
                        <a:pt x="904163" y="64358"/>
                      </a:lnTo>
                      <a:lnTo>
                        <a:pt x="904127" y="62075"/>
                      </a:lnTo>
                      <a:lnTo>
                        <a:pt x="904273" y="61043"/>
                      </a:lnTo>
                      <a:lnTo>
                        <a:pt x="905256" y="58566"/>
                      </a:lnTo>
                      <a:lnTo>
                        <a:pt x="908717" y="58966"/>
                      </a:lnTo>
                      <a:lnTo>
                        <a:pt x="905985" y="57351"/>
                      </a:lnTo>
                      <a:lnTo>
                        <a:pt x="906082" y="56307"/>
                      </a:lnTo>
                      <a:lnTo>
                        <a:pt x="906130" y="53696"/>
                      </a:lnTo>
                      <a:lnTo>
                        <a:pt x="906264" y="52591"/>
                      </a:lnTo>
                      <a:lnTo>
                        <a:pt x="906592" y="51073"/>
                      </a:lnTo>
                      <a:lnTo>
                        <a:pt x="907745" y="48718"/>
                      </a:lnTo>
                      <a:lnTo>
                        <a:pt x="908911" y="46933"/>
                      </a:lnTo>
                      <a:lnTo>
                        <a:pt x="911400" y="44261"/>
                      </a:lnTo>
                      <a:lnTo>
                        <a:pt x="913198" y="43095"/>
                      </a:lnTo>
                      <a:lnTo>
                        <a:pt x="915055" y="42792"/>
                      </a:lnTo>
                      <a:lnTo>
                        <a:pt x="916877" y="42646"/>
                      </a:lnTo>
                      <a:lnTo>
                        <a:pt x="919403" y="42160"/>
                      </a:lnTo>
                      <a:lnTo>
                        <a:pt x="925025" y="40278"/>
                      </a:lnTo>
                      <a:lnTo>
                        <a:pt x="928995" y="39805"/>
                      </a:lnTo>
                      <a:lnTo>
                        <a:pt x="932869" y="40351"/>
                      </a:lnTo>
                      <a:lnTo>
                        <a:pt x="933841" y="41286"/>
                      </a:lnTo>
                      <a:lnTo>
                        <a:pt x="934776" y="42342"/>
                      </a:lnTo>
                      <a:lnTo>
                        <a:pt x="935553" y="43824"/>
                      </a:lnTo>
                      <a:lnTo>
                        <a:pt x="935953" y="45208"/>
                      </a:lnTo>
                      <a:lnTo>
                        <a:pt x="936306" y="47078"/>
                      </a:lnTo>
                      <a:lnTo>
                        <a:pt x="936354" y="51923"/>
                      </a:lnTo>
                      <a:lnTo>
                        <a:pt x="935868" y="56416"/>
                      </a:lnTo>
                      <a:lnTo>
                        <a:pt x="934096" y="61443"/>
                      </a:lnTo>
                      <a:lnTo>
                        <a:pt x="934970" y="61759"/>
                      </a:lnTo>
                      <a:lnTo>
                        <a:pt x="935905" y="62378"/>
                      </a:lnTo>
                      <a:lnTo>
                        <a:pt x="937241" y="62925"/>
                      </a:lnTo>
                      <a:lnTo>
                        <a:pt x="946214" y="65900"/>
                      </a:lnTo>
                      <a:lnTo>
                        <a:pt x="950282" y="63483"/>
                      </a:lnTo>
                      <a:lnTo>
                        <a:pt x="953172" y="63204"/>
                      </a:lnTo>
                      <a:lnTo>
                        <a:pt x="956366" y="64783"/>
                      </a:lnTo>
                      <a:lnTo>
                        <a:pt x="957568" y="67235"/>
                      </a:lnTo>
                      <a:lnTo>
                        <a:pt x="958041" y="70453"/>
                      </a:lnTo>
                      <a:lnTo>
                        <a:pt x="957325" y="73999"/>
                      </a:lnTo>
                      <a:lnTo>
                        <a:pt x="956014" y="76610"/>
                      </a:lnTo>
                      <a:lnTo>
                        <a:pt x="954022" y="78723"/>
                      </a:lnTo>
                      <a:lnTo>
                        <a:pt x="951788" y="79974"/>
                      </a:lnTo>
                      <a:lnTo>
                        <a:pt x="949056" y="80738"/>
                      </a:lnTo>
                      <a:lnTo>
                        <a:pt x="945413" y="80836"/>
                      </a:lnTo>
                      <a:lnTo>
                        <a:pt x="942474" y="80532"/>
                      </a:lnTo>
                      <a:lnTo>
                        <a:pt x="941697" y="82839"/>
                      </a:lnTo>
                      <a:lnTo>
                        <a:pt x="939487" y="85450"/>
                      </a:lnTo>
                      <a:lnTo>
                        <a:pt x="937459" y="86992"/>
                      </a:lnTo>
                      <a:lnTo>
                        <a:pt x="936840" y="87878"/>
                      </a:lnTo>
                      <a:lnTo>
                        <a:pt x="932226" y="100058"/>
                      </a:lnTo>
                      <a:lnTo>
                        <a:pt x="931849" y="102062"/>
                      </a:lnTo>
                      <a:lnTo>
                        <a:pt x="932213" y="102911"/>
                      </a:lnTo>
                      <a:lnTo>
                        <a:pt x="934678" y="106858"/>
                      </a:lnTo>
                      <a:lnTo>
                        <a:pt x="936293" y="111375"/>
                      </a:lnTo>
                      <a:lnTo>
                        <a:pt x="937143" y="112905"/>
                      </a:lnTo>
                      <a:lnTo>
                        <a:pt x="938601" y="114374"/>
                      </a:lnTo>
                      <a:lnTo>
                        <a:pt x="941940" y="115759"/>
                      </a:lnTo>
                      <a:lnTo>
                        <a:pt x="943968" y="117192"/>
                      </a:lnTo>
                      <a:lnTo>
                        <a:pt x="947101" y="120895"/>
                      </a:lnTo>
                      <a:lnTo>
                        <a:pt x="947890" y="121332"/>
                      </a:lnTo>
                      <a:lnTo>
                        <a:pt x="951703" y="122862"/>
                      </a:lnTo>
                      <a:lnTo>
                        <a:pt x="953476" y="124805"/>
                      </a:lnTo>
                      <a:lnTo>
                        <a:pt x="954739" y="127039"/>
                      </a:lnTo>
                      <a:lnTo>
                        <a:pt x="955589" y="131059"/>
                      </a:lnTo>
                      <a:lnTo>
                        <a:pt x="956135" y="132079"/>
                      </a:lnTo>
                      <a:lnTo>
                        <a:pt x="959754" y="136232"/>
                      </a:lnTo>
                      <a:lnTo>
                        <a:pt x="961587" y="137920"/>
                      </a:lnTo>
                      <a:lnTo>
                        <a:pt x="967938" y="133864"/>
                      </a:lnTo>
                      <a:lnTo>
                        <a:pt x="969480" y="132662"/>
                      </a:lnTo>
                      <a:lnTo>
                        <a:pt x="970622" y="131095"/>
                      </a:lnTo>
                      <a:lnTo>
                        <a:pt x="971666" y="129189"/>
                      </a:lnTo>
                      <a:lnTo>
                        <a:pt x="973694" y="124295"/>
                      </a:lnTo>
                      <a:lnTo>
                        <a:pt x="975612" y="121393"/>
                      </a:lnTo>
                      <a:lnTo>
                        <a:pt x="979158" y="119159"/>
                      </a:lnTo>
                      <a:lnTo>
                        <a:pt x="982789" y="120907"/>
                      </a:lnTo>
                      <a:lnTo>
                        <a:pt x="989734" y="130974"/>
                      </a:lnTo>
                      <a:lnTo>
                        <a:pt x="991374" y="134471"/>
                      </a:lnTo>
                      <a:lnTo>
                        <a:pt x="992114" y="137725"/>
                      </a:lnTo>
                      <a:lnTo>
                        <a:pt x="992114" y="142655"/>
                      </a:lnTo>
                      <a:lnTo>
                        <a:pt x="993317" y="145655"/>
                      </a:lnTo>
                      <a:lnTo>
                        <a:pt x="995345" y="148666"/>
                      </a:lnTo>
                      <a:lnTo>
                        <a:pt x="996826" y="155296"/>
                      </a:lnTo>
                      <a:lnTo>
                        <a:pt x="997117" y="156850"/>
                      </a:lnTo>
                      <a:lnTo>
                        <a:pt x="994980" y="159036"/>
                      </a:lnTo>
                      <a:lnTo>
                        <a:pt x="992248" y="161101"/>
                      </a:lnTo>
                      <a:lnTo>
                        <a:pt x="989200" y="162788"/>
                      </a:lnTo>
                      <a:lnTo>
                        <a:pt x="986468" y="164683"/>
                      </a:lnTo>
                      <a:lnTo>
                        <a:pt x="985812" y="165836"/>
                      </a:lnTo>
                      <a:lnTo>
                        <a:pt x="985497" y="167123"/>
                      </a:lnTo>
                      <a:lnTo>
                        <a:pt x="985569" y="168678"/>
                      </a:lnTo>
                      <a:lnTo>
                        <a:pt x="985958" y="173243"/>
                      </a:lnTo>
                      <a:lnTo>
                        <a:pt x="985849" y="176073"/>
                      </a:lnTo>
                      <a:lnTo>
                        <a:pt x="984586" y="183747"/>
                      </a:lnTo>
                      <a:lnTo>
                        <a:pt x="988277" y="183565"/>
                      </a:lnTo>
                      <a:lnTo>
                        <a:pt x="990706" y="184026"/>
                      </a:lnTo>
                      <a:lnTo>
                        <a:pt x="993122" y="185313"/>
                      </a:lnTo>
                      <a:lnTo>
                        <a:pt x="995223" y="187657"/>
                      </a:lnTo>
                      <a:lnTo>
                        <a:pt x="996656" y="190304"/>
                      </a:lnTo>
                      <a:lnTo>
                        <a:pt x="998028" y="194117"/>
                      </a:lnTo>
                      <a:lnTo>
                        <a:pt x="999340" y="196254"/>
                      </a:lnTo>
                      <a:lnTo>
                        <a:pt x="1000821" y="197493"/>
                      </a:lnTo>
                      <a:lnTo>
                        <a:pt x="1002302" y="197881"/>
                      </a:lnTo>
                      <a:lnTo>
                        <a:pt x="1006589" y="198525"/>
                      </a:lnTo>
                      <a:lnTo>
                        <a:pt x="1009115" y="199642"/>
                      </a:lnTo>
                      <a:lnTo>
                        <a:pt x="1010815" y="201124"/>
                      </a:lnTo>
                      <a:lnTo>
                        <a:pt x="1012915" y="204244"/>
                      </a:lnTo>
                      <a:lnTo>
                        <a:pt x="1013255" y="206977"/>
                      </a:lnTo>
                      <a:lnTo>
                        <a:pt x="1012660" y="208895"/>
                      </a:lnTo>
                      <a:lnTo>
                        <a:pt x="1011798" y="210899"/>
                      </a:lnTo>
                      <a:lnTo>
                        <a:pt x="1011495" y="212392"/>
                      </a:lnTo>
                      <a:lnTo>
                        <a:pt x="1011543" y="216691"/>
                      </a:lnTo>
                      <a:lnTo>
                        <a:pt x="1011106" y="220018"/>
                      </a:lnTo>
                      <a:lnTo>
                        <a:pt x="1011130" y="220164"/>
                      </a:lnTo>
                      <a:lnTo>
                        <a:pt x="1011847" y="219933"/>
                      </a:lnTo>
                      <a:lnTo>
                        <a:pt x="1013255" y="218767"/>
                      </a:lnTo>
                      <a:lnTo>
                        <a:pt x="1016631" y="215501"/>
                      </a:lnTo>
                      <a:lnTo>
                        <a:pt x="1019728" y="213376"/>
                      </a:lnTo>
                      <a:lnTo>
                        <a:pt x="1023978" y="213473"/>
                      </a:lnTo>
                      <a:lnTo>
                        <a:pt x="1027329" y="215367"/>
                      </a:lnTo>
                      <a:lnTo>
                        <a:pt x="1032575" y="221718"/>
                      </a:lnTo>
                      <a:lnTo>
                        <a:pt x="1033716" y="226150"/>
                      </a:lnTo>
                      <a:lnTo>
                        <a:pt x="1033510" y="231287"/>
                      </a:lnTo>
                      <a:lnTo>
                        <a:pt x="1032757" y="235075"/>
                      </a:lnTo>
                      <a:lnTo>
                        <a:pt x="1033048" y="238123"/>
                      </a:lnTo>
                      <a:lnTo>
                        <a:pt x="1033826" y="239750"/>
                      </a:lnTo>
                      <a:lnTo>
                        <a:pt x="1035125" y="242227"/>
                      </a:lnTo>
                      <a:lnTo>
                        <a:pt x="1035805" y="245117"/>
                      </a:lnTo>
                      <a:lnTo>
                        <a:pt x="1035428" y="248785"/>
                      </a:lnTo>
                      <a:lnTo>
                        <a:pt x="1033971" y="252209"/>
                      </a:lnTo>
                      <a:lnTo>
                        <a:pt x="1039946" y="251699"/>
                      </a:lnTo>
                      <a:lnTo>
                        <a:pt x="1042738" y="253168"/>
                      </a:lnTo>
                      <a:lnTo>
                        <a:pt x="1046697" y="256957"/>
                      </a:lnTo>
                      <a:lnTo>
                        <a:pt x="1047316" y="257030"/>
                      </a:lnTo>
                      <a:lnTo>
                        <a:pt x="1061499" y="252330"/>
                      </a:lnTo>
                      <a:lnTo>
                        <a:pt x="1065288" y="252391"/>
                      </a:lnTo>
                      <a:lnTo>
                        <a:pt x="1068044" y="253533"/>
                      </a:lnTo>
                      <a:lnTo>
                        <a:pt x="1068870" y="253957"/>
                      </a:lnTo>
                      <a:lnTo>
                        <a:pt x="1070449" y="256799"/>
                      </a:lnTo>
                      <a:lnTo>
                        <a:pt x="1077358" y="267473"/>
                      </a:lnTo>
                      <a:lnTo>
                        <a:pt x="1082203" y="272585"/>
                      </a:lnTo>
                      <a:lnTo>
                        <a:pt x="1083514" y="273131"/>
                      </a:lnTo>
                      <a:lnTo>
                        <a:pt x="1084607" y="273301"/>
                      </a:lnTo>
                      <a:lnTo>
                        <a:pt x="1084838" y="273058"/>
                      </a:lnTo>
                      <a:lnTo>
                        <a:pt x="1085943" y="272670"/>
                      </a:lnTo>
                      <a:lnTo>
                        <a:pt x="1086477" y="272293"/>
                      </a:lnTo>
                      <a:lnTo>
                        <a:pt x="1087121" y="270168"/>
                      </a:lnTo>
                      <a:lnTo>
                        <a:pt x="1088578" y="267533"/>
                      </a:lnTo>
                      <a:lnTo>
                        <a:pt x="1091869" y="267533"/>
                      </a:lnTo>
                      <a:lnTo>
                        <a:pt x="1095791" y="268517"/>
                      </a:lnTo>
                      <a:lnTo>
                        <a:pt x="1103065" y="274564"/>
                      </a:lnTo>
                      <a:lnTo>
                        <a:pt x="1109707" y="281206"/>
                      </a:lnTo>
                      <a:lnTo>
                        <a:pt x="1119057" y="285845"/>
                      </a:lnTo>
                      <a:lnTo>
                        <a:pt x="1122250" y="288541"/>
                      </a:lnTo>
                      <a:lnTo>
                        <a:pt x="1124728" y="292208"/>
                      </a:lnTo>
                      <a:lnTo>
                        <a:pt x="1125104" y="295292"/>
                      </a:lnTo>
                      <a:lnTo>
                        <a:pt x="1124885" y="298534"/>
                      </a:lnTo>
                      <a:lnTo>
                        <a:pt x="1124898" y="301230"/>
                      </a:lnTo>
                      <a:lnTo>
                        <a:pt x="1125383" y="303962"/>
                      </a:lnTo>
                      <a:lnTo>
                        <a:pt x="1127010" y="306427"/>
                      </a:lnTo>
                      <a:lnTo>
                        <a:pt x="1128978" y="307824"/>
                      </a:lnTo>
                      <a:lnTo>
                        <a:pt x="1129342" y="307884"/>
                      </a:lnTo>
                      <a:lnTo>
                        <a:pt x="1130908" y="307593"/>
                      </a:lnTo>
                      <a:lnTo>
                        <a:pt x="1131904" y="307180"/>
                      </a:lnTo>
                      <a:lnTo>
                        <a:pt x="1132560" y="306706"/>
                      </a:lnTo>
                      <a:lnTo>
                        <a:pt x="1135523" y="304059"/>
                      </a:lnTo>
                      <a:lnTo>
                        <a:pt x="1138279" y="304156"/>
                      </a:lnTo>
                      <a:lnTo>
                        <a:pt x="1141752" y="305395"/>
                      </a:lnTo>
                      <a:lnTo>
                        <a:pt x="1147301" y="308795"/>
                      </a:lnTo>
                      <a:lnTo>
                        <a:pt x="1150313" y="312450"/>
                      </a:lnTo>
                      <a:lnTo>
                        <a:pt x="1151952" y="315219"/>
                      </a:lnTo>
                      <a:lnTo>
                        <a:pt x="1152936" y="317756"/>
                      </a:lnTo>
                      <a:lnTo>
                        <a:pt x="1155643" y="322249"/>
                      </a:lnTo>
                      <a:lnTo>
                        <a:pt x="1156457" y="322784"/>
                      </a:lnTo>
                      <a:lnTo>
                        <a:pt x="1158084" y="323415"/>
                      </a:lnTo>
                      <a:lnTo>
                        <a:pt x="1160112" y="324629"/>
                      </a:lnTo>
                      <a:lnTo>
                        <a:pt x="1161921" y="326390"/>
                      </a:lnTo>
                      <a:lnTo>
                        <a:pt x="1163949" y="329899"/>
                      </a:lnTo>
                      <a:lnTo>
                        <a:pt x="1165504" y="334028"/>
                      </a:lnTo>
                      <a:lnTo>
                        <a:pt x="1169329" y="343657"/>
                      </a:lnTo>
                      <a:lnTo>
                        <a:pt x="1171587" y="361823"/>
                      </a:lnTo>
                      <a:lnTo>
                        <a:pt x="1172255" y="364143"/>
                      </a:lnTo>
                      <a:lnTo>
                        <a:pt x="1173676" y="364240"/>
                      </a:lnTo>
                      <a:lnTo>
                        <a:pt x="1176566" y="362406"/>
                      </a:lnTo>
                      <a:lnTo>
                        <a:pt x="1179881" y="362977"/>
                      </a:lnTo>
                      <a:lnTo>
                        <a:pt x="1183597" y="364980"/>
                      </a:lnTo>
                      <a:lnTo>
                        <a:pt x="1189122" y="371793"/>
                      </a:lnTo>
                      <a:lnTo>
                        <a:pt x="1191186" y="376808"/>
                      </a:lnTo>
                      <a:lnTo>
                        <a:pt x="1190931" y="381713"/>
                      </a:lnTo>
                      <a:lnTo>
                        <a:pt x="1175303" y="412532"/>
                      </a:lnTo>
                      <a:lnTo>
                        <a:pt x="1173591" y="414888"/>
                      </a:lnTo>
                      <a:lnTo>
                        <a:pt x="1171781" y="416879"/>
                      </a:lnTo>
                      <a:lnTo>
                        <a:pt x="1169547" y="418713"/>
                      </a:lnTo>
                      <a:lnTo>
                        <a:pt x="1166888" y="420291"/>
                      </a:lnTo>
                      <a:lnTo>
                        <a:pt x="1164994" y="421044"/>
                      </a:lnTo>
                      <a:lnTo>
                        <a:pt x="1161958" y="421530"/>
                      </a:lnTo>
                      <a:lnTo>
                        <a:pt x="1156688" y="421481"/>
                      </a:lnTo>
                      <a:lnTo>
                        <a:pt x="1155085" y="421785"/>
                      </a:lnTo>
                      <a:lnTo>
                        <a:pt x="1154113" y="422174"/>
                      </a:lnTo>
                      <a:lnTo>
                        <a:pt x="1140878" y="432374"/>
                      </a:lnTo>
                      <a:lnTo>
                        <a:pt x="1134478" y="439672"/>
                      </a:lnTo>
                      <a:lnTo>
                        <a:pt x="1132098" y="441420"/>
                      </a:lnTo>
                      <a:lnTo>
                        <a:pt x="1129305" y="442610"/>
                      </a:lnTo>
                      <a:lnTo>
                        <a:pt x="1126938" y="443157"/>
                      </a:lnTo>
                      <a:lnTo>
                        <a:pt x="1124218" y="443096"/>
                      </a:lnTo>
                      <a:lnTo>
                        <a:pt x="1112900" y="439732"/>
                      </a:lnTo>
                      <a:lnTo>
                        <a:pt x="1111759" y="439902"/>
                      </a:lnTo>
                      <a:lnTo>
                        <a:pt x="1111419" y="440376"/>
                      </a:lnTo>
                      <a:lnTo>
                        <a:pt x="1110703" y="440947"/>
                      </a:lnTo>
                      <a:lnTo>
                        <a:pt x="1109695" y="443193"/>
                      </a:lnTo>
                      <a:lnTo>
                        <a:pt x="1109731" y="443703"/>
                      </a:lnTo>
                      <a:lnTo>
                        <a:pt x="1111018" y="445160"/>
                      </a:lnTo>
                      <a:lnTo>
                        <a:pt x="1119373" y="452956"/>
                      </a:lnTo>
                      <a:lnTo>
                        <a:pt x="1122129" y="454826"/>
                      </a:lnTo>
                      <a:lnTo>
                        <a:pt x="1123732" y="455506"/>
                      </a:lnTo>
                      <a:lnTo>
                        <a:pt x="1125201" y="455469"/>
                      </a:lnTo>
                      <a:lnTo>
                        <a:pt x="1132341" y="454364"/>
                      </a:lnTo>
                      <a:lnTo>
                        <a:pt x="1139020" y="454705"/>
                      </a:lnTo>
                      <a:lnTo>
                        <a:pt x="1144217" y="455846"/>
                      </a:lnTo>
                      <a:lnTo>
                        <a:pt x="1147301" y="457291"/>
                      </a:lnTo>
                      <a:lnTo>
                        <a:pt x="1150458" y="460169"/>
                      </a:lnTo>
                      <a:lnTo>
                        <a:pt x="1151041" y="462877"/>
                      </a:lnTo>
                      <a:lnTo>
                        <a:pt x="1150859" y="465876"/>
                      </a:lnTo>
                      <a:lnTo>
                        <a:pt x="1149669" y="468742"/>
                      </a:lnTo>
                      <a:lnTo>
                        <a:pt x="1148273" y="470636"/>
                      </a:lnTo>
                      <a:lnTo>
                        <a:pt x="1146257" y="472785"/>
                      </a:lnTo>
                      <a:lnTo>
                        <a:pt x="1143488" y="474874"/>
                      </a:lnTo>
                      <a:lnTo>
                        <a:pt x="1140234" y="476635"/>
                      </a:lnTo>
                      <a:lnTo>
                        <a:pt x="1136737" y="477922"/>
                      </a:lnTo>
                      <a:lnTo>
                        <a:pt x="1130459" y="479221"/>
                      </a:lnTo>
                      <a:lnTo>
                        <a:pt x="1127666" y="479318"/>
                      </a:lnTo>
                      <a:lnTo>
                        <a:pt x="1125128" y="478820"/>
                      </a:lnTo>
                      <a:lnTo>
                        <a:pt x="1122955" y="477740"/>
                      </a:lnTo>
                      <a:lnTo>
                        <a:pt x="1119664" y="474570"/>
                      </a:lnTo>
                      <a:lnTo>
                        <a:pt x="1118583" y="473769"/>
                      </a:lnTo>
                      <a:lnTo>
                        <a:pt x="1117903" y="473575"/>
                      </a:lnTo>
                      <a:lnTo>
                        <a:pt x="1116835" y="475190"/>
                      </a:lnTo>
                      <a:lnTo>
                        <a:pt x="1115875" y="477533"/>
                      </a:lnTo>
                      <a:lnTo>
                        <a:pt x="1115535" y="481905"/>
                      </a:lnTo>
                      <a:lnTo>
                        <a:pt x="1115936" y="484625"/>
                      </a:lnTo>
                      <a:lnTo>
                        <a:pt x="1116883" y="487794"/>
                      </a:lnTo>
                      <a:lnTo>
                        <a:pt x="1117272" y="490891"/>
                      </a:lnTo>
                      <a:lnTo>
                        <a:pt x="1117053" y="497193"/>
                      </a:lnTo>
                      <a:lnTo>
                        <a:pt x="1117187" y="497763"/>
                      </a:lnTo>
                      <a:lnTo>
                        <a:pt x="1117927" y="498868"/>
                      </a:lnTo>
                      <a:lnTo>
                        <a:pt x="1120526" y="501054"/>
                      </a:lnTo>
                      <a:lnTo>
                        <a:pt x="1122457" y="503471"/>
                      </a:lnTo>
                      <a:lnTo>
                        <a:pt x="1124703" y="508231"/>
                      </a:lnTo>
                      <a:lnTo>
                        <a:pt x="1125748" y="512043"/>
                      </a:lnTo>
                      <a:lnTo>
                        <a:pt x="1126391" y="516974"/>
                      </a:lnTo>
                      <a:lnTo>
                        <a:pt x="1126865" y="518625"/>
                      </a:lnTo>
                      <a:lnTo>
                        <a:pt x="1127618" y="519426"/>
                      </a:lnTo>
                      <a:lnTo>
                        <a:pt x="1128978" y="520714"/>
                      </a:lnTo>
                      <a:lnTo>
                        <a:pt x="1131285" y="524381"/>
                      </a:lnTo>
                      <a:lnTo>
                        <a:pt x="1131698" y="527380"/>
                      </a:lnTo>
                      <a:lnTo>
                        <a:pt x="1129063" y="535552"/>
                      </a:lnTo>
                      <a:lnTo>
                        <a:pt x="1129160" y="551532"/>
                      </a:lnTo>
                      <a:lnTo>
                        <a:pt x="1113957" y="554216"/>
                      </a:lnTo>
                      <a:lnTo>
                        <a:pt x="1099252" y="561295"/>
                      </a:lnTo>
                      <a:lnTo>
                        <a:pt x="1097564" y="563809"/>
                      </a:lnTo>
                      <a:lnTo>
                        <a:pt x="1092792" y="566723"/>
                      </a:lnTo>
                      <a:lnTo>
                        <a:pt x="1086720" y="568775"/>
                      </a:lnTo>
                      <a:lnTo>
                        <a:pt x="1083660" y="568265"/>
                      </a:lnTo>
                      <a:lnTo>
                        <a:pt x="1079192" y="570730"/>
                      </a:lnTo>
                      <a:lnTo>
                        <a:pt x="1071481" y="573159"/>
                      </a:lnTo>
                      <a:lnTo>
                        <a:pt x="1069465" y="573511"/>
                      </a:lnTo>
                      <a:lnTo>
                        <a:pt x="1068457" y="573948"/>
                      </a:lnTo>
                      <a:lnTo>
                        <a:pt x="1066696" y="577518"/>
                      </a:lnTo>
                      <a:lnTo>
                        <a:pt x="1066696" y="578295"/>
                      </a:lnTo>
                      <a:lnTo>
                        <a:pt x="1066842" y="579716"/>
                      </a:lnTo>
                      <a:lnTo>
                        <a:pt x="1068287" y="584537"/>
                      </a:lnTo>
                      <a:lnTo>
                        <a:pt x="1068615" y="587573"/>
                      </a:lnTo>
                      <a:lnTo>
                        <a:pt x="1068166" y="590475"/>
                      </a:lnTo>
                      <a:lnTo>
                        <a:pt x="1068615" y="592284"/>
                      </a:lnTo>
                      <a:lnTo>
                        <a:pt x="1069781" y="593826"/>
                      </a:lnTo>
                      <a:lnTo>
                        <a:pt x="1071117" y="594385"/>
                      </a:lnTo>
                      <a:lnTo>
                        <a:pt x="1074261" y="597542"/>
                      </a:lnTo>
                      <a:lnTo>
                        <a:pt x="1074893" y="602241"/>
                      </a:lnTo>
                      <a:lnTo>
                        <a:pt x="1072428" y="609758"/>
                      </a:lnTo>
                      <a:lnTo>
                        <a:pt x="1068615" y="613449"/>
                      </a:lnTo>
                      <a:lnTo>
                        <a:pt x="1064341" y="615611"/>
                      </a:lnTo>
                      <a:lnTo>
                        <a:pt x="1058731" y="616303"/>
                      </a:lnTo>
                      <a:lnTo>
                        <a:pt x="1059265" y="617796"/>
                      </a:lnTo>
                      <a:lnTo>
                        <a:pt x="1060224" y="619460"/>
                      </a:lnTo>
                      <a:lnTo>
                        <a:pt x="1065385" y="625434"/>
                      </a:lnTo>
                      <a:lnTo>
                        <a:pt x="1067109" y="628215"/>
                      </a:lnTo>
                      <a:lnTo>
                        <a:pt x="1069307" y="632902"/>
                      </a:lnTo>
                      <a:lnTo>
                        <a:pt x="1073812" y="630850"/>
                      </a:lnTo>
                      <a:lnTo>
                        <a:pt x="1087218" y="628592"/>
                      </a:lnTo>
                      <a:lnTo>
                        <a:pt x="1092318" y="626345"/>
                      </a:lnTo>
                      <a:lnTo>
                        <a:pt x="1100320" y="623965"/>
                      </a:lnTo>
                      <a:lnTo>
                        <a:pt x="1104995" y="623176"/>
                      </a:lnTo>
                      <a:lnTo>
                        <a:pt x="1108990" y="623042"/>
                      </a:lnTo>
                      <a:lnTo>
                        <a:pt x="1122748" y="624342"/>
                      </a:lnTo>
                      <a:lnTo>
                        <a:pt x="1123501" y="623722"/>
                      </a:lnTo>
                      <a:lnTo>
                        <a:pt x="1123562" y="623358"/>
                      </a:lnTo>
                      <a:lnTo>
                        <a:pt x="1123732" y="623091"/>
                      </a:lnTo>
                      <a:lnTo>
                        <a:pt x="1124995" y="621816"/>
                      </a:lnTo>
                      <a:lnTo>
                        <a:pt x="1125978" y="621439"/>
                      </a:lnTo>
                      <a:lnTo>
                        <a:pt x="1127326" y="621039"/>
                      </a:lnTo>
                      <a:lnTo>
                        <a:pt x="1129111" y="620832"/>
                      </a:lnTo>
                      <a:lnTo>
                        <a:pt x="1131795" y="621257"/>
                      </a:lnTo>
                      <a:lnTo>
                        <a:pt x="1133507" y="621961"/>
                      </a:lnTo>
                      <a:lnTo>
                        <a:pt x="1135668" y="623625"/>
                      </a:lnTo>
                      <a:lnTo>
                        <a:pt x="1137174" y="625252"/>
                      </a:lnTo>
                      <a:lnTo>
                        <a:pt x="1137648" y="625665"/>
                      </a:lnTo>
                      <a:lnTo>
                        <a:pt x="1137951" y="625726"/>
                      </a:lnTo>
                      <a:lnTo>
                        <a:pt x="1144436" y="624463"/>
                      </a:lnTo>
                      <a:lnTo>
                        <a:pt x="1146026" y="623953"/>
                      </a:lnTo>
                      <a:lnTo>
                        <a:pt x="1147326" y="623285"/>
                      </a:lnTo>
                      <a:lnTo>
                        <a:pt x="1150118" y="621512"/>
                      </a:lnTo>
                      <a:lnTo>
                        <a:pt x="1151928" y="620674"/>
                      </a:lnTo>
                      <a:lnTo>
                        <a:pt x="1154405" y="620140"/>
                      </a:lnTo>
                      <a:lnTo>
                        <a:pt x="1156627" y="620504"/>
                      </a:lnTo>
                      <a:lnTo>
                        <a:pt x="1157781" y="621306"/>
                      </a:lnTo>
                      <a:lnTo>
                        <a:pt x="1158898" y="622556"/>
                      </a:lnTo>
                      <a:lnTo>
                        <a:pt x="1159420" y="623540"/>
                      </a:lnTo>
                      <a:lnTo>
                        <a:pt x="1160513" y="626151"/>
                      </a:lnTo>
                      <a:lnTo>
                        <a:pt x="1161071" y="627936"/>
                      </a:lnTo>
                      <a:lnTo>
                        <a:pt x="1161399" y="630073"/>
                      </a:lnTo>
                      <a:lnTo>
                        <a:pt x="1161253" y="632538"/>
                      </a:lnTo>
                      <a:lnTo>
                        <a:pt x="1160489" y="634869"/>
                      </a:lnTo>
                      <a:lnTo>
                        <a:pt x="1158959" y="636958"/>
                      </a:lnTo>
                      <a:lnTo>
                        <a:pt x="1156542" y="639022"/>
                      </a:lnTo>
                      <a:lnTo>
                        <a:pt x="1153263" y="641050"/>
                      </a:lnTo>
                      <a:lnTo>
                        <a:pt x="1148309" y="643260"/>
                      </a:lnTo>
                      <a:lnTo>
                        <a:pt x="1123137" y="650169"/>
                      </a:lnTo>
                      <a:lnTo>
                        <a:pt x="1120599" y="650412"/>
                      </a:lnTo>
                      <a:lnTo>
                        <a:pt x="1117782" y="649975"/>
                      </a:lnTo>
                      <a:lnTo>
                        <a:pt x="1112050" y="647680"/>
                      </a:lnTo>
                      <a:lnTo>
                        <a:pt x="1110909" y="648093"/>
                      </a:lnTo>
                      <a:lnTo>
                        <a:pt x="1105505" y="654067"/>
                      </a:lnTo>
                      <a:lnTo>
                        <a:pt x="1102300" y="656593"/>
                      </a:lnTo>
                      <a:lnTo>
                        <a:pt x="1098645" y="658682"/>
                      </a:lnTo>
                      <a:lnTo>
                        <a:pt x="1096519" y="660722"/>
                      </a:lnTo>
                      <a:lnTo>
                        <a:pt x="1094443" y="664207"/>
                      </a:lnTo>
                      <a:lnTo>
                        <a:pt x="1091662" y="676070"/>
                      </a:lnTo>
                      <a:lnTo>
                        <a:pt x="1088797" y="680964"/>
                      </a:lnTo>
                      <a:lnTo>
                        <a:pt x="1086392" y="682227"/>
                      </a:lnTo>
                      <a:lnTo>
                        <a:pt x="1075500" y="686161"/>
                      </a:lnTo>
                      <a:lnTo>
                        <a:pt x="1072003" y="686829"/>
                      </a:lnTo>
                      <a:lnTo>
                        <a:pt x="1068773" y="685846"/>
                      </a:lnTo>
                      <a:lnTo>
                        <a:pt x="1066514" y="683538"/>
                      </a:lnTo>
                      <a:lnTo>
                        <a:pt x="1065834" y="685105"/>
                      </a:lnTo>
                      <a:lnTo>
                        <a:pt x="1063066" y="694248"/>
                      </a:lnTo>
                      <a:lnTo>
                        <a:pt x="1060601" y="697733"/>
                      </a:lnTo>
                      <a:lnTo>
                        <a:pt x="1057686" y="699761"/>
                      </a:lnTo>
                      <a:lnTo>
                        <a:pt x="1054602" y="700562"/>
                      </a:lnTo>
                      <a:lnTo>
                        <a:pt x="1052890" y="701206"/>
                      </a:lnTo>
                      <a:lnTo>
                        <a:pt x="1051445" y="701995"/>
                      </a:lnTo>
                      <a:lnTo>
                        <a:pt x="1050085" y="702930"/>
                      </a:lnTo>
                      <a:lnTo>
                        <a:pt x="1047353" y="705553"/>
                      </a:lnTo>
                      <a:lnTo>
                        <a:pt x="1046600" y="705954"/>
                      </a:lnTo>
                      <a:lnTo>
                        <a:pt x="1044766" y="706561"/>
                      </a:lnTo>
                      <a:lnTo>
                        <a:pt x="1043297" y="706355"/>
                      </a:lnTo>
                      <a:lnTo>
                        <a:pt x="1042143" y="706003"/>
                      </a:lnTo>
                      <a:lnTo>
                        <a:pt x="1040820" y="705480"/>
                      </a:lnTo>
                      <a:lnTo>
                        <a:pt x="1039448" y="705080"/>
                      </a:lnTo>
                      <a:lnTo>
                        <a:pt x="1038318" y="705031"/>
                      </a:lnTo>
                      <a:lnTo>
                        <a:pt x="1037687" y="705371"/>
                      </a:lnTo>
                      <a:lnTo>
                        <a:pt x="1037128" y="705808"/>
                      </a:lnTo>
                      <a:lnTo>
                        <a:pt x="1034360" y="706646"/>
                      </a:lnTo>
                      <a:lnTo>
                        <a:pt x="1032296" y="706270"/>
                      </a:lnTo>
                      <a:lnTo>
                        <a:pt x="1023771" y="701753"/>
                      </a:lnTo>
                      <a:lnTo>
                        <a:pt x="1028470" y="706209"/>
                      </a:lnTo>
                      <a:lnTo>
                        <a:pt x="1034117" y="709415"/>
                      </a:lnTo>
                      <a:lnTo>
                        <a:pt x="1036655" y="709524"/>
                      </a:lnTo>
                      <a:lnTo>
                        <a:pt x="1038804" y="709415"/>
                      </a:lnTo>
                      <a:lnTo>
                        <a:pt x="1039897" y="708820"/>
                      </a:lnTo>
                      <a:lnTo>
                        <a:pt x="1042593" y="708528"/>
                      </a:lnTo>
                      <a:lnTo>
                        <a:pt x="1044985" y="708747"/>
                      </a:lnTo>
                      <a:lnTo>
                        <a:pt x="1047717" y="709730"/>
                      </a:lnTo>
                      <a:lnTo>
                        <a:pt x="1050146" y="711443"/>
                      </a:lnTo>
                      <a:lnTo>
                        <a:pt x="1052939" y="714903"/>
                      </a:lnTo>
                      <a:lnTo>
                        <a:pt x="1054129" y="717308"/>
                      </a:lnTo>
                      <a:lnTo>
                        <a:pt x="1055391" y="718898"/>
                      </a:lnTo>
                      <a:lnTo>
                        <a:pt x="1060649" y="720756"/>
                      </a:lnTo>
                      <a:lnTo>
                        <a:pt x="1064207" y="721582"/>
                      </a:lnTo>
                      <a:lnTo>
                        <a:pt x="1066466" y="724326"/>
                      </a:lnTo>
                      <a:lnTo>
                        <a:pt x="1069647" y="729196"/>
                      </a:lnTo>
                      <a:lnTo>
                        <a:pt x="1072901" y="733130"/>
                      </a:lnTo>
                      <a:lnTo>
                        <a:pt x="1075379" y="735437"/>
                      </a:lnTo>
                      <a:lnTo>
                        <a:pt x="1077285" y="736724"/>
                      </a:lnTo>
                      <a:lnTo>
                        <a:pt x="1079240" y="738449"/>
                      </a:lnTo>
                      <a:lnTo>
                        <a:pt x="1081159" y="741654"/>
                      </a:lnTo>
                      <a:lnTo>
                        <a:pt x="1083211" y="749426"/>
                      </a:lnTo>
                      <a:lnTo>
                        <a:pt x="1084862" y="752546"/>
                      </a:lnTo>
                      <a:lnTo>
                        <a:pt x="1086587" y="757550"/>
                      </a:lnTo>
                      <a:lnTo>
                        <a:pt x="1088347" y="773396"/>
                      </a:lnTo>
                      <a:lnTo>
                        <a:pt x="1088311" y="776905"/>
                      </a:lnTo>
                      <a:lnTo>
                        <a:pt x="1087874" y="780111"/>
                      </a:lnTo>
                      <a:lnTo>
                        <a:pt x="1087024" y="783098"/>
                      </a:lnTo>
                      <a:lnTo>
                        <a:pt x="1085676" y="785891"/>
                      </a:lnTo>
                      <a:lnTo>
                        <a:pt x="1083357" y="788599"/>
                      </a:lnTo>
                      <a:lnTo>
                        <a:pt x="1073703" y="795909"/>
                      </a:lnTo>
                      <a:lnTo>
                        <a:pt x="1069319" y="800463"/>
                      </a:lnTo>
                      <a:lnTo>
                        <a:pt x="1069247" y="800924"/>
                      </a:lnTo>
                      <a:lnTo>
                        <a:pt x="1069684" y="803668"/>
                      </a:lnTo>
                      <a:lnTo>
                        <a:pt x="1069380" y="806789"/>
                      </a:lnTo>
                      <a:lnTo>
                        <a:pt x="1068481" y="809837"/>
                      </a:lnTo>
                      <a:lnTo>
                        <a:pt x="1067194" y="812460"/>
                      </a:lnTo>
                      <a:lnTo>
                        <a:pt x="1065336" y="814828"/>
                      </a:lnTo>
                      <a:lnTo>
                        <a:pt x="1062289" y="816831"/>
                      </a:lnTo>
                      <a:lnTo>
                        <a:pt x="1058682" y="818179"/>
                      </a:lnTo>
                      <a:lnTo>
                        <a:pt x="1053946" y="820523"/>
                      </a:lnTo>
                      <a:lnTo>
                        <a:pt x="1049672" y="823206"/>
                      </a:lnTo>
                      <a:lnTo>
                        <a:pt x="1046624" y="824323"/>
                      </a:lnTo>
                      <a:lnTo>
                        <a:pt x="1036023" y="825101"/>
                      </a:lnTo>
                      <a:lnTo>
                        <a:pt x="1033583" y="824809"/>
                      </a:lnTo>
                      <a:lnTo>
                        <a:pt x="1030717" y="823680"/>
                      </a:lnTo>
                      <a:lnTo>
                        <a:pt x="1028968" y="821774"/>
                      </a:lnTo>
                      <a:lnTo>
                        <a:pt x="1024269" y="814913"/>
                      </a:lnTo>
                      <a:lnTo>
                        <a:pt x="1022302" y="813407"/>
                      </a:lnTo>
                      <a:lnTo>
                        <a:pt x="1019594" y="811816"/>
                      </a:lnTo>
                      <a:lnTo>
                        <a:pt x="1014118" y="809266"/>
                      </a:lnTo>
                      <a:lnTo>
                        <a:pt x="1006637" y="803935"/>
                      </a:lnTo>
                      <a:lnTo>
                        <a:pt x="1004622" y="803122"/>
                      </a:lnTo>
                      <a:lnTo>
                        <a:pt x="1003104" y="802320"/>
                      </a:lnTo>
                      <a:lnTo>
                        <a:pt x="1001452" y="800851"/>
                      </a:lnTo>
                      <a:lnTo>
                        <a:pt x="998732" y="795156"/>
                      </a:lnTo>
                      <a:lnTo>
                        <a:pt x="998028" y="793966"/>
                      </a:lnTo>
                      <a:lnTo>
                        <a:pt x="997810" y="793784"/>
                      </a:lnTo>
                      <a:lnTo>
                        <a:pt x="997178" y="794379"/>
                      </a:lnTo>
                      <a:lnTo>
                        <a:pt x="995624" y="798799"/>
                      </a:lnTo>
                      <a:lnTo>
                        <a:pt x="991811" y="803086"/>
                      </a:lnTo>
                      <a:lnTo>
                        <a:pt x="988836" y="804081"/>
                      </a:lnTo>
                      <a:lnTo>
                        <a:pt x="989176" y="804118"/>
                      </a:lnTo>
                      <a:lnTo>
                        <a:pt x="991641" y="804871"/>
                      </a:lnTo>
                      <a:lnTo>
                        <a:pt x="992685" y="805903"/>
                      </a:lnTo>
                      <a:lnTo>
                        <a:pt x="993547" y="807238"/>
                      </a:lnTo>
                      <a:lnTo>
                        <a:pt x="994009" y="808829"/>
                      </a:lnTo>
                      <a:lnTo>
                        <a:pt x="994640" y="813298"/>
                      </a:lnTo>
                      <a:lnTo>
                        <a:pt x="997263" y="813516"/>
                      </a:lnTo>
                      <a:lnTo>
                        <a:pt x="999170" y="813978"/>
                      </a:lnTo>
                      <a:lnTo>
                        <a:pt x="1000129" y="814974"/>
                      </a:lnTo>
                      <a:lnTo>
                        <a:pt x="1000870" y="816054"/>
                      </a:lnTo>
                      <a:lnTo>
                        <a:pt x="1001331" y="817050"/>
                      </a:lnTo>
                      <a:lnTo>
                        <a:pt x="1001744" y="818216"/>
                      </a:lnTo>
                      <a:lnTo>
                        <a:pt x="1003492" y="826315"/>
                      </a:lnTo>
                      <a:lnTo>
                        <a:pt x="1002363" y="830504"/>
                      </a:lnTo>
                      <a:lnTo>
                        <a:pt x="1000032" y="835786"/>
                      </a:lnTo>
                      <a:lnTo>
                        <a:pt x="990609" y="851208"/>
                      </a:lnTo>
                      <a:lnTo>
                        <a:pt x="985157" y="858506"/>
                      </a:lnTo>
                      <a:lnTo>
                        <a:pt x="985132" y="858676"/>
                      </a:lnTo>
                      <a:lnTo>
                        <a:pt x="986225" y="859016"/>
                      </a:lnTo>
                      <a:lnTo>
                        <a:pt x="987937" y="860121"/>
                      </a:lnTo>
                      <a:lnTo>
                        <a:pt x="988496" y="861092"/>
                      </a:lnTo>
                      <a:lnTo>
                        <a:pt x="989164" y="862440"/>
                      </a:lnTo>
                      <a:lnTo>
                        <a:pt x="989577" y="863921"/>
                      </a:lnTo>
                      <a:lnTo>
                        <a:pt x="989880" y="865986"/>
                      </a:lnTo>
                      <a:lnTo>
                        <a:pt x="990026" y="869046"/>
                      </a:lnTo>
                      <a:lnTo>
                        <a:pt x="991264" y="878153"/>
                      </a:lnTo>
                      <a:lnTo>
                        <a:pt x="990985" y="881674"/>
                      </a:lnTo>
                      <a:lnTo>
                        <a:pt x="990269" y="884455"/>
                      </a:lnTo>
                      <a:lnTo>
                        <a:pt x="988265" y="888244"/>
                      </a:lnTo>
                      <a:lnTo>
                        <a:pt x="988192" y="889288"/>
                      </a:lnTo>
                      <a:lnTo>
                        <a:pt x="988350" y="890187"/>
                      </a:lnTo>
                      <a:lnTo>
                        <a:pt x="989443" y="893089"/>
                      </a:lnTo>
                      <a:lnTo>
                        <a:pt x="989115" y="896258"/>
                      </a:lnTo>
                      <a:lnTo>
                        <a:pt x="986796" y="898978"/>
                      </a:lnTo>
                      <a:lnTo>
                        <a:pt x="983032" y="899549"/>
                      </a:lnTo>
                      <a:lnTo>
                        <a:pt x="980591" y="899355"/>
                      </a:lnTo>
                      <a:lnTo>
                        <a:pt x="976912" y="898420"/>
                      </a:lnTo>
                      <a:lnTo>
                        <a:pt x="965521" y="896683"/>
                      </a:lnTo>
                      <a:lnTo>
                        <a:pt x="964356" y="896999"/>
                      </a:lnTo>
                      <a:lnTo>
                        <a:pt x="963919" y="897485"/>
                      </a:lnTo>
                      <a:lnTo>
                        <a:pt x="963239" y="898832"/>
                      </a:lnTo>
                      <a:lnTo>
                        <a:pt x="963263" y="900205"/>
                      </a:lnTo>
                      <a:lnTo>
                        <a:pt x="963421" y="901152"/>
                      </a:lnTo>
                      <a:lnTo>
                        <a:pt x="963311" y="903131"/>
                      </a:lnTo>
                      <a:lnTo>
                        <a:pt x="962826" y="905584"/>
                      </a:lnTo>
                      <a:lnTo>
                        <a:pt x="961308" y="907539"/>
                      </a:lnTo>
                      <a:lnTo>
                        <a:pt x="959644" y="909081"/>
                      </a:lnTo>
                      <a:lnTo>
                        <a:pt x="956499" y="910939"/>
                      </a:lnTo>
                      <a:lnTo>
                        <a:pt x="953306" y="912117"/>
                      </a:lnTo>
                      <a:lnTo>
                        <a:pt x="951217" y="912627"/>
                      </a:lnTo>
                      <a:lnTo>
                        <a:pt x="945036" y="911886"/>
                      </a:lnTo>
                      <a:lnTo>
                        <a:pt x="942268" y="911461"/>
                      </a:lnTo>
                      <a:lnTo>
                        <a:pt x="943081" y="900229"/>
                      </a:lnTo>
                      <a:lnTo>
                        <a:pt x="942826" y="899925"/>
                      </a:lnTo>
                      <a:lnTo>
                        <a:pt x="942219" y="899525"/>
                      </a:lnTo>
                      <a:lnTo>
                        <a:pt x="937156" y="898845"/>
                      </a:lnTo>
                      <a:lnTo>
                        <a:pt x="936986" y="899112"/>
                      </a:lnTo>
                      <a:lnTo>
                        <a:pt x="936779" y="902354"/>
                      </a:lnTo>
                      <a:lnTo>
                        <a:pt x="936099" y="904515"/>
                      </a:lnTo>
                      <a:lnTo>
                        <a:pt x="934205" y="905912"/>
                      </a:lnTo>
                      <a:lnTo>
                        <a:pt x="931473" y="907017"/>
                      </a:lnTo>
                      <a:lnTo>
                        <a:pt x="926822" y="907393"/>
                      </a:lnTo>
                      <a:lnTo>
                        <a:pt x="923410" y="906470"/>
                      </a:lnTo>
                      <a:lnTo>
                        <a:pt x="920872" y="904528"/>
                      </a:lnTo>
                      <a:lnTo>
                        <a:pt x="920374" y="904090"/>
                      </a:lnTo>
                      <a:lnTo>
                        <a:pt x="919354" y="901783"/>
                      </a:lnTo>
                      <a:lnTo>
                        <a:pt x="917678" y="894169"/>
                      </a:lnTo>
                      <a:lnTo>
                        <a:pt x="917630" y="892530"/>
                      </a:lnTo>
                      <a:lnTo>
                        <a:pt x="917775" y="890927"/>
                      </a:lnTo>
                      <a:lnTo>
                        <a:pt x="918249" y="889385"/>
                      </a:lnTo>
                      <a:lnTo>
                        <a:pt x="918978" y="888049"/>
                      </a:lnTo>
                      <a:lnTo>
                        <a:pt x="920034" y="886799"/>
                      </a:lnTo>
                      <a:lnTo>
                        <a:pt x="921127" y="885852"/>
                      </a:lnTo>
                      <a:lnTo>
                        <a:pt x="933913" y="878894"/>
                      </a:lnTo>
                      <a:lnTo>
                        <a:pt x="934241" y="878396"/>
                      </a:lnTo>
                      <a:lnTo>
                        <a:pt x="933525" y="878578"/>
                      </a:lnTo>
                      <a:lnTo>
                        <a:pt x="931509" y="878687"/>
                      </a:lnTo>
                      <a:lnTo>
                        <a:pt x="928680" y="878335"/>
                      </a:lnTo>
                      <a:lnTo>
                        <a:pt x="925935" y="876453"/>
                      </a:lnTo>
                      <a:lnTo>
                        <a:pt x="925195" y="875069"/>
                      </a:lnTo>
                      <a:lnTo>
                        <a:pt x="924697" y="873272"/>
                      </a:lnTo>
                      <a:lnTo>
                        <a:pt x="924758" y="871863"/>
                      </a:lnTo>
                      <a:lnTo>
                        <a:pt x="925389" y="869361"/>
                      </a:lnTo>
                      <a:lnTo>
                        <a:pt x="919645" y="874243"/>
                      </a:lnTo>
                      <a:lnTo>
                        <a:pt x="914837" y="876951"/>
                      </a:lnTo>
                      <a:lnTo>
                        <a:pt x="913210" y="877133"/>
                      </a:lnTo>
                      <a:lnTo>
                        <a:pt x="911012" y="876854"/>
                      </a:lnTo>
                      <a:lnTo>
                        <a:pt x="909530" y="876307"/>
                      </a:lnTo>
                      <a:lnTo>
                        <a:pt x="909251" y="876684"/>
                      </a:lnTo>
                      <a:lnTo>
                        <a:pt x="906665" y="883034"/>
                      </a:lnTo>
                      <a:lnTo>
                        <a:pt x="905062" y="884735"/>
                      </a:lnTo>
                      <a:lnTo>
                        <a:pt x="902742" y="884990"/>
                      </a:lnTo>
                      <a:lnTo>
                        <a:pt x="900350" y="884771"/>
                      </a:lnTo>
                      <a:lnTo>
                        <a:pt x="896744" y="883994"/>
                      </a:lnTo>
                      <a:lnTo>
                        <a:pt x="896222" y="884929"/>
                      </a:lnTo>
                      <a:lnTo>
                        <a:pt x="897339" y="886192"/>
                      </a:lnTo>
                      <a:lnTo>
                        <a:pt x="901297" y="888790"/>
                      </a:lnTo>
                      <a:lnTo>
                        <a:pt x="903082" y="890235"/>
                      </a:lnTo>
                      <a:lnTo>
                        <a:pt x="904576" y="891923"/>
                      </a:lnTo>
                      <a:lnTo>
                        <a:pt x="905705" y="893963"/>
                      </a:lnTo>
                      <a:lnTo>
                        <a:pt x="906313" y="895821"/>
                      </a:lnTo>
                      <a:lnTo>
                        <a:pt x="907017" y="904163"/>
                      </a:lnTo>
                      <a:lnTo>
                        <a:pt x="907940" y="908268"/>
                      </a:lnTo>
                      <a:lnTo>
                        <a:pt x="896343" y="913210"/>
                      </a:lnTo>
                      <a:lnTo>
                        <a:pt x="891158" y="914424"/>
                      </a:lnTo>
                      <a:lnTo>
                        <a:pt x="887418" y="914521"/>
                      </a:lnTo>
                      <a:lnTo>
                        <a:pt x="882330" y="914048"/>
                      </a:lnTo>
                      <a:lnTo>
                        <a:pt x="882075" y="914363"/>
                      </a:lnTo>
                      <a:lnTo>
                        <a:pt x="881492" y="914776"/>
                      </a:lnTo>
                      <a:lnTo>
                        <a:pt x="881019" y="915371"/>
                      </a:lnTo>
                      <a:lnTo>
                        <a:pt x="880229" y="916124"/>
                      </a:lnTo>
                      <a:lnTo>
                        <a:pt x="878432" y="916270"/>
                      </a:lnTo>
                      <a:lnTo>
                        <a:pt x="876842" y="916063"/>
                      </a:lnTo>
                      <a:lnTo>
                        <a:pt x="873429" y="914679"/>
                      </a:lnTo>
                      <a:lnTo>
                        <a:pt x="870722" y="915978"/>
                      </a:lnTo>
                      <a:lnTo>
                        <a:pt x="869726" y="916840"/>
                      </a:lnTo>
                      <a:lnTo>
                        <a:pt x="865646" y="919196"/>
                      </a:lnTo>
                      <a:lnTo>
                        <a:pt x="859866" y="920180"/>
                      </a:lnTo>
                      <a:lnTo>
                        <a:pt x="855774" y="920180"/>
                      </a:lnTo>
                      <a:close/>
                      <a:moveTo>
                        <a:pt x="894060" y="493744"/>
                      </a:moveTo>
                      <a:lnTo>
                        <a:pt x="894910" y="494108"/>
                      </a:lnTo>
                      <a:lnTo>
                        <a:pt x="896258" y="493356"/>
                      </a:lnTo>
                      <a:lnTo>
                        <a:pt x="896987" y="491656"/>
                      </a:lnTo>
                      <a:lnTo>
                        <a:pt x="896780" y="489203"/>
                      </a:lnTo>
                      <a:lnTo>
                        <a:pt x="893769" y="490818"/>
                      </a:lnTo>
                      <a:lnTo>
                        <a:pt x="890417" y="490818"/>
                      </a:lnTo>
                      <a:lnTo>
                        <a:pt x="894060" y="493744"/>
                      </a:lnTo>
                      <a:close/>
                      <a:moveTo>
                        <a:pt x="777573" y="491716"/>
                      </a:moveTo>
                      <a:lnTo>
                        <a:pt x="782588" y="491340"/>
                      </a:lnTo>
                      <a:lnTo>
                        <a:pt x="780245" y="490976"/>
                      </a:lnTo>
                      <a:lnTo>
                        <a:pt x="778642" y="491231"/>
                      </a:lnTo>
                      <a:lnTo>
                        <a:pt x="776917" y="491376"/>
                      </a:lnTo>
                      <a:lnTo>
                        <a:pt x="774962" y="488608"/>
                      </a:lnTo>
                      <a:lnTo>
                        <a:pt x="774027" y="490380"/>
                      </a:lnTo>
                      <a:lnTo>
                        <a:pt x="777573" y="491716"/>
                      </a:lnTo>
                      <a:close/>
                      <a:moveTo>
                        <a:pt x="796905" y="473672"/>
                      </a:moveTo>
                      <a:lnTo>
                        <a:pt x="795217" y="476744"/>
                      </a:lnTo>
                      <a:lnTo>
                        <a:pt x="797220" y="474121"/>
                      </a:lnTo>
                      <a:lnTo>
                        <a:pt x="799904" y="472166"/>
                      </a:lnTo>
                      <a:lnTo>
                        <a:pt x="800062" y="471073"/>
                      </a:lnTo>
                      <a:lnTo>
                        <a:pt x="798337" y="471838"/>
                      </a:lnTo>
                      <a:lnTo>
                        <a:pt x="796905" y="473672"/>
                      </a:lnTo>
                      <a:close/>
                      <a:moveTo>
                        <a:pt x="429556" y="330458"/>
                      </a:moveTo>
                      <a:lnTo>
                        <a:pt x="429921" y="332838"/>
                      </a:lnTo>
                      <a:lnTo>
                        <a:pt x="430479" y="334842"/>
                      </a:lnTo>
                      <a:lnTo>
                        <a:pt x="431354" y="336068"/>
                      </a:lnTo>
                      <a:lnTo>
                        <a:pt x="432082" y="337294"/>
                      </a:lnTo>
                      <a:lnTo>
                        <a:pt x="429957" y="343378"/>
                      </a:lnTo>
                      <a:lnTo>
                        <a:pt x="430394" y="345236"/>
                      </a:lnTo>
                      <a:lnTo>
                        <a:pt x="430394" y="348648"/>
                      </a:lnTo>
                      <a:lnTo>
                        <a:pt x="430188" y="350469"/>
                      </a:lnTo>
                      <a:lnTo>
                        <a:pt x="431341" y="349146"/>
                      </a:lnTo>
                      <a:lnTo>
                        <a:pt x="435737" y="345795"/>
                      </a:lnTo>
                      <a:lnTo>
                        <a:pt x="438457" y="345795"/>
                      </a:lnTo>
                      <a:lnTo>
                        <a:pt x="441347" y="346402"/>
                      </a:lnTo>
                      <a:lnTo>
                        <a:pt x="442015" y="346402"/>
                      </a:lnTo>
                      <a:lnTo>
                        <a:pt x="442889" y="345892"/>
                      </a:lnTo>
                      <a:lnTo>
                        <a:pt x="443837" y="344544"/>
                      </a:lnTo>
                      <a:lnTo>
                        <a:pt x="445002" y="341897"/>
                      </a:lnTo>
                      <a:lnTo>
                        <a:pt x="446217" y="339869"/>
                      </a:lnTo>
                      <a:lnTo>
                        <a:pt x="447819" y="336323"/>
                      </a:lnTo>
                      <a:lnTo>
                        <a:pt x="447783" y="332777"/>
                      </a:lnTo>
                      <a:lnTo>
                        <a:pt x="446921" y="328904"/>
                      </a:lnTo>
                      <a:lnTo>
                        <a:pt x="445488" y="325698"/>
                      </a:lnTo>
                      <a:lnTo>
                        <a:pt x="443630" y="323439"/>
                      </a:lnTo>
                      <a:lnTo>
                        <a:pt x="440789" y="320671"/>
                      </a:lnTo>
                      <a:lnTo>
                        <a:pt x="440631" y="320962"/>
                      </a:lnTo>
                      <a:lnTo>
                        <a:pt x="438445" y="323452"/>
                      </a:lnTo>
                      <a:lnTo>
                        <a:pt x="430807" y="327556"/>
                      </a:lnTo>
                      <a:lnTo>
                        <a:pt x="429532" y="329474"/>
                      </a:lnTo>
                      <a:lnTo>
                        <a:pt x="429556" y="330458"/>
                      </a:lnTo>
                      <a:close/>
                    </a:path>
                  </a:pathLst>
                </a:custGeom>
                <a:solidFill>
                  <a:srgbClr val="D7D7D2"/>
                </a:solidFill>
                <a:ln w="12138" cap="flat">
                  <a:noFill/>
                  <a:prstDash val="solid"/>
                  <a:miter/>
                </a:ln>
              </p:spPr>
              <p:txBody>
                <a:bodyPr rtlCol="0" anchor="ctr"/>
                <a:lstStyle/>
                <a:p>
                  <a:endParaRPr lang="en-US"/>
                </a:p>
              </p:txBody>
            </p:sp>
            <p:sp>
              <p:nvSpPr>
                <p:cNvPr id="321" name="Freeform: Shape 320">
                  <a:extLst>
                    <a:ext uri="{FF2B5EF4-FFF2-40B4-BE49-F238E27FC236}">
                      <a16:creationId xmlns:a16="http://schemas.microsoft.com/office/drawing/2014/main" id="{8217127B-C1FA-415A-B6D9-1F907F23747E}"/>
                    </a:ext>
                  </a:extLst>
                </p:cNvPr>
                <p:cNvSpPr/>
                <p:nvPr/>
              </p:nvSpPr>
              <p:spPr>
                <a:xfrm>
                  <a:off x="3351696" y="3205317"/>
                  <a:ext cx="1197657" cy="926154"/>
                </a:xfrm>
                <a:custGeom>
                  <a:avLst/>
                  <a:gdLst>
                    <a:gd name="connsiteX0" fmla="*/ 739845 w 1197657"/>
                    <a:gd name="connsiteY0" fmla="*/ 6302 h 926154"/>
                    <a:gd name="connsiteX1" fmla="*/ 741751 w 1197657"/>
                    <a:gd name="connsiteY1" fmla="*/ 7614 h 926154"/>
                    <a:gd name="connsiteX2" fmla="*/ 743184 w 1197657"/>
                    <a:gd name="connsiteY2" fmla="*/ 9884 h 926154"/>
                    <a:gd name="connsiteX3" fmla="*/ 745419 w 1197657"/>
                    <a:gd name="connsiteY3" fmla="*/ 14219 h 926154"/>
                    <a:gd name="connsiteX4" fmla="*/ 748928 w 1197657"/>
                    <a:gd name="connsiteY4" fmla="*/ 16599 h 926154"/>
                    <a:gd name="connsiteX5" fmla="*/ 762698 w 1197657"/>
                    <a:gd name="connsiteY5" fmla="*/ 21105 h 926154"/>
                    <a:gd name="connsiteX6" fmla="*/ 768964 w 1197657"/>
                    <a:gd name="connsiteY6" fmla="*/ 21882 h 926154"/>
                    <a:gd name="connsiteX7" fmla="*/ 780160 w 1197657"/>
                    <a:gd name="connsiteY7" fmla="*/ 20813 h 926154"/>
                    <a:gd name="connsiteX8" fmla="*/ 787057 w 1197657"/>
                    <a:gd name="connsiteY8" fmla="*/ 19186 h 926154"/>
                    <a:gd name="connsiteX9" fmla="*/ 790032 w 1197657"/>
                    <a:gd name="connsiteY9" fmla="*/ 18809 h 926154"/>
                    <a:gd name="connsiteX10" fmla="*/ 791707 w 1197657"/>
                    <a:gd name="connsiteY10" fmla="*/ 19465 h 926154"/>
                    <a:gd name="connsiteX11" fmla="*/ 792618 w 1197657"/>
                    <a:gd name="connsiteY11" fmla="*/ 20874 h 926154"/>
                    <a:gd name="connsiteX12" fmla="*/ 792788 w 1197657"/>
                    <a:gd name="connsiteY12" fmla="*/ 22489 h 926154"/>
                    <a:gd name="connsiteX13" fmla="*/ 792557 w 1197657"/>
                    <a:gd name="connsiteY13" fmla="*/ 23667 h 926154"/>
                    <a:gd name="connsiteX14" fmla="*/ 791877 w 1197657"/>
                    <a:gd name="connsiteY14" fmla="*/ 24468 h 926154"/>
                    <a:gd name="connsiteX15" fmla="*/ 790323 w 1197657"/>
                    <a:gd name="connsiteY15" fmla="*/ 25124 h 926154"/>
                    <a:gd name="connsiteX16" fmla="*/ 788137 w 1197657"/>
                    <a:gd name="connsiteY16" fmla="*/ 25585 h 926154"/>
                    <a:gd name="connsiteX17" fmla="*/ 779346 w 1197657"/>
                    <a:gd name="connsiteY17" fmla="*/ 26217 h 926154"/>
                    <a:gd name="connsiteX18" fmla="*/ 778265 w 1197657"/>
                    <a:gd name="connsiteY18" fmla="*/ 26557 h 926154"/>
                    <a:gd name="connsiteX19" fmla="*/ 777282 w 1197657"/>
                    <a:gd name="connsiteY19" fmla="*/ 27139 h 926154"/>
                    <a:gd name="connsiteX20" fmla="*/ 776662 w 1197657"/>
                    <a:gd name="connsiteY20" fmla="*/ 27965 h 926154"/>
                    <a:gd name="connsiteX21" fmla="*/ 776942 w 1197657"/>
                    <a:gd name="connsiteY21" fmla="*/ 29325 h 926154"/>
                    <a:gd name="connsiteX22" fmla="*/ 778217 w 1197657"/>
                    <a:gd name="connsiteY22" fmla="*/ 31050 h 926154"/>
                    <a:gd name="connsiteX23" fmla="*/ 781884 w 1197657"/>
                    <a:gd name="connsiteY23" fmla="*/ 34170 h 926154"/>
                    <a:gd name="connsiteX24" fmla="*/ 784458 w 1197657"/>
                    <a:gd name="connsiteY24" fmla="*/ 35603 h 926154"/>
                    <a:gd name="connsiteX25" fmla="*/ 787166 w 1197657"/>
                    <a:gd name="connsiteY25" fmla="*/ 36295 h 926154"/>
                    <a:gd name="connsiteX26" fmla="*/ 789352 w 1197657"/>
                    <a:gd name="connsiteY26" fmla="*/ 36319 h 926154"/>
                    <a:gd name="connsiteX27" fmla="*/ 792339 w 1197657"/>
                    <a:gd name="connsiteY27" fmla="*/ 36672 h 926154"/>
                    <a:gd name="connsiteX28" fmla="*/ 793772 w 1197657"/>
                    <a:gd name="connsiteY28" fmla="*/ 37303 h 926154"/>
                    <a:gd name="connsiteX29" fmla="*/ 794512 w 1197657"/>
                    <a:gd name="connsiteY29" fmla="*/ 38165 h 926154"/>
                    <a:gd name="connsiteX30" fmla="*/ 795022 w 1197657"/>
                    <a:gd name="connsiteY30" fmla="*/ 39829 h 926154"/>
                    <a:gd name="connsiteX31" fmla="*/ 795775 w 1197657"/>
                    <a:gd name="connsiteY31" fmla="*/ 41347 h 926154"/>
                    <a:gd name="connsiteX32" fmla="*/ 797038 w 1197657"/>
                    <a:gd name="connsiteY32" fmla="*/ 42865 h 926154"/>
                    <a:gd name="connsiteX33" fmla="*/ 798641 w 1197657"/>
                    <a:gd name="connsiteY33" fmla="*/ 43387 h 926154"/>
                    <a:gd name="connsiteX34" fmla="*/ 800256 w 1197657"/>
                    <a:gd name="connsiteY34" fmla="*/ 43387 h 926154"/>
                    <a:gd name="connsiteX35" fmla="*/ 802600 w 1197657"/>
                    <a:gd name="connsiteY35" fmla="*/ 42925 h 926154"/>
                    <a:gd name="connsiteX36" fmla="*/ 804785 w 1197657"/>
                    <a:gd name="connsiteY36" fmla="*/ 42755 h 926154"/>
                    <a:gd name="connsiteX37" fmla="*/ 807833 w 1197657"/>
                    <a:gd name="connsiteY37" fmla="*/ 43217 h 926154"/>
                    <a:gd name="connsiteX38" fmla="*/ 808817 w 1197657"/>
                    <a:gd name="connsiteY38" fmla="*/ 44334 h 926154"/>
                    <a:gd name="connsiteX39" fmla="*/ 808987 w 1197657"/>
                    <a:gd name="connsiteY39" fmla="*/ 45827 h 926154"/>
                    <a:gd name="connsiteX40" fmla="*/ 808635 w 1197657"/>
                    <a:gd name="connsiteY40" fmla="*/ 47613 h 926154"/>
                    <a:gd name="connsiteX41" fmla="*/ 808586 w 1197657"/>
                    <a:gd name="connsiteY41" fmla="*/ 47989 h 926154"/>
                    <a:gd name="connsiteX42" fmla="*/ 808817 w 1197657"/>
                    <a:gd name="connsiteY42" fmla="*/ 50017 h 926154"/>
                    <a:gd name="connsiteX43" fmla="*/ 809448 w 1197657"/>
                    <a:gd name="connsiteY43" fmla="*/ 51510 h 926154"/>
                    <a:gd name="connsiteX44" fmla="*/ 811330 w 1197657"/>
                    <a:gd name="connsiteY44" fmla="*/ 54874 h 926154"/>
                    <a:gd name="connsiteX45" fmla="*/ 812945 w 1197657"/>
                    <a:gd name="connsiteY45" fmla="*/ 58517 h 926154"/>
                    <a:gd name="connsiteX46" fmla="*/ 814560 w 1197657"/>
                    <a:gd name="connsiteY46" fmla="*/ 60751 h 926154"/>
                    <a:gd name="connsiteX47" fmla="*/ 815993 w 1197657"/>
                    <a:gd name="connsiteY47" fmla="*/ 61625 h 926154"/>
                    <a:gd name="connsiteX48" fmla="*/ 817475 w 1197657"/>
                    <a:gd name="connsiteY48" fmla="*/ 61783 h 926154"/>
                    <a:gd name="connsiteX49" fmla="*/ 818750 w 1197657"/>
                    <a:gd name="connsiteY49" fmla="*/ 61455 h 926154"/>
                    <a:gd name="connsiteX50" fmla="*/ 819673 w 1197657"/>
                    <a:gd name="connsiteY50" fmla="*/ 60933 h 926154"/>
                    <a:gd name="connsiteX51" fmla="*/ 820243 w 1197657"/>
                    <a:gd name="connsiteY51" fmla="*/ 60387 h 926154"/>
                    <a:gd name="connsiteX52" fmla="*/ 820814 w 1197657"/>
                    <a:gd name="connsiteY52" fmla="*/ 59670 h 926154"/>
                    <a:gd name="connsiteX53" fmla="*/ 821215 w 1197657"/>
                    <a:gd name="connsiteY53" fmla="*/ 58978 h 926154"/>
                    <a:gd name="connsiteX54" fmla="*/ 824263 w 1197657"/>
                    <a:gd name="connsiteY54" fmla="*/ 48584 h 926154"/>
                    <a:gd name="connsiteX55" fmla="*/ 824724 w 1197657"/>
                    <a:gd name="connsiteY55" fmla="*/ 47637 h 926154"/>
                    <a:gd name="connsiteX56" fmla="*/ 825125 w 1197657"/>
                    <a:gd name="connsiteY56" fmla="*/ 47030 h 926154"/>
                    <a:gd name="connsiteX57" fmla="*/ 825574 w 1197657"/>
                    <a:gd name="connsiteY57" fmla="*/ 46495 h 926154"/>
                    <a:gd name="connsiteX58" fmla="*/ 826849 w 1197657"/>
                    <a:gd name="connsiteY58" fmla="*/ 45888 h 926154"/>
                    <a:gd name="connsiteX59" fmla="*/ 828804 w 1197657"/>
                    <a:gd name="connsiteY59" fmla="*/ 45487 h 926154"/>
                    <a:gd name="connsiteX60" fmla="*/ 832411 w 1197657"/>
                    <a:gd name="connsiteY60" fmla="*/ 45779 h 926154"/>
                    <a:gd name="connsiteX61" fmla="*/ 834536 w 1197657"/>
                    <a:gd name="connsiteY61" fmla="*/ 46459 h 926154"/>
                    <a:gd name="connsiteX62" fmla="*/ 842744 w 1197657"/>
                    <a:gd name="connsiteY62" fmla="*/ 51741 h 926154"/>
                    <a:gd name="connsiteX63" fmla="*/ 845731 w 1197657"/>
                    <a:gd name="connsiteY63" fmla="*/ 52834 h 926154"/>
                    <a:gd name="connsiteX64" fmla="*/ 848439 w 1197657"/>
                    <a:gd name="connsiteY64" fmla="*/ 53405 h 926154"/>
                    <a:gd name="connsiteX65" fmla="*/ 851997 w 1197657"/>
                    <a:gd name="connsiteY65" fmla="*/ 53818 h 926154"/>
                    <a:gd name="connsiteX66" fmla="*/ 853770 w 1197657"/>
                    <a:gd name="connsiteY66" fmla="*/ 54376 h 926154"/>
                    <a:gd name="connsiteX67" fmla="*/ 855494 w 1197657"/>
                    <a:gd name="connsiteY67" fmla="*/ 55566 h 926154"/>
                    <a:gd name="connsiteX68" fmla="*/ 856648 w 1197657"/>
                    <a:gd name="connsiteY68" fmla="*/ 57023 h 926154"/>
                    <a:gd name="connsiteX69" fmla="*/ 857680 w 1197657"/>
                    <a:gd name="connsiteY69" fmla="*/ 58869 h 926154"/>
                    <a:gd name="connsiteX70" fmla="*/ 859805 w 1197657"/>
                    <a:gd name="connsiteY70" fmla="*/ 64382 h 926154"/>
                    <a:gd name="connsiteX71" fmla="*/ 860825 w 1197657"/>
                    <a:gd name="connsiteY71" fmla="*/ 66179 h 926154"/>
                    <a:gd name="connsiteX72" fmla="*/ 862319 w 1197657"/>
                    <a:gd name="connsiteY72" fmla="*/ 67709 h 926154"/>
                    <a:gd name="connsiteX73" fmla="*/ 864857 w 1197657"/>
                    <a:gd name="connsiteY73" fmla="*/ 69628 h 926154"/>
                    <a:gd name="connsiteX74" fmla="*/ 867892 w 1197657"/>
                    <a:gd name="connsiteY74" fmla="*/ 70806 h 926154"/>
                    <a:gd name="connsiteX75" fmla="*/ 870418 w 1197657"/>
                    <a:gd name="connsiteY75" fmla="*/ 71558 h 926154"/>
                    <a:gd name="connsiteX76" fmla="*/ 879610 w 1197657"/>
                    <a:gd name="connsiteY76" fmla="*/ 72190 h 926154"/>
                    <a:gd name="connsiteX77" fmla="*/ 887030 w 1197657"/>
                    <a:gd name="connsiteY77" fmla="*/ 72299 h 926154"/>
                    <a:gd name="connsiteX78" fmla="*/ 891790 w 1197657"/>
                    <a:gd name="connsiteY78" fmla="*/ 73270 h 926154"/>
                    <a:gd name="connsiteX79" fmla="*/ 898626 w 1197657"/>
                    <a:gd name="connsiteY79" fmla="*/ 75541 h 926154"/>
                    <a:gd name="connsiteX80" fmla="*/ 901212 w 1197657"/>
                    <a:gd name="connsiteY80" fmla="*/ 75626 h 926154"/>
                    <a:gd name="connsiteX81" fmla="*/ 903677 w 1197657"/>
                    <a:gd name="connsiteY81" fmla="*/ 74970 h 926154"/>
                    <a:gd name="connsiteX82" fmla="*/ 908437 w 1197657"/>
                    <a:gd name="connsiteY82" fmla="*/ 71777 h 926154"/>
                    <a:gd name="connsiteX83" fmla="*/ 909409 w 1197657"/>
                    <a:gd name="connsiteY83" fmla="*/ 70696 h 926154"/>
                    <a:gd name="connsiteX84" fmla="*/ 910101 w 1197657"/>
                    <a:gd name="connsiteY84" fmla="*/ 69652 h 926154"/>
                    <a:gd name="connsiteX85" fmla="*/ 910502 w 1197657"/>
                    <a:gd name="connsiteY85" fmla="*/ 68486 h 926154"/>
                    <a:gd name="connsiteX86" fmla="*/ 910623 w 1197657"/>
                    <a:gd name="connsiteY86" fmla="*/ 67478 h 926154"/>
                    <a:gd name="connsiteX87" fmla="*/ 910623 w 1197657"/>
                    <a:gd name="connsiteY87" fmla="*/ 65438 h 926154"/>
                    <a:gd name="connsiteX88" fmla="*/ 910745 w 1197657"/>
                    <a:gd name="connsiteY88" fmla="*/ 64613 h 926154"/>
                    <a:gd name="connsiteX89" fmla="*/ 911073 w 1197657"/>
                    <a:gd name="connsiteY89" fmla="*/ 63629 h 926154"/>
                    <a:gd name="connsiteX90" fmla="*/ 911655 w 1197657"/>
                    <a:gd name="connsiteY90" fmla="*/ 62913 h 926154"/>
                    <a:gd name="connsiteX91" fmla="*/ 912178 w 1197657"/>
                    <a:gd name="connsiteY91" fmla="*/ 62111 h 926154"/>
                    <a:gd name="connsiteX92" fmla="*/ 912396 w 1197657"/>
                    <a:gd name="connsiteY92" fmla="*/ 61213 h 926154"/>
                    <a:gd name="connsiteX93" fmla="*/ 912566 w 1197657"/>
                    <a:gd name="connsiteY93" fmla="*/ 59804 h 926154"/>
                    <a:gd name="connsiteX94" fmla="*/ 912627 w 1197657"/>
                    <a:gd name="connsiteY94" fmla="*/ 57060 h 926154"/>
                    <a:gd name="connsiteX95" fmla="*/ 912748 w 1197657"/>
                    <a:gd name="connsiteY95" fmla="*/ 56113 h 926154"/>
                    <a:gd name="connsiteX96" fmla="*/ 913028 w 1197657"/>
                    <a:gd name="connsiteY96" fmla="*/ 54898 h 926154"/>
                    <a:gd name="connsiteX97" fmla="*/ 913890 w 1197657"/>
                    <a:gd name="connsiteY97" fmla="*/ 53320 h 926154"/>
                    <a:gd name="connsiteX98" fmla="*/ 914922 w 1197657"/>
                    <a:gd name="connsiteY98" fmla="*/ 51741 h 926154"/>
                    <a:gd name="connsiteX99" fmla="*/ 916828 w 1197657"/>
                    <a:gd name="connsiteY99" fmla="*/ 49762 h 926154"/>
                    <a:gd name="connsiteX100" fmla="*/ 917800 w 1197657"/>
                    <a:gd name="connsiteY100" fmla="*/ 49130 h 926154"/>
                    <a:gd name="connsiteX101" fmla="*/ 918783 w 1197657"/>
                    <a:gd name="connsiteY101" fmla="*/ 48960 h 926154"/>
                    <a:gd name="connsiteX102" fmla="*/ 920605 w 1197657"/>
                    <a:gd name="connsiteY102" fmla="*/ 48815 h 926154"/>
                    <a:gd name="connsiteX103" fmla="*/ 923434 w 1197657"/>
                    <a:gd name="connsiteY103" fmla="*/ 48293 h 926154"/>
                    <a:gd name="connsiteX104" fmla="*/ 929457 w 1197657"/>
                    <a:gd name="connsiteY104" fmla="*/ 46313 h 926154"/>
                    <a:gd name="connsiteX105" fmla="*/ 932784 w 1197657"/>
                    <a:gd name="connsiteY105" fmla="*/ 45973 h 926154"/>
                    <a:gd name="connsiteX106" fmla="*/ 934909 w 1197657"/>
                    <a:gd name="connsiteY106" fmla="*/ 46338 h 926154"/>
                    <a:gd name="connsiteX107" fmla="*/ 935650 w 1197657"/>
                    <a:gd name="connsiteY107" fmla="*/ 47054 h 926154"/>
                    <a:gd name="connsiteX108" fmla="*/ 935941 w 1197657"/>
                    <a:gd name="connsiteY108" fmla="*/ 47552 h 926154"/>
                    <a:gd name="connsiteX109" fmla="*/ 936123 w 1197657"/>
                    <a:gd name="connsiteY109" fmla="*/ 47831 h 926154"/>
                    <a:gd name="connsiteX110" fmla="*/ 936524 w 1197657"/>
                    <a:gd name="connsiteY110" fmla="*/ 49215 h 926154"/>
                    <a:gd name="connsiteX111" fmla="*/ 936803 w 1197657"/>
                    <a:gd name="connsiteY111" fmla="*/ 50770 h 926154"/>
                    <a:gd name="connsiteX112" fmla="*/ 936803 w 1197657"/>
                    <a:gd name="connsiteY112" fmla="*/ 55080 h 926154"/>
                    <a:gd name="connsiteX113" fmla="*/ 936342 w 1197657"/>
                    <a:gd name="connsiteY113" fmla="*/ 59233 h 926154"/>
                    <a:gd name="connsiteX114" fmla="*/ 934739 w 1197657"/>
                    <a:gd name="connsiteY114" fmla="*/ 63544 h 926154"/>
                    <a:gd name="connsiteX115" fmla="*/ 934678 w 1197657"/>
                    <a:gd name="connsiteY115" fmla="*/ 64515 h 926154"/>
                    <a:gd name="connsiteX116" fmla="*/ 935031 w 1197657"/>
                    <a:gd name="connsiteY116" fmla="*/ 65523 h 926154"/>
                    <a:gd name="connsiteX117" fmla="*/ 936123 w 1197657"/>
                    <a:gd name="connsiteY117" fmla="*/ 66847 h 926154"/>
                    <a:gd name="connsiteX118" fmla="*/ 937556 w 1197657"/>
                    <a:gd name="connsiteY118" fmla="*/ 67940 h 926154"/>
                    <a:gd name="connsiteX119" fmla="*/ 939451 w 1197657"/>
                    <a:gd name="connsiteY119" fmla="*/ 68826 h 926154"/>
                    <a:gd name="connsiteX120" fmla="*/ 948922 w 1197657"/>
                    <a:gd name="connsiteY120" fmla="*/ 71983 h 926154"/>
                    <a:gd name="connsiteX121" fmla="*/ 950355 w 1197657"/>
                    <a:gd name="connsiteY121" fmla="*/ 72129 h 926154"/>
                    <a:gd name="connsiteX122" fmla="*/ 951496 w 1197657"/>
                    <a:gd name="connsiteY122" fmla="*/ 71728 h 926154"/>
                    <a:gd name="connsiteX123" fmla="*/ 952771 w 1197657"/>
                    <a:gd name="connsiteY123" fmla="*/ 70721 h 926154"/>
                    <a:gd name="connsiteX124" fmla="*/ 954726 w 1197657"/>
                    <a:gd name="connsiteY124" fmla="*/ 69591 h 926154"/>
                    <a:gd name="connsiteX125" fmla="*/ 956099 w 1197657"/>
                    <a:gd name="connsiteY125" fmla="*/ 69458 h 926154"/>
                    <a:gd name="connsiteX126" fmla="*/ 957592 w 1197657"/>
                    <a:gd name="connsiteY126" fmla="*/ 70198 h 926154"/>
                    <a:gd name="connsiteX127" fmla="*/ 958345 w 1197657"/>
                    <a:gd name="connsiteY127" fmla="*/ 71728 h 926154"/>
                    <a:gd name="connsiteX128" fmla="*/ 958515 w 1197657"/>
                    <a:gd name="connsiteY128" fmla="*/ 73853 h 926154"/>
                    <a:gd name="connsiteX129" fmla="*/ 957884 w 1197657"/>
                    <a:gd name="connsiteY129" fmla="*/ 76428 h 926154"/>
                    <a:gd name="connsiteX130" fmla="*/ 956851 w 1197657"/>
                    <a:gd name="connsiteY130" fmla="*/ 78298 h 926154"/>
                    <a:gd name="connsiteX131" fmla="*/ 955406 w 1197657"/>
                    <a:gd name="connsiteY131" fmla="*/ 79706 h 926154"/>
                    <a:gd name="connsiteX132" fmla="*/ 953973 w 1197657"/>
                    <a:gd name="connsiteY132" fmla="*/ 80398 h 926154"/>
                    <a:gd name="connsiteX133" fmla="*/ 951800 w 1197657"/>
                    <a:gd name="connsiteY133" fmla="*/ 80969 h 926154"/>
                    <a:gd name="connsiteX134" fmla="*/ 948922 w 1197657"/>
                    <a:gd name="connsiteY134" fmla="*/ 80969 h 926154"/>
                    <a:gd name="connsiteX135" fmla="*/ 946336 w 1197657"/>
                    <a:gd name="connsiteY135" fmla="*/ 80690 h 926154"/>
                    <a:gd name="connsiteX136" fmla="*/ 944381 w 1197657"/>
                    <a:gd name="connsiteY136" fmla="*/ 80277 h 926154"/>
                    <a:gd name="connsiteX137" fmla="*/ 943579 w 1197657"/>
                    <a:gd name="connsiteY137" fmla="*/ 80447 h 926154"/>
                    <a:gd name="connsiteX138" fmla="*/ 943178 w 1197657"/>
                    <a:gd name="connsiteY138" fmla="*/ 81516 h 926154"/>
                    <a:gd name="connsiteX139" fmla="*/ 943008 w 1197657"/>
                    <a:gd name="connsiteY139" fmla="*/ 83289 h 926154"/>
                    <a:gd name="connsiteX140" fmla="*/ 942377 w 1197657"/>
                    <a:gd name="connsiteY140" fmla="*/ 84903 h 926154"/>
                    <a:gd name="connsiteX141" fmla="*/ 940823 w 1197657"/>
                    <a:gd name="connsiteY141" fmla="*/ 86506 h 926154"/>
                    <a:gd name="connsiteX142" fmla="*/ 939171 w 1197657"/>
                    <a:gd name="connsiteY142" fmla="*/ 87721 h 926154"/>
                    <a:gd name="connsiteX143" fmla="*/ 938006 w 1197657"/>
                    <a:gd name="connsiteY143" fmla="*/ 89129 h 926154"/>
                    <a:gd name="connsiteX144" fmla="*/ 932906 w 1197657"/>
                    <a:gd name="connsiteY144" fmla="*/ 102134 h 926154"/>
                    <a:gd name="connsiteX145" fmla="*/ 932383 w 1197657"/>
                    <a:gd name="connsiteY145" fmla="*/ 104624 h 926154"/>
                    <a:gd name="connsiteX146" fmla="*/ 932723 w 1197657"/>
                    <a:gd name="connsiteY146" fmla="*/ 106603 h 926154"/>
                    <a:gd name="connsiteX147" fmla="*/ 935553 w 1197657"/>
                    <a:gd name="connsiteY147" fmla="*/ 111545 h 926154"/>
                    <a:gd name="connsiteX148" fmla="*/ 936925 w 1197657"/>
                    <a:gd name="connsiteY148" fmla="*/ 115540 h 926154"/>
                    <a:gd name="connsiteX149" fmla="*/ 937957 w 1197657"/>
                    <a:gd name="connsiteY149" fmla="*/ 117495 h 926154"/>
                    <a:gd name="connsiteX150" fmla="*/ 939851 w 1197657"/>
                    <a:gd name="connsiteY150" fmla="*/ 119584 h 926154"/>
                    <a:gd name="connsiteX151" fmla="*/ 944101 w 1197657"/>
                    <a:gd name="connsiteY151" fmla="*/ 121660 h 926154"/>
                    <a:gd name="connsiteX152" fmla="*/ 945656 w 1197657"/>
                    <a:gd name="connsiteY152" fmla="*/ 122802 h 926154"/>
                    <a:gd name="connsiteX153" fmla="*/ 948242 w 1197657"/>
                    <a:gd name="connsiteY153" fmla="*/ 125983 h 926154"/>
                    <a:gd name="connsiteX154" fmla="*/ 949614 w 1197657"/>
                    <a:gd name="connsiteY154" fmla="*/ 126967 h 926154"/>
                    <a:gd name="connsiteX155" fmla="*/ 953403 w 1197657"/>
                    <a:gd name="connsiteY155" fmla="*/ 128569 h 926154"/>
                    <a:gd name="connsiteX156" fmla="*/ 954726 w 1197657"/>
                    <a:gd name="connsiteY156" fmla="*/ 130014 h 926154"/>
                    <a:gd name="connsiteX157" fmla="*/ 955528 w 1197657"/>
                    <a:gd name="connsiteY157" fmla="*/ 131581 h 926154"/>
                    <a:gd name="connsiteX158" fmla="*/ 956099 w 1197657"/>
                    <a:gd name="connsiteY158" fmla="*/ 134750 h 926154"/>
                    <a:gd name="connsiteX159" fmla="*/ 956851 w 1197657"/>
                    <a:gd name="connsiteY159" fmla="*/ 136462 h 926154"/>
                    <a:gd name="connsiteX160" fmla="*/ 960919 w 1197657"/>
                    <a:gd name="connsiteY160" fmla="*/ 141344 h 926154"/>
                    <a:gd name="connsiteX161" fmla="*/ 963919 w 1197657"/>
                    <a:gd name="connsiteY161" fmla="*/ 144137 h 926154"/>
                    <a:gd name="connsiteX162" fmla="*/ 965801 w 1197657"/>
                    <a:gd name="connsiteY162" fmla="*/ 144246 h 926154"/>
                    <a:gd name="connsiteX163" fmla="*/ 973087 w 1197657"/>
                    <a:gd name="connsiteY163" fmla="*/ 139510 h 926154"/>
                    <a:gd name="connsiteX164" fmla="*/ 974823 w 1197657"/>
                    <a:gd name="connsiteY164" fmla="*/ 138187 h 926154"/>
                    <a:gd name="connsiteX165" fmla="*/ 976487 w 1197657"/>
                    <a:gd name="connsiteY165" fmla="*/ 136098 h 926154"/>
                    <a:gd name="connsiteX166" fmla="*/ 977798 w 1197657"/>
                    <a:gd name="connsiteY166" fmla="*/ 133803 h 926154"/>
                    <a:gd name="connsiteX167" fmla="*/ 979984 w 1197657"/>
                    <a:gd name="connsiteY167" fmla="*/ 128569 h 926154"/>
                    <a:gd name="connsiteX168" fmla="*/ 981247 w 1197657"/>
                    <a:gd name="connsiteY168" fmla="*/ 126736 h 926154"/>
                    <a:gd name="connsiteX169" fmla="*/ 982849 w 1197657"/>
                    <a:gd name="connsiteY169" fmla="*/ 125728 h 926154"/>
                    <a:gd name="connsiteX170" fmla="*/ 984234 w 1197657"/>
                    <a:gd name="connsiteY170" fmla="*/ 126396 h 926154"/>
                    <a:gd name="connsiteX171" fmla="*/ 990730 w 1197657"/>
                    <a:gd name="connsiteY171" fmla="*/ 135807 h 926154"/>
                    <a:gd name="connsiteX172" fmla="*/ 992102 w 1197657"/>
                    <a:gd name="connsiteY172" fmla="*/ 138830 h 926154"/>
                    <a:gd name="connsiteX173" fmla="*/ 992625 w 1197657"/>
                    <a:gd name="connsiteY173" fmla="*/ 141429 h 926154"/>
                    <a:gd name="connsiteX174" fmla="*/ 992564 w 1197657"/>
                    <a:gd name="connsiteY174" fmla="*/ 145715 h 926154"/>
                    <a:gd name="connsiteX175" fmla="*/ 992625 w 1197657"/>
                    <a:gd name="connsiteY175" fmla="*/ 146747 h 926154"/>
                    <a:gd name="connsiteX176" fmla="*/ 992734 w 1197657"/>
                    <a:gd name="connsiteY176" fmla="*/ 147233 h 926154"/>
                    <a:gd name="connsiteX177" fmla="*/ 994057 w 1197657"/>
                    <a:gd name="connsiteY177" fmla="*/ 150050 h 926154"/>
                    <a:gd name="connsiteX178" fmla="*/ 996304 w 1197657"/>
                    <a:gd name="connsiteY178" fmla="*/ 153438 h 926154"/>
                    <a:gd name="connsiteX179" fmla="*/ 997336 w 1197657"/>
                    <a:gd name="connsiteY179" fmla="*/ 158951 h 926154"/>
                    <a:gd name="connsiteX180" fmla="*/ 996304 w 1197657"/>
                    <a:gd name="connsiteY180" fmla="*/ 160008 h 926154"/>
                    <a:gd name="connsiteX181" fmla="*/ 993936 w 1197657"/>
                    <a:gd name="connsiteY181" fmla="*/ 161756 h 926154"/>
                    <a:gd name="connsiteX182" fmla="*/ 991240 w 1197657"/>
                    <a:gd name="connsiteY182" fmla="*/ 163225 h 926154"/>
                    <a:gd name="connsiteX183" fmla="*/ 988241 w 1197657"/>
                    <a:gd name="connsiteY183" fmla="*/ 165290 h 926154"/>
                    <a:gd name="connsiteX184" fmla="*/ 986869 w 1197657"/>
                    <a:gd name="connsiteY184" fmla="*/ 167135 h 926154"/>
                    <a:gd name="connsiteX185" fmla="*/ 986128 w 1197657"/>
                    <a:gd name="connsiteY185" fmla="*/ 169224 h 926154"/>
                    <a:gd name="connsiteX186" fmla="*/ 986019 w 1197657"/>
                    <a:gd name="connsiteY186" fmla="*/ 171665 h 926154"/>
                    <a:gd name="connsiteX187" fmla="*/ 986419 w 1197657"/>
                    <a:gd name="connsiteY187" fmla="*/ 176607 h 926154"/>
                    <a:gd name="connsiteX188" fmla="*/ 986298 w 1197657"/>
                    <a:gd name="connsiteY188" fmla="*/ 179048 h 926154"/>
                    <a:gd name="connsiteX189" fmla="*/ 984804 w 1197657"/>
                    <a:gd name="connsiteY189" fmla="*/ 188033 h 926154"/>
                    <a:gd name="connsiteX190" fmla="*/ 985047 w 1197657"/>
                    <a:gd name="connsiteY190" fmla="*/ 189406 h 926154"/>
                    <a:gd name="connsiteX191" fmla="*/ 985679 w 1197657"/>
                    <a:gd name="connsiteY191" fmla="*/ 190037 h 926154"/>
                    <a:gd name="connsiteX192" fmla="*/ 991920 w 1197657"/>
                    <a:gd name="connsiteY192" fmla="*/ 189721 h 926154"/>
                    <a:gd name="connsiteX193" fmla="*/ 993475 w 1197657"/>
                    <a:gd name="connsiteY193" fmla="*/ 190098 h 926154"/>
                    <a:gd name="connsiteX194" fmla="*/ 995029 w 1197657"/>
                    <a:gd name="connsiteY194" fmla="*/ 191045 h 926154"/>
                    <a:gd name="connsiteX195" fmla="*/ 996340 w 1197657"/>
                    <a:gd name="connsiteY195" fmla="*/ 192684 h 926154"/>
                    <a:gd name="connsiteX196" fmla="*/ 997445 w 1197657"/>
                    <a:gd name="connsiteY196" fmla="*/ 194833 h 926154"/>
                    <a:gd name="connsiteX197" fmla="*/ 998647 w 1197657"/>
                    <a:gd name="connsiteY197" fmla="*/ 198258 h 926154"/>
                    <a:gd name="connsiteX198" fmla="*/ 1000202 w 1197657"/>
                    <a:gd name="connsiteY198" fmla="*/ 200917 h 926154"/>
                    <a:gd name="connsiteX199" fmla="*/ 1002205 w 1197657"/>
                    <a:gd name="connsiteY199" fmla="*/ 202824 h 926154"/>
                    <a:gd name="connsiteX200" fmla="*/ 1004622 w 1197657"/>
                    <a:gd name="connsiteY200" fmla="*/ 203819 h 926154"/>
                    <a:gd name="connsiteX201" fmla="*/ 1009552 w 1197657"/>
                    <a:gd name="connsiteY201" fmla="*/ 204657 h 926154"/>
                    <a:gd name="connsiteX202" fmla="*/ 1011227 w 1197657"/>
                    <a:gd name="connsiteY202" fmla="*/ 205495 h 926154"/>
                    <a:gd name="connsiteX203" fmla="*/ 1012138 w 1197657"/>
                    <a:gd name="connsiteY203" fmla="*/ 206406 h 926154"/>
                    <a:gd name="connsiteX204" fmla="*/ 1013462 w 1197657"/>
                    <a:gd name="connsiteY204" fmla="*/ 208446 h 926154"/>
                    <a:gd name="connsiteX205" fmla="*/ 1013632 w 1197657"/>
                    <a:gd name="connsiteY205" fmla="*/ 209830 h 926154"/>
                    <a:gd name="connsiteX206" fmla="*/ 1013231 w 1197657"/>
                    <a:gd name="connsiteY206" fmla="*/ 211117 h 926154"/>
                    <a:gd name="connsiteX207" fmla="*/ 1012490 w 1197657"/>
                    <a:gd name="connsiteY207" fmla="*/ 212805 h 926154"/>
                    <a:gd name="connsiteX208" fmla="*/ 1012017 w 1197657"/>
                    <a:gd name="connsiteY208" fmla="*/ 214821 h 926154"/>
                    <a:gd name="connsiteX209" fmla="*/ 1011980 w 1197657"/>
                    <a:gd name="connsiteY209" fmla="*/ 219787 h 926154"/>
                    <a:gd name="connsiteX210" fmla="*/ 1011567 w 1197657"/>
                    <a:gd name="connsiteY210" fmla="*/ 222714 h 926154"/>
                    <a:gd name="connsiteX211" fmla="*/ 1011798 w 1197657"/>
                    <a:gd name="connsiteY211" fmla="*/ 225130 h 926154"/>
                    <a:gd name="connsiteX212" fmla="*/ 1012430 w 1197657"/>
                    <a:gd name="connsiteY212" fmla="*/ 226053 h 926154"/>
                    <a:gd name="connsiteX213" fmla="*/ 1014154 w 1197657"/>
                    <a:gd name="connsiteY213" fmla="*/ 226599 h 926154"/>
                    <a:gd name="connsiteX214" fmla="*/ 1016218 w 1197657"/>
                    <a:gd name="connsiteY214" fmla="*/ 225956 h 926154"/>
                    <a:gd name="connsiteX215" fmla="*/ 1018465 w 1197657"/>
                    <a:gd name="connsiteY215" fmla="*/ 224377 h 926154"/>
                    <a:gd name="connsiteX216" fmla="*/ 1022193 w 1197657"/>
                    <a:gd name="connsiteY216" fmla="*/ 220819 h 926154"/>
                    <a:gd name="connsiteX217" fmla="*/ 1024087 w 1197657"/>
                    <a:gd name="connsiteY217" fmla="*/ 219557 h 926154"/>
                    <a:gd name="connsiteX218" fmla="*/ 1026613 w 1197657"/>
                    <a:gd name="connsiteY218" fmla="*/ 219617 h 926154"/>
                    <a:gd name="connsiteX219" fmla="*/ 1029308 w 1197657"/>
                    <a:gd name="connsiteY219" fmla="*/ 221135 h 926154"/>
                    <a:gd name="connsiteX220" fmla="*/ 1033267 w 1197657"/>
                    <a:gd name="connsiteY220" fmla="*/ 226211 h 926154"/>
                    <a:gd name="connsiteX221" fmla="*/ 1034250 w 1197657"/>
                    <a:gd name="connsiteY221" fmla="*/ 230036 h 926154"/>
                    <a:gd name="connsiteX222" fmla="*/ 1033959 w 1197657"/>
                    <a:gd name="connsiteY222" fmla="*/ 234201 h 926154"/>
                    <a:gd name="connsiteX223" fmla="*/ 1033267 w 1197657"/>
                    <a:gd name="connsiteY223" fmla="*/ 237589 h 926154"/>
                    <a:gd name="connsiteX224" fmla="*/ 1033510 w 1197657"/>
                    <a:gd name="connsiteY224" fmla="*/ 241438 h 926154"/>
                    <a:gd name="connsiteX225" fmla="*/ 1034481 w 1197657"/>
                    <a:gd name="connsiteY225" fmla="*/ 243964 h 926154"/>
                    <a:gd name="connsiteX226" fmla="*/ 1035914 w 1197657"/>
                    <a:gd name="connsiteY226" fmla="*/ 246745 h 926154"/>
                    <a:gd name="connsiteX227" fmla="*/ 1036315 w 1197657"/>
                    <a:gd name="connsiteY227" fmla="*/ 248809 h 926154"/>
                    <a:gd name="connsiteX228" fmla="*/ 1035914 w 1197657"/>
                    <a:gd name="connsiteY228" fmla="*/ 251456 h 926154"/>
                    <a:gd name="connsiteX229" fmla="*/ 1033898 w 1197657"/>
                    <a:gd name="connsiteY229" fmla="*/ 255937 h 926154"/>
                    <a:gd name="connsiteX230" fmla="*/ 1035453 w 1197657"/>
                    <a:gd name="connsiteY230" fmla="*/ 258548 h 926154"/>
                    <a:gd name="connsiteX231" fmla="*/ 1042811 w 1197657"/>
                    <a:gd name="connsiteY231" fmla="*/ 257916 h 926154"/>
                    <a:gd name="connsiteX232" fmla="*/ 1044827 w 1197657"/>
                    <a:gd name="connsiteY232" fmla="*/ 258973 h 926154"/>
                    <a:gd name="connsiteX233" fmla="*/ 1048834 w 1197657"/>
                    <a:gd name="connsiteY233" fmla="*/ 262968 h 926154"/>
                    <a:gd name="connsiteX234" fmla="*/ 1051129 w 1197657"/>
                    <a:gd name="connsiteY234" fmla="*/ 263222 h 926154"/>
                    <a:gd name="connsiteX235" fmla="*/ 1065944 w 1197657"/>
                    <a:gd name="connsiteY235" fmla="*/ 258317 h 926154"/>
                    <a:gd name="connsiteX236" fmla="*/ 1068530 w 1197657"/>
                    <a:gd name="connsiteY236" fmla="*/ 258523 h 926154"/>
                    <a:gd name="connsiteX237" fmla="*/ 1070145 w 1197657"/>
                    <a:gd name="connsiteY237" fmla="*/ 259349 h 926154"/>
                    <a:gd name="connsiteX238" fmla="*/ 1071274 w 1197657"/>
                    <a:gd name="connsiteY238" fmla="*/ 261389 h 926154"/>
                    <a:gd name="connsiteX239" fmla="*/ 1078293 w 1197657"/>
                    <a:gd name="connsiteY239" fmla="*/ 272233 h 926154"/>
                    <a:gd name="connsiteX240" fmla="*/ 1083915 w 1197657"/>
                    <a:gd name="connsiteY240" fmla="*/ 278243 h 926154"/>
                    <a:gd name="connsiteX241" fmla="*/ 1085822 w 1197657"/>
                    <a:gd name="connsiteY241" fmla="*/ 279045 h 926154"/>
                    <a:gd name="connsiteX242" fmla="*/ 1087473 w 1197657"/>
                    <a:gd name="connsiteY242" fmla="*/ 279385 h 926154"/>
                    <a:gd name="connsiteX243" fmla="*/ 1088809 w 1197657"/>
                    <a:gd name="connsiteY243" fmla="*/ 279166 h 926154"/>
                    <a:gd name="connsiteX244" fmla="*/ 1090351 w 1197657"/>
                    <a:gd name="connsiteY244" fmla="*/ 278668 h 926154"/>
                    <a:gd name="connsiteX245" fmla="*/ 1091444 w 1197657"/>
                    <a:gd name="connsiteY245" fmla="*/ 278061 h 926154"/>
                    <a:gd name="connsiteX246" fmla="*/ 1092124 w 1197657"/>
                    <a:gd name="connsiteY246" fmla="*/ 277260 h 926154"/>
                    <a:gd name="connsiteX247" fmla="*/ 1092585 w 1197657"/>
                    <a:gd name="connsiteY247" fmla="*/ 276410 h 926154"/>
                    <a:gd name="connsiteX248" fmla="*/ 1093338 w 1197657"/>
                    <a:gd name="connsiteY248" fmla="*/ 274600 h 926154"/>
                    <a:gd name="connsiteX249" fmla="*/ 1093848 w 1197657"/>
                    <a:gd name="connsiteY249" fmla="*/ 273678 h 926154"/>
                    <a:gd name="connsiteX250" fmla="*/ 1095342 w 1197657"/>
                    <a:gd name="connsiteY250" fmla="*/ 273678 h 926154"/>
                    <a:gd name="connsiteX251" fmla="*/ 1097819 w 1197657"/>
                    <a:gd name="connsiteY251" fmla="*/ 274370 h 926154"/>
                    <a:gd name="connsiteX252" fmla="*/ 1104595 w 1197657"/>
                    <a:gd name="connsiteY252" fmla="*/ 280004 h 926154"/>
                    <a:gd name="connsiteX253" fmla="*/ 1111018 w 1197657"/>
                    <a:gd name="connsiteY253" fmla="*/ 286452 h 926154"/>
                    <a:gd name="connsiteX254" fmla="*/ 1121133 w 1197657"/>
                    <a:gd name="connsiteY254" fmla="*/ 291649 h 926154"/>
                    <a:gd name="connsiteX255" fmla="*/ 1123708 w 1197657"/>
                    <a:gd name="connsiteY255" fmla="*/ 293920 h 926154"/>
                    <a:gd name="connsiteX256" fmla="*/ 1125262 w 1197657"/>
                    <a:gd name="connsiteY256" fmla="*/ 296361 h 926154"/>
                    <a:gd name="connsiteX257" fmla="*/ 1125553 w 1197657"/>
                    <a:gd name="connsiteY257" fmla="*/ 298765 h 926154"/>
                    <a:gd name="connsiteX258" fmla="*/ 1125323 w 1197657"/>
                    <a:gd name="connsiteY258" fmla="*/ 301376 h 926154"/>
                    <a:gd name="connsiteX259" fmla="*/ 1125323 w 1197657"/>
                    <a:gd name="connsiteY259" fmla="*/ 304339 h 926154"/>
                    <a:gd name="connsiteX260" fmla="*/ 1125845 w 1197657"/>
                    <a:gd name="connsiteY260" fmla="*/ 307556 h 926154"/>
                    <a:gd name="connsiteX261" fmla="*/ 1128249 w 1197657"/>
                    <a:gd name="connsiteY261" fmla="*/ 311685 h 926154"/>
                    <a:gd name="connsiteX262" fmla="*/ 1130665 w 1197657"/>
                    <a:gd name="connsiteY262" fmla="*/ 313409 h 926154"/>
                    <a:gd name="connsiteX263" fmla="*/ 1132900 w 1197657"/>
                    <a:gd name="connsiteY263" fmla="*/ 314065 h 926154"/>
                    <a:gd name="connsiteX264" fmla="*/ 1134915 w 1197657"/>
                    <a:gd name="connsiteY264" fmla="*/ 313701 h 926154"/>
                    <a:gd name="connsiteX265" fmla="*/ 1136409 w 1197657"/>
                    <a:gd name="connsiteY265" fmla="*/ 313154 h 926154"/>
                    <a:gd name="connsiteX266" fmla="*/ 1137611 w 1197657"/>
                    <a:gd name="connsiteY266" fmla="*/ 312413 h 926154"/>
                    <a:gd name="connsiteX267" fmla="*/ 1140076 w 1197657"/>
                    <a:gd name="connsiteY267" fmla="*/ 310252 h 926154"/>
                    <a:gd name="connsiteX268" fmla="*/ 1141618 w 1197657"/>
                    <a:gd name="connsiteY268" fmla="*/ 310313 h 926154"/>
                    <a:gd name="connsiteX269" fmla="*/ 1144047 w 1197657"/>
                    <a:gd name="connsiteY269" fmla="*/ 311321 h 926154"/>
                    <a:gd name="connsiteX270" fmla="*/ 1149147 w 1197657"/>
                    <a:gd name="connsiteY270" fmla="*/ 314502 h 926154"/>
                    <a:gd name="connsiteX271" fmla="*/ 1151333 w 1197657"/>
                    <a:gd name="connsiteY271" fmla="*/ 317404 h 926154"/>
                    <a:gd name="connsiteX272" fmla="*/ 1152766 w 1197657"/>
                    <a:gd name="connsiteY272" fmla="*/ 319869 h 926154"/>
                    <a:gd name="connsiteX273" fmla="*/ 1153518 w 1197657"/>
                    <a:gd name="connsiteY273" fmla="*/ 321934 h 926154"/>
                    <a:gd name="connsiteX274" fmla="*/ 1156833 w 1197657"/>
                    <a:gd name="connsiteY274" fmla="*/ 327544 h 926154"/>
                    <a:gd name="connsiteX275" fmla="*/ 1158230 w 1197657"/>
                    <a:gd name="connsiteY275" fmla="*/ 328454 h 926154"/>
                    <a:gd name="connsiteX276" fmla="*/ 1160343 w 1197657"/>
                    <a:gd name="connsiteY276" fmla="*/ 329353 h 926154"/>
                    <a:gd name="connsiteX277" fmla="*/ 1161946 w 1197657"/>
                    <a:gd name="connsiteY277" fmla="*/ 330349 h 926154"/>
                    <a:gd name="connsiteX278" fmla="*/ 1163160 w 1197657"/>
                    <a:gd name="connsiteY278" fmla="*/ 331624 h 926154"/>
                    <a:gd name="connsiteX279" fmla="*/ 1164714 w 1197657"/>
                    <a:gd name="connsiteY279" fmla="*/ 334489 h 926154"/>
                    <a:gd name="connsiteX280" fmla="*/ 1166086 w 1197657"/>
                    <a:gd name="connsiteY280" fmla="*/ 338217 h 926154"/>
                    <a:gd name="connsiteX281" fmla="*/ 1169936 w 1197657"/>
                    <a:gd name="connsiteY281" fmla="*/ 347920 h 926154"/>
                    <a:gd name="connsiteX282" fmla="*/ 1172000 w 1197657"/>
                    <a:gd name="connsiteY282" fmla="*/ 365320 h 926154"/>
                    <a:gd name="connsiteX283" fmla="*/ 1172814 w 1197657"/>
                    <a:gd name="connsiteY283" fmla="*/ 368308 h 926154"/>
                    <a:gd name="connsiteX284" fmla="*/ 1173846 w 1197657"/>
                    <a:gd name="connsiteY284" fmla="*/ 370056 h 926154"/>
                    <a:gd name="connsiteX285" fmla="*/ 1174939 w 1197657"/>
                    <a:gd name="connsiteY285" fmla="*/ 370493 h 926154"/>
                    <a:gd name="connsiteX286" fmla="*/ 1176141 w 1197657"/>
                    <a:gd name="connsiteY286" fmla="*/ 370603 h 926154"/>
                    <a:gd name="connsiteX287" fmla="*/ 1177574 w 1197657"/>
                    <a:gd name="connsiteY287" fmla="*/ 370372 h 926154"/>
                    <a:gd name="connsiteX288" fmla="*/ 1179007 w 1197657"/>
                    <a:gd name="connsiteY288" fmla="*/ 369740 h 926154"/>
                    <a:gd name="connsiteX289" fmla="*/ 1180609 w 1197657"/>
                    <a:gd name="connsiteY289" fmla="*/ 368732 h 926154"/>
                    <a:gd name="connsiteX290" fmla="*/ 1182795 w 1197657"/>
                    <a:gd name="connsiteY290" fmla="*/ 369109 h 926154"/>
                    <a:gd name="connsiteX291" fmla="*/ 1185442 w 1197657"/>
                    <a:gd name="connsiteY291" fmla="*/ 370712 h 926154"/>
                    <a:gd name="connsiteX292" fmla="*/ 1190142 w 1197657"/>
                    <a:gd name="connsiteY292" fmla="*/ 376783 h 926154"/>
                    <a:gd name="connsiteX293" fmla="*/ 1191538 w 1197657"/>
                    <a:gd name="connsiteY293" fmla="*/ 380426 h 926154"/>
                    <a:gd name="connsiteX294" fmla="*/ 1191356 w 1197657"/>
                    <a:gd name="connsiteY294" fmla="*/ 384045 h 926154"/>
                    <a:gd name="connsiteX295" fmla="*/ 1176019 w 1197657"/>
                    <a:gd name="connsiteY295" fmla="*/ 414281 h 926154"/>
                    <a:gd name="connsiteX296" fmla="*/ 1174587 w 1197657"/>
                    <a:gd name="connsiteY296" fmla="*/ 416199 h 926154"/>
                    <a:gd name="connsiteX297" fmla="*/ 1172971 w 1197657"/>
                    <a:gd name="connsiteY297" fmla="*/ 417948 h 926154"/>
                    <a:gd name="connsiteX298" fmla="*/ 1171077 w 1197657"/>
                    <a:gd name="connsiteY298" fmla="*/ 419466 h 926154"/>
                    <a:gd name="connsiteX299" fmla="*/ 1168794 w 1197657"/>
                    <a:gd name="connsiteY299" fmla="*/ 420789 h 926154"/>
                    <a:gd name="connsiteX300" fmla="*/ 1167349 w 1197657"/>
                    <a:gd name="connsiteY300" fmla="*/ 421336 h 926154"/>
                    <a:gd name="connsiteX301" fmla="*/ 1164994 w 1197657"/>
                    <a:gd name="connsiteY301" fmla="*/ 421651 h 926154"/>
                    <a:gd name="connsiteX302" fmla="*/ 1160185 w 1197657"/>
                    <a:gd name="connsiteY302" fmla="*/ 421567 h 926154"/>
                    <a:gd name="connsiteX303" fmla="*/ 1158048 w 1197657"/>
                    <a:gd name="connsiteY303" fmla="*/ 421907 h 926154"/>
                    <a:gd name="connsiteX304" fmla="*/ 1156554 w 1197657"/>
                    <a:gd name="connsiteY304" fmla="*/ 422429 h 926154"/>
                    <a:gd name="connsiteX305" fmla="*/ 1142493 w 1197657"/>
                    <a:gd name="connsiteY305" fmla="*/ 433078 h 926154"/>
                    <a:gd name="connsiteX306" fmla="*/ 1135656 w 1197657"/>
                    <a:gd name="connsiteY306" fmla="*/ 440776 h 926154"/>
                    <a:gd name="connsiteX307" fmla="*/ 1133823 w 1197657"/>
                    <a:gd name="connsiteY307" fmla="*/ 442039 h 926154"/>
                    <a:gd name="connsiteX308" fmla="*/ 1131637 w 1197657"/>
                    <a:gd name="connsiteY308" fmla="*/ 442902 h 926154"/>
                    <a:gd name="connsiteX309" fmla="*/ 1129743 w 1197657"/>
                    <a:gd name="connsiteY309" fmla="*/ 443302 h 926154"/>
                    <a:gd name="connsiteX310" fmla="*/ 1127860 w 1197657"/>
                    <a:gd name="connsiteY310" fmla="*/ 443181 h 926154"/>
                    <a:gd name="connsiteX311" fmla="*/ 1117223 w 1197657"/>
                    <a:gd name="connsiteY311" fmla="*/ 439939 h 926154"/>
                    <a:gd name="connsiteX312" fmla="*/ 1116191 w 1197657"/>
                    <a:gd name="connsiteY312" fmla="*/ 439854 h 926154"/>
                    <a:gd name="connsiteX313" fmla="*/ 1114867 w 1197657"/>
                    <a:gd name="connsiteY313" fmla="*/ 439999 h 926154"/>
                    <a:gd name="connsiteX314" fmla="*/ 1113374 w 1197657"/>
                    <a:gd name="connsiteY314" fmla="*/ 440825 h 926154"/>
                    <a:gd name="connsiteX315" fmla="*/ 1111662 w 1197657"/>
                    <a:gd name="connsiteY315" fmla="*/ 442161 h 926154"/>
                    <a:gd name="connsiteX316" fmla="*/ 1110047 w 1197657"/>
                    <a:gd name="connsiteY316" fmla="*/ 445767 h 926154"/>
                    <a:gd name="connsiteX317" fmla="*/ 1110217 w 1197657"/>
                    <a:gd name="connsiteY317" fmla="*/ 448062 h 926154"/>
                    <a:gd name="connsiteX318" fmla="*/ 1112184 w 1197657"/>
                    <a:gd name="connsiteY318" fmla="*/ 450284 h 926154"/>
                    <a:gd name="connsiteX319" fmla="*/ 1120733 w 1197657"/>
                    <a:gd name="connsiteY319" fmla="*/ 458287 h 926154"/>
                    <a:gd name="connsiteX320" fmla="*/ 1123829 w 1197657"/>
                    <a:gd name="connsiteY320" fmla="*/ 460436 h 926154"/>
                    <a:gd name="connsiteX321" fmla="*/ 1126585 w 1197657"/>
                    <a:gd name="connsiteY321" fmla="*/ 461675 h 926154"/>
                    <a:gd name="connsiteX322" fmla="*/ 1128710 w 1197657"/>
                    <a:gd name="connsiteY322" fmla="*/ 461614 h 926154"/>
                    <a:gd name="connsiteX323" fmla="*/ 1136227 w 1197657"/>
                    <a:gd name="connsiteY323" fmla="*/ 460472 h 926154"/>
                    <a:gd name="connsiteX324" fmla="*/ 1142262 w 1197657"/>
                    <a:gd name="connsiteY324" fmla="*/ 460837 h 926154"/>
                    <a:gd name="connsiteX325" fmla="*/ 1146973 w 1197657"/>
                    <a:gd name="connsiteY325" fmla="*/ 461905 h 926154"/>
                    <a:gd name="connsiteX326" fmla="*/ 1149378 w 1197657"/>
                    <a:gd name="connsiteY326" fmla="*/ 463107 h 926154"/>
                    <a:gd name="connsiteX327" fmla="*/ 1151114 w 1197657"/>
                    <a:gd name="connsiteY327" fmla="*/ 464807 h 926154"/>
                    <a:gd name="connsiteX328" fmla="*/ 1151503 w 1197657"/>
                    <a:gd name="connsiteY328" fmla="*/ 466617 h 926154"/>
                    <a:gd name="connsiteX329" fmla="*/ 1151272 w 1197657"/>
                    <a:gd name="connsiteY329" fmla="*/ 468620 h 926154"/>
                    <a:gd name="connsiteX330" fmla="*/ 1150361 w 1197657"/>
                    <a:gd name="connsiteY330" fmla="*/ 470527 h 926154"/>
                    <a:gd name="connsiteX331" fmla="*/ 1149317 w 1197657"/>
                    <a:gd name="connsiteY331" fmla="*/ 471863 h 926154"/>
                    <a:gd name="connsiteX332" fmla="*/ 1147483 w 1197657"/>
                    <a:gd name="connsiteY332" fmla="*/ 473793 h 926154"/>
                    <a:gd name="connsiteX333" fmla="*/ 1145128 w 1197657"/>
                    <a:gd name="connsiteY333" fmla="*/ 475517 h 926154"/>
                    <a:gd name="connsiteX334" fmla="*/ 1142262 w 1197657"/>
                    <a:gd name="connsiteY334" fmla="*/ 477035 h 926154"/>
                    <a:gd name="connsiteX335" fmla="*/ 1139153 w 1197657"/>
                    <a:gd name="connsiteY335" fmla="*/ 478152 h 926154"/>
                    <a:gd name="connsiteX336" fmla="*/ 1133300 w 1197657"/>
                    <a:gd name="connsiteY336" fmla="*/ 479330 h 926154"/>
                    <a:gd name="connsiteX337" fmla="*/ 1131054 w 1197657"/>
                    <a:gd name="connsiteY337" fmla="*/ 479367 h 926154"/>
                    <a:gd name="connsiteX338" fmla="*/ 1129233 w 1197657"/>
                    <a:gd name="connsiteY338" fmla="*/ 478954 h 926154"/>
                    <a:gd name="connsiteX339" fmla="*/ 1127897 w 1197657"/>
                    <a:gd name="connsiteY339" fmla="*/ 478189 h 926154"/>
                    <a:gd name="connsiteX340" fmla="*/ 1125262 w 1197657"/>
                    <a:gd name="connsiteY340" fmla="*/ 475517 h 926154"/>
                    <a:gd name="connsiteX341" fmla="*/ 1123878 w 1197657"/>
                    <a:gd name="connsiteY341" fmla="*/ 474449 h 926154"/>
                    <a:gd name="connsiteX342" fmla="*/ 1122566 w 1197657"/>
                    <a:gd name="connsiteY342" fmla="*/ 473878 h 926154"/>
                    <a:gd name="connsiteX343" fmla="*/ 1121352 w 1197657"/>
                    <a:gd name="connsiteY343" fmla="*/ 473732 h 926154"/>
                    <a:gd name="connsiteX344" fmla="*/ 1120089 w 1197657"/>
                    <a:gd name="connsiteY344" fmla="*/ 474024 h 926154"/>
                    <a:gd name="connsiteX345" fmla="*/ 1118948 w 1197657"/>
                    <a:gd name="connsiteY345" fmla="*/ 474777 h 926154"/>
                    <a:gd name="connsiteX346" fmla="*/ 1117745 w 1197657"/>
                    <a:gd name="connsiteY346" fmla="*/ 476598 h 926154"/>
                    <a:gd name="connsiteX347" fmla="*/ 1116531 w 1197657"/>
                    <a:gd name="connsiteY347" fmla="*/ 479415 h 926154"/>
                    <a:gd name="connsiteX348" fmla="*/ 1115960 w 1197657"/>
                    <a:gd name="connsiteY348" fmla="*/ 484649 h 926154"/>
                    <a:gd name="connsiteX349" fmla="*/ 1116361 w 1197657"/>
                    <a:gd name="connsiteY349" fmla="*/ 488061 h 926154"/>
                    <a:gd name="connsiteX350" fmla="*/ 1117393 w 1197657"/>
                    <a:gd name="connsiteY350" fmla="*/ 491704 h 926154"/>
                    <a:gd name="connsiteX351" fmla="*/ 1117685 w 1197657"/>
                    <a:gd name="connsiteY351" fmla="*/ 494303 h 926154"/>
                    <a:gd name="connsiteX352" fmla="*/ 1117454 w 1197657"/>
                    <a:gd name="connsiteY352" fmla="*/ 500143 h 926154"/>
                    <a:gd name="connsiteX353" fmla="*/ 1117794 w 1197657"/>
                    <a:gd name="connsiteY353" fmla="*/ 502062 h 926154"/>
                    <a:gd name="connsiteX354" fmla="*/ 1118826 w 1197657"/>
                    <a:gd name="connsiteY354" fmla="*/ 503616 h 926154"/>
                    <a:gd name="connsiteX355" fmla="*/ 1121935 w 1197657"/>
                    <a:gd name="connsiteY355" fmla="*/ 506385 h 926154"/>
                    <a:gd name="connsiteX356" fmla="*/ 1123477 w 1197657"/>
                    <a:gd name="connsiteY356" fmla="*/ 508388 h 926154"/>
                    <a:gd name="connsiteX357" fmla="*/ 1125371 w 1197657"/>
                    <a:gd name="connsiteY357" fmla="*/ 512553 h 926154"/>
                    <a:gd name="connsiteX358" fmla="*/ 1126245 w 1197657"/>
                    <a:gd name="connsiteY358" fmla="*/ 515881 h 926154"/>
                    <a:gd name="connsiteX359" fmla="*/ 1126816 w 1197657"/>
                    <a:gd name="connsiteY359" fmla="*/ 520422 h 926154"/>
                    <a:gd name="connsiteX360" fmla="*/ 1127375 w 1197657"/>
                    <a:gd name="connsiteY360" fmla="*/ 522486 h 926154"/>
                    <a:gd name="connsiteX361" fmla="*/ 1128540 w 1197657"/>
                    <a:gd name="connsiteY361" fmla="*/ 524211 h 926154"/>
                    <a:gd name="connsiteX362" fmla="*/ 1130265 w 1197657"/>
                    <a:gd name="connsiteY362" fmla="*/ 525947 h 926154"/>
                    <a:gd name="connsiteX363" fmla="*/ 1131807 w 1197657"/>
                    <a:gd name="connsiteY363" fmla="*/ 528497 h 926154"/>
                    <a:gd name="connsiteX364" fmla="*/ 1132038 w 1197657"/>
                    <a:gd name="connsiteY364" fmla="*/ 530197 h 926154"/>
                    <a:gd name="connsiteX365" fmla="*/ 1129621 w 1197657"/>
                    <a:gd name="connsiteY365" fmla="*/ 537714 h 926154"/>
                    <a:gd name="connsiteX366" fmla="*/ 1129573 w 1197657"/>
                    <a:gd name="connsiteY366" fmla="*/ 552079 h 926154"/>
                    <a:gd name="connsiteX367" fmla="*/ 1116871 w 1197657"/>
                    <a:gd name="connsiteY367" fmla="*/ 554325 h 926154"/>
                    <a:gd name="connsiteX368" fmla="*/ 1100624 w 1197657"/>
                    <a:gd name="connsiteY368" fmla="*/ 562024 h 926154"/>
                    <a:gd name="connsiteX369" fmla="*/ 1098851 w 1197657"/>
                    <a:gd name="connsiteY369" fmla="*/ 564671 h 926154"/>
                    <a:gd name="connsiteX370" fmla="*/ 1094650 w 1197657"/>
                    <a:gd name="connsiteY370" fmla="*/ 567245 h 926154"/>
                    <a:gd name="connsiteX371" fmla="*/ 1089938 w 1197657"/>
                    <a:gd name="connsiteY371" fmla="*/ 568763 h 926154"/>
                    <a:gd name="connsiteX372" fmla="*/ 1086562 w 1197657"/>
                    <a:gd name="connsiteY372" fmla="*/ 568205 h 926154"/>
                    <a:gd name="connsiteX373" fmla="*/ 1081171 w 1197657"/>
                    <a:gd name="connsiteY373" fmla="*/ 571180 h 926154"/>
                    <a:gd name="connsiteX374" fmla="*/ 1074043 w 1197657"/>
                    <a:gd name="connsiteY374" fmla="*/ 573365 h 926154"/>
                    <a:gd name="connsiteX375" fmla="*/ 1072440 w 1197657"/>
                    <a:gd name="connsiteY375" fmla="*/ 573620 h 926154"/>
                    <a:gd name="connsiteX376" fmla="*/ 1069684 w 1197657"/>
                    <a:gd name="connsiteY376" fmla="*/ 574738 h 926154"/>
                    <a:gd name="connsiteX377" fmla="*/ 1067437 w 1197657"/>
                    <a:gd name="connsiteY377" fmla="*/ 579279 h 926154"/>
                    <a:gd name="connsiteX378" fmla="*/ 1067158 w 1197657"/>
                    <a:gd name="connsiteY378" fmla="*/ 580906 h 926154"/>
                    <a:gd name="connsiteX379" fmla="*/ 1067267 w 1197657"/>
                    <a:gd name="connsiteY379" fmla="*/ 583007 h 926154"/>
                    <a:gd name="connsiteX380" fmla="*/ 1068821 w 1197657"/>
                    <a:gd name="connsiteY380" fmla="*/ 588495 h 926154"/>
                    <a:gd name="connsiteX381" fmla="*/ 1069052 w 1197657"/>
                    <a:gd name="connsiteY381" fmla="*/ 590985 h 926154"/>
                    <a:gd name="connsiteX382" fmla="*/ 1068530 w 1197657"/>
                    <a:gd name="connsiteY382" fmla="*/ 593753 h 926154"/>
                    <a:gd name="connsiteX383" fmla="*/ 1069271 w 1197657"/>
                    <a:gd name="connsiteY383" fmla="*/ 596765 h 926154"/>
                    <a:gd name="connsiteX384" fmla="*/ 1070825 w 1197657"/>
                    <a:gd name="connsiteY384" fmla="*/ 598805 h 926154"/>
                    <a:gd name="connsiteX385" fmla="*/ 1073011 w 1197657"/>
                    <a:gd name="connsiteY385" fmla="*/ 600116 h 926154"/>
                    <a:gd name="connsiteX386" fmla="*/ 1074844 w 1197657"/>
                    <a:gd name="connsiteY386" fmla="*/ 602047 h 926154"/>
                    <a:gd name="connsiteX387" fmla="*/ 1075257 w 1197657"/>
                    <a:gd name="connsiteY387" fmla="*/ 605083 h 926154"/>
                    <a:gd name="connsiteX388" fmla="*/ 1073242 w 1197657"/>
                    <a:gd name="connsiteY388" fmla="*/ 611227 h 926154"/>
                    <a:gd name="connsiteX389" fmla="*/ 1069963 w 1197657"/>
                    <a:gd name="connsiteY389" fmla="*/ 614396 h 926154"/>
                    <a:gd name="connsiteX390" fmla="*/ 1066526 w 1197657"/>
                    <a:gd name="connsiteY390" fmla="*/ 615975 h 926154"/>
                    <a:gd name="connsiteX391" fmla="*/ 1060771 w 1197657"/>
                    <a:gd name="connsiteY391" fmla="*/ 616546 h 926154"/>
                    <a:gd name="connsiteX392" fmla="*/ 1059277 w 1197657"/>
                    <a:gd name="connsiteY392" fmla="*/ 617529 h 926154"/>
                    <a:gd name="connsiteX393" fmla="*/ 1058828 w 1197657"/>
                    <a:gd name="connsiteY393" fmla="*/ 619047 h 926154"/>
                    <a:gd name="connsiteX394" fmla="*/ 1059860 w 1197657"/>
                    <a:gd name="connsiteY394" fmla="*/ 621937 h 926154"/>
                    <a:gd name="connsiteX395" fmla="*/ 1061014 w 1197657"/>
                    <a:gd name="connsiteY395" fmla="*/ 624038 h 926154"/>
                    <a:gd name="connsiteX396" fmla="*/ 1066526 w 1197657"/>
                    <a:gd name="connsiteY396" fmla="*/ 630522 h 926154"/>
                    <a:gd name="connsiteX397" fmla="*/ 1067959 w 1197657"/>
                    <a:gd name="connsiteY397" fmla="*/ 632902 h 926154"/>
                    <a:gd name="connsiteX398" fmla="*/ 1070024 w 1197657"/>
                    <a:gd name="connsiteY398" fmla="*/ 637322 h 926154"/>
                    <a:gd name="connsiteX399" fmla="*/ 1070825 w 1197657"/>
                    <a:gd name="connsiteY399" fmla="*/ 638585 h 926154"/>
                    <a:gd name="connsiteX400" fmla="*/ 1071796 w 1197657"/>
                    <a:gd name="connsiteY400" fmla="*/ 639216 h 926154"/>
                    <a:gd name="connsiteX401" fmla="*/ 1073011 w 1197657"/>
                    <a:gd name="connsiteY401" fmla="*/ 639071 h 926154"/>
                    <a:gd name="connsiteX402" fmla="*/ 1078463 w 1197657"/>
                    <a:gd name="connsiteY402" fmla="*/ 636751 h 926154"/>
                    <a:gd name="connsiteX403" fmla="*/ 1091152 w 1197657"/>
                    <a:gd name="connsiteY403" fmla="*/ 634711 h 926154"/>
                    <a:gd name="connsiteX404" fmla="*/ 1096957 w 1197657"/>
                    <a:gd name="connsiteY404" fmla="*/ 632271 h 926154"/>
                    <a:gd name="connsiteX405" fmla="*/ 1104643 w 1197657"/>
                    <a:gd name="connsiteY405" fmla="*/ 630000 h 926154"/>
                    <a:gd name="connsiteX406" fmla="*/ 1108954 w 1197657"/>
                    <a:gd name="connsiteY406" fmla="*/ 629271 h 926154"/>
                    <a:gd name="connsiteX407" fmla="*/ 1112512 w 1197657"/>
                    <a:gd name="connsiteY407" fmla="*/ 629187 h 926154"/>
                    <a:gd name="connsiteX408" fmla="*/ 1125845 w 1197657"/>
                    <a:gd name="connsiteY408" fmla="*/ 630498 h 926154"/>
                    <a:gd name="connsiteX409" fmla="*/ 1127800 w 1197657"/>
                    <a:gd name="connsiteY409" fmla="*/ 630073 h 926154"/>
                    <a:gd name="connsiteX410" fmla="*/ 1128880 w 1197657"/>
                    <a:gd name="connsiteY410" fmla="*/ 629187 h 926154"/>
                    <a:gd name="connsiteX411" fmla="*/ 1129573 w 1197657"/>
                    <a:gd name="connsiteY411" fmla="*/ 628093 h 926154"/>
                    <a:gd name="connsiteX412" fmla="*/ 1130143 w 1197657"/>
                    <a:gd name="connsiteY412" fmla="*/ 627511 h 926154"/>
                    <a:gd name="connsiteX413" fmla="*/ 1131115 w 1197657"/>
                    <a:gd name="connsiteY413" fmla="*/ 627147 h 926154"/>
                    <a:gd name="connsiteX414" fmla="*/ 1132900 w 1197657"/>
                    <a:gd name="connsiteY414" fmla="*/ 626940 h 926154"/>
                    <a:gd name="connsiteX415" fmla="*/ 1134563 w 1197657"/>
                    <a:gd name="connsiteY415" fmla="*/ 627316 h 926154"/>
                    <a:gd name="connsiteX416" fmla="*/ 1135717 w 1197657"/>
                    <a:gd name="connsiteY416" fmla="*/ 627827 h 926154"/>
                    <a:gd name="connsiteX417" fmla="*/ 1137150 w 1197657"/>
                    <a:gd name="connsiteY417" fmla="*/ 629041 h 926154"/>
                    <a:gd name="connsiteX418" fmla="*/ 1138364 w 1197657"/>
                    <a:gd name="connsiteY418" fmla="*/ 630376 h 926154"/>
                    <a:gd name="connsiteX419" fmla="*/ 1139676 w 1197657"/>
                    <a:gd name="connsiteY419" fmla="*/ 631542 h 926154"/>
                    <a:gd name="connsiteX420" fmla="*/ 1141339 w 1197657"/>
                    <a:gd name="connsiteY420" fmla="*/ 631918 h 926154"/>
                    <a:gd name="connsiteX421" fmla="*/ 1148455 w 1197657"/>
                    <a:gd name="connsiteY421" fmla="*/ 630534 h 926154"/>
                    <a:gd name="connsiteX422" fmla="*/ 1150361 w 1197657"/>
                    <a:gd name="connsiteY422" fmla="*/ 629951 h 926154"/>
                    <a:gd name="connsiteX423" fmla="*/ 1152086 w 1197657"/>
                    <a:gd name="connsiteY423" fmla="*/ 629126 h 926154"/>
                    <a:gd name="connsiteX424" fmla="*/ 1155182 w 1197657"/>
                    <a:gd name="connsiteY424" fmla="*/ 627183 h 926154"/>
                    <a:gd name="connsiteX425" fmla="*/ 1156615 w 1197657"/>
                    <a:gd name="connsiteY425" fmla="*/ 626539 h 926154"/>
                    <a:gd name="connsiteX426" fmla="*/ 1157878 w 1197657"/>
                    <a:gd name="connsiteY426" fmla="*/ 626309 h 926154"/>
                    <a:gd name="connsiteX427" fmla="*/ 1158910 w 1197657"/>
                    <a:gd name="connsiteY427" fmla="*/ 626478 h 926154"/>
                    <a:gd name="connsiteX428" fmla="*/ 1159602 w 1197657"/>
                    <a:gd name="connsiteY428" fmla="*/ 626964 h 926154"/>
                    <a:gd name="connsiteX429" fmla="*/ 1160063 w 1197657"/>
                    <a:gd name="connsiteY429" fmla="*/ 627802 h 926154"/>
                    <a:gd name="connsiteX430" fmla="*/ 1161156 w 1197657"/>
                    <a:gd name="connsiteY430" fmla="*/ 630413 h 926154"/>
                    <a:gd name="connsiteX431" fmla="*/ 1161618 w 1197657"/>
                    <a:gd name="connsiteY431" fmla="*/ 631918 h 926154"/>
                    <a:gd name="connsiteX432" fmla="*/ 1161836 w 1197657"/>
                    <a:gd name="connsiteY432" fmla="*/ 633570 h 926154"/>
                    <a:gd name="connsiteX433" fmla="*/ 1161679 w 1197657"/>
                    <a:gd name="connsiteY433" fmla="*/ 635355 h 926154"/>
                    <a:gd name="connsiteX434" fmla="*/ 1161096 w 1197657"/>
                    <a:gd name="connsiteY434" fmla="*/ 636873 h 926154"/>
                    <a:gd name="connsiteX435" fmla="*/ 1160063 w 1197657"/>
                    <a:gd name="connsiteY435" fmla="*/ 638111 h 926154"/>
                    <a:gd name="connsiteX436" fmla="*/ 1158048 w 1197657"/>
                    <a:gd name="connsiteY436" fmla="*/ 639775 h 926154"/>
                    <a:gd name="connsiteX437" fmla="*/ 1155121 w 1197657"/>
                    <a:gd name="connsiteY437" fmla="*/ 641560 h 926154"/>
                    <a:gd name="connsiteX438" fmla="*/ 1150531 w 1197657"/>
                    <a:gd name="connsiteY438" fmla="*/ 643576 h 926154"/>
                    <a:gd name="connsiteX439" fmla="*/ 1125784 w 1197657"/>
                    <a:gd name="connsiteY439" fmla="*/ 650339 h 926154"/>
                    <a:gd name="connsiteX440" fmla="*/ 1123829 w 1197657"/>
                    <a:gd name="connsiteY440" fmla="*/ 650485 h 926154"/>
                    <a:gd name="connsiteX441" fmla="*/ 1121813 w 1197657"/>
                    <a:gd name="connsiteY441" fmla="*/ 650097 h 926154"/>
                    <a:gd name="connsiteX442" fmla="*/ 1117272 w 1197657"/>
                    <a:gd name="connsiteY442" fmla="*/ 648166 h 926154"/>
                    <a:gd name="connsiteX443" fmla="*/ 1115438 w 1197657"/>
                    <a:gd name="connsiteY443" fmla="*/ 647559 h 926154"/>
                    <a:gd name="connsiteX444" fmla="*/ 1113313 w 1197657"/>
                    <a:gd name="connsiteY444" fmla="*/ 648336 h 926154"/>
                    <a:gd name="connsiteX445" fmla="*/ 1111140 w 1197657"/>
                    <a:gd name="connsiteY445" fmla="*/ 650218 h 926154"/>
                    <a:gd name="connsiteX446" fmla="*/ 1106707 w 1197657"/>
                    <a:gd name="connsiteY446" fmla="*/ 655111 h 926154"/>
                    <a:gd name="connsiteX447" fmla="*/ 1103902 w 1197657"/>
                    <a:gd name="connsiteY447" fmla="*/ 657285 h 926154"/>
                    <a:gd name="connsiteX448" fmla="*/ 1100624 w 1197657"/>
                    <a:gd name="connsiteY448" fmla="*/ 659119 h 926154"/>
                    <a:gd name="connsiteX449" fmla="*/ 1097940 w 1197657"/>
                    <a:gd name="connsiteY449" fmla="*/ 661559 h 926154"/>
                    <a:gd name="connsiteX450" fmla="*/ 1095342 w 1197657"/>
                    <a:gd name="connsiteY450" fmla="*/ 665664 h 926154"/>
                    <a:gd name="connsiteX451" fmla="*/ 1092184 w 1197657"/>
                    <a:gd name="connsiteY451" fmla="*/ 678414 h 926154"/>
                    <a:gd name="connsiteX452" fmla="*/ 1090120 w 1197657"/>
                    <a:gd name="connsiteY452" fmla="*/ 681741 h 926154"/>
                    <a:gd name="connsiteX453" fmla="*/ 1088444 w 1197657"/>
                    <a:gd name="connsiteY453" fmla="*/ 682628 h 926154"/>
                    <a:gd name="connsiteX454" fmla="*/ 1077941 w 1197657"/>
                    <a:gd name="connsiteY454" fmla="*/ 686392 h 926154"/>
                    <a:gd name="connsiteX455" fmla="*/ 1075658 w 1197657"/>
                    <a:gd name="connsiteY455" fmla="*/ 686793 h 926154"/>
                    <a:gd name="connsiteX456" fmla="*/ 1073873 w 1197657"/>
                    <a:gd name="connsiteY456" fmla="*/ 686246 h 926154"/>
                    <a:gd name="connsiteX457" fmla="*/ 1071007 w 1197657"/>
                    <a:gd name="connsiteY457" fmla="*/ 683319 h 926154"/>
                    <a:gd name="connsiteX458" fmla="*/ 1069453 w 1197657"/>
                    <a:gd name="connsiteY458" fmla="*/ 682858 h 926154"/>
                    <a:gd name="connsiteX459" fmla="*/ 1067899 w 1197657"/>
                    <a:gd name="connsiteY459" fmla="*/ 683805 h 926154"/>
                    <a:gd name="connsiteX460" fmla="*/ 1066526 w 1197657"/>
                    <a:gd name="connsiteY460" fmla="*/ 686974 h 926154"/>
                    <a:gd name="connsiteX461" fmla="*/ 1063649 w 1197657"/>
                    <a:gd name="connsiteY461" fmla="*/ 696446 h 926154"/>
                    <a:gd name="connsiteX462" fmla="*/ 1061694 w 1197657"/>
                    <a:gd name="connsiteY462" fmla="*/ 698948 h 926154"/>
                    <a:gd name="connsiteX463" fmla="*/ 1059581 w 1197657"/>
                    <a:gd name="connsiteY463" fmla="*/ 700259 h 926154"/>
                    <a:gd name="connsiteX464" fmla="*/ 1057516 w 1197657"/>
                    <a:gd name="connsiteY464" fmla="*/ 700660 h 926154"/>
                    <a:gd name="connsiteX465" fmla="*/ 1055379 w 1197657"/>
                    <a:gd name="connsiteY465" fmla="*/ 701413 h 926154"/>
                    <a:gd name="connsiteX466" fmla="*/ 1053534 w 1197657"/>
                    <a:gd name="connsiteY466" fmla="*/ 702384 h 926154"/>
                    <a:gd name="connsiteX467" fmla="*/ 1051882 w 1197657"/>
                    <a:gd name="connsiteY467" fmla="*/ 703501 h 926154"/>
                    <a:gd name="connsiteX468" fmla="*/ 1048774 w 1197657"/>
                    <a:gd name="connsiteY468" fmla="*/ 706428 h 926154"/>
                    <a:gd name="connsiteX469" fmla="*/ 1048446 w 1197657"/>
                    <a:gd name="connsiteY469" fmla="*/ 706610 h 926154"/>
                    <a:gd name="connsiteX470" fmla="*/ 1047814 w 1197657"/>
                    <a:gd name="connsiteY470" fmla="*/ 706573 h 926154"/>
                    <a:gd name="connsiteX471" fmla="*/ 1046782 w 1197657"/>
                    <a:gd name="connsiteY471" fmla="*/ 706270 h 926154"/>
                    <a:gd name="connsiteX472" fmla="*/ 1045458 w 1197657"/>
                    <a:gd name="connsiteY472" fmla="*/ 705748 h 926154"/>
                    <a:gd name="connsiteX473" fmla="*/ 1043856 w 1197657"/>
                    <a:gd name="connsiteY473" fmla="*/ 705262 h 926154"/>
                    <a:gd name="connsiteX474" fmla="*/ 1042131 w 1197657"/>
                    <a:gd name="connsiteY474" fmla="*/ 705092 h 926154"/>
                    <a:gd name="connsiteX475" fmla="*/ 1040456 w 1197657"/>
                    <a:gd name="connsiteY475" fmla="*/ 705517 h 926154"/>
                    <a:gd name="connsiteX476" fmla="*/ 1039144 w 1197657"/>
                    <a:gd name="connsiteY476" fmla="*/ 706270 h 926154"/>
                    <a:gd name="connsiteX477" fmla="*/ 1037772 w 1197657"/>
                    <a:gd name="connsiteY477" fmla="*/ 706634 h 926154"/>
                    <a:gd name="connsiteX478" fmla="*/ 1036376 w 1197657"/>
                    <a:gd name="connsiteY478" fmla="*/ 706379 h 926154"/>
                    <a:gd name="connsiteX479" fmla="*/ 1026054 w 1197657"/>
                    <a:gd name="connsiteY479" fmla="*/ 700757 h 926154"/>
                    <a:gd name="connsiteX480" fmla="*/ 1024160 w 1197657"/>
                    <a:gd name="connsiteY480" fmla="*/ 700186 h 926154"/>
                    <a:gd name="connsiteX481" fmla="*/ 1022605 w 1197657"/>
                    <a:gd name="connsiteY481" fmla="*/ 700065 h 926154"/>
                    <a:gd name="connsiteX482" fmla="*/ 1021683 w 1197657"/>
                    <a:gd name="connsiteY482" fmla="*/ 700575 h 926154"/>
                    <a:gd name="connsiteX483" fmla="*/ 1021403 w 1197657"/>
                    <a:gd name="connsiteY483" fmla="*/ 701522 h 926154"/>
                    <a:gd name="connsiteX484" fmla="*/ 1021525 w 1197657"/>
                    <a:gd name="connsiteY484" fmla="*/ 702675 h 926154"/>
                    <a:gd name="connsiteX485" fmla="*/ 1022897 w 1197657"/>
                    <a:gd name="connsiteY485" fmla="*/ 704752 h 926154"/>
                    <a:gd name="connsiteX486" fmla="*/ 1029891 w 1197657"/>
                    <a:gd name="connsiteY486" fmla="*/ 711491 h 926154"/>
                    <a:gd name="connsiteX487" fmla="*/ 1036788 w 1197657"/>
                    <a:gd name="connsiteY487" fmla="*/ 715510 h 926154"/>
                    <a:gd name="connsiteX488" fmla="*/ 1040055 w 1197657"/>
                    <a:gd name="connsiteY488" fmla="*/ 715656 h 926154"/>
                    <a:gd name="connsiteX489" fmla="*/ 1042471 w 1197657"/>
                    <a:gd name="connsiteY489" fmla="*/ 715547 h 926154"/>
                    <a:gd name="connsiteX490" fmla="*/ 1044536 w 1197657"/>
                    <a:gd name="connsiteY490" fmla="*/ 714746 h 926154"/>
                    <a:gd name="connsiteX491" fmla="*/ 1046272 w 1197657"/>
                    <a:gd name="connsiteY491" fmla="*/ 714660 h 926154"/>
                    <a:gd name="connsiteX492" fmla="*/ 1048215 w 1197657"/>
                    <a:gd name="connsiteY492" fmla="*/ 714867 h 926154"/>
                    <a:gd name="connsiteX493" fmla="*/ 1050109 w 1197657"/>
                    <a:gd name="connsiteY493" fmla="*/ 715632 h 926154"/>
                    <a:gd name="connsiteX494" fmla="*/ 1051834 w 1197657"/>
                    <a:gd name="connsiteY494" fmla="*/ 716943 h 926154"/>
                    <a:gd name="connsiteX495" fmla="*/ 1054019 w 1197657"/>
                    <a:gd name="connsiteY495" fmla="*/ 719845 h 926154"/>
                    <a:gd name="connsiteX496" fmla="*/ 1054881 w 1197657"/>
                    <a:gd name="connsiteY496" fmla="*/ 721703 h 926154"/>
                    <a:gd name="connsiteX497" fmla="*/ 1057067 w 1197657"/>
                    <a:gd name="connsiteY497" fmla="*/ 724581 h 926154"/>
                    <a:gd name="connsiteX498" fmla="*/ 1063139 w 1197657"/>
                    <a:gd name="connsiteY498" fmla="*/ 726731 h 926154"/>
                    <a:gd name="connsiteX499" fmla="*/ 1066016 w 1197657"/>
                    <a:gd name="connsiteY499" fmla="*/ 727423 h 926154"/>
                    <a:gd name="connsiteX500" fmla="*/ 1067631 w 1197657"/>
                    <a:gd name="connsiteY500" fmla="*/ 729378 h 926154"/>
                    <a:gd name="connsiteX501" fmla="*/ 1070606 w 1197657"/>
                    <a:gd name="connsiteY501" fmla="*/ 733968 h 926154"/>
                    <a:gd name="connsiteX502" fmla="*/ 1074055 w 1197657"/>
                    <a:gd name="connsiteY502" fmla="*/ 738181 h 926154"/>
                    <a:gd name="connsiteX503" fmla="*/ 1076799 w 1197657"/>
                    <a:gd name="connsiteY503" fmla="*/ 740780 h 926154"/>
                    <a:gd name="connsiteX504" fmla="*/ 1079046 w 1197657"/>
                    <a:gd name="connsiteY504" fmla="*/ 742358 h 926154"/>
                    <a:gd name="connsiteX505" fmla="*/ 1080722 w 1197657"/>
                    <a:gd name="connsiteY505" fmla="*/ 743840 h 926154"/>
                    <a:gd name="connsiteX506" fmla="*/ 1081972 w 1197657"/>
                    <a:gd name="connsiteY506" fmla="*/ 746196 h 926154"/>
                    <a:gd name="connsiteX507" fmla="*/ 1083769 w 1197657"/>
                    <a:gd name="connsiteY507" fmla="*/ 753287 h 926154"/>
                    <a:gd name="connsiteX508" fmla="*/ 1085652 w 1197657"/>
                    <a:gd name="connsiteY508" fmla="*/ 757027 h 926154"/>
                    <a:gd name="connsiteX509" fmla="*/ 1087206 w 1197657"/>
                    <a:gd name="connsiteY509" fmla="*/ 761642 h 926154"/>
                    <a:gd name="connsiteX510" fmla="*/ 1088821 w 1197657"/>
                    <a:gd name="connsiteY510" fmla="*/ 776832 h 926154"/>
                    <a:gd name="connsiteX511" fmla="*/ 1088760 w 1197657"/>
                    <a:gd name="connsiteY511" fmla="*/ 779965 h 926154"/>
                    <a:gd name="connsiteX512" fmla="*/ 1088359 w 1197657"/>
                    <a:gd name="connsiteY512" fmla="*/ 782795 h 926154"/>
                    <a:gd name="connsiteX513" fmla="*/ 1087607 w 1197657"/>
                    <a:gd name="connsiteY513" fmla="*/ 785357 h 926154"/>
                    <a:gd name="connsiteX514" fmla="*/ 1086453 w 1197657"/>
                    <a:gd name="connsiteY514" fmla="*/ 787652 h 926154"/>
                    <a:gd name="connsiteX515" fmla="*/ 1084619 w 1197657"/>
                    <a:gd name="connsiteY515" fmla="*/ 789655 h 926154"/>
                    <a:gd name="connsiteX516" fmla="*/ 1075379 w 1197657"/>
                    <a:gd name="connsiteY516" fmla="*/ 796577 h 926154"/>
                    <a:gd name="connsiteX517" fmla="*/ 1069975 w 1197657"/>
                    <a:gd name="connsiteY517" fmla="*/ 802138 h 926154"/>
                    <a:gd name="connsiteX518" fmla="*/ 1069744 w 1197657"/>
                    <a:gd name="connsiteY518" fmla="*/ 803523 h 926154"/>
                    <a:gd name="connsiteX519" fmla="*/ 1070157 w 1197657"/>
                    <a:gd name="connsiteY519" fmla="*/ 807105 h 926154"/>
                    <a:gd name="connsiteX520" fmla="*/ 1069854 w 1197657"/>
                    <a:gd name="connsiteY520" fmla="*/ 809497 h 926154"/>
                    <a:gd name="connsiteX521" fmla="*/ 1069064 w 1197657"/>
                    <a:gd name="connsiteY521" fmla="*/ 812022 h 926154"/>
                    <a:gd name="connsiteX522" fmla="*/ 1067971 w 1197657"/>
                    <a:gd name="connsiteY522" fmla="*/ 814172 h 926154"/>
                    <a:gd name="connsiteX523" fmla="*/ 1066478 w 1197657"/>
                    <a:gd name="connsiteY523" fmla="*/ 815981 h 926154"/>
                    <a:gd name="connsiteX524" fmla="*/ 1064231 w 1197657"/>
                    <a:gd name="connsiteY524" fmla="*/ 817293 h 926154"/>
                    <a:gd name="connsiteX525" fmla="*/ 1061135 w 1197657"/>
                    <a:gd name="connsiteY525" fmla="*/ 818410 h 926154"/>
                    <a:gd name="connsiteX526" fmla="*/ 1056084 w 1197657"/>
                    <a:gd name="connsiteY526" fmla="*/ 820887 h 926154"/>
                    <a:gd name="connsiteX527" fmla="*/ 1051542 w 1197657"/>
                    <a:gd name="connsiteY527" fmla="*/ 823716 h 926154"/>
                    <a:gd name="connsiteX528" fmla="*/ 1049138 w 1197657"/>
                    <a:gd name="connsiteY528" fmla="*/ 824518 h 926154"/>
                    <a:gd name="connsiteX529" fmla="*/ 1039314 w 1197657"/>
                    <a:gd name="connsiteY529" fmla="*/ 825161 h 926154"/>
                    <a:gd name="connsiteX530" fmla="*/ 1037529 w 1197657"/>
                    <a:gd name="connsiteY530" fmla="*/ 824894 h 926154"/>
                    <a:gd name="connsiteX531" fmla="*/ 1036036 w 1197657"/>
                    <a:gd name="connsiteY531" fmla="*/ 824238 h 926154"/>
                    <a:gd name="connsiteX532" fmla="*/ 1034724 w 1197657"/>
                    <a:gd name="connsiteY532" fmla="*/ 822805 h 926154"/>
                    <a:gd name="connsiteX533" fmla="*/ 1030292 w 1197657"/>
                    <a:gd name="connsiteY533" fmla="*/ 816285 h 926154"/>
                    <a:gd name="connsiteX534" fmla="*/ 1027766 w 1197657"/>
                    <a:gd name="connsiteY534" fmla="*/ 814160 h 926154"/>
                    <a:gd name="connsiteX535" fmla="*/ 1024682 w 1197657"/>
                    <a:gd name="connsiteY535" fmla="*/ 812302 h 926154"/>
                    <a:gd name="connsiteX536" fmla="*/ 1018926 w 1197657"/>
                    <a:gd name="connsiteY536" fmla="*/ 809594 h 926154"/>
                    <a:gd name="connsiteX537" fmla="*/ 1011932 w 1197657"/>
                    <a:gd name="connsiteY537" fmla="*/ 804542 h 926154"/>
                    <a:gd name="connsiteX538" fmla="*/ 1010900 w 1197657"/>
                    <a:gd name="connsiteY538" fmla="*/ 803996 h 926154"/>
                    <a:gd name="connsiteX539" fmla="*/ 1009224 w 1197657"/>
                    <a:gd name="connsiteY539" fmla="*/ 803353 h 926154"/>
                    <a:gd name="connsiteX540" fmla="*/ 1008082 w 1197657"/>
                    <a:gd name="connsiteY540" fmla="*/ 802721 h 926154"/>
                    <a:gd name="connsiteX541" fmla="*/ 1007099 w 1197657"/>
                    <a:gd name="connsiteY541" fmla="*/ 801750 h 926154"/>
                    <a:gd name="connsiteX542" fmla="*/ 1005035 w 1197657"/>
                    <a:gd name="connsiteY542" fmla="*/ 797002 h 926154"/>
                    <a:gd name="connsiteX543" fmla="*/ 1004172 w 1197657"/>
                    <a:gd name="connsiteY543" fmla="*/ 795508 h 926154"/>
                    <a:gd name="connsiteX544" fmla="*/ 1002922 w 1197657"/>
                    <a:gd name="connsiteY544" fmla="*/ 794233 h 926154"/>
                    <a:gd name="connsiteX545" fmla="*/ 1001756 w 1197657"/>
                    <a:gd name="connsiteY545" fmla="*/ 793687 h 926154"/>
                    <a:gd name="connsiteX546" fmla="*/ 1000214 w 1197657"/>
                    <a:gd name="connsiteY546" fmla="*/ 793857 h 926154"/>
                    <a:gd name="connsiteX547" fmla="*/ 999242 w 1197657"/>
                    <a:gd name="connsiteY547" fmla="*/ 794403 h 926154"/>
                    <a:gd name="connsiteX548" fmla="*/ 998320 w 1197657"/>
                    <a:gd name="connsiteY548" fmla="*/ 795581 h 926154"/>
                    <a:gd name="connsiteX549" fmla="*/ 996316 w 1197657"/>
                    <a:gd name="connsiteY549" fmla="*/ 800790 h 926154"/>
                    <a:gd name="connsiteX550" fmla="*/ 993669 w 1197657"/>
                    <a:gd name="connsiteY550" fmla="*/ 803523 h 926154"/>
                    <a:gd name="connsiteX551" fmla="*/ 987585 w 1197657"/>
                    <a:gd name="connsiteY551" fmla="*/ 805550 h 926154"/>
                    <a:gd name="connsiteX552" fmla="*/ 986249 w 1197657"/>
                    <a:gd name="connsiteY552" fmla="*/ 806874 h 926154"/>
                    <a:gd name="connsiteX553" fmla="*/ 986140 w 1197657"/>
                    <a:gd name="connsiteY553" fmla="*/ 807700 h 926154"/>
                    <a:gd name="connsiteX554" fmla="*/ 986602 w 1197657"/>
                    <a:gd name="connsiteY554" fmla="*/ 808963 h 926154"/>
                    <a:gd name="connsiteX555" fmla="*/ 987694 w 1197657"/>
                    <a:gd name="connsiteY555" fmla="*/ 809643 h 926154"/>
                    <a:gd name="connsiteX556" fmla="*/ 989127 w 1197657"/>
                    <a:gd name="connsiteY556" fmla="*/ 809946 h 926154"/>
                    <a:gd name="connsiteX557" fmla="*/ 990961 w 1197657"/>
                    <a:gd name="connsiteY557" fmla="*/ 810031 h 926154"/>
                    <a:gd name="connsiteX558" fmla="*/ 992297 w 1197657"/>
                    <a:gd name="connsiteY558" fmla="*/ 810213 h 926154"/>
                    <a:gd name="connsiteX559" fmla="*/ 993547 w 1197657"/>
                    <a:gd name="connsiteY559" fmla="*/ 810614 h 926154"/>
                    <a:gd name="connsiteX560" fmla="*/ 994179 w 1197657"/>
                    <a:gd name="connsiteY560" fmla="*/ 811245 h 926154"/>
                    <a:gd name="connsiteX561" fmla="*/ 994531 w 1197657"/>
                    <a:gd name="connsiteY561" fmla="*/ 812338 h 926154"/>
                    <a:gd name="connsiteX562" fmla="*/ 995162 w 1197657"/>
                    <a:gd name="connsiteY562" fmla="*/ 816807 h 926154"/>
                    <a:gd name="connsiteX563" fmla="*/ 995502 w 1197657"/>
                    <a:gd name="connsiteY563" fmla="*/ 817973 h 926154"/>
                    <a:gd name="connsiteX564" fmla="*/ 996085 w 1197657"/>
                    <a:gd name="connsiteY564" fmla="*/ 818628 h 926154"/>
                    <a:gd name="connsiteX565" fmla="*/ 996996 w 1197657"/>
                    <a:gd name="connsiteY565" fmla="*/ 819090 h 926154"/>
                    <a:gd name="connsiteX566" fmla="*/ 998089 w 1197657"/>
                    <a:gd name="connsiteY566" fmla="*/ 819345 h 926154"/>
                    <a:gd name="connsiteX567" fmla="*/ 1000275 w 1197657"/>
                    <a:gd name="connsiteY567" fmla="*/ 819600 h 926154"/>
                    <a:gd name="connsiteX568" fmla="*/ 1001125 w 1197657"/>
                    <a:gd name="connsiteY568" fmla="*/ 819806 h 926154"/>
                    <a:gd name="connsiteX569" fmla="*/ 1001586 w 1197657"/>
                    <a:gd name="connsiteY569" fmla="*/ 820292 h 926154"/>
                    <a:gd name="connsiteX570" fmla="*/ 1001987 w 1197657"/>
                    <a:gd name="connsiteY570" fmla="*/ 821142 h 926154"/>
                    <a:gd name="connsiteX571" fmla="*/ 1002400 w 1197657"/>
                    <a:gd name="connsiteY571" fmla="*/ 822308 h 926154"/>
                    <a:gd name="connsiteX572" fmla="*/ 1003893 w 1197657"/>
                    <a:gd name="connsiteY572" fmla="*/ 829314 h 926154"/>
                    <a:gd name="connsiteX573" fmla="*/ 1002958 w 1197657"/>
                    <a:gd name="connsiteY573" fmla="*/ 832787 h 926154"/>
                    <a:gd name="connsiteX574" fmla="*/ 1000785 w 1197657"/>
                    <a:gd name="connsiteY574" fmla="*/ 837608 h 926154"/>
                    <a:gd name="connsiteX575" fmla="*/ 991544 w 1197657"/>
                    <a:gd name="connsiteY575" fmla="*/ 852677 h 926154"/>
                    <a:gd name="connsiteX576" fmla="*/ 986249 w 1197657"/>
                    <a:gd name="connsiteY576" fmla="*/ 859732 h 926154"/>
                    <a:gd name="connsiteX577" fmla="*/ 985509 w 1197657"/>
                    <a:gd name="connsiteY577" fmla="*/ 862258 h 926154"/>
                    <a:gd name="connsiteX578" fmla="*/ 986031 w 1197657"/>
                    <a:gd name="connsiteY578" fmla="*/ 863521 h 926154"/>
                    <a:gd name="connsiteX579" fmla="*/ 986723 w 1197657"/>
                    <a:gd name="connsiteY579" fmla="*/ 864286 h 926154"/>
                    <a:gd name="connsiteX580" fmla="*/ 988435 w 1197657"/>
                    <a:gd name="connsiteY580" fmla="*/ 864832 h 926154"/>
                    <a:gd name="connsiteX581" fmla="*/ 989188 w 1197657"/>
                    <a:gd name="connsiteY581" fmla="*/ 865318 h 926154"/>
                    <a:gd name="connsiteX582" fmla="*/ 989759 w 1197657"/>
                    <a:gd name="connsiteY582" fmla="*/ 866301 h 926154"/>
                    <a:gd name="connsiteX583" fmla="*/ 990172 w 1197657"/>
                    <a:gd name="connsiteY583" fmla="*/ 867783 h 926154"/>
                    <a:gd name="connsiteX584" fmla="*/ 990390 w 1197657"/>
                    <a:gd name="connsiteY584" fmla="*/ 869434 h 926154"/>
                    <a:gd name="connsiteX585" fmla="*/ 990512 w 1197657"/>
                    <a:gd name="connsiteY585" fmla="*/ 872215 h 926154"/>
                    <a:gd name="connsiteX586" fmla="*/ 991775 w 1197657"/>
                    <a:gd name="connsiteY586" fmla="*/ 881589 h 926154"/>
                    <a:gd name="connsiteX587" fmla="*/ 991483 w 1197657"/>
                    <a:gd name="connsiteY587" fmla="*/ 884395 h 926154"/>
                    <a:gd name="connsiteX588" fmla="*/ 990852 w 1197657"/>
                    <a:gd name="connsiteY588" fmla="*/ 886677 h 926154"/>
                    <a:gd name="connsiteX589" fmla="*/ 989127 w 1197657"/>
                    <a:gd name="connsiteY589" fmla="*/ 889798 h 926154"/>
                    <a:gd name="connsiteX590" fmla="*/ 988739 w 1197657"/>
                    <a:gd name="connsiteY590" fmla="*/ 891705 h 926154"/>
                    <a:gd name="connsiteX591" fmla="*/ 988836 w 1197657"/>
                    <a:gd name="connsiteY591" fmla="*/ 893393 h 926154"/>
                    <a:gd name="connsiteX592" fmla="*/ 989868 w 1197657"/>
                    <a:gd name="connsiteY592" fmla="*/ 896465 h 926154"/>
                    <a:gd name="connsiteX593" fmla="*/ 989710 w 1197657"/>
                    <a:gd name="connsiteY593" fmla="*/ 898031 h 926154"/>
                    <a:gd name="connsiteX594" fmla="*/ 988739 w 1197657"/>
                    <a:gd name="connsiteY594" fmla="*/ 899172 h 926154"/>
                    <a:gd name="connsiteX595" fmla="*/ 986092 w 1197657"/>
                    <a:gd name="connsiteY595" fmla="*/ 899573 h 926154"/>
                    <a:gd name="connsiteX596" fmla="*/ 984477 w 1197657"/>
                    <a:gd name="connsiteY596" fmla="*/ 899367 h 926154"/>
                    <a:gd name="connsiteX597" fmla="*/ 981186 w 1197657"/>
                    <a:gd name="connsiteY597" fmla="*/ 898505 h 926154"/>
                    <a:gd name="connsiteX598" fmla="*/ 968849 w 1197657"/>
                    <a:gd name="connsiteY598" fmla="*/ 896622 h 926154"/>
                    <a:gd name="connsiteX599" fmla="*/ 967064 w 1197657"/>
                    <a:gd name="connsiteY599" fmla="*/ 897108 h 926154"/>
                    <a:gd name="connsiteX600" fmla="*/ 965740 w 1197657"/>
                    <a:gd name="connsiteY600" fmla="*/ 897995 h 926154"/>
                    <a:gd name="connsiteX601" fmla="*/ 964246 w 1197657"/>
                    <a:gd name="connsiteY601" fmla="*/ 900144 h 926154"/>
                    <a:gd name="connsiteX602" fmla="*/ 963797 w 1197657"/>
                    <a:gd name="connsiteY602" fmla="*/ 901844 h 926154"/>
                    <a:gd name="connsiteX603" fmla="*/ 963736 w 1197657"/>
                    <a:gd name="connsiteY603" fmla="*/ 903107 h 926154"/>
                    <a:gd name="connsiteX604" fmla="*/ 963919 w 1197657"/>
                    <a:gd name="connsiteY604" fmla="*/ 904564 h 926154"/>
                    <a:gd name="connsiteX605" fmla="*/ 963797 w 1197657"/>
                    <a:gd name="connsiteY605" fmla="*/ 905912 h 926154"/>
                    <a:gd name="connsiteX606" fmla="*/ 963506 w 1197657"/>
                    <a:gd name="connsiteY606" fmla="*/ 907321 h 926154"/>
                    <a:gd name="connsiteX607" fmla="*/ 962425 w 1197657"/>
                    <a:gd name="connsiteY607" fmla="*/ 908717 h 926154"/>
                    <a:gd name="connsiteX608" fmla="*/ 961150 w 1197657"/>
                    <a:gd name="connsiteY608" fmla="*/ 909846 h 926154"/>
                    <a:gd name="connsiteX609" fmla="*/ 958515 w 1197657"/>
                    <a:gd name="connsiteY609" fmla="*/ 911340 h 926154"/>
                    <a:gd name="connsiteX610" fmla="*/ 955819 w 1197657"/>
                    <a:gd name="connsiteY610" fmla="*/ 912287 h 926154"/>
                    <a:gd name="connsiteX611" fmla="*/ 954034 w 1197657"/>
                    <a:gd name="connsiteY611" fmla="*/ 912712 h 926154"/>
                    <a:gd name="connsiteX612" fmla="*/ 949031 w 1197657"/>
                    <a:gd name="connsiteY612" fmla="*/ 911935 h 926154"/>
                    <a:gd name="connsiteX613" fmla="*/ 949736 w 1197657"/>
                    <a:gd name="connsiteY613" fmla="*/ 902269 h 926154"/>
                    <a:gd name="connsiteX614" fmla="*/ 948691 w 1197657"/>
                    <a:gd name="connsiteY614" fmla="*/ 901018 h 926154"/>
                    <a:gd name="connsiteX615" fmla="*/ 946846 w 1197657"/>
                    <a:gd name="connsiteY615" fmla="*/ 899646 h 926154"/>
                    <a:gd name="connsiteX616" fmla="*/ 940191 w 1197657"/>
                    <a:gd name="connsiteY616" fmla="*/ 898760 h 926154"/>
                    <a:gd name="connsiteX617" fmla="*/ 939220 w 1197657"/>
                    <a:gd name="connsiteY617" fmla="*/ 898905 h 926154"/>
                    <a:gd name="connsiteX618" fmla="*/ 938418 w 1197657"/>
                    <a:gd name="connsiteY618" fmla="*/ 899513 h 926154"/>
                    <a:gd name="connsiteX619" fmla="*/ 937775 w 1197657"/>
                    <a:gd name="connsiteY619" fmla="*/ 900860 h 926154"/>
                    <a:gd name="connsiteX620" fmla="*/ 937496 w 1197657"/>
                    <a:gd name="connsiteY620" fmla="*/ 902415 h 926154"/>
                    <a:gd name="connsiteX621" fmla="*/ 937313 w 1197657"/>
                    <a:gd name="connsiteY621" fmla="*/ 904819 h 926154"/>
                    <a:gd name="connsiteX622" fmla="*/ 937034 w 1197657"/>
                    <a:gd name="connsiteY622" fmla="*/ 905705 h 926154"/>
                    <a:gd name="connsiteX623" fmla="*/ 935941 w 1197657"/>
                    <a:gd name="connsiteY623" fmla="*/ 906507 h 926154"/>
                    <a:gd name="connsiteX624" fmla="*/ 933998 w 1197657"/>
                    <a:gd name="connsiteY624" fmla="*/ 907199 h 926154"/>
                    <a:gd name="connsiteX625" fmla="*/ 930198 w 1197657"/>
                    <a:gd name="connsiteY625" fmla="*/ 907405 h 926154"/>
                    <a:gd name="connsiteX626" fmla="*/ 927915 w 1197657"/>
                    <a:gd name="connsiteY626" fmla="*/ 906641 h 926154"/>
                    <a:gd name="connsiteX627" fmla="*/ 926421 w 1197657"/>
                    <a:gd name="connsiteY627" fmla="*/ 905317 h 926154"/>
                    <a:gd name="connsiteX628" fmla="*/ 925668 w 1197657"/>
                    <a:gd name="connsiteY628" fmla="*/ 903605 h 926154"/>
                    <a:gd name="connsiteX629" fmla="*/ 924235 w 1197657"/>
                    <a:gd name="connsiteY629" fmla="*/ 896804 h 926154"/>
                    <a:gd name="connsiteX630" fmla="*/ 924175 w 1197657"/>
                    <a:gd name="connsiteY630" fmla="*/ 895712 h 926154"/>
                    <a:gd name="connsiteX631" fmla="*/ 924235 w 1197657"/>
                    <a:gd name="connsiteY631" fmla="*/ 894764 h 926154"/>
                    <a:gd name="connsiteX632" fmla="*/ 924515 w 1197657"/>
                    <a:gd name="connsiteY632" fmla="*/ 893732 h 926154"/>
                    <a:gd name="connsiteX633" fmla="*/ 924867 w 1197657"/>
                    <a:gd name="connsiteY633" fmla="*/ 892980 h 926154"/>
                    <a:gd name="connsiteX634" fmla="*/ 925547 w 1197657"/>
                    <a:gd name="connsiteY634" fmla="*/ 892130 h 926154"/>
                    <a:gd name="connsiteX635" fmla="*/ 926640 w 1197657"/>
                    <a:gd name="connsiteY635" fmla="*/ 891182 h 926154"/>
                    <a:gd name="connsiteX636" fmla="*/ 938868 w 1197657"/>
                    <a:gd name="connsiteY636" fmla="*/ 884613 h 926154"/>
                    <a:gd name="connsiteX637" fmla="*/ 939912 w 1197657"/>
                    <a:gd name="connsiteY637" fmla="*/ 883569 h 926154"/>
                    <a:gd name="connsiteX638" fmla="*/ 940604 w 1197657"/>
                    <a:gd name="connsiteY638" fmla="*/ 882257 h 926154"/>
                    <a:gd name="connsiteX639" fmla="*/ 940944 w 1197657"/>
                    <a:gd name="connsiteY639" fmla="*/ 880072 h 926154"/>
                    <a:gd name="connsiteX640" fmla="*/ 940604 w 1197657"/>
                    <a:gd name="connsiteY640" fmla="*/ 878894 h 926154"/>
                    <a:gd name="connsiteX641" fmla="*/ 939791 w 1197657"/>
                    <a:gd name="connsiteY641" fmla="*/ 878311 h 926154"/>
                    <a:gd name="connsiteX642" fmla="*/ 938297 w 1197657"/>
                    <a:gd name="connsiteY642" fmla="*/ 878275 h 926154"/>
                    <a:gd name="connsiteX643" fmla="*/ 936463 w 1197657"/>
                    <a:gd name="connsiteY643" fmla="*/ 878627 h 926154"/>
                    <a:gd name="connsiteX644" fmla="*/ 934848 w 1197657"/>
                    <a:gd name="connsiteY644" fmla="*/ 878712 h 926154"/>
                    <a:gd name="connsiteX645" fmla="*/ 933306 w 1197657"/>
                    <a:gd name="connsiteY645" fmla="*/ 878481 h 926154"/>
                    <a:gd name="connsiteX646" fmla="*/ 931752 w 1197657"/>
                    <a:gd name="connsiteY646" fmla="*/ 877412 h 926154"/>
                    <a:gd name="connsiteX647" fmla="*/ 931230 w 1197657"/>
                    <a:gd name="connsiteY647" fmla="*/ 876441 h 926154"/>
                    <a:gd name="connsiteX648" fmla="*/ 931291 w 1197657"/>
                    <a:gd name="connsiteY648" fmla="*/ 875032 h 926154"/>
                    <a:gd name="connsiteX649" fmla="*/ 931813 w 1197657"/>
                    <a:gd name="connsiteY649" fmla="*/ 873211 h 926154"/>
                    <a:gd name="connsiteX650" fmla="*/ 932153 w 1197657"/>
                    <a:gd name="connsiteY650" fmla="*/ 870333 h 926154"/>
                    <a:gd name="connsiteX651" fmla="*/ 931230 w 1197657"/>
                    <a:gd name="connsiteY651" fmla="*/ 868839 h 926154"/>
                    <a:gd name="connsiteX652" fmla="*/ 930088 w 1197657"/>
                    <a:gd name="connsiteY652" fmla="*/ 868499 h 926154"/>
                    <a:gd name="connsiteX653" fmla="*/ 928595 w 1197657"/>
                    <a:gd name="connsiteY653" fmla="*/ 869021 h 926154"/>
                    <a:gd name="connsiteX654" fmla="*/ 927223 w 1197657"/>
                    <a:gd name="connsiteY654" fmla="*/ 869872 h 926154"/>
                    <a:gd name="connsiteX655" fmla="*/ 921188 w 1197657"/>
                    <a:gd name="connsiteY655" fmla="*/ 874984 h 926154"/>
                    <a:gd name="connsiteX656" fmla="*/ 917411 w 1197657"/>
                    <a:gd name="connsiteY656" fmla="*/ 877048 h 926154"/>
                    <a:gd name="connsiteX657" fmla="*/ 916367 w 1197657"/>
                    <a:gd name="connsiteY657" fmla="*/ 877170 h 926154"/>
                    <a:gd name="connsiteX658" fmla="*/ 915104 w 1197657"/>
                    <a:gd name="connsiteY658" fmla="*/ 876915 h 926154"/>
                    <a:gd name="connsiteX659" fmla="*/ 913028 w 1197657"/>
                    <a:gd name="connsiteY659" fmla="*/ 876113 h 926154"/>
                    <a:gd name="connsiteX660" fmla="*/ 911874 w 1197657"/>
                    <a:gd name="connsiteY660" fmla="*/ 876174 h 926154"/>
                    <a:gd name="connsiteX661" fmla="*/ 911024 w 1197657"/>
                    <a:gd name="connsiteY661" fmla="*/ 876745 h 926154"/>
                    <a:gd name="connsiteX662" fmla="*/ 910162 w 1197657"/>
                    <a:gd name="connsiteY662" fmla="*/ 878153 h 926154"/>
                    <a:gd name="connsiteX663" fmla="*/ 907575 w 1197657"/>
                    <a:gd name="connsiteY663" fmla="*/ 884407 h 926154"/>
                    <a:gd name="connsiteX664" fmla="*/ 907126 w 1197657"/>
                    <a:gd name="connsiteY664" fmla="*/ 884880 h 926154"/>
                    <a:gd name="connsiteX665" fmla="*/ 905912 w 1197657"/>
                    <a:gd name="connsiteY665" fmla="*/ 885014 h 926154"/>
                    <a:gd name="connsiteX666" fmla="*/ 904200 w 1197657"/>
                    <a:gd name="connsiteY666" fmla="*/ 884807 h 926154"/>
                    <a:gd name="connsiteX667" fmla="*/ 901091 w 1197657"/>
                    <a:gd name="connsiteY667" fmla="*/ 884091 h 926154"/>
                    <a:gd name="connsiteX668" fmla="*/ 899597 w 1197657"/>
                    <a:gd name="connsiteY668" fmla="*/ 883945 h 926154"/>
                    <a:gd name="connsiteX669" fmla="*/ 898274 w 1197657"/>
                    <a:gd name="connsiteY669" fmla="*/ 884395 h 926154"/>
                    <a:gd name="connsiteX670" fmla="*/ 897642 w 1197657"/>
                    <a:gd name="connsiteY670" fmla="*/ 885196 h 926154"/>
                    <a:gd name="connsiteX671" fmla="*/ 896950 w 1197657"/>
                    <a:gd name="connsiteY671" fmla="*/ 886690 h 926154"/>
                    <a:gd name="connsiteX672" fmla="*/ 896841 w 1197657"/>
                    <a:gd name="connsiteY672" fmla="*/ 887782 h 926154"/>
                    <a:gd name="connsiteX673" fmla="*/ 896950 w 1197657"/>
                    <a:gd name="connsiteY673" fmla="*/ 888875 h 926154"/>
                    <a:gd name="connsiteX674" fmla="*/ 897533 w 1197657"/>
                    <a:gd name="connsiteY674" fmla="*/ 889968 h 926154"/>
                    <a:gd name="connsiteX675" fmla="*/ 898444 w 1197657"/>
                    <a:gd name="connsiteY675" fmla="*/ 891122 h 926154"/>
                    <a:gd name="connsiteX676" fmla="*/ 899828 w 1197657"/>
                    <a:gd name="connsiteY676" fmla="*/ 892214 h 926154"/>
                    <a:gd name="connsiteX677" fmla="*/ 903107 w 1197657"/>
                    <a:gd name="connsiteY677" fmla="*/ 894376 h 926154"/>
                    <a:gd name="connsiteX678" fmla="*/ 904649 w 1197657"/>
                    <a:gd name="connsiteY678" fmla="*/ 895639 h 926154"/>
                    <a:gd name="connsiteX679" fmla="*/ 905742 w 1197657"/>
                    <a:gd name="connsiteY679" fmla="*/ 896926 h 926154"/>
                    <a:gd name="connsiteX680" fmla="*/ 906483 w 1197657"/>
                    <a:gd name="connsiteY680" fmla="*/ 898383 h 926154"/>
                    <a:gd name="connsiteX681" fmla="*/ 906883 w 1197657"/>
                    <a:gd name="connsiteY681" fmla="*/ 899731 h 926154"/>
                    <a:gd name="connsiteX682" fmla="*/ 907466 w 1197657"/>
                    <a:gd name="connsiteY682" fmla="*/ 907429 h 926154"/>
                    <a:gd name="connsiteX683" fmla="*/ 907915 w 1197657"/>
                    <a:gd name="connsiteY683" fmla="*/ 909506 h 926154"/>
                    <a:gd name="connsiteX684" fmla="*/ 898626 w 1197657"/>
                    <a:gd name="connsiteY684" fmla="*/ 913465 h 926154"/>
                    <a:gd name="connsiteX685" fmla="*/ 893975 w 1197657"/>
                    <a:gd name="connsiteY685" fmla="*/ 914497 h 926154"/>
                    <a:gd name="connsiteX686" fmla="*/ 890867 w 1197657"/>
                    <a:gd name="connsiteY686" fmla="*/ 914521 h 926154"/>
                    <a:gd name="connsiteX687" fmla="*/ 886095 w 1197657"/>
                    <a:gd name="connsiteY687" fmla="*/ 914060 h 926154"/>
                    <a:gd name="connsiteX688" fmla="*/ 884662 w 1197657"/>
                    <a:gd name="connsiteY688" fmla="*/ 914497 h 926154"/>
                    <a:gd name="connsiteX689" fmla="*/ 883459 w 1197657"/>
                    <a:gd name="connsiteY689" fmla="*/ 915189 h 926154"/>
                    <a:gd name="connsiteX690" fmla="*/ 882379 w 1197657"/>
                    <a:gd name="connsiteY690" fmla="*/ 916233 h 926154"/>
                    <a:gd name="connsiteX691" fmla="*/ 881456 w 1197657"/>
                    <a:gd name="connsiteY691" fmla="*/ 916306 h 926154"/>
                    <a:gd name="connsiteX692" fmla="*/ 877084 w 1197657"/>
                    <a:gd name="connsiteY692" fmla="*/ 914533 h 926154"/>
                    <a:gd name="connsiteX693" fmla="*/ 875992 w 1197657"/>
                    <a:gd name="connsiteY693" fmla="*/ 914594 h 926154"/>
                    <a:gd name="connsiteX694" fmla="*/ 874850 w 1197657"/>
                    <a:gd name="connsiteY694" fmla="*/ 914934 h 926154"/>
                    <a:gd name="connsiteX695" fmla="*/ 872494 w 1197657"/>
                    <a:gd name="connsiteY695" fmla="*/ 916513 h 926154"/>
                    <a:gd name="connsiteX696" fmla="*/ 871232 w 1197657"/>
                    <a:gd name="connsiteY696" fmla="*/ 917581 h 926154"/>
                    <a:gd name="connsiteX697" fmla="*/ 867613 w 1197657"/>
                    <a:gd name="connsiteY697" fmla="*/ 919621 h 926154"/>
                    <a:gd name="connsiteX698" fmla="*/ 863132 w 1197657"/>
                    <a:gd name="connsiteY698" fmla="*/ 920216 h 926154"/>
                    <a:gd name="connsiteX699" fmla="*/ 863071 w 1197657"/>
                    <a:gd name="connsiteY699" fmla="*/ 920216 h 926154"/>
                    <a:gd name="connsiteX700" fmla="*/ 863533 w 1197657"/>
                    <a:gd name="connsiteY700" fmla="*/ 918212 h 926154"/>
                    <a:gd name="connsiteX701" fmla="*/ 866860 w 1197657"/>
                    <a:gd name="connsiteY701" fmla="*/ 909117 h 926154"/>
                    <a:gd name="connsiteX702" fmla="*/ 868074 w 1197657"/>
                    <a:gd name="connsiteY702" fmla="*/ 900532 h 926154"/>
                    <a:gd name="connsiteX703" fmla="*/ 868645 w 1197657"/>
                    <a:gd name="connsiteY703" fmla="*/ 898432 h 926154"/>
                    <a:gd name="connsiteX704" fmla="*/ 871389 w 1197657"/>
                    <a:gd name="connsiteY704" fmla="*/ 894619 h 926154"/>
                    <a:gd name="connsiteX705" fmla="*/ 872033 w 1197657"/>
                    <a:gd name="connsiteY705" fmla="*/ 892372 h 926154"/>
                    <a:gd name="connsiteX706" fmla="*/ 871632 w 1197657"/>
                    <a:gd name="connsiteY706" fmla="*/ 891802 h 926154"/>
                    <a:gd name="connsiteX707" fmla="*/ 870770 w 1197657"/>
                    <a:gd name="connsiteY707" fmla="*/ 891765 h 926154"/>
                    <a:gd name="connsiteX708" fmla="*/ 869896 w 1197657"/>
                    <a:gd name="connsiteY708" fmla="*/ 891559 h 926154"/>
                    <a:gd name="connsiteX709" fmla="*/ 869447 w 1197657"/>
                    <a:gd name="connsiteY709" fmla="*/ 890442 h 926154"/>
                    <a:gd name="connsiteX710" fmla="*/ 869447 w 1197657"/>
                    <a:gd name="connsiteY710" fmla="*/ 886447 h 926154"/>
                    <a:gd name="connsiteX711" fmla="*/ 869629 w 1197657"/>
                    <a:gd name="connsiteY711" fmla="*/ 886022 h 926154"/>
                    <a:gd name="connsiteX712" fmla="*/ 870600 w 1197657"/>
                    <a:gd name="connsiteY712" fmla="*/ 879659 h 926154"/>
                    <a:gd name="connsiteX713" fmla="*/ 872203 w 1197657"/>
                    <a:gd name="connsiteY713" fmla="*/ 876611 h 926154"/>
                    <a:gd name="connsiteX714" fmla="*/ 874328 w 1197657"/>
                    <a:gd name="connsiteY714" fmla="*/ 873478 h 926154"/>
                    <a:gd name="connsiteX715" fmla="*/ 876113 w 1197657"/>
                    <a:gd name="connsiteY715" fmla="*/ 869945 h 926154"/>
                    <a:gd name="connsiteX716" fmla="*/ 876866 w 1197657"/>
                    <a:gd name="connsiteY716" fmla="*/ 865609 h 926154"/>
                    <a:gd name="connsiteX717" fmla="*/ 877837 w 1197657"/>
                    <a:gd name="connsiteY717" fmla="*/ 865609 h 926154"/>
                    <a:gd name="connsiteX718" fmla="*/ 880011 w 1197657"/>
                    <a:gd name="connsiteY718" fmla="*/ 864237 h 926154"/>
                    <a:gd name="connsiteX719" fmla="*/ 882257 w 1197657"/>
                    <a:gd name="connsiteY719" fmla="*/ 862379 h 926154"/>
                    <a:gd name="connsiteX720" fmla="*/ 883508 w 1197657"/>
                    <a:gd name="connsiteY720" fmla="*/ 861007 h 926154"/>
                    <a:gd name="connsiteX721" fmla="*/ 883751 w 1197657"/>
                    <a:gd name="connsiteY721" fmla="*/ 860425 h 926154"/>
                    <a:gd name="connsiteX722" fmla="*/ 887649 w 1197657"/>
                    <a:gd name="connsiteY722" fmla="*/ 860910 h 926154"/>
                    <a:gd name="connsiteX723" fmla="*/ 892700 w 1197657"/>
                    <a:gd name="connsiteY723" fmla="*/ 860024 h 926154"/>
                    <a:gd name="connsiteX724" fmla="*/ 895687 w 1197657"/>
                    <a:gd name="connsiteY724" fmla="*/ 857813 h 926154"/>
                    <a:gd name="connsiteX725" fmla="*/ 896100 w 1197657"/>
                    <a:gd name="connsiteY725" fmla="*/ 852531 h 926154"/>
                    <a:gd name="connsiteX726" fmla="*/ 895226 w 1197657"/>
                    <a:gd name="connsiteY726" fmla="*/ 848573 h 926154"/>
                    <a:gd name="connsiteX727" fmla="*/ 892300 w 1197657"/>
                    <a:gd name="connsiteY727" fmla="*/ 844153 h 926154"/>
                    <a:gd name="connsiteX728" fmla="*/ 889142 w 1197657"/>
                    <a:gd name="connsiteY728" fmla="*/ 842939 h 926154"/>
                    <a:gd name="connsiteX729" fmla="*/ 895165 w 1197657"/>
                    <a:gd name="connsiteY729" fmla="*/ 834293 h 926154"/>
                    <a:gd name="connsiteX730" fmla="*/ 896562 w 1197657"/>
                    <a:gd name="connsiteY730" fmla="*/ 830553 h 926154"/>
                    <a:gd name="connsiteX731" fmla="*/ 897302 w 1197657"/>
                    <a:gd name="connsiteY731" fmla="*/ 826424 h 926154"/>
                    <a:gd name="connsiteX732" fmla="*/ 897472 w 1197657"/>
                    <a:gd name="connsiteY732" fmla="*/ 822028 h 926154"/>
                    <a:gd name="connsiteX733" fmla="*/ 897351 w 1197657"/>
                    <a:gd name="connsiteY733" fmla="*/ 819709 h 926154"/>
                    <a:gd name="connsiteX734" fmla="*/ 896501 w 1197657"/>
                    <a:gd name="connsiteY734" fmla="*/ 815520 h 926154"/>
                    <a:gd name="connsiteX735" fmla="*/ 896319 w 1197657"/>
                    <a:gd name="connsiteY735" fmla="*/ 813419 h 926154"/>
                    <a:gd name="connsiteX736" fmla="*/ 896890 w 1197657"/>
                    <a:gd name="connsiteY736" fmla="*/ 811622 h 926154"/>
                    <a:gd name="connsiteX737" fmla="*/ 899597 w 1197657"/>
                    <a:gd name="connsiteY737" fmla="*/ 808963 h 926154"/>
                    <a:gd name="connsiteX738" fmla="*/ 900180 w 1197657"/>
                    <a:gd name="connsiteY738" fmla="*/ 806753 h 926154"/>
                    <a:gd name="connsiteX739" fmla="*/ 900860 w 1197657"/>
                    <a:gd name="connsiteY739" fmla="*/ 797864 h 926154"/>
                    <a:gd name="connsiteX740" fmla="*/ 900569 w 1197657"/>
                    <a:gd name="connsiteY740" fmla="*/ 794014 h 926154"/>
                    <a:gd name="connsiteX741" fmla="*/ 898905 w 1197657"/>
                    <a:gd name="connsiteY741" fmla="*/ 791307 h 926154"/>
                    <a:gd name="connsiteX742" fmla="*/ 906665 w 1197657"/>
                    <a:gd name="connsiteY742" fmla="*/ 785976 h 926154"/>
                    <a:gd name="connsiteX743" fmla="*/ 907867 w 1197657"/>
                    <a:gd name="connsiteY743" fmla="*/ 785976 h 926154"/>
                    <a:gd name="connsiteX744" fmla="*/ 907515 w 1197657"/>
                    <a:gd name="connsiteY744" fmla="*/ 783912 h 926154"/>
                    <a:gd name="connsiteX745" fmla="*/ 905912 w 1197657"/>
                    <a:gd name="connsiteY745" fmla="*/ 782698 h 926154"/>
                    <a:gd name="connsiteX746" fmla="*/ 904078 w 1197657"/>
                    <a:gd name="connsiteY746" fmla="*/ 781762 h 926154"/>
                    <a:gd name="connsiteX747" fmla="*/ 902743 w 1197657"/>
                    <a:gd name="connsiteY747" fmla="*/ 780524 h 926154"/>
                    <a:gd name="connsiteX748" fmla="*/ 902706 w 1197657"/>
                    <a:gd name="connsiteY748" fmla="*/ 778909 h 926154"/>
                    <a:gd name="connsiteX749" fmla="*/ 903386 w 1197657"/>
                    <a:gd name="connsiteY749" fmla="*/ 777537 h 926154"/>
                    <a:gd name="connsiteX750" fmla="*/ 903787 w 1197657"/>
                    <a:gd name="connsiteY750" fmla="*/ 775946 h 926154"/>
                    <a:gd name="connsiteX751" fmla="*/ 902743 w 1197657"/>
                    <a:gd name="connsiteY751" fmla="*/ 773821 h 926154"/>
                    <a:gd name="connsiteX752" fmla="*/ 899136 w 1197657"/>
                    <a:gd name="connsiteY752" fmla="*/ 778217 h 926154"/>
                    <a:gd name="connsiteX753" fmla="*/ 896440 w 1197657"/>
                    <a:gd name="connsiteY753" fmla="*/ 776626 h 926154"/>
                    <a:gd name="connsiteX754" fmla="*/ 895347 w 1197657"/>
                    <a:gd name="connsiteY754" fmla="*/ 772182 h 926154"/>
                    <a:gd name="connsiteX755" fmla="*/ 896890 w 1197657"/>
                    <a:gd name="connsiteY755" fmla="*/ 767846 h 926154"/>
                    <a:gd name="connsiteX756" fmla="*/ 899136 w 1197657"/>
                    <a:gd name="connsiteY756" fmla="*/ 764690 h 926154"/>
                    <a:gd name="connsiteX757" fmla="*/ 897934 w 1197657"/>
                    <a:gd name="connsiteY757" fmla="*/ 764325 h 926154"/>
                    <a:gd name="connsiteX758" fmla="*/ 895578 w 1197657"/>
                    <a:gd name="connsiteY758" fmla="*/ 765175 h 926154"/>
                    <a:gd name="connsiteX759" fmla="*/ 894485 w 1197657"/>
                    <a:gd name="connsiteY759" fmla="*/ 765819 h 926154"/>
                    <a:gd name="connsiteX760" fmla="*/ 887248 w 1197657"/>
                    <a:gd name="connsiteY760" fmla="*/ 771016 h 926154"/>
                    <a:gd name="connsiteX761" fmla="*/ 888924 w 1197657"/>
                    <a:gd name="connsiteY761" fmla="*/ 767907 h 926154"/>
                    <a:gd name="connsiteX762" fmla="*/ 890527 w 1197657"/>
                    <a:gd name="connsiteY762" fmla="*/ 760962 h 926154"/>
                    <a:gd name="connsiteX763" fmla="*/ 892542 w 1197657"/>
                    <a:gd name="connsiteY763" fmla="*/ 758982 h 926154"/>
                    <a:gd name="connsiteX764" fmla="*/ 887187 w 1197657"/>
                    <a:gd name="connsiteY764" fmla="*/ 752619 h 926154"/>
                    <a:gd name="connsiteX765" fmla="*/ 890940 w 1197657"/>
                    <a:gd name="connsiteY765" fmla="*/ 749074 h 926154"/>
                    <a:gd name="connsiteX766" fmla="*/ 896574 w 1197657"/>
                    <a:gd name="connsiteY766" fmla="*/ 746305 h 926154"/>
                    <a:gd name="connsiteX767" fmla="*/ 896902 w 1197657"/>
                    <a:gd name="connsiteY767" fmla="*/ 742286 h 926154"/>
                    <a:gd name="connsiteX768" fmla="*/ 894619 w 1197657"/>
                    <a:gd name="connsiteY768" fmla="*/ 742541 h 926154"/>
                    <a:gd name="connsiteX769" fmla="*/ 890430 w 1197657"/>
                    <a:gd name="connsiteY769" fmla="*/ 743804 h 926154"/>
                    <a:gd name="connsiteX770" fmla="*/ 886459 w 1197657"/>
                    <a:gd name="connsiteY770" fmla="*/ 744301 h 926154"/>
                    <a:gd name="connsiteX771" fmla="*/ 884674 w 1197657"/>
                    <a:gd name="connsiteY771" fmla="*/ 742286 h 926154"/>
                    <a:gd name="connsiteX772" fmla="*/ 884334 w 1197657"/>
                    <a:gd name="connsiteY772" fmla="*/ 740537 h 926154"/>
                    <a:gd name="connsiteX773" fmla="*/ 883362 w 1197657"/>
                    <a:gd name="connsiteY773" fmla="*/ 739068 h 926154"/>
                    <a:gd name="connsiteX774" fmla="*/ 881917 w 1197657"/>
                    <a:gd name="connsiteY774" fmla="*/ 738096 h 926154"/>
                    <a:gd name="connsiteX775" fmla="*/ 880193 w 1197657"/>
                    <a:gd name="connsiteY775" fmla="*/ 737756 h 926154"/>
                    <a:gd name="connsiteX776" fmla="*/ 878007 w 1197657"/>
                    <a:gd name="connsiteY776" fmla="*/ 737514 h 926154"/>
                    <a:gd name="connsiteX777" fmla="*/ 876987 w 1197657"/>
                    <a:gd name="connsiteY777" fmla="*/ 736882 h 926154"/>
                    <a:gd name="connsiteX778" fmla="*/ 875081 w 1197657"/>
                    <a:gd name="connsiteY778" fmla="*/ 734211 h 926154"/>
                    <a:gd name="connsiteX779" fmla="*/ 874109 w 1197657"/>
                    <a:gd name="connsiteY779" fmla="*/ 731308 h 926154"/>
                    <a:gd name="connsiteX780" fmla="*/ 877327 w 1197657"/>
                    <a:gd name="connsiteY780" fmla="*/ 730981 h 926154"/>
                    <a:gd name="connsiteX781" fmla="*/ 884674 w 1197657"/>
                    <a:gd name="connsiteY781" fmla="*/ 732268 h 926154"/>
                    <a:gd name="connsiteX782" fmla="*/ 888815 w 1197657"/>
                    <a:gd name="connsiteY782" fmla="*/ 731369 h 926154"/>
                    <a:gd name="connsiteX783" fmla="*/ 889677 w 1197657"/>
                    <a:gd name="connsiteY783" fmla="*/ 729487 h 926154"/>
                    <a:gd name="connsiteX784" fmla="*/ 883362 w 1197657"/>
                    <a:gd name="connsiteY784" fmla="*/ 715061 h 926154"/>
                    <a:gd name="connsiteX785" fmla="*/ 882148 w 1197657"/>
                    <a:gd name="connsiteY785" fmla="*/ 713398 h 926154"/>
                    <a:gd name="connsiteX786" fmla="*/ 880254 w 1197657"/>
                    <a:gd name="connsiteY786" fmla="*/ 713628 h 926154"/>
                    <a:gd name="connsiteX787" fmla="*/ 872045 w 1197657"/>
                    <a:gd name="connsiteY787" fmla="*/ 717417 h 926154"/>
                    <a:gd name="connsiteX788" fmla="*/ 871462 w 1197657"/>
                    <a:gd name="connsiteY788" fmla="*/ 716591 h 926154"/>
                    <a:gd name="connsiteX789" fmla="*/ 870272 w 1197657"/>
                    <a:gd name="connsiteY789" fmla="*/ 715693 h 926154"/>
                    <a:gd name="connsiteX790" fmla="*/ 869459 w 1197657"/>
                    <a:gd name="connsiteY790" fmla="*/ 714721 h 926154"/>
                    <a:gd name="connsiteX791" fmla="*/ 868657 w 1197657"/>
                    <a:gd name="connsiteY791" fmla="*/ 715875 h 926154"/>
                    <a:gd name="connsiteX792" fmla="*/ 868257 w 1197657"/>
                    <a:gd name="connsiteY792" fmla="*/ 717186 h 926154"/>
                    <a:gd name="connsiteX793" fmla="*/ 868087 w 1197657"/>
                    <a:gd name="connsiteY793" fmla="*/ 720756 h 926154"/>
                    <a:gd name="connsiteX794" fmla="*/ 867224 w 1197657"/>
                    <a:gd name="connsiteY794" fmla="*/ 721667 h 926154"/>
                    <a:gd name="connsiteX795" fmla="*/ 861651 w 1197657"/>
                    <a:gd name="connsiteY795" fmla="*/ 724217 h 926154"/>
                    <a:gd name="connsiteX796" fmla="*/ 862695 w 1197657"/>
                    <a:gd name="connsiteY796" fmla="*/ 718048 h 926154"/>
                    <a:gd name="connsiteX797" fmla="*/ 865439 w 1197657"/>
                    <a:gd name="connsiteY797" fmla="*/ 713446 h 926154"/>
                    <a:gd name="connsiteX798" fmla="*/ 866994 w 1197657"/>
                    <a:gd name="connsiteY798" fmla="*/ 709864 h 926154"/>
                    <a:gd name="connsiteX799" fmla="*/ 864249 w 1197657"/>
                    <a:gd name="connsiteY799" fmla="*/ 706707 h 926154"/>
                    <a:gd name="connsiteX800" fmla="*/ 862792 w 1197657"/>
                    <a:gd name="connsiteY800" fmla="*/ 707970 h 926154"/>
                    <a:gd name="connsiteX801" fmla="*/ 859076 w 1197657"/>
                    <a:gd name="connsiteY801" fmla="*/ 707885 h 926154"/>
                    <a:gd name="connsiteX802" fmla="*/ 857170 w 1197657"/>
                    <a:gd name="connsiteY802" fmla="*/ 708771 h 926154"/>
                    <a:gd name="connsiteX803" fmla="*/ 856490 w 1197657"/>
                    <a:gd name="connsiteY803" fmla="*/ 710338 h 926154"/>
                    <a:gd name="connsiteX804" fmla="*/ 856308 w 1197657"/>
                    <a:gd name="connsiteY804" fmla="*/ 712535 h 926154"/>
                    <a:gd name="connsiteX805" fmla="*/ 856539 w 1197657"/>
                    <a:gd name="connsiteY805" fmla="*/ 716822 h 926154"/>
                    <a:gd name="connsiteX806" fmla="*/ 856199 w 1197657"/>
                    <a:gd name="connsiteY806" fmla="*/ 719311 h 926154"/>
                    <a:gd name="connsiteX807" fmla="*/ 855276 w 1197657"/>
                    <a:gd name="connsiteY807" fmla="*/ 719797 h 926154"/>
                    <a:gd name="connsiteX808" fmla="*/ 853843 w 1197657"/>
                    <a:gd name="connsiteY808" fmla="*/ 719748 h 926154"/>
                    <a:gd name="connsiteX809" fmla="*/ 849945 w 1197657"/>
                    <a:gd name="connsiteY809" fmla="*/ 722153 h 926154"/>
                    <a:gd name="connsiteX810" fmla="*/ 848391 w 1197657"/>
                    <a:gd name="connsiteY810" fmla="*/ 721643 h 926154"/>
                    <a:gd name="connsiteX811" fmla="*/ 845634 w 1197657"/>
                    <a:gd name="connsiteY811" fmla="*/ 718133 h 926154"/>
                    <a:gd name="connsiteX812" fmla="*/ 845744 w 1197657"/>
                    <a:gd name="connsiteY812" fmla="*/ 715401 h 926154"/>
                    <a:gd name="connsiteX813" fmla="*/ 848573 w 1197657"/>
                    <a:gd name="connsiteY813" fmla="*/ 712208 h 926154"/>
                    <a:gd name="connsiteX814" fmla="*/ 860388 w 1197657"/>
                    <a:gd name="connsiteY814" fmla="*/ 703878 h 926154"/>
                    <a:gd name="connsiteX815" fmla="*/ 863788 w 1197657"/>
                    <a:gd name="connsiteY815" fmla="*/ 700842 h 926154"/>
                    <a:gd name="connsiteX816" fmla="*/ 865561 w 1197657"/>
                    <a:gd name="connsiteY816" fmla="*/ 699895 h 926154"/>
                    <a:gd name="connsiteX817" fmla="*/ 868087 w 1197657"/>
                    <a:gd name="connsiteY817" fmla="*/ 699895 h 926154"/>
                    <a:gd name="connsiteX818" fmla="*/ 866010 w 1197657"/>
                    <a:gd name="connsiteY818" fmla="*/ 697879 h 926154"/>
                    <a:gd name="connsiteX819" fmla="*/ 859295 w 1197657"/>
                    <a:gd name="connsiteY819" fmla="*/ 695669 h 926154"/>
                    <a:gd name="connsiteX820" fmla="*/ 857801 w 1197657"/>
                    <a:gd name="connsiteY820" fmla="*/ 693969 h 926154"/>
                    <a:gd name="connsiteX821" fmla="*/ 856539 w 1197657"/>
                    <a:gd name="connsiteY821" fmla="*/ 691990 h 926154"/>
                    <a:gd name="connsiteX822" fmla="*/ 853964 w 1197657"/>
                    <a:gd name="connsiteY822" fmla="*/ 690897 h 926154"/>
                    <a:gd name="connsiteX823" fmla="*/ 851657 w 1197657"/>
                    <a:gd name="connsiteY823" fmla="*/ 689136 h 926154"/>
                    <a:gd name="connsiteX824" fmla="*/ 851439 w 1197657"/>
                    <a:gd name="connsiteY824" fmla="*/ 685262 h 926154"/>
                    <a:gd name="connsiteX825" fmla="*/ 847589 w 1197657"/>
                    <a:gd name="connsiteY825" fmla="*/ 688043 h 926154"/>
                    <a:gd name="connsiteX826" fmla="*/ 846326 w 1197657"/>
                    <a:gd name="connsiteY826" fmla="*/ 689294 h 926154"/>
                    <a:gd name="connsiteX827" fmla="*/ 843971 w 1197657"/>
                    <a:gd name="connsiteY827" fmla="*/ 686598 h 926154"/>
                    <a:gd name="connsiteX828" fmla="*/ 843218 w 1197657"/>
                    <a:gd name="connsiteY828" fmla="*/ 684437 h 926154"/>
                    <a:gd name="connsiteX829" fmla="*/ 842416 w 1197657"/>
                    <a:gd name="connsiteY829" fmla="*/ 678559 h 926154"/>
                    <a:gd name="connsiteX830" fmla="*/ 840692 w 1197657"/>
                    <a:gd name="connsiteY830" fmla="*/ 673787 h 926154"/>
                    <a:gd name="connsiteX831" fmla="*/ 840352 w 1197657"/>
                    <a:gd name="connsiteY831" fmla="*/ 671954 h 926154"/>
                    <a:gd name="connsiteX832" fmla="*/ 841032 w 1197657"/>
                    <a:gd name="connsiteY832" fmla="*/ 670521 h 926154"/>
                    <a:gd name="connsiteX833" fmla="*/ 843448 w 1197657"/>
                    <a:gd name="connsiteY833" fmla="*/ 669719 h 926154"/>
                    <a:gd name="connsiteX834" fmla="*/ 850066 w 1197657"/>
                    <a:gd name="connsiteY834" fmla="*/ 668845 h 926154"/>
                    <a:gd name="connsiteX835" fmla="*/ 851439 w 1197657"/>
                    <a:gd name="connsiteY835" fmla="*/ 667740 h 926154"/>
                    <a:gd name="connsiteX836" fmla="*/ 850115 w 1197657"/>
                    <a:gd name="connsiteY836" fmla="*/ 666077 h 926154"/>
                    <a:gd name="connsiteX837" fmla="*/ 847237 w 1197657"/>
                    <a:gd name="connsiteY837" fmla="*/ 666283 h 926154"/>
                    <a:gd name="connsiteX838" fmla="*/ 841724 w 1197657"/>
                    <a:gd name="connsiteY838" fmla="*/ 667740 h 926154"/>
                    <a:gd name="connsiteX839" fmla="*/ 838858 w 1197657"/>
                    <a:gd name="connsiteY839" fmla="*/ 666915 h 926154"/>
                    <a:gd name="connsiteX840" fmla="*/ 836794 w 1197657"/>
                    <a:gd name="connsiteY840" fmla="*/ 665081 h 926154"/>
                    <a:gd name="connsiteX841" fmla="*/ 836211 w 1197657"/>
                    <a:gd name="connsiteY841" fmla="*/ 663247 h 926154"/>
                    <a:gd name="connsiteX842" fmla="*/ 837948 w 1197657"/>
                    <a:gd name="connsiteY842" fmla="*/ 662385 h 926154"/>
                    <a:gd name="connsiteX843" fmla="*/ 849423 w 1197657"/>
                    <a:gd name="connsiteY843" fmla="*/ 659010 h 926154"/>
                    <a:gd name="connsiteX844" fmla="*/ 856490 w 1197657"/>
                    <a:gd name="connsiteY844" fmla="*/ 654930 h 926154"/>
                    <a:gd name="connsiteX845" fmla="*/ 857170 w 1197657"/>
                    <a:gd name="connsiteY845" fmla="*/ 654237 h 926154"/>
                    <a:gd name="connsiteX846" fmla="*/ 866872 w 1197657"/>
                    <a:gd name="connsiteY846" fmla="*/ 647534 h 926154"/>
                    <a:gd name="connsiteX847" fmla="*/ 870430 w 1197657"/>
                    <a:gd name="connsiteY847" fmla="*/ 650072 h 926154"/>
                    <a:gd name="connsiteX848" fmla="*/ 871462 w 1197657"/>
                    <a:gd name="connsiteY848" fmla="*/ 647972 h 926154"/>
                    <a:gd name="connsiteX849" fmla="*/ 870661 w 1197657"/>
                    <a:gd name="connsiteY849" fmla="*/ 644802 h 926154"/>
                    <a:gd name="connsiteX850" fmla="*/ 868779 w 1197657"/>
                    <a:gd name="connsiteY850" fmla="*/ 644171 h 926154"/>
                    <a:gd name="connsiteX851" fmla="*/ 858433 w 1197657"/>
                    <a:gd name="connsiteY851" fmla="*/ 647522 h 926154"/>
                    <a:gd name="connsiteX852" fmla="*/ 855045 w 1197657"/>
                    <a:gd name="connsiteY852" fmla="*/ 649198 h 926154"/>
                    <a:gd name="connsiteX853" fmla="*/ 845161 w 1197657"/>
                    <a:gd name="connsiteY853" fmla="*/ 656144 h 926154"/>
                    <a:gd name="connsiteX854" fmla="*/ 839769 w 1197657"/>
                    <a:gd name="connsiteY854" fmla="*/ 657030 h 926154"/>
                    <a:gd name="connsiteX855" fmla="*/ 840923 w 1197657"/>
                    <a:gd name="connsiteY855" fmla="*/ 654019 h 926154"/>
                    <a:gd name="connsiteX856" fmla="*/ 846496 w 1197657"/>
                    <a:gd name="connsiteY856" fmla="*/ 643272 h 926154"/>
                    <a:gd name="connsiteX857" fmla="*/ 849423 w 1197657"/>
                    <a:gd name="connsiteY857" fmla="*/ 640929 h 926154"/>
                    <a:gd name="connsiteX858" fmla="*/ 852410 w 1197657"/>
                    <a:gd name="connsiteY858" fmla="*/ 639435 h 926154"/>
                    <a:gd name="connsiteX859" fmla="*/ 859756 w 1197657"/>
                    <a:gd name="connsiteY859" fmla="*/ 632829 h 926154"/>
                    <a:gd name="connsiteX860" fmla="*/ 862331 w 1197657"/>
                    <a:gd name="connsiteY860" fmla="*/ 631311 h 926154"/>
                    <a:gd name="connsiteX861" fmla="*/ 866654 w 1197657"/>
                    <a:gd name="connsiteY861" fmla="*/ 630352 h 926154"/>
                    <a:gd name="connsiteX862" fmla="*/ 871183 w 1197657"/>
                    <a:gd name="connsiteY862" fmla="*/ 628009 h 926154"/>
                    <a:gd name="connsiteX863" fmla="*/ 875324 w 1197657"/>
                    <a:gd name="connsiteY863" fmla="*/ 624997 h 926154"/>
                    <a:gd name="connsiteX864" fmla="*/ 878311 w 1197657"/>
                    <a:gd name="connsiteY864" fmla="*/ 622070 h 926154"/>
                    <a:gd name="connsiteX865" fmla="*/ 882269 w 1197657"/>
                    <a:gd name="connsiteY865" fmla="*/ 614287 h 926154"/>
                    <a:gd name="connsiteX866" fmla="*/ 884674 w 1197657"/>
                    <a:gd name="connsiteY866" fmla="*/ 612526 h 926154"/>
                    <a:gd name="connsiteX867" fmla="*/ 886750 w 1197657"/>
                    <a:gd name="connsiteY867" fmla="*/ 612441 h 926154"/>
                    <a:gd name="connsiteX868" fmla="*/ 891340 w 1197657"/>
                    <a:gd name="connsiteY868" fmla="*/ 613789 h 926154"/>
                    <a:gd name="connsiteX869" fmla="*/ 893745 w 1197657"/>
                    <a:gd name="connsiteY869" fmla="*/ 613996 h 926154"/>
                    <a:gd name="connsiteX870" fmla="*/ 897145 w 1197657"/>
                    <a:gd name="connsiteY870" fmla="*/ 613219 h 926154"/>
                    <a:gd name="connsiteX871" fmla="*/ 905754 w 1197657"/>
                    <a:gd name="connsiteY871" fmla="*/ 609721 h 926154"/>
                    <a:gd name="connsiteX872" fmla="*/ 911376 w 1197657"/>
                    <a:gd name="connsiteY872" fmla="*/ 605702 h 926154"/>
                    <a:gd name="connsiteX873" fmla="*/ 922062 w 1197657"/>
                    <a:gd name="connsiteY873" fmla="*/ 601828 h 926154"/>
                    <a:gd name="connsiteX874" fmla="*/ 933768 w 1197657"/>
                    <a:gd name="connsiteY874" fmla="*/ 595684 h 926154"/>
                    <a:gd name="connsiteX875" fmla="*/ 938139 w 1197657"/>
                    <a:gd name="connsiteY875" fmla="*/ 594980 h 926154"/>
                    <a:gd name="connsiteX876" fmla="*/ 939803 w 1197657"/>
                    <a:gd name="connsiteY876" fmla="*/ 594227 h 926154"/>
                    <a:gd name="connsiteX877" fmla="*/ 941697 w 1197657"/>
                    <a:gd name="connsiteY877" fmla="*/ 592357 h 926154"/>
                    <a:gd name="connsiteX878" fmla="*/ 942620 w 1197657"/>
                    <a:gd name="connsiteY878" fmla="*/ 590171 h 926154"/>
                    <a:gd name="connsiteX879" fmla="*/ 941527 w 1197657"/>
                    <a:gd name="connsiteY879" fmla="*/ 588398 h 926154"/>
                    <a:gd name="connsiteX880" fmla="*/ 940155 w 1197657"/>
                    <a:gd name="connsiteY880" fmla="*/ 588811 h 926154"/>
                    <a:gd name="connsiteX881" fmla="*/ 933610 w 1197657"/>
                    <a:gd name="connsiteY881" fmla="*/ 592405 h 926154"/>
                    <a:gd name="connsiteX882" fmla="*/ 926591 w 1197657"/>
                    <a:gd name="connsiteY882" fmla="*/ 594980 h 926154"/>
                    <a:gd name="connsiteX883" fmla="*/ 925559 w 1197657"/>
                    <a:gd name="connsiteY883" fmla="*/ 595599 h 926154"/>
                    <a:gd name="connsiteX884" fmla="*/ 922062 w 1197657"/>
                    <a:gd name="connsiteY884" fmla="*/ 598380 h 926154"/>
                    <a:gd name="connsiteX885" fmla="*/ 920216 w 1197657"/>
                    <a:gd name="connsiteY885" fmla="*/ 599023 h 926154"/>
                    <a:gd name="connsiteX886" fmla="*/ 916258 w 1197657"/>
                    <a:gd name="connsiteY886" fmla="*/ 599873 h 926154"/>
                    <a:gd name="connsiteX887" fmla="*/ 908510 w 1197657"/>
                    <a:gd name="connsiteY887" fmla="*/ 603662 h 926154"/>
                    <a:gd name="connsiteX888" fmla="*/ 904151 w 1197657"/>
                    <a:gd name="connsiteY888" fmla="*/ 604487 h 926154"/>
                    <a:gd name="connsiteX889" fmla="*/ 895870 w 1197657"/>
                    <a:gd name="connsiteY889" fmla="*/ 602885 h 926154"/>
                    <a:gd name="connsiteX890" fmla="*/ 891280 w 1197657"/>
                    <a:gd name="connsiteY890" fmla="*/ 602508 h 926154"/>
                    <a:gd name="connsiteX891" fmla="*/ 887892 w 1197657"/>
                    <a:gd name="connsiteY891" fmla="*/ 603796 h 926154"/>
                    <a:gd name="connsiteX892" fmla="*/ 883933 w 1197657"/>
                    <a:gd name="connsiteY892" fmla="*/ 606406 h 926154"/>
                    <a:gd name="connsiteX893" fmla="*/ 879974 w 1197657"/>
                    <a:gd name="connsiteY893" fmla="*/ 606722 h 926154"/>
                    <a:gd name="connsiteX894" fmla="*/ 872045 w 1197657"/>
                    <a:gd name="connsiteY894" fmla="*/ 604476 h 926154"/>
                    <a:gd name="connsiteX895" fmla="*/ 867844 w 1197657"/>
                    <a:gd name="connsiteY895" fmla="*/ 603965 h 926154"/>
                    <a:gd name="connsiteX896" fmla="*/ 857170 w 1197657"/>
                    <a:gd name="connsiteY896" fmla="*/ 605799 h 926154"/>
                    <a:gd name="connsiteX897" fmla="*/ 852750 w 1197657"/>
                    <a:gd name="connsiteY897" fmla="*/ 605338 h 926154"/>
                    <a:gd name="connsiteX898" fmla="*/ 849362 w 1197657"/>
                    <a:gd name="connsiteY898" fmla="*/ 604536 h 926154"/>
                    <a:gd name="connsiteX899" fmla="*/ 845865 w 1197657"/>
                    <a:gd name="connsiteY899" fmla="*/ 604354 h 926154"/>
                    <a:gd name="connsiteX900" fmla="*/ 837316 w 1197657"/>
                    <a:gd name="connsiteY900" fmla="*/ 607317 h 926154"/>
                    <a:gd name="connsiteX901" fmla="*/ 833516 w 1197657"/>
                    <a:gd name="connsiteY901" fmla="*/ 608070 h 926154"/>
                    <a:gd name="connsiteX902" fmla="*/ 830589 w 1197657"/>
                    <a:gd name="connsiteY902" fmla="*/ 606831 h 926154"/>
                    <a:gd name="connsiteX903" fmla="*/ 829436 w 1197657"/>
                    <a:gd name="connsiteY903" fmla="*/ 602472 h 926154"/>
                    <a:gd name="connsiteX904" fmla="*/ 830067 w 1197657"/>
                    <a:gd name="connsiteY904" fmla="*/ 598793 h 926154"/>
                    <a:gd name="connsiteX905" fmla="*/ 833455 w 1197657"/>
                    <a:gd name="connsiteY905" fmla="*/ 591300 h 926154"/>
                    <a:gd name="connsiteX906" fmla="*/ 834657 w 1197657"/>
                    <a:gd name="connsiteY906" fmla="*/ 586917 h 926154"/>
                    <a:gd name="connsiteX907" fmla="*/ 835871 w 1197657"/>
                    <a:gd name="connsiteY907" fmla="*/ 574106 h 926154"/>
                    <a:gd name="connsiteX908" fmla="*/ 836612 w 1197657"/>
                    <a:gd name="connsiteY908" fmla="*/ 572151 h 926154"/>
                    <a:gd name="connsiteX909" fmla="*/ 840121 w 1197657"/>
                    <a:gd name="connsiteY909" fmla="*/ 570293 h 926154"/>
                    <a:gd name="connsiteX910" fmla="*/ 842586 w 1197657"/>
                    <a:gd name="connsiteY910" fmla="*/ 565922 h 926154"/>
                    <a:gd name="connsiteX911" fmla="*/ 846326 w 1197657"/>
                    <a:gd name="connsiteY911" fmla="*/ 557264 h 926154"/>
                    <a:gd name="connsiteX912" fmla="*/ 849192 w 1197657"/>
                    <a:gd name="connsiteY912" fmla="*/ 554823 h 926154"/>
                    <a:gd name="connsiteX913" fmla="*/ 852641 w 1197657"/>
                    <a:gd name="connsiteY913" fmla="*/ 554131 h 926154"/>
                    <a:gd name="connsiteX914" fmla="*/ 859756 w 1197657"/>
                    <a:gd name="connsiteY914" fmla="*/ 554556 h 926154"/>
                    <a:gd name="connsiteX915" fmla="*/ 862064 w 1197657"/>
                    <a:gd name="connsiteY915" fmla="*/ 552832 h 926154"/>
                    <a:gd name="connsiteX916" fmla="*/ 862853 w 1197657"/>
                    <a:gd name="connsiteY916" fmla="*/ 549177 h 926154"/>
                    <a:gd name="connsiteX917" fmla="*/ 864249 w 1197657"/>
                    <a:gd name="connsiteY917" fmla="*/ 545886 h 926154"/>
                    <a:gd name="connsiteX918" fmla="*/ 868087 w 1197657"/>
                    <a:gd name="connsiteY918" fmla="*/ 545157 h 926154"/>
                    <a:gd name="connsiteX919" fmla="*/ 868087 w 1197657"/>
                    <a:gd name="connsiteY919" fmla="*/ 543700 h 926154"/>
                    <a:gd name="connsiteX920" fmla="*/ 866532 w 1197657"/>
                    <a:gd name="connsiteY920" fmla="*/ 543360 h 926154"/>
                    <a:gd name="connsiteX921" fmla="*/ 865318 w 1197657"/>
                    <a:gd name="connsiteY921" fmla="*/ 543239 h 926154"/>
                    <a:gd name="connsiteX922" fmla="*/ 864189 w 1197657"/>
                    <a:gd name="connsiteY922" fmla="*/ 543360 h 926154"/>
                    <a:gd name="connsiteX923" fmla="*/ 863035 w 1197657"/>
                    <a:gd name="connsiteY923" fmla="*/ 543700 h 926154"/>
                    <a:gd name="connsiteX924" fmla="*/ 861772 w 1197657"/>
                    <a:gd name="connsiteY924" fmla="*/ 544696 h 926154"/>
                    <a:gd name="connsiteX925" fmla="*/ 861141 w 1197657"/>
                    <a:gd name="connsiteY925" fmla="*/ 546044 h 926154"/>
                    <a:gd name="connsiteX926" fmla="*/ 860789 w 1197657"/>
                    <a:gd name="connsiteY926" fmla="*/ 547258 h 926154"/>
                    <a:gd name="connsiteX927" fmla="*/ 860388 w 1197657"/>
                    <a:gd name="connsiteY927" fmla="*/ 547987 h 926154"/>
                    <a:gd name="connsiteX928" fmla="*/ 847176 w 1197657"/>
                    <a:gd name="connsiteY928" fmla="*/ 549104 h 926154"/>
                    <a:gd name="connsiteX929" fmla="*/ 845003 w 1197657"/>
                    <a:gd name="connsiteY929" fmla="*/ 551290 h 926154"/>
                    <a:gd name="connsiteX930" fmla="*/ 843339 w 1197657"/>
                    <a:gd name="connsiteY930" fmla="*/ 553645 h 926154"/>
                    <a:gd name="connsiteX931" fmla="*/ 839441 w 1197657"/>
                    <a:gd name="connsiteY931" fmla="*/ 556657 h 926154"/>
                    <a:gd name="connsiteX932" fmla="*/ 835070 w 1197657"/>
                    <a:gd name="connsiteY932" fmla="*/ 559207 h 926154"/>
                    <a:gd name="connsiteX933" fmla="*/ 832083 w 1197657"/>
                    <a:gd name="connsiteY933" fmla="*/ 560069 h 926154"/>
                    <a:gd name="connsiteX934" fmla="*/ 830358 w 1197657"/>
                    <a:gd name="connsiteY934" fmla="*/ 558199 h 926154"/>
                    <a:gd name="connsiteX935" fmla="*/ 825416 w 1197657"/>
                    <a:gd name="connsiteY935" fmla="*/ 549930 h 926154"/>
                    <a:gd name="connsiteX936" fmla="*/ 824384 w 1197657"/>
                    <a:gd name="connsiteY936" fmla="*/ 547234 h 926154"/>
                    <a:gd name="connsiteX937" fmla="*/ 824955 w 1197657"/>
                    <a:gd name="connsiteY937" fmla="*/ 543664 h 926154"/>
                    <a:gd name="connsiteX938" fmla="*/ 827432 w 1197657"/>
                    <a:gd name="connsiteY938" fmla="*/ 536208 h 926154"/>
                    <a:gd name="connsiteX939" fmla="*/ 828233 w 1197657"/>
                    <a:gd name="connsiteY939" fmla="*/ 531849 h 926154"/>
                    <a:gd name="connsiteX940" fmla="*/ 828112 w 1197657"/>
                    <a:gd name="connsiteY940" fmla="*/ 529529 h 926154"/>
                    <a:gd name="connsiteX941" fmla="*/ 827723 w 1197657"/>
                    <a:gd name="connsiteY941" fmla="*/ 527246 h 926154"/>
                    <a:gd name="connsiteX942" fmla="*/ 827723 w 1197657"/>
                    <a:gd name="connsiteY942" fmla="*/ 525134 h 926154"/>
                    <a:gd name="connsiteX943" fmla="*/ 829727 w 1197657"/>
                    <a:gd name="connsiteY943" fmla="*/ 521357 h 926154"/>
                    <a:gd name="connsiteX944" fmla="*/ 830358 w 1197657"/>
                    <a:gd name="connsiteY944" fmla="*/ 519171 h 926154"/>
                    <a:gd name="connsiteX945" fmla="*/ 830820 w 1197657"/>
                    <a:gd name="connsiteY945" fmla="*/ 514873 h 926154"/>
                    <a:gd name="connsiteX946" fmla="*/ 831961 w 1197657"/>
                    <a:gd name="connsiteY946" fmla="*/ 511655 h 926154"/>
                    <a:gd name="connsiteX947" fmla="*/ 834839 w 1197657"/>
                    <a:gd name="connsiteY947" fmla="*/ 507745 h 926154"/>
                    <a:gd name="connsiteX948" fmla="*/ 838227 w 1197657"/>
                    <a:gd name="connsiteY948" fmla="*/ 504211 h 926154"/>
                    <a:gd name="connsiteX949" fmla="*/ 841032 w 1197657"/>
                    <a:gd name="connsiteY949" fmla="*/ 502147 h 926154"/>
                    <a:gd name="connsiteX950" fmla="*/ 845464 w 1197657"/>
                    <a:gd name="connsiteY950" fmla="*/ 500848 h 926154"/>
                    <a:gd name="connsiteX951" fmla="*/ 849314 w 1197657"/>
                    <a:gd name="connsiteY951" fmla="*/ 501103 h 926154"/>
                    <a:gd name="connsiteX952" fmla="*/ 852641 w 1197657"/>
                    <a:gd name="connsiteY952" fmla="*/ 502706 h 926154"/>
                    <a:gd name="connsiteX953" fmla="*/ 855907 w 1197657"/>
                    <a:gd name="connsiteY953" fmla="*/ 505353 h 926154"/>
                    <a:gd name="connsiteX954" fmla="*/ 858214 w 1197657"/>
                    <a:gd name="connsiteY954" fmla="*/ 506786 h 926154"/>
                    <a:gd name="connsiteX955" fmla="*/ 860048 w 1197657"/>
                    <a:gd name="connsiteY955" fmla="*/ 506700 h 926154"/>
                    <a:gd name="connsiteX956" fmla="*/ 861541 w 1197657"/>
                    <a:gd name="connsiteY956" fmla="*/ 506130 h 926154"/>
                    <a:gd name="connsiteX957" fmla="*/ 863035 w 1197657"/>
                    <a:gd name="connsiteY957" fmla="*/ 505948 h 926154"/>
                    <a:gd name="connsiteX958" fmla="*/ 865221 w 1197657"/>
                    <a:gd name="connsiteY958" fmla="*/ 506664 h 926154"/>
                    <a:gd name="connsiteX959" fmla="*/ 867115 w 1197657"/>
                    <a:gd name="connsiteY959" fmla="*/ 507587 h 926154"/>
                    <a:gd name="connsiteX960" fmla="*/ 870612 w 1197657"/>
                    <a:gd name="connsiteY960" fmla="*/ 510234 h 926154"/>
                    <a:gd name="connsiteX961" fmla="*/ 878529 w 1197657"/>
                    <a:gd name="connsiteY961" fmla="*/ 499779 h 926154"/>
                    <a:gd name="connsiteX962" fmla="*/ 882670 w 1197657"/>
                    <a:gd name="connsiteY962" fmla="*/ 496464 h 926154"/>
                    <a:gd name="connsiteX963" fmla="*/ 889264 w 1197657"/>
                    <a:gd name="connsiteY963" fmla="*/ 495201 h 926154"/>
                    <a:gd name="connsiteX964" fmla="*/ 892555 w 1197657"/>
                    <a:gd name="connsiteY964" fmla="*/ 496573 h 926154"/>
                    <a:gd name="connsiteX965" fmla="*/ 895590 w 1197657"/>
                    <a:gd name="connsiteY965" fmla="*/ 499160 h 926154"/>
                    <a:gd name="connsiteX966" fmla="*/ 898577 w 1197657"/>
                    <a:gd name="connsiteY966" fmla="*/ 500605 h 926154"/>
                    <a:gd name="connsiteX967" fmla="*/ 902135 w 1197657"/>
                    <a:gd name="connsiteY967" fmla="*/ 498626 h 926154"/>
                    <a:gd name="connsiteX968" fmla="*/ 903277 w 1197657"/>
                    <a:gd name="connsiteY968" fmla="*/ 495991 h 926154"/>
                    <a:gd name="connsiteX969" fmla="*/ 903337 w 1197657"/>
                    <a:gd name="connsiteY969" fmla="*/ 492433 h 926154"/>
                    <a:gd name="connsiteX970" fmla="*/ 902366 w 1197657"/>
                    <a:gd name="connsiteY970" fmla="*/ 489118 h 926154"/>
                    <a:gd name="connsiteX971" fmla="*/ 900192 w 1197657"/>
                    <a:gd name="connsiteY971" fmla="*/ 487138 h 926154"/>
                    <a:gd name="connsiteX972" fmla="*/ 899039 w 1197657"/>
                    <a:gd name="connsiteY972" fmla="*/ 489555 h 926154"/>
                    <a:gd name="connsiteX973" fmla="*/ 896513 w 1197657"/>
                    <a:gd name="connsiteY973" fmla="*/ 490903 h 926154"/>
                    <a:gd name="connsiteX974" fmla="*/ 893405 w 1197657"/>
                    <a:gd name="connsiteY974" fmla="*/ 490903 h 926154"/>
                    <a:gd name="connsiteX975" fmla="*/ 890539 w 1197657"/>
                    <a:gd name="connsiteY975" fmla="*/ 489239 h 926154"/>
                    <a:gd name="connsiteX976" fmla="*/ 887600 w 1197657"/>
                    <a:gd name="connsiteY976" fmla="*/ 488073 h 926154"/>
                    <a:gd name="connsiteX977" fmla="*/ 883763 w 1197657"/>
                    <a:gd name="connsiteY977" fmla="*/ 488729 h 926154"/>
                    <a:gd name="connsiteX978" fmla="*/ 880084 w 1197657"/>
                    <a:gd name="connsiteY978" fmla="*/ 490271 h 926154"/>
                    <a:gd name="connsiteX979" fmla="*/ 877619 w 1197657"/>
                    <a:gd name="connsiteY979" fmla="*/ 491959 h 926154"/>
                    <a:gd name="connsiteX980" fmla="*/ 872215 w 1197657"/>
                    <a:gd name="connsiteY980" fmla="*/ 494582 h 926154"/>
                    <a:gd name="connsiteX981" fmla="*/ 866593 w 1197657"/>
                    <a:gd name="connsiteY981" fmla="*/ 493550 h 926154"/>
                    <a:gd name="connsiteX982" fmla="*/ 853964 w 1197657"/>
                    <a:gd name="connsiteY982" fmla="*/ 488632 h 926154"/>
                    <a:gd name="connsiteX983" fmla="*/ 851548 w 1197657"/>
                    <a:gd name="connsiteY983" fmla="*/ 488632 h 926154"/>
                    <a:gd name="connsiteX984" fmla="*/ 849423 w 1197657"/>
                    <a:gd name="connsiteY984" fmla="*/ 489057 h 926154"/>
                    <a:gd name="connsiteX985" fmla="*/ 847529 w 1197657"/>
                    <a:gd name="connsiteY985" fmla="*/ 489118 h 926154"/>
                    <a:gd name="connsiteX986" fmla="*/ 844080 w 1197657"/>
                    <a:gd name="connsiteY986" fmla="*/ 486653 h 926154"/>
                    <a:gd name="connsiteX987" fmla="*/ 842125 w 1197657"/>
                    <a:gd name="connsiteY987" fmla="*/ 486058 h 926154"/>
                    <a:gd name="connsiteX988" fmla="*/ 837948 w 1197657"/>
                    <a:gd name="connsiteY988" fmla="*/ 485790 h 926154"/>
                    <a:gd name="connsiteX989" fmla="*/ 834026 w 1197657"/>
                    <a:gd name="connsiteY989" fmla="*/ 486944 h 926154"/>
                    <a:gd name="connsiteX990" fmla="*/ 828063 w 1197657"/>
                    <a:gd name="connsiteY990" fmla="*/ 492712 h 926154"/>
                    <a:gd name="connsiteX991" fmla="*/ 824384 w 1197657"/>
                    <a:gd name="connsiteY991" fmla="*/ 495213 h 926154"/>
                    <a:gd name="connsiteX992" fmla="*/ 820146 w 1197657"/>
                    <a:gd name="connsiteY992" fmla="*/ 496610 h 926154"/>
                    <a:gd name="connsiteX993" fmla="*/ 817730 w 1197657"/>
                    <a:gd name="connsiteY993" fmla="*/ 496768 h 926154"/>
                    <a:gd name="connsiteX994" fmla="*/ 816005 w 1197657"/>
                    <a:gd name="connsiteY994" fmla="*/ 495966 h 926154"/>
                    <a:gd name="connsiteX995" fmla="*/ 815605 w 1197657"/>
                    <a:gd name="connsiteY995" fmla="*/ 494266 h 926154"/>
                    <a:gd name="connsiteX996" fmla="*/ 817900 w 1197657"/>
                    <a:gd name="connsiteY996" fmla="*/ 492190 h 926154"/>
                    <a:gd name="connsiteX997" fmla="*/ 817317 w 1197657"/>
                    <a:gd name="connsiteY997" fmla="*/ 490587 h 926154"/>
                    <a:gd name="connsiteX998" fmla="*/ 814451 w 1197657"/>
                    <a:gd name="connsiteY998" fmla="*/ 490004 h 926154"/>
                    <a:gd name="connsiteX999" fmla="*/ 811403 w 1197657"/>
                    <a:gd name="connsiteY999" fmla="*/ 492190 h 926154"/>
                    <a:gd name="connsiteX1000" fmla="*/ 807906 w 1197657"/>
                    <a:gd name="connsiteY1000" fmla="*/ 494060 h 926154"/>
                    <a:gd name="connsiteX1001" fmla="*/ 803765 w 1197657"/>
                    <a:gd name="connsiteY1001" fmla="*/ 492651 h 926154"/>
                    <a:gd name="connsiteX1002" fmla="*/ 802733 w 1197657"/>
                    <a:gd name="connsiteY1002" fmla="*/ 490065 h 926154"/>
                    <a:gd name="connsiteX1003" fmla="*/ 801762 w 1197657"/>
                    <a:gd name="connsiteY1003" fmla="*/ 485475 h 926154"/>
                    <a:gd name="connsiteX1004" fmla="*/ 801640 w 1197657"/>
                    <a:gd name="connsiteY1004" fmla="*/ 481030 h 926154"/>
                    <a:gd name="connsiteX1005" fmla="*/ 803134 w 1197657"/>
                    <a:gd name="connsiteY1005" fmla="*/ 479075 h 926154"/>
                    <a:gd name="connsiteX1006" fmla="*/ 806230 w 1197657"/>
                    <a:gd name="connsiteY1006" fmla="*/ 476975 h 926154"/>
                    <a:gd name="connsiteX1007" fmla="*/ 806813 w 1197657"/>
                    <a:gd name="connsiteY1007" fmla="*/ 472955 h 926154"/>
                    <a:gd name="connsiteX1008" fmla="*/ 804798 w 1197657"/>
                    <a:gd name="connsiteY1008" fmla="*/ 470320 h 926154"/>
                    <a:gd name="connsiteX1009" fmla="*/ 799928 w 1197657"/>
                    <a:gd name="connsiteY1009" fmla="*/ 472470 h 926154"/>
                    <a:gd name="connsiteX1010" fmla="*/ 798022 w 1197657"/>
                    <a:gd name="connsiteY1010" fmla="*/ 474910 h 926154"/>
                    <a:gd name="connsiteX1011" fmla="*/ 795909 w 1197657"/>
                    <a:gd name="connsiteY1011" fmla="*/ 478675 h 926154"/>
                    <a:gd name="connsiteX1012" fmla="*/ 794185 w 1197657"/>
                    <a:gd name="connsiteY1012" fmla="*/ 482864 h 926154"/>
                    <a:gd name="connsiteX1013" fmla="*/ 793444 w 1197657"/>
                    <a:gd name="connsiteY1013" fmla="*/ 486483 h 926154"/>
                    <a:gd name="connsiteX1014" fmla="*/ 791890 w 1197657"/>
                    <a:gd name="connsiteY1014" fmla="*/ 491218 h 926154"/>
                    <a:gd name="connsiteX1015" fmla="*/ 788271 w 1197657"/>
                    <a:gd name="connsiteY1015" fmla="*/ 491923 h 926154"/>
                    <a:gd name="connsiteX1016" fmla="*/ 784361 w 1197657"/>
                    <a:gd name="connsiteY1016" fmla="*/ 491121 h 926154"/>
                    <a:gd name="connsiteX1017" fmla="*/ 781896 w 1197657"/>
                    <a:gd name="connsiteY1017" fmla="*/ 491328 h 926154"/>
                    <a:gd name="connsiteX1018" fmla="*/ 779662 w 1197657"/>
                    <a:gd name="connsiteY1018" fmla="*/ 488171 h 926154"/>
                    <a:gd name="connsiteX1019" fmla="*/ 780172 w 1197657"/>
                    <a:gd name="connsiteY1019" fmla="*/ 485985 h 926154"/>
                    <a:gd name="connsiteX1020" fmla="*/ 779941 w 1197657"/>
                    <a:gd name="connsiteY1020" fmla="*/ 484443 h 926154"/>
                    <a:gd name="connsiteX1021" fmla="*/ 775399 w 1197657"/>
                    <a:gd name="connsiteY1021" fmla="*/ 483119 h 926154"/>
                    <a:gd name="connsiteX1022" fmla="*/ 772194 w 1197657"/>
                    <a:gd name="connsiteY1022" fmla="*/ 482888 h 926154"/>
                    <a:gd name="connsiteX1023" fmla="*/ 769437 w 1197657"/>
                    <a:gd name="connsiteY1023" fmla="*/ 483398 h 926154"/>
                    <a:gd name="connsiteX1024" fmla="*/ 767992 w 1197657"/>
                    <a:gd name="connsiteY1024" fmla="*/ 485183 h 926154"/>
                    <a:gd name="connsiteX1025" fmla="*/ 768976 w 1197657"/>
                    <a:gd name="connsiteY1025" fmla="*/ 488656 h 926154"/>
                    <a:gd name="connsiteX1026" fmla="*/ 760646 w 1197657"/>
                    <a:gd name="connsiteY1026" fmla="*/ 487248 h 926154"/>
                    <a:gd name="connsiteX1027" fmla="*/ 758181 w 1197657"/>
                    <a:gd name="connsiteY1027" fmla="*/ 487855 h 926154"/>
                    <a:gd name="connsiteX1028" fmla="*/ 761459 w 1197657"/>
                    <a:gd name="connsiteY1028" fmla="*/ 491328 h 926154"/>
                    <a:gd name="connsiteX1029" fmla="*/ 766049 w 1197657"/>
                    <a:gd name="connsiteY1029" fmla="*/ 493100 h 926154"/>
                    <a:gd name="connsiteX1030" fmla="*/ 769547 w 1197657"/>
                    <a:gd name="connsiteY1030" fmla="*/ 491485 h 926154"/>
                    <a:gd name="connsiteX1031" fmla="*/ 775399 w 1197657"/>
                    <a:gd name="connsiteY1031" fmla="*/ 485803 h 926154"/>
                    <a:gd name="connsiteX1032" fmla="*/ 776444 w 1197657"/>
                    <a:gd name="connsiteY1032" fmla="*/ 488304 h 926154"/>
                    <a:gd name="connsiteX1033" fmla="*/ 775922 w 1197657"/>
                    <a:gd name="connsiteY1033" fmla="*/ 490198 h 926154"/>
                    <a:gd name="connsiteX1034" fmla="*/ 774829 w 1197657"/>
                    <a:gd name="connsiteY1034" fmla="*/ 492117 h 926154"/>
                    <a:gd name="connsiteX1035" fmla="*/ 774209 w 1197657"/>
                    <a:gd name="connsiteY1035" fmla="*/ 494618 h 926154"/>
                    <a:gd name="connsiteX1036" fmla="*/ 775120 w 1197657"/>
                    <a:gd name="connsiteY1036" fmla="*/ 495541 h 926154"/>
                    <a:gd name="connsiteX1037" fmla="*/ 780633 w 1197657"/>
                    <a:gd name="connsiteY1037" fmla="*/ 497921 h 926154"/>
                    <a:gd name="connsiteX1038" fmla="*/ 787810 w 1197657"/>
                    <a:gd name="connsiteY1038" fmla="*/ 497375 h 926154"/>
                    <a:gd name="connsiteX1039" fmla="*/ 789825 w 1197657"/>
                    <a:gd name="connsiteY1039" fmla="*/ 506166 h 926154"/>
                    <a:gd name="connsiteX1040" fmla="*/ 787980 w 1197657"/>
                    <a:gd name="connsiteY1040" fmla="*/ 527004 h 926154"/>
                    <a:gd name="connsiteX1041" fmla="*/ 786207 w 1197657"/>
                    <a:gd name="connsiteY1041" fmla="*/ 530416 h 926154"/>
                    <a:gd name="connsiteX1042" fmla="*/ 785745 w 1197657"/>
                    <a:gd name="connsiteY1042" fmla="*/ 532492 h 926154"/>
                    <a:gd name="connsiteX1043" fmla="*/ 784992 w 1197657"/>
                    <a:gd name="connsiteY1043" fmla="*/ 532055 h 926154"/>
                    <a:gd name="connsiteX1044" fmla="*/ 783438 w 1197657"/>
                    <a:gd name="connsiteY1044" fmla="*/ 533986 h 926154"/>
                    <a:gd name="connsiteX1045" fmla="*/ 782066 w 1197657"/>
                    <a:gd name="connsiteY1045" fmla="*/ 536329 h 926154"/>
                    <a:gd name="connsiteX1046" fmla="*/ 781896 w 1197657"/>
                    <a:gd name="connsiteY1046" fmla="*/ 537131 h 926154"/>
                    <a:gd name="connsiteX1047" fmla="*/ 778617 w 1197657"/>
                    <a:gd name="connsiteY1047" fmla="*/ 540179 h 926154"/>
                    <a:gd name="connsiteX1048" fmla="*/ 777075 w 1197657"/>
                    <a:gd name="connsiteY1048" fmla="*/ 540931 h 926154"/>
                    <a:gd name="connsiteX1049" fmla="*/ 774829 w 1197657"/>
                    <a:gd name="connsiteY1049" fmla="*/ 541187 h 926154"/>
                    <a:gd name="connsiteX1050" fmla="*/ 771720 w 1197657"/>
                    <a:gd name="connsiteY1050" fmla="*/ 540422 h 926154"/>
                    <a:gd name="connsiteX1051" fmla="*/ 770919 w 1197657"/>
                    <a:gd name="connsiteY1051" fmla="*/ 541053 h 926154"/>
                    <a:gd name="connsiteX1052" fmla="*/ 770530 w 1197657"/>
                    <a:gd name="connsiteY1052" fmla="*/ 543761 h 926154"/>
                    <a:gd name="connsiteX1053" fmla="*/ 768976 w 1197657"/>
                    <a:gd name="connsiteY1053" fmla="*/ 543761 h 926154"/>
                    <a:gd name="connsiteX1054" fmla="*/ 767762 w 1197657"/>
                    <a:gd name="connsiteY1054" fmla="*/ 541199 h 926154"/>
                    <a:gd name="connsiteX1055" fmla="*/ 766912 w 1197657"/>
                    <a:gd name="connsiteY1055" fmla="*/ 541867 h 926154"/>
                    <a:gd name="connsiteX1056" fmla="*/ 766159 w 1197657"/>
                    <a:gd name="connsiteY1056" fmla="*/ 543846 h 926154"/>
                    <a:gd name="connsiteX1057" fmla="*/ 765236 w 1197657"/>
                    <a:gd name="connsiteY1057" fmla="*/ 545218 h 926154"/>
                    <a:gd name="connsiteX1058" fmla="*/ 764556 w 1197657"/>
                    <a:gd name="connsiteY1058" fmla="*/ 545971 h 926154"/>
                    <a:gd name="connsiteX1059" fmla="*/ 762771 w 1197657"/>
                    <a:gd name="connsiteY1059" fmla="*/ 547379 h 926154"/>
                    <a:gd name="connsiteX1060" fmla="*/ 760937 w 1197657"/>
                    <a:gd name="connsiteY1060" fmla="*/ 547865 h 926154"/>
                    <a:gd name="connsiteX1061" fmla="*/ 760184 w 1197657"/>
                    <a:gd name="connsiteY1061" fmla="*/ 545886 h 926154"/>
                    <a:gd name="connsiteX1062" fmla="*/ 758752 w 1197657"/>
                    <a:gd name="connsiteY1062" fmla="*/ 543785 h 926154"/>
                    <a:gd name="connsiteX1063" fmla="*/ 755485 w 1197657"/>
                    <a:gd name="connsiteY1063" fmla="*/ 541696 h 926154"/>
                    <a:gd name="connsiteX1064" fmla="*/ 751624 w 1197657"/>
                    <a:gd name="connsiteY1064" fmla="*/ 540507 h 926154"/>
                    <a:gd name="connsiteX1065" fmla="*/ 748466 w 1197657"/>
                    <a:gd name="connsiteY1065" fmla="*/ 541199 h 926154"/>
                    <a:gd name="connsiteX1066" fmla="*/ 752668 w 1197657"/>
                    <a:gd name="connsiteY1066" fmla="*/ 543846 h 926154"/>
                    <a:gd name="connsiteX1067" fmla="*/ 754331 w 1197657"/>
                    <a:gd name="connsiteY1067" fmla="*/ 545825 h 926154"/>
                    <a:gd name="connsiteX1068" fmla="*/ 753700 w 1197657"/>
                    <a:gd name="connsiteY1068" fmla="*/ 548047 h 926154"/>
                    <a:gd name="connsiteX1069" fmla="*/ 751866 w 1197657"/>
                    <a:gd name="connsiteY1069" fmla="*/ 548618 h 926154"/>
                    <a:gd name="connsiteX1070" fmla="*/ 744629 w 1197657"/>
                    <a:gd name="connsiteY1070" fmla="*/ 546578 h 926154"/>
                    <a:gd name="connsiteX1071" fmla="*/ 745783 w 1197657"/>
                    <a:gd name="connsiteY1071" fmla="*/ 547817 h 926154"/>
                    <a:gd name="connsiteX1072" fmla="*/ 749911 w 1197657"/>
                    <a:gd name="connsiteY1072" fmla="*/ 550597 h 926154"/>
                    <a:gd name="connsiteX1073" fmla="*/ 749960 w 1197657"/>
                    <a:gd name="connsiteY1073" fmla="*/ 552115 h 926154"/>
                    <a:gd name="connsiteX1074" fmla="*/ 749438 w 1197657"/>
                    <a:gd name="connsiteY1074" fmla="*/ 553402 h 926154"/>
                    <a:gd name="connsiteX1075" fmla="*/ 748369 w 1197657"/>
                    <a:gd name="connsiteY1075" fmla="*/ 553779 h 926154"/>
                    <a:gd name="connsiteX1076" fmla="*/ 746694 w 1197657"/>
                    <a:gd name="connsiteY1076" fmla="*/ 552710 h 926154"/>
                    <a:gd name="connsiteX1077" fmla="*/ 744046 w 1197657"/>
                    <a:gd name="connsiteY1077" fmla="*/ 551532 h 926154"/>
                    <a:gd name="connsiteX1078" fmla="*/ 740671 w 1197657"/>
                    <a:gd name="connsiteY1078" fmla="*/ 551739 h 926154"/>
                    <a:gd name="connsiteX1079" fmla="*/ 737501 w 1197657"/>
                    <a:gd name="connsiteY1079" fmla="*/ 552892 h 926154"/>
                    <a:gd name="connsiteX1080" fmla="*/ 735668 w 1197657"/>
                    <a:gd name="connsiteY1080" fmla="*/ 554617 h 926154"/>
                    <a:gd name="connsiteX1081" fmla="*/ 746754 w 1197657"/>
                    <a:gd name="connsiteY1081" fmla="*/ 558381 h 926154"/>
                    <a:gd name="connsiteX1082" fmla="*/ 749911 w 1197657"/>
                    <a:gd name="connsiteY1082" fmla="*/ 558782 h 926154"/>
                    <a:gd name="connsiteX1083" fmla="*/ 756979 w 1197657"/>
                    <a:gd name="connsiteY1083" fmla="*/ 557349 h 926154"/>
                    <a:gd name="connsiteX1084" fmla="*/ 759662 w 1197657"/>
                    <a:gd name="connsiteY1084" fmla="*/ 557167 h 926154"/>
                    <a:gd name="connsiteX1085" fmla="*/ 757537 w 1197657"/>
                    <a:gd name="connsiteY1085" fmla="*/ 558782 h 926154"/>
                    <a:gd name="connsiteX1086" fmla="*/ 757537 w 1197657"/>
                    <a:gd name="connsiteY1086" fmla="*/ 560130 h 926154"/>
                    <a:gd name="connsiteX1087" fmla="*/ 760184 w 1197657"/>
                    <a:gd name="connsiteY1087" fmla="*/ 561368 h 926154"/>
                    <a:gd name="connsiteX1088" fmla="*/ 758873 w 1197657"/>
                    <a:gd name="connsiteY1088" fmla="*/ 562679 h 926154"/>
                    <a:gd name="connsiteX1089" fmla="*/ 762139 w 1197657"/>
                    <a:gd name="connsiteY1089" fmla="*/ 564161 h 926154"/>
                    <a:gd name="connsiteX1090" fmla="*/ 761678 w 1197657"/>
                    <a:gd name="connsiteY1090" fmla="*/ 566359 h 926154"/>
                    <a:gd name="connsiteX1091" fmla="*/ 760306 w 1197657"/>
                    <a:gd name="connsiteY1091" fmla="*/ 568970 h 926154"/>
                    <a:gd name="connsiteX1092" fmla="*/ 760816 w 1197657"/>
                    <a:gd name="connsiteY1092" fmla="*/ 571532 h 926154"/>
                    <a:gd name="connsiteX1093" fmla="*/ 762091 w 1197657"/>
                    <a:gd name="connsiteY1093" fmla="*/ 573803 h 926154"/>
                    <a:gd name="connsiteX1094" fmla="*/ 760646 w 1197657"/>
                    <a:gd name="connsiteY1094" fmla="*/ 574239 h 926154"/>
                    <a:gd name="connsiteX1095" fmla="*/ 754854 w 1197657"/>
                    <a:gd name="connsiteY1095" fmla="*/ 572831 h 926154"/>
                    <a:gd name="connsiteX1096" fmla="*/ 753421 w 1197657"/>
                    <a:gd name="connsiteY1096" fmla="*/ 571362 h 926154"/>
                    <a:gd name="connsiteX1097" fmla="*/ 751174 w 1197657"/>
                    <a:gd name="connsiteY1097" fmla="*/ 568217 h 926154"/>
                    <a:gd name="connsiteX1098" fmla="*/ 748770 w 1197657"/>
                    <a:gd name="connsiteY1098" fmla="*/ 566104 h 926154"/>
                    <a:gd name="connsiteX1099" fmla="*/ 744860 w 1197657"/>
                    <a:gd name="connsiteY1099" fmla="*/ 563347 h 926154"/>
                    <a:gd name="connsiteX1100" fmla="*/ 741181 w 1197657"/>
                    <a:gd name="connsiteY1100" fmla="*/ 562522 h 926154"/>
                    <a:gd name="connsiteX1101" fmla="*/ 739566 w 1197657"/>
                    <a:gd name="connsiteY1101" fmla="*/ 566104 h 926154"/>
                    <a:gd name="connsiteX1102" fmla="*/ 740209 w 1197657"/>
                    <a:gd name="connsiteY1102" fmla="*/ 566881 h 926154"/>
                    <a:gd name="connsiteX1103" fmla="*/ 741812 w 1197657"/>
                    <a:gd name="connsiteY1103" fmla="*/ 567537 h 926154"/>
                    <a:gd name="connsiteX1104" fmla="*/ 743767 w 1197657"/>
                    <a:gd name="connsiteY1104" fmla="*/ 567998 h 926154"/>
                    <a:gd name="connsiteX1105" fmla="*/ 745382 w 1197657"/>
                    <a:gd name="connsiteY1105" fmla="*/ 568217 h 926154"/>
                    <a:gd name="connsiteX1106" fmla="*/ 746524 w 1197657"/>
                    <a:gd name="connsiteY1106" fmla="*/ 569030 h 926154"/>
                    <a:gd name="connsiteX1107" fmla="*/ 749911 w 1197657"/>
                    <a:gd name="connsiteY1107" fmla="*/ 574883 h 926154"/>
                    <a:gd name="connsiteX1108" fmla="*/ 746584 w 1197657"/>
                    <a:gd name="connsiteY1108" fmla="*/ 575976 h 926154"/>
                    <a:gd name="connsiteX1109" fmla="*/ 742104 w 1197657"/>
                    <a:gd name="connsiteY1109" fmla="*/ 575187 h 926154"/>
                    <a:gd name="connsiteX1110" fmla="*/ 731078 w 1197657"/>
                    <a:gd name="connsiteY1110" fmla="*/ 570585 h 926154"/>
                    <a:gd name="connsiteX1111" fmla="*/ 729803 w 1197657"/>
                    <a:gd name="connsiteY1111" fmla="*/ 571131 h 926154"/>
                    <a:gd name="connsiteX1112" fmla="*/ 729293 w 1197657"/>
                    <a:gd name="connsiteY1112" fmla="*/ 574179 h 926154"/>
                    <a:gd name="connsiteX1113" fmla="*/ 729183 w 1197657"/>
                    <a:gd name="connsiteY1113" fmla="*/ 579534 h 926154"/>
                    <a:gd name="connsiteX1114" fmla="*/ 729584 w 1197657"/>
                    <a:gd name="connsiteY1114" fmla="*/ 582011 h 926154"/>
                    <a:gd name="connsiteX1115" fmla="*/ 730556 w 1197657"/>
                    <a:gd name="connsiteY1115" fmla="*/ 584306 h 926154"/>
                    <a:gd name="connsiteX1116" fmla="*/ 731296 w 1197657"/>
                    <a:gd name="connsiteY1116" fmla="*/ 583298 h 926154"/>
                    <a:gd name="connsiteX1117" fmla="*/ 732110 w 1197657"/>
                    <a:gd name="connsiteY1117" fmla="*/ 582776 h 926154"/>
                    <a:gd name="connsiteX1118" fmla="*/ 734405 w 1197657"/>
                    <a:gd name="connsiteY1118" fmla="*/ 581708 h 926154"/>
                    <a:gd name="connsiteX1119" fmla="*/ 734344 w 1197657"/>
                    <a:gd name="connsiteY1119" fmla="*/ 582995 h 926154"/>
                    <a:gd name="connsiteX1120" fmla="*/ 734466 w 1197657"/>
                    <a:gd name="connsiteY1120" fmla="*/ 585678 h 926154"/>
                    <a:gd name="connsiteX1121" fmla="*/ 734405 w 1197657"/>
                    <a:gd name="connsiteY1121" fmla="*/ 586965 h 926154"/>
                    <a:gd name="connsiteX1122" fmla="*/ 740610 w 1197657"/>
                    <a:gd name="connsiteY1122" fmla="*/ 584743 h 926154"/>
                    <a:gd name="connsiteX1123" fmla="*/ 744168 w 1197657"/>
                    <a:gd name="connsiteY1123" fmla="*/ 584112 h 926154"/>
                    <a:gd name="connsiteX1124" fmla="*/ 746694 w 1197657"/>
                    <a:gd name="connsiteY1124" fmla="*/ 584938 h 926154"/>
                    <a:gd name="connsiteX1125" fmla="*/ 749681 w 1197657"/>
                    <a:gd name="connsiteY1125" fmla="*/ 586771 h 926154"/>
                    <a:gd name="connsiteX1126" fmla="*/ 752316 w 1197657"/>
                    <a:gd name="connsiteY1126" fmla="*/ 586492 h 926154"/>
                    <a:gd name="connsiteX1127" fmla="*/ 761459 w 1197657"/>
                    <a:gd name="connsiteY1127" fmla="*/ 583104 h 926154"/>
                    <a:gd name="connsiteX1128" fmla="*/ 762370 w 1197657"/>
                    <a:gd name="connsiteY1128" fmla="*/ 583675 h 926154"/>
                    <a:gd name="connsiteX1129" fmla="*/ 762710 w 1197657"/>
                    <a:gd name="connsiteY1129" fmla="*/ 586298 h 926154"/>
                    <a:gd name="connsiteX1130" fmla="*/ 763524 w 1197657"/>
                    <a:gd name="connsiteY1130" fmla="*/ 588459 h 926154"/>
                    <a:gd name="connsiteX1131" fmla="*/ 767021 w 1197657"/>
                    <a:gd name="connsiteY1131" fmla="*/ 590207 h 926154"/>
                    <a:gd name="connsiteX1132" fmla="*/ 767822 w 1197657"/>
                    <a:gd name="connsiteY1132" fmla="*/ 591725 h 926154"/>
                    <a:gd name="connsiteX1133" fmla="*/ 768284 w 1197657"/>
                    <a:gd name="connsiteY1133" fmla="*/ 592102 h 926154"/>
                    <a:gd name="connsiteX1134" fmla="*/ 770530 w 1197657"/>
                    <a:gd name="connsiteY1134" fmla="*/ 599060 h 926154"/>
                    <a:gd name="connsiteX1135" fmla="*/ 771392 w 1197657"/>
                    <a:gd name="connsiteY1135" fmla="*/ 600396 h 926154"/>
                    <a:gd name="connsiteX1136" fmla="*/ 772303 w 1197657"/>
                    <a:gd name="connsiteY1136" fmla="*/ 601452 h 926154"/>
                    <a:gd name="connsiteX1137" fmla="*/ 773517 w 1197657"/>
                    <a:gd name="connsiteY1137" fmla="*/ 602338 h 926154"/>
                    <a:gd name="connsiteX1138" fmla="*/ 775399 w 1197657"/>
                    <a:gd name="connsiteY1138" fmla="*/ 603176 h 926154"/>
                    <a:gd name="connsiteX1139" fmla="*/ 777537 w 1197657"/>
                    <a:gd name="connsiteY1139" fmla="*/ 603346 h 926154"/>
                    <a:gd name="connsiteX1140" fmla="*/ 779662 w 1197657"/>
                    <a:gd name="connsiteY1140" fmla="*/ 603067 h 926154"/>
                    <a:gd name="connsiteX1141" fmla="*/ 781264 w 1197657"/>
                    <a:gd name="connsiteY1141" fmla="*/ 603346 h 926154"/>
                    <a:gd name="connsiteX1142" fmla="*/ 782527 w 1197657"/>
                    <a:gd name="connsiteY1142" fmla="*/ 607086 h 926154"/>
                    <a:gd name="connsiteX1143" fmla="*/ 783851 w 1197657"/>
                    <a:gd name="connsiteY1143" fmla="*/ 608422 h 926154"/>
                    <a:gd name="connsiteX1144" fmla="*/ 785162 w 1197657"/>
                    <a:gd name="connsiteY1144" fmla="*/ 609527 h 926154"/>
                    <a:gd name="connsiteX1145" fmla="*/ 785745 w 1197657"/>
                    <a:gd name="connsiteY1145" fmla="*/ 610608 h 926154"/>
                    <a:gd name="connsiteX1146" fmla="*/ 785903 w 1197657"/>
                    <a:gd name="connsiteY1146" fmla="*/ 612939 h 926154"/>
                    <a:gd name="connsiteX1147" fmla="*/ 786328 w 1197657"/>
                    <a:gd name="connsiteY1147" fmla="*/ 614542 h 926154"/>
                    <a:gd name="connsiteX1148" fmla="*/ 786377 w 1197657"/>
                    <a:gd name="connsiteY1148" fmla="*/ 616036 h 926154"/>
                    <a:gd name="connsiteX1149" fmla="*/ 785745 w 1197657"/>
                    <a:gd name="connsiteY1149" fmla="*/ 618051 h 926154"/>
                    <a:gd name="connsiteX1150" fmla="*/ 785053 w 1197657"/>
                    <a:gd name="connsiteY1150" fmla="*/ 618901 h 926154"/>
                    <a:gd name="connsiteX1151" fmla="*/ 782649 w 1197657"/>
                    <a:gd name="connsiteY1151" fmla="*/ 621087 h 926154"/>
                    <a:gd name="connsiteX1152" fmla="*/ 781896 w 1197657"/>
                    <a:gd name="connsiteY1152" fmla="*/ 622095 h 926154"/>
                    <a:gd name="connsiteX1153" fmla="*/ 775752 w 1197657"/>
                    <a:gd name="connsiteY1153" fmla="*/ 644608 h 926154"/>
                    <a:gd name="connsiteX1154" fmla="*/ 771562 w 1197657"/>
                    <a:gd name="connsiteY1154" fmla="*/ 651699 h 926154"/>
                    <a:gd name="connsiteX1155" fmla="*/ 761569 w 1197657"/>
                    <a:gd name="connsiteY1155" fmla="*/ 662045 h 926154"/>
                    <a:gd name="connsiteX1156" fmla="*/ 760184 w 1197657"/>
                    <a:gd name="connsiteY1156" fmla="*/ 665724 h 926154"/>
                    <a:gd name="connsiteX1157" fmla="*/ 758752 w 1197657"/>
                    <a:gd name="connsiteY1157" fmla="*/ 668311 h 926154"/>
                    <a:gd name="connsiteX1158" fmla="*/ 752085 w 1197657"/>
                    <a:gd name="connsiteY1158" fmla="*/ 675658 h 926154"/>
                    <a:gd name="connsiteX1159" fmla="*/ 749911 w 1197657"/>
                    <a:gd name="connsiteY1159" fmla="*/ 677139 h 926154"/>
                    <a:gd name="connsiteX1160" fmla="*/ 750944 w 1197657"/>
                    <a:gd name="connsiteY1160" fmla="*/ 679155 h 926154"/>
                    <a:gd name="connsiteX1161" fmla="*/ 751235 w 1197657"/>
                    <a:gd name="connsiteY1161" fmla="*/ 680879 h 926154"/>
                    <a:gd name="connsiteX1162" fmla="*/ 750543 w 1197657"/>
                    <a:gd name="connsiteY1162" fmla="*/ 682093 h 926154"/>
                    <a:gd name="connsiteX1163" fmla="*/ 748466 w 1197657"/>
                    <a:gd name="connsiteY1163" fmla="*/ 682518 h 926154"/>
                    <a:gd name="connsiteX1164" fmla="*/ 749499 w 1197657"/>
                    <a:gd name="connsiteY1164" fmla="*/ 685129 h 926154"/>
                    <a:gd name="connsiteX1165" fmla="*/ 748940 w 1197657"/>
                    <a:gd name="connsiteY1165" fmla="*/ 686974 h 926154"/>
                    <a:gd name="connsiteX1166" fmla="*/ 747847 w 1197657"/>
                    <a:gd name="connsiteY1166" fmla="*/ 688310 h 926154"/>
                    <a:gd name="connsiteX1167" fmla="*/ 747325 w 1197657"/>
                    <a:gd name="connsiteY1167" fmla="*/ 689342 h 926154"/>
                    <a:gd name="connsiteX1168" fmla="*/ 747847 w 1197657"/>
                    <a:gd name="connsiteY1168" fmla="*/ 691176 h 926154"/>
                    <a:gd name="connsiteX1169" fmla="*/ 749911 w 1197657"/>
                    <a:gd name="connsiteY1169" fmla="*/ 695378 h 926154"/>
                    <a:gd name="connsiteX1170" fmla="*/ 749960 w 1197657"/>
                    <a:gd name="connsiteY1170" fmla="*/ 698729 h 926154"/>
                    <a:gd name="connsiteX1171" fmla="*/ 747325 w 1197657"/>
                    <a:gd name="connsiteY1171" fmla="*/ 701376 h 926154"/>
                    <a:gd name="connsiteX1172" fmla="*/ 746184 w 1197657"/>
                    <a:gd name="connsiteY1172" fmla="*/ 701923 h 926154"/>
                    <a:gd name="connsiteX1173" fmla="*/ 744459 w 1197657"/>
                    <a:gd name="connsiteY1173" fmla="*/ 702530 h 926154"/>
                    <a:gd name="connsiteX1174" fmla="*/ 742796 w 1197657"/>
                    <a:gd name="connsiteY1174" fmla="*/ 703392 h 926154"/>
                    <a:gd name="connsiteX1175" fmla="*/ 742104 w 1197657"/>
                    <a:gd name="connsiteY1175" fmla="*/ 704667 h 926154"/>
                    <a:gd name="connsiteX1176" fmla="*/ 740610 w 1197657"/>
                    <a:gd name="connsiteY1176" fmla="*/ 705906 h 926154"/>
                    <a:gd name="connsiteX1177" fmla="*/ 728552 w 1197657"/>
                    <a:gd name="connsiteY1177" fmla="*/ 712208 h 926154"/>
                    <a:gd name="connsiteX1178" fmla="*/ 725116 w 1197657"/>
                    <a:gd name="connsiteY1178" fmla="*/ 712997 h 926154"/>
                    <a:gd name="connsiteX1179" fmla="*/ 716494 w 1197657"/>
                    <a:gd name="connsiteY1179" fmla="*/ 713434 h 926154"/>
                    <a:gd name="connsiteX1180" fmla="*/ 693920 w 1197657"/>
                    <a:gd name="connsiteY1180" fmla="*/ 726755 h 926154"/>
                    <a:gd name="connsiteX1181" fmla="*/ 690654 w 1197657"/>
                    <a:gd name="connsiteY1181" fmla="*/ 729596 h 926154"/>
                    <a:gd name="connsiteX1182" fmla="*/ 685821 w 1197657"/>
                    <a:gd name="connsiteY1182" fmla="*/ 732571 h 926154"/>
                    <a:gd name="connsiteX1183" fmla="*/ 682202 w 1197657"/>
                    <a:gd name="connsiteY1183" fmla="*/ 733494 h 926154"/>
                    <a:gd name="connsiteX1184" fmla="*/ 679677 w 1197657"/>
                    <a:gd name="connsiteY1184" fmla="*/ 732887 h 926154"/>
                    <a:gd name="connsiteX1185" fmla="*/ 677333 w 1197657"/>
                    <a:gd name="connsiteY1185" fmla="*/ 732632 h 926154"/>
                    <a:gd name="connsiteX1186" fmla="*/ 670897 w 1197657"/>
                    <a:gd name="connsiteY1186" fmla="*/ 736663 h 926154"/>
                    <a:gd name="connsiteX1187" fmla="*/ 662810 w 1197657"/>
                    <a:gd name="connsiteY1187" fmla="*/ 739517 h 926154"/>
                    <a:gd name="connsiteX1188" fmla="*/ 652185 w 1197657"/>
                    <a:gd name="connsiteY1188" fmla="*/ 747070 h 926154"/>
                    <a:gd name="connsiteX1189" fmla="*/ 645798 w 1197657"/>
                    <a:gd name="connsiteY1189" fmla="*/ 748454 h 926154"/>
                    <a:gd name="connsiteX1190" fmla="*/ 647291 w 1197657"/>
                    <a:gd name="connsiteY1190" fmla="*/ 745552 h 926154"/>
                    <a:gd name="connsiteX1191" fmla="*/ 648214 w 1197657"/>
                    <a:gd name="connsiteY1191" fmla="*/ 744204 h 926154"/>
                    <a:gd name="connsiteX1192" fmla="*/ 649538 w 1197657"/>
                    <a:gd name="connsiteY1192" fmla="*/ 743002 h 926154"/>
                    <a:gd name="connsiteX1193" fmla="*/ 646089 w 1197657"/>
                    <a:gd name="connsiteY1193" fmla="*/ 744083 h 926154"/>
                    <a:gd name="connsiteX1194" fmla="*/ 643394 w 1197657"/>
                    <a:gd name="connsiteY1194" fmla="*/ 745892 h 926154"/>
                    <a:gd name="connsiteX1195" fmla="*/ 635294 w 1197657"/>
                    <a:gd name="connsiteY1195" fmla="*/ 752777 h 926154"/>
                    <a:gd name="connsiteX1196" fmla="*/ 633582 w 1197657"/>
                    <a:gd name="connsiteY1196" fmla="*/ 755121 h 926154"/>
                    <a:gd name="connsiteX1197" fmla="*/ 632890 w 1197657"/>
                    <a:gd name="connsiteY1197" fmla="*/ 758412 h 926154"/>
                    <a:gd name="connsiteX1198" fmla="*/ 629441 w 1197657"/>
                    <a:gd name="connsiteY1198" fmla="*/ 761350 h 926154"/>
                    <a:gd name="connsiteX1199" fmla="*/ 613643 w 1197657"/>
                    <a:gd name="connsiteY1199" fmla="*/ 766402 h 926154"/>
                    <a:gd name="connsiteX1200" fmla="*/ 602508 w 1197657"/>
                    <a:gd name="connsiteY1200" fmla="*/ 768417 h 926154"/>
                    <a:gd name="connsiteX1201" fmla="*/ 569152 w 1197657"/>
                    <a:gd name="connsiteY1201" fmla="*/ 784786 h 926154"/>
                    <a:gd name="connsiteX1202" fmla="*/ 564671 w 1197657"/>
                    <a:gd name="connsiteY1202" fmla="*/ 784531 h 926154"/>
                    <a:gd name="connsiteX1203" fmla="*/ 563408 w 1197657"/>
                    <a:gd name="connsiteY1203" fmla="*/ 785988 h 926154"/>
                    <a:gd name="connsiteX1204" fmla="*/ 560652 w 1197657"/>
                    <a:gd name="connsiteY1204" fmla="*/ 785162 h 926154"/>
                    <a:gd name="connsiteX1205" fmla="*/ 558344 w 1197657"/>
                    <a:gd name="connsiteY1205" fmla="*/ 786571 h 926154"/>
                    <a:gd name="connsiteX1206" fmla="*/ 556341 w 1197657"/>
                    <a:gd name="connsiteY1206" fmla="*/ 788696 h 926154"/>
                    <a:gd name="connsiteX1207" fmla="*/ 554447 w 1197657"/>
                    <a:gd name="connsiteY1207" fmla="*/ 790007 h 926154"/>
                    <a:gd name="connsiteX1208" fmla="*/ 551059 w 1197657"/>
                    <a:gd name="connsiteY1208" fmla="*/ 789704 h 926154"/>
                    <a:gd name="connsiteX1209" fmla="*/ 547270 w 1197657"/>
                    <a:gd name="connsiteY1209" fmla="*/ 788927 h 926154"/>
                    <a:gd name="connsiteX1210" fmla="*/ 544162 w 1197657"/>
                    <a:gd name="connsiteY1210" fmla="*/ 789509 h 926154"/>
                    <a:gd name="connsiteX1211" fmla="*/ 543882 w 1197657"/>
                    <a:gd name="connsiteY1211" fmla="*/ 790481 h 926154"/>
                    <a:gd name="connsiteX1212" fmla="*/ 542559 w 1197657"/>
                    <a:gd name="connsiteY1212" fmla="*/ 790056 h 926154"/>
                    <a:gd name="connsiteX1213" fmla="*/ 541065 w 1197657"/>
                    <a:gd name="connsiteY1213" fmla="*/ 789898 h 926154"/>
                    <a:gd name="connsiteX1214" fmla="*/ 539353 w 1197657"/>
                    <a:gd name="connsiteY1214" fmla="*/ 790189 h 926154"/>
                    <a:gd name="connsiteX1215" fmla="*/ 538260 w 1197657"/>
                    <a:gd name="connsiteY1215" fmla="*/ 791197 h 926154"/>
                    <a:gd name="connsiteX1216" fmla="*/ 537398 w 1197657"/>
                    <a:gd name="connsiteY1216" fmla="*/ 792812 h 926154"/>
                    <a:gd name="connsiteX1217" fmla="*/ 537398 w 1197657"/>
                    <a:gd name="connsiteY1217" fmla="*/ 794561 h 926154"/>
                    <a:gd name="connsiteX1218" fmla="*/ 537677 w 1197657"/>
                    <a:gd name="connsiteY1218" fmla="*/ 795763 h 926154"/>
                    <a:gd name="connsiteX1219" fmla="*/ 512760 w 1197657"/>
                    <a:gd name="connsiteY1219" fmla="*/ 797293 h 926154"/>
                    <a:gd name="connsiteX1220" fmla="*/ 508911 w 1197657"/>
                    <a:gd name="connsiteY1220" fmla="*/ 797050 h 926154"/>
                    <a:gd name="connsiteX1221" fmla="*/ 505535 w 1197657"/>
                    <a:gd name="connsiteY1221" fmla="*/ 795873 h 926154"/>
                    <a:gd name="connsiteX1222" fmla="*/ 502426 w 1197657"/>
                    <a:gd name="connsiteY1222" fmla="*/ 793298 h 926154"/>
                    <a:gd name="connsiteX1223" fmla="*/ 500471 w 1197657"/>
                    <a:gd name="connsiteY1223" fmla="*/ 792290 h 926154"/>
                    <a:gd name="connsiteX1224" fmla="*/ 498346 w 1197657"/>
                    <a:gd name="connsiteY1224" fmla="*/ 792837 h 926154"/>
                    <a:gd name="connsiteX1225" fmla="*/ 496160 w 1197657"/>
                    <a:gd name="connsiteY1225" fmla="*/ 793808 h 926154"/>
                    <a:gd name="connsiteX1226" fmla="*/ 494035 w 1197657"/>
                    <a:gd name="connsiteY1226" fmla="*/ 794014 h 926154"/>
                    <a:gd name="connsiteX1227" fmla="*/ 492263 w 1197657"/>
                    <a:gd name="connsiteY1227" fmla="*/ 793092 h 926154"/>
                    <a:gd name="connsiteX1228" fmla="*/ 486240 w 1197657"/>
                    <a:gd name="connsiteY1228" fmla="*/ 788563 h 926154"/>
                    <a:gd name="connsiteX1229" fmla="*/ 456781 w 1197657"/>
                    <a:gd name="connsiteY1229" fmla="*/ 776529 h 926154"/>
                    <a:gd name="connsiteX1230" fmla="*/ 445974 w 1197657"/>
                    <a:gd name="connsiteY1230" fmla="*/ 769474 h 926154"/>
                    <a:gd name="connsiteX1231" fmla="*/ 442015 w 1197657"/>
                    <a:gd name="connsiteY1231" fmla="*/ 768539 h 926154"/>
                    <a:gd name="connsiteX1232" fmla="*/ 439829 w 1197657"/>
                    <a:gd name="connsiteY1232" fmla="*/ 767142 h 926154"/>
                    <a:gd name="connsiteX1233" fmla="*/ 433406 w 1197657"/>
                    <a:gd name="connsiteY1233" fmla="*/ 760366 h 926154"/>
                    <a:gd name="connsiteX1234" fmla="*/ 429957 w 1197657"/>
                    <a:gd name="connsiteY1234" fmla="*/ 757817 h 926154"/>
                    <a:gd name="connsiteX1235" fmla="*/ 418361 w 1197657"/>
                    <a:gd name="connsiteY1235" fmla="*/ 753190 h 926154"/>
                    <a:gd name="connsiteX1236" fmla="*/ 411476 w 1197657"/>
                    <a:gd name="connsiteY1236" fmla="*/ 747009 h 926154"/>
                    <a:gd name="connsiteX1237" fmla="*/ 404639 w 1197657"/>
                    <a:gd name="connsiteY1237" fmla="*/ 742747 h 926154"/>
                    <a:gd name="connsiteX1238" fmla="*/ 383729 w 1197657"/>
                    <a:gd name="connsiteY1238" fmla="*/ 723525 h 926154"/>
                    <a:gd name="connsiteX1239" fmla="*/ 365988 w 1197657"/>
                    <a:gd name="connsiteY1239" fmla="*/ 709645 h 926154"/>
                    <a:gd name="connsiteX1240" fmla="*/ 349789 w 1197657"/>
                    <a:gd name="connsiteY1240" fmla="*/ 689075 h 926154"/>
                    <a:gd name="connsiteX1241" fmla="*/ 348818 w 1197657"/>
                    <a:gd name="connsiteY1241" fmla="*/ 687266 h 926154"/>
                    <a:gd name="connsiteX1242" fmla="*/ 347324 w 1197657"/>
                    <a:gd name="connsiteY1242" fmla="*/ 685311 h 926154"/>
                    <a:gd name="connsiteX1243" fmla="*/ 338606 w 1197657"/>
                    <a:gd name="connsiteY1243" fmla="*/ 677127 h 926154"/>
                    <a:gd name="connsiteX1244" fmla="*/ 326074 w 1197657"/>
                    <a:gd name="connsiteY1244" fmla="*/ 662519 h 926154"/>
                    <a:gd name="connsiteX1245" fmla="*/ 320452 w 1197657"/>
                    <a:gd name="connsiteY1245" fmla="*/ 653873 h 926154"/>
                    <a:gd name="connsiteX1246" fmla="*/ 319311 w 1197657"/>
                    <a:gd name="connsiteY1246" fmla="*/ 647547 h 926154"/>
                    <a:gd name="connsiteX1247" fmla="*/ 315571 w 1197657"/>
                    <a:gd name="connsiteY1247" fmla="*/ 646854 h 926154"/>
                    <a:gd name="connsiteX1248" fmla="*/ 312304 w 1197657"/>
                    <a:gd name="connsiteY1248" fmla="*/ 645082 h 926154"/>
                    <a:gd name="connsiteX1249" fmla="*/ 309487 w 1197657"/>
                    <a:gd name="connsiteY1249" fmla="*/ 642689 h 926154"/>
                    <a:gd name="connsiteX1250" fmla="*/ 285711 w 1197657"/>
                    <a:gd name="connsiteY1250" fmla="*/ 618039 h 926154"/>
                    <a:gd name="connsiteX1251" fmla="*/ 274175 w 1197657"/>
                    <a:gd name="connsiteY1251" fmla="*/ 611336 h 926154"/>
                    <a:gd name="connsiteX1252" fmla="*/ 271310 w 1197657"/>
                    <a:gd name="connsiteY1252" fmla="*/ 608386 h 926154"/>
                    <a:gd name="connsiteX1253" fmla="*/ 265105 w 1197657"/>
                    <a:gd name="connsiteY1253" fmla="*/ 600602 h 926154"/>
                    <a:gd name="connsiteX1254" fmla="*/ 261304 w 1197657"/>
                    <a:gd name="connsiteY1254" fmla="*/ 597554 h 926154"/>
                    <a:gd name="connsiteX1255" fmla="*/ 257406 w 1197657"/>
                    <a:gd name="connsiteY1255" fmla="*/ 591191 h 926154"/>
                    <a:gd name="connsiteX1256" fmla="*/ 251322 w 1197657"/>
                    <a:gd name="connsiteY1256" fmla="*/ 588520 h 926154"/>
                    <a:gd name="connsiteX1257" fmla="*/ 247825 w 1197657"/>
                    <a:gd name="connsiteY1257" fmla="*/ 585593 h 926154"/>
                    <a:gd name="connsiteX1258" fmla="*/ 242239 w 1197657"/>
                    <a:gd name="connsiteY1258" fmla="*/ 578902 h 926154"/>
                    <a:gd name="connsiteX1259" fmla="*/ 241098 w 1197657"/>
                    <a:gd name="connsiteY1259" fmla="*/ 575575 h 926154"/>
                    <a:gd name="connsiteX1260" fmla="*/ 241729 w 1197657"/>
                    <a:gd name="connsiteY1260" fmla="*/ 569832 h 926154"/>
                    <a:gd name="connsiteX1261" fmla="*/ 240940 w 1197657"/>
                    <a:gd name="connsiteY1261" fmla="*/ 566808 h 926154"/>
                    <a:gd name="connsiteX1262" fmla="*/ 236617 w 1197657"/>
                    <a:gd name="connsiteY1262" fmla="*/ 570852 h 926154"/>
                    <a:gd name="connsiteX1263" fmla="*/ 234334 w 1197657"/>
                    <a:gd name="connsiteY1263" fmla="*/ 571435 h 926154"/>
                    <a:gd name="connsiteX1264" fmla="*/ 230704 w 1197657"/>
                    <a:gd name="connsiteY1264" fmla="*/ 569601 h 926154"/>
                    <a:gd name="connsiteX1265" fmla="*/ 213364 w 1197657"/>
                    <a:gd name="connsiteY1265" fmla="*/ 553184 h 926154"/>
                    <a:gd name="connsiteX1266" fmla="*/ 207450 w 1197657"/>
                    <a:gd name="connsiteY1266" fmla="*/ 548946 h 926154"/>
                    <a:gd name="connsiteX1267" fmla="*/ 204864 w 1197657"/>
                    <a:gd name="connsiteY1267" fmla="*/ 546542 h 926154"/>
                    <a:gd name="connsiteX1268" fmla="*/ 195914 w 1197657"/>
                    <a:gd name="connsiteY1268" fmla="*/ 534459 h 926154"/>
                    <a:gd name="connsiteX1269" fmla="*/ 189988 w 1197657"/>
                    <a:gd name="connsiteY1269" fmla="*/ 530319 h 926154"/>
                    <a:gd name="connsiteX1270" fmla="*/ 186953 w 1197657"/>
                    <a:gd name="connsiteY1270" fmla="*/ 527538 h 926154"/>
                    <a:gd name="connsiteX1271" fmla="*/ 184876 w 1197657"/>
                    <a:gd name="connsiteY1271" fmla="*/ 522948 h 926154"/>
                    <a:gd name="connsiteX1272" fmla="*/ 176680 w 1197657"/>
                    <a:gd name="connsiteY1272" fmla="*/ 511461 h 926154"/>
                    <a:gd name="connsiteX1273" fmla="*/ 170001 w 1197657"/>
                    <a:gd name="connsiteY1273" fmla="*/ 505996 h 926154"/>
                    <a:gd name="connsiteX1274" fmla="*/ 166504 w 1197657"/>
                    <a:gd name="connsiteY1274" fmla="*/ 502414 h 926154"/>
                    <a:gd name="connsiteX1275" fmla="*/ 163978 w 1197657"/>
                    <a:gd name="connsiteY1275" fmla="*/ 496173 h 926154"/>
                    <a:gd name="connsiteX1276" fmla="*/ 158866 w 1197657"/>
                    <a:gd name="connsiteY1276" fmla="*/ 488195 h 926154"/>
                    <a:gd name="connsiteX1277" fmla="*/ 157251 w 1197657"/>
                    <a:gd name="connsiteY1277" fmla="*/ 484430 h 926154"/>
                    <a:gd name="connsiteX1278" fmla="*/ 157142 w 1197657"/>
                    <a:gd name="connsiteY1278" fmla="*/ 479865 h 926154"/>
                    <a:gd name="connsiteX1279" fmla="*/ 158514 w 1197657"/>
                    <a:gd name="connsiteY1279" fmla="*/ 476586 h 926154"/>
                    <a:gd name="connsiteX1280" fmla="*/ 160238 w 1197657"/>
                    <a:gd name="connsiteY1280" fmla="*/ 473720 h 926154"/>
                    <a:gd name="connsiteX1281" fmla="*/ 161040 w 1197657"/>
                    <a:gd name="connsiteY1281" fmla="*/ 470308 h 926154"/>
                    <a:gd name="connsiteX1282" fmla="*/ 161550 w 1197657"/>
                    <a:gd name="connsiteY1282" fmla="*/ 466289 h 926154"/>
                    <a:gd name="connsiteX1283" fmla="*/ 162825 w 1197657"/>
                    <a:gd name="connsiteY1283" fmla="*/ 462840 h 926154"/>
                    <a:gd name="connsiteX1284" fmla="*/ 164488 w 1197657"/>
                    <a:gd name="connsiteY1284" fmla="*/ 459938 h 926154"/>
                    <a:gd name="connsiteX1285" fmla="*/ 166261 w 1197657"/>
                    <a:gd name="connsiteY1285" fmla="*/ 457534 h 926154"/>
                    <a:gd name="connsiteX1286" fmla="*/ 169030 w 1197657"/>
                    <a:gd name="connsiteY1286" fmla="*/ 455263 h 926154"/>
                    <a:gd name="connsiteX1287" fmla="*/ 176546 w 1197657"/>
                    <a:gd name="connsiteY1287" fmla="*/ 451159 h 926154"/>
                    <a:gd name="connsiteX1288" fmla="*/ 181428 w 1197657"/>
                    <a:gd name="connsiteY1288" fmla="*/ 447625 h 926154"/>
                    <a:gd name="connsiteX1289" fmla="*/ 182861 w 1197657"/>
                    <a:gd name="connsiteY1289" fmla="*/ 447880 h 926154"/>
                    <a:gd name="connsiteX1290" fmla="*/ 183613 w 1197657"/>
                    <a:gd name="connsiteY1290" fmla="*/ 449398 h 926154"/>
                    <a:gd name="connsiteX1291" fmla="*/ 183031 w 1197657"/>
                    <a:gd name="connsiteY1291" fmla="*/ 452021 h 926154"/>
                    <a:gd name="connsiteX1292" fmla="*/ 181598 w 1197657"/>
                    <a:gd name="connsiteY1292" fmla="*/ 454024 h 926154"/>
                    <a:gd name="connsiteX1293" fmla="*/ 178100 w 1197657"/>
                    <a:gd name="connsiteY1293" fmla="*/ 455518 h 926154"/>
                    <a:gd name="connsiteX1294" fmla="*/ 176668 w 1197657"/>
                    <a:gd name="connsiteY1294" fmla="*/ 457534 h 926154"/>
                    <a:gd name="connsiteX1295" fmla="*/ 179290 w 1197657"/>
                    <a:gd name="connsiteY1295" fmla="*/ 462233 h 926154"/>
                    <a:gd name="connsiteX1296" fmla="*/ 181088 w 1197657"/>
                    <a:gd name="connsiteY1296" fmla="*/ 463872 h 926154"/>
                    <a:gd name="connsiteX1297" fmla="*/ 184245 w 1197657"/>
                    <a:gd name="connsiteY1297" fmla="*/ 464395 h 926154"/>
                    <a:gd name="connsiteX1298" fmla="*/ 185896 w 1197657"/>
                    <a:gd name="connsiteY1298" fmla="*/ 463994 h 926154"/>
                    <a:gd name="connsiteX1299" fmla="*/ 188944 w 1197657"/>
                    <a:gd name="connsiteY1299" fmla="*/ 462209 h 926154"/>
                    <a:gd name="connsiteX1300" fmla="*/ 190608 w 1197657"/>
                    <a:gd name="connsiteY1300" fmla="*/ 461577 h 926154"/>
                    <a:gd name="connsiteX1301" fmla="*/ 192393 w 1197657"/>
                    <a:gd name="connsiteY1301" fmla="*/ 461687 h 926154"/>
                    <a:gd name="connsiteX1302" fmla="*/ 193838 w 1197657"/>
                    <a:gd name="connsiteY1302" fmla="*/ 462355 h 926154"/>
                    <a:gd name="connsiteX1303" fmla="*/ 195210 w 1197657"/>
                    <a:gd name="connsiteY1303" fmla="*/ 462804 h 926154"/>
                    <a:gd name="connsiteX1304" fmla="*/ 196643 w 1197657"/>
                    <a:gd name="connsiteY1304" fmla="*/ 462233 h 926154"/>
                    <a:gd name="connsiteX1305" fmla="*/ 199290 w 1197657"/>
                    <a:gd name="connsiteY1305" fmla="*/ 459683 h 926154"/>
                    <a:gd name="connsiteX1306" fmla="*/ 201111 w 1197657"/>
                    <a:gd name="connsiteY1306" fmla="*/ 458311 h 926154"/>
                    <a:gd name="connsiteX1307" fmla="*/ 202908 w 1197657"/>
                    <a:gd name="connsiteY1307" fmla="*/ 458566 h 926154"/>
                    <a:gd name="connsiteX1308" fmla="*/ 205531 w 1197657"/>
                    <a:gd name="connsiteY1308" fmla="*/ 460824 h 926154"/>
                    <a:gd name="connsiteX1309" fmla="*/ 206175 w 1197657"/>
                    <a:gd name="connsiteY1309" fmla="*/ 464018 h 926154"/>
                    <a:gd name="connsiteX1310" fmla="*/ 201755 w 1197657"/>
                    <a:gd name="connsiteY1310" fmla="*/ 470393 h 926154"/>
                    <a:gd name="connsiteX1311" fmla="*/ 202386 w 1197657"/>
                    <a:gd name="connsiteY1311" fmla="*/ 473696 h 926154"/>
                    <a:gd name="connsiteX1312" fmla="*/ 199460 w 1197657"/>
                    <a:gd name="connsiteY1312" fmla="*/ 477970 h 926154"/>
                    <a:gd name="connsiteX1313" fmla="*/ 200201 w 1197657"/>
                    <a:gd name="connsiteY1313" fmla="*/ 481844 h 926154"/>
                    <a:gd name="connsiteX1314" fmla="*/ 203358 w 1197657"/>
                    <a:gd name="connsiteY1314" fmla="*/ 484977 h 926154"/>
                    <a:gd name="connsiteX1315" fmla="*/ 207389 w 1197657"/>
                    <a:gd name="connsiteY1315" fmla="*/ 487126 h 926154"/>
                    <a:gd name="connsiteX1316" fmla="*/ 207389 w 1197657"/>
                    <a:gd name="connsiteY1316" fmla="*/ 488620 h 926154"/>
                    <a:gd name="connsiteX1317" fmla="*/ 221329 w 1197657"/>
                    <a:gd name="connsiteY1317" fmla="*/ 486495 h 926154"/>
                    <a:gd name="connsiteX1318" fmla="*/ 230582 w 1197657"/>
                    <a:gd name="connsiteY1318" fmla="*/ 482245 h 926154"/>
                    <a:gd name="connsiteX1319" fmla="*/ 232586 w 1197657"/>
                    <a:gd name="connsiteY1319" fmla="*/ 478578 h 926154"/>
                    <a:gd name="connsiteX1320" fmla="*/ 235112 w 1197657"/>
                    <a:gd name="connsiteY1320" fmla="*/ 477715 h 926154"/>
                    <a:gd name="connsiteX1321" fmla="*/ 249295 w 1197657"/>
                    <a:gd name="connsiteY1321" fmla="*/ 477485 h 926154"/>
                    <a:gd name="connsiteX1322" fmla="*/ 255560 w 1197657"/>
                    <a:gd name="connsiteY1322" fmla="*/ 476015 h 926154"/>
                    <a:gd name="connsiteX1323" fmla="*/ 257576 w 1197657"/>
                    <a:gd name="connsiteY1323" fmla="*/ 475153 h 926154"/>
                    <a:gd name="connsiteX1324" fmla="*/ 258657 w 1197657"/>
                    <a:gd name="connsiteY1324" fmla="*/ 474097 h 926154"/>
                    <a:gd name="connsiteX1325" fmla="*/ 261413 w 1197657"/>
                    <a:gd name="connsiteY1325" fmla="*/ 470308 h 926154"/>
                    <a:gd name="connsiteX1326" fmla="*/ 261875 w 1197657"/>
                    <a:gd name="connsiteY1326" fmla="*/ 469240 h 926154"/>
                    <a:gd name="connsiteX1327" fmla="*/ 263028 w 1197657"/>
                    <a:gd name="connsiteY1327" fmla="*/ 468839 h 926154"/>
                    <a:gd name="connsiteX1328" fmla="*/ 264230 w 1197657"/>
                    <a:gd name="connsiteY1328" fmla="*/ 468669 h 926154"/>
                    <a:gd name="connsiteX1329" fmla="*/ 265153 w 1197657"/>
                    <a:gd name="connsiteY1329" fmla="*/ 468183 h 926154"/>
                    <a:gd name="connsiteX1330" fmla="*/ 266185 w 1197657"/>
                    <a:gd name="connsiteY1330" fmla="*/ 465342 h 926154"/>
                    <a:gd name="connsiteX1331" fmla="*/ 265663 w 1197657"/>
                    <a:gd name="connsiteY1331" fmla="*/ 462986 h 926154"/>
                    <a:gd name="connsiteX1332" fmla="*/ 264570 w 1197657"/>
                    <a:gd name="connsiteY1332" fmla="*/ 460594 h 926154"/>
                    <a:gd name="connsiteX1333" fmla="*/ 263939 w 1197657"/>
                    <a:gd name="connsiteY1333" fmla="*/ 457534 h 926154"/>
                    <a:gd name="connsiteX1334" fmla="*/ 264400 w 1197657"/>
                    <a:gd name="connsiteY1334" fmla="*/ 454292 h 926154"/>
                    <a:gd name="connsiteX1335" fmla="*/ 265542 w 1197657"/>
                    <a:gd name="connsiteY1335" fmla="*/ 454109 h 926154"/>
                    <a:gd name="connsiteX1336" fmla="*/ 267157 w 1197657"/>
                    <a:gd name="connsiteY1336" fmla="*/ 454656 h 926154"/>
                    <a:gd name="connsiteX1337" fmla="*/ 269112 w 1197657"/>
                    <a:gd name="connsiteY1337" fmla="*/ 453478 h 926154"/>
                    <a:gd name="connsiteX1338" fmla="*/ 270375 w 1197657"/>
                    <a:gd name="connsiteY1338" fmla="*/ 453478 h 926154"/>
                    <a:gd name="connsiteX1339" fmla="*/ 272609 w 1197657"/>
                    <a:gd name="connsiteY1339" fmla="*/ 461492 h 926154"/>
                    <a:gd name="connsiteX1340" fmla="*/ 272949 w 1197657"/>
                    <a:gd name="connsiteY1340" fmla="*/ 465427 h 926154"/>
                    <a:gd name="connsiteX1341" fmla="*/ 271638 w 1197657"/>
                    <a:gd name="connsiteY1341" fmla="*/ 468183 h 926154"/>
                    <a:gd name="connsiteX1342" fmla="*/ 274333 w 1197657"/>
                    <a:gd name="connsiteY1342" fmla="*/ 469555 h 926154"/>
                    <a:gd name="connsiteX1343" fmla="*/ 280368 w 1197657"/>
                    <a:gd name="connsiteY1343" fmla="*/ 470879 h 926154"/>
                    <a:gd name="connsiteX1344" fmla="*/ 283173 w 1197657"/>
                    <a:gd name="connsiteY1344" fmla="*/ 472457 h 926154"/>
                    <a:gd name="connsiteX1345" fmla="*/ 283404 w 1197657"/>
                    <a:gd name="connsiteY1345" fmla="*/ 470648 h 926154"/>
                    <a:gd name="connsiteX1346" fmla="*/ 283865 w 1197657"/>
                    <a:gd name="connsiteY1346" fmla="*/ 469470 h 926154"/>
                    <a:gd name="connsiteX1347" fmla="*/ 285699 w 1197657"/>
                    <a:gd name="connsiteY1347" fmla="*/ 466969 h 926154"/>
                    <a:gd name="connsiteX1348" fmla="*/ 287715 w 1197657"/>
                    <a:gd name="connsiteY1348" fmla="*/ 468499 h 926154"/>
                    <a:gd name="connsiteX1349" fmla="*/ 289026 w 1197657"/>
                    <a:gd name="connsiteY1349" fmla="*/ 467612 h 926154"/>
                    <a:gd name="connsiteX1350" fmla="*/ 289961 w 1197657"/>
                    <a:gd name="connsiteY1350" fmla="*/ 465767 h 926154"/>
                    <a:gd name="connsiteX1351" fmla="*/ 290993 w 1197657"/>
                    <a:gd name="connsiteY1351" fmla="*/ 464395 h 926154"/>
                    <a:gd name="connsiteX1352" fmla="*/ 291673 w 1197657"/>
                    <a:gd name="connsiteY1352" fmla="*/ 463727 h 926154"/>
                    <a:gd name="connsiteX1353" fmla="*/ 292366 w 1197657"/>
                    <a:gd name="connsiteY1353" fmla="*/ 462780 h 926154"/>
                    <a:gd name="connsiteX1354" fmla="*/ 293155 w 1197657"/>
                    <a:gd name="connsiteY1354" fmla="*/ 461954 h 926154"/>
                    <a:gd name="connsiteX1355" fmla="*/ 294138 w 1197657"/>
                    <a:gd name="connsiteY1355" fmla="*/ 461577 h 926154"/>
                    <a:gd name="connsiteX1356" fmla="*/ 295292 w 1197657"/>
                    <a:gd name="connsiteY1356" fmla="*/ 461869 h 926154"/>
                    <a:gd name="connsiteX1357" fmla="*/ 297878 w 1197657"/>
                    <a:gd name="connsiteY1357" fmla="*/ 462986 h 926154"/>
                    <a:gd name="connsiteX1358" fmla="*/ 298801 w 1197657"/>
                    <a:gd name="connsiteY1358" fmla="*/ 462925 h 926154"/>
                    <a:gd name="connsiteX1359" fmla="*/ 300574 w 1197657"/>
                    <a:gd name="connsiteY1359" fmla="*/ 460023 h 926154"/>
                    <a:gd name="connsiteX1360" fmla="*/ 303683 w 1197657"/>
                    <a:gd name="connsiteY1360" fmla="*/ 451037 h 926154"/>
                    <a:gd name="connsiteX1361" fmla="*/ 305176 w 1197657"/>
                    <a:gd name="connsiteY1361" fmla="*/ 447965 h 926154"/>
                    <a:gd name="connsiteX1362" fmla="*/ 306828 w 1197657"/>
                    <a:gd name="connsiteY1362" fmla="*/ 449374 h 926154"/>
                    <a:gd name="connsiteX1363" fmla="*/ 315559 w 1197657"/>
                    <a:gd name="connsiteY1363" fmla="*/ 459197 h 926154"/>
                    <a:gd name="connsiteX1364" fmla="*/ 316712 w 1197657"/>
                    <a:gd name="connsiteY1364" fmla="*/ 460084 h 926154"/>
                    <a:gd name="connsiteX1365" fmla="*/ 318946 w 1197657"/>
                    <a:gd name="connsiteY1365" fmla="*/ 459622 h 926154"/>
                    <a:gd name="connsiteX1366" fmla="*/ 320100 w 1197657"/>
                    <a:gd name="connsiteY1366" fmla="*/ 457922 h 926154"/>
                    <a:gd name="connsiteX1367" fmla="*/ 320853 w 1197657"/>
                    <a:gd name="connsiteY1367" fmla="*/ 455688 h 926154"/>
                    <a:gd name="connsiteX1368" fmla="*/ 321824 w 1197657"/>
                    <a:gd name="connsiteY1368" fmla="*/ 453478 h 926154"/>
                    <a:gd name="connsiteX1369" fmla="*/ 323889 w 1197657"/>
                    <a:gd name="connsiteY1369" fmla="*/ 451183 h 926154"/>
                    <a:gd name="connsiteX1370" fmla="*/ 325491 w 1197657"/>
                    <a:gd name="connsiteY1370" fmla="*/ 450673 h 926154"/>
                    <a:gd name="connsiteX1371" fmla="*/ 327216 w 1197657"/>
                    <a:gd name="connsiteY1371" fmla="*/ 450892 h 926154"/>
                    <a:gd name="connsiteX1372" fmla="*/ 329632 w 1197657"/>
                    <a:gd name="connsiteY1372" fmla="*/ 450807 h 926154"/>
                    <a:gd name="connsiteX1373" fmla="*/ 333542 w 1197657"/>
                    <a:gd name="connsiteY1373" fmla="*/ 449264 h 926154"/>
                    <a:gd name="connsiteX1374" fmla="*/ 337440 w 1197657"/>
                    <a:gd name="connsiteY1374" fmla="*/ 446739 h 926154"/>
                    <a:gd name="connsiteX1375" fmla="*/ 348065 w 1197657"/>
                    <a:gd name="connsiteY1375" fmla="*/ 437085 h 926154"/>
                    <a:gd name="connsiteX1376" fmla="*/ 350129 w 1197657"/>
                    <a:gd name="connsiteY1376" fmla="*/ 435871 h 926154"/>
                    <a:gd name="connsiteX1377" fmla="*/ 350299 w 1197657"/>
                    <a:gd name="connsiteY1377" fmla="*/ 436162 h 926154"/>
                    <a:gd name="connsiteX1378" fmla="*/ 354489 w 1197657"/>
                    <a:gd name="connsiteY1378" fmla="*/ 435871 h 926154"/>
                    <a:gd name="connsiteX1379" fmla="*/ 355703 w 1197657"/>
                    <a:gd name="connsiteY1379" fmla="*/ 435543 h 926154"/>
                    <a:gd name="connsiteX1380" fmla="*/ 359079 w 1197657"/>
                    <a:gd name="connsiteY1380" fmla="*/ 433175 h 926154"/>
                    <a:gd name="connsiteX1381" fmla="*/ 366267 w 1197657"/>
                    <a:gd name="connsiteY1381" fmla="*/ 432519 h 926154"/>
                    <a:gd name="connsiteX1382" fmla="*/ 382345 w 1197657"/>
                    <a:gd name="connsiteY1382" fmla="*/ 434608 h 926154"/>
                    <a:gd name="connsiteX1383" fmla="*/ 388671 w 1197657"/>
                    <a:gd name="connsiteY1383" fmla="*/ 431827 h 926154"/>
                    <a:gd name="connsiteX1384" fmla="*/ 390723 w 1197657"/>
                    <a:gd name="connsiteY1384" fmla="*/ 428707 h 926154"/>
                    <a:gd name="connsiteX1385" fmla="*/ 394063 w 1197657"/>
                    <a:gd name="connsiteY1385" fmla="*/ 421360 h 926154"/>
                    <a:gd name="connsiteX1386" fmla="*/ 399236 w 1197657"/>
                    <a:gd name="connsiteY1386" fmla="*/ 414693 h 926154"/>
                    <a:gd name="connsiteX1387" fmla="*/ 405319 w 1197657"/>
                    <a:gd name="connsiteY1387" fmla="*/ 403413 h 926154"/>
                    <a:gd name="connsiteX1388" fmla="*/ 415009 w 1197657"/>
                    <a:gd name="connsiteY1388" fmla="*/ 389133 h 926154"/>
                    <a:gd name="connsiteX1389" fmla="*/ 415823 w 1197657"/>
                    <a:gd name="connsiteY1389" fmla="*/ 387275 h 926154"/>
                    <a:gd name="connsiteX1390" fmla="*/ 415483 w 1197657"/>
                    <a:gd name="connsiteY1390" fmla="*/ 382539 h 926154"/>
                    <a:gd name="connsiteX1391" fmla="*/ 415653 w 1197657"/>
                    <a:gd name="connsiteY1391" fmla="*/ 380353 h 926154"/>
                    <a:gd name="connsiteX1392" fmla="*/ 416224 w 1197657"/>
                    <a:gd name="connsiteY1392" fmla="*/ 379637 h 926154"/>
                    <a:gd name="connsiteX1393" fmla="*/ 419502 w 1197657"/>
                    <a:gd name="connsiteY1393" fmla="*/ 376297 h 926154"/>
                    <a:gd name="connsiteX1394" fmla="*/ 425586 w 1197657"/>
                    <a:gd name="connsiteY1394" fmla="*/ 364555 h 926154"/>
                    <a:gd name="connsiteX1395" fmla="*/ 427881 w 1197657"/>
                    <a:gd name="connsiteY1395" fmla="*/ 362734 h 926154"/>
                    <a:gd name="connsiteX1396" fmla="*/ 431038 w 1197657"/>
                    <a:gd name="connsiteY1396" fmla="*/ 361228 h 926154"/>
                    <a:gd name="connsiteX1397" fmla="*/ 437122 w 1197657"/>
                    <a:gd name="connsiteY1397" fmla="*/ 354234 h 926154"/>
                    <a:gd name="connsiteX1398" fmla="*/ 440230 w 1197657"/>
                    <a:gd name="connsiteY1398" fmla="*/ 351927 h 926154"/>
                    <a:gd name="connsiteX1399" fmla="*/ 441942 w 1197657"/>
                    <a:gd name="connsiteY1399" fmla="*/ 351927 h 926154"/>
                    <a:gd name="connsiteX1400" fmla="*/ 444128 w 1197657"/>
                    <a:gd name="connsiteY1400" fmla="*/ 352449 h 926154"/>
                    <a:gd name="connsiteX1401" fmla="*/ 446362 w 1197657"/>
                    <a:gd name="connsiteY1401" fmla="*/ 352509 h 926154"/>
                    <a:gd name="connsiteX1402" fmla="*/ 448487 w 1197657"/>
                    <a:gd name="connsiteY1402" fmla="*/ 351247 h 926154"/>
                    <a:gd name="connsiteX1403" fmla="*/ 449811 w 1197657"/>
                    <a:gd name="connsiteY1403" fmla="*/ 349364 h 926154"/>
                    <a:gd name="connsiteX1404" fmla="*/ 451244 w 1197657"/>
                    <a:gd name="connsiteY1404" fmla="*/ 346244 h 926154"/>
                    <a:gd name="connsiteX1405" fmla="*/ 452288 w 1197657"/>
                    <a:gd name="connsiteY1405" fmla="*/ 344544 h 926154"/>
                    <a:gd name="connsiteX1406" fmla="*/ 454061 w 1197657"/>
                    <a:gd name="connsiteY1406" fmla="*/ 340682 h 926154"/>
                    <a:gd name="connsiteX1407" fmla="*/ 454292 w 1197657"/>
                    <a:gd name="connsiteY1407" fmla="*/ 336019 h 926154"/>
                    <a:gd name="connsiteX1408" fmla="*/ 453381 w 1197657"/>
                    <a:gd name="connsiteY1408" fmla="*/ 331405 h 926154"/>
                    <a:gd name="connsiteX1409" fmla="*/ 451766 w 1197657"/>
                    <a:gd name="connsiteY1409" fmla="*/ 327604 h 926154"/>
                    <a:gd name="connsiteX1410" fmla="*/ 449519 w 1197657"/>
                    <a:gd name="connsiteY1410" fmla="*/ 324678 h 926154"/>
                    <a:gd name="connsiteX1411" fmla="*/ 445962 w 1197657"/>
                    <a:gd name="connsiteY1411" fmla="*/ 321181 h 926154"/>
                    <a:gd name="connsiteX1412" fmla="*/ 442817 w 1197657"/>
                    <a:gd name="connsiteY1412" fmla="*/ 319687 h 926154"/>
                    <a:gd name="connsiteX1413" fmla="*/ 441372 w 1197657"/>
                    <a:gd name="connsiteY1413" fmla="*/ 322784 h 926154"/>
                    <a:gd name="connsiteX1414" fmla="*/ 439769 w 1197657"/>
                    <a:gd name="connsiteY1414" fmla="*/ 324423 h 926154"/>
                    <a:gd name="connsiteX1415" fmla="*/ 432191 w 1197657"/>
                    <a:gd name="connsiteY1415" fmla="*/ 328333 h 926154"/>
                    <a:gd name="connsiteX1416" fmla="*/ 429945 w 1197657"/>
                    <a:gd name="connsiteY1416" fmla="*/ 331697 h 926154"/>
                    <a:gd name="connsiteX1417" fmla="*/ 430006 w 1197657"/>
                    <a:gd name="connsiteY1417" fmla="*/ 333652 h 926154"/>
                    <a:gd name="connsiteX1418" fmla="*/ 430406 w 1197657"/>
                    <a:gd name="connsiteY1418" fmla="*/ 336372 h 926154"/>
                    <a:gd name="connsiteX1419" fmla="*/ 431038 w 1197657"/>
                    <a:gd name="connsiteY1419" fmla="*/ 338727 h 926154"/>
                    <a:gd name="connsiteX1420" fmla="*/ 432240 w 1197657"/>
                    <a:gd name="connsiteY1420" fmla="*/ 340731 h 926154"/>
                    <a:gd name="connsiteX1421" fmla="*/ 430589 w 1197657"/>
                    <a:gd name="connsiteY1421" fmla="*/ 345467 h 926154"/>
                    <a:gd name="connsiteX1422" fmla="*/ 430589 w 1197657"/>
                    <a:gd name="connsiteY1422" fmla="*/ 347252 h 926154"/>
                    <a:gd name="connsiteX1423" fmla="*/ 430916 w 1197657"/>
                    <a:gd name="connsiteY1423" fmla="*/ 348915 h 926154"/>
                    <a:gd name="connsiteX1424" fmla="*/ 430856 w 1197657"/>
                    <a:gd name="connsiteY1424" fmla="*/ 351672 h 926154"/>
                    <a:gd name="connsiteX1425" fmla="*/ 430528 w 1197657"/>
                    <a:gd name="connsiteY1425" fmla="*/ 354452 h 926154"/>
                    <a:gd name="connsiteX1426" fmla="*/ 429945 w 1197657"/>
                    <a:gd name="connsiteY1426" fmla="*/ 356092 h 926154"/>
                    <a:gd name="connsiteX1427" fmla="*/ 428791 w 1197657"/>
                    <a:gd name="connsiteY1427" fmla="*/ 357015 h 926154"/>
                    <a:gd name="connsiteX1428" fmla="*/ 427298 w 1197657"/>
                    <a:gd name="connsiteY1428" fmla="*/ 357415 h 926154"/>
                    <a:gd name="connsiteX1429" fmla="*/ 423339 w 1197657"/>
                    <a:gd name="connsiteY1429" fmla="*/ 357440 h 926154"/>
                    <a:gd name="connsiteX1430" fmla="*/ 422259 w 1197657"/>
                    <a:gd name="connsiteY1430" fmla="*/ 357852 h 926154"/>
                    <a:gd name="connsiteX1431" fmla="*/ 421275 w 1197657"/>
                    <a:gd name="connsiteY1431" fmla="*/ 358569 h 926154"/>
                    <a:gd name="connsiteX1432" fmla="*/ 420182 w 1197657"/>
                    <a:gd name="connsiteY1432" fmla="*/ 358909 h 926154"/>
                    <a:gd name="connsiteX1433" fmla="*/ 418859 w 1197657"/>
                    <a:gd name="connsiteY1433" fmla="*/ 358132 h 926154"/>
                    <a:gd name="connsiteX1434" fmla="*/ 417887 w 1197657"/>
                    <a:gd name="connsiteY1434" fmla="*/ 357160 h 926154"/>
                    <a:gd name="connsiteX1435" fmla="*/ 417134 w 1197657"/>
                    <a:gd name="connsiteY1435" fmla="*/ 356517 h 926154"/>
                    <a:gd name="connsiteX1436" fmla="*/ 416284 w 1197657"/>
                    <a:gd name="connsiteY1436" fmla="*/ 356201 h 926154"/>
                    <a:gd name="connsiteX1437" fmla="*/ 415009 w 1197657"/>
                    <a:gd name="connsiteY1437" fmla="*/ 356092 h 926154"/>
                    <a:gd name="connsiteX1438" fmla="*/ 414159 w 1197657"/>
                    <a:gd name="connsiteY1438" fmla="*/ 356492 h 926154"/>
                    <a:gd name="connsiteX1439" fmla="*/ 413054 w 1197657"/>
                    <a:gd name="connsiteY1439" fmla="*/ 357245 h 926154"/>
                    <a:gd name="connsiteX1440" fmla="*/ 412083 w 1197657"/>
                    <a:gd name="connsiteY1440" fmla="*/ 357561 h 926154"/>
                    <a:gd name="connsiteX1441" fmla="*/ 411463 w 1197657"/>
                    <a:gd name="connsiteY1441" fmla="*/ 356359 h 926154"/>
                    <a:gd name="connsiteX1442" fmla="*/ 410249 w 1197657"/>
                    <a:gd name="connsiteY1442" fmla="*/ 354950 h 926154"/>
                    <a:gd name="connsiteX1443" fmla="*/ 409909 w 1197657"/>
                    <a:gd name="connsiteY1443" fmla="*/ 354598 h 926154"/>
                    <a:gd name="connsiteX1444" fmla="*/ 405659 w 1197657"/>
                    <a:gd name="connsiteY1444" fmla="*/ 353505 h 926154"/>
                    <a:gd name="connsiteX1445" fmla="*/ 403656 w 1197657"/>
                    <a:gd name="connsiteY1445" fmla="*/ 350895 h 926154"/>
                    <a:gd name="connsiteX1446" fmla="*/ 401980 w 1197657"/>
                    <a:gd name="connsiteY1446" fmla="*/ 347798 h 926154"/>
                    <a:gd name="connsiteX1447" fmla="*/ 398871 w 1197657"/>
                    <a:gd name="connsiteY1447" fmla="*/ 345297 h 926154"/>
                    <a:gd name="connsiteX1448" fmla="*/ 398653 w 1197657"/>
                    <a:gd name="connsiteY1448" fmla="*/ 350300 h 926154"/>
                    <a:gd name="connsiteX1449" fmla="*/ 396807 w 1197657"/>
                    <a:gd name="connsiteY1449" fmla="*/ 353396 h 926154"/>
                    <a:gd name="connsiteX1450" fmla="*/ 393480 w 1197657"/>
                    <a:gd name="connsiteY1450" fmla="*/ 354768 h 926154"/>
                    <a:gd name="connsiteX1451" fmla="*/ 388671 w 1197657"/>
                    <a:gd name="connsiteY1451" fmla="*/ 354598 h 926154"/>
                    <a:gd name="connsiteX1452" fmla="*/ 387396 w 1197657"/>
                    <a:gd name="connsiteY1452" fmla="*/ 354829 h 926154"/>
                    <a:gd name="connsiteX1453" fmla="*/ 386655 w 1197657"/>
                    <a:gd name="connsiteY1453" fmla="*/ 355375 h 926154"/>
                    <a:gd name="connsiteX1454" fmla="*/ 385781 w 1197657"/>
                    <a:gd name="connsiteY1454" fmla="*/ 355412 h 926154"/>
                    <a:gd name="connsiteX1455" fmla="*/ 384130 w 1197657"/>
                    <a:gd name="connsiteY1455" fmla="*/ 354027 h 926154"/>
                    <a:gd name="connsiteX1456" fmla="*/ 383438 w 1197657"/>
                    <a:gd name="connsiteY1456" fmla="*/ 353020 h 926154"/>
                    <a:gd name="connsiteX1457" fmla="*/ 383255 w 1197657"/>
                    <a:gd name="connsiteY1457" fmla="*/ 352388 h 926154"/>
                    <a:gd name="connsiteX1458" fmla="*/ 382855 w 1197657"/>
                    <a:gd name="connsiteY1458" fmla="*/ 352048 h 926154"/>
                    <a:gd name="connsiteX1459" fmla="*/ 381543 w 1197657"/>
                    <a:gd name="connsiteY1459" fmla="*/ 351927 h 926154"/>
                    <a:gd name="connsiteX1460" fmla="*/ 379358 w 1197657"/>
                    <a:gd name="connsiteY1460" fmla="*/ 351380 h 926154"/>
                    <a:gd name="connsiteX1461" fmla="*/ 378605 w 1197657"/>
                    <a:gd name="connsiteY1461" fmla="*/ 350069 h 926154"/>
                    <a:gd name="connsiteX1462" fmla="*/ 378860 w 1197657"/>
                    <a:gd name="connsiteY1462" fmla="*/ 348357 h 926154"/>
                    <a:gd name="connsiteX1463" fmla="*/ 379710 w 1197657"/>
                    <a:gd name="connsiteY1463" fmla="*/ 346547 h 926154"/>
                    <a:gd name="connsiteX1464" fmla="*/ 375751 w 1197657"/>
                    <a:gd name="connsiteY1464" fmla="*/ 353408 h 926154"/>
                    <a:gd name="connsiteX1465" fmla="*/ 377755 w 1197657"/>
                    <a:gd name="connsiteY1465" fmla="*/ 354695 h 926154"/>
                    <a:gd name="connsiteX1466" fmla="*/ 380001 w 1197657"/>
                    <a:gd name="connsiteY1466" fmla="*/ 356990 h 926154"/>
                    <a:gd name="connsiteX1467" fmla="*/ 380584 w 1197657"/>
                    <a:gd name="connsiteY1467" fmla="*/ 359176 h 926154"/>
                    <a:gd name="connsiteX1468" fmla="*/ 377694 w 1197657"/>
                    <a:gd name="connsiteY1468" fmla="*/ 360147 h 926154"/>
                    <a:gd name="connsiteX1469" fmla="*/ 366802 w 1197657"/>
                    <a:gd name="connsiteY1469" fmla="*/ 361507 h 926154"/>
                    <a:gd name="connsiteX1470" fmla="*/ 354622 w 1197657"/>
                    <a:gd name="connsiteY1470" fmla="*/ 366328 h 926154"/>
                    <a:gd name="connsiteX1471" fmla="*/ 344058 w 1197657"/>
                    <a:gd name="connsiteY1471" fmla="*/ 367846 h 926154"/>
                    <a:gd name="connsiteX1472" fmla="*/ 333494 w 1197657"/>
                    <a:gd name="connsiteY1472" fmla="*/ 371465 h 926154"/>
                    <a:gd name="connsiteX1473" fmla="*/ 327568 w 1197657"/>
                    <a:gd name="connsiteY1473" fmla="*/ 372303 h 926154"/>
                    <a:gd name="connsiteX1474" fmla="*/ 323901 w 1197657"/>
                    <a:gd name="connsiteY1474" fmla="*/ 373310 h 926154"/>
                    <a:gd name="connsiteX1475" fmla="*/ 318959 w 1197657"/>
                    <a:gd name="connsiteY1475" fmla="*/ 375909 h 926154"/>
                    <a:gd name="connsiteX1476" fmla="*/ 313968 w 1197657"/>
                    <a:gd name="connsiteY1476" fmla="*/ 379418 h 926154"/>
                    <a:gd name="connsiteX1477" fmla="*/ 310179 w 1197657"/>
                    <a:gd name="connsiteY1477" fmla="*/ 383207 h 926154"/>
                    <a:gd name="connsiteX1478" fmla="*/ 304314 w 1197657"/>
                    <a:gd name="connsiteY1478" fmla="*/ 393771 h 926154"/>
                    <a:gd name="connsiteX1479" fmla="*/ 301910 w 1197657"/>
                    <a:gd name="connsiteY1479" fmla="*/ 395362 h 926154"/>
                    <a:gd name="connsiteX1480" fmla="*/ 297830 w 1197657"/>
                    <a:gd name="connsiteY1480" fmla="*/ 394779 h 926154"/>
                    <a:gd name="connsiteX1481" fmla="*/ 290253 w 1197657"/>
                    <a:gd name="connsiteY1481" fmla="*/ 392654 h 926154"/>
                    <a:gd name="connsiteX1482" fmla="*/ 277503 w 1197657"/>
                    <a:gd name="connsiteY1482" fmla="*/ 392508 h 926154"/>
                    <a:gd name="connsiteX1483" fmla="*/ 275608 w 1197657"/>
                    <a:gd name="connsiteY1483" fmla="*/ 391913 h 926154"/>
                    <a:gd name="connsiteX1484" fmla="*/ 272111 w 1197657"/>
                    <a:gd name="connsiteY1484" fmla="*/ 389096 h 926154"/>
                    <a:gd name="connsiteX1485" fmla="*/ 269755 w 1197657"/>
                    <a:gd name="connsiteY1485" fmla="*/ 388465 h 926154"/>
                    <a:gd name="connsiteX1486" fmla="*/ 263429 w 1197657"/>
                    <a:gd name="connsiteY1486" fmla="*/ 388696 h 926154"/>
                    <a:gd name="connsiteX1487" fmla="*/ 261425 w 1197657"/>
                    <a:gd name="connsiteY1487" fmla="*/ 388465 h 926154"/>
                    <a:gd name="connsiteX1488" fmla="*/ 259410 w 1197657"/>
                    <a:gd name="connsiteY1488" fmla="*/ 387858 h 926154"/>
                    <a:gd name="connsiteX1489" fmla="*/ 258159 w 1197657"/>
                    <a:gd name="connsiteY1489" fmla="*/ 387141 h 926154"/>
                    <a:gd name="connsiteX1490" fmla="*/ 257163 w 1197657"/>
                    <a:gd name="connsiteY1490" fmla="*/ 386425 h 926154"/>
                    <a:gd name="connsiteX1491" fmla="*/ 256192 w 1197657"/>
                    <a:gd name="connsiteY1491" fmla="*/ 385903 h 926154"/>
                    <a:gd name="connsiteX1492" fmla="*/ 247303 w 1197657"/>
                    <a:gd name="connsiteY1492" fmla="*/ 384008 h 926154"/>
                    <a:gd name="connsiteX1493" fmla="*/ 243733 w 1197657"/>
                    <a:gd name="connsiteY1493" fmla="*/ 382151 h 926154"/>
                    <a:gd name="connsiteX1494" fmla="*/ 237479 w 1197657"/>
                    <a:gd name="connsiteY1494" fmla="*/ 381118 h 926154"/>
                    <a:gd name="connsiteX1495" fmla="*/ 231044 w 1197657"/>
                    <a:gd name="connsiteY1495" fmla="*/ 378325 h 926154"/>
                    <a:gd name="connsiteX1496" fmla="*/ 212380 w 1197657"/>
                    <a:gd name="connsiteY1496" fmla="*/ 376577 h 926154"/>
                    <a:gd name="connsiteX1497" fmla="*/ 205495 w 1197657"/>
                    <a:gd name="connsiteY1497" fmla="*/ 374537 h 926154"/>
                    <a:gd name="connsiteX1498" fmla="*/ 193036 w 1197657"/>
                    <a:gd name="connsiteY1498" fmla="*/ 367385 h 926154"/>
                    <a:gd name="connsiteX1499" fmla="*/ 175125 w 1197657"/>
                    <a:gd name="connsiteY1499" fmla="*/ 355132 h 926154"/>
                    <a:gd name="connsiteX1500" fmla="*/ 142558 w 1197657"/>
                    <a:gd name="connsiteY1500" fmla="*/ 341411 h 926154"/>
                    <a:gd name="connsiteX1501" fmla="*/ 109711 w 1197657"/>
                    <a:gd name="connsiteY1501" fmla="*/ 319529 h 926154"/>
                    <a:gd name="connsiteX1502" fmla="*/ 103980 w 1197657"/>
                    <a:gd name="connsiteY1502" fmla="*/ 314842 h 926154"/>
                    <a:gd name="connsiteX1503" fmla="*/ 102778 w 1197657"/>
                    <a:gd name="connsiteY1503" fmla="*/ 314126 h 926154"/>
                    <a:gd name="connsiteX1504" fmla="*/ 102074 w 1197657"/>
                    <a:gd name="connsiteY1504" fmla="*/ 313300 h 926154"/>
                    <a:gd name="connsiteX1505" fmla="*/ 102195 w 1197657"/>
                    <a:gd name="connsiteY1505" fmla="*/ 311430 h 926154"/>
                    <a:gd name="connsiteX1506" fmla="*/ 101904 w 1197657"/>
                    <a:gd name="connsiteY1506" fmla="*/ 309572 h 926154"/>
                    <a:gd name="connsiteX1507" fmla="*/ 96852 w 1197657"/>
                    <a:gd name="connsiteY1507" fmla="*/ 307471 h 926154"/>
                    <a:gd name="connsiteX1508" fmla="*/ 94326 w 1197657"/>
                    <a:gd name="connsiteY1508" fmla="*/ 304460 h 926154"/>
                    <a:gd name="connsiteX1509" fmla="*/ 92614 w 1197657"/>
                    <a:gd name="connsiteY1509" fmla="*/ 300841 h 926154"/>
                    <a:gd name="connsiteX1510" fmla="*/ 91801 w 1197657"/>
                    <a:gd name="connsiteY1510" fmla="*/ 297793 h 926154"/>
                    <a:gd name="connsiteX1511" fmla="*/ 92262 w 1197657"/>
                    <a:gd name="connsiteY1511" fmla="*/ 298486 h 926154"/>
                    <a:gd name="connsiteX1512" fmla="*/ 94387 w 1197657"/>
                    <a:gd name="connsiteY1512" fmla="*/ 300501 h 926154"/>
                    <a:gd name="connsiteX1513" fmla="*/ 96391 w 1197657"/>
                    <a:gd name="connsiteY1513" fmla="*/ 296786 h 926154"/>
                    <a:gd name="connsiteX1514" fmla="*/ 96961 w 1197657"/>
                    <a:gd name="connsiteY1514" fmla="*/ 294673 h 926154"/>
                    <a:gd name="connsiteX1515" fmla="*/ 96913 w 1197657"/>
                    <a:gd name="connsiteY1515" fmla="*/ 292402 h 926154"/>
                    <a:gd name="connsiteX1516" fmla="*/ 93586 w 1197657"/>
                    <a:gd name="connsiteY1516" fmla="*/ 294005 h 926154"/>
                    <a:gd name="connsiteX1517" fmla="*/ 88473 w 1197657"/>
                    <a:gd name="connsiteY1517" fmla="*/ 294867 h 926154"/>
                    <a:gd name="connsiteX1518" fmla="*/ 83641 w 1197657"/>
                    <a:gd name="connsiteY1518" fmla="*/ 293981 h 926154"/>
                    <a:gd name="connsiteX1519" fmla="*/ 81528 w 1197657"/>
                    <a:gd name="connsiteY1519" fmla="*/ 290301 h 926154"/>
                    <a:gd name="connsiteX1520" fmla="*/ 85316 w 1197657"/>
                    <a:gd name="connsiteY1520" fmla="*/ 282809 h 926154"/>
                    <a:gd name="connsiteX1521" fmla="*/ 86688 w 1197657"/>
                    <a:gd name="connsiteY1521" fmla="*/ 282348 h 926154"/>
                    <a:gd name="connsiteX1522" fmla="*/ 92432 w 1197657"/>
                    <a:gd name="connsiteY1522" fmla="*/ 281595 h 926154"/>
                    <a:gd name="connsiteX1523" fmla="*/ 93926 w 1197657"/>
                    <a:gd name="connsiteY1523" fmla="*/ 280939 h 926154"/>
                    <a:gd name="connsiteX1524" fmla="*/ 93185 w 1197657"/>
                    <a:gd name="connsiteY1524" fmla="*/ 279506 h 926154"/>
                    <a:gd name="connsiteX1525" fmla="*/ 91121 w 1197657"/>
                    <a:gd name="connsiteY1525" fmla="*/ 278061 h 926154"/>
                    <a:gd name="connsiteX1526" fmla="*/ 88534 w 1197657"/>
                    <a:gd name="connsiteY1526" fmla="*/ 277405 h 926154"/>
                    <a:gd name="connsiteX1527" fmla="*/ 87150 w 1197657"/>
                    <a:gd name="connsiteY1527" fmla="*/ 276810 h 926154"/>
                    <a:gd name="connsiteX1528" fmla="*/ 86348 w 1197657"/>
                    <a:gd name="connsiteY1528" fmla="*/ 275511 h 926154"/>
                    <a:gd name="connsiteX1529" fmla="*/ 85826 w 1197657"/>
                    <a:gd name="connsiteY1529" fmla="*/ 274139 h 926154"/>
                    <a:gd name="connsiteX1530" fmla="*/ 85316 w 1197657"/>
                    <a:gd name="connsiteY1530" fmla="*/ 273338 h 926154"/>
                    <a:gd name="connsiteX1531" fmla="*/ 84211 w 1197657"/>
                    <a:gd name="connsiteY1531" fmla="*/ 273338 h 926154"/>
                    <a:gd name="connsiteX1532" fmla="*/ 82961 w 1197657"/>
                    <a:gd name="connsiteY1532" fmla="*/ 273823 h 926154"/>
                    <a:gd name="connsiteX1533" fmla="*/ 81928 w 1197657"/>
                    <a:gd name="connsiteY1533" fmla="*/ 274394 h 926154"/>
                    <a:gd name="connsiteX1534" fmla="*/ 81528 w 1197657"/>
                    <a:gd name="connsiteY1534" fmla="*/ 274710 h 926154"/>
                    <a:gd name="connsiteX1535" fmla="*/ 79403 w 1197657"/>
                    <a:gd name="connsiteY1535" fmla="*/ 273508 h 926154"/>
                    <a:gd name="connsiteX1536" fmla="*/ 77739 w 1197657"/>
                    <a:gd name="connsiteY1536" fmla="*/ 272293 h 926154"/>
                    <a:gd name="connsiteX1537" fmla="*/ 76695 w 1197657"/>
                    <a:gd name="connsiteY1537" fmla="*/ 270751 h 926154"/>
                    <a:gd name="connsiteX1538" fmla="*/ 76306 w 1197657"/>
                    <a:gd name="connsiteY1538" fmla="*/ 268565 h 926154"/>
                    <a:gd name="connsiteX1539" fmla="*/ 76695 w 1197657"/>
                    <a:gd name="connsiteY1539" fmla="*/ 266331 h 926154"/>
                    <a:gd name="connsiteX1540" fmla="*/ 77739 w 1197657"/>
                    <a:gd name="connsiteY1540" fmla="*/ 264716 h 926154"/>
                    <a:gd name="connsiteX1541" fmla="*/ 79403 w 1197657"/>
                    <a:gd name="connsiteY1541" fmla="*/ 263830 h 926154"/>
                    <a:gd name="connsiteX1542" fmla="*/ 81528 w 1197657"/>
                    <a:gd name="connsiteY1542" fmla="*/ 263878 h 926154"/>
                    <a:gd name="connsiteX1543" fmla="*/ 80653 w 1197657"/>
                    <a:gd name="connsiteY1543" fmla="*/ 261960 h 926154"/>
                    <a:gd name="connsiteX1544" fmla="*/ 79524 w 1197657"/>
                    <a:gd name="connsiteY1544" fmla="*/ 261097 h 926154"/>
                    <a:gd name="connsiteX1545" fmla="*/ 78031 w 1197657"/>
                    <a:gd name="connsiteY1545" fmla="*/ 261304 h 926154"/>
                    <a:gd name="connsiteX1546" fmla="*/ 76306 w 1197657"/>
                    <a:gd name="connsiteY1546" fmla="*/ 262542 h 926154"/>
                    <a:gd name="connsiteX1547" fmla="*/ 74120 w 1197657"/>
                    <a:gd name="connsiteY1547" fmla="*/ 261583 h 926154"/>
                    <a:gd name="connsiteX1548" fmla="*/ 73198 w 1197657"/>
                    <a:gd name="connsiteY1548" fmla="*/ 262652 h 926154"/>
                    <a:gd name="connsiteX1549" fmla="*/ 72044 w 1197657"/>
                    <a:gd name="connsiteY1549" fmla="*/ 264352 h 926154"/>
                    <a:gd name="connsiteX1550" fmla="*/ 69239 w 1197657"/>
                    <a:gd name="connsiteY1550" fmla="*/ 265238 h 926154"/>
                    <a:gd name="connsiteX1551" fmla="*/ 66823 w 1197657"/>
                    <a:gd name="connsiteY1551" fmla="*/ 264400 h 926154"/>
                    <a:gd name="connsiteX1552" fmla="*/ 66130 w 1197657"/>
                    <a:gd name="connsiteY1552" fmla="*/ 262288 h 926154"/>
                    <a:gd name="connsiteX1553" fmla="*/ 66531 w 1197657"/>
                    <a:gd name="connsiteY1553" fmla="*/ 259640 h 926154"/>
                    <a:gd name="connsiteX1554" fmla="*/ 67405 w 1197657"/>
                    <a:gd name="connsiteY1554" fmla="*/ 257139 h 926154"/>
                    <a:gd name="connsiteX1555" fmla="*/ 64819 w 1197657"/>
                    <a:gd name="connsiteY1555" fmla="*/ 258717 h 926154"/>
                    <a:gd name="connsiteX1556" fmla="*/ 62694 w 1197657"/>
                    <a:gd name="connsiteY1556" fmla="*/ 259410 h 926154"/>
                    <a:gd name="connsiteX1557" fmla="*/ 60909 w 1197657"/>
                    <a:gd name="connsiteY1557" fmla="*/ 258948 h 926154"/>
                    <a:gd name="connsiteX1558" fmla="*/ 59525 w 1197657"/>
                    <a:gd name="connsiteY1558" fmla="*/ 257139 h 926154"/>
                    <a:gd name="connsiteX1559" fmla="*/ 61261 w 1197657"/>
                    <a:gd name="connsiteY1559" fmla="*/ 253144 h 926154"/>
                    <a:gd name="connsiteX1560" fmla="*/ 64005 w 1197657"/>
                    <a:gd name="connsiteY1560" fmla="*/ 248882 h 926154"/>
                    <a:gd name="connsiteX1561" fmla="*/ 67405 w 1197657"/>
                    <a:gd name="connsiteY1561" fmla="*/ 245336 h 926154"/>
                    <a:gd name="connsiteX1562" fmla="*/ 71194 w 1197657"/>
                    <a:gd name="connsiteY1562" fmla="*/ 243587 h 926154"/>
                    <a:gd name="connsiteX1563" fmla="*/ 70332 w 1197657"/>
                    <a:gd name="connsiteY1563" fmla="*/ 241402 h 926154"/>
                    <a:gd name="connsiteX1564" fmla="*/ 69300 w 1197657"/>
                    <a:gd name="connsiteY1564" fmla="*/ 241608 h 926154"/>
                    <a:gd name="connsiteX1565" fmla="*/ 67867 w 1197657"/>
                    <a:gd name="connsiteY1565" fmla="*/ 242470 h 926154"/>
                    <a:gd name="connsiteX1566" fmla="*/ 66070 w 1197657"/>
                    <a:gd name="connsiteY1566" fmla="*/ 242154 h 926154"/>
                    <a:gd name="connsiteX1567" fmla="*/ 65220 w 1197657"/>
                    <a:gd name="connsiteY1567" fmla="*/ 241171 h 926154"/>
                    <a:gd name="connsiteX1568" fmla="*/ 63325 w 1197657"/>
                    <a:gd name="connsiteY1568" fmla="*/ 238220 h 926154"/>
                    <a:gd name="connsiteX1569" fmla="*/ 62123 w 1197657"/>
                    <a:gd name="connsiteY1569" fmla="*/ 236727 h 926154"/>
                    <a:gd name="connsiteX1570" fmla="*/ 62864 w 1197657"/>
                    <a:gd name="connsiteY1570" fmla="*/ 240029 h 926154"/>
                    <a:gd name="connsiteX1571" fmla="*/ 64005 w 1197657"/>
                    <a:gd name="connsiteY1571" fmla="*/ 243162 h 926154"/>
                    <a:gd name="connsiteX1572" fmla="*/ 63884 w 1197657"/>
                    <a:gd name="connsiteY1572" fmla="*/ 245797 h 926154"/>
                    <a:gd name="connsiteX1573" fmla="*/ 60909 w 1197657"/>
                    <a:gd name="connsiteY1573" fmla="*/ 247667 h 926154"/>
                    <a:gd name="connsiteX1574" fmla="*/ 57290 w 1197657"/>
                    <a:gd name="connsiteY1574" fmla="*/ 247425 h 926154"/>
                    <a:gd name="connsiteX1575" fmla="*/ 56270 w 1197657"/>
                    <a:gd name="connsiteY1575" fmla="*/ 244644 h 926154"/>
                    <a:gd name="connsiteX1576" fmla="*/ 57120 w 1197657"/>
                    <a:gd name="connsiteY1576" fmla="*/ 236727 h 926154"/>
                    <a:gd name="connsiteX1577" fmla="*/ 56028 w 1197657"/>
                    <a:gd name="connsiteY1577" fmla="*/ 227049 h 926154"/>
                    <a:gd name="connsiteX1578" fmla="*/ 56780 w 1197657"/>
                    <a:gd name="connsiteY1578" fmla="*/ 222349 h 926154"/>
                    <a:gd name="connsiteX1579" fmla="*/ 60278 w 1197657"/>
                    <a:gd name="connsiteY1579" fmla="*/ 220358 h 926154"/>
                    <a:gd name="connsiteX1580" fmla="*/ 68486 w 1197657"/>
                    <a:gd name="connsiteY1580" fmla="*/ 222884 h 926154"/>
                    <a:gd name="connsiteX1581" fmla="*/ 72275 w 1197657"/>
                    <a:gd name="connsiteY1581" fmla="*/ 222835 h 926154"/>
                    <a:gd name="connsiteX1582" fmla="*/ 72457 w 1197657"/>
                    <a:gd name="connsiteY1582" fmla="*/ 219119 h 926154"/>
                    <a:gd name="connsiteX1583" fmla="*/ 71243 w 1197657"/>
                    <a:gd name="connsiteY1583" fmla="*/ 218342 h 926154"/>
                    <a:gd name="connsiteX1584" fmla="*/ 69518 w 1197657"/>
                    <a:gd name="connsiteY1584" fmla="*/ 218779 h 926154"/>
                    <a:gd name="connsiteX1585" fmla="*/ 67964 w 1197657"/>
                    <a:gd name="connsiteY1585" fmla="*/ 218500 h 926154"/>
                    <a:gd name="connsiteX1586" fmla="*/ 67405 w 1197657"/>
                    <a:gd name="connsiteY1586" fmla="*/ 215622 h 926154"/>
                    <a:gd name="connsiteX1587" fmla="*/ 68085 w 1197657"/>
                    <a:gd name="connsiteY1587" fmla="*/ 214821 h 926154"/>
                    <a:gd name="connsiteX1588" fmla="*/ 71765 w 1197657"/>
                    <a:gd name="connsiteY1588" fmla="*/ 213728 h 926154"/>
                    <a:gd name="connsiteX1589" fmla="*/ 74752 w 1197657"/>
                    <a:gd name="connsiteY1589" fmla="*/ 211870 h 926154"/>
                    <a:gd name="connsiteX1590" fmla="*/ 78371 w 1197657"/>
                    <a:gd name="connsiteY1590" fmla="*/ 211518 h 926154"/>
                    <a:gd name="connsiteX1591" fmla="*/ 80143 w 1197657"/>
                    <a:gd name="connsiteY1591" fmla="*/ 210886 h 926154"/>
                    <a:gd name="connsiteX1592" fmla="*/ 81115 w 1197657"/>
                    <a:gd name="connsiteY1592" fmla="*/ 209915 h 926154"/>
                    <a:gd name="connsiteX1593" fmla="*/ 84114 w 1197657"/>
                    <a:gd name="connsiteY1593" fmla="*/ 205458 h 926154"/>
                    <a:gd name="connsiteX1594" fmla="*/ 89506 w 1197657"/>
                    <a:gd name="connsiteY1594" fmla="*/ 199751 h 926154"/>
                    <a:gd name="connsiteX1595" fmla="*/ 92954 w 1197657"/>
                    <a:gd name="connsiteY1595" fmla="*/ 197104 h 926154"/>
                    <a:gd name="connsiteX1596" fmla="*/ 99730 w 1197657"/>
                    <a:gd name="connsiteY1596" fmla="*/ 194542 h 926154"/>
                    <a:gd name="connsiteX1597" fmla="*/ 102826 w 1197657"/>
                    <a:gd name="connsiteY1597" fmla="*/ 187086 h 926154"/>
                    <a:gd name="connsiteX1598" fmla="*/ 105874 w 1197657"/>
                    <a:gd name="connsiteY1598" fmla="*/ 183783 h 926154"/>
                    <a:gd name="connsiteX1599" fmla="*/ 107647 w 1197657"/>
                    <a:gd name="connsiteY1599" fmla="*/ 183383 h 926154"/>
                    <a:gd name="connsiteX1600" fmla="*/ 114314 w 1197657"/>
                    <a:gd name="connsiteY1600" fmla="*/ 183783 h 926154"/>
                    <a:gd name="connsiteX1601" fmla="*/ 116147 w 1197657"/>
                    <a:gd name="connsiteY1601" fmla="*/ 183152 h 926154"/>
                    <a:gd name="connsiteX1602" fmla="*/ 119827 w 1197657"/>
                    <a:gd name="connsiteY1602" fmla="*/ 180335 h 926154"/>
                    <a:gd name="connsiteX1603" fmla="*/ 121952 w 1197657"/>
                    <a:gd name="connsiteY1603" fmla="*/ 179703 h 926154"/>
                    <a:gd name="connsiteX1604" fmla="*/ 124247 w 1197657"/>
                    <a:gd name="connsiteY1604" fmla="*/ 178756 h 926154"/>
                    <a:gd name="connsiteX1605" fmla="*/ 134179 w 1197657"/>
                    <a:gd name="connsiteY1605" fmla="*/ 171349 h 926154"/>
                    <a:gd name="connsiteX1606" fmla="*/ 131192 w 1197657"/>
                    <a:gd name="connsiteY1606" fmla="*/ 170147 h 926154"/>
                    <a:gd name="connsiteX1607" fmla="*/ 126372 w 1197657"/>
                    <a:gd name="connsiteY1607" fmla="*/ 172223 h 926154"/>
                    <a:gd name="connsiteX1608" fmla="*/ 123894 w 1197657"/>
                    <a:gd name="connsiteY1608" fmla="*/ 171349 h 926154"/>
                    <a:gd name="connsiteX1609" fmla="*/ 118904 w 1197657"/>
                    <a:gd name="connsiteY1609" fmla="*/ 176291 h 926154"/>
                    <a:gd name="connsiteX1610" fmla="*/ 114714 w 1197657"/>
                    <a:gd name="connsiteY1610" fmla="*/ 178793 h 926154"/>
                    <a:gd name="connsiteX1611" fmla="*/ 109833 w 1197657"/>
                    <a:gd name="connsiteY1611" fmla="*/ 179643 h 926154"/>
                    <a:gd name="connsiteX1612" fmla="*/ 102778 w 1197657"/>
                    <a:gd name="connsiteY1612" fmla="*/ 179703 h 926154"/>
                    <a:gd name="connsiteX1613" fmla="*/ 98868 w 1197657"/>
                    <a:gd name="connsiteY1613" fmla="*/ 180335 h 926154"/>
                    <a:gd name="connsiteX1614" fmla="*/ 96913 w 1197657"/>
                    <a:gd name="connsiteY1614" fmla="*/ 182059 h 926154"/>
                    <a:gd name="connsiteX1615" fmla="*/ 94387 w 1197657"/>
                    <a:gd name="connsiteY1615" fmla="*/ 187863 h 926154"/>
                    <a:gd name="connsiteX1616" fmla="*/ 92359 w 1197657"/>
                    <a:gd name="connsiteY1616" fmla="*/ 190498 h 926154"/>
                    <a:gd name="connsiteX1617" fmla="*/ 90295 w 1197657"/>
                    <a:gd name="connsiteY1617" fmla="*/ 191737 h 926154"/>
                    <a:gd name="connsiteX1618" fmla="*/ 84102 w 1197657"/>
                    <a:gd name="connsiteY1618" fmla="*/ 193146 h 926154"/>
                    <a:gd name="connsiteX1619" fmla="*/ 81054 w 1197657"/>
                    <a:gd name="connsiteY1619" fmla="*/ 194578 h 926154"/>
                    <a:gd name="connsiteX1620" fmla="*/ 78480 w 1197657"/>
                    <a:gd name="connsiteY1620" fmla="*/ 196449 h 926154"/>
                    <a:gd name="connsiteX1621" fmla="*/ 75711 w 1197657"/>
                    <a:gd name="connsiteY1621" fmla="*/ 197991 h 926154"/>
                    <a:gd name="connsiteX1622" fmla="*/ 68765 w 1197657"/>
                    <a:gd name="connsiteY1622" fmla="*/ 199314 h 926154"/>
                    <a:gd name="connsiteX1623" fmla="*/ 64394 w 1197657"/>
                    <a:gd name="connsiteY1623" fmla="*/ 202119 h 926154"/>
                    <a:gd name="connsiteX1624" fmla="*/ 60265 w 1197657"/>
                    <a:gd name="connsiteY1624" fmla="*/ 203904 h 926154"/>
                    <a:gd name="connsiteX1625" fmla="*/ 57108 w 1197657"/>
                    <a:gd name="connsiteY1625" fmla="*/ 206636 h 926154"/>
                    <a:gd name="connsiteX1626" fmla="*/ 44200 w 1197657"/>
                    <a:gd name="connsiteY1626" fmla="*/ 221827 h 926154"/>
                    <a:gd name="connsiteX1627" fmla="*/ 46034 w 1197657"/>
                    <a:gd name="connsiteY1627" fmla="*/ 223029 h 926154"/>
                    <a:gd name="connsiteX1628" fmla="*/ 46265 w 1197657"/>
                    <a:gd name="connsiteY1628" fmla="*/ 224462 h 926154"/>
                    <a:gd name="connsiteX1629" fmla="*/ 45524 w 1197657"/>
                    <a:gd name="connsiteY1629" fmla="*/ 225895 h 926154"/>
                    <a:gd name="connsiteX1630" fmla="*/ 44200 w 1197657"/>
                    <a:gd name="connsiteY1630" fmla="*/ 227255 h 926154"/>
                    <a:gd name="connsiteX1631" fmla="*/ 41444 w 1197657"/>
                    <a:gd name="connsiteY1631" fmla="*/ 229174 h 926154"/>
                    <a:gd name="connsiteX1632" fmla="*/ 39659 w 1197657"/>
                    <a:gd name="connsiteY1632" fmla="*/ 229320 h 926154"/>
                    <a:gd name="connsiteX1633" fmla="*/ 37886 w 1197657"/>
                    <a:gd name="connsiteY1633" fmla="*/ 228749 h 926154"/>
                    <a:gd name="connsiteX1634" fmla="*/ 35239 w 1197657"/>
                    <a:gd name="connsiteY1634" fmla="*/ 228482 h 926154"/>
                    <a:gd name="connsiteX1635" fmla="*/ 23363 w 1197657"/>
                    <a:gd name="connsiteY1635" fmla="*/ 228943 h 926154"/>
                    <a:gd name="connsiteX1636" fmla="*/ 14110 w 1197657"/>
                    <a:gd name="connsiteY1636" fmla="*/ 227741 h 926154"/>
                    <a:gd name="connsiteX1637" fmla="*/ 9581 w 1197657"/>
                    <a:gd name="connsiteY1637" fmla="*/ 226417 h 926154"/>
                    <a:gd name="connsiteX1638" fmla="*/ 6994 w 1197657"/>
                    <a:gd name="connsiteY1638" fmla="*/ 224062 h 926154"/>
                    <a:gd name="connsiteX1639" fmla="*/ 8209 w 1197657"/>
                    <a:gd name="connsiteY1639" fmla="*/ 220358 h 926154"/>
                    <a:gd name="connsiteX1640" fmla="*/ 8998 w 1197657"/>
                    <a:gd name="connsiteY1640" fmla="*/ 220164 h 926154"/>
                    <a:gd name="connsiteX1641" fmla="*/ 12787 w 1197657"/>
                    <a:gd name="connsiteY1641" fmla="*/ 220358 h 926154"/>
                    <a:gd name="connsiteX1642" fmla="*/ 13479 w 1197657"/>
                    <a:gd name="connsiteY1642" fmla="*/ 219751 h 926154"/>
                    <a:gd name="connsiteX1643" fmla="*/ 14171 w 1197657"/>
                    <a:gd name="connsiteY1643" fmla="*/ 217079 h 926154"/>
                    <a:gd name="connsiteX1644" fmla="*/ 14632 w 1197657"/>
                    <a:gd name="connsiteY1644" fmla="*/ 216278 h 926154"/>
                    <a:gd name="connsiteX1645" fmla="*/ 17219 w 1197657"/>
                    <a:gd name="connsiteY1645" fmla="*/ 214869 h 926154"/>
                    <a:gd name="connsiteX1646" fmla="*/ 19344 w 1197657"/>
                    <a:gd name="connsiteY1646" fmla="*/ 214129 h 926154"/>
                    <a:gd name="connsiteX1647" fmla="*/ 21347 w 1197657"/>
                    <a:gd name="connsiteY1647" fmla="*/ 214821 h 926154"/>
                    <a:gd name="connsiteX1648" fmla="*/ 23703 w 1197657"/>
                    <a:gd name="connsiteY1648" fmla="*/ 217662 h 926154"/>
                    <a:gd name="connsiteX1649" fmla="*/ 26059 w 1197657"/>
                    <a:gd name="connsiteY1649" fmla="*/ 214845 h 926154"/>
                    <a:gd name="connsiteX1650" fmla="*/ 29216 w 1197657"/>
                    <a:gd name="connsiteY1650" fmla="*/ 214384 h 926154"/>
                    <a:gd name="connsiteX1651" fmla="*/ 31790 w 1197657"/>
                    <a:gd name="connsiteY1651" fmla="*/ 213521 h 926154"/>
                    <a:gd name="connsiteX1652" fmla="*/ 32652 w 1197657"/>
                    <a:gd name="connsiteY1652" fmla="*/ 209538 h 926154"/>
                    <a:gd name="connsiteX1653" fmla="*/ 28633 w 1197657"/>
                    <a:gd name="connsiteY1653" fmla="*/ 211773 h 926154"/>
                    <a:gd name="connsiteX1654" fmla="*/ 25257 w 1197657"/>
                    <a:gd name="connsiteY1654" fmla="*/ 211894 h 926154"/>
                    <a:gd name="connsiteX1655" fmla="*/ 22270 w 1197657"/>
                    <a:gd name="connsiteY1655" fmla="*/ 210340 h 926154"/>
                    <a:gd name="connsiteX1656" fmla="*/ 19222 w 1197657"/>
                    <a:gd name="connsiteY1656" fmla="*/ 207498 h 926154"/>
                    <a:gd name="connsiteX1657" fmla="*/ 17097 w 1197657"/>
                    <a:gd name="connsiteY1657" fmla="*/ 203856 h 926154"/>
                    <a:gd name="connsiteX1658" fmla="*/ 16818 w 1197657"/>
                    <a:gd name="connsiteY1658" fmla="*/ 200116 h 926154"/>
                    <a:gd name="connsiteX1659" fmla="*/ 17219 w 1197657"/>
                    <a:gd name="connsiteY1659" fmla="*/ 196157 h 926154"/>
                    <a:gd name="connsiteX1660" fmla="*/ 17158 w 1197657"/>
                    <a:gd name="connsiteY1660" fmla="*/ 191907 h 926154"/>
                    <a:gd name="connsiteX1661" fmla="*/ 13479 w 1197657"/>
                    <a:gd name="connsiteY1661" fmla="*/ 195987 h 926154"/>
                    <a:gd name="connsiteX1662" fmla="*/ 11584 w 1197657"/>
                    <a:gd name="connsiteY1662" fmla="*/ 197335 h 926154"/>
                    <a:gd name="connsiteX1663" fmla="*/ 10771 w 1197657"/>
                    <a:gd name="connsiteY1663" fmla="*/ 195295 h 926154"/>
                    <a:gd name="connsiteX1664" fmla="*/ 11196 w 1197657"/>
                    <a:gd name="connsiteY1664" fmla="*/ 192223 h 926154"/>
                    <a:gd name="connsiteX1665" fmla="*/ 13017 w 1197657"/>
                    <a:gd name="connsiteY1665" fmla="*/ 187256 h 926154"/>
                    <a:gd name="connsiteX1666" fmla="*/ 13770 w 1197657"/>
                    <a:gd name="connsiteY1666" fmla="*/ 181464 h 926154"/>
                    <a:gd name="connsiteX1667" fmla="*/ 14292 w 1197657"/>
                    <a:gd name="connsiteY1667" fmla="*/ 179825 h 926154"/>
                    <a:gd name="connsiteX1668" fmla="*/ 14389 w 1197657"/>
                    <a:gd name="connsiteY1668" fmla="*/ 178562 h 926154"/>
                    <a:gd name="connsiteX1669" fmla="*/ 14511 w 1197657"/>
                    <a:gd name="connsiteY1669" fmla="*/ 178331 h 926154"/>
                    <a:gd name="connsiteX1670" fmla="*/ 18931 w 1197657"/>
                    <a:gd name="connsiteY1670" fmla="*/ 171641 h 926154"/>
                    <a:gd name="connsiteX1671" fmla="*/ 20424 w 1197657"/>
                    <a:gd name="connsiteY1671" fmla="*/ 170693 h 926154"/>
                    <a:gd name="connsiteX1672" fmla="*/ 23764 w 1197657"/>
                    <a:gd name="connsiteY1672" fmla="*/ 169224 h 926154"/>
                    <a:gd name="connsiteX1673" fmla="*/ 25075 w 1197657"/>
                    <a:gd name="connsiteY1673" fmla="*/ 168423 h 926154"/>
                    <a:gd name="connsiteX1674" fmla="*/ 25646 w 1197657"/>
                    <a:gd name="connsiteY1674" fmla="*/ 168362 h 926154"/>
                    <a:gd name="connsiteX1675" fmla="*/ 27479 w 1197657"/>
                    <a:gd name="connsiteY1675" fmla="*/ 168714 h 926154"/>
                    <a:gd name="connsiteX1676" fmla="*/ 28232 w 1197657"/>
                    <a:gd name="connsiteY1676" fmla="*/ 168690 h 926154"/>
                    <a:gd name="connsiteX1677" fmla="*/ 28924 w 1197657"/>
                    <a:gd name="connsiteY1677" fmla="*/ 167961 h 926154"/>
                    <a:gd name="connsiteX1678" fmla="*/ 28463 w 1197657"/>
                    <a:gd name="connsiteY1678" fmla="*/ 167160 h 926154"/>
                    <a:gd name="connsiteX1679" fmla="*/ 27662 w 1197657"/>
                    <a:gd name="connsiteY1679" fmla="*/ 166528 h 926154"/>
                    <a:gd name="connsiteX1680" fmla="*/ 27322 w 1197657"/>
                    <a:gd name="connsiteY1680" fmla="*/ 166091 h 926154"/>
                    <a:gd name="connsiteX1681" fmla="*/ 27540 w 1197657"/>
                    <a:gd name="connsiteY1681" fmla="*/ 164840 h 926154"/>
                    <a:gd name="connsiteX1682" fmla="*/ 27443 w 1197657"/>
                    <a:gd name="connsiteY1682" fmla="*/ 163080 h 926154"/>
                    <a:gd name="connsiteX1683" fmla="*/ 27892 w 1197657"/>
                    <a:gd name="connsiteY1683" fmla="*/ 161270 h 926154"/>
                    <a:gd name="connsiteX1684" fmla="*/ 29556 w 1197657"/>
                    <a:gd name="connsiteY1684" fmla="*/ 159922 h 926154"/>
                    <a:gd name="connsiteX1685" fmla="*/ 31462 w 1197657"/>
                    <a:gd name="connsiteY1685" fmla="*/ 159582 h 926154"/>
                    <a:gd name="connsiteX1686" fmla="*/ 32142 w 1197657"/>
                    <a:gd name="connsiteY1686" fmla="*/ 160408 h 926154"/>
                    <a:gd name="connsiteX1687" fmla="*/ 32592 w 1197657"/>
                    <a:gd name="connsiteY1687" fmla="*/ 161962 h 926154"/>
                    <a:gd name="connsiteX1688" fmla="*/ 33745 w 1197657"/>
                    <a:gd name="connsiteY1688" fmla="*/ 163833 h 926154"/>
                    <a:gd name="connsiteX1689" fmla="*/ 36392 w 1197657"/>
                    <a:gd name="connsiteY1689" fmla="*/ 164974 h 926154"/>
                    <a:gd name="connsiteX1690" fmla="*/ 38979 w 1197657"/>
                    <a:gd name="connsiteY1690" fmla="*/ 163918 h 926154"/>
                    <a:gd name="connsiteX1691" fmla="*/ 41213 w 1197657"/>
                    <a:gd name="connsiteY1691" fmla="*/ 161562 h 926154"/>
                    <a:gd name="connsiteX1692" fmla="*/ 42877 w 1197657"/>
                    <a:gd name="connsiteY1692" fmla="*/ 158915 h 926154"/>
                    <a:gd name="connsiteX1693" fmla="*/ 42646 w 1197657"/>
                    <a:gd name="connsiteY1693" fmla="*/ 157518 h 926154"/>
                    <a:gd name="connsiteX1694" fmla="*/ 41966 w 1197657"/>
                    <a:gd name="connsiteY1694" fmla="*/ 155539 h 926154"/>
                    <a:gd name="connsiteX1695" fmla="*/ 42075 w 1197657"/>
                    <a:gd name="connsiteY1695" fmla="*/ 153839 h 926154"/>
                    <a:gd name="connsiteX1696" fmla="*/ 44310 w 1197657"/>
                    <a:gd name="connsiteY1696" fmla="*/ 153462 h 926154"/>
                    <a:gd name="connsiteX1697" fmla="*/ 45524 w 1197657"/>
                    <a:gd name="connsiteY1697" fmla="*/ 154240 h 926154"/>
                    <a:gd name="connsiteX1698" fmla="*/ 46155 w 1197657"/>
                    <a:gd name="connsiteY1698" fmla="*/ 155842 h 926154"/>
                    <a:gd name="connsiteX1699" fmla="*/ 46447 w 1197657"/>
                    <a:gd name="connsiteY1699" fmla="*/ 157713 h 926154"/>
                    <a:gd name="connsiteX1700" fmla="*/ 46386 w 1197657"/>
                    <a:gd name="connsiteY1700" fmla="*/ 159267 h 926154"/>
                    <a:gd name="connsiteX1701" fmla="*/ 52348 w 1197657"/>
                    <a:gd name="connsiteY1701" fmla="*/ 155065 h 926154"/>
                    <a:gd name="connsiteX1702" fmla="*/ 61018 w 1197657"/>
                    <a:gd name="connsiteY1702" fmla="*/ 153730 h 926154"/>
                    <a:gd name="connsiteX1703" fmla="*/ 82839 w 1197657"/>
                    <a:gd name="connsiteY1703" fmla="*/ 153888 h 926154"/>
                    <a:gd name="connsiteX1704" fmla="*/ 101333 w 1197657"/>
                    <a:gd name="connsiteY1704" fmla="*/ 154009 h 926154"/>
                    <a:gd name="connsiteX1705" fmla="*/ 115929 w 1197657"/>
                    <a:gd name="connsiteY1705" fmla="*/ 154118 h 926154"/>
                    <a:gd name="connsiteX1706" fmla="*/ 116086 w 1197657"/>
                    <a:gd name="connsiteY1706" fmla="*/ 126529 h 926154"/>
                    <a:gd name="connsiteX1707" fmla="*/ 116147 w 1197657"/>
                    <a:gd name="connsiteY1707" fmla="*/ 105692 h 926154"/>
                    <a:gd name="connsiteX1708" fmla="*/ 116208 w 1197657"/>
                    <a:gd name="connsiteY1708" fmla="*/ 89724 h 926154"/>
                    <a:gd name="connsiteX1709" fmla="*/ 120227 w 1197657"/>
                    <a:gd name="connsiteY1709" fmla="*/ 81370 h 926154"/>
                    <a:gd name="connsiteX1710" fmla="*/ 129990 w 1197657"/>
                    <a:gd name="connsiteY1710" fmla="*/ 81807 h 926154"/>
                    <a:gd name="connsiteX1711" fmla="*/ 132686 w 1197657"/>
                    <a:gd name="connsiteY1711" fmla="*/ 85911 h 926154"/>
                    <a:gd name="connsiteX1712" fmla="*/ 133779 w 1197657"/>
                    <a:gd name="connsiteY1712" fmla="*/ 97484 h 926154"/>
                    <a:gd name="connsiteX1713" fmla="*/ 137385 w 1197657"/>
                    <a:gd name="connsiteY1713" fmla="*/ 100228 h 926154"/>
                    <a:gd name="connsiteX1714" fmla="*/ 139292 w 1197657"/>
                    <a:gd name="connsiteY1714" fmla="*/ 98710 h 926154"/>
                    <a:gd name="connsiteX1715" fmla="*/ 145157 w 1197657"/>
                    <a:gd name="connsiteY1715" fmla="*/ 88121 h 926154"/>
                    <a:gd name="connsiteX1716" fmla="*/ 145715 w 1197657"/>
                    <a:gd name="connsiteY1716" fmla="*/ 86506 h 926154"/>
                    <a:gd name="connsiteX1717" fmla="*/ 146055 w 1197657"/>
                    <a:gd name="connsiteY1717" fmla="*/ 84879 h 926154"/>
                    <a:gd name="connsiteX1718" fmla="*/ 147027 w 1197657"/>
                    <a:gd name="connsiteY1718" fmla="*/ 83726 h 926154"/>
                    <a:gd name="connsiteX1719" fmla="*/ 149674 w 1197657"/>
                    <a:gd name="connsiteY1719" fmla="*/ 83495 h 926154"/>
                    <a:gd name="connsiteX1720" fmla="*/ 151337 w 1197657"/>
                    <a:gd name="connsiteY1720" fmla="*/ 84163 h 926154"/>
                    <a:gd name="connsiteX1721" fmla="*/ 153001 w 1197657"/>
                    <a:gd name="connsiteY1721" fmla="*/ 85498 h 926154"/>
                    <a:gd name="connsiteX1722" fmla="*/ 154385 w 1197657"/>
                    <a:gd name="connsiteY1722" fmla="*/ 87113 h 926154"/>
                    <a:gd name="connsiteX1723" fmla="*/ 157992 w 1197657"/>
                    <a:gd name="connsiteY1723" fmla="*/ 93489 h 926154"/>
                    <a:gd name="connsiteX1724" fmla="*/ 160578 w 1197657"/>
                    <a:gd name="connsiteY1724" fmla="*/ 96099 h 926154"/>
                    <a:gd name="connsiteX1725" fmla="*/ 164039 w 1197657"/>
                    <a:gd name="connsiteY1725" fmla="*/ 96451 h 926154"/>
                    <a:gd name="connsiteX1726" fmla="*/ 169090 w 1197657"/>
                    <a:gd name="connsiteY1726" fmla="*/ 94630 h 926154"/>
                    <a:gd name="connsiteX1727" fmla="*/ 176716 w 1197657"/>
                    <a:gd name="connsiteY1727" fmla="*/ 90538 h 926154"/>
                    <a:gd name="connsiteX1728" fmla="*/ 180335 w 1197657"/>
                    <a:gd name="connsiteY1728" fmla="*/ 89870 h 926154"/>
                    <a:gd name="connsiteX1729" fmla="*/ 184864 w 1197657"/>
                    <a:gd name="connsiteY1729" fmla="*/ 91194 h 926154"/>
                    <a:gd name="connsiteX1730" fmla="*/ 195428 w 1197657"/>
                    <a:gd name="connsiteY1730" fmla="*/ 96221 h 926154"/>
                    <a:gd name="connsiteX1731" fmla="*/ 198889 w 1197657"/>
                    <a:gd name="connsiteY1731" fmla="*/ 96901 h 926154"/>
                    <a:gd name="connsiteX1732" fmla="*/ 206284 w 1197657"/>
                    <a:gd name="connsiteY1732" fmla="*/ 95808 h 926154"/>
                    <a:gd name="connsiteX1733" fmla="*/ 220297 w 1197657"/>
                    <a:gd name="connsiteY1733" fmla="*/ 90817 h 926154"/>
                    <a:gd name="connsiteX1734" fmla="*/ 273253 w 1197657"/>
                    <a:gd name="connsiteY1734" fmla="*/ 92189 h 926154"/>
                    <a:gd name="connsiteX1735" fmla="*/ 278705 w 1197657"/>
                    <a:gd name="connsiteY1735" fmla="*/ 94630 h 926154"/>
                    <a:gd name="connsiteX1736" fmla="*/ 293398 w 1197657"/>
                    <a:gd name="connsiteY1736" fmla="*/ 109711 h 926154"/>
                    <a:gd name="connsiteX1737" fmla="*/ 301667 w 1197657"/>
                    <a:gd name="connsiteY1737" fmla="*/ 113731 h 926154"/>
                    <a:gd name="connsiteX1738" fmla="*/ 311819 w 1197657"/>
                    <a:gd name="connsiteY1738" fmla="*/ 114909 h 926154"/>
                    <a:gd name="connsiteX1739" fmla="*/ 349959 w 1197657"/>
                    <a:gd name="connsiteY1739" fmla="*/ 114386 h 926154"/>
                    <a:gd name="connsiteX1740" fmla="*/ 358168 w 1197657"/>
                    <a:gd name="connsiteY1740" fmla="*/ 112638 h 926154"/>
                    <a:gd name="connsiteX1741" fmla="*/ 364944 w 1197657"/>
                    <a:gd name="connsiteY1741" fmla="*/ 107064 h 926154"/>
                    <a:gd name="connsiteX1742" fmla="*/ 367008 w 1197657"/>
                    <a:gd name="connsiteY1742" fmla="*/ 103421 h 926154"/>
                    <a:gd name="connsiteX1743" fmla="*/ 371550 w 1197657"/>
                    <a:gd name="connsiteY1743" fmla="*/ 91048 h 926154"/>
                    <a:gd name="connsiteX1744" fmla="*/ 373505 w 1197657"/>
                    <a:gd name="connsiteY1744" fmla="*/ 87830 h 926154"/>
                    <a:gd name="connsiteX1745" fmla="*/ 375739 w 1197657"/>
                    <a:gd name="connsiteY1745" fmla="*/ 86591 h 926154"/>
                    <a:gd name="connsiteX1746" fmla="*/ 382284 w 1197657"/>
                    <a:gd name="connsiteY1746" fmla="*/ 86021 h 926154"/>
                    <a:gd name="connsiteX1747" fmla="*/ 393079 w 1197657"/>
                    <a:gd name="connsiteY1747" fmla="*/ 82487 h 926154"/>
                    <a:gd name="connsiteX1748" fmla="*/ 396928 w 1197657"/>
                    <a:gd name="connsiteY1748" fmla="*/ 82269 h 926154"/>
                    <a:gd name="connsiteX1749" fmla="*/ 400668 w 1197657"/>
                    <a:gd name="connsiteY1749" fmla="*/ 81491 h 926154"/>
                    <a:gd name="connsiteX1750" fmla="*/ 407493 w 1197657"/>
                    <a:gd name="connsiteY1750" fmla="*/ 76634 h 926154"/>
                    <a:gd name="connsiteX1751" fmla="*/ 411172 w 1197657"/>
                    <a:gd name="connsiteY1751" fmla="*/ 74970 h 926154"/>
                    <a:gd name="connsiteX1752" fmla="*/ 421396 w 1197657"/>
                    <a:gd name="connsiteY1752" fmla="*/ 74400 h 926154"/>
                    <a:gd name="connsiteX1753" fmla="*/ 424724 w 1197657"/>
                    <a:gd name="connsiteY1753" fmla="*/ 73186 h 926154"/>
                    <a:gd name="connsiteX1754" fmla="*/ 433272 w 1197657"/>
                    <a:gd name="connsiteY1754" fmla="*/ 67308 h 926154"/>
                    <a:gd name="connsiteX1755" fmla="*/ 452859 w 1197657"/>
                    <a:gd name="connsiteY1755" fmla="*/ 62730 h 926154"/>
                    <a:gd name="connsiteX1756" fmla="*/ 460776 w 1197657"/>
                    <a:gd name="connsiteY1756" fmla="*/ 62888 h 926154"/>
                    <a:gd name="connsiteX1757" fmla="*/ 463071 w 1197657"/>
                    <a:gd name="connsiteY1757" fmla="*/ 67673 h 926154"/>
                    <a:gd name="connsiteX1758" fmla="*/ 461930 w 1197657"/>
                    <a:gd name="connsiteY1758" fmla="*/ 69713 h 926154"/>
                    <a:gd name="connsiteX1759" fmla="*/ 458712 w 1197657"/>
                    <a:gd name="connsiteY1759" fmla="*/ 71777 h 926154"/>
                    <a:gd name="connsiteX1760" fmla="*/ 457680 w 1197657"/>
                    <a:gd name="connsiteY1760" fmla="*/ 73040 h 926154"/>
                    <a:gd name="connsiteX1761" fmla="*/ 457497 w 1197657"/>
                    <a:gd name="connsiteY1761" fmla="*/ 75226 h 926154"/>
                    <a:gd name="connsiteX1762" fmla="*/ 459343 w 1197657"/>
                    <a:gd name="connsiteY1762" fmla="*/ 82208 h 926154"/>
                    <a:gd name="connsiteX1763" fmla="*/ 460266 w 1197657"/>
                    <a:gd name="connsiteY1763" fmla="*/ 90125 h 926154"/>
                    <a:gd name="connsiteX1764" fmla="*/ 461638 w 1197657"/>
                    <a:gd name="connsiteY1764" fmla="*/ 93003 h 926154"/>
                    <a:gd name="connsiteX1765" fmla="*/ 464856 w 1197657"/>
                    <a:gd name="connsiteY1765" fmla="*/ 95954 h 926154"/>
                    <a:gd name="connsiteX1766" fmla="*/ 471741 w 1197657"/>
                    <a:gd name="connsiteY1766" fmla="*/ 99293 h 926154"/>
                    <a:gd name="connsiteX1767" fmla="*/ 496840 w 1197657"/>
                    <a:gd name="connsiteY1767" fmla="*/ 101211 h 926154"/>
                    <a:gd name="connsiteX1768" fmla="*/ 500750 w 1197657"/>
                    <a:gd name="connsiteY1768" fmla="*/ 100179 h 926154"/>
                    <a:gd name="connsiteX1769" fmla="*/ 507757 w 1197657"/>
                    <a:gd name="connsiteY1769" fmla="*/ 96646 h 926154"/>
                    <a:gd name="connsiteX1770" fmla="*/ 511606 w 1197657"/>
                    <a:gd name="connsiteY1770" fmla="*/ 95298 h 926154"/>
                    <a:gd name="connsiteX1771" fmla="*/ 514873 w 1197657"/>
                    <a:gd name="connsiteY1771" fmla="*/ 94581 h 926154"/>
                    <a:gd name="connsiteX1772" fmla="*/ 516026 w 1197657"/>
                    <a:gd name="connsiteY1772" fmla="*/ 93234 h 926154"/>
                    <a:gd name="connsiteX1773" fmla="*/ 513549 w 1197657"/>
                    <a:gd name="connsiteY1773" fmla="*/ 89931 h 926154"/>
                    <a:gd name="connsiteX1774" fmla="*/ 512930 w 1197657"/>
                    <a:gd name="connsiteY1774" fmla="*/ 86433 h 926154"/>
                    <a:gd name="connsiteX1775" fmla="*/ 515844 w 1197657"/>
                    <a:gd name="connsiteY1775" fmla="*/ 82839 h 926154"/>
                    <a:gd name="connsiteX1776" fmla="*/ 527283 w 1197657"/>
                    <a:gd name="connsiteY1776" fmla="*/ 75311 h 926154"/>
                    <a:gd name="connsiteX1777" fmla="*/ 530780 w 1197657"/>
                    <a:gd name="connsiteY1777" fmla="*/ 74218 h 926154"/>
                    <a:gd name="connsiteX1778" fmla="*/ 534338 w 1197657"/>
                    <a:gd name="connsiteY1778" fmla="*/ 74485 h 926154"/>
                    <a:gd name="connsiteX1779" fmla="*/ 538418 w 1197657"/>
                    <a:gd name="connsiteY1779" fmla="*/ 76197 h 926154"/>
                    <a:gd name="connsiteX1780" fmla="*/ 542085 w 1197657"/>
                    <a:gd name="connsiteY1780" fmla="*/ 76318 h 926154"/>
                    <a:gd name="connsiteX1781" fmla="*/ 544040 w 1197657"/>
                    <a:gd name="connsiteY1781" fmla="*/ 74861 h 926154"/>
                    <a:gd name="connsiteX1782" fmla="*/ 545424 w 1197657"/>
                    <a:gd name="connsiteY1782" fmla="*/ 72615 h 926154"/>
                    <a:gd name="connsiteX1783" fmla="*/ 547440 w 1197657"/>
                    <a:gd name="connsiteY1783" fmla="*/ 70405 h 926154"/>
                    <a:gd name="connsiteX1784" fmla="*/ 556450 w 1197657"/>
                    <a:gd name="connsiteY1784" fmla="*/ 67284 h 926154"/>
                    <a:gd name="connsiteX1785" fmla="*/ 558272 w 1197657"/>
                    <a:gd name="connsiteY1785" fmla="*/ 65402 h 926154"/>
                    <a:gd name="connsiteX1786" fmla="*/ 556790 w 1197657"/>
                    <a:gd name="connsiteY1786" fmla="*/ 60448 h 926154"/>
                    <a:gd name="connsiteX1787" fmla="*/ 550245 w 1197657"/>
                    <a:gd name="connsiteY1787" fmla="*/ 58371 h 926154"/>
                    <a:gd name="connsiteX1788" fmla="*/ 542789 w 1197657"/>
                    <a:gd name="connsiteY1788" fmla="*/ 57169 h 926154"/>
                    <a:gd name="connsiteX1789" fmla="*/ 538430 w 1197657"/>
                    <a:gd name="connsiteY1789" fmla="*/ 54753 h 926154"/>
                    <a:gd name="connsiteX1790" fmla="*/ 537920 w 1197657"/>
                    <a:gd name="connsiteY1790" fmla="*/ 53320 h 926154"/>
                    <a:gd name="connsiteX1791" fmla="*/ 537677 w 1197657"/>
                    <a:gd name="connsiteY1791" fmla="*/ 51826 h 926154"/>
                    <a:gd name="connsiteX1792" fmla="*/ 537738 w 1197657"/>
                    <a:gd name="connsiteY1792" fmla="*/ 50333 h 926154"/>
                    <a:gd name="connsiteX1793" fmla="*/ 538017 w 1197657"/>
                    <a:gd name="connsiteY1793" fmla="*/ 48790 h 926154"/>
                    <a:gd name="connsiteX1794" fmla="*/ 538430 w 1197657"/>
                    <a:gd name="connsiteY1794" fmla="*/ 44795 h 926154"/>
                    <a:gd name="connsiteX1795" fmla="*/ 539110 w 1197657"/>
                    <a:gd name="connsiteY1795" fmla="*/ 43411 h 926154"/>
                    <a:gd name="connsiteX1796" fmla="*/ 539353 w 1197657"/>
                    <a:gd name="connsiteY1796" fmla="*/ 42100 h 926154"/>
                    <a:gd name="connsiteX1797" fmla="*/ 539171 w 1197657"/>
                    <a:gd name="connsiteY1797" fmla="*/ 40861 h 926154"/>
                    <a:gd name="connsiteX1798" fmla="*/ 538430 w 1197657"/>
                    <a:gd name="connsiteY1798" fmla="*/ 39744 h 926154"/>
                    <a:gd name="connsiteX1799" fmla="*/ 534811 w 1197657"/>
                    <a:gd name="connsiteY1799" fmla="*/ 36647 h 926154"/>
                    <a:gd name="connsiteX1800" fmla="*/ 534289 w 1197657"/>
                    <a:gd name="connsiteY1800" fmla="*/ 30952 h 926154"/>
                    <a:gd name="connsiteX1801" fmla="*/ 535783 w 1197657"/>
                    <a:gd name="connsiteY1801" fmla="*/ 24735 h 926154"/>
                    <a:gd name="connsiteX1802" fmla="*/ 538430 w 1197657"/>
                    <a:gd name="connsiteY1802" fmla="*/ 19963 h 926154"/>
                    <a:gd name="connsiteX1803" fmla="*/ 550889 w 1197657"/>
                    <a:gd name="connsiteY1803" fmla="*/ 14110 h 926154"/>
                    <a:gd name="connsiteX1804" fmla="*/ 554726 w 1197657"/>
                    <a:gd name="connsiteY1804" fmla="*/ 11439 h 926154"/>
                    <a:gd name="connsiteX1805" fmla="*/ 553354 w 1197657"/>
                    <a:gd name="connsiteY1805" fmla="*/ 9362 h 926154"/>
                    <a:gd name="connsiteX1806" fmla="*/ 559037 w 1197657"/>
                    <a:gd name="connsiteY1806" fmla="*/ 10455 h 926154"/>
                    <a:gd name="connsiteX1807" fmla="*/ 567087 w 1197657"/>
                    <a:gd name="connsiteY1807" fmla="*/ 15737 h 926154"/>
                    <a:gd name="connsiteX1808" fmla="*/ 584428 w 1197657"/>
                    <a:gd name="connsiteY1808" fmla="*/ 20534 h 926154"/>
                    <a:gd name="connsiteX1809" fmla="*/ 586832 w 1197657"/>
                    <a:gd name="connsiteY1809" fmla="*/ 20704 h 926154"/>
                    <a:gd name="connsiteX1810" fmla="*/ 589940 w 1197657"/>
                    <a:gd name="connsiteY1810" fmla="*/ 20534 h 926154"/>
                    <a:gd name="connsiteX1811" fmla="*/ 592806 w 1197657"/>
                    <a:gd name="connsiteY1811" fmla="*/ 18445 h 926154"/>
                    <a:gd name="connsiteX1812" fmla="*/ 595271 w 1197657"/>
                    <a:gd name="connsiteY1812" fmla="*/ 17194 h 926154"/>
                    <a:gd name="connsiteX1813" fmla="*/ 598258 w 1197657"/>
                    <a:gd name="connsiteY1813" fmla="*/ 16259 h 926154"/>
                    <a:gd name="connsiteX1814" fmla="*/ 603140 w 1197657"/>
                    <a:gd name="connsiteY1814" fmla="*/ 15446 h 926154"/>
                    <a:gd name="connsiteX1815" fmla="*/ 605726 w 1197657"/>
                    <a:gd name="connsiteY1815" fmla="*/ 15907 h 926154"/>
                    <a:gd name="connsiteX1816" fmla="*/ 609916 w 1197657"/>
                    <a:gd name="connsiteY1816" fmla="*/ 17814 h 926154"/>
                    <a:gd name="connsiteX1817" fmla="*/ 613704 w 1197657"/>
                    <a:gd name="connsiteY1817" fmla="*/ 18579 h 926154"/>
                    <a:gd name="connsiteX1818" fmla="*/ 616521 w 1197657"/>
                    <a:gd name="connsiteY1818" fmla="*/ 18117 h 926154"/>
                    <a:gd name="connsiteX1819" fmla="*/ 619399 w 1197657"/>
                    <a:gd name="connsiteY1819" fmla="*/ 16867 h 926154"/>
                    <a:gd name="connsiteX1820" fmla="*/ 625070 w 1197657"/>
                    <a:gd name="connsiteY1820" fmla="*/ 12702 h 926154"/>
                    <a:gd name="connsiteX1821" fmla="*/ 627086 w 1197657"/>
                    <a:gd name="connsiteY1821" fmla="*/ 11572 h 926154"/>
                    <a:gd name="connsiteX1822" fmla="*/ 630704 w 1197657"/>
                    <a:gd name="connsiteY1822" fmla="*/ 10662 h 926154"/>
                    <a:gd name="connsiteX1823" fmla="*/ 645118 w 1197657"/>
                    <a:gd name="connsiteY1823" fmla="*/ 10346 h 926154"/>
                    <a:gd name="connsiteX1824" fmla="*/ 649999 w 1197657"/>
                    <a:gd name="connsiteY1824" fmla="*/ 10686 h 926154"/>
                    <a:gd name="connsiteX1825" fmla="*/ 653618 w 1197657"/>
                    <a:gd name="connsiteY1825" fmla="*/ 11548 h 926154"/>
                    <a:gd name="connsiteX1826" fmla="*/ 657054 w 1197657"/>
                    <a:gd name="connsiteY1826" fmla="*/ 14329 h 926154"/>
                    <a:gd name="connsiteX1827" fmla="*/ 659009 w 1197657"/>
                    <a:gd name="connsiteY1827" fmla="*/ 15507 h 926154"/>
                    <a:gd name="connsiteX1828" fmla="*/ 662227 w 1197657"/>
                    <a:gd name="connsiteY1828" fmla="*/ 16405 h 926154"/>
                    <a:gd name="connsiteX1829" fmla="*/ 664984 w 1197657"/>
                    <a:gd name="connsiteY1829" fmla="*/ 16320 h 926154"/>
                    <a:gd name="connsiteX1830" fmla="*/ 683599 w 1197657"/>
                    <a:gd name="connsiteY1830" fmla="*/ 12289 h 926154"/>
                    <a:gd name="connsiteX1831" fmla="*/ 685821 w 1197657"/>
                    <a:gd name="connsiteY1831" fmla="*/ 12617 h 926154"/>
                    <a:gd name="connsiteX1832" fmla="*/ 686975 w 1197657"/>
                    <a:gd name="connsiteY1832" fmla="*/ 13722 h 926154"/>
                    <a:gd name="connsiteX1833" fmla="*/ 687436 w 1197657"/>
                    <a:gd name="connsiteY1833" fmla="*/ 15677 h 926154"/>
                    <a:gd name="connsiteX1834" fmla="*/ 688237 w 1197657"/>
                    <a:gd name="connsiteY1834" fmla="*/ 17838 h 926154"/>
                    <a:gd name="connsiteX1835" fmla="*/ 689962 w 1197657"/>
                    <a:gd name="connsiteY1835" fmla="*/ 19295 h 926154"/>
                    <a:gd name="connsiteX1836" fmla="*/ 694273 w 1197657"/>
                    <a:gd name="connsiteY1836" fmla="*/ 20679 h 926154"/>
                    <a:gd name="connsiteX1837" fmla="*/ 696798 w 1197657"/>
                    <a:gd name="connsiteY1837" fmla="*/ 20765 h 926154"/>
                    <a:gd name="connsiteX1838" fmla="*/ 698170 w 1197657"/>
                    <a:gd name="connsiteY1838" fmla="*/ 20242 h 926154"/>
                    <a:gd name="connsiteX1839" fmla="*/ 698523 w 1197657"/>
                    <a:gd name="connsiteY1839" fmla="*/ 19162 h 926154"/>
                    <a:gd name="connsiteX1840" fmla="*/ 698292 w 1197657"/>
                    <a:gd name="connsiteY1840" fmla="*/ 16514 h 926154"/>
                    <a:gd name="connsiteX1841" fmla="*/ 698340 w 1197657"/>
                    <a:gd name="connsiteY1841" fmla="*/ 15251 h 926154"/>
                    <a:gd name="connsiteX1842" fmla="*/ 699093 w 1197657"/>
                    <a:gd name="connsiteY1842" fmla="*/ 13697 h 926154"/>
                    <a:gd name="connsiteX1843" fmla="*/ 700587 w 1197657"/>
                    <a:gd name="connsiteY1843" fmla="*/ 12228 h 926154"/>
                    <a:gd name="connsiteX1844" fmla="*/ 703453 w 1197657"/>
                    <a:gd name="connsiteY1844" fmla="*/ 10941 h 926154"/>
                    <a:gd name="connsiteX1845" fmla="*/ 705420 w 1197657"/>
                    <a:gd name="connsiteY1845" fmla="*/ 10625 h 926154"/>
                    <a:gd name="connsiteX1846" fmla="*/ 707193 w 1197657"/>
                    <a:gd name="connsiteY1846" fmla="*/ 10831 h 926154"/>
                    <a:gd name="connsiteX1847" fmla="*/ 708407 w 1197657"/>
                    <a:gd name="connsiteY1847" fmla="*/ 11572 h 926154"/>
                    <a:gd name="connsiteX1848" fmla="*/ 710289 w 1197657"/>
                    <a:gd name="connsiteY1848" fmla="*/ 14365 h 926154"/>
                    <a:gd name="connsiteX1849" fmla="*/ 711843 w 1197657"/>
                    <a:gd name="connsiteY1849" fmla="*/ 15567 h 926154"/>
                    <a:gd name="connsiteX1850" fmla="*/ 715401 w 1197657"/>
                    <a:gd name="connsiteY1850" fmla="*/ 16514 h 926154"/>
                    <a:gd name="connsiteX1851" fmla="*/ 718048 w 1197657"/>
                    <a:gd name="connsiteY1851" fmla="*/ 16284 h 926154"/>
                    <a:gd name="connsiteX1852" fmla="*/ 720513 w 1197657"/>
                    <a:gd name="connsiteY1852" fmla="*/ 15397 h 926154"/>
                    <a:gd name="connsiteX1853" fmla="*/ 722286 w 1197657"/>
                    <a:gd name="connsiteY1853" fmla="*/ 13952 h 926154"/>
                    <a:gd name="connsiteX1854" fmla="*/ 725334 w 1197657"/>
                    <a:gd name="connsiteY1854" fmla="*/ 10431 h 926154"/>
                    <a:gd name="connsiteX1855" fmla="*/ 726306 w 1197657"/>
                    <a:gd name="connsiteY1855" fmla="*/ 9654 h 926154"/>
                    <a:gd name="connsiteX1856" fmla="*/ 727799 w 1197657"/>
                    <a:gd name="connsiteY1856" fmla="*/ 8877 h 926154"/>
                    <a:gd name="connsiteX1857" fmla="*/ 736761 w 1197657"/>
                    <a:gd name="connsiteY1857" fmla="*/ 6666 h 926154"/>
                    <a:gd name="connsiteX1858" fmla="*/ 739845 w 1197657"/>
                    <a:gd name="connsiteY1858" fmla="*/ 6302 h 926154"/>
                    <a:gd name="connsiteX1859" fmla="*/ 741399 w 1197657"/>
                    <a:gd name="connsiteY1859" fmla="*/ 0 h 926154"/>
                    <a:gd name="connsiteX1860" fmla="*/ 739129 w 1197657"/>
                    <a:gd name="connsiteY1860" fmla="*/ 267 h 926154"/>
                    <a:gd name="connsiteX1861" fmla="*/ 736032 w 1197657"/>
                    <a:gd name="connsiteY1861" fmla="*/ 631 h 926154"/>
                    <a:gd name="connsiteX1862" fmla="*/ 735656 w 1197657"/>
                    <a:gd name="connsiteY1862" fmla="*/ 680 h 926154"/>
                    <a:gd name="connsiteX1863" fmla="*/ 735291 w 1197657"/>
                    <a:gd name="connsiteY1863" fmla="*/ 765 h 926154"/>
                    <a:gd name="connsiteX1864" fmla="*/ 726330 w 1197657"/>
                    <a:gd name="connsiteY1864" fmla="*/ 2975 h 926154"/>
                    <a:gd name="connsiteX1865" fmla="*/ 725626 w 1197657"/>
                    <a:gd name="connsiteY1865" fmla="*/ 3145 h 926154"/>
                    <a:gd name="connsiteX1866" fmla="*/ 724982 w 1197657"/>
                    <a:gd name="connsiteY1866" fmla="*/ 3485 h 926154"/>
                    <a:gd name="connsiteX1867" fmla="*/ 723488 w 1197657"/>
                    <a:gd name="connsiteY1867" fmla="*/ 4250 h 926154"/>
                    <a:gd name="connsiteX1868" fmla="*/ 722966 w 1197657"/>
                    <a:gd name="connsiteY1868" fmla="*/ 4529 h 926154"/>
                    <a:gd name="connsiteX1869" fmla="*/ 722505 w 1197657"/>
                    <a:gd name="connsiteY1869" fmla="*/ 4894 h 926154"/>
                    <a:gd name="connsiteX1870" fmla="*/ 721533 w 1197657"/>
                    <a:gd name="connsiteY1870" fmla="*/ 5671 h 926154"/>
                    <a:gd name="connsiteX1871" fmla="*/ 721096 w 1197657"/>
                    <a:gd name="connsiteY1871" fmla="*/ 6023 h 926154"/>
                    <a:gd name="connsiteX1872" fmla="*/ 720732 w 1197657"/>
                    <a:gd name="connsiteY1872" fmla="*/ 6448 h 926154"/>
                    <a:gd name="connsiteX1873" fmla="*/ 718024 w 1197657"/>
                    <a:gd name="connsiteY1873" fmla="*/ 9569 h 926154"/>
                    <a:gd name="connsiteX1874" fmla="*/ 717466 w 1197657"/>
                    <a:gd name="connsiteY1874" fmla="*/ 10030 h 926154"/>
                    <a:gd name="connsiteX1875" fmla="*/ 716725 w 1197657"/>
                    <a:gd name="connsiteY1875" fmla="*/ 10297 h 926154"/>
                    <a:gd name="connsiteX1876" fmla="*/ 715923 w 1197657"/>
                    <a:gd name="connsiteY1876" fmla="*/ 10370 h 926154"/>
                    <a:gd name="connsiteX1877" fmla="*/ 714685 w 1197657"/>
                    <a:gd name="connsiteY1877" fmla="*/ 10042 h 926154"/>
                    <a:gd name="connsiteX1878" fmla="*/ 713422 w 1197657"/>
                    <a:gd name="connsiteY1878" fmla="*/ 8172 h 926154"/>
                    <a:gd name="connsiteX1879" fmla="*/ 712681 w 1197657"/>
                    <a:gd name="connsiteY1879" fmla="*/ 7079 h 926154"/>
                    <a:gd name="connsiteX1880" fmla="*/ 711552 w 1197657"/>
                    <a:gd name="connsiteY1880" fmla="*/ 6387 h 926154"/>
                    <a:gd name="connsiteX1881" fmla="*/ 710338 w 1197657"/>
                    <a:gd name="connsiteY1881" fmla="*/ 5646 h 926154"/>
                    <a:gd name="connsiteX1882" fmla="*/ 709208 w 1197657"/>
                    <a:gd name="connsiteY1882" fmla="*/ 4954 h 926154"/>
                    <a:gd name="connsiteX1883" fmla="*/ 707885 w 1197657"/>
                    <a:gd name="connsiteY1883" fmla="*/ 4797 h 926154"/>
                    <a:gd name="connsiteX1884" fmla="*/ 706112 w 1197657"/>
                    <a:gd name="connsiteY1884" fmla="*/ 4590 h 926154"/>
                    <a:gd name="connsiteX1885" fmla="*/ 705274 w 1197657"/>
                    <a:gd name="connsiteY1885" fmla="*/ 4493 h 926154"/>
                    <a:gd name="connsiteX1886" fmla="*/ 704448 w 1197657"/>
                    <a:gd name="connsiteY1886" fmla="*/ 4626 h 926154"/>
                    <a:gd name="connsiteX1887" fmla="*/ 702481 w 1197657"/>
                    <a:gd name="connsiteY1887" fmla="*/ 4942 h 926154"/>
                    <a:gd name="connsiteX1888" fmla="*/ 701692 w 1197657"/>
                    <a:gd name="connsiteY1888" fmla="*/ 5064 h 926154"/>
                    <a:gd name="connsiteX1889" fmla="*/ 700951 w 1197657"/>
                    <a:gd name="connsiteY1889" fmla="*/ 5391 h 926154"/>
                    <a:gd name="connsiteX1890" fmla="*/ 698085 w 1197657"/>
                    <a:gd name="connsiteY1890" fmla="*/ 6679 h 926154"/>
                    <a:gd name="connsiteX1891" fmla="*/ 697102 w 1197657"/>
                    <a:gd name="connsiteY1891" fmla="*/ 7128 h 926154"/>
                    <a:gd name="connsiteX1892" fmla="*/ 696337 w 1197657"/>
                    <a:gd name="connsiteY1892" fmla="*/ 7881 h 926154"/>
                    <a:gd name="connsiteX1893" fmla="*/ 694843 w 1197657"/>
                    <a:gd name="connsiteY1893" fmla="*/ 9350 h 926154"/>
                    <a:gd name="connsiteX1894" fmla="*/ 694090 w 1197657"/>
                    <a:gd name="connsiteY1894" fmla="*/ 10091 h 926154"/>
                    <a:gd name="connsiteX1895" fmla="*/ 693629 w 1197657"/>
                    <a:gd name="connsiteY1895" fmla="*/ 11038 h 926154"/>
                    <a:gd name="connsiteX1896" fmla="*/ 692925 w 1197657"/>
                    <a:gd name="connsiteY1896" fmla="*/ 12483 h 926154"/>
                    <a:gd name="connsiteX1897" fmla="*/ 692888 w 1197657"/>
                    <a:gd name="connsiteY1897" fmla="*/ 12325 h 926154"/>
                    <a:gd name="connsiteX1898" fmla="*/ 692475 w 1197657"/>
                    <a:gd name="connsiteY1898" fmla="*/ 10564 h 926154"/>
                    <a:gd name="connsiteX1899" fmla="*/ 691164 w 1197657"/>
                    <a:gd name="connsiteY1899" fmla="*/ 9314 h 926154"/>
                    <a:gd name="connsiteX1900" fmla="*/ 690010 w 1197657"/>
                    <a:gd name="connsiteY1900" fmla="*/ 8209 h 926154"/>
                    <a:gd name="connsiteX1901" fmla="*/ 688614 w 1197657"/>
                    <a:gd name="connsiteY1901" fmla="*/ 6873 h 926154"/>
                    <a:gd name="connsiteX1902" fmla="*/ 686707 w 1197657"/>
                    <a:gd name="connsiteY1902" fmla="*/ 6594 h 926154"/>
                    <a:gd name="connsiteX1903" fmla="*/ 684485 w 1197657"/>
                    <a:gd name="connsiteY1903" fmla="*/ 6266 h 926154"/>
                    <a:gd name="connsiteX1904" fmla="*/ 683392 w 1197657"/>
                    <a:gd name="connsiteY1904" fmla="*/ 6108 h 926154"/>
                    <a:gd name="connsiteX1905" fmla="*/ 682312 w 1197657"/>
                    <a:gd name="connsiteY1905" fmla="*/ 6339 h 926154"/>
                    <a:gd name="connsiteX1906" fmla="*/ 664243 w 1197657"/>
                    <a:gd name="connsiteY1906" fmla="*/ 10249 h 926154"/>
                    <a:gd name="connsiteX1907" fmla="*/ 662968 w 1197657"/>
                    <a:gd name="connsiteY1907" fmla="*/ 10285 h 926154"/>
                    <a:gd name="connsiteX1908" fmla="*/ 661438 w 1197657"/>
                    <a:gd name="connsiteY1908" fmla="*/ 9848 h 926154"/>
                    <a:gd name="connsiteX1909" fmla="*/ 660552 w 1197657"/>
                    <a:gd name="connsiteY1909" fmla="*/ 9314 h 926154"/>
                    <a:gd name="connsiteX1910" fmla="*/ 657455 w 1197657"/>
                    <a:gd name="connsiteY1910" fmla="*/ 6800 h 926154"/>
                    <a:gd name="connsiteX1911" fmla="*/ 656387 w 1197657"/>
                    <a:gd name="connsiteY1911" fmla="*/ 5938 h 926154"/>
                    <a:gd name="connsiteX1912" fmla="*/ 655051 w 1197657"/>
                    <a:gd name="connsiteY1912" fmla="*/ 5622 h 926154"/>
                    <a:gd name="connsiteX1913" fmla="*/ 651432 w 1197657"/>
                    <a:gd name="connsiteY1913" fmla="*/ 4760 h 926154"/>
                    <a:gd name="connsiteX1914" fmla="*/ 650934 w 1197657"/>
                    <a:gd name="connsiteY1914" fmla="*/ 4639 h 926154"/>
                    <a:gd name="connsiteX1915" fmla="*/ 650436 w 1197657"/>
                    <a:gd name="connsiteY1915" fmla="*/ 4602 h 926154"/>
                    <a:gd name="connsiteX1916" fmla="*/ 645555 w 1197657"/>
                    <a:gd name="connsiteY1916" fmla="*/ 4262 h 926154"/>
                    <a:gd name="connsiteX1917" fmla="*/ 630595 w 1197657"/>
                    <a:gd name="connsiteY1917" fmla="*/ 4566 h 926154"/>
                    <a:gd name="connsiteX1918" fmla="*/ 629903 w 1197657"/>
                    <a:gd name="connsiteY1918" fmla="*/ 4578 h 926154"/>
                    <a:gd name="connsiteX1919" fmla="*/ 629235 w 1197657"/>
                    <a:gd name="connsiteY1919" fmla="*/ 4748 h 926154"/>
                    <a:gd name="connsiteX1920" fmla="*/ 625616 w 1197657"/>
                    <a:gd name="connsiteY1920" fmla="*/ 5659 h 926154"/>
                    <a:gd name="connsiteX1921" fmla="*/ 624839 w 1197657"/>
                    <a:gd name="connsiteY1921" fmla="*/ 5853 h 926154"/>
                    <a:gd name="connsiteX1922" fmla="*/ 624147 w 1197657"/>
                    <a:gd name="connsiteY1922" fmla="*/ 6242 h 926154"/>
                    <a:gd name="connsiteX1923" fmla="*/ 622131 w 1197657"/>
                    <a:gd name="connsiteY1923" fmla="*/ 7371 h 926154"/>
                    <a:gd name="connsiteX1924" fmla="*/ 621803 w 1197657"/>
                    <a:gd name="connsiteY1924" fmla="*/ 7553 h 926154"/>
                    <a:gd name="connsiteX1925" fmla="*/ 621500 w 1197657"/>
                    <a:gd name="connsiteY1925" fmla="*/ 7784 h 926154"/>
                    <a:gd name="connsiteX1926" fmla="*/ 616376 w 1197657"/>
                    <a:gd name="connsiteY1926" fmla="*/ 11548 h 926154"/>
                    <a:gd name="connsiteX1927" fmla="*/ 614821 w 1197657"/>
                    <a:gd name="connsiteY1927" fmla="*/ 12228 h 926154"/>
                    <a:gd name="connsiteX1928" fmla="*/ 613850 w 1197657"/>
                    <a:gd name="connsiteY1928" fmla="*/ 12386 h 926154"/>
                    <a:gd name="connsiteX1929" fmla="*/ 611834 w 1197657"/>
                    <a:gd name="connsiteY1929" fmla="*/ 11985 h 926154"/>
                    <a:gd name="connsiteX1930" fmla="*/ 608276 w 1197657"/>
                    <a:gd name="connsiteY1930" fmla="*/ 10358 h 926154"/>
                    <a:gd name="connsiteX1931" fmla="*/ 607584 w 1197657"/>
                    <a:gd name="connsiteY1931" fmla="*/ 10042 h 926154"/>
                    <a:gd name="connsiteX1932" fmla="*/ 606831 w 1197657"/>
                    <a:gd name="connsiteY1932" fmla="*/ 9909 h 926154"/>
                    <a:gd name="connsiteX1933" fmla="*/ 604245 w 1197657"/>
                    <a:gd name="connsiteY1933" fmla="*/ 9447 h 926154"/>
                    <a:gd name="connsiteX1934" fmla="*/ 603213 w 1197657"/>
                    <a:gd name="connsiteY1934" fmla="*/ 9265 h 926154"/>
                    <a:gd name="connsiteX1935" fmla="*/ 602180 w 1197657"/>
                    <a:gd name="connsiteY1935" fmla="*/ 9435 h 926154"/>
                    <a:gd name="connsiteX1936" fmla="*/ 597299 w 1197657"/>
                    <a:gd name="connsiteY1936" fmla="*/ 10249 h 926154"/>
                    <a:gd name="connsiteX1937" fmla="*/ 596886 w 1197657"/>
                    <a:gd name="connsiteY1937" fmla="*/ 10322 h 926154"/>
                    <a:gd name="connsiteX1938" fmla="*/ 596485 w 1197657"/>
                    <a:gd name="connsiteY1938" fmla="*/ 10443 h 926154"/>
                    <a:gd name="connsiteX1939" fmla="*/ 593498 w 1197657"/>
                    <a:gd name="connsiteY1939" fmla="*/ 11378 h 926154"/>
                    <a:gd name="connsiteX1940" fmla="*/ 593013 w 1197657"/>
                    <a:gd name="connsiteY1940" fmla="*/ 11524 h 926154"/>
                    <a:gd name="connsiteX1941" fmla="*/ 592563 w 1197657"/>
                    <a:gd name="connsiteY1941" fmla="*/ 11754 h 926154"/>
                    <a:gd name="connsiteX1942" fmla="*/ 590098 w 1197657"/>
                    <a:gd name="connsiteY1942" fmla="*/ 13005 h 926154"/>
                    <a:gd name="connsiteX1943" fmla="*/ 589661 w 1197657"/>
                    <a:gd name="connsiteY1943" fmla="*/ 13224 h 926154"/>
                    <a:gd name="connsiteX1944" fmla="*/ 589273 w 1197657"/>
                    <a:gd name="connsiteY1944" fmla="*/ 13503 h 926154"/>
                    <a:gd name="connsiteX1945" fmla="*/ 587852 w 1197657"/>
                    <a:gd name="connsiteY1945" fmla="*/ 14535 h 926154"/>
                    <a:gd name="connsiteX1946" fmla="*/ 586917 w 1197657"/>
                    <a:gd name="connsiteY1946" fmla="*/ 14584 h 926154"/>
                    <a:gd name="connsiteX1947" fmla="*/ 585496 w 1197657"/>
                    <a:gd name="connsiteY1947" fmla="*/ 14487 h 926154"/>
                    <a:gd name="connsiteX1948" fmla="*/ 569662 w 1197657"/>
                    <a:gd name="connsiteY1948" fmla="*/ 10103 h 926154"/>
                    <a:gd name="connsiteX1949" fmla="*/ 562400 w 1197657"/>
                    <a:gd name="connsiteY1949" fmla="*/ 5343 h 926154"/>
                    <a:gd name="connsiteX1950" fmla="*/ 561392 w 1197657"/>
                    <a:gd name="connsiteY1950" fmla="*/ 4687 h 926154"/>
                    <a:gd name="connsiteX1951" fmla="*/ 560214 w 1197657"/>
                    <a:gd name="connsiteY1951" fmla="*/ 4457 h 926154"/>
                    <a:gd name="connsiteX1952" fmla="*/ 554532 w 1197657"/>
                    <a:gd name="connsiteY1952" fmla="*/ 3364 h 926154"/>
                    <a:gd name="connsiteX1953" fmla="*/ 540349 w 1197657"/>
                    <a:gd name="connsiteY1953" fmla="*/ 644 h 926154"/>
                    <a:gd name="connsiteX1954" fmla="*/ 546262 w 1197657"/>
                    <a:gd name="connsiteY1954" fmla="*/ 9557 h 926154"/>
                    <a:gd name="connsiteX1955" fmla="*/ 535892 w 1197657"/>
                    <a:gd name="connsiteY1955" fmla="*/ 14426 h 926154"/>
                    <a:gd name="connsiteX1956" fmla="*/ 534119 w 1197657"/>
                    <a:gd name="connsiteY1956" fmla="*/ 15264 h 926154"/>
                    <a:gd name="connsiteX1957" fmla="*/ 533160 w 1197657"/>
                    <a:gd name="connsiteY1957" fmla="*/ 16988 h 926154"/>
                    <a:gd name="connsiteX1958" fmla="*/ 530513 w 1197657"/>
                    <a:gd name="connsiteY1958" fmla="*/ 21760 h 926154"/>
                    <a:gd name="connsiteX1959" fmla="*/ 530112 w 1197657"/>
                    <a:gd name="connsiteY1959" fmla="*/ 22477 h 926154"/>
                    <a:gd name="connsiteX1960" fmla="*/ 529918 w 1197657"/>
                    <a:gd name="connsiteY1960" fmla="*/ 23278 h 926154"/>
                    <a:gd name="connsiteX1961" fmla="*/ 528424 w 1197657"/>
                    <a:gd name="connsiteY1961" fmla="*/ 29495 h 926154"/>
                    <a:gd name="connsiteX1962" fmla="*/ 528194 w 1197657"/>
                    <a:gd name="connsiteY1962" fmla="*/ 30467 h 926154"/>
                    <a:gd name="connsiteX1963" fmla="*/ 528279 w 1197657"/>
                    <a:gd name="connsiteY1963" fmla="*/ 31462 h 926154"/>
                    <a:gd name="connsiteX1964" fmla="*/ 528801 w 1197657"/>
                    <a:gd name="connsiteY1964" fmla="*/ 37157 h 926154"/>
                    <a:gd name="connsiteX1965" fmla="*/ 529031 w 1197657"/>
                    <a:gd name="connsiteY1965" fmla="*/ 39622 h 926154"/>
                    <a:gd name="connsiteX1966" fmla="*/ 530901 w 1197657"/>
                    <a:gd name="connsiteY1966" fmla="*/ 41225 h 926154"/>
                    <a:gd name="connsiteX1967" fmla="*/ 532686 w 1197657"/>
                    <a:gd name="connsiteY1967" fmla="*/ 42755 h 926154"/>
                    <a:gd name="connsiteX1968" fmla="*/ 532541 w 1197657"/>
                    <a:gd name="connsiteY1968" fmla="*/ 43047 h 926154"/>
                    <a:gd name="connsiteX1969" fmla="*/ 532431 w 1197657"/>
                    <a:gd name="connsiteY1969" fmla="*/ 44140 h 926154"/>
                    <a:gd name="connsiteX1970" fmla="*/ 532019 w 1197657"/>
                    <a:gd name="connsiteY1970" fmla="*/ 48135 h 926154"/>
                    <a:gd name="connsiteX1971" fmla="*/ 531800 w 1197657"/>
                    <a:gd name="connsiteY1971" fmla="*/ 49215 h 926154"/>
                    <a:gd name="connsiteX1972" fmla="*/ 531727 w 1197657"/>
                    <a:gd name="connsiteY1972" fmla="*/ 49616 h 926154"/>
                    <a:gd name="connsiteX1973" fmla="*/ 531715 w 1197657"/>
                    <a:gd name="connsiteY1973" fmla="*/ 50029 h 926154"/>
                    <a:gd name="connsiteX1974" fmla="*/ 531654 w 1197657"/>
                    <a:gd name="connsiteY1974" fmla="*/ 51522 h 926154"/>
                    <a:gd name="connsiteX1975" fmla="*/ 531630 w 1197657"/>
                    <a:gd name="connsiteY1975" fmla="*/ 52142 h 926154"/>
                    <a:gd name="connsiteX1976" fmla="*/ 531727 w 1197657"/>
                    <a:gd name="connsiteY1976" fmla="*/ 52761 h 926154"/>
                    <a:gd name="connsiteX1977" fmla="*/ 531970 w 1197657"/>
                    <a:gd name="connsiteY1977" fmla="*/ 54255 h 926154"/>
                    <a:gd name="connsiteX1978" fmla="*/ 532055 w 1197657"/>
                    <a:gd name="connsiteY1978" fmla="*/ 54801 h 926154"/>
                    <a:gd name="connsiteX1979" fmla="*/ 532237 w 1197657"/>
                    <a:gd name="connsiteY1979" fmla="*/ 55311 h 926154"/>
                    <a:gd name="connsiteX1980" fmla="*/ 532747 w 1197657"/>
                    <a:gd name="connsiteY1980" fmla="*/ 56744 h 926154"/>
                    <a:gd name="connsiteX1981" fmla="*/ 533512 w 1197657"/>
                    <a:gd name="connsiteY1981" fmla="*/ 58905 h 926154"/>
                    <a:gd name="connsiteX1982" fmla="*/ 535528 w 1197657"/>
                    <a:gd name="connsiteY1982" fmla="*/ 60023 h 926154"/>
                    <a:gd name="connsiteX1983" fmla="*/ 539887 w 1197657"/>
                    <a:gd name="connsiteY1983" fmla="*/ 62439 h 926154"/>
                    <a:gd name="connsiteX1984" fmla="*/ 540822 w 1197657"/>
                    <a:gd name="connsiteY1984" fmla="*/ 62949 h 926154"/>
                    <a:gd name="connsiteX1985" fmla="*/ 541867 w 1197657"/>
                    <a:gd name="connsiteY1985" fmla="*/ 63119 h 926154"/>
                    <a:gd name="connsiteX1986" fmla="*/ 547307 w 1197657"/>
                    <a:gd name="connsiteY1986" fmla="*/ 63993 h 926154"/>
                    <a:gd name="connsiteX1987" fmla="*/ 545509 w 1197657"/>
                    <a:gd name="connsiteY1987" fmla="*/ 64613 h 926154"/>
                    <a:gd name="connsiteX1988" fmla="*/ 544052 w 1197657"/>
                    <a:gd name="connsiteY1988" fmla="*/ 65123 h 926154"/>
                    <a:gd name="connsiteX1989" fmla="*/ 543008 w 1197657"/>
                    <a:gd name="connsiteY1989" fmla="*/ 66264 h 926154"/>
                    <a:gd name="connsiteX1990" fmla="*/ 540992 w 1197657"/>
                    <a:gd name="connsiteY1990" fmla="*/ 68474 h 926154"/>
                    <a:gd name="connsiteX1991" fmla="*/ 540616 w 1197657"/>
                    <a:gd name="connsiteY1991" fmla="*/ 68899 h 926154"/>
                    <a:gd name="connsiteX1992" fmla="*/ 540324 w 1197657"/>
                    <a:gd name="connsiteY1992" fmla="*/ 69385 h 926154"/>
                    <a:gd name="connsiteX1993" fmla="*/ 539863 w 1197657"/>
                    <a:gd name="connsiteY1993" fmla="*/ 70126 h 926154"/>
                    <a:gd name="connsiteX1994" fmla="*/ 539802 w 1197657"/>
                    <a:gd name="connsiteY1994" fmla="*/ 70126 h 926154"/>
                    <a:gd name="connsiteX1995" fmla="*/ 536754 w 1197657"/>
                    <a:gd name="connsiteY1995" fmla="*/ 68850 h 926154"/>
                    <a:gd name="connsiteX1996" fmla="*/ 535856 w 1197657"/>
                    <a:gd name="connsiteY1996" fmla="*/ 68474 h 926154"/>
                    <a:gd name="connsiteX1997" fmla="*/ 534872 w 1197657"/>
                    <a:gd name="connsiteY1997" fmla="*/ 68401 h 926154"/>
                    <a:gd name="connsiteX1998" fmla="*/ 531314 w 1197657"/>
                    <a:gd name="connsiteY1998" fmla="*/ 68134 h 926154"/>
                    <a:gd name="connsiteX1999" fmla="*/ 530149 w 1197657"/>
                    <a:gd name="connsiteY1999" fmla="*/ 68049 h 926154"/>
                    <a:gd name="connsiteX2000" fmla="*/ 529031 w 1197657"/>
                    <a:gd name="connsiteY2000" fmla="*/ 68401 h 926154"/>
                    <a:gd name="connsiteX2001" fmla="*/ 525534 w 1197657"/>
                    <a:gd name="connsiteY2001" fmla="*/ 69494 h 926154"/>
                    <a:gd name="connsiteX2002" fmla="*/ 524721 w 1197657"/>
                    <a:gd name="connsiteY2002" fmla="*/ 69749 h 926154"/>
                    <a:gd name="connsiteX2003" fmla="*/ 524004 w 1197657"/>
                    <a:gd name="connsiteY2003" fmla="*/ 70223 h 926154"/>
                    <a:gd name="connsiteX2004" fmla="*/ 512566 w 1197657"/>
                    <a:gd name="connsiteY2004" fmla="*/ 77751 h 926154"/>
                    <a:gd name="connsiteX2005" fmla="*/ 511776 w 1197657"/>
                    <a:gd name="connsiteY2005" fmla="*/ 78261 h 926154"/>
                    <a:gd name="connsiteX2006" fmla="*/ 511181 w 1197657"/>
                    <a:gd name="connsiteY2006" fmla="*/ 78990 h 926154"/>
                    <a:gd name="connsiteX2007" fmla="*/ 508267 w 1197657"/>
                    <a:gd name="connsiteY2007" fmla="*/ 82584 h 926154"/>
                    <a:gd name="connsiteX2008" fmla="*/ 506518 w 1197657"/>
                    <a:gd name="connsiteY2008" fmla="*/ 84733 h 926154"/>
                    <a:gd name="connsiteX2009" fmla="*/ 507004 w 1197657"/>
                    <a:gd name="connsiteY2009" fmla="*/ 87466 h 926154"/>
                    <a:gd name="connsiteX2010" fmla="*/ 507502 w 1197657"/>
                    <a:gd name="connsiteY2010" fmla="*/ 90295 h 926154"/>
                    <a:gd name="connsiteX2011" fmla="*/ 505802 w 1197657"/>
                    <a:gd name="connsiteY2011" fmla="*/ 90890 h 926154"/>
                    <a:gd name="connsiteX2012" fmla="*/ 505426 w 1197657"/>
                    <a:gd name="connsiteY2012" fmla="*/ 91023 h 926154"/>
                    <a:gd name="connsiteX2013" fmla="*/ 505073 w 1197657"/>
                    <a:gd name="connsiteY2013" fmla="*/ 91206 h 926154"/>
                    <a:gd name="connsiteX2014" fmla="*/ 498638 w 1197657"/>
                    <a:gd name="connsiteY2014" fmla="*/ 94448 h 926154"/>
                    <a:gd name="connsiteX2015" fmla="*/ 496343 w 1197657"/>
                    <a:gd name="connsiteY2015" fmla="*/ 95055 h 926154"/>
                    <a:gd name="connsiteX2016" fmla="*/ 473417 w 1197657"/>
                    <a:gd name="connsiteY2016" fmla="*/ 93306 h 926154"/>
                    <a:gd name="connsiteX2017" fmla="*/ 468365 w 1197657"/>
                    <a:gd name="connsiteY2017" fmla="*/ 90854 h 926154"/>
                    <a:gd name="connsiteX2018" fmla="*/ 466665 w 1197657"/>
                    <a:gd name="connsiteY2018" fmla="*/ 89299 h 926154"/>
                    <a:gd name="connsiteX2019" fmla="*/ 466228 w 1197657"/>
                    <a:gd name="connsiteY2019" fmla="*/ 88401 h 926154"/>
                    <a:gd name="connsiteX2020" fmla="*/ 465427 w 1197657"/>
                    <a:gd name="connsiteY2020" fmla="*/ 81491 h 926154"/>
                    <a:gd name="connsiteX2021" fmla="*/ 465378 w 1197657"/>
                    <a:gd name="connsiteY2021" fmla="*/ 81054 h 926154"/>
                    <a:gd name="connsiteX2022" fmla="*/ 465269 w 1197657"/>
                    <a:gd name="connsiteY2022" fmla="*/ 80629 h 926154"/>
                    <a:gd name="connsiteX2023" fmla="*/ 463945 w 1197657"/>
                    <a:gd name="connsiteY2023" fmla="*/ 75638 h 926154"/>
                    <a:gd name="connsiteX2024" fmla="*/ 465257 w 1197657"/>
                    <a:gd name="connsiteY2024" fmla="*/ 74801 h 926154"/>
                    <a:gd name="connsiteX2025" fmla="*/ 466544 w 1197657"/>
                    <a:gd name="connsiteY2025" fmla="*/ 73975 h 926154"/>
                    <a:gd name="connsiteX2026" fmla="*/ 467285 w 1197657"/>
                    <a:gd name="connsiteY2026" fmla="*/ 72651 h 926154"/>
                    <a:gd name="connsiteX2027" fmla="*/ 468426 w 1197657"/>
                    <a:gd name="connsiteY2027" fmla="*/ 70611 h 926154"/>
                    <a:gd name="connsiteX2028" fmla="*/ 469956 w 1197657"/>
                    <a:gd name="connsiteY2028" fmla="*/ 67867 h 926154"/>
                    <a:gd name="connsiteX2029" fmla="*/ 468596 w 1197657"/>
                    <a:gd name="connsiteY2029" fmla="*/ 65026 h 926154"/>
                    <a:gd name="connsiteX2030" fmla="*/ 466301 w 1197657"/>
                    <a:gd name="connsiteY2030" fmla="*/ 60241 h 926154"/>
                    <a:gd name="connsiteX2031" fmla="*/ 464686 w 1197657"/>
                    <a:gd name="connsiteY2031" fmla="*/ 56878 h 926154"/>
                    <a:gd name="connsiteX2032" fmla="*/ 460946 w 1197657"/>
                    <a:gd name="connsiteY2032" fmla="*/ 56805 h 926154"/>
                    <a:gd name="connsiteX2033" fmla="*/ 453029 w 1197657"/>
                    <a:gd name="connsiteY2033" fmla="*/ 56647 h 926154"/>
                    <a:gd name="connsiteX2034" fmla="*/ 452264 w 1197657"/>
                    <a:gd name="connsiteY2034" fmla="*/ 56635 h 926154"/>
                    <a:gd name="connsiteX2035" fmla="*/ 451523 w 1197657"/>
                    <a:gd name="connsiteY2035" fmla="*/ 56805 h 926154"/>
                    <a:gd name="connsiteX2036" fmla="*/ 431936 w 1197657"/>
                    <a:gd name="connsiteY2036" fmla="*/ 61383 h 926154"/>
                    <a:gd name="connsiteX2037" fmla="*/ 430819 w 1197657"/>
                    <a:gd name="connsiteY2037" fmla="*/ 61638 h 926154"/>
                    <a:gd name="connsiteX2038" fmla="*/ 429872 w 1197657"/>
                    <a:gd name="connsiteY2038" fmla="*/ 62281 h 926154"/>
                    <a:gd name="connsiteX2039" fmla="*/ 421955 w 1197657"/>
                    <a:gd name="connsiteY2039" fmla="*/ 67721 h 926154"/>
                    <a:gd name="connsiteX2040" fmla="*/ 420194 w 1197657"/>
                    <a:gd name="connsiteY2040" fmla="*/ 68365 h 926154"/>
                    <a:gd name="connsiteX2041" fmla="*/ 410868 w 1197657"/>
                    <a:gd name="connsiteY2041" fmla="*/ 68887 h 926154"/>
                    <a:gd name="connsiteX2042" fmla="*/ 409739 w 1197657"/>
                    <a:gd name="connsiteY2042" fmla="*/ 68948 h 926154"/>
                    <a:gd name="connsiteX2043" fmla="*/ 408719 w 1197657"/>
                    <a:gd name="connsiteY2043" fmla="*/ 69421 h 926154"/>
                    <a:gd name="connsiteX2044" fmla="*/ 405040 w 1197657"/>
                    <a:gd name="connsiteY2044" fmla="*/ 71085 h 926154"/>
                    <a:gd name="connsiteX2045" fmla="*/ 404506 w 1197657"/>
                    <a:gd name="connsiteY2045" fmla="*/ 71328 h 926154"/>
                    <a:gd name="connsiteX2046" fmla="*/ 404020 w 1197657"/>
                    <a:gd name="connsiteY2046" fmla="*/ 71668 h 926154"/>
                    <a:gd name="connsiteX2047" fmla="*/ 398228 w 1197657"/>
                    <a:gd name="connsiteY2047" fmla="*/ 75784 h 926154"/>
                    <a:gd name="connsiteX2048" fmla="*/ 396176 w 1197657"/>
                    <a:gd name="connsiteY2048" fmla="*/ 76209 h 926154"/>
                    <a:gd name="connsiteX2049" fmla="*/ 392775 w 1197657"/>
                    <a:gd name="connsiteY2049" fmla="*/ 76403 h 926154"/>
                    <a:gd name="connsiteX2050" fmla="*/ 391986 w 1197657"/>
                    <a:gd name="connsiteY2050" fmla="*/ 76440 h 926154"/>
                    <a:gd name="connsiteX2051" fmla="*/ 391233 w 1197657"/>
                    <a:gd name="connsiteY2051" fmla="*/ 76695 h 926154"/>
                    <a:gd name="connsiteX2052" fmla="*/ 381106 w 1197657"/>
                    <a:gd name="connsiteY2052" fmla="*/ 80010 h 926154"/>
                    <a:gd name="connsiteX2053" fmla="*/ 375253 w 1197657"/>
                    <a:gd name="connsiteY2053" fmla="*/ 80520 h 926154"/>
                    <a:gd name="connsiteX2054" fmla="*/ 373966 w 1197657"/>
                    <a:gd name="connsiteY2054" fmla="*/ 80629 h 926154"/>
                    <a:gd name="connsiteX2055" fmla="*/ 372837 w 1197657"/>
                    <a:gd name="connsiteY2055" fmla="*/ 81249 h 926154"/>
                    <a:gd name="connsiteX2056" fmla="*/ 370602 w 1197657"/>
                    <a:gd name="connsiteY2056" fmla="*/ 82487 h 926154"/>
                    <a:gd name="connsiteX2057" fmla="*/ 369194 w 1197657"/>
                    <a:gd name="connsiteY2057" fmla="*/ 83264 h 926154"/>
                    <a:gd name="connsiteX2058" fmla="*/ 368356 w 1197657"/>
                    <a:gd name="connsiteY2058" fmla="*/ 84649 h 926154"/>
                    <a:gd name="connsiteX2059" fmla="*/ 366401 w 1197657"/>
                    <a:gd name="connsiteY2059" fmla="*/ 87866 h 926154"/>
                    <a:gd name="connsiteX2060" fmla="*/ 366097 w 1197657"/>
                    <a:gd name="connsiteY2060" fmla="*/ 88376 h 926154"/>
                    <a:gd name="connsiteX2061" fmla="*/ 365891 w 1197657"/>
                    <a:gd name="connsiteY2061" fmla="*/ 88923 h 926154"/>
                    <a:gd name="connsiteX2062" fmla="*/ 361520 w 1197657"/>
                    <a:gd name="connsiteY2062" fmla="*/ 100823 h 926154"/>
                    <a:gd name="connsiteX2063" fmla="*/ 360257 w 1197657"/>
                    <a:gd name="connsiteY2063" fmla="*/ 103057 h 926154"/>
                    <a:gd name="connsiteX2064" fmla="*/ 355485 w 1197657"/>
                    <a:gd name="connsiteY2064" fmla="*/ 106967 h 926154"/>
                    <a:gd name="connsiteX2065" fmla="*/ 349304 w 1197657"/>
                    <a:gd name="connsiteY2065" fmla="*/ 108279 h 926154"/>
                    <a:gd name="connsiteX2066" fmla="*/ 312159 w 1197657"/>
                    <a:gd name="connsiteY2066" fmla="*/ 108789 h 926154"/>
                    <a:gd name="connsiteX2067" fmla="*/ 303416 w 1197657"/>
                    <a:gd name="connsiteY2067" fmla="*/ 107781 h 926154"/>
                    <a:gd name="connsiteX2068" fmla="*/ 297041 w 1197657"/>
                    <a:gd name="connsiteY2068" fmla="*/ 104672 h 926154"/>
                    <a:gd name="connsiteX2069" fmla="*/ 283088 w 1197657"/>
                    <a:gd name="connsiteY2069" fmla="*/ 90343 h 926154"/>
                    <a:gd name="connsiteX2070" fmla="*/ 282275 w 1197657"/>
                    <a:gd name="connsiteY2070" fmla="*/ 89518 h 926154"/>
                    <a:gd name="connsiteX2071" fmla="*/ 281218 w 1197657"/>
                    <a:gd name="connsiteY2071" fmla="*/ 89044 h 926154"/>
                    <a:gd name="connsiteX2072" fmla="*/ 275766 w 1197657"/>
                    <a:gd name="connsiteY2072" fmla="*/ 86603 h 926154"/>
                    <a:gd name="connsiteX2073" fmla="*/ 274661 w 1197657"/>
                    <a:gd name="connsiteY2073" fmla="*/ 86106 h 926154"/>
                    <a:gd name="connsiteX2074" fmla="*/ 273447 w 1197657"/>
                    <a:gd name="connsiteY2074" fmla="*/ 86069 h 926154"/>
                    <a:gd name="connsiteX2075" fmla="*/ 220491 w 1197657"/>
                    <a:gd name="connsiteY2075" fmla="*/ 84697 h 926154"/>
                    <a:gd name="connsiteX2076" fmla="*/ 219362 w 1197657"/>
                    <a:gd name="connsiteY2076" fmla="*/ 84673 h 926154"/>
                    <a:gd name="connsiteX2077" fmla="*/ 218294 w 1197657"/>
                    <a:gd name="connsiteY2077" fmla="*/ 85049 h 926154"/>
                    <a:gd name="connsiteX2078" fmla="*/ 204839 w 1197657"/>
                    <a:gd name="connsiteY2078" fmla="*/ 89846 h 926154"/>
                    <a:gd name="connsiteX2079" fmla="*/ 199059 w 1197657"/>
                    <a:gd name="connsiteY2079" fmla="*/ 90696 h 926154"/>
                    <a:gd name="connsiteX2080" fmla="*/ 197371 w 1197657"/>
                    <a:gd name="connsiteY2080" fmla="*/ 90368 h 926154"/>
                    <a:gd name="connsiteX2081" fmla="*/ 187511 w 1197657"/>
                    <a:gd name="connsiteY2081" fmla="*/ 85669 h 926154"/>
                    <a:gd name="connsiteX2082" fmla="*/ 187074 w 1197657"/>
                    <a:gd name="connsiteY2082" fmla="*/ 85462 h 926154"/>
                    <a:gd name="connsiteX2083" fmla="*/ 186613 w 1197657"/>
                    <a:gd name="connsiteY2083" fmla="*/ 85329 h 926154"/>
                    <a:gd name="connsiteX2084" fmla="*/ 182083 w 1197657"/>
                    <a:gd name="connsiteY2084" fmla="*/ 84005 h 926154"/>
                    <a:gd name="connsiteX2085" fmla="*/ 180699 w 1197657"/>
                    <a:gd name="connsiteY2085" fmla="*/ 83604 h 926154"/>
                    <a:gd name="connsiteX2086" fmla="*/ 179266 w 1197657"/>
                    <a:gd name="connsiteY2086" fmla="*/ 83859 h 926154"/>
                    <a:gd name="connsiteX2087" fmla="*/ 175648 w 1197657"/>
                    <a:gd name="connsiteY2087" fmla="*/ 84527 h 926154"/>
                    <a:gd name="connsiteX2088" fmla="*/ 174725 w 1197657"/>
                    <a:gd name="connsiteY2088" fmla="*/ 84697 h 926154"/>
                    <a:gd name="connsiteX2089" fmla="*/ 173887 w 1197657"/>
                    <a:gd name="connsiteY2089" fmla="*/ 85146 h 926154"/>
                    <a:gd name="connsiteX2090" fmla="*/ 166650 w 1197657"/>
                    <a:gd name="connsiteY2090" fmla="*/ 89032 h 926154"/>
                    <a:gd name="connsiteX2091" fmla="*/ 163371 w 1197657"/>
                    <a:gd name="connsiteY2091" fmla="*/ 90210 h 926154"/>
                    <a:gd name="connsiteX2092" fmla="*/ 162922 w 1197657"/>
                    <a:gd name="connsiteY2092" fmla="*/ 89749 h 926154"/>
                    <a:gd name="connsiteX2093" fmla="*/ 159704 w 1197657"/>
                    <a:gd name="connsiteY2093" fmla="*/ 84078 h 926154"/>
                    <a:gd name="connsiteX2094" fmla="*/ 159425 w 1197657"/>
                    <a:gd name="connsiteY2094" fmla="*/ 83568 h 926154"/>
                    <a:gd name="connsiteX2095" fmla="*/ 159048 w 1197657"/>
                    <a:gd name="connsiteY2095" fmla="*/ 83118 h 926154"/>
                    <a:gd name="connsiteX2096" fmla="*/ 157664 w 1197657"/>
                    <a:gd name="connsiteY2096" fmla="*/ 81503 h 926154"/>
                    <a:gd name="connsiteX2097" fmla="*/ 157287 w 1197657"/>
                    <a:gd name="connsiteY2097" fmla="*/ 81066 h 926154"/>
                    <a:gd name="connsiteX2098" fmla="*/ 156838 w 1197657"/>
                    <a:gd name="connsiteY2098" fmla="*/ 80714 h 926154"/>
                    <a:gd name="connsiteX2099" fmla="*/ 155175 w 1197657"/>
                    <a:gd name="connsiteY2099" fmla="*/ 79378 h 926154"/>
                    <a:gd name="connsiteX2100" fmla="*/ 154482 w 1197657"/>
                    <a:gd name="connsiteY2100" fmla="*/ 78820 h 926154"/>
                    <a:gd name="connsiteX2101" fmla="*/ 153657 w 1197657"/>
                    <a:gd name="connsiteY2101" fmla="*/ 78480 h 926154"/>
                    <a:gd name="connsiteX2102" fmla="*/ 151993 w 1197657"/>
                    <a:gd name="connsiteY2102" fmla="*/ 77812 h 926154"/>
                    <a:gd name="connsiteX2103" fmla="*/ 150645 w 1197657"/>
                    <a:gd name="connsiteY2103" fmla="*/ 77278 h 926154"/>
                    <a:gd name="connsiteX2104" fmla="*/ 149188 w 1197657"/>
                    <a:gd name="connsiteY2104" fmla="*/ 77399 h 926154"/>
                    <a:gd name="connsiteX2105" fmla="*/ 146541 w 1197657"/>
                    <a:gd name="connsiteY2105" fmla="*/ 77630 h 926154"/>
                    <a:gd name="connsiteX2106" fmla="*/ 144040 w 1197657"/>
                    <a:gd name="connsiteY2106" fmla="*/ 77849 h 926154"/>
                    <a:gd name="connsiteX2107" fmla="*/ 142425 w 1197657"/>
                    <a:gd name="connsiteY2107" fmla="*/ 79767 h 926154"/>
                    <a:gd name="connsiteX2108" fmla="*/ 141453 w 1197657"/>
                    <a:gd name="connsiteY2108" fmla="*/ 80921 h 926154"/>
                    <a:gd name="connsiteX2109" fmla="*/ 140470 w 1197657"/>
                    <a:gd name="connsiteY2109" fmla="*/ 82098 h 926154"/>
                    <a:gd name="connsiteX2110" fmla="*/ 140154 w 1197657"/>
                    <a:gd name="connsiteY2110" fmla="*/ 83592 h 926154"/>
                    <a:gd name="connsiteX2111" fmla="*/ 139899 w 1197657"/>
                    <a:gd name="connsiteY2111" fmla="*/ 84831 h 926154"/>
                    <a:gd name="connsiteX2112" fmla="*/ 139644 w 1197657"/>
                    <a:gd name="connsiteY2112" fmla="*/ 85583 h 926154"/>
                    <a:gd name="connsiteX2113" fmla="*/ 138915 w 1197657"/>
                    <a:gd name="connsiteY2113" fmla="*/ 86883 h 926154"/>
                    <a:gd name="connsiteX2114" fmla="*/ 138757 w 1197657"/>
                    <a:gd name="connsiteY2114" fmla="*/ 85292 h 926154"/>
                    <a:gd name="connsiteX2115" fmla="*/ 138624 w 1197657"/>
                    <a:gd name="connsiteY2115" fmla="*/ 83798 h 926154"/>
                    <a:gd name="connsiteX2116" fmla="*/ 137798 w 1197657"/>
                    <a:gd name="connsiteY2116" fmla="*/ 82536 h 926154"/>
                    <a:gd name="connsiteX2117" fmla="*/ 135102 w 1197657"/>
                    <a:gd name="connsiteY2117" fmla="*/ 78431 h 926154"/>
                    <a:gd name="connsiteX2118" fmla="*/ 133390 w 1197657"/>
                    <a:gd name="connsiteY2118" fmla="*/ 75833 h 926154"/>
                    <a:gd name="connsiteX2119" fmla="*/ 130282 w 1197657"/>
                    <a:gd name="connsiteY2119" fmla="*/ 75699 h 926154"/>
                    <a:gd name="connsiteX2120" fmla="*/ 120519 w 1197657"/>
                    <a:gd name="connsiteY2120" fmla="*/ 75262 h 926154"/>
                    <a:gd name="connsiteX2121" fmla="*/ 116511 w 1197657"/>
                    <a:gd name="connsiteY2121" fmla="*/ 75080 h 926154"/>
                    <a:gd name="connsiteX2122" fmla="*/ 114775 w 1197657"/>
                    <a:gd name="connsiteY2122" fmla="*/ 78686 h 926154"/>
                    <a:gd name="connsiteX2123" fmla="*/ 110756 w 1197657"/>
                    <a:gd name="connsiteY2123" fmla="*/ 87041 h 926154"/>
                    <a:gd name="connsiteX2124" fmla="*/ 110161 w 1197657"/>
                    <a:gd name="connsiteY2124" fmla="*/ 88279 h 926154"/>
                    <a:gd name="connsiteX2125" fmla="*/ 110161 w 1197657"/>
                    <a:gd name="connsiteY2125" fmla="*/ 89651 h 926154"/>
                    <a:gd name="connsiteX2126" fmla="*/ 110100 w 1197657"/>
                    <a:gd name="connsiteY2126" fmla="*/ 105619 h 926154"/>
                    <a:gd name="connsiteX2127" fmla="*/ 110015 w 1197657"/>
                    <a:gd name="connsiteY2127" fmla="*/ 126505 h 926154"/>
                    <a:gd name="connsiteX2128" fmla="*/ 109894 w 1197657"/>
                    <a:gd name="connsiteY2128" fmla="*/ 147998 h 926154"/>
                    <a:gd name="connsiteX2129" fmla="*/ 101381 w 1197657"/>
                    <a:gd name="connsiteY2129" fmla="*/ 147937 h 926154"/>
                    <a:gd name="connsiteX2130" fmla="*/ 82888 w 1197657"/>
                    <a:gd name="connsiteY2130" fmla="*/ 147816 h 926154"/>
                    <a:gd name="connsiteX2131" fmla="*/ 61067 w 1197657"/>
                    <a:gd name="connsiteY2131" fmla="*/ 147658 h 926154"/>
                    <a:gd name="connsiteX2132" fmla="*/ 60581 w 1197657"/>
                    <a:gd name="connsiteY2132" fmla="*/ 147658 h 926154"/>
                    <a:gd name="connsiteX2133" fmla="*/ 60095 w 1197657"/>
                    <a:gd name="connsiteY2133" fmla="*/ 147731 h 926154"/>
                    <a:gd name="connsiteX2134" fmla="*/ 51425 w 1197657"/>
                    <a:gd name="connsiteY2134" fmla="*/ 149067 h 926154"/>
                    <a:gd name="connsiteX2135" fmla="*/ 50017 w 1197657"/>
                    <a:gd name="connsiteY2135" fmla="*/ 149285 h 926154"/>
                    <a:gd name="connsiteX2136" fmla="*/ 49543 w 1197657"/>
                    <a:gd name="connsiteY2136" fmla="*/ 149613 h 926154"/>
                    <a:gd name="connsiteX2137" fmla="*/ 48790 w 1197657"/>
                    <a:gd name="connsiteY2137" fmla="*/ 149127 h 926154"/>
                    <a:gd name="connsiteX2138" fmla="*/ 47576 w 1197657"/>
                    <a:gd name="connsiteY2138" fmla="*/ 148350 h 926154"/>
                    <a:gd name="connsiteX2139" fmla="*/ 45609 w 1197657"/>
                    <a:gd name="connsiteY2139" fmla="*/ 147087 h 926154"/>
                    <a:gd name="connsiteX2140" fmla="*/ 43302 w 1197657"/>
                    <a:gd name="connsiteY2140" fmla="*/ 147476 h 926154"/>
                    <a:gd name="connsiteX2141" fmla="*/ 41067 w 1197657"/>
                    <a:gd name="connsiteY2141" fmla="*/ 147853 h 926154"/>
                    <a:gd name="connsiteX2142" fmla="*/ 36307 w 1197657"/>
                    <a:gd name="connsiteY2142" fmla="*/ 148642 h 926154"/>
                    <a:gd name="connsiteX2143" fmla="*/ 36004 w 1197657"/>
                    <a:gd name="connsiteY2143" fmla="*/ 153450 h 926154"/>
                    <a:gd name="connsiteX2144" fmla="*/ 35895 w 1197657"/>
                    <a:gd name="connsiteY2144" fmla="*/ 155150 h 926154"/>
                    <a:gd name="connsiteX2145" fmla="*/ 35882 w 1197657"/>
                    <a:gd name="connsiteY2145" fmla="*/ 155405 h 926154"/>
                    <a:gd name="connsiteX2146" fmla="*/ 33879 w 1197657"/>
                    <a:gd name="connsiteY2146" fmla="*/ 152977 h 926154"/>
                    <a:gd name="connsiteX2147" fmla="*/ 30394 w 1197657"/>
                    <a:gd name="connsiteY2147" fmla="*/ 153596 h 926154"/>
                    <a:gd name="connsiteX2148" fmla="*/ 28487 w 1197657"/>
                    <a:gd name="connsiteY2148" fmla="*/ 153936 h 926154"/>
                    <a:gd name="connsiteX2149" fmla="*/ 26945 w 1197657"/>
                    <a:gd name="connsiteY2149" fmla="*/ 154203 h 926154"/>
                    <a:gd name="connsiteX2150" fmla="*/ 25731 w 1197657"/>
                    <a:gd name="connsiteY2150" fmla="*/ 155199 h 926154"/>
                    <a:gd name="connsiteX2151" fmla="*/ 24067 w 1197657"/>
                    <a:gd name="connsiteY2151" fmla="*/ 156547 h 926154"/>
                    <a:gd name="connsiteX2152" fmla="*/ 22489 w 1197657"/>
                    <a:gd name="connsiteY2152" fmla="*/ 157822 h 926154"/>
                    <a:gd name="connsiteX2153" fmla="*/ 21991 w 1197657"/>
                    <a:gd name="connsiteY2153" fmla="*/ 159789 h 926154"/>
                    <a:gd name="connsiteX2154" fmla="*/ 21542 w 1197657"/>
                    <a:gd name="connsiteY2154" fmla="*/ 161598 h 926154"/>
                    <a:gd name="connsiteX2155" fmla="*/ 21323 w 1197657"/>
                    <a:gd name="connsiteY2155" fmla="*/ 162497 h 926154"/>
                    <a:gd name="connsiteX2156" fmla="*/ 21372 w 1197657"/>
                    <a:gd name="connsiteY2156" fmla="*/ 163420 h 926154"/>
                    <a:gd name="connsiteX2157" fmla="*/ 21372 w 1197657"/>
                    <a:gd name="connsiteY2157" fmla="*/ 163553 h 926154"/>
                    <a:gd name="connsiteX2158" fmla="*/ 20934 w 1197657"/>
                    <a:gd name="connsiteY2158" fmla="*/ 163820 h 926154"/>
                    <a:gd name="connsiteX2159" fmla="*/ 17959 w 1197657"/>
                    <a:gd name="connsiteY2159" fmla="*/ 165132 h 926154"/>
                    <a:gd name="connsiteX2160" fmla="*/ 17534 w 1197657"/>
                    <a:gd name="connsiteY2160" fmla="*/ 165314 h 926154"/>
                    <a:gd name="connsiteX2161" fmla="*/ 17146 w 1197657"/>
                    <a:gd name="connsiteY2161" fmla="*/ 165569 h 926154"/>
                    <a:gd name="connsiteX2162" fmla="*/ 15652 w 1197657"/>
                    <a:gd name="connsiteY2162" fmla="*/ 166516 h 926154"/>
                    <a:gd name="connsiteX2163" fmla="*/ 14559 w 1197657"/>
                    <a:gd name="connsiteY2163" fmla="*/ 167208 h 926154"/>
                    <a:gd name="connsiteX2164" fmla="*/ 13843 w 1197657"/>
                    <a:gd name="connsiteY2164" fmla="*/ 168289 h 926154"/>
                    <a:gd name="connsiteX2165" fmla="*/ 9423 w 1197657"/>
                    <a:gd name="connsiteY2165" fmla="*/ 174980 h 926154"/>
                    <a:gd name="connsiteX2166" fmla="*/ 9241 w 1197657"/>
                    <a:gd name="connsiteY2166" fmla="*/ 175259 h 926154"/>
                    <a:gd name="connsiteX2167" fmla="*/ 9107 w 1197657"/>
                    <a:gd name="connsiteY2167" fmla="*/ 175563 h 926154"/>
                    <a:gd name="connsiteX2168" fmla="*/ 8561 w 1197657"/>
                    <a:gd name="connsiteY2168" fmla="*/ 176643 h 926154"/>
                    <a:gd name="connsiteX2169" fmla="*/ 8342 w 1197657"/>
                    <a:gd name="connsiteY2169" fmla="*/ 178088 h 926154"/>
                    <a:gd name="connsiteX2170" fmla="*/ 8306 w 1197657"/>
                    <a:gd name="connsiteY2170" fmla="*/ 178647 h 926154"/>
                    <a:gd name="connsiteX2171" fmla="*/ 7990 w 1197657"/>
                    <a:gd name="connsiteY2171" fmla="*/ 179618 h 926154"/>
                    <a:gd name="connsiteX2172" fmla="*/ 7820 w 1197657"/>
                    <a:gd name="connsiteY2172" fmla="*/ 180141 h 926154"/>
                    <a:gd name="connsiteX2173" fmla="*/ 7759 w 1197657"/>
                    <a:gd name="connsiteY2173" fmla="*/ 180675 h 926154"/>
                    <a:gd name="connsiteX2174" fmla="*/ 7091 w 1197657"/>
                    <a:gd name="connsiteY2174" fmla="*/ 185799 h 926154"/>
                    <a:gd name="connsiteX2175" fmla="*/ 5501 w 1197657"/>
                    <a:gd name="connsiteY2175" fmla="*/ 190134 h 926154"/>
                    <a:gd name="connsiteX2176" fmla="*/ 5270 w 1197657"/>
                    <a:gd name="connsiteY2176" fmla="*/ 190741 h 926154"/>
                    <a:gd name="connsiteX2177" fmla="*/ 5185 w 1197657"/>
                    <a:gd name="connsiteY2177" fmla="*/ 191397 h 926154"/>
                    <a:gd name="connsiteX2178" fmla="*/ 4760 w 1197657"/>
                    <a:gd name="connsiteY2178" fmla="*/ 194469 h 926154"/>
                    <a:gd name="connsiteX2179" fmla="*/ 4541 w 1197657"/>
                    <a:gd name="connsiteY2179" fmla="*/ 196048 h 926154"/>
                    <a:gd name="connsiteX2180" fmla="*/ 5136 w 1197657"/>
                    <a:gd name="connsiteY2180" fmla="*/ 197541 h 926154"/>
                    <a:gd name="connsiteX2181" fmla="*/ 5950 w 1197657"/>
                    <a:gd name="connsiteY2181" fmla="*/ 199581 h 926154"/>
                    <a:gd name="connsiteX2182" fmla="*/ 8804 w 1197657"/>
                    <a:gd name="connsiteY2182" fmla="*/ 206758 h 926154"/>
                    <a:gd name="connsiteX2183" fmla="*/ 11099 w 1197657"/>
                    <a:gd name="connsiteY2183" fmla="*/ 205118 h 926154"/>
                    <a:gd name="connsiteX2184" fmla="*/ 11147 w 1197657"/>
                    <a:gd name="connsiteY2184" fmla="*/ 205701 h 926154"/>
                    <a:gd name="connsiteX2185" fmla="*/ 11852 w 1197657"/>
                    <a:gd name="connsiteY2185" fmla="*/ 206916 h 926154"/>
                    <a:gd name="connsiteX2186" fmla="*/ 13600 w 1197657"/>
                    <a:gd name="connsiteY2186" fmla="*/ 209927 h 926154"/>
                    <a:gd name="connsiteX2187" fmla="*/ 11718 w 1197657"/>
                    <a:gd name="connsiteY2187" fmla="*/ 210947 h 926154"/>
                    <a:gd name="connsiteX2188" fmla="*/ 10224 w 1197657"/>
                    <a:gd name="connsiteY2188" fmla="*/ 211761 h 926154"/>
                    <a:gd name="connsiteX2189" fmla="*/ 9374 w 1197657"/>
                    <a:gd name="connsiteY2189" fmla="*/ 213242 h 926154"/>
                    <a:gd name="connsiteX2190" fmla="*/ 8913 w 1197657"/>
                    <a:gd name="connsiteY2190" fmla="*/ 214044 h 926154"/>
                    <a:gd name="connsiteX2191" fmla="*/ 8901 w 1197657"/>
                    <a:gd name="connsiteY2191" fmla="*/ 214080 h 926154"/>
                    <a:gd name="connsiteX2192" fmla="*/ 8427 w 1197657"/>
                    <a:gd name="connsiteY2192" fmla="*/ 214056 h 926154"/>
                    <a:gd name="connsiteX2193" fmla="*/ 7553 w 1197657"/>
                    <a:gd name="connsiteY2193" fmla="*/ 214274 h 926154"/>
                    <a:gd name="connsiteX2194" fmla="*/ 6764 w 1197657"/>
                    <a:gd name="connsiteY2194" fmla="*/ 214469 h 926154"/>
                    <a:gd name="connsiteX2195" fmla="*/ 3485 w 1197657"/>
                    <a:gd name="connsiteY2195" fmla="*/ 215270 h 926154"/>
                    <a:gd name="connsiteX2196" fmla="*/ 2429 w 1197657"/>
                    <a:gd name="connsiteY2196" fmla="*/ 218476 h 926154"/>
                    <a:gd name="connsiteX2197" fmla="*/ 1226 w 1197657"/>
                    <a:gd name="connsiteY2197" fmla="*/ 222179 h 926154"/>
                    <a:gd name="connsiteX2198" fmla="*/ 0 w 1197657"/>
                    <a:gd name="connsiteY2198" fmla="*/ 225919 h 926154"/>
                    <a:gd name="connsiteX2199" fmla="*/ 2902 w 1197657"/>
                    <a:gd name="connsiteY2199" fmla="*/ 228554 h 926154"/>
                    <a:gd name="connsiteX2200" fmla="*/ 5489 w 1197657"/>
                    <a:gd name="connsiteY2200" fmla="*/ 230910 h 926154"/>
                    <a:gd name="connsiteX2201" fmla="*/ 6521 w 1197657"/>
                    <a:gd name="connsiteY2201" fmla="*/ 231857 h 926154"/>
                    <a:gd name="connsiteX2202" fmla="*/ 7869 w 1197657"/>
                    <a:gd name="connsiteY2202" fmla="*/ 232246 h 926154"/>
                    <a:gd name="connsiteX2203" fmla="*/ 12398 w 1197657"/>
                    <a:gd name="connsiteY2203" fmla="*/ 233569 h 926154"/>
                    <a:gd name="connsiteX2204" fmla="*/ 12847 w 1197657"/>
                    <a:gd name="connsiteY2204" fmla="*/ 233703 h 926154"/>
                    <a:gd name="connsiteX2205" fmla="*/ 13321 w 1197657"/>
                    <a:gd name="connsiteY2205" fmla="*/ 233764 h 926154"/>
                    <a:gd name="connsiteX2206" fmla="*/ 22574 w 1197657"/>
                    <a:gd name="connsiteY2206" fmla="*/ 234966 h 926154"/>
                    <a:gd name="connsiteX2207" fmla="*/ 23084 w 1197657"/>
                    <a:gd name="connsiteY2207" fmla="*/ 235039 h 926154"/>
                    <a:gd name="connsiteX2208" fmla="*/ 23594 w 1197657"/>
                    <a:gd name="connsiteY2208" fmla="*/ 235014 h 926154"/>
                    <a:gd name="connsiteX2209" fmla="*/ 35045 w 1197657"/>
                    <a:gd name="connsiteY2209" fmla="*/ 234565 h 926154"/>
                    <a:gd name="connsiteX2210" fmla="*/ 36623 w 1197657"/>
                    <a:gd name="connsiteY2210" fmla="*/ 234723 h 926154"/>
                    <a:gd name="connsiteX2211" fmla="*/ 37777 w 1197657"/>
                    <a:gd name="connsiteY2211" fmla="*/ 235100 h 926154"/>
                    <a:gd name="connsiteX2212" fmla="*/ 38942 w 1197657"/>
                    <a:gd name="connsiteY2212" fmla="*/ 235476 h 926154"/>
                    <a:gd name="connsiteX2213" fmla="*/ 40157 w 1197657"/>
                    <a:gd name="connsiteY2213" fmla="*/ 235367 h 926154"/>
                    <a:gd name="connsiteX2214" fmla="*/ 41942 w 1197657"/>
                    <a:gd name="connsiteY2214" fmla="*/ 235221 h 926154"/>
                    <a:gd name="connsiteX2215" fmla="*/ 43569 w 1197657"/>
                    <a:gd name="connsiteY2215" fmla="*/ 235087 h 926154"/>
                    <a:gd name="connsiteX2216" fmla="*/ 44905 w 1197657"/>
                    <a:gd name="connsiteY2216" fmla="*/ 234152 h 926154"/>
                    <a:gd name="connsiteX2217" fmla="*/ 47661 w 1197657"/>
                    <a:gd name="connsiteY2217" fmla="*/ 232234 h 926154"/>
                    <a:gd name="connsiteX2218" fmla="*/ 48147 w 1197657"/>
                    <a:gd name="connsiteY2218" fmla="*/ 231894 h 926154"/>
                    <a:gd name="connsiteX2219" fmla="*/ 48560 w 1197657"/>
                    <a:gd name="connsiteY2219" fmla="*/ 231469 h 926154"/>
                    <a:gd name="connsiteX2220" fmla="*/ 49883 w 1197657"/>
                    <a:gd name="connsiteY2220" fmla="*/ 230109 h 926154"/>
                    <a:gd name="connsiteX2221" fmla="*/ 50223 w 1197657"/>
                    <a:gd name="connsiteY2221" fmla="*/ 229757 h 926154"/>
                    <a:gd name="connsiteX2222" fmla="*/ 51012 w 1197657"/>
                    <a:gd name="connsiteY2222" fmla="*/ 236727 h 926154"/>
                    <a:gd name="connsiteX2223" fmla="*/ 50235 w 1197657"/>
                    <a:gd name="connsiteY2223" fmla="*/ 243976 h 926154"/>
                    <a:gd name="connsiteX2224" fmla="*/ 50077 w 1197657"/>
                    <a:gd name="connsiteY2224" fmla="*/ 245385 h 926154"/>
                    <a:gd name="connsiteX2225" fmla="*/ 50575 w 1197657"/>
                    <a:gd name="connsiteY2225" fmla="*/ 246720 h 926154"/>
                    <a:gd name="connsiteX2226" fmla="*/ 51595 w 1197657"/>
                    <a:gd name="connsiteY2226" fmla="*/ 249501 h 926154"/>
                    <a:gd name="connsiteX2227" fmla="*/ 52955 w 1197657"/>
                    <a:gd name="connsiteY2227" fmla="*/ 253205 h 926154"/>
                    <a:gd name="connsiteX2228" fmla="*/ 54570 w 1197657"/>
                    <a:gd name="connsiteY2228" fmla="*/ 253314 h 926154"/>
                    <a:gd name="connsiteX2229" fmla="*/ 53963 w 1197657"/>
                    <a:gd name="connsiteY2229" fmla="*/ 254710 h 926154"/>
                    <a:gd name="connsiteX2230" fmla="*/ 52530 w 1197657"/>
                    <a:gd name="connsiteY2230" fmla="*/ 257989 h 926154"/>
                    <a:gd name="connsiteX2231" fmla="*/ 54716 w 1197657"/>
                    <a:gd name="connsiteY2231" fmla="*/ 260818 h 926154"/>
                    <a:gd name="connsiteX2232" fmla="*/ 56100 w 1197657"/>
                    <a:gd name="connsiteY2232" fmla="*/ 262628 h 926154"/>
                    <a:gd name="connsiteX2233" fmla="*/ 57363 w 1197657"/>
                    <a:gd name="connsiteY2233" fmla="*/ 264291 h 926154"/>
                    <a:gd name="connsiteX2234" fmla="*/ 59391 w 1197657"/>
                    <a:gd name="connsiteY2234" fmla="*/ 264813 h 926154"/>
                    <a:gd name="connsiteX2235" fmla="*/ 60678 w 1197657"/>
                    <a:gd name="connsiteY2235" fmla="*/ 265153 h 926154"/>
                    <a:gd name="connsiteX2236" fmla="*/ 61055 w 1197657"/>
                    <a:gd name="connsiteY2236" fmla="*/ 266283 h 926154"/>
                    <a:gd name="connsiteX2237" fmla="*/ 61990 w 1197657"/>
                    <a:gd name="connsiteY2237" fmla="*/ 269136 h 926154"/>
                    <a:gd name="connsiteX2238" fmla="*/ 64819 w 1197657"/>
                    <a:gd name="connsiteY2238" fmla="*/ 270120 h 926154"/>
                    <a:gd name="connsiteX2239" fmla="*/ 67235 w 1197657"/>
                    <a:gd name="connsiteY2239" fmla="*/ 270958 h 926154"/>
                    <a:gd name="connsiteX2240" fmla="*/ 69142 w 1197657"/>
                    <a:gd name="connsiteY2240" fmla="*/ 271625 h 926154"/>
                    <a:gd name="connsiteX2241" fmla="*/ 70599 w 1197657"/>
                    <a:gd name="connsiteY2241" fmla="*/ 271164 h 926154"/>
                    <a:gd name="connsiteX2242" fmla="*/ 70708 w 1197657"/>
                    <a:gd name="connsiteY2242" fmla="*/ 271796 h 926154"/>
                    <a:gd name="connsiteX2243" fmla="*/ 70927 w 1197657"/>
                    <a:gd name="connsiteY2243" fmla="*/ 273058 h 926154"/>
                    <a:gd name="connsiteX2244" fmla="*/ 71655 w 1197657"/>
                    <a:gd name="connsiteY2244" fmla="*/ 274127 h 926154"/>
                    <a:gd name="connsiteX2245" fmla="*/ 72700 w 1197657"/>
                    <a:gd name="connsiteY2245" fmla="*/ 275669 h 926154"/>
                    <a:gd name="connsiteX2246" fmla="*/ 73295 w 1197657"/>
                    <a:gd name="connsiteY2246" fmla="*/ 276556 h 926154"/>
                    <a:gd name="connsiteX2247" fmla="*/ 74157 w 1197657"/>
                    <a:gd name="connsiteY2247" fmla="*/ 277187 h 926154"/>
                    <a:gd name="connsiteX2248" fmla="*/ 75821 w 1197657"/>
                    <a:gd name="connsiteY2248" fmla="*/ 278401 h 926154"/>
                    <a:gd name="connsiteX2249" fmla="*/ 76100 w 1197657"/>
                    <a:gd name="connsiteY2249" fmla="*/ 278596 h 926154"/>
                    <a:gd name="connsiteX2250" fmla="*/ 76391 w 1197657"/>
                    <a:gd name="connsiteY2250" fmla="*/ 278765 h 926154"/>
                    <a:gd name="connsiteX2251" fmla="*/ 78516 w 1197657"/>
                    <a:gd name="connsiteY2251" fmla="*/ 279968 h 926154"/>
                    <a:gd name="connsiteX2252" fmla="*/ 79609 w 1197657"/>
                    <a:gd name="connsiteY2252" fmla="*/ 280587 h 926154"/>
                    <a:gd name="connsiteX2253" fmla="*/ 76088 w 1197657"/>
                    <a:gd name="connsiteY2253" fmla="*/ 287545 h 926154"/>
                    <a:gd name="connsiteX2254" fmla="*/ 74606 w 1197657"/>
                    <a:gd name="connsiteY2254" fmla="*/ 290471 h 926154"/>
                    <a:gd name="connsiteX2255" fmla="*/ 76246 w 1197657"/>
                    <a:gd name="connsiteY2255" fmla="*/ 293313 h 926154"/>
                    <a:gd name="connsiteX2256" fmla="*/ 78358 w 1197657"/>
                    <a:gd name="connsiteY2256" fmla="*/ 296992 h 926154"/>
                    <a:gd name="connsiteX2257" fmla="*/ 79755 w 1197657"/>
                    <a:gd name="connsiteY2257" fmla="*/ 299421 h 926154"/>
                    <a:gd name="connsiteX2258" fmla="*/ 82523 w 1197657"/>
                    <a:gd name="connsiteY2258" fmla="*/ 299931 h 926154"/>
                    <a:gd name="connsiteX2259" fmla="*/ 86251 w 1197657"/>
                    <a:gd name="connsiteY2259" fmla="*/ 300623 h 926154"/>
                    <a:gd name="connsiteX2260" fmla="*/ 86725 w 1197657"/>
                    <a:gd name="connsiteY2260" fmla="*/ 302396 h 926154"/>
                    <a:gd name="connsiteX2261" fmla="*/ 86858 w 1197657"/>
                    <a:gd name="connsiteY2261" fmla="*/ 302930 h 926154"/>
                    <a:gd name="connsiteX2262" fmla="*/ 87101 w 1197657"/>
                    <a:gd name="connsiteY2262" fmla="*/ 303428 h 926154"/>
                    <a:gd name="connsiteX2263" fmla="*/ 88813 w 1197657"/>
                    <a:gd name="connsiteY2263" fmla="*/ 307046 h 926154"/>
                    <a:gd name="connsiteX2264" fmla="*/ 89153 w 1197657"/>
                    <a:gd name="connsiteY2264" fmla="*/ 307751 h 926154"/>
                    <a:gd name="connsiteX2265" fmla="*/ 89651 w 1197657"/>
                    <a:gd name="connsiteY2265" fmla="*/ 308346 h 926154"/>
                    <a:gd name="connsiteX2266" fmla="*/ 92177 w 1197657"/>
                    <a:gd name="connsiteY2266" fmla="*/ 311357 h 926154"/>
                    <a:gd name="connsiteX2267" fmla="*/ 93136 w 1197657"/>
                    <a:gd name="connsiteY2267" fmla="*/ 312499 h 926154"/>
                    <a:gd name="connsiteX2268" fmla="*/ 94508 w 1197657"/>
                    <a:gd name="connsiteY2268" fmla="*/ 313069 h 926154"/>
                    <a:gd name="connsiteX2269" fmla="*/ 95953 w 1197657"/>
                    <a:gd name="connsiteY2269" fmla="*/ 313664 h 926154"/>
                    <a:gd name="connsiteX2270" fmla="*/ 95844 w 1197657"/>
                    <a:gd name="connsiteY2270" fmla="*/ 315364 h 926154"/>
                    <a:gd name="connsiteX2271" fmla="*/ 97447 w 1197657"/>
                    <a:gd name="connsiteY2271" fmla="*/ 317246 h 926154"/>
                    <a:gd name="connsiteX2272" fmla="*/ 98151 w 1197657"/>
                    <a:gd name="connsiteY2272" fmla="*/ 318072 h 926154"/>
                    <a:gd name="connsiteX2273" fmla="*/ 98795 w 1197657"/>
                    <a:gd name="connsiteY2273" fmla="*/ 318825 h 926154"/>
                    <a:gd name="connsiteX2274" fmla="*/ 99657 w 1197657"/>
                    <a:gd name="connsiteY2274" fmla="*/ 319335 h 926154"/>
                    <a:gd name="connsiteX2275" fmla="*/ 100471 w 1197657"/>
                    <a:gd name="connsiteY2275" fmla="*/ 319821 h 926154"/>
                    <a:gd name="connsiteX2276" fmla="*/ 105850 w 1197657"/>
                    <a:gd name="connsiteY2276" fmla="*/ 324216 h 926154"/>
                    <a:gd name="connsiteX2277" fmla="*/ 139170 w 1197657"/>
                    <a:gd name="connsiteY2277" fmla="*/ 346450 h 926154"/>
                    <a:gd name="connsiteX2278" fmla="*/ 139656 w 1197657"/>
                    <a:gd name="connsiteY2278" fmla="*/ 346766 h 926154"/>
                    <a:gd name="connsiteX2279" fmla="*/ 140178 w 1197657"/>
                    <a:gd name="connsiteY2279" fmla="*/ 346997 h 926154"/>
                    <a:gd name="connsiteX2280" fmla="*/ 172187 w 1197657"/>
                    <a:gd name="connsiteY2280" fmla="*/ 360475 h 926154"/>
                    <a:gd name="connsiteX2281" fmla="*/ 189600 w 1197657"/>
                    <a:gd name="connsiteY2281" fmla="*/ 372375 h 926154"/>
                    <a:gd name="connsiteX2282" fmla="*/ 202459 w 1197657"/>
                    <a:gd name="connsiteY2282" fmla="*/ 379783 h 926154"/>
                    <a:gd name="connsiteX2283" fmla="*/ 203079 w 1197657"/>
                    <a:gd name="connsiteY2283" fmla="*/ 380135 h 926154"/>
                    <a:gd name="connsiteX2284" fmla="*/ 203759 w 1197657"/>
                    <a:gd name="connsiteY2284" fmla="*/ 380341 h 926154"/>
                    <a:gd name="connsiteX2285" fmla="*/ 210644 w 1197657"/>
                    <a:gd name="connsiteY2285" fmla="*/ 382381 h 926154"/>
                    <a:gd name="connsiteX2286" fmla="*/ 211214 w 1197657"/>
                    <a:gd name="connsiteY2286" fmla="*/ 382551 h 926154"/>
                    <a:gd name="connsiteX2287" fmla="*/ 211797 w 1197657"/>
                    <a:gd name="connsiteY2287" fmla="*/ 382612 h 926154"/>
                    <a:gd name="connsiteX2288" fmla="*/ 229502 w 1197657"/>
                    <a:gd name="connsiteY2288" fmla="*/ 384263 h 926154"/>
                    <a:gd name="connsiteX2289" fmla="*/ 235063 w 1197657"/>
                    <a:gd name="connsiteY2289" fmla="*/ 386668 h 926154"/>
                    <a:gd name="connsiteX2290" fmla="*/ 235755 w 1197657"/>
                    <a:gd name="connsiteY2290" fmla="*/ 386971 h 926154"/>
                    <a:gd name="connsiteX2291" fmla="*/ 236496 w 1197657"/>
                    <a:gd name="connsiteY2291" fmla="*/ 387093 h 926154"/>
                    <a:gd name="connsiteX2292" fmla="*/ 241802 w 1197657"/>
                    <a:gd name="connsiteY2292" fmla="*/ 387967 h 926154"/>
                    <a:gd name="connsiteX2293" fmla="*/ 244522 w 1197657"/>
                    <a:gd name="connsiteY2293" fmla="*/ 389376 h 926154"/>
                    <a:gd name="connsiteX2294" fmla="*/ 245251 w 1197657"/>
                    <a:gd name="connsiteY2294" fmla="*/ 389752 h 926154"/>
                    <a:gd name="connsiteX2295" fmla="*/ 246052 w 1197657"/>
                    <a:gd name="connsiteY2295" fmla="*/ 389922 h 926154"/>
                    <a:gd name="connsiteX2296" fmla="*/ 254042 w 1197657"/>
                    <a:gd name="connsiteY2296" fmla="*/ 391634 h 926154"/>
                    <a:gd name="connsiteX2297" fmla="*/ 254625 w 1197657"/>
                    <a:gd name="connsiteY2297" fmla="*/ 392059 h 926154"/>
                    <a:gd name="connsiteX2298" fmla="*/ 254880 w 1197657"/>
                    <a:gd name="connsiteY2298" fmla="*/ 392253 h 926154"/>
                    <a:gd name="connsiteX2299" fmla="*/ 255160 w 1197657"/>
                    <a:gd name="connsiteY2299" fmla="*/ 392411 h 926154"/>
                    <a:gd name="connsiteX2300" fmla="*/ 256410 w 1197657"/>
                    <a:gd name="connsiteY2300" fmla="*/ 393128 h 926154"/>
                    <a:gd name="connsiteX2301" fmla="*/ 256993 w 1197657"/>
                    <a:gd name="connsiteY2301" fmla="*/ 393468 h 926154"/>
                    <a:gd name="connsiteX2302" fmla="*/ 257649 w 1197657"/>
                    <a:gd name="connsiteY2302" fmla="*/ 393662 h 926154"/>
                    <a:gd name="connsiteX2303" fmla="*/ 259665 w 1197657"/>
                    <a:gd name="connsiteY2303" fmla="*/ 394269 h 926154"/>
                    <a:gd name="connsiteX2304" fmla="*/ 260187 w 1197657"/>
                    <a:gd name="connsiteY2304" fmla="*/ 394427 h 926154"/>
                    <a:gd name="connsiteX2305" fmla="*/ 260733 w 1197657"/>
                    <a:gd name="connsiteY2305" fmla="*/ 394488 h 926154"/>
                    <a:gd name="connsiteX2306" fmla="*/ 262737 w 1197657"/>
                    <a:gd name="connsiteY2306" fmla="*/ 394718 h 926154"/>
                    <a:gd name="connsiteX2307" fmla="*/ 263198 w 1197657"/>
                    <a:gd name="connsiteY2307" fmla="*/ 394767 h 926154"/>
                    <a:gd name="connsiteX2308" fmla="*/ 263660 w 1197657"/>
                    <a:gd name="connsiteY2308" fmla="*/ 394755 h 926154"/>
                    <a:gd name="connsiteX2309" fmla="*/ 269075 w 1197657"/>
                    <a:gd name="connsiteY2309" fmla="*/ 394560 h 926154"/>
                    <a:gd name="connsiteX2310" fmla="*/ 269318 w 1197657"/>
                    <a:gd name="connsiteY2310" fmla="*/ 394621 h 926154"/>
                    <a:gd name="connsiteX2311" fmla="*/ 271808 w 1197657"/>
                    <a:gd name="connsiteY2311" fmla="*/ 396625 h 926154"/>
                    <a:gd name="connsiteX2312" fmla="*/ 272706 w 1197657"/>
                    <a:gd name="connsiteY2312" fmla="*/ 397341 h 926154"/>
                    <a:gd name="connsiteX2313" fmla="*/ 273799 w 1197657"/>
                    <a:gd name="connsiteY2313" fmla="*/ 397681 h 926154"/>
                    <a:gd name="connsiteX2314" fmla="*/ 275693 w 1197657"/>
                    <a:gd name="connsiteY2314" fmla="*/ 398288 h 926154"/>
                    <a:gd name="connsiteX2315" fmla="*/ 276555 w 1197657"/>
                    <a:gd name="connsiteY2315" fmla="*/ 398556 h 926154"/>
                    <a:gd name="connsiteX2316" fmla="*/ 277454 w 1197657"/>
                    <a:gd name="connsiteY2316" fmla="*/ 398568 h 926154"/>
                    <a:gd name="connsiteX2317" fmla="*/ 289391 w 1197657"/>
                    <a:gd name="connsiteY2317" fmla="*/ 398701 h 926154"/>
                    <a:gd name="connsiteX2318" fmla="*/ 296203 w 1197657"/>
                    <a:gd name="connsiteY2318" fmla="*/ 400620 h 926154"/>
                    <a:gd name="connsiteX2319" fmla="*/ 296591 w 1197657"/>
                    <a:gd name="connsiteY2319" fmla="*/ 400729 h 926154"/>
                    <a:gd name="connsiteX2320" fmla="*/ 296992 w 1197657"/>
                    <a:gd name="connsiteY2320" fmla="*/ 400790 h 926154"/>
                    <a:gd name="connsiteX2321" fmla="*/ 301072 w 1197657"/>
                    <a:gd name="connsiteY2321" fmla="*/ 401373 h 926154"/>
                    <a:gd name="connsiteX2322" fmla="*/ 303355 w 1197657"/>
                    <a:gd name="connsiteY2322" fmla="*/ 401701 h 926154"/>
                    <a:gd name="connsiteX2323" fmla="*/ 305273 w 1197657"/>
                    <a:gd name="connsiteY2323" fmla="*/ 400438 h 926154"/>
                    <a:gd name="connsiteX2324" fmla="*/ 307678 w 1197657"/>
                    <a:gd name="connsiteY2324" fmla="*/ 398847 h 926154"/>
                    <a:gd name="connsiteX2325" fmla="*/ 308929 w 1197657"/>
                    <a:gd name="connsiteY2325" fmla="*/ 398021 h 926154"/>
                    <a:gd name="connsiteX2326" fmla="*/ 309645 w 1197657"/>
                    <a:gd name="connsiteY2326" fmla="*/ 396722 h 926154"/>
                    <a:gd name="connsiteX2327" fmla="*/ 315097 w 1197657"/>
                    <a:gd name="connsiteY2327" fmla="*/ 386898 h 926154"/>
                    <a:gd name="connsiteX2328" fmla="*/ 317914 w 1197657"/>
                    <a:gd name="connsiteY2328" fmla="*/ 384093 h 926154"/>
                    <a:gd name="connsiteX2329" fmla="*/ 322152 w 1197657"/>
                    <a:gd name="connsiteY2329" fmla="*/ 381106 h 926154"/>
                    <a:gd name="connsiteX2330" fmla="*/ 326159 w 1197657"/>
                    <a:gd name="connsiteY2330" fmla="*/ 378993 h 926154"/>
                    <a:gd name="connsiteX2331" fmla="*/ 328819 w 1197657"/>
                    <a:gd name="connsiteY2331" fmla="*/ 378265 h 926154"/>
                    <a:gd name="connsiteX2332" fmla="*/ 334356 w 1197657"/>
                    <a:gd name="connsiteY2332" fmla="*/ 377488 h 926154"/>
                    <a:gd name="connsiteX2333" fmla="*/ 334927 w 1197657"/>
                    <a:gd name="connsiteY2333" fmla="*/ 377403 h 926154"/>
                    <a:gd name="connsiteX2334" fmla="*/ 335473 w 1197657"/>
                    <a:gd name="connsiteY2334" fmla="*/ 377220 h 926154"/>
                    <a:gd name="connsiteX2335" fmla="*/ 345503 w 1197657"/>
                    <a:gd name="connsiteY2335" fmla="*/ 373784 h 926154"/>
                    <a:gd name="connsiteX2336" fmla="*/ 355509 w 1197657"/>
                    <a:gd name="connsiteY2336" fmla="*/ 372351 h 926154"/>
                    <a:gd name="connsiteX2337" fmla="*/ 356213 w 1197657"/>
                    <a:gd name="connsiteY2337" fmla="*/ 372254 h 926154"/>
                    <a:gd name="connsiteX2338" fmla="*/ 356881 w 1197657"/>
                    <a:gd name="connsiteY2338" fmla="*/ 371987 h 926154"/>
                    <a:gd name="connsiteX2339" fmla="*/ 368344 w 1197657"/>
                    <a:gd name="connsiteY2339" fmla="*/ 367445 h 926154"/>
                    <a:gd name="connsiteX2340" fmla="*/ 378471 w 1197657"/>
                    <a:gd name="connsiteY2340" fmla="*/ 366183 h 926154"/>
                    <a:gd name="connsiteX2341" fmla="*/ 379078 w 1197657"/>
                    <a:gd name="connsiteY2341" fmla="*/ 366110 h 926154"/>
                    <a:gd name="connsiteX2342" fmla="*/ 379661 w 1197657"/>
                    <a:gd name="connsiteY2342" fmla="*/ 365915 h 926154"/>
                    <a:gd name="connsiteX2343" fmla="*/ 382551 w 1197657"/>
                    <a:gd name="connsiteY2343" fmla="*/ 364944 h 926154"/>
                    <a:gd name="connsiteX2344" fmla="*/ 387943 w 1197657"/>
                    <a:gd name="connsiteY2344" fmla="*/ 363135 h 926154"/>
                    <a:gd name="connsiteX2345" fmla="*/ 387493 w 1197657"/>
                    <a:gd name="connsiteY2345" fmla="*/ 361447 h 926154"/>
                    <a:gd name="connsiteX2346" fmla="*/ 388793 w 1197657"/>
                    <a:gd name="connsiteY2346" fmla="*/ 361398 h 926154"/>
                    <a:gd name="connsiteX2347" fmla="*/ 389679 w 1197657"/>
                    <a:gd name="connsiteY2347" fmla="*/ 360743 h 926154"/>
                    <a:gd name="connsiteX2348" fmla="*/ 393285 w 1197657"/>
                    <a:gd name="connsiteY2348" fmla="*/ 360864 h 926154"/>
                    <a:gd name="connsiteX2349" fmla="*/ 394597 w 1197657"/>
                    <a:gd name="connsiteY2349" fmla="*/ 360912 h 926154"/>
                    <a:gd name="connsiteX2350" fmla="*/ 395823 w 1197657"/>
                    <a:gd name="connsiteY2350" fmla="*/ 360415 h 926154"/>
                    <a:gd name="connsiteX2351" fmla="*/ 399151 w 1197657"/>
                    <a:gd name="connsiteY2351" fmla="*/ 359042 h 926154"/>
                    <a:gd name="connsiteX2352" fmla="*/ 401008 w 1197657"/>
                    <a:gd name="connsiteY2352" fmla="*/ 358277 h 926154"/>
                    <a:gd name="connsiteX2353" fmla="*/ 401288 w 1197657"/>
                    <a:gd name="connsiteY2353" fmla="*/ 357804 h 926154"/>
                    <a:gd name="connsiteX2354" fmla="*/ 402126 w 1197657"/>
                    <a:gd name="connsiteY2354" fmla="*/ 358909 h 926154"/>
                    <a:gd name="connsiteX2355" fmla="*/ 404153 w 1197657"/>
                    <a:gd name="connsiteY2355" fmla="*/ 359431 h 926154"/>
                    <a:gd name="connsiteX2356" fmla="*/ 406509 w 1197657"/>
                    <a:gd name="connsiteY2356" fmla="*/ 360038 h 926154"/>
                    <a:gd name="connsiteX2357" fmla="*/ 406703 w 1197657"/>
                    <a:gd name="connsiteY2357" fmla="*/ 360403 h 926154"/>
                    <a:gd name="connsiteX2358" fmla="*/ 409071 w 1197657"/>
                    <a:gd name="connsiteY2358" fmla="*/ 364992 h 926154"/>
                    <a:gd name="connsiteX2359" fmla="*/ 413989 w 1197657"/>
                    <a:gd name="connsiteY2359" fmla="*/ 363377 h 926154"/>
                    <a:gd name="connsiteX2360" fmla="*/ 414961 w 1197657"/>
                    <a:gd name="connsiteY2360" fmla="*/ 363062 h 926154"/>
                    <a:gd name="connsiteX2361" fmla="*/ 415106 w 1197657"/>
                    <a:gd name="connsiteY2361" fmla="*/ 363013 h 926154"/>
                    <a:gd name="connsiteX2362" fmla="*/ 415119 w 1197657"/>
                    <a:gd name="connsiteY2362" fmla="*/ 363025 h 926154"/>
                    <a:gd name="connsiteX2363" fmla="*/ 415786 w 1197657"/>
                    <a:gd name="connsiteY2363" fmla="*/ 363414 h 926154"/>
                    <a:gd name="connsiteX2364" fmla="*/ 417110 w 1197657"/>
                    <a:gd name="connsiteY2364" fmla="*/ 364191 h 926154"/>
                    <a:gd name="connsiteX2365" fmla="*/ 418531 w 1197657"/>
                    <a:gd name="connsiteY2365" fmla="*/ 365029 h 926154"/>
                    <a:gd name="connsiteX2366" fmla="*/ 414536 w 1197657"/>
                    <a:gd name="connsiteY2366" fmla="*/ 372740 h 926154"/>
                    <a:gd name="connsiteX2367" fmla="*/ 411888 w 1197657"/>
                    <a:gd name="connsiteY2367" fmla="*/ 375423 h 926154"/>
                    <a:gd name="connsiteX2368" fmla="*/ 411658 w 1197657"/>
                    <a:gd name="connsiteY2368" fmla="*/ 375654 h 926154"/>
                    <a:gd name="connsiteX2369" fmla="*/ 411463 w 1197657"/>
                    <a:gd name="connsiteY2369" fmla="*/ 375909 h 926154"/>
                    <a:gd name="connsiteX2370" fmla="*/ 410893 w 1197657"/>
                    <a:gd name="connsiteY2370" fmla="*/ 376625 h 926154"/>
                    <a:gd name="connsiteX2371" fmla="*/ 409739 w 1197657"/>
                    <a:gd name="connsiteY2371" fmla="*/ 378070 h 926154"/>
                    <a:gd name="connsiteX2372" fmla="*/ 409593 w 1197657"/>
                    <a:gd name="connsiteY2372" fmla="*/ 379916 h 926154"/>
                    <a:gd name="connsiteX2373" fmla="*/ 409423 w 1197657"/>
                    <a:gd name="connsiteY2373" fmla="*/ 382102 h 926154"/>
                    <a:gd name="connsiteX2374" fmla="*/ 409387 w 1197657"/>
                    <a:gd name="connsiteY2374" fmla="*/ 382563 h 926154"/>
                    <a:gd name="connsiteX2375" fmla="*/ 409423 w 1197657"/>
                    <a:gd name="connsiteY2375" fmla="*/ 383025 h 926154"/>
                    <a:gd name="connsiteX2376" fmla="*/ 409654 w 1197657"/>
                    <a:gd name="connsiteY2376" fmla="*/ 386243 h 926154"/>
                    <a:gd name="connsiteX2377" fmla="*/ 400292 w 1197657"/>
                    <a:gd name="connsiteY2377" fmla="*/ 400049 h 926154"/>
                    <a:gd name="connsiteX2378" fmla="*/ 400110 w 1197657"/>
                    <a:gd name="connsiteY2378" fmla="*/ 400304 h 926154"/>
                    <a:gd name="connsiteX2379" fmla="*/ 399964 w 1197657"/>
                    <a:gd name="connsiteY2379" fmla="*/ 400571 h 926154"/>
                    <a:gd name="connsiteX2380" fmla="*/ 394123 w 1197657"/>
                    <a:gd name="connsiteY2380" fmla="*/ 411403 h 926154"/>
                    <a:gd name="connsiteX2381" fmla="*/ 389266 w 1197657"/>
                    <a:gd name="connsiteY2381" fmla="*/ 417681 h 926154"/>
                    <a:gd name="connsiteX2382" fmla="*/ 388829 w 1197657"/>
                    <a:gd name="connsiteY2382" fmla="*/ 418239 h 926154"/>
                    <a:gd name="connsiteX2383" fmla="*/ 388538 w 1197657"/>
                    <a:gd name="connsiteY2383" fmla="*/ 418883 h 926154"/>
                    <a:gd name="connsiteX2384" fmla="*/ 385393 w 1197657"/>
                    <a:gd name="connsiteY2384" fmla="*/ 425804 h 926154"/>
                    <a:gd name="connsiteX2385" fmla="*/ 384591 w 1197657"/>
                    <a:gd name="connsiteY2385" fmla="*/ 427031 h 926154"/>
                    <a:gd name="connsiteX2386" fmla="*/ 381458 w 1197657"/>
                    <a:gd name="connsiteY2386" fmla="*/ 428415 h 926154"/>
                    <a:gd name="connsiteX2387" fmla="*/ 367057 w 1197657"/>
                    <a:gd name="connsiteY2387" fmla="*/ 426545 h 926154"/>
                    <a:gd name="connsiteX2388" fmla="*/ 366389 w 1197657"/>
                    <a:gd name="connsiteY2388" fmla="*/ 426460 h 926154"/>
                    <a:gd name="connsiteX2389" fmla="*/ 365721 w 1197657"/>
                    <a:gd name="connsiteY2389" fmla="*/ 426521 h 926154"/>
                    <a:gd name="connsiteX2390" fmla="*/ 358532 w 1197657"/>
                    <a:gd name="connsiteY2390" fmla="*/ 427176 h 926154"/>
                    <a:gd name="connsiteX2391" fmla="*/ 356917 w 1197657"/>
                    <a:gd name="connsiteY2391" fmla="*/ 427322 h 926154"/>
                    <a:gd name="connsiteX2392" fmla="*/ 355594 w 1197657"/>
                    <a:gd name="connsiteY2392" fmla="*/ 428257 h 926154"/>
                    <a:gd name="connsiteX2393" fmla="*/ 353517 w 1197657"/>
                    <a:gd name="connsiteY2393" fmla="*/ 429714 h 926154"/>
                    <a:gd name="connsiteX2394" fmla="*/ 352449 w 1197657"/>
                    <a:gd name="connsiteY2394" fmla="*/ 427905 h 926154"/>
                    <a:gd name="connsiteX2395" fmla="*/ 347057 w 1197657"/>
                    <a:gd name="connsiteY2395" fmla="*/ 430686 h 926154"/>
                    <a:gd name="connsiteX2396" fmla="*/ 344993 w 1197657"/>
                    <a:gd name="connsiteY2396" fmla="*/ 431900 h 926154"/>
                    <a:gd name="connsiteX2397" fmla="*/ 344459 w 1197657"/>
                    <a:gd name="connsiteY2397" fmla="*/ 432216 h 926154"/>
                    <a:gd name="connsiteX2398" fmla="*/ 343997 w 1197657"/>
                    <a:gd name="connsiteY2398" fmla="*/ 432641 h 926154"/>
                    <a:gd name="connsiteX2399" fmla="*/ 333737 w 1197657"/>
                    <a:gd name="connsiteY2399" fmla="*/ 441967 h 926154"/>
                    <a:gd name="connsiteX2400" fmla="*/ 330762 w 1197657"/>
                    <a:gd name="connsiteY2400" fmla="*/ 443897 h 926154"/>
                    <a:gd name="connsiteX2401" fmla="*/ 328381 w 1197657"/>
                    <a:gd name="connsiteY2401" fmla="*/ 444832 h 926154"/>
                    <a:gd name="connsiteX2402" fmla="*/ 327495 w 1197657"/>
                    <a:gd name="connsiteY2402" fmla="*/ 444869 h 926154"/>
                    <a:gd name="connsiteX2403" fmla="*/ 326269 w 1197657"/>
                    <a:gd name="connsiteY2403" fmla="*/ 444711 h 926154"/>
                    <a:gd name="connsiteX2404" fmla="*/ 324945 w 1197657"/>
                    <a:gd name="connsiteY2404" fmla="*/ 444541 h 926154"/>
                    <a:gd name="connsiteX2405" fmla="*/ 323670 w 1197657"/>
                    <a:gd name="connsiteY2405" fmla="*/ 444942 h 926154"/>
                    <a:gd name="connsiteX2406" fmla="*/ 322067 w 1197657"/>
                    <a:gd name="connsiteY2406" fmla="*/ 445452 h 926154"/>
                    <a:gd name="connsiteX2407" fmla="*/ 320501 w 1197657"/>
                    <a:gd name="connsiteY2407" fmla="*/ 445949 h 926154"/>
                    <a:gd name="connsiteX2408" fmla="*/ 319396 w 1197657"/>
                    <a:gd name="connsiteY2408" fmla="*/ 447176 h 926154"/>
                    <a:gd name="connsiteX2409" fmla="*/ 317331 w 1197657"/>
                    <a:gd name="connsiteY2409" fmla="*/ 449471 h 926154"/>
                    <a:gd name="connsiteX2410" fmla="*/ 316676 w 1197657"/>
                    <a:gd name="connsiteY2410" fmla="*/ 450199 h 926154"/>
                    <a:gd name="connsiteX2411" fmla="*/ 316336 w 1197657"/>
                    <a:gd name="connsiteY2411" fmla="*/ 450964 h 926154"/>
                    <a:gd name="connsiteX2412" fmla="*/ 311381 w 1197657"/>
                    <a:gd name="connsiteY2412" fmla="*/ 445403 h 926154"/>
                    <a:gd name="connsiteX2413" fmla="*/ 311102 w 1197657"/>
                    <a:gd name="connsiteY2413" fmla="*/ 445087 h 926154"/>
                    <a:gd name="connsiteX2414" fmla="*/ 310786 w 1197657"/>
                    <a:gd name="connsiteY2414" fmla="*/ 444820 h 926154"/>
                    <a:gd name="connsiteX2415" fmla="*/ 309135 w 1197657"/>
                    <a:gd name="connsiteY2415" fmla="*/ 443412 h 926154"/>
                    <a:gd name="connsiteX2416" fmla="*/ 303161 w 1197657"/>
                    <a:gd name="connsiteY2416" fmla="*/ 438324 h 926154"/>
                    <a:gd name="connsiteX2417" fmla="*/ 299724 w 1197657"/>
                    <a:gd name="connsiteY2417" fmla="*/ 445379 h 926154"/>
                    <a:gd name="connsiteX2418" fmla="*/ 298231 w 1197657"/>
                    <a:gd name="connsiteY2418" fmla="*/ 448451 h 926154"/>
                    <a:gd name="connsiteX2419" fmla="*/ 298073 w 1197657"/>
                    <a:gd name="connsiteY2419" fmla="*/ 448779 h 926154"/>
                    <a:gd name="connsiteX2420" fmla="*/ 297951 w 1197657"/>
                    <a:gd name="connsiteY2420" fmla="*/ 449131 h 926154"/>
                    <a:gd name="connsiteX2421" fmla="*/ 295656 w 1197657"/>
                    <a:gd name="connsiteY2421" fmla="*/ 455773 h 926154"/>
                    <a:gd name="connsiteX2422" fmla="*/ 295644 w 1197657"/>
                    <a:gd name="connsiteY2422" fmla="*/ 455773 h 926154"/>
                    <a:gd name="connsiteX2423" fmla="*/ 293786 w 1197657"/>
                    <a:gd name="connsiteY2423" fmla="*/ 455300 h 926154"/>
                    <a:gd name="connsiteX2424" fmla="*/ 292001 w 1197657"/>
                    <a:gd name="connsiteY2424" fmla="*/ 455980 h 926154"/>
                    <a:gd name="connsiteX2425" fmla="*/ 291018 w 1197657"/>
                    <a:gd name="connsiteY2425" fmla="*/ 456356 h 926154"/>
                    <a:gd name="connsiteX2426" fmla="*/ 289731 w 1197657"/>
                    <a:gd name="connsiteY2426" fmla="*/ 456842 h 926154"/>
                    <a:gd name="connsiteX2427" fmla="*/ 288783 w 1197657"/>
                    <a:gd name="connsiteY2427" fmla="*/ 457837 h 926154"/>
                    <a:gd name="connsiteX2428" fmla="*/ 287994 w 1197657"/>
                    <a:gd name="connsiteY2428" fmla="*/ 458663 h 926154"/>
                    <a:gd name="connsiteX2429" fmla="*/ 287715 w 1197657"/>
                    <a:gd name="connsiteY2429" fmla="*/ 458955 h 926154"/>
                    <a:gd name="connsiteX2430" fmla="*/ 287472 w 1197657"/>
                    <a:gd name="connsiteY2430" fmla="*/ 459282 h 926154"/>
                    <a:gd name="connsiteX2431" fmla="*/ 287071 w 1197657"/>
                    <a:gd name="connsiteY2431" fmla="*/ 459829 h 926154"/>
                    <a:gd name="connsiteX2432" fmla="*/ 286743 w 1197657"/>
                    <a:gd name="connsiteY2432" fmla="*/ 460157 h 926154"/>
                    <a:gd name="connsiteX2433" fmla="*/ 286707 w 1197657"/>
                    <a:gd name="connsiteY2433" fmla="*/ 460193 h 926154"/>
                    <a:gd name="connsiteX2434" fmla="*/ 284460 w 1197657"/>
                    <a:gd name="connsiteY2434" fmla="*/ 458493 h 926154"/>
                    <a:gd name="connsiteX2435" fmla="*/ 280818 w 1197657"/>
                    <a:gd name="connsiteY2435" fmla="*/ 463472 h 926154"/>
                    <a:gd name="connsiteX2436" fmla="*/ 279943 w 1197657"/>
                    <a:gd name="connsiteY2436" fmla="*/ 464662 h 926154"/>
                    <a:gd name="connsiteX2437" fmla="*/ 278960 w 1197657"/>
                    <a:gd name="connsiteY2437" fmla="*/ 464443 h 926154"/>
                    <a:gd name="connsiteX2438" fmla="*/ 278668 w 1197657"/>
                    <a:gd name="connsiteY2438" fmla="*/ 461055 h 926154"/>
                    <a:gd name="connsiteX2439" fmla="*/ 278620 w 1197657"/>
                    <a:gd name="connsiteY2439" fmla="*/ 460497 h 926154"/>
                    <a:gd name="connsiteX2440" fmla="*/ 278462 w 1197657"/>
                    <a:gd name="connsiteY2440" fmla="*/ 459950 h 926154"/>
                    <a:gd name="connsiteX2441" fmla="*/ 276228 w 1197657"/>
                    <a:gd name="connsiteY2441" fmla="*/ 451936 h 926154"/>
                    <a:gd name="connsiteX2442" fmla="*/ 274989 w 1197657"/>
                    <a:gd name="connsiteY2442" fmla="*/ 447492 h 926154"/>
                    <a:gd name="connsiteX2443" fmla="*/ 270387 w 1197657"/>
                    <a:gd name="connsiteY2443" fmla="*/ 447492 h 926154"/>
                    <a:gd name="connsiteX2444" fmla="*/ 269124 w 1197657"/>
                    <a:gd name="connsiteY2444" fmla="*/ 447492 h 926154"/>
                    <a:gd name="connsiteX2445" fmla="*/ 267436 w 1197657"/>
                    <a:gd name="connsiteY2445" fmla="*/ 447492 h 926154"/>
                    <a:gd name="connsiteX2446" fmla="*/ 266440 w 1197657"/>
                    <a:gd name="connsiteY2446" fmla="*/ 448087 h 926154"/>
                    <a:gd name="connsiteX2447" fmla="*/ 266064 w 1197657"/>
                    <a:gd name="connsiteY2447" fmla="*/ 447965 h 926154"/>
                    <a:gd name="connsiteX2448" fmla="*/ 264582 w 1197657"/>
                    <a:gd name="connsiteY2448" fmla="*/ 448208 h 926154"/>
                    <a:gd name="connsiteX2449" fmla="*/ 263441 w 1197657"/>
                    <a:gd name="connsiteY2449" fmla="*/ 448390 h 926154"/>
                    <a:gd name="connsiteX2450" fmla="*/ 259021 w 1197657"/>
                    <a:gd name="connsiteY2450" fmla="*/ 449107 h 926154"/>
                    <a:gd name="connsiteX2451" fmla="*/ 258390 w 1197657"/>
                    <a:gd name="connsiteY2451" fmla="*/ 453527 h 926154"/>
                    <a:gd name="connsiteX2452" fmla="*/ 257928 w 1197657"/>
                    <a:gd name="connsiteY2452" fmla="*/ 456781 h 926154"/>
                    <a:gd name="connsiteX2453" fmla="*/ 257782 w 1197657"/>
                    <a:gd name="connsiteY2453" fmla="*/ 457825 h 926154"/>
                    <a:gd name="connsiteX2454" fmla="*/ 258001 w 1197657"/>
                    <a:gd name="connsiteY2454" fmla="*/ 458857 h 926154"/>
                    <a:gd name="connsiteX2455" fmla="*/ 258632 w 1197657"/>
                    <a:gd name="connsiteY2455" fmla="*/ 461917 h 926154"/>
                    <a:gd name="connsiteX2456" fmla="*/ 258778 w 1197657"/>
                    <a:gd name="connsiteY2456" fmla="*/ 462585 h 926154"/>
                    <a:gd name="connsiteX2457" fmla="*/ 259057 w 1197657"/>
                    <a:gd name="connsiteY2457" fmla="*/ 463204 h 926154"/>
                    <a:gd name="connsiteX2458" fmla="*/ 259325 w 1197657"/>
                    <a:gd name="connsiteY2458" fmla="*/ 463787 h 926154"/>
                    <a:gd name="connsiteX2459" fmla="*/ 257370 w 1197657"/>
                    <a:gd name="connsiteY2459" fmla="*/ 464467 h 926154"/>
                    <a:gd name="connsiteX2460" fmla="*/ 256313 w 1197657"/>
                    <a:gd name="connsiteY2460" fmla="*/ 466908 h 926154"/>
                    <a:gd name="connsiteX2461" fmla="*/ 256119 w 1197657"/>
                    <a:gd name="connsiteY2461" fmla="*/ 467357 h 926154"/>
                    <a:gd name="connsiteX2462" fmla="*/ 254115 w 1197657"/>
                    <a:gd name="connsiteY2462" fmla="*/ 470114 h 926154"/>
                    <a:gd name="connsiteX2463" fmla="*/ 253666 w 1197657"/>
                    <a:gd name="connsiteY2463" fmla="*/ 470308 h 926154"/>
                    <a:gd name="connsiteX2464" fmla="*/ 248554 w 1197657"/>
                    <a:gd name="connsiteY2464" fmla="*/ 471510 h 926154"/>
                    <a:gd name="connsiteX2465" fmla="*/ 235027 w 1197657"/>
                    <a:gd name="connsiteY2465" fmla="*/ 471729 h 926154"/>
                    <a:gd name="connsiteX2466" fmla="*/ 234067 w 1197657"/>
                    <a:gd name="connsiteY2466" fmla="*/ 471741 h 926154"/>
                    <a:gd name="connsiteX2467" fmla="*/ 233169 w 1197657"/>
                    <a:gd name="connsiteY2467" fmla="*/ 472045 h 926154"/>
                    <a:gd name="connsiteX2468" fmla="*/ 230643 w 1197657"/>
                    <a:gd name="connsiteY2468" fmla="*/ 472907 h 926154"/>
                    <a:gd name="connsiteX2469" fmla="*/ 228397 w 1197657"/>
                    <a:gd name="connsiteY2469" fmla="*/ 473660 h 926154"/>
                    <a:gd name="connsiteX2470" fmla="*/ 227267 w 1197657"/>
                    <a:gd name="connsiteY2470" fmla="*/ 475736 h 926154"/>
                    <a:gd name="connsiteX2471" fmla="*/ 226235 w 1197657"/>
                    <a:gd name="connsiteY2471" fmla="*/ 477643 h 926154"/>
                    <a:gd name="connsiteX2472" fmla="*/ 219593 w 1197657"/>
                    <a:gd name="connsiteY2472" fmla="*/ 480690 h 926154"/>
                    <a:gd name="connsiteX2473" fmla="*/ 210656 w 1197657"/>
                    <a:gd name="connsiteY2473" fmla="*/ 482050 h 926154"/>
                    <a:gd name="connsiteX2474" fmla="*/ 210267 w 1197657"/>
                    <a:gd name="connsiteY2474" fmla="*/ 481844 h 926154"/>
                    <a:gd name="connsiteX2475" fmla="*/ 207013 w 1197657"/>
                    <a:gd name="connsiteY2475" fmla="*/ 480108 h 926154"/>
                    <a:gd name="connsiteX2476" fmla="*/ 206066 w 1197657"/>
                    <a:gd name="connsiteY2476" fmla="*/ 479160 h 926154"/>
                    <a:gd name="connsiteX2477" fmla="*/ 207414 w 1197657"/>
                    <a:gd name="connsiteY2477" fmla="*/ 477193 h 926154"/>
                    <a:gd name="connsiteX2478" fmla="*/ 208846 w 1197657"/>
                    <a:gd name="connsiteY2478" fmla="*/ 475105 h 926154"/>
                    <a:gd name="connsiteX2479" fmla="*/ 208373 w 1197657"/>
                    <a:gd name="connsiteY2479" fmla="*/ 472627 h 926154"/>
                    <a:gd name="connsiteX2480" fmla="*/ 208215 w 1197657"/>
                    <a:gd name="connsiteY2480" fmla="*/ 471826 h 926154"/>
                    <a:gd name="connsiteX2481" fmla="*/ 211190 w 1197657"/>
                    <a:gd name="connsiteY2481" fmla="*/ 467540 h 926154"/>
                    <a:gd name="connsiteX2482" fmla="*/ 212659 w 1197657"/>
                    <a:gd name="connsiteY2482" fmla="*/ 465415 h 926154"/>
                    <a:gd name="connsiteX2483" fmla="*/ 212149 w 1197657"/>
                    <a:gd name="connsiteY2483" fmla="*/ 462889 h 926154"/>
                    <a:gd name="connsiteX2484" fmla="*/ 211506 w 1197657"/>
                    <a:gd name="connsiteY2484" fmla="*/ 459695 h 926154"/>
                    <a:gd name="connsiteX2485" fmla="*/ 211093 w 1197657"/>
                    <a:gd name="connsiteY2485" fmla="*/ 457655 h 926154"/>
                    <a:gd name="connsiteX2486" fmla="*/ 209526 w 1197657"/>
                    <a:gd name="connsiteY2486" fmla="*/ 456295 h 926154"/>
                    <a:gd name="connsiteX2487" fmla="*/ 206904 w 1197657"/>
                    <a:gd name="connsiteY2487" fmla="*/ 454037 h 926154"/>
                    <a:gd name="connsiteX2488" fmla="*/ 205556 w 1197657"/>
                    <a:gd name="connsiteY2488" fmla="*/ 452871 h 926154"/>
                    <a:gd name="connsiteX2489" fmla="*/ 203795 w 1197657"/>
                    <a:gd name="connsiteY2489" fmla="*/ 452616 h 926154"/>
                    <a:gd name="connsiteX2490" fmla="*/ 201998 w 1197657"/>
                    <a:gd name="connsiteY2490" fmla="*/ 452361 h 926154"/>
                    <a:gd name="connsiteX2491" fmla="*/ 199508 w 1197657"/>
                    <a:gd name="connsiteY2491" fmla="*/ 452009 h 926154"/>
                    <a:gd name="connsiteX2492" fmla="*/ 197493 w 1197657"/>
                    <a:gd name="connsiteY2492" fmla="*/ 453527 h 926154"/>
                    <a:gd name="connsiteX2493" fmla="*/ 195671 w 1197657"/>
                    <a:gd name="connsiteY2493" fmla="*/ 454899 h 926154"/>
                    <a:gd name="connsiteX2494" fmla="*/ 195380 w 1197657"/>
                    <a:gd name="connsiteY2494" fmla="*/ 455117 h 926154"/>
                    <a:gd name="connsiteX2495" fmla="*/ 195113 w 1197657"/>
                    <a:gd name="connsiteY2495" fmla="*/ 455372 h 926154"/>
                    <a:gd name="connsiteX2496" fmla="*/ 194457 w 1197657"/>
                    <a:gd name="connsiteY2496" fmla="*/ 456004 h 926154"/>
                    <a:gd name="connsiteX2497" fmla="*/ 193935 w 1197657"/>
                    <a:gd name="connsiteY2497" fmla="*/ 455761 h 926154"/>
                    <a:gd name="connsiteX2498" fmla="*/ 192781 w 1197657"/>
                    <a:gd name="connsiteY2498" fmla="*/ 455700 h 926154"/>
                    <a:gd name="connsiteX2499" fmla="*/ 190996 w 1197657"/>
                    <a:gd name="connsiteY2499" fmla="*/ 455591 h 926154"/>
                    <a:gd name="connsiteX2500" fmla="*/ 189697 w 1197657"/>
                    <a:gd name="connsiteY2500" fmla="*/ 455518 h 926154"/>
                    <a:gd name="connsiteX2501" fmla="*/ 188483 w 1197657"/>
                    <a:gd name="connsiteY2501" fmla="*/ 455980 h 926154"/>
                    <a:gd name="connsiteX2502" fmla="*/ 187475 w 1197657"/>
                    <a:gd name="connsiteY2502" fmla="*/ 456356 h 926154"/>
                    <a:gd name="connsiteX2503" fmla="*/ 187997 w 1197657"/>
                    <a:gd name="connsiteY2503" fmla="*/ 455627 h 926154"/>
                    <a:gd name="connsiteX2504" fmla="*/ 188713 w 1197657"/>
                    <a:gd name="connsiteY2504" fmla="*/ 454620 h 926154"/>
                    <a:gd name="connsiteX2505" fmla="*/ 188981 w 1197657"/>
                    <a:gd name="connsiteY2505" fmla="*/ 453405 h 926154"/>
                    <a:gd name="connsiteX2506" fmla="*/ 189563 w 1197657"/>
                    <a:gd name="connsiteY2506" fmla="*/ 450782 h 926154"/>
                    <a:gd name="connsiteX2507" fmla="*/ 190025 w 1197657"/>
                    <a:gd name="connsiteY2507" fmla="*/ 448694 h 926154"/>
                    <a:gd name="connsiteX2508" fmla="*/ 189066 w 1197657"/>
                    <a:gd name="connsiteY2508" fmla="*/ 446775 h 926154"/>
                    <a:gd name="connsiteX2509" fmla="*/ 188313 w 1197657"/>
                    <a:gd name="connsiteY2509" fmla="*/ 445257 h 926154"/>
                    <a:gd name="connsiteX2510" fmla="*/ 186953 w 1197657"/>
                    <a:gd name="connsiteY2510" fmla="*/ 442513 h 926154"/>
                    <a:gd name="connsiteX2511" fmla="*/ 183929 w 1197657"/>
                    <a:gd name="connsiteY2511" fmla="*/ 441979 h 926154"/>
                    <a:gd name="connsiteX2512" fmla="*/ 182496 w 1197657"/>
                    <a:gd name="connsiteY2512" fmla="*/ 441724 h 926154"/>
                    <a:gd name="connsiteX2513" fmla="*/ 179958 w 1197657"/>
                    <a:gd name="connsiteY2513" fmla="*/ 441274 h 926154"/>
                    <a:gd name="connsiteX2514" fmla="*/ 177870 w 1197657"/>
                    <a:gd name="connsiteY2514" fmla="*/ 442792 h 926154"/>
                    <a:gd name="connsiteX2515" fmla="*/ 173304 w 1197657"/>
                    <a:gd name="connsiteY2515" fmla="*/ 446095 h 926154"/>
                    <a:gd name="connsiteX2516" fmla="*/ 166128 w 1197657"/>
                    <a:gd name="connsiteY2516" fmla="*/ 450017 h 926154"/>
                    <a:gd name="connsiteX2517" fmla="*/ 165630 w 1197657"/>
                    <a:gd name="connsiteY2517" fmla="*/ 450284 h 926154"/>
                    <a:gd name="connsiteX2518" fmla="*/ 165193 w 1197657"/>
                    <a:gd name="connsiteY2518" fmla="*/ 450649 h 926154"/>
                    <a:gd name="connsiteX2519" fmla="*/ 162424 w 1197657"/>
                    <a:gd name="connsiteY2519" fmla="*/ 452919 h 926154"/>
                    <a:gd name="connsiteX2520" fmla="*/ 161841 w 1197657"/>
                    <a:gd name="connsiteY2520" fmla="*/ 453405 h 926154"/>
                    <a:gd name="connsiteX2521" fmla="*/ 161392 w 1197657"/>
                    <a:gd name="connsiteY2521" fmla="*/ 454012 h 926154"/>
                    <a:gd name="connsiteX2522" fmla="*/ 159619 w 1197657"/>
                    <a:gd name="connsiteY2522" fmla="*/ 456417 h 926154"/>
                    <a:gd name="connsiteX2523" fmla="*/ 159413 w 1197657"/>
                    <a:gd name="connsiteY2523" fmla="*/ 456696 h 926154"/>
                    <a:gd name="connsiteX2524" fmla="*/ 159230 w 1197657"/>
                    <a:gd name="connsiteY2524" fmla="*/ 457000 h 926154"/>
                    <a:gd name="connsiteX2525" fmla="*/ 157567 w 1197657"/>
                    <a:gd name="connsiteY2525" fmla="*/ 459902 h 926154"/>
                    <a:gd name="connsiteX2526" fmla="*/ 157312 w 1197657"/>
                    <a:gd name="connsiteY2526" fmla="*/ 460339 h 926154"/>
                    <a:gd name="connsiteX2527" fmla="*/ 157142 w 1197657"/>
                    <a:gd name="connsiteY2527" fmla="*/ 460812 h 926154"/>
                    <a:gd name="connsiteX2528" fmla="*/ 155867 w 1197657"/>
                    <a:gd name="connsiteY2528" fmla="*/ 464261 h 926154"/>
                    <a:gd name="connsiteX2529" fmla="*/ 155624 w 1197657"/>
                    <a:gd name="connsiteY2529" fmla="*/ 464917 h 926154"/>
                    <a:gd name="connsiteX2530" fmla="*/ 155539 w 1197657"/>
                    <a:gd name="connsiteY2530" fmla="*/ 465609 h 926154"/>
                    <a:gd name="connsiteX2531" fmla="*/ 155065 w 1197657"/>
                    <a:gd name="connsiteY2531" fmla="*/ 469312 h 926154"/>
                    <a:gd name="connsiteX2532" fmla="*/ 154555 w 1197657"/>
                    <a:gd name="connsiteY2532" fmla="*/ 471498 h 926154"/>
                    <a:gd name="connsiteX2533" fmla="*/ 153317 w 1197657"/>
                    <a:gd name="connsiteY2533" fmla="*/ 473550 h 926154"/>
                    <a:gd name="connsiteX2534" fmla="*/ 153086 w 1197657"/>
                    <a:gd name="connsiteY2534" fmla="*/ 473927 h 926154"/>
                    <a:gd name="connsiteX2535" fmla="*/ 152916 w 1197657"/>
                    <a:gd name="connsiteY2535" fmla="*/ 474327 h 926154"/>
                    <a:gd name="connsiteX2536" fmla="*/ 151544 w 1197657"/>
                    <a:gd name="connsiteY2536" fmla="*/ 477606 h 926154"/>
                    <a:gd name="connsiteX2537" fmla="*/ 151034 w 1197657"/>
                    <a:gd name="connsiteY2537" fmla="*/ 478808 h 926154"/>
                    <a:gd name="connsiteX2538" fmla="*/ 151058 w 1197657"/>
                    <a:gd name="connsiteY2538" fmla="*/ 480108 h 926154"/>
                    <a:gd name="connsiteX2539" fmla="*/ 151167 w 1197657"/>
                    <a:gd name="connsiteY2539" fmla="*/ 484673 h 926154"/>
                    <a:gd name="connsiteX2540" fmla="*/ 151192 w 1197657"/>
                    <a:gd name="connsiteY2540" fmla="*/ 485839 h 926154"/>
                    <a:gd name="connsiteX2541" fmla="*/ 151653 w 1197657"/>
                    <a:gd name="connsiteY2541" fmla="*/ 486908 h 926154"/>
                    <a:gd name="connsiteX2542" fmla="*/ 153268 w 1197657"/>
                    <a:gd name="connsiteY2542" fmla="*/ 490672 h 926154"/>
                    <a:gd name="connsiteX2543" fmla="*/ 153462 w 1197657"/>
                    <a:gd name="connsiteY2543" fmla="*/ 491133 h 926154"/>
                    <a:gd name="connsiteX2544" fmla="*/ 153730 w 1197657"/>
                    <a:gd name="connsiteY2544" fmla="*/ 491558 h 926154"/>
                    <a:gd name="connsiteX2545" fmla="*/ 158538 w 1197657"/>
                    <a:gd name="connsiteY2545" fmla="*/ 499051 h 926154"/>
                    <a:gd name="connsiteX2546" fmla="*/ 160845 w 1197657"/>
                    <a:gd name="connsiteY2546" fmla="*/ 504770 h 926154"/>
                    <a:gd name="connsiteX2547" fmla="*/ 161295 w 1197657"/>
                    <a:gd name="connsiteY2547" fmla="*/ 505887 h 926154"/>
                    <a:gd name="connsiteX2548" fmla="*/ 162120 w 1197657"/>
                    <a:gd name="connsiteY2548" fmla="*/ 506737 h 926154"/>
                    <a:gd name="connsiteX2549" fmla="*/ 165618 w 1197657"/>
                    <a:gd name="connsiteY2549" fmla="*/ 510319 h 926154"/>
                    <a:gd name="connsiteX2550" fmla="*/ 165860 w 1197657"/>
                    <a:gd name="connsiteY2550" fmla="*/ 510562 h 926154"/>
                    <a:gd name="connsiteX2551" fmla="*/ 166115 w 1197657"/>
                    <a:gd name="connsiteY2551" fmla="*/ 510781 h 926154"/>
                    <a:gd name="connsiteX2552" fmla="*/ 172163 w 1197657"/>
                    <a:gd name="connsiteY2552" fmla="*/ 515723 h 926154"/>
                    <a:gd name="connsiteX2553" fmla="*/ 179545 w 1197657"/>
                    <a:gd name="connsiteY2553" fmla="*/ 526081 h 926154"/>
                    <a:gd name="connsiteX2554" fmla="*/ 181379 w 1197657"/>
                    <a:gd name="connsiteY2554" fmla="*/ 530124 h 926154"/>
                    <a:gd name="connsiteX2555" fmla="*/ 181889 w 1197657"/>
                    <a:gd name="connsiteY2555" fmla="*/ 531254 h 926154"/>
                    <a:gd name="connsiteX2556" fmla="*/ 182812 w 1197657"/>
                    <a:gd name="connsiteY2556" fmla="*/ 532091 h 926154"/>
                    <a:gd name="connsiteX2557" fmla="*/ 185848 w 1197657"/>
                    <a:gd name="connsiteY2557" fmla="*/ 534872 h 926154"/>
                    <a:gd name="connsiteX2558" fmla="*/ 186139 w 1197657"/>
                    <a:gd name="connsiteY2558" fmla="*/ 535139 h 926154"/>
                    <a:gd name="connsiteX2559" fmla="*/ 186467 w 1197657"/>
                    <a:gd name="connsiteY2559" fmla="*/ 535382 h 926154"/>
                    <a:gd name="connsiteX2560" fmla="*/ 191579 w 1197657"/>
                    <a:gd name="connsiteY2560" fmla="*/ 538952 h 926154"/>
                    <a:gd name="connsiteX2561" fmla="*/ 199933 w 1197657"/>
                    <a:gd name="connsiteY2561" fmla="*/ 550245 h 926154"/>
                    <a:gd name="connsiteX2562" fmla="*/ 200261 w 1197657"/>
                    <a:gd name="connsiteY2562" fmla="*/ 550694 h 926154"/>
                    <a:gd name="connsiteX2563" fmla="*/ 200674 w 1197657"/>
                    <a:gd name="connsiteY2563" fmla="*/ 551071 h 926154"/>
                    <a:gd name="connsiteX2564" fmla="*/ 203261 w 1197657"/>
                    <a:gd name="connsiteY2564" fmla="*/ 553475 h 926154"/>
                    <a:gd name="connsiteX2565" fmla="*/ 203540 w 1197657"/>
                    <a:gd name="connsiteY2565" fmla="*/ 553730 h 926154"/>
                    <a:gd name="connsiteX2566" fmla="*/ 203856 w 1197657"/>
                    <a:gd name="connsiteY2566" fmla="*/ 553961 h 926154"/>
                    <a:gd name="connsiteX2567" fmla="*/ 209429 w 1197657"/>
                    <a:gd name="connsiteY2567" fmla="*/ 557956 h 926154"/>
                    <a:gd name="connsiteX2568" fmla="*/ 226466 w 1197657"/>
                    <a:gd name="connsiteY2568" fmla="*/ 574082 h 926154"/>
                    <a:gd name="connsiteX2569" fmla="*/ 227109 w 1197657"/>
                    <a:gd name="connsiteY2569" fmla="*/ 574689 h 926154"/>
                    <a:gd name="connsiteX2570" fmla="*/ 227899 w 1197657"/>
                    <a:gd name="connsiteY2570" fmla="*/ 575090 h 926154"/>
                    <a:gd name="connsiteX2571" fmla="*/ 231529 w 1197657"/>
                    <a:gd name="connsiteY2571" fmla="*/ 576923 h 926154"/>
                    <a:gd name="connsiteX2572" fmla="*/ 233557 w 1197657"/>
                    <a:gd name="connsiteY2572" fmla="*/ 577955 h 926154"/>
                    <a:gd name="connsiteX2573" fmla="*/ 235257 w 1197657"/>
                    <a:gd name="connsiteY2573" fmla="*/ 577518 h 926154"/>
                    <a:gd name="connsiteX2574" fmla="*/ 235282 w 1197657"/>
                    <a:gd name="connsiteY2574" fmla="*/ 577615 h 926154"/>
                    <a:gd name="connsiteX2575" fmla="*/ 236435 w 1197657"/>
                    <a:gd name="connsiteY2575" fmla="*/ 580942 h 926154"/>
                    <a:gd name="connsiteX2576" fmla="*/ 236799 w 1197657"/>
                    <a:gd name="connsiteY2576" fmla="*/ 582011 h 926154"/>
                    <a:gd name="connsiteX2577" fmla="*/ 237516 w 1197657"/>
                    <a:gd name="connsiteY2577" fmla="*/ 582861 h 926154"/>
                    <a:gd name="connsiteX2578" fmla="*/ 243102 w 1197657"/>
                    <a:gd name="connsiteY2578" fmla="*/ 589552 h 926154"/>
                    <a:gd name="connsiteX2579" fmla="*/ 243442 w 1197657"/>
                    <a:gd name="connsiteY2579" fmla="*/ 589965 h 926154"/>
                    <a:gd name="connsiteX2580" fmla="*/ 243854 w 1197657"/>
                    <a:gd name="connsiteY2580" fmla="*/ 590305 h 926154"/>
                    <a:gd name="connsiteX2581" fmla="*/ 247352 w 1197657"/>
                    <a:gd name="connsiteY2581" fmla="*/ 593231 h 926154"/>
                    <a:gd name="connsiteX2582" fmla="*/ 248020 w 1197657"/>
                    <a:gd name="connsiteY2582" fmla="*/ 593790 h 926154"/>
                    <a:gd name="connsiteX2583" fmla="*/ 248821 w 1197657"/>
                    <a:gd name="connsiteY2583" fmla="*/ 594142 h 926154"/>
                    <a:gd name="connsiteX2584" fmla="*/ 253156 w 1197657"/>
                    <a:gd name="connsiteY2584" fmla="*/ 596036 h 926154"/>
                    <a:gd name="connsiteX2585" fmla="*/ 256058 w 1197657"/>
                    <a:gd name="connsiteY2585" fmla="*/ 600784 h 926154"/>
                    <a:gd name="connsiteX2586" fmla="*/ 256605 w 1197657"/>
                    <a:gd name="connsiteY2586" fmla="*/ 601695 h 926154"/>
                    <a:gd name="connsiteX2587" fmla="*/ 257430 w 1197657"/>
                    <a:gd name="connsiteY2587" fmla="*/ 602350 h 926154"/>
                    <a:gd name="connsiteX2588" fmla="*/ 260709 w 1197657"/>
                    <a:gd name="connsiteY2588" fmla="*/ 604986 h 926154"/>
                    <a:gd name="connsiteX2589" fmla="*/ 266489 w 1197657"/>
                    <a:gd name="connsiteY2589" fmla="*/ 612235 h 926154"/>
                    <a:gd name="connsiteX2590" fmla="*/ 269755 w 1197657"/>
                    <a:gd name="connsiteY2590" fmla="*/ 615635 h 926154"/>
                    <a:gd name="connsiteX2591" fmla="*/ 270338 w 1197657"/>
                    <a:gd name="connsiteY2591" fmla="*/ 616230 h 926154"/>
                    <a:gd name="connsiteX2592" fmla="*/ 271067 w 1197657"/>
                    <a:gd name="connsiteY2592" fmla="*/ 616655 h 926154"/>
                    <a:gd name="connsiteX2593" fmla="*/ 281862 w 1197657"/>
                    <a:gd name="connsiteY2593" fmla="*/ 622933 h 926154"/>
                    <a:gd name="connsiteX2594" fmla="*/ 305055 w 1197657"/>
                    <a:gd name="connsiteY2594" fmla="*/ 646964 h 926154"/>
                    <a:gd name="connsiteX2595" fmla="*/ 308309 w 1197657"/>
                    <a:gd name="connsiteY2595" fmla="*/ 649769 h 926154"/>
                    <a:gd name="connsiteX2596" fmla="*/ 308795 w 1197657"/>
                    <a:gd name="connsiteY2596" fmla="*/ 650181 h 926154"/>
                    <a:gd name="connsiteX2597" fmla="*/ 309354 w 1197657"/>
                    <a:gd name="connsiteY2597" fmla="*/ 650473 h 926154"/>
                    <a:gd name="connsiteX2598" fmla="*/ 312620 w 1197657"/>
                    <a:gd name="connsiteY2598" fmla="*/ 652246 h 926154"/>
                    <a:gd name="connsiteX2599" fmla="*/ 313458 w 1197657"/>
                    <a:gd name="connsiteY2599" fmla="*/ 652707 h 926154"/>
                    <a:gd name="connsiteX2600" fmla="*/ 314016 w 1197657"/>
                    <a:gd name="connsiteY2600" fmla="*/ 652817 h 926154"/>
                    <a:gd name="connsiteX2601" fmla="*/ 314405 w 1197657"/>
                    <a:gd name="connsiteY2601" fmla="*/ 655002 h 926154"/>
                    <a:gd name="connsiteX2602" fmla="*/ 314624 w 1197657"/>
                    <a:gd name="connsiteY2602" fmla="*/ 656217 h 926154"/>
                    <a:gd name="connsiteX2603" fmla="*/ 315291 w 1197657"/>
                    <a:gd name="connsiteY2603" fmla="*/ 657237 h 926154"/>
                    <a:gd name="connsiteX2604" fmla="*/ 320914 w 1197657"/>
                    <a:gd name="connsiteY2604" fmla="*/ 665882 h 926154"/>
                    <a:gd name="connsiteX2605" fmla="*/ 321144 w 1197657"/>
                    <a:gd name="connsiteY2605" fmla="*/ 666222 h 926154"/>
                    <a:gd name="connsiteX2606" fmla="*/ 321399 w 1197657"/>
                    <a:gd name="connsiteY2606" fmla="*/ 666514 h 926154"/>
                    <a:gd name="connsiteX2607" fmla="*/ 333931 w 1197657"/>
                    <a:gd name="connsiteY2607" fmla="*/ 681122 h 926154"/>
                    <a:gd name="connsiteX2608" fmla="*/ 334149 w 1197657"/>
                    <a:gd name="connsiteY2608" fmla="*/ 681377 h 926154"/>
                    <a:gd name="connsiteX2609" fmla="*/ 334392 w 1197657"/>
                    <a:gd name="connsiteY2609" fmla="*/ 681607 h 926154"/>
                    <a:gd name="connsiteX2610" fmla="*/ 342747 w 1197657"/>
                    <a:gd name="connsiteY2610" fmla="*/ 689452 h 926154"/>
                    <a:gd name="connsiteX2611" fmla="*/ 343633 w 1197657"/>
                    <a:gd name="connsiteY2611" fmla="*/ 690630 h 926154"/>
                    <a:gd name="connsiteX2612" fmla="*/ 344374 w 1197657"/>
                    <a:gd name="connsiteY2612" fmla="*/ 692014 h 926154"/>
                    <a:gd name="connsiteX2613" fmla="*/ 344629 w 1197657"/>
                    <a:gd name="connsiteY2613" fmla="*/ 692475 h 926154"/>
                    <a:gd name="connsiteX2614" fmla="*/ 344957 w 1197657"/>
                    <a:gd name="connsiteY2614" fmla="*/ 692900 h 926154"/>
                    <a:gd name="connsiteX2615" fmla="*/ 361155 w 1197657"/>
                    <a:gd name="connsiteY2615" fmla="*/ 713470 h 926154"/>
                    <a:gd name="connsiteX2616" fmla="*/ 361617 w 1197657"/>
                    <a:gd name="connsiteY2616" fmla="*/ 714041 h 926154"/>
                    <a:gd name="connsiteX2617" fmla="*/ 362187 w 1197657"/>
                    <a:gd name="connsiteY2617" fmla="*/ 714491 h 926154"/>
                    <a:gd name="connsiteX2618" fmla="*/ 379928 w 1197657"/>
                    <a:gd name="connsiteY2618" fmla="*/ 728370 h 926154"/>
                    <a:gd name="connsiteX2619" fmla="*/ 400462 w 1197657"/>
                    <a:gd name="connsiteY2619" fmla="*/ 747289 h 926154"/>
                    <a:gd name="connsiteX2620" fmla="*/ 400875 w 1197657"/>
                    <a:gd name="connsiteY2620" fmla="*/ 747665 h 926154"/>
                    <a:gd name="connsiteX2621" fmla="*/ 401361 w 1197657"/>
                    <a:gd name="connsiteY2621" fmla="*/ 747969 h 926154"/>
                    <a:gd name="connsiteX2622" fmla="*/ 407748 w 1197657"/>
                    <a:gd name="connsiteY2622" fmla="*/ 751939 h 926154"/>
                    <a:gd name="connsiteX2623" fmla="*/ 414244 w 1197657"/>
                    <a:gd name="connsiteY2623" fmla="*/ 757756 h 926154"/>
                    <a:gd name="connsiteX2624" fmla="*/ 415046 w 1197657"/>
                    <a:gd name="connsiteY2624" fmla="*/ 758484 h 926154"/>
                    <a:gd name="connsiteX2625" fmla="*/ 416054 w 1197657"/>
                    <a:gd name="connsiteY2625" fmla="*/ 758885 h 926154"/>
                    <a:gd name="connsiteX2626" fmla="*/ 426921 w 1197657"/>
                    <a:gd name="connsiteY2626" fmla="*/ 763208 h 926154"/>
                    <a:gd name="connsiteX2627" fmla="*/ 429301 w 1197657"/>
                    <a:gd name="connsiteY2627" fmla="*/ 764981 h 926154"/>
                    <a:gd name="connsiteX2628" fmla="*/ 435361 w 1197657"/>
                    <a:gd name="connsiteY2628" fmla="*/ 771356 h 926154"/>
                    <a:gd name="connsiteX2629" fmla="*/ 435871 w 1197657"/>
                    <a:gd name="connsiteY2629" fmla="*/ 771902 h 926154"/>
                    <a:gd name="connsiteX2630" fmla="*/ 436490 w 1197657"/>
                    <a:gd name="connsiteY2630" fmla="*/ 772291 h 926154"/>
                    <a:gd name="connsiteX2631" fmla="*/ 438676 w 1197657"/>
                    <a:gd name="connsiteY2631" fmla="*/ 773687 h 926154"/>
                    <a:gd name="connsiteX2632" fmla="*/ 439550 w 1197657"/>
                    <a:gd name="connsiteY2632" fmla="*/ 774246 h 926154"/>
                    <a:gd name="connsiteX2633" fmla="*/ 440558 w 1197657"/>
                    <a:gd name="connsiteY2633" fmla="*/ 774489 h 926154"/>
                    <a:gd name="connsiteX2634" fmla="*/ 443484 w 1197657"/>
                    <a:gd name="connsiteY2634" fmla="*/ 775193 h 926154"/>
                    <a:gd name="connsiteX2635" fmla="*/ 453405 w 1197657"/>
                    <a:gd name="connsiteY2635" fmla="*/ 781665 h 926154"/>
                    <a:gd name="connsiteX2636" fmla="*/ 453891 w 1197657"/>
                    <a:gd name="connsiteY2636" fmla="*/ 781969 h 926154"/>
                    <a:gd name="connsiteX2637" fmla="*/ 454425 w 1197657"/>
                    <a:gd name="connsiteY2637" fmla="*/ 782200 h 926154"/>
                    <a:gd name="connsiteX2638" fmla="*/ 483155 w 1197657"/>
                    <a:gd name="connsiteY2638" fmla="*/ 793942 h 926154"/>
                    <a:gd name="connsiteX2639" fmla="*/ 488559 w 1197657"/>
                    <a:gd name="connsiteY2639" fmla="*/ 797997 h 926154"/>
                    <a:gd name="connsiteX2640" fmla="*/ 488960 w 1197657"/>
                    <a:gd name="connsiteY2640" fmla="*/ 798289 h 926154"/>
                    <a:gd name="connsiteX2641" fmla="*/ 489397 w 1197657"/>
                    <a:gd name="connsiteY2641" fmla="*/ 798532 h 926154"/>
                    <a:gd name="connsiteX2642" fmla="*/ 491170 w 1197657"/>
                    <a:gd name="connsiteY2642" fmla="*/ 799454 h 926154"/>
                    <a:gd name="connsiteX2643" fmla="*/ 492760 w 1197657"/>
                    <a:gd name="connsiteY2643" fmla="*/ 800281 h 926154"/>
                    <a:gd name="connsiteX2644" fmla="*/ 494545 w 1197657"/>
                    <a:gd name="connsiteY2644" fmla="*/ 800110 h 926154"/>
                    <a:gd name="connsiteX2645" fmla="*/ 496670 w 1197657"/>
                    <a:gd name="connsiteY2645" fmla="*/ 799904 h 926154"/>
                    <a:gd name="connsiteX2646" fmla="*/ 497654 w 1197657"/>
                    <a:gd name="connsiteY2646" fmla="*/ 799807 h 926154"/>
                    <a:gd name="connsiteX2647" fmla="*/ 498565 w 1197657"/>
                    <a:gd name="connsiteY2647" fmla="*/ 799406 h 926154"/>
                    <a:gd name="connsiteX2648" fmla="*/ 499597 w 1197657"/>
                    <a:gd name="connsiteY2648" fmla="*/ 798945 h 926154"/>
                    <a:gd name="connsiteX2649" fmla="*/ 501600 w 1197657"/>
                    <a:gd name="connsiteY2649" fmla="*/ 800596 h 926154"/>
                    <a:gd name="connsiteX2650" fmla="*/ 502438 w 1197657"/>
                    <a:gd name="connsiteY2650" fmla="*/ 801300 h 926154"/>
                    <a:gd name="connsiteX2651" fmla="*/ 503471 w 1197657"/>
                    <a:gd name="connsiteY2651" fmla="*/ 801665 h 926154"/>
                    <a:gd name="connsiteX2652" fmla="*/ 506846 w 1197657"/>
                    <a:gd name="connsiteY2652" fmla="*/ 802843 h 926154"/>
                    <a:gd name="connsiteX2653" fmla="*/ 507636 w 1197657"/>
                    <a:gd name="connsiteY2653" fmla="*/ 803110 h 926154"/>
                    <a:gd name="connsiteX2654" fmla="*/ 508461 w 1197657"/>
                    <a:gd name="connsiteY2654" fmla="*/ 803158 h 926154"/>
                    <a:gd name="connsiteX2655" fmla="*/ 512311 w 1197657"/>
                    <a:gd name="connsiteY2655" fmla="*/ 803401 h 926154"/>
                    <a:gd name="connsiteX2656" fmla="*/ 512687 w 1197657"/>
                    <a:gd name="connsiteY2656" fmla="*/ 803426 h 926154"/>
                    <a:gd name="connsiteX2657" fmla="*/ 513063 w 1197657"/>
                    <a:gd name="connsiteY2657" fmla="*/ 803401 h 926154"/>
                    <a:gd name="connsiteX2658" fmla="*/ 537981 w 1197657"/>
                    <a:gd name="connsiteY2658" fmla="*/ 801871 h 926154"/>
                    <a:gd name="connsiteX2659" fmla="*/ 545145 w 1197657"/>
                    <a:gd name="connsiteY2659" fmla="*/ 801434 h 926154"/>
                    <a:gd name="connsiteX2660" fmla="*/ 544125 w 1197657"/>
                    <a:gd name="connsiteY2660" fmla="*/ 797014 h 926154"/>
                    <a:gd name="connsiteX2661" fmla="*/ 547926 w 1197657"/>
                    <a:gd name="connsiteY2661" fmla="*/ 798252 h 926154"/>
                    <a:gd name="connsiteX2662" fmla="*/ 548715 w 1197657"/>
                    <a:gd name="connsiteY2662" fmla="*/ 795496 h 926154"/>
                    <a:gd name="connsiteX2663" fmla="*/ 549759 w 1197657"/>
                    <a:gd name="connsiteY2663" fmla="*/ 795715 h 926154"/>
                    <a:gd name="connsiteX2664" fmla="*/ 550099 w 1197657"/>
                    <a:gd name="connsiteY2664" fmla="*/ 795787 h 926154"/>
                    <a:gd name="connsiteX2665" fmla="*/ 550439 w 1197657"/>
                    <a:gd name="connsiteY2665" fmla="*/ 795824 h 926154"/>
                    <a:gd name="connsiteX2666" fmla="*/ 553827 w 1197657"/>
                    <a:gd name="connsiteY2666" fmla="*/ 796127 h 926154"/>
                    <a:gd name="connsiteX2667" fmla="*/ 556037 w 1197657"/>
                    <a:gd name="connsiteY2667" fmla="*/ 796334 h 926154"/>
                    <a:gd name="connsiteX2668" fmla="*/ 557847 w 1197657"/>
                    <a:gd name="connsiteY2668" fmla="*/ 795071 h 926154"/>
                    <a:gd name="connsiteX2669" fmla="*/ 559741 w 1197657"/>
                    <a:gd name="connsiteY2669" fmla="*/ 793760 h 926154"/>
                    <a:gd name="connsiteX2670" fmla="*/ 560251 w 1197657"/>
                    <a:gd name="connsiteY2670" fmla="*/ 793407 h 926154"/>
                    <a:gd name="connsiteX2671" fmla="*/ 560688 w 1197657"/>
                    <a:gd name="connsiteY2671" fmla="*/ 792946 h 926154"/>
                    <a:gd name="connsiteX2672" fmla="*/ 561660 w 1197657"/>
                    <a:gd name="connsiteY2672" fmla="*/ 791914 h 926154"/>
                    <a:gd name="connsiteX2673" fmla="*/ 565351 w 1197657"/>
                    <a:gd name="connsiteY2673" fmla="*/ 793031 h 926154"/>
                    <a:gd name="connsiteX2674" fmla="*/ 567233 w 1197657"/>
                    <a:gd name="connsiteY2674" fmla="*/ 790858 h 926154"/>
                    <a:gd name="connsiteX2675" fmla="*/ 568727 w 1197657"/>
                    <a:gd name="connsiteY2675" fmla="*/ 790942 h 926154"/>
                    <a:gd name="connsiteX2676" fmla="*/ 570317 w 1197657"/>
                    <a:gd name="connsiteY2676" fmla="*/ 791040 h 926154"/>
                    <a:gd name="connsiteX2677" fmla="*/ 571750 w 1197657"/>
                    <a:gd name="connsiteY2677" fmla="*/ 790335 h 926154"/>
                    <a:gd name="connsiteX2678" fmla="*/ 604354 w 1197657"/>
                    <a:gd name="connsiteY2678" fmla="*/ 774343 h 926154"/>
                    <a:gd name="connsiteX2679" fmla="*/ 614651 w 1197657"/>
                    <a:gd name="connsiteY2679" fmla="*/ 772485 h 926154"/>
                    <a:gd name="connsiteX2680" fmla="*/ 615040 w 1197657"/>
                    <a:gd name="connsiteY2680" fmla="*/ 772412 h 926154"/>
                    <a:gd name="connsiteX2681" fmla="*/ 615416 w 1197657"/>
                    <a:gd name="connsiteY2681" fmla="*/ 772291 h 926154"/>
                    <a:gd name="connsiteX2682" fmla="*/ 631214 w 1197657"/>
                    <a:gd name="connsiteY2682" fmla="*/ 767239 h 926154"/>
                    <a:gd name="connsiteX2683" fmla="*/ 632380 w 1197657"/>
                    <a:gd name="connsiteY2683" fmla="*/ 766863 h 926154"/>
                    <a:gd name="connsiteX2684" fmla="*/ 633303 w 1197657"/>
                    <a:gd name="connsiteY2684" fmla="*/ 766086 h 926154"/>
                    <a:gd name="connsiteX2685" fmla="*/ 636751 w 1197657"/>
                    <a:gd name="connsiteY2685" fmla="*/ 763147 h 926154"/>
                    <a:gd name="connsiteX2686" fmla="*/ 638330 w 1197657"/>
                    <a:gd name="connsiteY2686" fmla="*/ 761799 h 926154"/>
                    <a:gd name="connsiteX2687" fmla="*/ 638755 w 1197657"/>
                    <a:gd name="connsiteY2687" fmla="*/ 759772 h 926154"/>
                    <a:gd name="connsiteX2688" fmla="*/ 639180 w 1197657"/>
                    <a:gd name="connsiteY2688" fmla="*/ 757756 h 926154"/>
                    <a:gd name="connsiteX2689" fmla="*/ 639702 w 1197657"/>
                    <a:gd name="connsiteY2689" fmla="*/ 757039 h 926154"/>
                    <a:gd name="connsiteX2690" fmla="*/ 641220 w 1197657"/>
                    <a:gd name="connsiteY2690" fmla="*/ 755740 h 926154"/>
                    <a:gd name="connsiteX2691" fmla="*/ 647012 w 1197657"/>
                    <a:gd name="connsiteY2691" fmla="*/ 754477 h 926154"/>
                    <a:gd name="connsiteX2692" fmla="*/ 653399 w 1197657"/>
                    <a:gd name="connsiteY2692" fmla="*/ 753093 h 926154"/>
                    <a:gd name="connsiteX2693" fmla="*/ 654614 w 1197657"/>
                    <a:gd name="connsiteY2693" fmla="*/ 752838 h 926154"/>
                    <a:gd name="connsiteX2694" fmla="*/ 655622 w 1197657"/>
                    <a:gd name="connsiteY2694" fmla="*/ 752109 h 926154"/>
                    <a:gd name="connsiteX2695" fmla="*/ 665554 w 1197657"/>
                    <a:gd name="connsiteY2695" fmla="*/ 745054 h 926154"/>
                    <a:gd name="connsiteX2696" fmla="*/ 672840 w 1197657"/>
                    <a:gd name="connsiteY2696" fmla="*/ 742480 h 926154"/>
                    <a:gd name="connsiteX2697" fmla="*/ 673472 w 1197657"/>
                    <a:gd name="connsiteY2697" fmla="*/ 742249 h 926154"/>
                    <a:gd name="connsiteX2698" fmla="*/ 674042 w 1197657"/>
                    <a:gd name="connsiteY2698" fmla="*/ 741897 h 926154"/>
                    <a:gd name="connsiteX2699" fmla="*/ 678657 w 1197657"/>
                    <a:gd name="connsiteY2699" fmla="*/ 739007 h 926154"/>
                    <a:gd name="connsiteX2700" fmla="*/ 680709 w 1197657"/>
                    <a:gd name="connsiteY2700" fmla="*/ 739493 h 926154"/>
                    <a:gd name="connsiteX2701" fmla="*/ 682166 w 1197657"/>
                    <a:gd name="connsiteY2701" fmla="*/ 739833 h 926154"/>
                    <a:gd name="connsiteX2702" fmla="*/ 683623 w 1197657"/>
                    <a:gd name="connsiteY2702" fmla="*/ 739469 h 926154"/>
                    <a:gd name="connsiteX2703" fmla="*/ 687242 w 1197657"/>
                    <a:gd name="connsiteY2703" fmla="*/ 738546 h 926154"/>
                    <a:gd name="connsiteX2704" fmla="*/ 688140 w 1197657"/>
                    <a:gd name="connsiteY2704" fmla="*/ 738315 h 926154"/>
                    <a:gd name="connsiteX2705" fmla="*/ 688917 w 1197657"/>
                    <a:gd name="connsiteY2705" fmla="*/ 737829 h 926154"/>
                    <a:gd name="connsiteX2706" fmla="*/ 693750 w 1197657"/>
                    <a:gd name="connsiteY2706" fmla="*/ 734854 h 926154"/>
                    <a:gd name="connsiteX2707" fmla="*/ 694175 w 1197657"/>
                    <a:gd name="connsiteY2707" fmla="*/ 734599 h 926154"/>
                    <a:gd name="connsiteX2708" fmla="*/ 694552 w 1197657"/>
                    <a:gd name="connsiteY2708" fmla="*/ 734271 h 926154"/>
                    <a:gd name="connsiteX2709" fmla="*/ 697393 w 1197657"/>
                    <a:gd name="connsiteY2709" fmla="*/ 731794 h 926154"/>
                    <a:gd name="connsiteX2710" fmla="*/ 718194 w 1197657"/>
                    <a:gd name="connsiteY2710" fmla="*/ 719518 h 926154"/>
                    <a:gd name="connsiteX2711" fmla="*/ 725322 w 1197657"/>
                    <a:gd name="connsiteY2711" fmla="*/ 719154 h 926154"/>
                    <a:gd name="connsiteX2712" fmla="*/ 725856 w 1197657"/>
                    <a:gd name="connsiteY2712" fmla="*/ 719129 h 926154"/>
                    <a:gd name="connsiteX2713" fmla="*/ 726378 w 1197657"/>
                    <a:gd name="connsiteY2713" fmla="*/ 719008 h 926154"/>
                    <a:gd name="connsiteX2714" fmla="*/ 729815 w 1197657"/>
                    <a:gd name="connsiteY2714" fmla="*/ 718219 h 926154"/>
                    <a:gd name="connsiteX2715" fmla="*/ 730568 w 1197657"/>
                    <a:gd name="connsiteY2715" fmla="*/ 718036 h 926154"/>
                    <a:gd name="connsiteX2716" fmla="*/ 731260 w 1197657"/>
                    <a:gd name="connsiteY2716" fmla="*/ 717684 h 926154"/>
                    <a:gd name="connsiteX2717" fmla="*/ 743318 w 1197657"/>
                    <a:gd name="connsiteY2717" fmla="*/ 711382 h 926154"/>
                    <a:gd name="connsiteX2718" fmla="*/ 743889 w 1197657"/>
                    <a:gd name="connsiteY2718" fmla="*/ 711091 h 926154"/>
                    <a:gd name="connsiteX2719" fmla="*/ 744386 w 1197657"/>
                    <a:gd name="connsiteY2719" fmla="*/ 710678 h 926154"/>
                    <a:gd name="connsiteX2720" fmla="*/ 745880 w 1197657"/>
                    <a:gd name="connsiteY2720" fmla="*/ 709439 h 926154"/>
                    <a:gd name="connsiteX2721" fmla="*/ 746791 w 1197657"/>
                    <a:gd name="connsiteY2721" fmla="*/ 708686 h 926154"/>
                    <a:gd name="connsiteX2722" fmla="*/ 747119 w 1197657"/>
                    <a:gd name="connsiteY2722" fmla="*/ 708079 h 926154"/>
                    <a:gd name="connsiteX2723" fmla="*/ 748114 w 1197657"/>
                    <a:gd name="connsiteY2723" fmla="*/ 707739 h 926154"/>
                    <a:gd name="connsiteX2724" fmla="*/ 748430 w 1197657"/>
                    <a:gd name="connsiteY2724" fmla="*/ 707630 h 926154"/>
                    <a:gd name="connsiteX2725" fmla="*/ 748721 w 1197657"/>
                    <a:gd name="connsiteY2725" fmla="*/ 707484 h 926154"/>
                    <a:gd name="connsiteX2726" fmla="*/ 749863 w 1197657"/>
                    <a:gd name="connsiteY2726" fmla="*/ 706938 h 926154"/>
                    <a:gd name="connsiteX2727" fmla="*/ 750810 w 1197657"/>
                    <a:gd name="connsiteY2727" fmla="*/ 706488 h 926154"/>
                    <a:gd name="connsiteX2728" fmla="*/ 751551 w 1197657"/>
                    <a:gd name="connsiteY2728" fmla="*/ 705735 h 926154"/>
                    <a:gd name="connsiteX2729" fmla="*/ 754186 w 1197657"/>
                    <a:gd name="connsiteY2729" fmla="*/ 703088 h 926154"/>
                    <a:gd name="connsiteX2730" fmla="*/ 755983 w 1197657"/>
                    <a:gd name="connsiteY2730" fmla="*/ 701279 h 926154"/>
                    <a:gd name="connsiteX2731" fmla="*/ 755947 w 1197657"/>
                    <a:gd name="connsiteY2731" fmla="*/ 698729 h 926154"/>
                    <a:gd name="connsiteX2732" fmla="*/ 755898 w 1197657"/>
                    <a:gd name="connsiteY2732" fmla="*/ 695378 h 926154"/>
                    <a:gd name="connsiteX2733" fmla="*/ 755886 w 1197657"/>
                    <a:gd name="connsiteY2733" fmla="*/ 694018 h 926154"/>
                    <a:gd name="connsiteX2734" fmla="*/ 755279 w 1197657"/>
                    <a:gd name="connsiteY2734" fmla="*/ 692779 h 926154"/>
                    <a:gd name="connsiteX2735" fmla="*/ 754052 w 1197657"/>
                    <a:gd name="connsiteY2735" fmla="*/ 690290 h 926154"/>
                    <a:gd name="connsiteX2736" fmla="*/ 754319 w 1197657"/>
                    <a:gd name="connsiteY2736" fmla="*/ 689962 h 926154"/>
                    <a:gd name="connsiteX2737" fmla="*/ 754671 w 1197657"/>
                    <a:gd name="connsiteY2737" fmla="*/ 688820 h 926154"/>
                    <a:gd name="connsiteX2738" fmla="*/ 755230 w 1197657"/>
                    <a:gd name="connsiteY2738" fmla="*/ 686974 h 926154"/>
                    <a:gd name="connsiteX2739" fmla="*/ 755813 w 1197657"/>
                    <a:gd name="connsiteY2739" fmla="*/ 685044 h 926154"/>
                    <a:gd name="connsiteX2740" fmla="*/ 756420 w 1197657"/>
                    <a:gd name="connsiteY2740" fmla="*/ 683988 h 926154"/>
                    <a:gd name="connsiteX2741" fmla="*/ 757513 w 1197657"/>
                    <a:gd name="connsiteY2741" fmla="*/ 682093 h 926154"/>
                    <a:gd name="connsiteX2742" fmla="*/ 757137 w 1197657"/>
                    <a:gd name="connsiteY2742" fmla="*/ 679932 h 926154"/>
                    <a:gd name="connsiteX2743" fmla="*/ 757015 w 1197657"/>
                    <a:gd name="connsiteY2743" fmla="*/ 679252 h 926154"/>
                    <a:gd name="connsiteX2744" fmla="*/ 763159 w 1197657"/>
                    <a:gd name="connsiteY2744" fmla="*/ 672464 h 926154"/>
                    <a:gd name="connsiteX2745" fmla="*/ 763633 w 1197657"/>
                    <a:gd name="connsiteY2745" fmla="*/ 671942 h 926154"/>
                    <a:gd name="connsiteX2746" fmla="*/ 763973 w 1197657"/>
                    <a:gd name="connsiteY2746" fmla="*/ 671322 h 926154"/>
                    <a:gd name="connsiteX2747" fmla="*/ 765406 w 1197657"/>
                    <a:gd name="connsiteY2747" fmla="*/ 668736 h 926154"/>
                    <a:gd name="connsiteX2748" fmla="*/ 765624 w 1197657"/>
                    <a:gd name="connsiteY2748" fmla="*/ 668347 h 926154"/>
                    <a:gd name="connsiteX2749" fmla="*/ 765782 w 1197657"/>
                    <a:gd name="connsiteY2749" fmla="*/ 667934 h 926154"/>
                    <a:gd name="connsiteX2750" fmla="*/ 766717 w 1197657"/>
                    <a:gd name="connsiteY2750" fmla="*/ 665445 h 926154"/>
                    <a:gd name="connsiteX2751" fmla="*/ 775837 w 1197657"/>
                    <a:gd name="connsiteY2751" fmla="*/ 656010 h 926154"/>
                    <a:gd name="connsiteX2752" fmla="*/ 776334 w 1197657"/>
                    <a:gd name="connsiteY2752" fmla="*/ 655488 h 926154"/>
                    <a:gd name="connsiteX2753" fmla="*/ 776699 w 1197657"/>
                    <a:gd name="connsiteY2753" fmla="*/ 654869 h 926154"/>
                    <a:gd name="connsiteX2754" fmla="*/ 780888 w 1197657"/>
                    <a:gd name="connsiteY2754" fmla="*/ 647777 h 926154"/>
                    <a:gd name="connsiteX2755" fmla="*/ 781301 w 1197657"/>
                    <a:gd name="connsiteY2755" fmla="*/ 647073 h 926154"/>
                    <a:gd name="connsiteX2756" fmla="*/ 781520 w 1197657"/>
                    <a:gd name="connsiteY2756" fmla="*/ 646296 h 926154"/>
                    <a:gd name="connsiteX2757" fmla="*/ 787324 w 1197657"/>
                    <a:gd name="connsiteY2757" fmla="*/ 625058 h 926154"/>
                    <a:gd name="connsiteX2758" fmla="*/ 789060 w 1197657"/>
                    <a:gd name="connsiteY2758" fmla="*/ 623491 h 926154"/>
                    <a:gd name="connsiteX2759" fmla="*/ 789400 w 1197657"/>
                    <a:gd name="connsiteY2759" fmla="*/ 623188 h 926154"/>
                    <a:gd name="connsiteX2760" fmla="*/ 789692 w 1197657"/>
                    <a:gd name="connsiteY2760" fmla="*/ 622836 h 926154"/>
                    <a:gd name="connsiteX2761" fmla="*/ 790384 w 1197657"/>
                    <a:gd name="connsiteY2761" fmla="*/ 621986 h 926154"/>
                    <a:gd name="connsiteX2762" fmla="*/ 791125 w 1197657"/>
                    <a:gd name="connsiteY2762" fmla="*/ 621075 h 926154"/>
                    <a:gd name="connsiteX2763" fmla="*/ 791477 w 1197657"/>
                    <a:gd name="connsiteY2763" fmla="*/ 619958 h 926154"/>
                    <a:gd name="connsiteX2764" fmla="*/ 792108 w 1197657"/>
                    <a:gd name="connsiteY2764" fmla="*/ 617942 h 926154"/>
                    <a:gd name="connsiteX2765" fmla="*/ 792412 w 1197657"/>
                    <a:gd name="connsiteY2765" fmla="*/ 616971 h 926154"/>
                    <a:gd name="connsiteX2766" fmla="*/ 792387 w 1197657"/>
                    <a:gd name="connsiteY2766" fmla="*/ 615950 h 926154"/>
                    <a:gd name="connsiteX2767" fmla="*/ 792339 w 1197657"/>
                    <a:gd name="connsiteY2767" fmla="*/ 614457 h 926154"/>
                    <a:gd name="connsiteX2768" fmla="*/ 792315 w 1197657"/>
                    <a:gd name="connsiteY2768" fmla="*/ 613753 h 926154"/>
                    <a:gd name="connsiteX2769" fmla="*/ 792132 w 1197657"/>
                    <a:gd name="connsiteY2769" fmla="*/ 613073 h 926154"/>
                    <a:gd name="connsiteX2770" fmla="*/ 791865 w 1197657"/>
                    <a:gd name="connsiteY2770" fmla="*/ 612041 h 926154"/>
                    <a:gd name="connsiteX2771" fmla="*/ 791756 w 1197657"/>
                    <a:gd name="connsiteY2771" fmla="*/ 610292 h 926154"/>
                    <a:gd name="connsiteX2772" fmla="*/ 791671 w 1197657"/>
                    <a:gd name="connsiteY2772" fmla="*/ 608981 h 926154"/>
                    <a:gd name="connsiteX2773" fmla="*/ 791052 w 1197657"/>
                    <a:gd name="connsiteY2773" fmla="*/ 607815 h 926154"/>
                    <a:gd name="connsiteX2774" fmla="*/ 790505 w 1197657"/>
                    <a:gd name="connsiteY2774" fmla="*/ 606637 h 926154"/>
                    <a:gd name="connsiteX2775" fmla="*/ 789947 w 1197657"/>
                    <a:gd name="connsiteY2775" fmla="*/ 605617 h 926154"/>
                    <a:gd name="connsiteX2776" fmla="*/ 789060 w 1197657"/>
                    <a:gd name="connsiteY2776" fmla="*/ 604864 h 926154"/>
                    <a:gd name="connsiteX2777" fmla="*/ 787834 w 1197657"/>
                    <a:gd name="connsiteY2777" fmla="*/ 603832 h 926154"/>
                    <a:gd name="connsiteX2778" fmla="*/ 787008 w 1197657"/>
                    <a:gd name="connsiteY2778" fmla="*/ 601391 h 926154"/>
                    <a:gd name="connsiteX2779" fmla="*/ 785855 w 1197657"/>
                    <a:gd name="connsiteY2779" fmla="*/ 597991 h 926154"/>
                    <a:gd name="connsiteX2780" fmla="*/ 782309 w 1197657"/>
                    <a:gd name="connsiteY2780" fmla="*/ 597360 h 926154"/>
                    <a:gd name="connsiteX2781" fmla="*/ 780706 w 1197657"/>
                    <a:gd name="connsiteY2781" fmla="*/ 597080 h 926154"/>
                    <a:gd name="connsiteX2782" fmla="*/ 779771 w 1197657"/>
                    <a:gd name="connsiteY2782" fmla="*/ 596910 h 926154"/>
                    <a:gd name="connsiteX2783" fmla="*/ 778836 w 1197657"/>
                    <a:gd name="connsiteY2783" fmla="*/ 597032 h 926154"/>
                    <a:gd name="connsiteX2784" fmla="*/ 777342 w 1197657"/>
                    <a:gd name="connsiteY2784" fmla="*/ 597238 h 926154"/>
                    <a:gd name="connsiteX2785" fmla="*/ 776905 w 1197657"/>
                    <a:gd name="connsiteY2785" fmla="*/ 597202 h 926154"/>
                    <a:gd name="connsiteX2786" fmla="*/ 776565 w 1197657"/>
                    <a:gd name="connsiteY2786" fmla="*/ 597056 h 926154"/>
                    <a:gd name="connsiteX2787" fmla="*/ 776419 w 1197657"/>
                    <a:gd name="connsiteY2787" fmla="*/ 596947 h 926154"/>
                    <a:gd name="connsiteX2788" fmla="*/ 776237 w 1197657"/>
                    <a:gd name="connsiteY2788" fmla="*/ 596740 h 926154"/>
                    <a:gd name="connsiteX2789" fmla="*/ 776043 w 1197657"/>
                    <a:gd name="connsiteY2789" fmla="*/ 596425 h 926154"/>
                    <a:gd name="connsiteX2790" fmla="*/ 774027 w 1197657"/>
                    <a:gd name="connsiteY2790" fmla="*/ 590220 h 926154"/>
                    <a:gd name="connsiteX2791" fmla="*/ 773481 w 1197657"/>
                    <a:gd name="connsiteY2791" fmla="*/ 588520 h 926154"/>
                    <a:gd name="connsiteX2792" fmla="*/ 772582 w 1197657"/>
                    <a:gd name="connsiteY2792" fmla="*/ 587779 h 926154"/>
                    <a:gd name="connsiteX2793" fmla="*/ 772352 w 1197657"/>
                    <a:gd name="connsiteY2793" fmla="*/ 587342 h 926154"/>
                    <a:gd name="connsiteX2794" fmla="*/ 771441 w 1197657"/>
                    <a:gd name="connsiteY2794" fmla="*/ 585605 h 926154"/>
                    <a:gd name="connsiteX2795" fmla="*/ 769692 w 1197657"/>
                    <a:gd name="connsiteY2795" fmla="*/ 584743 h 926154"/>
                    <a:gd name="connsiteX2796" fmla="*/ 768514 w 1197657"/>
                    <a:gd name="connsiteY2796" fmla="*/ 584160 h 926154"/>
                    <a:gd name="connsiteX2797" fmla="*/ 768357 w 1197657"/>
                    <a:gd name="connsiteY2797" fmla="*/ 582885 h 926154"/>
                    <a:gd name="connsiteX2798" fmla="*/ 767992 w 1197657"/>
                    <a:gd name="connsiteY2798" fmla="*/ 580032 h 926154"/>
                    <a:gd name="connsiteX2799" fmla="*/ 766122 w 1197657"/>
                    <a:gd name="connsiteY2799" fmla="*/ 578866 h 926154"/>
                    <a:gd name="connsiteX2800" fmla="*/ 771052 w 1197657"/>
                    <a:gd name="connsiteY2800" fmla="*/ 577360 h 926154"/>
                    <a:gd name="connsiteX2801" fmla="*/ 767349 w 1197657"/>
                    <a:gd name="connsiteY2801" fmla="*/ 570779 h 926154"/>
                    <a:gd name="connsiteX2802" fmla="*/ 766742 w 1197657"/>
                    <a:gd name="connsiteY2802" fmla="*/ 569686 h 926154"/>
                    <a:gd name="connsiteX2803" fmla="*/ 767021 w 1197657"/>
                    <a:gd name="connsiteY2803" fmla="*/ 569152 h 926154"/>
                    <a:gd name="connsiteX2804" fmla="*/ 767409 w 1197657"/>
                    <a:gd name="connsiteY2804" fmla="*/ 568399 h 926154"/>
                    <a:gd name="connsiteX2805" fmla="*/ 767592 w 1197657"/>
                    <a:gd name="connsiteY2805" fmla="*/ 567573 h 926154"/>
                    <a:gd name="connsiteX2806" fmla="*/ 768053 w 1197657"/>
                    <a:gd name="connsiteY2806" fmla="*/ 565375 h 926154"/>
                    <a:gd name="connsiteX2807" fmla="*/ 768952 w 1197657"/>
                    <a:gd name="connsiteY2807" fmla="*/ 561077 h 926154"/>
                    <a:gd name="connsiteX2808" fmla="*/ 770567 w 1197657"/>
                    <a:gd name="connsiteY2808" fmla="*/ 559462 h 926154"/>
                    <a:gd name="connsiteX2809" fmla="*/ 768102 w 1197657"/>
                    <a:gd name="connsiteY2809" fmla="*/ 558308 h 926154"/>
                    <a:gd name="connsiteX2810" fmla="*/ 779443 w 1197657"/>
                    <a:gd name="connsiteY2810" fmla="*/ 549711 h 926154"/>
                    <a:gd name="connsiteX2811" fmla="*/ 768599 w 1197657"/>
                    <a:gd name="connsiteY2811" fmla="*/ 550439 h 926154"/>
                    <a:gd name="connsiteX2812" fmla="*/ 768672 w 1197657"/>
                    <a:gd name="connsiteY2812" fmla="*/ 550379 h 926154"/>
                    <a:gd name="connsiteX2813" fmla="*/ 769000 w 1197657"/>
                    <a:gd name="connsiteY2813" fmla="*/ 550014 h 926154"/>
                    <a:gd name="connsiteX2814" fmla="*/ 769207 w 1197657"/>
                    <a:gd name="connsiteY2814" fmla="*/ 549784 h 926154"/>
                    <a:gd name="connsiteX2815" fmla="*/ 770494 w 1197657"/>
                    <a:gd name="connsiteY2815" fmla="*/ 549784 h 926154"/>
                    <a:gd name="connsiteX2816" fmla="*/ 775764 w 1197657"/>
                    <a:gd name="connsiteY2816" fmla="*/ 549784 h 926154"/>
                    <a:gd name="connsiteX2817" fmla="*/ 776152 w 1197657"/>
                    <a:gd name="connsiteY2817" fmla="*/ 547112 h 926154"/>
                    <a:gd name="connsiteX2818" fmla="*/ 777719 w 1197657"/>
                    <a:gd name="connsiteY2818" fmla="*/ 546930 h 926154"/>
                    <a:gd name="connsiteX2819" fmla="*/ 778751 w 1197657"/>
                    <a:gd name="connsiteY2819" fmla="*/ 546809 h 926154"/>
                    <a:gd name="connsiteX2820" fmla="*/ 779686 w 1197657"/>
                    <a:gd name="connsiteY2820" fmla="*/ 546359 h 926154"/>
                    <a:gd name="connsiteX2821" fmla="*/ 781228 w 1197657"/>
                    <a:gd name="connsiteY2821" fmla="*/ 545607 h 926154"/>
                    <a:gd name="connsiteX2822" fmla="*/ 782054 w 1197657"/>
                    <a:gd name="connsiteY2822" fmla="*/ 545206 h 926154"/>
                    <a:gd name="connsiteX2823" fmla="*/ 782722 w 1197657"/>
                    <a:gd name="connsiteY2823" fmla="*/ 544587 h 926154"/>
                    <a:gd name="connsiteX2824" fmla="*/ 786000 w 1197657"/>
                    <a:gd name="connsiteY2824" fmla="*/ 541539 h 926154"/>
                    <a:gd name="connsiteX2825" fmla="*/ 787263 w 1197657"/>
                    <a:gd name="connsiteY2825" fmla="*/ 540361 h 926154"/>
                    <a:gd name="connsiteX2826" fmla="*/ 789837 w 1197657"/>
                    <a:gd name="connsiteY2826" fmla="*/ 541867 h 926154"/>
                    <a:gd name="connsiteX2827" fmla="*/ 791635 w 1197657"/>
                    <a:gd name="connsiteY2827" fmla="*/ 533755 h 926154"/>
                    <a:gd name="connsiteX2828" fmla="*/ 791926 w 1197657"/>
                    <a:gd name="connsiteY2828" fmla="*/ 532468 h 926154"/>
                    <a:gd name="connsiteX2829" fmla="*/ 793335 w 1197657"/>
                    <a:gd name="connsiteY2829" fmla="*/ 529748 h 926154"/>
                    <a:gd name="connsiteX2830" fmla="*/ 793881 w 1197657"/>
                    <a:gd name="connsiteY2830" fmla="*/ 528679 h 926154"/>
                    <a:gd name="connsiteX2831" fmla="*/ 793990 w 1197657"/>
                    <a:gd name="connsiteY2831" fmla="*/ 527477 h 926154"/>
                    <a:gd name="connsiteX2832" fmla="*/ 795836 w 1197657"/>
                    <a:gd name="connsiteY2832" fmla="*/ 506640 h 926154"/>
                    <a:gd name="connsiteX2833" fmla="*/ 795921 w 1197657"/>
                    <a:gd name="connsiteY2833" fmla="*/ 505680 h 926154"/>
                    <a:gd name="connsiteX2834" fmla="*/ 795702 w 1197657"/>
                    <a:gd name="connsiteY2834" fmla="*/ 504746 h 926154"/>
                    <a:gd name="connsiteX2835" fmla="*/ 793917 w 1197657"/>
                    <a:gd name="connsiteY2835" fmla="*/ 496950 h 926154"/>
                    <a:gd name="connsiteX2836" fmla="*/ 796504 w 1197657"/>
                    <a:gd name="connsiteY2836" fmla="*/ 496452 h 926154"/>
                    <a:gd name="connsiteX2837" fmla="*/ 797512 w 1197657"/>
                    <a:gd name="connsiteY2837" fmla="*/ 493392 h 926154"/>
                    <a:gd name="connsiteX2838" fmla="*/ 798095 w 1197657"/>
                    <a:gd name="connsiteY2838" fmla="*/ 494849 h 926154"/>
                    <a:gd name="connsiteX2839" fmla="*/ 799127 w 1197657"/>
                    <a:gd name="connsiteY2839" fmla="*/ 497448 h 926154"/>
                    <a:gd name="connsiteX2840" fmla="*/ 801774 w 1197657"/>
                    <a:gd name="connsiteY2840" fmla="*/ 498346 h 926154"/>
                    <a:gd name="connsiteX2841" fmla="*/ 805915 w 1197657"/>
                    <a:gd name="connsiteY2841" fmla="*/ 499755 h 926154"/>
                    <a:gd name="connsiteX2842" fmla="*/ 808416 w 1197657"/>
                    <a:gd name="connsiteY2842" fmla="*/ 500593 h 926154"/>
                    <a:gd name="connsiteX2843" fmla="*/ 810578 w 1197657"/>
                    <a:gd name="connsiteY2843" fmla="*/ 499439 h 926154"/>
                    <a:gd name="connsiteX2844" fmla="*/ 810748 w 1197657"/>
                    <a:gd name="connsiteY2844" fmla="*/ 500156 h 926154"/>
                    <a:gd name="connsiteX2845" fmla="*/ 813395 w 1197657"/>
                    <a:gd name="connsiteY2845" fmla="*/ 501406 h 926154"/>
                    <a:gd name="connsiteX2846" fmla="*/ 815119 w 1197657"/>
                    <a:gd name="connsiteY2846" fmla="*/ 502208 h 926154"/>
                    <a:gd name="connsiteX2847" fmla="*/ 816528 w 1197657"/>
                    <a:gd name="connsiteY2847" fmla="*/ 502863 h 926154"/>
                    <a:gd name="connsiteX2848" fmla="*/ 818082 w 1197657"/>
                    <a:gd name="connsiteY2848" fmla="*/ 502766 h 926154"/>
                    <a:gd name="connsiteX2849" fmla="*/ 820498 w 1197657"/>
                    <a:gd name="connsiteY2849" fmla="*/ 502608 h 926154"/>
                    <a:gd name="connsiteX2850" fmla="*/ 821276 w 1197657"/>
                    <a:gd name="connsiteY2850" fmla="*/ 502560 h 926154"/>
                    <a:gd name="connsiteX2851" fmla="*/ 822016 w 1197657"/>
                    <a:gd name="connsiteY2851" fmla="*/ 502305 h 926154"/>
                    <a:gd name="connsiteX2852" fmla="*/ 826254 w 1197657"/>
                    <a:gd name="connsiteY2852" fmla="*/ 500908 h 926154"/>
                    <a:gd name="connsiteX2853" fmla="*/ 827056 w 1197657"/>
                    <a:gd name="connsiteY2853" fmla="*/ 500653 h 926154"/>
                    <a:gd name="connsiteX2854" fmla="*/ 827760 w 1197657"/>
                    <a:gd name="connsiteY2854" fmla="*/ 500168 h 926154"/>
                    <a:gd name="connsiteX2855" fmla="*/ 831439 w 1197657"/>
                    <a:gd name="connsiteY2855" fmla="*/ 497666 h 926154"/>
                    <a:gd name="connsiteX2856" fmla="*/ 831876 w 1197657"/>
                    <a:gd name="connsiteY2856" fmla="*/ 497387 h 926154"/>
                    <a:gd name="connsiteX2857" fmla="*/ 832241 w 1197657"/>
                    <a:gd name="connsiteY2857" fmla="*/ 497023 h 926154"/>
                    <a:gd name="connsiteX2858" fmla="*/ 837134 w 1197657"/>
                    <a:gd name="connsiteY2858" fmla="*/ 492299 h 926154"/>
                    <a:gd name="connsiteX2859" fmla="*/ 838591 w 1197657"/>
                    <a:gd name="connsiteY2859" fmla="*/ 491862 h 926154"/>
                    <a:gd name="connsiteX2860" fmla="*/ 840984 w 1197657"/>
                    <a:gd name="connsiteY2860" fmla="*/ 492020 h 926154"/>
                    <a:gd name="connsiteX2861" fmla="*/ 841311 w 1197657"/>
                    <a:gd name="connsiteY2861" fmla="*/ 492129 h 926154"/>
                    <a:gd name="connsiteX2862" fmla="*/ 843958 w 1197657"/>
                    <a:gd name="connsiteY2862" fmla="*/ 494011 h 926154"/>
                    <a:gd name="connsiteX2863" fmla="*/ 844942 w 1197657"/>
                    <a:gd name="connsiteY2863" fmla="*/ 494715 h 926154"/>
                    <a:gd name="connsiteX2864" fmla="*/ 844736 w 1197657"/>
                    <a:gd name="connsiteY2864" fmla="*/ 494703 h 926154"/>
                    <a:gd name="connsiteX2865" fmla="*/ 843704 w 1197657"/>
                    <a:gd name="connsiteY2865" fmla="*/ 495007 h 926154"/>
                    <a:gd name="connsiteX2866" fmla="*/ 839271 w 1197657"/>
                    <a:gd name="connsiteY2866" fmla="*/ 496306 h 926154"/>
                    <a:gd name="connsiteX2867" fmla="*/ 838251 w 1197657"/>
                    <a:gd name="connsiteY2867" fmla="*/ 496598 h 926154"/>
                    <a:gd name="connsiteX2868" fmla="*/ 837389 w 1197657"/>
                    <a:gd name="connsiteY2868" fmla="*/ 497241 h 926154"/>
                    <a:gd name="connsiteX2869" fmla="*/ 834584 w 1197657"/>
                    <a:gd name="connsiteY2869" fmla="*/ 499306 h 926154"/>
                    <a:gd name="connsiteX2870" fmla="*/ 834159 w 1197657"/>
                    <a:gd name="connsiteY2870" fmla="*/ 499609 h 926154"/>
                    <a:gd name="connsiteX2871" fmla="*/ 833795 w 1197657"/>
                    <a:gd name="connsiteY2871" fmla="*/ 499986 h 926154"/>
                    <a:gd name="connsiteX2872" fmla="*/ 830407 w 1197657"/>
                    <a:gd name="connsiteY2872" fmla="*/ 503519 h 926154"/>
                    <a:gd name="connsiteX2873" fmla="*/ 830128 w 1197657"/>
                    <a:gd name="connsiteY2873" fmla="*/ 503798 h 926154"/>
                    <a:gd name="connsiteX2874" fmla="*/ 829897 w 1197657"/>
                    <a:gd name="connsiteY2874" fmla="*/ 504114 h 926154"/>
                    <a:gd name="connsiteX2875" fmla="*/ 827019 w 1197657"/>
                    <a:gd name="connsiteY2875" fmla="*/ 508024 h 926154"/>
                    <a:gd name="connsiteX2876" fmla="*/ 826497 w 1197657"/>
                    <a:gd name="connsiteY2876" fmla="*/ 508740 h 926154"/>
                    <a:gd name="connsiteX2877" fmla="*/ 826193 w 1197657"/>
                    <a:gd name="connsiteY2877" fmla="*/ 509578 h 926154"/>
                    <a:gd name="connsiteX2878" fmla="*/ 825052 w 1197657"/>
                    <a:gd name="connsiteY2878" fmla="*/ 512796 h 926154"/>
                    <a:gd name="connsiteX2879" fmla="*/ 824809 w 1197657"/>
                    <a:gd name="connsiteY2879" fmla="*/ 513476 h 926154"/>
                    <a:gd name="connsiteX2880" fmla="*/ 824736 w 1197657"/>
                    <a:gd name="connsiteY2880" fmla="*/ 514193 h 926154"/>
                    <a:gd name="connsiteX2881" fmla="*/ 824323 w 1197657"/>
                    <a:gd name="connsiteY2881" fmla="*/ 517981 h 926154"/>
                    <a:gd name="connsiteX2882" fmla="*/ 824020 w 1197657"/>
                    <a:gd name="connsiteY2882" fmla="*/ 519050 h 926154"/>
                    <a:gd name="connsiteX2883" fmla="*/ 822308 w 1197657"/>
                    <a:gd name="connsiteY2883" fmla="*/ 522268 h 926154"/>
                    <a:gd name="connsiteX2884" fmla="*/ 821591 w 1197657"/>
                    <a:gd name="connsiteY2884" fmla="*/ 523591 h 926154"/>
                    <a:gd name="connsiteX2885" fmla="*/ 821591 w 1197657"/>
                    <a:gd name="connsiteY2885" fmla="*/ 525109 h 926154"/>
                    <a:gd name="connsiteX2886" fmla="*/ 821591 w 1197657"/>
                    <a:gd name="connsiteY2886" fmla="*/ 527222 h 926154"/>
                    <a:gd name="connsiteX2887" fmla="*/ 821591 w 1197657"/>
                    <a:gd name="connsiteY2887" fmla="*/ 527732 h 926154"/>
                    <a:gd name="connsiteX2888" fmla="*/ 821676 w 1197657"/>
                    <a:gd name="connsiteY2888" fmla="*/ 528230 h 926154"/>
                    <a:gd name="connsiteX2889" fmla="*/ 822004 w 1197657"/>
                    <a:gd name="connsiteY2889" fmla="*/ 530173 h 926154"/>
                    <a:gd name="connsiteX2890" fmla="*/ 822065 w 1197657"/>
                    <a:gd name="connsiteY2890" fmla="*/ 531436 h 926154"/>
                    <a:gd name="connsiteX2891" fmla="*/ 821470 w 1197657"/>
                    <a:gd name="connsiteY2891" fmla="*/ 534690 h 926154"/>
                    <a:gd name="connsiteX2892" fmla="*/ 819126 w 1197657"/>
                    <a:gd name="connsiteY2892" fmla="*/ 541745 h 926154"/>
                    <a:gd name="connsiteX2893" fmla="*/ 818968 w 1197657"/>
                    <a:gd name="connsiteY2893" fmla="*/ 542207 h 926154"/>
                    <a:gd name="connsiteX2894" fmla="*/ 818896 w 1197657"/>
                    <a:gd name="connsiteY2894" fmla="*/ 542692 h 926154"/>
                    <a:gd name="connsiteX2895" fmla="*/ 818325 w 1197657"/>
                    <a:gd name="connsiteY2895" fmla="*/ 546262 h 926154"/>
                    <a:gd name="connsiteX2896" fmla="*/ 818070 w 1197657"/>
                    <a:gd name="connsiteY2896" fmla="*/ 547877 h 926154"/>
                    <a:gd name="connsiteX2897" fmla="*/ 818653 w 1197657"/>
                    <a:gd name="connsiteY2897" fmla="*/ 549395 h 926154"/>
                    <a:gd name="connsiteX2898" fmla="*/ 819685 w 1197657"/>
                    <a:gd name="connsiteY2898" fmla="*/ 552091 h 926154"/>
                    <a:gd name="connsiteX2899" fmla="*/ 819867 w 1197657"/>
                    <a:gd name="connsiteY2899" fmla="*/ 552589 h 926154"/>
                    <a:gd name="connsiteX2900" fmla="*/ 820134 w 1197657"/>
                    <a:gd name="connsiteY2900" fmla="*/ 553038 h 926154"/>
                    <a:gd name="connsiteX2901" fmla="*/ 825076 w 1197657"/>
                    <a:gd name="connsiteY2901" fmla="*/ 561307 h 926154"/>
                    <a:gd name="connsiteX2902" fmla="*/ 825392 w 1197657"/>
                    <a:gd name="connsiteY2902" fmla="*/ 561842 h 926154"/>
                    <a:gd name="connsiteX2903" fmla="*/ 825817 w 1197657"/>
                    <a:gd name="connsiteY2903" fmla="*/ 562303 h 926154"/>
                    <a:gd name="connsiteX2904" fmla="*/ 827541 w 1197657"/>
                    <a:gd name="connsiteY2904" fmla="*/ 564173 h 926154"/>
                    <a:gd name="connsiteX2905" fmla="*/ 830079 w 1197657"/>
                    <a:gd name="connsiteY2905" fmla="*/ 566942 h 926154"/>
                    <a:gd name="connsiteX2906" fmla="*/ 833686 w 1197657"/>
                    <a:gd name="connsiteY2906" fmla="*/ 565898 h 926154"/>
                    <a:gd name="connsiteX2907" fmla="*/ 835908 w 1197657"/>
                    <a:gd name="connsiteY2907" fmla="*/ 565254 h 926154"/>
                    <a:gd name="connsiteX2908" fmla="*/ 835628 w 1197657"/>
                    <a:gd name="connsiteY2908" fmla="*/ 565752 h 926154"/>
                    <a:gd name="connsiteX2909" fmla="*/ 833686 w 1197657"/>
                    <a:gd name="connsiteY2909" fmla="*/ 566784 h 926154"/>
                    <a:gd name="connsiteX2910" fmla="*/ 831658 w 1197657"/>
                    <a:gd name="connsiteY2910" fmla="*/ 567852 h 926154"/>
                    <a:gd name="connsiteX2911" fmla="*/ 830844 w 1197657"/>
                    <a:gd name="connsiteY2911" fmla="*/ 570002 h 926154"/>
                    <a:gd name="connsiteX2912" fmla="*/ 830103 w 1197657"/>
                    <a:gd name="connsiteY2912" fmla="*/ 571957 h 926154"/>
                    <a:gd name="connsiteX2913" fmla="*/ 829824 w 1197657"/>
                    <a:gd name="connsiteY2913" fmla="*/ 572710 h 926154"/>
                    <a:gd name="connsiteX2914" fmla="*/ 829751 w 1197657"/>
                    <a:gd name="connsiteY2914" fmla="*/ 573523 h 926154"/>
                    <a:gd name="connsiteX2915" fmla="*/ 828586 w 1197657"/>
                    <a:gd name="connsiteY2915" fmla="*/ 585799 h 926154"/>
                    <a:gd name="connsiteX2916" fmla="*/ 827651 w 1197657"/>
                    <a:gd name="connsiteY2916" fmla="*/ 589224 h 926154"/>
                    <a:gd name="connsiteX2917" fmla="*/ 824457 w 1197657"/>
                    <a:gd name="connsiteY2917" fmla="*/ 596279 h 926154"/>
                    <a:gd name="connsiteX2918" fmla="*/ 824141 w 1197657"/>
                    <a:gd name="connsiteY2918" fmla="*/ 596996 h 926154"/>
                    <a:gd name="connsiteX2919" fmla="*/ 824008 w 1197657"/>
                    <a:gd name="connsiteY2919" fmla="*/ 597760 h 926154"/>
                    <a:gd name="connsiteX2920" fmla="*/ 823376 w 1197657"/>
                    <a:gd name="connsiteY2920" fmla="*/ 601440 h 926154"/>
                    <a:gd name="connsiteX2921" fmla="*/ 823146 w 1197657"/>
                    <a:gd name="connsiteY2921" fmla="*/ 602727 h 926154"/>
                    <a:gd name="connsiteX2922" fmla="*/ 823486 w 1197657"/>
                    <a:gd name="connsiteY2922" fmla="*/ 603990 h 926154"/>
                    <a:gd name="connsiteX2923" fmla="*/ 824639 w 1197657"/>
                    <a:gd name="connsiteY2923" fmla="*/ 608349 h 926154"/>
                    <a:gd name="connsiteX2924" fmla="*/ 825392 w 1197657"/>
                    <a:gd name="connsiteY2924" fmla="*/ 611239 h 926154"/>
                    <a:gd name="connsiteX2925" fmla="*/ 828148 w 1197657"/>
                    <a:gd name="connsiteY2925" fmla="*/ 612405 h 926154"/>
                    <a:gd name="connsiteX2926" fmla="*/ 831075 w 1197657"/>
                    <a:gd name="connsiteY2926" fmla="*/ 613643 h 926154"/>
                    <a:gd name="connsiteX2927" fmla="*/ 832787 w 1197657"/>
                    <a:gd name="connsiteY2927" fmla="*/ 614372 h 926154"/>
                    <a:gd name="connsiteX2928" fmla="*/ 834596 w 1197657"/>
                    <a:gd name="connsiteY2928" fmla="*/ 614008 h 926154"/>
                    <a:gd name="connsiteX2929" fmla="*/ 838397 w 1197657"/>
                    <a:gd name="connsiteY2929" fmla="*/ 613255 h 926154"/>
                    <a:gd name="connsiteX2930" fmla="*/ 838810 w 1197657"/>
                    <a:gd name="connsiteY2930" fmla="*/ 613170 h 926154"/>
                    <a:gd name="connsiteX2931" fmla="*/ 839211 w 1197657"/>
                    <a:gd name="connsiteY2931" fmla="*/ 613036 h 926154"/>
                    <a:gd name="connsiteX2932" fmla="*/ 846642 w 1197657"/>
                    <a:gd name="connsiteY2932" fmla="*/ 610450 h 926154"/>
                    <a:gd name="connsiteX2933" fmla="*/ 848403 w 1197657"/>
                    <a:gd name="connsiteY2933" fmla="*/ 610547 h 926154"/>
                    <a:gd name="connsiteX2934" fmla="*/ 851256 w 1197657"/>
                    <a:gd name="connsiteY2934" fmla="*/ 611227 h 926154"/>
                    <a:gd name="connsiteX2935" fmla="*/ 851633 w 1197657"/>
                    <a:gd name="connsiteY2935" fmla="*/ 611324 h 926154"/>
                    <a:gd name="connsiteX2936" fmla="*/ 852021 w 1197657"/>
                    <a:gd name="connsiteY2936" fmla="*/ 611361 h 926154"/>
                    <a:gd name="connsiteX2937" fmla="*/ 856441 w 1197657"/>
                    <a:gd name="connsiteY2937" fmla="*/ 611822 h 926154"/>
                    <a:gd name="connsiteX2938" fmla="*/ 857279 w 1197657"/>
                    <a:gd name="connsiteY2938" fmla="*/ 611919 h 926154"/>
                    <a:gd name="connsiteX2939" fmla="*/ 858105 w 1197657"/>
                    <a:gd name="connsiteY2939" fmla="*/ 611773 h 926154"/>
                    <a:gd name="connsiteX2940" fmla="*/ 867904 w 1197657"/>
                    <a:gd name="connsiteY2940" fmla="*/ 610074 h 926154"/>
                    <a:gd name="connsiteX2941" fmla="*/ 870758 w 1197657"/>
                    <a:gd name="connsiteY2941" fmla="*/ 610413 h 926154"/>
                    <a:gd name="connsiteX2942" fmla="*/ 876489 w 1197657"/>
                    <a:gd name="connsiteY2942" fmla="*/ 612041 h 926154"/>
                    <a:gd name="connsiteX2943" fmla="*/ 873259 w 1197657"/>
                    <a:gd name="connsiteY2943" fmla="*/ 618379 h 926154"/>
                    <a:gd name="connsiteX2944" fmla="*/ 871304 w 1197657"/>
                    <a:gd name="connsiteY2944" fmla="*/ 620298 h 926154"/>
                    <a:gd name="connsiteX2945" fmla="*/ 867892 w 1197657"/>
                    <a:gd name="connsiteY2945" fmla="*/ 622775 h 926154"/>
                    <a:gd name="connsiteX2946" fmla="*/ 864468 w 1197657"/>
                    <a:gd name="connsiteY2946" fmla="*/ 624548 h 926154"/>
                    <a:gd name="connsiteX2947" fmla="*/ 860922 w 1197657"/>
                    <a:gd name="connsiteY2947" fmla="*/ 625325 h 926154"/>
                    <a:gd name="connsiteX2948" fmla="*/ 859987 w 1197657"/>
                    <a:gd name="connsiteY2948" fmla="*/ 625543 h 926154"/>
                    <a:gd name="connsiteX2949" fmla="*/ 859161 w 1197657"/>
                    <a:gd name="connsiteY2949" fmla="*/ 626029 h 926154"/>
                    <a:gd name="connsiteX2950" fmla="*/ 856587 w 1197657"/>
                    <a:gd name="connsiteY2950" fmla="*/ 627547 h 926154"/>
                    <a:gd name="connsiteX2951" fmla="*/ 856065 w 1197657"/>
                    <a:gd name="connsiteY2951" fmla="*/ 627851 h 926154"/>
                    <a:gd name="connsiteX2952" fmla="*/ 855604 w 1197657"/>
                    <a:gd name="connsiteY2952" fmla="*/ 628251 h 926154"/>
                    <a:gd name="connsiteX2953" fmla="*/ 848864 w 1197657"/>
                    <a:gd name="connsiteY2953" fmla="*/ 634311 h 926154"/>
                    <a:gd name="connsiteX2954" fmla="*/ 846606 w 1197657"/>
                    <a:gd name="connsiteY2954" fmla="*/ 635440 h 926154"/>
                    <a:gd name="connsiteX2955" fmla="*/ 846035 w 1197657"/>
                    <a:gd name="connsiteY2955" fmla="*/ 635731 h 926154"/>
                    <a:gd name="connsiteX2956" fmla="*/ 845537 w 1197657"/>
                    <a:gd name="connsiteY2956" fmla="*/ 636120 h 926154"/>
                    <a:gd name="connsiteX2957" fmla="*/ 842611 w 1197657"/>
                    <a:gd name="connsiteY2957" fmla="*/ 638463 h 926154"/>
                    <a:gd name="connsiteX2958" fmla="*/ 841603 w 1197657"/>
                    <a:gd name="connsiteY2958" fmla="*/ 639265 h 926154"/>
                    <a:gd name="connsiteX2959" fmla="*/ 841008 w 1197657"/>
                    <a:gd name="connsiteY2959" fmla="*/ 640406 h 926154"/>
                    <a:gd name="connsiteX2960" fmla="*/ 835434 w 1197657"/>
                    <a:gd name="connsiteY2960" fmla="*/ 651153 h 926154"/>
                    <a:gd name="connsiteX2961" fmla="*/ 835276 w 1197657"/>
                    <a:gd name="connsiteY2961" fmla="*/ 651457 h 926154"/>
                    <a:gd name="connsiteX2962" fmla="*/ 835155 w 1197657"/>
                    <a:gd name="connsiteY2962" fmla="*/ 651772 h 926154"/>
                    <a:gd name="connsiteX2963" fmla="*/ 834001 w 1197657"/>
                    <a:gd name="connsiteY2963" fmla="*/ 654772 h 926154"/>
                    <a:gd name="connsiteX2964" fmla="*/ 832738 w 1197657"/>
                    <a:gd name="connsiteY2964" fmla="*/ 658050 h 926154"/>
                    <a:gd name="connsiteX2965" fmla="*/ 828731 w 1197657"/>
                    <a:gd name="connsiteY2965" fmla="*/ 660054 h 926154"/>
                    <a:gd name="connsiteX2966" fmla="*/ 830201 w 1197657"/>
                    <a:gd name="connsiteY2966" fmla="*/ 664656 h 926154"/>
                    <a:gd name="connsiteX2967" fmla="*/ 830201 w 1197657"/>
                    <a:gd name="connsiteY2967" fmla="*/ 664668 h 926154"/>
                    <a:gd name="connsiteX2968" fmla="*/ 830213 w 1197657"/>
                    <a:gd name="connsiteY2968" fmla="*/ 664668 h 926154"/>
                    <a:gd name="connsiteX2969" fmla="*/ 830322 w 1197657"/>
                    <a:gd name="connsiteY2969" fmla="*/ 665008 h 926154"/>
                    <a:gd name="connsiteX2970" fmla="*/ 830905 w 1197657"/>
                    <a:gd name="connsiteY2970" fmla="*/ 666842 h 926154"/>
                    <a:gd name="connsiteX2971" fmla="*/ 831415 w 1197657"/>
                    <a:gd name="connsiteY2971" fmla="*/ 668420 h 926154"/>
                    <a:gd name="connsiteX2972" fmla="*/ 832653 w 1197657"/>
                    <a:gd name="connsiteY2972" fmla="*/ 669525 h 926154"/>
                    <a:gd name="connsiteX2973" fmla="*/ 834062 w 1197657"/>
                    <a:gd name="connsiteY2973" fmla="*/ 670788 h 926154"/>
                    <a:gd name="connsiteX2974" fmla="*/ 833928 w 1197657"/>
                    <a:gd name="connsiteY2974" fmla="*/ 671067 h 926154"/>
                    <a:gd name="connsiteX2975" fmla="*/ 834281 w 1197657"/>
                    <a:gd name="connsiteY2975" fmla="*/ 672986 h 926154"/>
                    <a:gd name="connsiteX2976" fmla="*/ 834621 w 1197657"/>
                    <a:gd name="connsiteY2976" fmla="*/ 674820 h 926154"/>
                    <a:gd name="connsiteX2977" fmla="*/ 834706 w 1197657"/>
                    <a:gd name="connsiteY2977" fmla="*/ 675305 h 926154"/>
                    <a:gd name="connsiteX2978" fmla="*/ 834876 w 1197657"/>
                    <a:gd name="connsiteY2978" fmla="*/ 675779 h 926154"/>
                    <a:gd name="connsiteX2979" fmla="*/ 836381 w 1197657"/>
                    <a:gd name="connsiteY2979" fmla="*/ 679944 h 926154"/>
                    <a:gd name="connsiteX2980" fmla="*/ 837098 w 1197657"/>
                    <a:gd name="connsiteY2980" fmla="*/ 685190 h 926154"/>
                    <a:gd name="connsiteX2981" fmla="*/ 837183 w 1197657"/>
                    <a:gd name="connsiteY2981" fmla="*/ 685797 h 926154"/>
                    <a:gd name="connsiteX2982" fmla="*/ 837389 w 1197657"/>
                    <a:gd name="connsiteY2982" fmla="*/ 686380 h 926154"/>
                    <a:gd name="connsiteX2983" fmla="*/ 838142 w 1197657"/>
                    <a:gd name="connsiteY2983" fmla="*/ 688541 h 926154"/>
                    <a:gd name="connsiteX2984" fmla="*/ 838531 w 1197657"/>
                    <a:gd name="connsiteY2984" fmla="*/ 689646 h 926154"/>
                    <a:gd name="connsiteX2985" fmla="*/ 839296 w 1197657"/>
                    <a:gd name="connsiteY2985" fmla="*/ 690532 h 926154"/>
                    <a:gd name="connsiteX2986" fmla="*/ 841651 w 1197657"/>
                    <a:gd name="connsiteY2986" fmla="*/ 693228 h 926154"/>
                    <a:gd name="connsiteX2987" fmla="*/ 845901 w 1197657"/>
                    <a:gd name="connsiteY2987" fmla="*/ 698073 h 926154"/>
                    <a:gd name="connsiteX2988" fmla="*/ 849144 w 1197657"/>
                    <a:gd name="connsiteY2988" fmla="*/ 694868 h 926154"/>
                    <a:gd name="connsiteX2989" fmla="*/ 850200 w 1197657"/>
                    <a:gd name="connsiteY2989" fmla="*/ 695669 h 926154"/>
                    <a:gd name="connsiteX2990" fmla="*/ 850807 w 1197657"/>
                    <a:gd name="connsiteY2990" fmla="*/ 696118 h 926154"/>
                    <a:gd name="connsiteX2991" fmla="*/ 851499 w 1197657"/>
                    <a:gd name="connsiteY2991" fmla="*/ 696410 h 926154"/>
                    <a:gd name="connsiteX2992" fmla="*/ 852337 w 1197657"/>
                    <a:gd name="connsiteY2992" fmla="*/ 696762 h 926154"/>
                    <a:gd name="connsiteX2993" fmla="*/ 852592 w 1197657"/>
                    <a:gd name="connsiteY2993" fmla="*/ 697150 h 926154"/>
                    <a:gd name="connsiteX2994" fmla="*/ 852847 w 1197657"/>
                    <a:gd name="connsiteY2994" fmla="*/ 697551 h 926154"/>
                    <a:gd name="connsiteX2995" fmla="*/ 853163 w 1197657"/>
                    <a:gd name="connsiteY2995" fmla="*/ 697891 h 926154"/>
                    <a:gd name="connsiteX2996" fmla="*/ 854656 w 1197657"/>
                    <a:gd name="connsiteY2996" fmla="*/ 699591 h 926154"/>
                    <a:gd name="connsiteX2997" fmla="*/ 855057 w 1197657"/>
                    <a:gd name="connsiteY2997" fmla="*/ 700053 h 926154"/>
                    <a:gd name="connsiteX2998" fmla="*/ 844979 w 1197657"/>
                    <a:gd name="connsiteY2998" fmla="*/ 707144 h 926154"/>
                    <a:gd name="connsiteX2999" fmla="*/ 844408 w 1197657"/>
                    <a:gd name="connsiteY2999" fmla="*/ 707557 h 926154"/>
                    <a:gd name="connsiteX3000" fmla="*/ 843934 w 1197657"/>
                    <a:gd name="connsiteY3000" fmla="*/ 708079 h 926154"/>
                    <a:gd name="connsiteX3001" fmla="*/ 841105 w 1197657"/>
                    <a:gd name="connsiteY3001" fmla="*/ 711273 h 926154"/>
                    <a:gd name="connsiteX3002" fmla="*/ 839660 w 1197657"/>
                    <a:gd name="connsiteY3002" fmla="*/ 712900 h 926154"/>
                    <a:gd name="connsiteX3003" fmla="*/ 839575 w 1197657"/>
                    <a:gd name="connsiteY3003" fmla="*/ 715074 h 926154"/>
                    <a:gd name="connsiteX3004" fmla="*/ 839466 w 1197657"/>
                    <a:gd name="connsiteY3004" fmla="*/ 717805 h 926154"/>
                    <a:gd name="connsiteX3005" fmla="*/ 839381 w 1197657"/>
                    <a:gd name="connsiteY3005" fmla="*/ 720040 h 926154"/>
                    <a:gd name="connsiteX3006" fmla="*/ 840765 w 1197657"/>
                    <a:gd name="connsiteY3006" fmla="*/ 721801 h 926154"/>
                    <a:gd name="connsiteX3007" fmla="*/ 843521 w 1197657"/>
                    <a:gd name="connsiteY3007" fmla="*/ 725310 h 926154"/>
                    <a:gd name="connsiteX3008" fmla="*/ 844651 w 1197657"/>
                    <a:gd name="connsiteY3008" fmla="*/ 726755 h 926154"/>
                    <a:gd name="connsiteX3009" fmla="*/ 846399 w 1197657"/>
                    <a:gd name="connsiteY3009" fmla="*/ 727326 h 926154"/>
                    <a:gd name="connsiteX3010" fmla="*/ 847954 w 1197657"/>
                    <a:gd name="connsiteY3010" fmla="*/ 727836 h 926154"/>
                    <a:gd name="connsiteX3011" fmla="*/ 850637 w 1197657"/>
                    <a:gd name="connsiteY3011" fmla="*/ 728722 h 926154"/>
                    <a:gd name="connsiteX3012" fmla="*/ 853041 w 1197657"/>
                    <a:gd name="connsiteY3012" fmla="*/ 727241 h 926154"/>
                    <a:gd name="connsiteX3013" fmla="*/ 855081 w 1197657"/>
                    <a:gd name="connsiteY3013" fmla="*/ 725978 h 926154"/>
                    <a:gd name="connsiteX3014" fmla="*/ 853649 w 1197657"/>
                    <a:gd name="connsiteY3014" fmla="*/ 734429 h 926154"/>
                    <a:gd name="connsiteX3015" fmla="*/ 864067 w 1197657"/>
                    <a:gd name="connsiteY3015" fmla="*/ 729657 h 926154"/>
                    <a:gd name="connsiteX3016" fmla="*/ 866666 w 1197657"/>
                    <a:gd name="connsiteY3016" fmla="*/ 728455 h 926154"/>
                    <a:gd name="connsiteX3017" fmla="*/ 868232 w 1197657"/>
                    <a:gd name="connsiteY3017" fmla="*/ 733142 h 926154"/>
                    <a:gd name="connsiteX3018" fmla="*/ 869204 w 1197657"/>
                    <a:gd name="connsiteY3018" fmla="*/ 736044 h 926154"/>
                    <a:gd name="connsiteX3019" fmla="*/ 869495 w 1197657"/>
                    <a:gd name="connsiteY3019" fmla="*/ 736906 h 926154"/>
                    <a:gd name="connsiteX3020" fmla="*/ 870017 w 1197657"/>
                    <a:gd name="connsiteY3020" fmla="*/ 737659 h 926154"/>
                    <a:gd name="connsiteX3021" fmla="*/ 871924 w 1197657"/>
                    <a:gd name="connsiteY3021" fmla="*/ 740331 h 926154"/>
                    <a:gd name="connsiteX3022" fmla="*/ 872640 w 1197657"/>
                    <a:gd name="connsiteY3022" fmla="*/ 741326 h 926154"/>
                    <a:gd name="connsiteX3023" fmla="*/ 873684 w 1197657"/>
                    <a:gd name="connsiteY3023" fmla="*/ 741970 h 926154"/>
                    <a:gd name="connsiteX3024" fmla="*/ 874704 w 1197657"/>
                    <a:gd name="connsiteY3024" fmla="*/ 742602 h 926154"/>
                    <a:gd name="connsiteX3025" fmla="*/ 875870 w 1197657"/>
                    <a:gd name="connsiteY3025" fmla="*/ 743330 h 926154"/>
                    <a:gd name="connsiteX3026" fmla="*/ 877230 w 1197657"/>
                    <a:gd name="connsiteY3026" fmla="*/ 743476 h 926154"/>
                    <a:gd name="connsiteX3027" fmla="*/ 878639 w 1197657"/>
                    <a:gd name="connsiteY3027" fmla="*/ 743634 h 926154"/>
                    <a:gd name="connsiteX3028" fmla="*/ 878906 w 1197657"/>
                    <a:gd name="connsiteY3028" fmla="*/ 744994 h 926154"/>
                    <a:gd name="connsiteX3029" fmla="*/ 879999 w 1197657"/>
                    <a:gd name="connsiteY3029" fmla="*/ 746232 h 926154"/>
                    <a:gd name="connsiteX3030" fmla="*/ 881784 w 1197657"/>
                    <a:gd name="connsiteY3030" fmla="*/ 748248 h 926154"/>
                    <a:gd name="connsiteX3031" fmla="*/ 882245 w 1197657"/>
                    <a:gd name="connsiteY3031" fmla="*/ 748770 h 926154"/>
                    <a:gd name="connsiteX3032" fmla="*/ 878748 w 1197657"/>
                    <a:gd name="connsiteY3032" fmla="*/ 752085 h 926154"/>
                    <a:gd name="connsiteX3033" fmla="*/ 882427 w 1197657"/>
                    <a:gd name="connsiteY3033" fmla="*/ 756457 h 926154"/>
                    <a:gd name="connsiteX3034" fmla="*/ 884613 w 1197657"/>
                    <a:gd name="connsiteY3034" fmla="*/ 759043 h 926154"/>
                    <a:gd name="connsiteX3035" fmla="*/ 884504 w 1197657"/>
                    <a:gd name="connsiteY3035" fmla="*/ 759529 h 926154"/>
                    <a:gd name="connsiteX3036" fmla="*/ 883083 w 1197657"/>
                    <a:gd name="connsiteY3036" fmla="*/ 765685 h 926154"/>
                    <a:gd name="connsiteX3037" fmla="*/ 881796 w 1197657"/>
                    <a:gd name="connsiteY3037" fmla="*/ 768065 h 926154"/>
                    <a:gd name="connsiteX3038" fmla="*/ 869289 w 1197657"/>
                    <a:gd name="connsiteY3038" fmla="*/ 791222 h 926154"/>
                    <a:gd name="connsiteX3039" fmla="*/ 890029 w 1197657"/>
                    <a:gd name="connsiteY3039" fmla="*/ 776334 h 926154"/>
                    <a:gd name="connsiteX3040" fmla="*/ 890442 w 1197657"/>
                    <a:gd name="connsiteY3040" fmla="*/ 778022 h 926154"/>
                    <a:gd name="connsiteX3041" fmla="*/ 891049 w 1197657"/>
                    <a:gd name="connsiteY3041" fmla="*/ 780500 h 926154"/>
                    <a:gd name="connsiteX3042" fmla="*/ 893247 w 1197657"/>
                    <a:gd name="connsiteY3042" fmla="*/ 781787 h 926154"/>
                    <a:gd name="connsiteX3043" fmla="*/ 895942 w 1197657"/>
                    <a:gd name="connsiteY3043" fmla="*/ 783378 h 926154"/>
                    <a:gd name="connsiteX3044" fmla="*/ 897861 w 1197657"/>
                    <a:gd name="connsiteY3044" fmla="*/ 784507 h 926154"/>
                    <a:gd name="connsiteX3045" fmla="*/ 895360 w 1197657"/>
                    <a:gd name="connsiteY3045" fmla="*/ 786231 h 926154"/>
                    <a:gd name="connsiteX3046" fmla="*/ 890600 w 1197657"/>
                    <a:gd name="connsiteY3046" fmla="*/ 789509 h 926154"/>
                    <a:gd name="connsiteX3047" fmla="*/ 893635 w 1197657"/>
                    <a:gd name="connsiteY3047" fmla="*/ 794427 h 926154"/>
                    <a:gd name="connsiteX3048" fmla="*/ 894534 w 1197657"/>
                    <a:gd name="connsiteY3048" fmla="*/ 795873 h 926154"/>
                    <a:gd name="connsiteX3049" fmla="*/ 894680 w 1197657"/>
                    <a:gd name="connsiteY3049" fmla="*/ 797791 h 926154"/>
                    <a:gd name="connsiteX3050" fmla="*/ 894072 w 1197657"/>
                    <a:gd name="connsiteY3050" fmla="*/ 805660 h 926154"/>
                    <a:gd name="connsiteX3051" fmla="*/ 894060 w 1197657"/>
                    <a:gd name="connsiteY3051" fmla="*/ 805721 h 926154"/>
                    <a:gd name="connsiteX3052" fmla="*/ 892542 w 1197657"/>
                    <a:gd name="connsiteY3052" fmla="*/ 807202 h 926154"/>
                    <a:gd name="connsiteX3053" fmla="*/ 891462 w 1197657"/>
                    <a:gd name="connsiteY3053" fmla="*/ 808270 h 926154"/>
                    <a:gd name="connsiteX3054" fmla="*/ 891000 w 1197657"/>
                    <a:gd name="connsiteY3054" fmla="*/ 809715 h 926154"/>
                    <a:gd name="connsiteX3055" fmla="*/ 890430 w 1197657"/>
                    <a:gd name="connsiteY3055" fmla="*/ 811513 h 926154"/>
                    <a:gd name="connsiteX3056" fmla="*/ 890065 w 1197657"/>
                    <a:gd name="connsiteY3056" fmla="*/ 812666 h 926154"/>
                    <a:gd name="connsiteX3057" fmla="*/ 890175 w 1197657"/>
                    <a:gd name="connsiteY3057" fmla="*/ 813881 h 926154"/>
                    <a:gd name="connsiteX3058" fmla="*/ 890357 w 1197657"/>
                    <a:gd name="connsiteY3058" fmla="*/ 815981 h 926154"/>
                    <a:gd name="connsiteX3059" fmla="*/ 890381 w 1197657"/>
                    <a:gd name="connsiteY3059" fmla="*/ 816309 h 926154"/>
                    <a:gd name="connsiteX3060" fmla="*/ 890442 w 1197657"/>
                    <a:gd name="connsiteY3060" fmla="*/ 816649 h 926154"/>
                    <a:gd name="connsiteX3061" fmla="*/ 891195 w 1197657"/>
                    <a:gd name="connsiteY3061" fmla="*/ 820401 h 926154"/>
                    <a:gd name="connsiteX3062" fmla="*/ 891304 w 1197657"/>
                    <a:gd name="connsiteY3062" fmla="*/ 822271 h 926154"/>
                    <a:gd name="connsiteX3063" fmla="*/ 891146 w 1197657"/>
                    <a:gd name="connsiteY3063" fmla="*/ 825671 h 926154"/>
                    <a:gd name="connsiteX3064" fmla="*/ 890575 w 1197657"/>
                    <a:gd name="connsiteY3064" fmla="*/ 828865 h 926154"/>
                    <a:gd name="connsiteX3065" fmla="*/ 889628 w 1197657"/>
                    <a:gd name="connsiteY3065" fmla="*/ 831366 h 926154"/>
                    <a:gd name="connsiteX3066" fmla="*/ 884055 w 1197657"/>
                    <a:gd name="connsiteY3066" fmla="*/ 839381 h 926154"/>
                    <a:gd name="connsiteX3067" fmla="*/ 879622 w 1197657"/>
                    <a:gd name="connsiteY3067" fmla="*/ 845744 h 926154"/>
                    <a:gd name="connsiteX3068" fmla="*/ 886860 w 1197657"/>
                    <a:gd name="connsiteY3068" fmla="*/ 848524 h 926154"/>
                    <a:gd name="connsiteX3069" fmla="*/ 888195 w 1197657"/>
                    <a:gd name="connsiteY3069" fmla="*/ 849034 h 926154"/>
                    <a:gd name="connsiteX3070" fmla="*/ 889434 w 1197657"/>
                    <a:gd name="connsiteY3070" fmla="*/ 850892 h 926154"/>
                    <a:gd name="connsiteX3071" fmla="*/ 889871 w 1197657"/>
                    <a:gd name="connsiteY3071" fmla="*/ 852871 h 926154"/>
                    <a:gd name="connsiteX3072" fmla="*/ 889762 w 1197657"/>
                    <a:gd name="connsiteY3072" fmla="*/ 854256 h 926154"/>
                    <a:gd name="connsiteX3073" fmla="*/ 887394 w 1197657"/>
                    <a:gd name="connsiteY3073" fmla="*/ 854669 h 926154"/>
                    <a:gd name="connsiteX3074" fmla="*/ 884395 w 1197657"/>
                    <a:gd name="connsiteY3074" fmla="*/ 854304 h 926154"/>
                    <a:gd name="connsiteX3075" fmla="*/ 879817 w 1197657"/>
                    <a:gd name="connsiteY3075" fmla="*/ 853733 h 926154"/>
                    <a:gd name="connsiteX3076" fmla="*/ 878202 w 1197657"/>
                    <a:gd name="connsiteY3076" fmla="*/ 857595 h 926154"/>
                    <a:gd name="connsiteX3077" fmla="*/ 877947 w 1197657"/>
                    <a:gd name="connsiteY3077" fmla="*/ 857874 h 926154"/>
                    <a:gd name="connsiteX3078" fmla="*/ 876332 w 1197657"/>
                    <a:gd name="connsiteY3078" fmla="*/ 859210 h 926154"/>
                    <a:gd name="connsiteX3079" fmla="*/ 875967 w 1197657"/>
                    <a:gd name="connsiteY3079" fmla="*/ 859441 h 926154"/>
                    <a:gd name="connsiteX3080" fmla="*/ 871644 w 1197657"/>
                    <a:gd name="connsiteY3080" fmla="*/ 859441 h 926154"/>
                    <a:gd name="connsiteX3081" fmla="*/ 870770 w 1197657"/>
                    <a:gd name="connsiteY3081" fmla="*/ 864468 h 926154"/>
                    <a:gd name="connsiteX3082" fmla="*/ 870175 w 1197657"/>
                    <a:gd name="connsiteY3082" fmla="*/ 867916 h 926154"/>
                    <a:gd name="connsiteX3083" fmla="*/ 868973 w 1197657"/>
                    <a:gd name="connsiteY3083" fmla="*/ 870297 h 926154"/>
                    <a:gd name="connsiteX3084" fmla="*/ 867067 w 1197657"/>
                    <a:gd name="connsiteY3084" fmla="*/ 873101 h 926154"/>
                    <a:gd name="connsiteX3085" fmla="*/ 866884 w 1197657"/>
                    <a:gd name="connsiteY3085" fmla="*/ 873369 h 926154"/>
                    <a:gd name="connsiteX3086" fmla="*/ 866727 w 1197657"/>
                    <a:gd name="connsiteY3086" fmla="*/ 873660 h 926154"/>
                    <a:gd name="connsiteX3087" fmla="*/ 865124 w 1197657"/>
                    <a:gd name="connsiteY3087" fmla="*/ 876708 h 926154"/>
                    <a:gd name="connsiteX3088" fmla="*/ 864650 w 1197657"/>
                    <a:gd name="connsiteY3088" fmla="*/ 877619 h 926154"/>
                    <a:gd name="connsiteX3089" fmla="*/ 864492 w 1197657"/>
                    <a:gd name="connsiteY3089" fmla="*/ 878627 h 926154"/>
                    <a:gd name="connsiteX3090" fmla="*/ 863642 w 1197657"/>
                    <a:gd name="connsiteY3090" fmla="*/ 884225 h 926154"/>
                    <a:gd name="connsiteX3091" fmla="*/ 863460 w 1197657"/>
                    <a:gd name="connsiteY3091" fmla="*/ 884650 h 926154"/>
                    <a:gd name="connsiteX3092" fmla="*/ 863278 w 1197657"/>
                    <a:gd name="connsiteY3092" fmla="*/ 886337 h 926154"/>
                    <a:gd name="connsiteX3093" fmla="*/ 863278 w 1197657"/>
                    <a:gd name="connsiteY3093" fmla="*/ 890332 h 926154"/>
                    <a:gd name="connsiteX3094" fmla="*/ 863278 w 1197657"/>
                    <a:gd name="connsiteY3094" fmla="*/ 891522 h 926154"/>
                    <a:gd name="connsiteX3095" fmla="*/ 863727 w 1197657"/>
                    <a:gd name="connsiteY3095" fmla="*/ 892615 h 926154"/>
                    <a:gd name="connsiteX3096" fmla="*/ 864177 w 1197657"/>
                    <a:gd name="connsiteY3096" fmla="*/ 893732 h 926154"/>
                    <a:gd name="connsiteX3097" fmla="*/ 864249 w 1197657"/>
                    <a:gd name="connsiteY3097" fmla="*/ 893915 h 926154"/>
                    <a:gd name="connsiteX3098" fmla="*/ 863618 w 1197657"/>
                    <a:gd name="connsiteY3098" fmla="*/ 894789 h 926154"/>
                    <a:gd name="connsiteX3099" fmla="*/ 862986 w 1197657"/>
                    <a:gd name="connsiteY3099" fmla="*/ 895663 h 926154"/>
                    <a:gd name="connsiteX3100" fmla="*/ 862695 w 1197657"/>
                    <a:gd name="connsiteY3100" fmla="*/ 896720 h 926154"/>
                    <a:gd name="connsiteX3101" fmla="*/ 862124 w 1197657"/>
                    <a:gd name="connsiteY3101" fmla="*/ 898820 h 926154"/>
                    <a:gd name="connsiteX3102" fmla="*/ 862027 w 1197657"/>
                    <a:gd name="connsiteY3102" fmla="*/ 899185 h 926154"/>
                    <a:gd name="connsiteX3103" fmla="*/ 861979 w 1197657"/>
                    <a:gd name="connsiteY3103" fmla="*/ 899573 h 926154"/>
                    <a:gd name="connsiteX3104" fmla="*/ 860861 w 1197657"/>
                    <a:gd name="connsiteY3104" fmla="*/ 907515 h 926154"/>
                    <a:gd name="connsiteX3105" fmla="*/ 857753 w 1197657"/>
                    <a:gd name="connsiteY3105" fmla="*/ 916003 h 926154"/>
                    <a:gd name="connsiteX3106" fmla="*/ 857619 w 1197657"/>
                    <a:gd name="connsiteY3106" fmla="*/ 916355 h 926154"/>
                    <a:gd name="connsiteX3107" fmla="*/ 857534 w 1197657"/>
                    <a:gd name="connsiteY3107" fmla="*/ 916731 h 926154"/>
                    <a:gd name="connsiteX3108" fmla="*/ 857073 w 1197657"/>
                    <a:gd name="connsiteY3108" fmla="*/ 918735 h 926154"/>
                    <a:gd name="connsiteX3109" fmla="*/ 855373 w 1197657"/>
                    <a:gd name="connsiteY3109" fmla="*/ 926154 h 926154"/>
                    <a:gd name="connsiteX3110" fmla="*/ 862986 w 1197657"/>
                    <a:gd name="connsiteY3110" fmla="*/ 926154 h 926154"/>
                    <a:gd name="connsiteX3111" fmla="*/ 863387 w 1197657"/>
                    <a:gd name="connsiteY3111" fmla="*/ 926154 h 926154"/>
                    <a:gd name="connsiteX3112" fmla="*/ 863849 w 1197657"/>
                    <a:gd name="connsiteY3112" fmla="*/ 926106 h 926154"/>
                    <a:gd name="connsiteX3113" fmla="*/ 868329 w 1197657"/>
                    <a:gd name="connsiteY3113" fmla="*/ 925510 h 926154"/>
                    <a:gd name="connsiteX3114" fmla="*/ 869495 w 1197657"/>
                    <a:gd name="connsiteY3114" fmla="*/ 925353 h 926154"/>
                    <a:gd name="connsiteX3115" fmla="*/ 870515 w 1197657"/>
                    <a:gd name="connsiteY3115" fmla="*/ 924770 h 926154"/>
                    <a:gd name="connsiteX3116" fmla="*/ 874134 w 1197657"/>
                    <a:gd name="connsiteY3116" fmla="*/ 922730 h 926154"/>
                    <a:gd name="connsiteX3117" fmla="*/ 874632 w 1197657"/>
                    <a:gd name="connsiteY3117" fmla="*/ 922451 h 926154"/>
                    <a:gd name="connsiteX3118" fmla="*/ 875069 w 1197657"/>
                    <a:gd name="connsiteY3118" fmla="*/ 922086 h 926154"/>
                    <a:gd name="connsiteX3119" fmla="*/ 876077 w 1197657"/>
                    <a:gd name="connsiteY3119" fmla="*/ 921236 h 926154"/>
                    <a:gd name="connsiteX3120" fmla="*/ 876696 w 1197657"/>
                    <a:gd name="connsiteY3120" fmla="*/ 920835 h 926154"/>
                    <a:gd name="connsiteX3121" fmla="*/ 879088 w 1197657"/>
                    <a:gd name="connsiteY3121" fmla="*/ 921807 h 926154"/>
                    <a:gd name="connsiteX3122" fmla="*/ 880412 w 1197657"/>
                    <a:gd name="connsiteY3122" fmla="*/ 922353 h 926154"/>
                    <a:gd name="connsiteX3123" fmla="*/ 881844 w 1197657"/>
                    <a:gd name="connsiteY3123" fmla="*/ 922232 h 926154"/>
                    <a:gd name="connsiteX3124" fmla="*/ 882767 w 1197657"/>
                    <a:gd name="connsiteY3124" fmla="*/ 922159 h 926154"/>
                    <a:gd name="connsiteX3125" fmla="*/ 884953 w 1197657"/>
                    <a:gd name="connsiteY3125" fmla="*/ 921989 h 926154"/>
                    <a:gd name="connsiteX3126" fmla="*/ 886520 w 1197657"/>
                    <a:gd name="connsiteY3126" fmla="*/ 920471 h 926154"/>
                    <a:gd name="connsiteX3127" fmla="*/ 886884 w 1197657"/>
                    <a:gd name="connsiteY3127" fmla="*/ 920119 h 926154"/>
                    <a:gd name="connsiteX3128" fmla="*/ 890199 w 1197657"/>
                    <a:gd name="connsiteY3128" fmla="*/ 920447 h 926154"/>
                    <a:gd name="connsiteX3129" fmla="*/ 890515 w 1197657"/>
                    <a:gd name="connsiteY3129" fmla="*/ 920471 h 926154"/>
                    <a:gd name="connsiteX3130" fmla="*/ 890830 w 1197657"/>
                    <a:gd name="connsiteY3130" fmla="*/ 920471 h 926154"/>
                    <a:gd name="connsiteX3131" fmla="*/ 893939 w 1197657"/>
                    <a:gd name="connsiteY3131" fmla="*/ 920447 h 926154"/>
                    <a:gd name="connsiteX3132" fmla="*/ 894582 w 1197657"/>
                    <a:gd name="connsiteY3132" fmla="*/ 920447 h 926154"/>
                    <a:gd name="connsiteX3133" fmla="*/ 895214 w 1197657"/>
                    <a:gd name="connsiteY3133" fmla="*/ 920301 h 926154"/>
                    <a:gd name="connsiteX3134" fmla="*/ 899865 w 1197657"/>
                    <a:gd name="connsiteY3134" fmla="*/ 919269 h 926154"/>
                    <a:gd name="connsiteX3135" fmla="*/ 900411 w 1197657"/>
                    <a:gd name="connsiteY3135" fmla="*/ 919148 h 926154"/>
                    <a:gd name="connsiteX3136" fmla="*/ 900933 w 1197657"/>
                    <a:gd name="connsiteY3136" fmla="*/ 918917 h 926154"/>
                    <a:gd name="connsiteX3137" fmla="*/ 910223 w 1197657"/>
                    <a:gd name="connsiteY3137" fmla="*/ 914958 h 926154"/>
                    <a:gd name="connsiteX3138" fmla="*/ 914837 w 1197657"/>
                    <a:gd name="connsiteY3138" fmla="*/ 912991 h 926154"/>
                    <a:gd name="connsiteX3139" fmla="*/ 913780 w 1197657"/>
                    <a:gd name="connsiteY3139" fmla="*/ 908085 h 926154"/>
                    <a:gd name="connsiteX3140" fmla="*/ 913416 w 1197657"/>
                    <a:gd name="connsiteY3140" fmla="*/ 906422 h 926154"/>
                    <a:gd name="connsiteX3141" fmla="*/ 912870 w 1197657"/>
                    <a:gd name="connsiteY3141" fmla="*/ 899136 h 926154"/>
                    <a:gd name="connsiteX3142" fmla="*/ 912821 w 1197657"/>
                    <a:gd name="connsiteY3142" fmla="*/ 898480 h 926154"/>
                    <a:gd name="connsiteX3143" fmla="*/ 912627 w 1197657"/>
                    <a:gd name="connsiteY3143" fmla="*/ 897861 h 926154"/>
                    <a:gd name="connsiteX3144" fmla="*/ 912226 w 1197657"/>
                    <a:gd name="connsiteY3144" fmla="*/ 896513 h 926154"/>
                    <a:gd name="connsiteX3145" fmla="*/ 912068 w 1197657"/>
                    <a:gd name="connsiteY3145" fmla="*/ 895979 h 926154"/>
                    <a:gd name="connsiteX3146" fmla="*/ 911813 w 1197657"/>
                    <a:gd name="connsiteY3146" fmla="*/ 895493 h 926154"/>
                    <a:gd name="connsiteX3147" fmla="*/ 911073 w 1197657"/>
                    <a:gd name="connsiteY3147" fmla="*/ 894036 h 926154"/>
                    <a:gd name="connsiteX3148" fmla="*/ 910842 w 1197657"/>
                    <a:gd name="connsiteY3148" fmla="*/ 893574 h 926154"/>
                    <a:gd name="connsiteX3149" fmla="*/ 910380 w 1197657"/>
                    <a:gd name="connsiteY3149" fmla="*/ 893040 h 926154"/>
                    <a:gd name="connsiteX3150" fmla="*/ 909288 w 1197657"/>
                    <a:gd name="connsiteY3150" fmla="*/ 891753 h 926154"/>
                    <a:gd name="connsiteX3151" fmla="*/ 908923 w 1197657"/>
                    <a:gd name="connsiteY3151" fmla="*/ 891316 h 926154"/>
                    <a:gd name="connsiteX3152" fmla="*/ 908486 w 1197657"/>
                    <a:gd name="connsiteY3152" fmla="*/ 890964 h 926154"/>
                    <a:gd name="connsiteX3153" fmla="*/ 908389 w 1197657"/>
                    <a:gd name="connsiteY3153" fmla="*/ 890891 h 926154"/>
                    <a:gd name="connsiteX3154" fmla="*/ 909992 w 1197657"/>
                    <a:gd name="connsiteY3154" fmla="*/ 890709 h 926154"/>
                    <a:gd name="connsiteX3155" fmla="*/ 911522 w 1197657"/>
                    <a:gd name="connsiteY3155" fmla="*/ 889094 h 926154"/>
                    <a:gd name="connsiteX3156" fmla="*/ 911971 w 1197657"/>
                    <a:gd name="connsiteY3156" fmla="*/ 888620 h 926154"/>
                    <a:gd name="connsiteX3157" fmla="*/ 912748 w 1197657"/>
                    <a:gd name="connsiteY3157" fmla="*/ 887807 h 926154"/>
                    <a:gd name="connsiteX3158" fmla="*/ 913173 w 1197657"/>
                    <a:gd name="connsiteY3158" fmla="*/ 886762 h 926154"/>
                    <a:gd name="connsiteX3159" fmla="*/ 914703 w 1197657"/>
                    <a:gd name="connsiteY3159" fmla="*/ 883059 h 926154"/>
                    <a:gd name="connsiteX3160" fmla="*/ 915177 w 1197657"/>
                    <a:gd name="connsiteY3160" fmla="*/ 883156 h 926154"/>
                    <a:gd name="connsiteX3161" fmla="*/ 916100 w 1197657"/>
                    <a:gd name="connsiteY3161" fmla="*/ 883350 h 926154"/>
                    <a:gd name="connsiteX3162" fmla="*/ 917035 w 1197657"/>
                    <a:gd name="connsiteY3162" fmla="*/ 883241 h 926154"/>
                    <a:gd name="connsiteX3163" fmla="*/ 918079 w 1197657"/>
                    <a:gd name="connsiteY3163" fmla="*/ 883120 h 926154"/>
                    <a:gd name="connsiteX3164" fmla="*/ 919257 w 1197657"/>
                    <a:gd name="connsiteY3164" fmla="*/ 882974 h 926154"/>
                    <a:gd name="connsiteX3165" fmla="*/ 920301 w 1197657"/>
                    <a:gd name="connsiteY3165" fmla="*/ 882403 h 926154"/>
                    <a:gd name="connsiteX3166" fmla="*/ 924078 w 1197657"/>
                    <a:gd name="connsiteY3166" fmla="*/ 880339 h 926154"/>
                    <a:gd name="connsiteX3167" fmla="*/ 924612 w 1197657"/>
                    <a:gd name="connsiteY3167" fmla="*/ 880047 h 926154"/>
                    <a:gd name="connsiteX3168" fmla="*/ 925085 w 1197657"/>
                    <a:gd name="connsiteY3168" fmla="*/ 879659 h 926154"/>
                    <a:gd name="connsiteX3169" fmla="*/ 925717 w 1197657"/>
                    <a:gd name="connsiteY3169" fmla="*/ 879113 h 926154"/>
                    <a:gd name="connsiteX3170" fmla="*/ 925851 w 1197657"/>
                    <a:gd name="connsiteY3170" fmla="*/ 879367 h 926154"/>
                    <a:gd name="connsiteX3171" fmla="*/ 926373 w 1197657"/>
                    <a:gd name="connsiteY3171" fmla="*/ 880339 h 926154"/>
                    <a:gd name="connsiteX3172" fmla="*/ 927065 w 1197657"/>
                    <a:gd name="connsiteY3172" fmla="*/ 881638 h 926154"/>
                    <a:gd name="connsiteX3173" fmla="*/ 928279 w 1197657"/>
                    <a:gd name="connsiteY3173" fmla="*/ 882464 h 926154"/>
                    <a:gd name="connsiteX3174" fmla="*/ 929056 w 1197657"/>
                    <a:gd name="connsiteY3174" fmla="*/ 882998 h 926154"/>
                    <a:gd name="connsiteX3175" fmla="*/ 923725 w 1197657"/>
                    <a:gd name="connsiteY3175" fmla="*/ 885864 h 926154"/>
                    <a:gd name="connsiteX3176" fmla="*/ 923131 w 1197657"/>
                    <a:gd name="connsiteY3176" fmla="*/ 886179 h 926154"/>
                    <a:gd name="connsiteX3177" fmla="*/ 922621 w 1197657"/>
                    <a:gd name="connsiteY3177" fmla="*/ 886629 h 926154"/>
                    <a:gd name="connsiteX3178" fmla="*/ 921528 w 1197657"/>
                    <a:gd name="connsiteY3178" fmla="*/ 887576 h 926154"/>
                    <a:gd name="connsiteX3179" fmla="*/ 921115 w 1197657"/>
                    <a:gd name="connsiteY3179" fmla="*/ 887928 h 926154"/>
                    <a:gd name="connsiteX3180" fmla="*/ 920775 w 1197657"/>
                    <a:gd name="connsiteY3180" fmla="*/ 888365 h 926154"/>
                    <a:gd name="connsiteX3181" fmla="*/ 920095 w 1197657"/>
                    <a:gd name="connsiteY3181" fmla="*/ 889203 h 926154"/>
                    <a:gd name="connsiteX3182" fmla="*/ 919658 w 1197657"/>
                    <a:gd name="connsiteY3182" fmla="*/ 889762 h 926154"/>
                    <a:gd name="connsiteX3183" fmla="*/ 919354 w 1197657"/>
                    <a:gd name="connsiteY3183" fmla="*/ 890393 h 926154"/>
                    <a:gd name="connsiteX3184" fmla="*/ 919002 w 1197657"/>
                    <a:gd name="connsiteY3184" fmla="*/ 891146 h 926154"/>
                    <a:gd name="connsiteX3185" fmla="*/ 918771 w 1197657"/>
                    <a:gd name="connsiteY3185" fmla="*/ 891644 h 926154"/>
                    <a:gd name="connsiteX3186" fmla="*/ 918625 w 1197657"/>
                    <a:gd name="connsiteY3186" fmla="*/ 892166 h 926154"/>
                    <a:gd name="connsiteX3187" fmla="*/ 918346 w 1197657"/>
                    <a:gd name="connsiteY3187" fmla="*/ 893210 h 926154"/>
                    <a:gd name="connsiteX3188" fmla="*/ 918188 w 1197657"/>
                    <a:gd name="connsiteY3188" fmla="*/ 893793 h 926154"/>
                    <a:gd name="connsiteX3189" fmla="*/ 918152 w 1197657"/>
                    <a:gd name="connsiteY3189" fmla="*/ 894412 h 926154"/>
                    <a:gd name="connsiteX3190" fmla="*/ 918091 w 1197657"/>
                    <a:gd name="connsiteY3190" fmla="*/ 895360 h 926154"/>
                    <a:gd name="connsiteX3191" fmla="*/ 918067 w 1197657"/>
                    <a:gd name="connsiteY3191" fmla="*/ 895712 h 926154"/>
                    <a:gd name="connsiteX3192" fmla="*/ 918079 w 1197657"/>
                    <a:gd name="connsiteY3192" fmla="*/ 896064 h 926154"/>
                    <a:gd name="connsiteX3193" fmla="*/ 918140 w 1197657"/>
                    <a:gd name="connsiteY3193" fmla="*/ 897157 h 926154"/>
                    <a:gd name="connsiteX3194" fmla="*/ 918164 w 1197657"/>
                    <a:gd name="connsiteY3194" fmla="*/ 897618 h 926154"/>
                    <a:gd name="connsiteX3195" fmla="*/ 918261 w 1197657"/>
                    <a:gd name="connsiteY3195" fmla="*/ 898080 h 926154"/>
                    <a:gd name="connsiteX3196" fmla="*/ 919694 w 1197657"/>
                    <a:gd name="connsiteY3196" fmla="*/ 904880 h 926154"/>
                    <a:gd name="connsiteX3197" fmla="*/ 919828 w 1197657"/>
                    <a:gd name="connsiteY3197" fmla="*/ 905499 h 926154"/>
                    <a:gd name="connsiteX3198" fmla="*/ 920083 w 1197657"/>
                    <a:gd name="connsiteY3198" fmla="*/ 906082 h 926154"/>
                    <a:gd name="connsiteX3199" fmla="*/ 920835 w 1197657"/>
                    <a:gd name="connsiteY3199" fmla="*/ 907794 h 926154"/>
                    <a:gd name="connsiteX3200" fmla="*/ 921370 w 1197657"/>
                    <a:gd name="connsiteY3200" fmla="*/ 909008 h 926154"/>
                    <a:gd name="connsiteX3201" fmla="*/ 922365 w 1197657"/>
                    <a:gd name="connsiteY3201" fmla="*/ 909883 h 926154"/>
                    <a:gd name="connsiteX3202" fmla="*/ 923859 w 1197657"/>
                    <a:gd name="connsiteY3202" fmla="*/ 911206 h 926154"/>
                    <a:gd name="connsiteX3203" fmla="*/ 924782 w 1197657"/>
                    <a:gd name="connsiteY3203" fmla="*/ 912020 h 926154"/>
                    <a:gd name="connsiteX3204" fmla="*/ 925948 w 1197657"/>
                    <a:gd name="connsiteY3204" fmla="*/ 912408 h 926154"/>
                    <a:gd name="connsiteX3205" fmla="*/ 928231 w 1197657"/>
                    <a:gd name="connsiteY3205" fmla="*/ 913173 h 926154"/>
                    <a:gd name="connsiteX3206" fmla="*/ 929335 w 1197657"/>
                    <a:gd name="connsiteY3206" fmla="*/ 913538 h 926154"/>
                    <a:gd name="connsiteX3207" fmla="*/ 930501 w 1197657"/>
                    <a:gd name="connsiteY3207" fmla="*/ 913477 h 926154"/>
                    <a:gd name="connsiteX3208" fmla="*/ 934302 w 1197657"/>
                    <a:gd name="connsiteY3208" fmla="*/ 913270 h 926154"/>
                    <a:gd name="connsiteX3209" fmla="*/ 935176 w 1197657"/>
                    <a:gd name="connsiteY3209" fmla="*/ 913222 h 926154"/>
                    <a:gd name="connsiteX3210" fmla="*/ 936002 w 1197657"/>
                    <a:gd name="connsiteY3210" fmla="*/ 912942 h 926154"/>
                    <a:gd name="connsiteX3211" fmla="*/ 937945 w 1197657"/>
                    <a:gd name="connsiteY3211" fmla="*/ 912250 h 926154"/>
                    <a:gd name="connsiteX3212" fmla="*/ 938807 w 1197657"/>
                    <a:gd name="connsiteY3212" fmla="*/ 911947 h 926154"/>
                    <a:gd name="connsiteX3213" fmla="*/ 939536 w 1197657"/>
                    <a:gd name="connsiteY3213" fmla="*/ 911412 h 926154"/>
                    <a:gd name="connsiteX3214" fmla="*/ 940628 w 1197657"/>
                    <a:gd name="connsiteY3214" fmla="*/ 910611 h 926154"/>
                    <a:gd name="connsiteX3215" fmla="*/ 942219 w 1197657"/>
                    <a:gd name="connsiteY3215" fmla="*/ 909421 h 926154"/>
                    <a:gd name="connsiteX3216" fmla="*/ 942814 w 1197657"/>
                    <a:gd name="connsiteY3216" fmla="*/ 907539 h 926154"/>
                    <a:gd name="connsiteX3217" fmla="*/ 943093 w 1197657"/>
                    <a:gd name="connsiteY3217" fmla="*/ 906652 h 926154"/>
                    <a:gd name="connsiteX3218" fmla="*/ 943300 w 1197657"/>
                    <a:gd name="connsiteY3218" fmla="*/ 905985 h 926154"/>
                    <a:gd name="connsiteX3219" fmla="*/ 943348 w 1197657"/>
                    <a:gd name="connsiteY3219" fmla="*/ 905317 h 926154"/>
                    <a:gd name="connsiteX3220" fmla="*/ 943409 w 1197657"/>
                    <a:gd name="connsiteY3220" fmla="*/ 905329 h 926154"/>
                    <a:gd name="connsiteX3221" fmla="*/ 942960 w 1197657"/>
                    <a:gd name="connsiteY3221" fmla="*/ 911510 h 926154"/>
                    <a:gd name="connsiteX3222" fmla="*/ 942547 w 1197657"/>
                    <a:gd name="connsiteY3222" fmla="*/ 917083 h 926154"/>
                    <a:gd name="connsiteX3223" fmla="*/ 948072 w 1197657"/>
                    <a:gd name="connsiteY3223" fmla="*/ 917946 h 926154"/>
                    <a:gd name="connsiteX3224" fmla="*/ 953075 w 1197657"/>
                    <a:gd name="connsiteY3224" fmla="*/ 918723 h 926154"/>
                    <a:gd name="connsiteX3225" fmla="*/ 954253 w 1197657"/>
                    <a:gd name="connsiteY3225" fmla="*/ 918905 h 926154"/>
                    <a:gd name="connsiteX3226" fmla="*/ 955419 w 1197657"/>
                    <a:gd name="connsiteY3226" fmla="*/ 918637 h 926154"/>
                    <a:gd name="connsiteX3227" fmla="*/ 957204 w 1197657"/>
                    <a:gd name="connsiteY3227" fmla="*/ 918212 h 926154"/>
                    <a:gd name="connsiteX3228" fmla="*/ 957507 w 1197657"/>
                    <a:gd name="connsiteY3228" fmla="*/ 918140 h 926154"/>
                    <a:gd name="connsiteX3229" fmla="*/ 957799 w 1197657"/>
                    <a:gd name="connsiteY3229" fmla="*/ 918030 h 926154"/>
                    <a:gd name="connsiteX3230" fmla="*/ 960494 w 1197657"/>
                    <a:gd name="connsiteY3230" fmla="*/ 917083 h 926154"/>
                    <a:gd name="connsiteX3231" fmla="*/ 961004 w 1197657"/>
                    <a:gd name="connsiteY3231" fmla="*/ 916901 h 926154"/>
                    <a:gd name="connsiteX3232" fmla="*/ 961478 w 1197657"/>
                    <a:gd name="connsiteY3232" fmla="*/ 916634 h 926154"/>
                    <a:gd name="connsiteX3233" fmla="*/ 964113 w 1197657"/>
                    <a:gd name="connsiteY3233" fmla="*/ 915140 h 926154"/>
                    <a:gd name="connsiteX3234" fmla="*/ 964659 w 1197657"/>
                    <a:gd name="connsiteY3234" fmla="*/ 914837 h 926154"/>
                    <a:gd name="connsiteX3235" fmla="*/ 965133 w 1197657"/>
                    <a:gd name="connsiteY3235" fmla="*/ 914424 h 926154"/>
                    <a:gd name="connsiteX3236" fmla="*/ 966408 w 1197657"/>
                    <a:gd name="connsiteY3236" fmla="*/ 913295 h 926154"/>
                    <a:gd name="connsiteX3237" fmla="*/ 966833 w 1197657"/>
                    <a:gd name="connsiteY3237" fmla="*/ 912918 h 926154"/>
                    <a:gd name="connsiteX3238" fmla="*/ 967185 w 1197657"/>
                    <a:gd name="connsiteY3238" fmla="*/ 912469 h 926154"/>
                    <a:gd name="connsiteX3239" fmla="*/ 968266 w 1197657"/>
                    <a:gd name="connsiteY3239" fmla="*/ 911073 h 926154"/>
                    <a:gd name="connsiteX3240" fmla="*/ 969128 w 1197657"/>
                    <a:gd name="connsiteY3240" fmla="*/ 909955 h 926154"/>
                    <a:gd name="connsiteX3241" fmla="*/ 969407 w 1197657"/>
                    <a:gd name="connsiteY3241" fmla="*/ 908571 h 926154"/>
                    <a:gd name="connsiteX3242" fmla="*/ 969699 w 1197657"/>
                    <a:gd name="connsiteY3242" fmla="*/ 907163 h 926154"/>
                    <a:gd name="connsiteX3243" fmla="*/ 969771 w 1197657"/>
                    <a:gd name="connsiteY3243" fmla="*/ 906822 h 926154"/>
                    <a:gd name="connsiteX3244" fmla="*/ 969796 w 1197657"/>
                    <a:gd name="connsiteY3244" fmla="*/ 906483 h 926154"/>
                    <a:gd name="connsiteX3245" fmla="*/ 969917 w 1197657"/>
                    <a:gd name="connsiteY3245" fmla="*/ 905135 h 926154"/>
                    <a:gd name="connsiteX3246" fmla="*/ 969978 w 1197657"/>
                    <a:gd name="connsiteY3246" fmla="*/ 904491 h 926154"/>
                    <a:gd name="connsiteX3247" fmla="*/ 969893 w 1197657"/>
                    <a:gd name="connsiteY3247" fmla="*/ 903860 h 926154"/>
                    <a:gd name="connsiteX3248" fmla="*/ 969784 w 1197657"/>
                    <a:gd name="connsiteY3248" fmla="*/ 902949 h 926154"/>
                    <a:gd name="connsiteX3249" fmla="*/ 979899 w 1197657"/>
                    <a:gd name="connsiteY3249" fmla="*/ 904491 h 926154"/>
                    <a:gd name="connsiteX3250" fmla="*/ 982874 w 1197657"/>
                    <a:gd name="connsiteY3250" fmla="*/ 905268 h 926154"/>
                    <a:gd name="connsiteX3251" fmla="*/ 983262 w 1197657"/>
                    <a:gd name="connsiteY3251" fmla="*/ 905378 h 926154"/>
                    <a:gd name="connsiteX3252" fmla="*/ 983663 w 1197657"/>
                    <a:gd name="connsiteY3252" fmla="*/ 905426 h 926154"/>
                    <a:gd name="connsiteX3253" fmla="*/ 985278 w 1197657"/>
                    <a:gd name="connsiteY3253" fmla="*/ 905633 h 926154"/>
                    <a:gd name="connsiteX3254" fmla="*/ 986116 w 1197657"/>
                    <a:gd name="connsiteY3254" fmla="*/ 905742 h 926154"/>
                    <a:gd name="connsiteX3255" fmla="*/ 986942 w 1197657"/>
                    <a:gd name="connsiteY3255" fmla="*/ 905608 h 926154"/>
                    <a:gd name="connsiteX3256" fmla="*/ 989589 w 1197657"/>
                    <a:gd name="connsiteY3256" fmla="*/ 905208 h 926154"/>
                    <a:gd name="connsiteX3257" fmla="*/ 991823 w 1197657"/>
                    <a:gd name="connsiteY3257" fmla="*/ 904867 h 926154"/>
                    <a:gd name="connsiteX3258" fmla="*/ 993292 w 1197657"/>
                    <a:gd name="connsiteY3258" fmla="*/ 903155 h 926154"/>
                    <a:gd name="connsiteX3259" fmla="*/ 994264 w 1197657"/>
                    <a:gd name="connsiteY3259" fmla="*/ 902014 h 926154"/>
                    <a:gd name="connsiteX3260" fmla="*/ 995490 w 1197657"/>
                    <a:gd name="connsiteY3260" fmla="*/ 900569 h 926154"/>
                    <a:gd name="connsiteX3261" fmla="*/ 995685 w 1197657"/>
                    <a:gd name="connsiteY3261" fmla="*/ 898687 h 926154"/>
                    <a:gd name="connsiteX3262" fmla="*/ 995842 w 1197657"/>
                    <a:gd name="connsiteY3262" fmla="*/ 897120 h 926154"/>
                    <a:gd name="connsiteX3263" fmla="*/ 995976 w 1197657"/>
                    <a:gd name="connsiteY3263" fmla="*/ 895821 h 926154"/>
                    <a:gd name="connsiteX3264" fmla="*/ 995563 w 1197657"/>
                    <a:gd name="connsiteY3264" fmla="*/ 894570 h 926154"/>
                    <a:gd name="connsiteX3265" fmla="*/ 994786 w 1197657"/>
                    <a:gd name="connsiteY3265" fmla="*/ 892263 h 926154"/>
                    <a:gd name="connsiteX3266" fmla="*/ 994786 w 1197657"/>
                    <a:gd name="connsiteY3266" fmla="*/ 892190 h 926154"/>
                    <a:gd name="connsiteX3267" fmla="*/ 994835 w 1197657"/>
                    <a:gd name="connsiteY3267" fmla="*/ 891960 h 926154"/>
                    <a:gd name="connsiteX3268" fmla="*/ 996109 w 1197657"/>
                    <a:gd name="connsiteY3268" fmla="*/ 889665 h 926154"/>
                    <a:gd name="connsiteX3269" fmla="*/ 996462 w 1197657"/>
                    <a:gd name="connsiteY3269" fmla="*/ 889033 h 926154"/>
                    <a:gd name="connsiteX3270" fmla="*/ 996656 w 1197657"/>
                    <a:gd name="connsiteY3270" fmla="*/ 888329 h 926154"/>
                    <a:gd name="connsiteX3271" fmla="*/ 997287 w 1197657"/>
                    <a:gd name="connsiteY3271" fmla="*/ 886046 h 926154"/>
                    <a:gd name="connsiteX3272" fmla="*/ 997421 w 1197657"/>
                    <a:gd name="connsiteY3272" fmla="*/ 885560 h 926154"/>
                    <a:gd name="connsiteX3273" fmla="*/ 997470 w 1197657"/>
                    <a:gd name="connsiteY3273" fmla="*/ 885062 h 926154"/>
                    <a:gd name="connsiteX3274" fmla="*/ 997761 w 1197657"/>
                    <a:gd name="connsiteY3274" fmla="*/ 882257 h 926154"/>
                    <a:gd name="connsiteX3275" fmla="*/ 997834 w 1197657"/>
                    <a:gd name="connsiteY3275" fmla="*/ 881529 h 926154"/>
                    <a:gd name="connsiteX3276" fmla="*/ 997737 w 1197657"/>
                    <a:gd name="connsiteY3276" fmla="*/ 880812 h 926154"/>
                    <a:gd name="connsiteX3277" fmla="*/ 996474 w 1197657"/>
                    <a:gd name="connsiteY3277" fmla="*/ 871438 h 926154"/>
                    <a:gd name="connsiteX3278" fmla="*/ 996401 w 1197657"/>
                    <a:gd name="connsiteY3278" fmla="*/ 869192 h 926154"/>
                    <a:gd name="connsiteX3279" fmla="*/ 996134 w 1197657"/>
                    <a:gd name="connsiteY3279" fmla="*/ 866994 h 926154"/>
                    <a:gd name="connsiteX3280" fmla="*/ 996085 w 1197657"/>
                    <a:gd name="connsiteY3280" fmla="*/ 866581 h 926154"/>
                    <a:gd name="connsiteX3281" fmla="*/ 995964 w 1197657"/>
                    <a:gd name="connsiteY3281" fmla="*/ 866168 h 926154"/>
                    <a:gd name="connsiteX3282" fmla="*/ 995551 w 1197657"/>
                    <a:gd name="connsiteY3282" fmla="*/ 864686 h 926154"/>
                    <a:gd name="connsiteX3283" fmla="*/ 995345 w 1197657"/>
                    <a:gd name="connsiteY3283" fmla="*/ 863946 h 926154"/>
                    <a:gd name="connsiteX3284" fmla="*/ 994956 w 1197657"/>
                    <a:gd name="connsiteY3284" fmla="*/ 863278 h 926154"/>
                    <a:gd name="connsiteX3285" fmla="*/ 994385 w 1197657"/>
                    <a:gd name="connsiteY3285" fmla="*/ 862294 h 926154"/>
                    <a:gd name="connsiteX3286" fmla="*/ 993657 w 1197657"/>
                    <a:gd name="connsiteY3286" fmla="*/ 861032 h 926154"/>
                    <a:gd name="connsiteX3287" fmla="*/ 993086 w 1197657"/>
                    <a:gd name="connsiteY3287" fmla="*/ 860667 h 926154"/>
                    <a:gd name="connsiteX3288" fmla="*/ 996340 w 1197657"/>
                    <a:gd name="connsiteY3288" fmla="*/ 856332 h 926154"/>
                    <a:gd name="connsiteX3289" fmla="*/ 1005909 w 1197657"/>
                    <a:gd name="connsiteY3289" fmla="*/ 840801 h 926154"/>
                    <a:gd name="connsiteX3290" fmla="*/ 1006115 w 1197657"/>
                    <a:gd name="connsiteY3290" fmla="*/ 840474 h 926154"/>
                    <a:gd name="connsiteX3291" fmla="*/ 1006273 w 1197657"/>
                    <a:gd name="connsiteY3291" fmla="*/ 840121 h 926154"/>
                    <a:gd name="connsiteX3292" fmla="*/ 1008447 w 1197657"/>
                    <a:gd name="connsiteY3292" fmla="*/ 835301 h 926154"/>
                    <a:gd name="connsiteX3293" fmla="*/ 1008641 w 1197657"/>
                    <a:gd name="connsiteY3293" fmla="*/ 834863 h 926154"/>
                    <a:gd name="connsiteX3294" fmla="*/ 1008775 w 1197657"/>
                    <a:gd name="connsiteY3294" fmla="*/ 834390 h 926154"/>
                    <a:gd name="connsiteX3295" fmla="*/ 1009710 w 1197657"/>
                    <a:gd name="connsiteY3295" fmla="*/ 830917 h 926154"/>
                    <a:gd name="connsiteX3296" fmla="*/ 1010086 w 1197657"/>
                    <a:gd name="connsiteY3296" fmla="*/ 829508 h 926154"/>
                    <a:gd name="connsiteX3297" fmla="*/ 1009782 w 1197657"/>
                    <a:gd name="connsiteY3297" fmla="*/ 828076 h 926154"/>
                    <a:gd name="connsiteX3298" fmla="*/ 1008289 w 1197657"/>
                    <a:gd name="connsiteY3298" fmla="*/ 821069 h 926154"/>
                    <a:gd name="connsiteX3299" fmla="*/ 1008204 w 1197657"/>
                    <a:gd name="connsiteY3299" fmla="*/ 820693 h 926154"/>
                    <a:gd name="connsiteX3300" fmla="*/ 1008070 w 1197657"/>
                    <a:gd name="connsiteY3300" fmla="*/ 820329 h 926154"/>
                    <a:gd name="connsiteX3301" fmla="*/ 1007657 w 1197657"/>
                    <a:gd name="connsiteY3301" fmla="*/ 819163 h 926154"/>
                    <a:gd name="connsiteX3302" fmla="*/ 1007548 w 1197657"/>
                    <a:gd name="connsiteY3302" fmla="*/ 818871 h 926154"/>
                    <a:gd name="connsiteX3303" fmla="*/ 1007415 w 1197657"/>
                    <a:gd name="connsiteY3303" fmla="*/ 818592 h 926154"/>
                    <a:gd name="connsiteX3304" fmla="*/ 1007014 w 1197657"/>
                    <a:gd name="connsiteY3304" fmla="*/ 817742 h 926154"/>
                    <a:gd name="connsiteX3305" fmla="*/ 1006601 w 1197657"/>
                    <a:gd name="connsiteY3305" fmla="*/ 816868 h 926154"/>
                    <a:gd name="connsiteX3306" fmla="*/ 1005921 w 1197657"/>
                    <a:gd name="connsiteY3306" fmla="*/ 816151 h 926154"/>
                    <a:gd name="connsiteX3307" fmla="*/ 1005460 w 1197657"/>
                    <a:gd name="connsiteY3307" fmla="*/ 815666 h 926154"/>
                    <a:gd name="connsiteX3308" fmla="*/ 1004221 w 1197657"/>
                    <a:gd name="connsiteY3308" fmla="*/ 814366 h 926154"/>
                    <a:gd name="connsiteX3309" fmla="*/ 1002460 w 1197657"/>
                    <a:gd name="connsiteY3309" fmla="*/ 813953 h 926154"/>
                    <a:gd name="connsiteX3310" fmla="*/ 1001610 w 1197657"/>
                    <a:gd name="connsiteY3310" fmla="*/ 813747 h 926154"/>
                    <a:gd name="connsiteX3311" fmla="*/ 1001258 w 1197657"/>
                    <a:gd name="connsiteY3311" fmla="*/ 813662 h 926154"/>
                    <a:gd name="connsiteX3312" fmla="*/ 1000894 w 1197657"/>
                    <a:gd name="connsiteY3312" fmla="*/ 813613 h 926154"/>
                    <a:gd name="connsiteX3313" fmla="*/ 1000760 w 1197657"/>
                    <a:gd name="connsiteY3313" fmla="*/ 813601 h 926154"/>
                    <a:gd name="connsiteX3314" fmla="*/ 1000469 w 1197657"/>
                    <a:gd name="connsiteY3314" fmla="*/ 811537 h 926154"/>
                    <a:gd name="connsiteX3315" fmla="*/ 1000396 w 1197657"/>
                    <a:gd name="connsiteY3315" fmla="*/ 811027 h 926154"/>
                    <a:gd name="connsiteX3316" fmla="*/ 1000238 w 1197657"/>
                    <a:gd name="connsiteY3316" fmla="*/ 810541 h 926154"/>
                    <a:gd name="connsiteX3317" fmla="*/ 999886 w 1197657"/>
                    <a:gd name="connsiteY3317" fmla="*/ 809448 h 926154"/>
                    <a:gd name="connsiteX3318" fmla="*/ 999437 w 1197657"/>
                    <a:gd name="connsiteY3318" fmla="*/ 808028 h 926154"/>
                    <a:gd name="connsiteX3319" fmla="*/ 998575 w 1197657"/>
                    <a:gd name="connsiteY3319" fmla="*/ 807178 h 926154"/>
                    <a:gd name="connsiteX3320" fmla="*/ 1000602 w 1197657"/>
                    <a:gd name="connsiteY3320" fmla="*/ 805077 h 926154"/>
                    <a:gd name="connsiteX3321" fmla="*/ 1001440 w 1197657"/>
                    <a:gd name="connsiteY3321" fmla="*/ 804215 h 926154"/>
                    <a:gd name="connsiteX3322" fmla="*/ 1001452 w 1197657"/>
                    <a:gd name="connsiteY3322" fmla="*/ 804251 h 926154"/>
                    <a:gd name="connsiteX3323" fmla="*/ 1001926 w 1197657"/>
                    <a:gd name="connsiteY3323" fmla="*/ 805332 h 926154"/>
                    <a:gd name="connsiteX3324" fmla="*/ 1002752 w 1197657"/>
                    <a:gd name="connsiteY3324" fmla="*/ 806146 h 926154"/>
                    <a:gd name="connsiteX3325" fmla="*/ 1003735 w 1197657"/>
                    <a:gd name="connsiteY3325" fmla="*/ 807117 h 926154"/>
                    <a:gd name="connsiteX3326" fmla="*/ 1004330 w 1197657"/>
                    <a:gd name="connsiteY3326" fmla="*/ 807712 h 926154"/>
                    <a:gd name="connsiteX3327" fmla="*/ 1005071 w 1197657"/>
                    <a:gd name="connsiteY3327" fmla="*/ 808113 h 926154"/>
                    <a:gd name="connsiteX3328" fmla="*/ 1006212 w 1197657"/>
                    <a:gd name="connsiteY3328" fmla="*/ 808744 h 926154"/>
                    <a:gd name="connsiteX3329" fmla="*/ 1006589 w 1197657"/>
                    <a:gd name="connsiteY3329" fmla="*/ 808963 h 926154"/>
                    <a:gd name="connsiteX3330" fmla="*/ 1006990 w 1197657"/>
                    <a:gd name="connsiteY3330" fmla="*/ 809108 h 926154"/>
                    <a:gd name="connsiteX3331" fmla="*/ 1008325 w 1197657"/>
                    <a:gd name="connsiteY3331" fmla="*/ 809618 h 926154"/>
                    <a:gd name="connsiteX3332" fmla="*/ 1008653 w 1197657"/>
                    <a:gd name="connsiteY3332" fmla="*/ 809801 h 926154"/>
                    <a:gd name="connsiteX3333" fmla="*/ 1015307 w 1197657"/>
                    <a:gd name="connsiteY3333" fmla="*/ 814609 h 926154"/>
                    <a:gd name="connsiteX3334" fmla="*/ 1015769 w 1197657"/>
                    <a:gd name="connsiteY3334" fmla="*/ 814937 h 926154"/>
                    <a:gd name="connsiteX3335" fmla="*/ 1016279 w 1197657"/>
                    <a:gd name="connsiteY3335" fmla="*/ 815180 h 926154"/>
                    <a:gd name="connsiteX3336" fmla="*/ 1021755 w 1197657"/>
                    <a:gd name="connsiteY3336" fmla="*/ 817754 h 926154"/>
                    <a:gd name="connsiteX3337" fmla="*/ 1024172 w 1197657"/>
                    <a:gd name="connsiteY3337" fmla="*/ 819211 h 926154"/>
                    <a:gd name="connsiteX3338" fmla="*/ 1025690 w 1197657"/>
                    <a:gd name="connsiteY3338" fmla="*/ 820474 h 926154"/>
                    <a:gd name="connsiteX3339" fmla="*/ 1029648 w 1197657"/>
                    <a:gd name="connsiteY3339" fmla="*/ 826303 h 926154"/>
                    <a:gd name="connsiteX3340" fmla="*/ 1029891 w 1197657"/>
                    <a:gd name="connsiteY3340" fmla="*/ 826655 h 926154"/>
                    <a:gd name="connsiteX3341" fmla="*/ 1030183 w 1197657"/>
                    <a:gd name="connsiteY3341" fmla="*/ 826971 h 926154"/>
                    <a:gd name="connsiteX3342" fmla="*/ 1031494 w 1197657"/>
                    <a:gd name="connsiteY3342" fmla="*/ 828403 h 926154"/>
                    <a:gd name="connsiteX3343" fmla="*/ 1032368 w 1197657"/>
                    <a:gd name="connsiteY3343" fmla="*/ 829363 h 926154"/>
                    <a:gd name="connsiteX3344" fmla="*/ 1033546 w 1197657"/>
                    <a:gd name="connsiteY3344" fmla="*/ 829873 h 926154"/>
                    <a:gd name="connsiteX3345" fmla="*/ 1035040 w 1197657"/>
                    <a:gd name="connsiteY3345" fmla="*/ 830529 h 926154"/>
                    <a:gd name="connsiteX3346" fmla="*/ 1035768 w 1197657"/>
                    <a:gd name="connsiteY3346" fmla="*/ 830844 h 926154"/>
                    <a:gd name="connsiteX3347" fmla="*/ 1036546 w 1197657"/>
                    <a:gd name="connsiteY3347" fmla="*/ 830965 h 926154"/>
                    <a:gd name="connsiteX3348" fmla="*/ 1038331 w 1197657"/>
                    <a:gd name="connsiteY3348" fmla="*/ 831233 h 926154"/>
                    <a:gd name="connsiteX3349" fmla="*/ 1038986 w 1197657"/>
                    <a:gd name="connsiteY3349" fmla="*/ 831342 h 926154"/>
                    <a:gd name="connsiteX3350" fmla="*/ 1039654 w 1197657"/>
                    <a:gd name="connsiteY3350" fmla="*/ 831293 h 926154"/>
                    <a:gd name="connsiteX3351" fmla="*/ 1049478 w 1197657"/>
                    <a:gd name="connsiteY3351" fmla="*/ 830650 h 926154"/>
                    <a:gd name="connsiteX3352" fmla="*/ 1050255 w 1197657"/>
                    <a:gd name="connsiteY3352" fmla="*/ 830601 h 926154"/>
                    <a:gd name="connsiteX3353" fmla="*/ 1051008 w 1197657"/>
                    <a:gd name="connsiteY3353" fmla="*/ 830346 h 926154"/>
                    <a:gd name="connsiteX3354" fmla="*/ 1053412 w 1197657"/>
                    <a:gd name="connsiteY3354" fmla="*/ 829545 h 926154"/>
                    <a:gd name="connsiteX3355" fmla="*/ 1054092 w 1197657"/>
                    <a:gd name="connsiteY3355" fmla="*/ 829314 h 926154"/>
                    <a:gd name="connsiteX3356" fmla="*/ 1054699 w 1197657"/>
                    <a:gd name="connsiteY3356" fmla="*/ 828938 h 926154"/>
                    <a:gd name="connsiteX3357" fmla="*/ 1058974 w 1197657"/>
                    <a:gd name="connsiteY3357" fmla="*/ 826266 h 926154"/>
                    <a:gd name="connsiteX3358" fmla="*/ 1063442 w 1197657"/>
                    <a:gd name="connsiteY3358" fmla="*/ 824068 h 926154"/>
                    <a:gd name="connsiteX3359" fmla="*/ 1066223 w 1197657"/>
                    <a:gd name="connsiteY3359" fmla="*/ 823073 h 926154"/>
                    <a:gd name="connsiteX3360" fmla="*/ 1066757 w 1197657"/>
                    <a:gd name="connsiteY3360" fmla="*/ 822878 h 926154"/>
                    <a:gd name="connsiteX3361" fmla="*/ 1067243 w 1197657"/>
                    <a:gd name="connsiteY3361" fmla="*/ 822599 h 926154"/>
                    <a:gd name="connsiteX3362" fmla="*/ 1069489 w 1197657"/>
                    <a:gd name="connsiteY3362" fmla="*/ 821288 h 926154"/>
                    <a:gd name="connsiteX3363" fmla="*/ 1070424 w 1197657"/>
                    <a:gd name="connsiteY3363" fmla="*/ 820741 h 926154"/>
                    <a:gd name="connsiteX3364" fmla="*/ 1071104 w 1197657"/>
                    <a:gd name="connsiteY3364" fmla="*/ 819903 h 926154"/>
                    <a:gd name="connsiteX3365" fmla="*/ 1072598 w 1197657"/>
                    <a:gd name="connsiteY3365" fmla="*/ 818094 h 926154"/>
                    <a:gd name="connsiteX3366" fmla="*/ 1073023 w 1197657"/>
                    <a:gd name="connsiteY3366" fmla="*/ 817584 h 926154"/>
                    <a:gd name="connsiteX3367" fmla="*/ 1073326 w 1197657"/>
                    <a:gd name="connsiteY3367" fmla="*/ 816989 h 926154"/>
                    <a:gd name="connsiteX3368" fmla="*/ 1074419 w 1197657"/>
                    <a:gd name="connsiteY3368" fmla="*/ 814840 h 926154"/>
                    <a:gd name="connsiteX3369" fmla="*/ 1074650 w 1197657"/>
                    <a:gd name="connsiteY3369" fmla="*/ 814390 h 926154"/>
                    <a:gd name="connsiteX3370" fmla="*/ 1074808 w 1197657"/>
                    <a:gd name="connsiteY3370" fmla="*/ 813905 h 926154"/>
                    <a:gd name="connsiteX3371" fmla="*/ 1075585 w 1197657"/>
                    <a:gd name="connsiteY3371" fmla="*/ 811379 h 926154"/>
                    <a:gd name="connsiteX3372" fmla="*/ 1075755 w 1197657"/>
                    <a:gd name="connsiteY3372" fmla="*/ 810857 h 926154"/>
                    <a:gd name="connsiteX3373" fmla="*/ 1075816 w 1197657"/>
                    <a:gd name="connsiteY3373" fmla="*/ 810323 h 926154"/>
                    <a:gd name="connsiteX3374" fmla="*/ 1076119 w 1197657"/>
                    <a:gd name="connsiteY3374" fmla="*/ 807930 h 926154"/>
                    <a:gd name="connsiteX3375" fmla="*/ 1076204 w 1197657"/>
                    <a:gd name="connsiteY3375" fmla="*/ 807202 h 926154"/>
                    <a:gd name="connsiteX3376" fmla="*/ 1076119 w 1197657"/>
                    <a:gd name="connsiteY3376" fmla="*/ 806461 h 926154"/>
                    <a:gd name="connsiteX3377" fmla="*/ 1075913 w 1197657"/>
                    <a:gd name="connsiteY3377" fmla="*/ 804713 h 926154"/>
                    <a:gd name="connsiteX3378" fmla="*/ 1079325 w 1197657"/>
                    <a:gd name="connsiteY3378" fmla="*/ 801203 h 926154"/>
                    <a:gd name="connsiteX3379" fmla="*/ 1088177 w 1197657"/>
                    <a:gd name="connsiteY3379" fmla="*/ 794561 h 926154"/>
                    <a:gd name="connsiteX3380" fmla="*/ 1088627 w 1197657"/>
                    <a:gd name="connsiteY3380" fmla="*/ 794221 h 926154"/>
                    <a:gd name="connsiteX3381" fmla="*/ 1089015 w 1197657"/>
                    <a:gd name="connsiteY3381" fmla="*/ 793808 h 926154"/>
                    <a:gd name="connsiteX3382" fmla="*/ 1090849 w 1197657"/>
                    <a:gd name="connsiteY3382" fmla="*/ 791805 h 926154"/>
                    <a:gd name="connsiteX3383" fmla="*/ 1091419 w 1197657"/>
                    <a:gd name="connsiteY3383" fmla="*/ 791173 h 926154"/>
                    <a:gd name="connsiteX3384" fmla="*/ 1091796 w 1197657"/>
                    <a:gd name="connsiteY3384" fmla="*/ 790420 h 926154"/>
                    <a:gd name="connsiteX3385" fmla="*/ 1092950 w 1197657"/>
                    <a:gd name="connsiteY3385" fmla="*/ 788125 h 926154"/>
                    <a:gd name="connsiteX3386" fmla="*/ 1093192 w 1197657"/>
                    <a:gd name="connsiteY3386" fmla="*/ 787640 h 926154"/>
                    <a:gd name="connsiteX3387" fmla="*/ 1093338 w 1197657"/>
                    <a:gd name="connsiteY3387" fmla="*/ 787117 h 926154"/>
                    <a:gd name="connsiteX3388" fmla="*/ 1094091 w 1197657"/>
                    <a:gd name="connsiteY3388" fmla="*/ 784555 h 926154"/>
                    <a:gd name="connsiteX3389" fmla="*/ 1094212 w 1197657"/>
                    <a:gd name="connsiteY3389" fmla="*/ 784142 h 926154"/>
                    <a:gd name="connsiteX3390" fmla="*/ 1094273 w 1197657"/>
                    <a:gd name="connsiteY3390" fmla="*/ 783705 h 926154"/>
                    <a:gd name="connsiteX3391" fmla="*/ 1094674 w 1197657"/>
                    <a:gd name="connsiteY3391" fmla="*/ 780876 h 926154"/>
                    <a:gd name="connsiteX3392" fmla="*/ 1094722 w 1197657"/>
                    <a:gd name="connsiteY3392" fmla="*/ 780512 h 926154"/>
                    <a:gd name="connsiteX3393" fmla="*/ 1094722 w 1197657"/>
                    <a:gd name="connsiteY3393" fmla="*/ 780147 h 926154"/>
                    <a:gd name="connsiteX3394" fmla="*/ 1094783 w 1197657"/>
                    <a:gd name="connsiteY3394" fmla="*/ 777014 h 926154"/>
                    <a:gd name="connsiteX3395" fmla="*/ 1094783 w 1197657"/>
                    <a:gd name="connsiteY3395" fmla="*/ 776638 h 926154"/>
                    <a:gd name="connsiteX3396" fmla="*/ 1094747 w 1197657"/>
                    <a:gd name="connsiteY3396" fmla="*/ 776262 h 926154"/>
                    <a:gd name="connsiteX3397" fmla="*/ 1093132 w 1197657"/>
                    <a:gd name="connsiteY3397" fmla="*/ 761071 h 926154"/>
                    <a:gd name="connsiteX3398" fmla="*/ 1093059 w 1197657"/>
                    <a:gd name="connsiteY3398" fmla="*/ 760403 h 926154"/>
                    <a:gd name="connsiteX3399" fmla="*/ 1092840 w 1197657"/>
                    <a:gd name="connsiteY3399" fmla="*/ 759759 h 926154"/>
                    <a:gd name="connsiteX3400" fmla="*/ 1091286 w 1197657"/>
                    <a:gd name="connsiteY3400" fmla="*/ 755145 h 926154"/>
                    <a:gd name="connsiteX3401" fmla="*/ 1091152 w 1197657"/>
                    <a:gd name="connsiteY3401" fmla="*/ 754744 h 926154"/>
                    <a:gd name="connsiteX3402" fmla="*/ 1090958 w 1197657"/>
                    <a:gd name="connsiteY3402" fmla="*/ 754368 h 926154"/>
                    <a:gd name="connsiteX3403" fmla="*/ 1089379 w 1197657"/>
                    <a:gd name="connsiteY3403" fmla="*/ 751223 h 926154"/>
                    <a:gd name="connsiteX3404" fmla="*/ 1087752 w 1197657"/>
                    <a:gd name="connsiteY3404" fmla="*/ 744775 h 926154"/>
                    <a:gd name="connsiteX3405" fmla="*/ 1087570 w 1197657"/>
                    <a:gd name="connsiteY3405" fmla="*/ 744071 h 926154"/>
                    <a:gd name="connsiteX3406" fmla="*/ 1087230 w 1197657"/>
                    <a:gd name="connsiteY3406" fmla="*/ 743415 h 926154"/>
                    <a:gd name="connsiteX3407" fmla="*/ 1085979 w 1197657"/>
                    <a:gd name="connsiteY3407" fmla="*/ 741059 h 926154"/>
                    <a:gd name="connsiteX3408" fmla="*/ 1085469 w 1197657"/>
                    <a:gd name="connsiteY3408" fmla="*/ 740100 h 926154"/>
                    <a:gd name="connsiteX3409" fmla="*/ 1084656 w 1197657"/>
                    <a:gd name="connsiteY3409" fmla="*/ 739371 h 926154"/>
                    <a:gd name="connsiteX3410" fmla="*/ 1082980 w 1197657"/>
                    <a:gd name="connsiteY3410" fmla="*/ 737878 h 926154"/>
                    <a:gd name="connsiteX3411" fmla="*/ 1082725 w 1197657"/>
                    <a:gd name="connsiteY3411" fmla="*/ 737635 h 926154"/>
                    <a:gd name="connsiteX3412" fmla="*/ 1082434 w 1197657"/>
                    <a:gd name="connsiteY3412" fmla="*/ 737428 h 926154"/>
                    <a:gd name="connsiteX3413" fmla="*/ 1080552 w 1197657"/>
                    <a:gd name="connsiteY3413" fmla="*/ 736117 h 926154"/>
                    <a:gd name="connsiteX3414" fmla="*/ 1078414 w 1197657"/>
                    <a:gd name="connsiteY3414" fmla="*/ 734089 h 926154"/>
                    <a:gd name="connsiteX3415" fmla="*/ 1075415 w 1197657"/>
                    <a:gd name="connsiteY3415" fmla="*/ 730434 h 926154"/>
                    <a:gd name="connsiteX3416" fmla="*/ 1072622 w 1197657"/>
                    <a:gd name="connsiteY3416" fmla="*/ 726123 h 926154"/>
                    <a:gd name="connsiteX3417" fmla="*/ 1072428 w 1197657"/>
                    <a:gd name="connsiteY3417" fmla="*/ 725844 h 926154"/>
                    <a:gd name="connsiteX3418" fmla="*/ 1072209 w 1197657"/>
                    <a:gd name="connsiteY3418" fmla="*/ 725577 h 926154"/>
                    <a:gd name="connsiteX3419" fmla="*/ 1070594 w 1197657"/>
                    <a:gd name="connsiteY3419" fmla="*/ 723622 h 926154"/>
                    <a:gd name="connsiteX3420" fmla="*/ 1069307 w 1197657"/>
                    <a:gd name="connsiteY3420" fmla="*/ 722056 h 926154"/>
                    <a:gd name="connsiteX3421" fmla="*/ 1067328 w 1197657"/>
                    <a:gd name="connsiteY3421" fmla="*/ 721582 h 926154"/>
                    <a:gd name="connsiteX3422" fmla="*/ 1064754 w 1197657"/>
                    <a:gd name="connsiteY3422" fmla="*/ 720963 h 926154"/>
                    <a:gd name="connsiteX3423" fmla="*/ 1060710 w 1197657"/>
                    <a:gd name="connsiteY3423" fmla="*/ 719530 h 926154"/>
                    <a:gd name="connsiteX3424" fmla="*/ 1060018 w 1197657"/>
                    <a:gd name="connsiteY3424" fmla="*/ 718631 h 926154"/>
                    <a:gd name="connsiteX3425" fmla="*/ 1059423 w 1197657"/>
                    <a:gd name="connsiteY3425" fmla="*/ 717356 h 926154"/>
                    <a:gd name="connsiteX3426" fmla="*/ 1059156 w 1197657"/>
                    <a:gd name="connsiteY3426" fmla="*/ 716773 h 926154"/>
                    <a:gd name="connsiteX3427" fmla="*/ 1058779 w 1197657"/>
                    <a:gd name="connsiteY3427" fmla="*/ 716276 h 926154"/>
                    <a:gd name="connsiteX3428" fmla="*/ 1056594 w 1197657"/>
                    <a:gd name="connsiteY3428" fmla="*/ 713373 h 926154"/>
                    <a:gd name="connsiteX3429" fmla="*/ 1056084 w 1197657"/>
                    <a:gd name="connsiteY3429" fmla="*/ 712693 h 926154"/>
                    <a:gd name="connsiteX3430" fmla="*/ 1055416 w 1197657"/>
                    <a:gd name="connsiteY3430" fmla="*/ 712183 h 926154"/>
                    <a:gd name="connsiteX3431" fmla="*/ 1053691 w 1197657"/>
                    <a:gd name="connsiteY3431" fmla="*/ 710872 h 926154"/>
                    <a:gd name="connsiteX3432" fmla="*/ 1053254 w 1197657"/>
                    <a:gd name="connsiteY3432" fmla="*/ 710544 h 926154"/>
                    <a:gd name="connsiteX3433" fmla="*/ 1055598 w 1197657"/>
                    <a:gd name="connsiteY3433" fmla="*/ 708334 h 926154"/>
                    <a:gd name="connsiteX3434" fmla="*/ 1056569 w 1197657"/>
                    <a:gd name="connsiteY3434" fmla="*/ 707678 h 926154"/>
                    <a:gd name="connsiteX3435" fmla="*/ 1057723 w 1197657"/>
                    <a:gd name="connsiteY3435" fmla="*/ 707071 h 926154"/>
                    <a:gd name="connsiteX3436" fmla="*/ 1059022 w 1197657"/>
                    <a:gd name="connsiteY3436" fmla="*/ 706610 h 926154"/>
                    <a:gd name="connsiteX3437" fmla="*/ 1060649 w 1197657"/>
                    <a:gd name="connsiteY3437" fmla="*/ 706294 h 926154"/>
                    <a:gd name="connsiteX3438" fmla="*/ 1061742 w 1197657"/>
                    <a:gd name="connsiteY3438" fmla="*/ 706076 h 926154"/>
                    <a:gd name="connsiteX3439" fmla="*/ 1062689 w 1197657"/>
                    <a:gd name="connsiteY3439" fmla="*/ 705493 h 926154"/>
                    <a:gd name="connsiteX3440" fmla="*/ 1064802 w 1197657"/>
                    <a:gd name="connsiteY3440" fmla="*/ 704181 h 926154"/>
                    <a:gd name="connsiteX3441" fmla="*/ 1065713 w 1197657"/>
                    <a:gd name="connsiteY3441" fmla="*/ 703611 h 926154"/>
                    <a:gd name="connsiteX3442" fmla="*/ 1066381 w 1197657"/>
                    <a:gd name="connsiteY3442" fmla="*/ 702761 h 926154"/>
                    <a:gd name="connsiteX3443" fmla="*/ 1068336 w 1197657"/>
                    <a:gd name="connsiteY3443" fmla="*/ 700259 h 926154"/>
                    <a:gd name="connsiteX3444" fmla="*/ 1069028 w 1197657"/>
                    <a:gd name="connsiteY3444" fmla="*/ 699373 h 926154"/>
                    <a:gd name="connsiteX3445" fmla="*/ 1069356 w 1197657"/>
                    <a:gd name="connsiteY3445" fmla="*/ 698292 h 926154"/>
                    <a:gd name="connsiteX3446" fmla="*/ 1071299 w 1197657"/>
                    <a:gd name="connsiteY3446" fmla="*/ 691917 h 926154"/>
                    <a:gd name="connsiteX3447" fmla="*/ 1072003 w 1197657"/>
                    <a:gd name="connsiteY3447" fmla="*/ 692148 h 926154"/>
                    <a:gd name="connsiteX3448" fmla="*/ 1073788 w 1197657"/>
                    <a:gd name="connsiteY3448" fmla="*/ 692694 h 926154"/>
                    <a:gd name="connsiteX3449" fmla="*/ 1075184 w 1197657"/>
                    <a:gd name="connsiteY3449" fmla="*/ 693119 h 926154"/>
                    <a:gd name="connsiteX3450" fmla="*/ 1076617 w 1197657"/>
                    <a:gd name="connsiteY3450" fmla="*/ 692864 h 926154"/>
                    <a:gd name="connsiteX3451" fmla="*/ 1078900 w 1197657"/>
                    <a:gd name="connsiteY3451" fmla="*/ 692463 h 926154"/>
                    <a:gd name="connsiteX3452" fmla="*/ 1079410 w 1197657"/>
                    <a:gd name="connsiteY3452" fmla="*/ 692378 h 926154"/>
                    <a:gd name="connsiteX3453" fmla="*/ 1079896 w 1197657"/>
                    <a:gd name="connsiteY3453" fmla="*/ 692196 h 926154"/>
                    <a:gd name="connsiteX3454" fmla="*/ 1090399 w 1197657"/>
                    <a:gd name="connsiteY3454" fmla="*/ 688432 h 926154"/>
                    <a:gd name="connsiteX3455" fmla="*/ 1090812 w 1197657"/>
                    <a:gd name="connsiteY3455" fmla="*/ 688286 h 926154"/>
                    <a:gd name="connsiteX3456" fmla="*/ 1091201 w 1197657"/>
                    <a:gd name="connsiteY3456" fmla="*/ 688068 h 926154"/>
                    <a:gd name="connsiteX3457" fmla="*/ 1092877 w 1197657"/>
                    <a:gd name="connsiteY3457" fmla="*/ 687181 h 926154"/>
                    <a:gd name="connsiteX3458" fmla="*/ 1094334 w 1197657"/>
                    <a:gd name="connsiteY3458" fmla="*/ 686416 h 926154"/>
                    <a:gd name="connsiteX3459" fmla="*/ 1095196 w 1197657"/>
                    <a:gd name="connsiteY3459" fmla="*/ 685032 h 926154"/>
                    <a:gd name="connsiteX3460" fmla="*/ 1097260 w 1197657"/>
                    <a:gd name="connsiteY3460" fmla="*/ 681705 h 926154"/>
                    <a:gd name="connsiteX3461" fmla="*/ 1097758 w 1197657"/>
                    <a:gd name="connsiteY3461" fmla="*/ 680891 h 926154"/>
                    <a:gd name="connsiteX3462" fmla="*/ 1097989 w 1197657"/>
                    <a:gd name="connsiteY3462" fmla="*/ 679968 h 926154"/>
                    <a:gd name="connsiteX3463" fmla="*/ 1100915 w 1197657"/>
                    <a:gd name="connsiteY3463" fmla="*/ 668178 h 926154"/>
                    <a:gd name="connsiteX3464" fmla="*/ 1102542 w 1197657"/>
                    <a:gd name="connsiteY3464" fmla="*/ 665591 h 926154"/>
                    <a:gd name="connsiteX3465" fmla="*/ 1104206 w 1197657"/>
                    <a:gd name="connsiteY3465" fmla="*/ 664073 h 926154"/>
                    <a:gd name="connsiteX3466" fmla="*/ 1106877 w 1197657"/>
                    <a:gd name="connsiteY3466" fmla="*/ 662580 h 926154"/>
                    <a:gd name="connsiteX3467" fmla="*/ 1107266 w 1197657"/>
                    <a:gd name="connsiteY3467" fmla="*/ 662349 h 926154"/>
                    <a:gd name="connsiteX3468" fmla="*/ 1107618 w 1197657"/>
                    <a:gd name="connsiteY3468" fmla="*/ 662082 h 926154"/>
                    <a:gd name="connsiteX3469" fmla="*/ 1110423 w 1197657"/>
                    <a:gd name="connsiteY3469" fmla="*/ 659908 h 926154"/>
                    <a:gd name="connsiteX3470" fmla="*/ 1110848 w 1197657"/>
                    <a:gd name="connsiteY3470" fmla="*/ 659580 h 926154"/>
                    <a:gd name="connsiteX3471" fmla="*/ 1111200 w 1197657"/>
                    <a:gd name="connsiteY3471" fmla="*/ 659179 h 926154"/>
                    <a:gd name="connsiteX3472" fmla="*/ 1115390 w 1197657"/>
                    <a:gd name="connsiteY3472" fmla="*/ 654565 h 926154"/>
                    <a:gd name="connsiteX3473" fmla="*/ 1115875 w 1197657"/>
                    <a:gd name="connsiteY3473" fmla="*/ 654140 h 926154"/>
                    <a:gd name="connsiteX3474" fmla="*/ 1119421 w 1197657"/>
                    <a:gd name="connsiteY3474" fmla="*/ 655670 h 926154"/>
                    <a:gd name="connsiteX3475" fmla="*/ 1120016 w 1197657"/>
                    <a:gd name="connsiteY3475" fmla="*/ 655925 h 926154"/>
                    <a:gd name="connsiteX3476" fmla="*/ 1120648 w 1197657"/>
                    <a:gd name="connsiteY3476" fmla="*/ 656059 h 926154"/>
                    <a:gd name="connsiteX3477" fmla="*/ 1122663 w 1197657"/>
                    <a:gd name="connsiteY3477" fmla="*/ 656447 h 926154"/>
                    <a:gd name="connsiteX3478" fmla="*/ 1123453 w 1197657"/>
                    <a:gd name="connsiteY3478" fmla="*/ 656605 h 926154"/>
                    <a:gd name="connsiteX3479" fmla="*/ 1124254 w 1197657"/>
                    <a:gd name="connsiteY3479" fmla="*/ 656544 h 926154"/>
                    <a:gd name="connsiteX3480" fmla="*/ 1126209 w 1197657"/>
                    <a:gd name="connsiteY3480" fmla="*/ 656399 h 926154"/>
                    <a:gd name="connsiteX3481" fmla="*/ 1126804 w 1197657"/>
                    <a:gd name="connsiteY3481" fmla="*/ 656350 h 926154"/>
                    <a:gd name="connsiteX3482" fmla="*/ 1127375 w 1197657"/>
                    <a:gd name="connsiteY3482" fmla="*/ 656192 h 926154"/>
                    <a:gd name="connsiteX3483" fmla="*/ 1152122 w 1197657"/>
                    <a:gd name="connsiteY3483" fmla="*/ 649429 h 926154"/>
                    <a:gd name="connsiteX3484" fmla="*/ 1152559 w 1197657"/>
                    <a:gd name="connsiteY3484" fmla="*/ 649307 h 926154"/>
                    <a:gd name="connsiteX3485" fmla="*/ 1152972 w 1197657"/>
                    <a:gd name="connsiteY3485" fmla="*/ 649125 h 926154"/>
                    <a:gd name="connsiteX3486" fmla="*/ 1157562 w 1197657"/>
                    <a:gd name="connsiteY3486" fmla="*/ 647109 h 926154"/>
                    <a:gd name="connsiteX3487" fmla="*/ 1157939 w 1197657"/>
                    <a:gd name="connsiteY3487" fmla="*/ 646939 h 926154"/>
                    <a:gd name="connsiteX3488" fmla="*/ 1158291 w 1197657"/>
                    <a:gd name="connsiteY3488" fmla="*/ 646721 h 926154"/>
                    <a:gd name="connsiteX3489" fmla="*/ 1161217 w 1197657"/>
                    <a:gd name="connsiteY3489" fmla="*/ 644936 h 926154"/>
                    <a:gd name="connsiteX3490" fmla="*/ 1161581 w 1197657"/>
                    <a:gd name="connsiteY3490" fmla="*/ 644705 h 926154"/>
                    <a:gd name="connsiteX3491" fmla="*/ 1161909 w 1197657"/>
                    <a:gd name="connsiteY3491" fmla="*/ 644438 h 926154"/>
                    <a:gd name="connsiteX3492" fmla="*/ 1163925 w 1197657"/>
                    <a:gd name="connsiteY3492" fmla="*/ 642774 h 926154"/>
                    <a:gd name="connsiteX3493" fmla="*/ 1164362 w 1197657"/>
                    <a:gd name="connsiteY3493" fmla="*/ 642422 h 926154"/>
                    <a:gd name="connsiteX3494" fmla="*/ 1164726 w 1197657"/>
                    <a:gd name="connsiteY3494" fmla="*/ 641985 h 926154"/>
                    <a:gd name="connsiteX3495" fmla="*/ 1165759 w 1197657"/>
                    <a:gd name="connsiteY3495" fmla="*/ 640747 h 926154"/>
                    <a:gd name="connsiteX3496" fmla="*/ 1166414 w 1197657"/>
                    <a:gd name="connsiteY3496" fmla="*/ 639981 h 926154"/>
                    <a:gd name="connsiteX3497" fmla="*/ 1166779 w 1197657"/>
                    <a:gd name="connsiteY3497" fmla="*/ 639034 h 926154"/>
                    <a:gd name="connsiteX3498" fmla="*/ 1167361 w 1197657"/>
                    <a:gd name="connsiteY3498" fmla="*/ 637516 h 926154"/>
                    <a:gd name="connsiteX3499" fmla="*/ 1167665 w 1197657"/>
                    <a:gd name="connsiteY3499" fmla="*/ 636739 h 926154"/>
                    <a:gd name="connsiteX3500" fmla="*/ 1167738 w 1197657"/>
                    <a:gd name="connsiteY3500" fmla="*/ 635901 h 926154"/>
                    <a:gd name="connsiteX3501" fmla="*/ 1167896 w 1197657"/>
                    <a:gd name="connsiteY3501" fmla="*/ 634116 h 926154"/>
                    <a:gd name="connsiteX3502" fmla="*/ 1167956 w 1197657"/>
                    <a:gd name="connsiteY3502" fmla="*/ 633436 h 926154"/>
                    <a:gd name="connsiteX3503" fmla="*/ 1167871 w 1197657"/>
                    <a:gd name="connsiteY3503" fmla="*/ 632756 h 926154"/>
                    <a:gd name="connsiteX3504" fmla="*/ 1167653 w 1197657"/>
                    <a:gd name="connsiteY3504" fmla="*/ 631105 h 926154"/>
                    <a:gd name="connsiteX3505" fmla="*/ 1167592 w 1197657"/>
                    <a:gd name="connsiteY3505" fmla="*/ 630607 h 926154"/>
                    <a:gd name="connsiteX3506" fmla="*/ 1167446 w 1197657"/>
                    <a:gd name="connsiteY3506" fmla="*/ 630133 h 926154"/>
                    <a:gd name="connsiteX3507" fmla="*/ 1166985 w 1197657"/>
                    <a:gd name="connsiteY3507" fmla="*/ 628628 h 926154"/>
                    <a:gd name="connsiteX3508" fmla="*/ 1165698 w 1197657"/>
                    <a:gd name="connsiteY3508" fmla="*/ 625446 h 926154"/>
                    <a:gd name="connsiteX3509" fmla="*/ 1165576 w 1197657"/>
                    <a:gd name="connsiteY3509" fmla="*/ 625155 h 926154"/>
                    <a:gd name="connsiteX3510" fmla="*/ 1165419 w 1197657"/>
                    <a:gd name="connsiteY3510" fmla="*/ 624876 h 926154"/>
                    <a:gd name="connsiteX3511" fmla="*/ 1164945 w 1197657"/>
                    <a:gd name="connsiteY3511" fmla="*/ 624038 h 926154"/>
                    <a:gd name="connsiteX3512" fmla="*/ 1164265 w 1197657"/>
                    <a:gd name="connsiteY3512" fmla="*/ 622799 h 926154"/>
                    <a:gd name="connsiteX3513" fmla="*/ 1163111 w 1197657"/>
                    <a:gd name="connsiteY3513" fmla="*/ 621998 h 926154"/>
                    <a:gd name="connsiteX3514" fmla="*/ 1162419 w 1197657"/>
                    <a:gd name="connsiteY3514" fmla="*/ 621512 h 926154"/>
                    <a:gd name="connsiteX3515" fmla="*/ 1161278 w 1197657"/>
                    <a:gd name="connsiteY3515" fmla="*/ 620710 h 926154"/>
                    <a:gd name="connsiteX3516" fmla="*/ 1159906 w 1197657"/>
                    <a:gd name="connsiteY3516" fmla="*/ 620492 h 926154"/>
                    <a:gd name="connsiteX3517" fmla="*/ 1158873 w 1197657"/>
                    <a:gd name="connsiteY3517" fmla="*/ 620322 h 926154"/>
                    <a:gd name="connsiteX3518" fmla="*/ 1157853 w 1197657"/>
                    <a:gd name="connsiteY3518" fmla="*/ 620152 h 926154"/>
                    <a:gd name="connsiteX3519" fmla="*/ 1156846 w 1197657"/>
                    <a:gd name="connsiteY3519" fmla="*/ 620334 h 926154"/>
                    <a:gd name="connsiteX3520" fmla="*/ 1155583 w 1197657"/>
                    <a:gd name="connsiteY3520" fmla="*/ 620565 h 926154"/>
                    <a:gd name="connsiteX3521" fmla="*/ 1154854 w 1197657"/>
                    <a:gd name="connsiteY3521" fmla="*/ 620699 h 926154"/>
                    <a:gd name="connsiteX3522" fmla="*/ 1154174 w 1197657"/>
                    <a:gd name="connsiteY3522" fmla="*/ 620990 h 926154"/>
                    <a:gd name="connsiteX3523" fmla="*/ 1152741 w 1197657"/>
                    <a:gd name="connsiteY3523" fmla="*/ 621634 h 926154"/>
                    <a:gd name="connsiteX3524" fmla="*/ 1152341 w 1197657"/>
                    <a:gd name="connsiteY3524" fmla="*/ 621815 h 926154"/>
                    <a:gd name="connsiteX3525" fmla="*/ 1151976 w 1197657"/>
                    <a:gd name="connsiteY3525" fmla="*/ 622046 h 926154"/>
                    <a:gd name="connsiteX3526" fmla="*/ 1149171 w 1197657"/>
                    <a:gd name="connsiteY3526" fmla="*/ 623819 h 926154"/>
                    <a:gd name="connsiteX3527" fmla="*/ 1148163 w 1197657"/>
                    <a:gd name="connsiteY3527" fmla="*/ 624305 h 926154"/>
                    <a:gd name="connsiteX3528" fmla="*/ 1147010 w 1197657"/>
                    <a:gd name="connsiteY3528" fmla="*/ 624657 h 926154"/>
                    <a:gd name="connsiteX3529" fmla="*/ 1142213 w 1197657"/>
                    <a:gd name="connsiteY3529" fmla="*/ 625580 h 926154"/>
                    <a:gd name="connsiteX3530" fmla="*/ 1141667 w 1197657"/>
                    <a:gd name="connsiteY3530" fmla="*/ 624973 h 926154"/>
                    <a:gd name="connsiteX3531" fmla="*/ 1141388 w 1197657"/>
                    <a:gd name="connsiteY3531" fmla="*/ 624682 h 926154"/>
                    <a:gd name="connsiteX3532" fmla="*/ 1141084 w 1197657"/>
                    <a:gd name="connsiteY3532" fmla="*/ 624426 h 926154"/>
                    <a:gd name="connsiteX3533" fmla="*/ 1139651 w 1197657"/>
                    <a:gd name="connsiteY3533" fmla="*/ 623212 h 926154"/>
                    <a:gd name="connsiteX3534" fmla="*/ 1138983 w 1197657"/>
                    <a:gd name="connsiteY3534" fmla="*/ 622641 h 926154"/>
                    <a:gd name="connsiteX3535" fmla="*/ 1138194 w 1197657"/>
                    <a:gd name="connsiteY3535" fmla="*/ 622301 h 926154"/>
                    <a:gd name="connsiteX3536" fmla="*/ 1137041 w 1197657"/>
                    <a:gd name="connsiteY3536" fmla="*/ 621791 h 926154"/>
                    <a:gd name="connsiteX3537" fmla="*/ 1136506 w 1197657"/>
                    <a:gd name="connsiteY3537" fmla="*/ 621548 h 926154"/>
                    <a:gd name="connsiteX3538" fmla="*/ 1135935 w 1197657"/>
                    <a:gd name="connsiteY3538" fmla="*/ 621415 h 926154"/>
                    <a:gd name="connsiteX3539" fmla="*/ 1134272 w 1197657"/>
                    <a:gd name="connsiteY3539" fmla="*/ 621038 h 926154"/>
                    <a:gd name="connsiteX3540" fmla="*/ 1133264 w 1197657"/>
                    <a:gd name="connsiteY3540" fmla="*/ 620796 h 926154"/>
                    <a:gd name="connsiteX3541" fmla="*/ 1132244 w 1197657"/>
                    <a:gd name="connsiteY3541" fmla="*/ 620917 h 926154"/>
                    <a:gd name="connsiteX3542" fmla="*/ 1130459 w 1197657"/>
                    <a:gd name="connsiteY3542" fmla="*/ 621124 h 926154"/>
                    <a:gd name="connsiteX3543" fmla="*/ 1129706 w 1197657"/>
                    <a:gd name="connsiteY3543" fmla="*/ 621208 h 926154"/>
                    <a:gd name="connsiteX3544" fmla="*/ 1128990 w 1197657"/>
                    <a:gd name="connsiteY3544" fmla="*/ 621476 h 926154"/>
                    <a:gd name="connsiteX3545" fmla="*/ 1128018 w 1197657"/>
                    <a:gd name="connsiteY3545" fmla="*/ 621840 h 926154"/>
                    <a:gd name="connsiteX3546" fmla="*/ 1126768 w 1197657"/>
                    <a:gd name="connsiteY3546" fmla="*/ 622314 h 926154"/>
                    <a:gd name="connsiteX3547" fmla="*/ 1125833 w 1197657"/>
                    <a:gd name="connsiteY3547" fmla="*/ 623273 h 926154"/>
                    <a:gd name="connsiteX3548" fmla="*/ 1125262 w 1197657"/>
                    <a:gd name="connsiteY3548" fmla="*/ 623855 h 926154"/>
                    <a:gd name="connsiteX3549" fmla="*/ 1124813 w 1197657"/>
                    <a:gd name="connsiteY3549" fmla="*/ 624305 h 926154"/>
                    <a:gd name="connsiteX3550" fmla="*/ 1113131 w 1197657"/>
                    <a:gd name="connsiteY3550" fmla="*/ 623151 h 926154"/>
                    <a:gd name="connsiteX3551" fmla="*/ 1112755 w 1197657"/>
                    <a:gd name="connsiteY3551" fmla="*/ 623103 h 926154"/>
                    <a:gd name="connsiteX3552" fmla="*/ 1112390 w 1197657"/>
                    <a:gd name="connsiteY3552" fmla="*/ 623115 h 926154"/>
                    <a:gd name="connsiteX3553" fmla="*/ 1108832 w 1197657"/>
                    <a:gd name="connsiteY3553" fmla="*/ 623200 h 926154"/>
                    <a:gd name="connsiteX3554" fmla="*/ 1108395 w 1197657"/>
                    <a:gd name="connsiteY3554" fmla="*/ 623212 h 926154"/>
                    <a:gd name="connsiteX3555" fmla="*/ 1107970 w 1197657"/>
                    <a:gd name="connsiteY3555" fmla="*/ 623285 h 926154"/>
                    <a:gd name="connsiteX3556" fmla="*/ 1103660 w 1197657"/>
                    <a:gd name="connsiteY3556" fmla="*/ 624013 h 926154"/>
                    <a:gd name="connsiteX3557" fmla="*/ 1103295 w 1197657"/>
                    <a:gd name="connsiteY3557" fmla="*/ 624074 h 926154"/>
                    <a:gd name="connsiteX3558" fmla="*/ 1102943 w 1197657"/>
                    <a:gd name="connsiteY3558" fmla="*/ 624183 h 926154"/>
                    <a:gd name="connsiteX3559" fmla="*/ 1095257 w 1197657"/>
                    <a:gd name="connsiteY3559" fmla="*/ 626454 h 926154"/>
                    <a:gd name="connsiteX3560" fmla="*/ 1094941 w 1197657"/>
                    <a:gd name="connsiteY3560" fmla="*/ 626551 h 926154"/>
                    <a:gd name="connsiteX3561" fmla="*/ 1094625 w 1197657"/>
                    <a:gd name="connsiteY3561" fmla="*/ 626685 h 926154"/>
                    <a:gd name="connsiteX3562" fmla="*/ 1089489 w 1197657"/>
                    <a:gd name="connsiteY3562" fmla="*/ 628846 h 926154"/>
                    <a:gd name="connsiteX3563" fmla="*/ 1077516 w 1197657"/>
                    <a:gd name="connsiteY3563" fmla="*/ 630765 h 926154"/>
                    <a:gd name="connsiteX3564" fmla="*/ 1076787 w 1197657"/>
                    <a:gd name="connsiteY3564" fmla="*/ 630886 h 926154"/>
                    <a:gd name="connsiteX3565" fmla="*/ 1076095 w 1197657"/>
                    <a:gd name="connsiteY3565" fmla="*/ 631178 h 926154"/>
                    <a:gd name="connsiteX3566" fmla="*/ 1074237 w 1197657"/>
                    <a:gd name="connsiteY3566" fmla="*/ 631967 h 926154"/>
                    <a:gd name="connsiteX3567" fmla="*/ 1073484 w 1197657"/>
                    <a:gd name="connsiteY3567" fmla="*/ 630340 h 926154"/>
                    <a:gd name="connsiteX3568" fmla="*/ 1073351 w 1197657"/>
                    <a:gd name="connsiteY3568" fmla="*/ 630049 h 926154"/>
                    <a:gd name="connsiteX3569" fmla="*/ 1073181 w 1197657"/>
                    <a:gd name="connsiteY3569" fmla="*/ 629781 h 926154"/>
                    <a:gd name="connsiteX3570" fmla="*/ 1071748 w 1197657"/>
                    <a:gd name="connsiteY3570" fmla="*/ 627402 h 926154"/>
                    <a:gd name="connsiteX3571" fmla="*/ 1071493 w 1197657"/>
                    <a:gd name="connsiteY3571" fmla="*/ 626976 h 926154"/>
                    <a:gd name="connsiteX3572" fmla="*/ 1071177 w 1197657"/>
                    <a:gd name="connsiteY3572" fmla="*/ 626600 h 926154"/>
                    <a:gd name="connsiteX3573" fmla="*/ 1067279 w 1197657"/>
                    <a:gd name="connsiteY3573" fmla="*/ 622010 h 926154"/>
                    <a:gd name="connsiteX3574" fmla="*/ 1068166 w 1197657"/>
                    <a:gd name="connsiteY3574" fmla="*/ 621925 h 926154"/>
                    <a:gd name="connsiteX3575" fmla="*/ 1069089 w 1197657"/>
                    <a:gd name="connsiteY3575" fmla="*/ 621500 h 926154"/>
                    <a:gd name="connsiteX3576" fmla="*/ 1072513 w 1197657"/>
                    <a:gd name="connsiteY3576" fmla="*/ 619921 h 926154"/>
                    <a:gd name="connsiteX3577" fmla="*/ 1073460 w 1197657"/>
                    <a:gd name="connsiteY3577" fmla="*/ 619496 h 926154"/>
                    <a:gd name="connsiteX3578" fmla="*/ 1074201 w 1197657"/>
                    <a:gd name="connsiteY3578" fmla="*/ 618768 h 926154"/>
                    <a:gd name="connsiteX3579" fmla="*/ 1077479 w 1197657"/>
                    <a:gd name="connsiteY3579" fmla="*/ 615598 h 926154"/>
                    <a:gd name="connsiteX3580" fmla="*/ 1078560 w 1197657"/>
                    <a:gd name="connsiteY3580" fmla="*/ 614554 h 926154"/>
                    <a:gd name="connsiteX3581" fmla="*/ 1079034 w 1197657"/>
                    <a:gd name="connsiteY3581" fmla="*/ 613133 h 926154"/>
                    <a:gd name="connsiteX3582" fmla="*/ 1081049 w 1197657"/>
                    <a:gd name="connsiteY3582" fmla="*/ 606989 h 926154"/>
                    <a:gd name="connsiteX3583" fmla="*/ 1081487 w 1197657"/>
                    <a:gd name="connsiteY3583" fmla="*/ 605666 h 926154"/>
                    <a:gd name="connsiteX3584" fmla="*/ 1081304 w 1197657"/>
                    <a:gd name="connsiteY3584" fmla="*/ 604293 h 926154"/>
                    <a:gd name="connsiteX3585" fmla="*/ 1080892 w 1197657"/>
                    <a:gd name="connsiteY3585" fmla="*/ 601258 h 926154"/>
                    <a:gd name="connsiteX3586" fmla="*/ 1080637 w 1197657"/>
                    <a:gd name="connsiteY3586" fmla="*/ 599315 h 926154"/>
                    <a:gd name="connsiteX3587" fmla="*/ 1079289 w 1197657"/>
                    <a:gd name="connsiteY3587" fmla="*/ 597894 h 926154"/>
                    <a:gd name="connsiteX3588" fmla="*/ 1077455 w 1197657"/>
                    <a:gd name="connsiteY3588" fmla="*/ 595963 h 926154"/>
                    <a:gd name="connsiteX3589" fmla="*/ 1076884 w 1197657"/>
                    <a:gd name="connsiteY3589" fmla="*/ 595356 h 926154"/>
                    <a:gd name="connsiteX3590" fmla="*/ 1076180 w 1197657"/>
                    <a:gd name="connsiteY3590" fmla="*/ 594931 h 926154"/>
                    <a:gd name="connsiteX3591" fmla="*/ 1074990 w 1197657"/>
                    <a:gd name="connsiteY3591" fmla="*/ 594215 h 926154"/>
                    <a:gd name="connsiteX3592" fmla="*/ 1074905 w 1197657"/>
                    <a:gd name="connsiteY3592" fmla="*/ 594093 h 926154"/>
                    <a:gd name="connsiteX3593" fmla="*/ 1074784 w 1197657"/>
                    <a:gd name="connsiteY3593" fmla="*/ 593596 h 926154"/>
                    <a:gd name="connsiteX3594" fmla="*/ 1075051 w 1197657"/>
                    <a:gd name="connsiteY3594" fmla="*/ 592126 h 926154"/>
                    <a:gd name="connsiteX3595" fmla="*/ 1075209 w 1197657"/>
                    <a:gd name="connsiteY3595" fmla="*/ 591288 h 926154"/>
                    <a:gd name="connsiteX3596" fmla="*/ 1075136 w 1197657"/>
                    <a:gd name="connsiteY3596" fmla="*/ 590451 h 926154"/>
                    <a:gd name="connsiteX3597" fmla="*/ 1074905 w 1197657"/>
                    <a:gd name="connsiteY3597" fmla="*/ 587961 h 926154"/>
                    <a:gd name="connsiteX3598" fmla="*/ 1074856 w 1197657"/>
                    <a:gd name="connsiteY3598" fmla="*/ 587403 h 926154"/>
                    <a:gd name="connsiteX3599" fmla="*/ 1074699 w 1197657"/>
                    <a:gd name="connsiteY3599" fmla="*/ 586868 h 926154"/>
                    <a:gd name="connsiteX3600" fmla="*/ 1073326 w 1197657"/>
                    <a:gd name="connsiteY3600" fmla="*/ 582035 h 926154"/>
                    <a:gd name="connsiteX3601" fmla="*/ 1073290 w 1197657"/>
                    <a:gd name="connsiteY3601" fmla="*/ 581283 h 926154"/>
                    <a:gd name="connsiteX3602" fmla="*/ 1073302 w 1197657"/>
                    <a:gd name="connsiteY3602" fmla="*/ 581197 h 926154"/>
                    <a:gd name="connsiteX3603" fmla="*/ 1074128 w 1197657"/>
                    <a:gd name="connsiteY3603" fmla="*/ 579522 h 926154"/>
                    <a:gd name="connsiteX3604" fmla="*/ 1075051 w 1197657"/>
                    <a:gd name="connsiteY3604" fmla="*/ 579364 h 926154"/>
                    <a:gd name="connsiteX3605" fmla="*/ 1075464 w 1197657"/>
                    <a:gd name="connsiteY3605" fmla="*/ 579303 h 926154"/>
                    <a:gd name="connsiteX3606" fmla="*/ 1075864 w 1197657"/>
                    <a:gd name="connsiteY3606" fmla="*/ 579182 h 926154"/>
                    <a:gd name="connsiteX3607" fmla="*/ 1082992 w 1197657"/>
                    <a:gd name="connsiteY3607" fmla="*/ 576996 h 926154"/>
                    <a:gd name="connsiteX3608" fmla="*/ 1083599 w 1197657"/>
                    <a:gd name="connsiteY3608" fmla="*/ 576802 h 926154"/>
                    <a:gd name="connsiteX3609" fmla="*/ 1084146 w 1197657"/>
                    <a:gd name="connsiteY3609" fmla="*/ 576498 h 926154"/>
                    <a:gd name="connsiteX3610" fmla="*/ 1087692 w 1197657"/>
                    <a:gd name="connsiteY3610" fmla="*/ 574543 h 926154"/>
                    <a:gd name="connsiteX3611" fmla="*/ 1088979 w 1197657"/>
                    <a:gd name="connsiteY3611" fmla="*/ 574762 h 926154"/>
                    <a:gd name="connsiteX3612" fmla="*/ 1090436 w 1197657"/>
                    <a:gd name="connsiteY3612" fmla="*/ 575005 h 926154"/>
                    <a:gd name="connsiteX3613" fmla="*/ 1091832 w 1197657"/>
                    <a:gd name="connsiteY3613" fmla="*/ 574555 h 926154"/>
                    <a:gd name="connsiteX3614" fmla="*/ 1096544 w 1197657"/>
                    <a:gd name="connsiteY3614" fmla="*/ 573037 h 926154"/>
                    <a:gd name="connsiteX3615" fmla="*/ 1097236 w 1197657"/>
                    <a:gd name="connsiteY3615" fmla="*/ 572819 h 926154"/>
                    <a:gd name="connsiteX3616" fmla="*/ 1097855 w 1197657"/>
                    <a:gd name="connsiteY3616" fmla="*/ 572443 h 926154"/>
                    <a:gd name="connsiteX3617" fmla="*/ 1102057 w 1197657"/>
                    <a:gd name="connsiteY3617" fmla="*/ 569868 h 926154"/>
                    <a:gd name="connsiteX3618" fmla="*/ 1103186 w 1197657"/>
                    <a:gd name="connsiteY3618" fmla="*/ 569164 h 926154"/>
                    <a:gd name="connsiteX3619" fmla="*/ 1103927 w 1197657"/>
                    <a:gd name="connsiteY3619" fmla="*/ 568059 h 926154"/>
                    <a:gd name="connsiteX3620" fmla="*/ 1104765 w 1197657"/>
                    <a:gd name="connsiteY3620" fmla="*/ 566796 h 926154"/>
                    <a:gd name="connsiteX3621" fmla="*/ 1118765 w 1197657"/>
                    <a:gd name="connsiteY3621" fmla="*/ 560166 h 926154"/>
                    <a:gd name="connsiteX3622" fmla="*/ 1130653 w 1197657"/>
                    <a:gd name="connsiteY3622" fmla="*/ 558065 h 926154"/>
                    <a:gd name="connsiteX3623" fmla="*/ 1135656 w 1197657"/>
                    <a:gd name="connsiteY3623" fmla="*/ 557191 h 926154"/>
                    <a:gd name="connsiteX3624" fmla="*/ 1135668 w 1197657"/>
                    <a:gd name="connsiteY3624" fmla="*/ 552115 h 926154"/>
                    <a:gd name="connsiteX3625" fmla="*/ 1135705 w 1197657"/>
                    <a:gd name="connsiteY3625" fmla="*/ 538697 h 926154"/>
                    <a:gd name="connsiteX3626" fmla="*/ 1137842 w 1197657"/>
                    <a:gd name="connsiteY3626" fmla="*/ 532079 h 926154"/>
                    <a:gd name="connsiteX3627" fmla="*/ 1138267 w 1197657"/>
                    <a:gd name="connsiteY3627" fmla="*/ 530768 h 926154"/>
                    <a:gd name="connsiteX3628" fmla="*/ 1138085 w 1197657"/>
                    <a:gd name="connsiteY3628" fmla="*/ 529408 h 926154"/>
                    <a:gd name="connsiteX3629" fmla="*/ 1137854 w 1197657"/>
                    <a:gd name="connsiteY3629" fmla="*/ 527708 h 926154"/>
                    <a:gd name="connsiteX3630" fmla="*/ 1137684 w 1197657"/>
                    <a:gd name="connsiteY3630" fmla="*/ 526457 h 926154"/>
                    <a:gd name="connsiteX3631" fmla="*/ 1137028 w 1197657"/>
                    <a:gd name="connsiteY3631" fmla="*/ 525376 h 926154"/>
                    <a:gd name="connsiteX3632" fmla="*/ 1135486 w 1197657"/>
                    <a:gd name="connsiteY3632" fmla="*/ 522826 h 926154"/>
                    <a:gd name="connsiteX3633" fmla="*/ 1135110 w 1197657"/>
                    <a:gd name="connsiteY3633" fmla="*/ 522195 h 926154"/>
                    <a:gd name="connsiteX3634" fmla="*/ 1134600 w 1197657"/>
                    <a:gd name="connsiteY3634" fmla="*/ 521685 h 926154"/>
                    <a:gd name="connsiteX3635" fmla="*/ 1133276 w 1197657"/>
                    <a:gd name="connsiteY3635" fmla="*/ 520361 h 926154"/>
                    <a:gd name="connsiteX3636" fmla="*/ 1133009 w 1197657"/>
                    <a:gd name="connsiteY3636" fmla="*/ 519948 h 926154"/>
                    <a:gd name="connsiteX3637" fmla="*/ 1132827 w 1197657"/>
                    <a:gd name="connsiteY3637" fmla="*/ 519281 h 926154"/>
                    <a:gd name="connsiteX3638" fmla="*/ 1132317 w 1197657"/>
                    <a:gd name="connsiteY3638" fmla="*/ 515152 h 926154"/>
                    <a:gd name="connsiteX3639" fmla="*/ 1132268 w 1197657"/>
                    <a:gd name="connsiteY3639" fmla="*/ 514763 h 926154"/>
                    <a:gd name="connsiteX3640" fmla="*/ 1132159 w 1197657"/>
                    <a:gd name="connsiteY3640" fmla="*/ 514375 h 926154"/>
                    <a:gd name="connsiteX3641" fmla="*/ 1131285 w 1197657"/>
                    <a:gd name="connsiteY3641" fmla="*/ 511048 h 926154"/>
                    <a:gd name="connsiteX3642" fmla="*/ 1131151 w 1197657"/>
                    <a:gd name="connsiteY3642" fmla="*/ 510550 h 926154"/>
                    <a:gd name="connsiteX3643" fmla="*/ 1130933 w 1197657"/>
                    <a:gd name="connsiteY3643" fmla="*/ 510076 h 926154"/>
                    <a:gd name="connsiteX3644" fmla="*/ 1129038 w 1197657"/>
                    <a:gd name="connsiteY3644" fmla="*/ 505911 h 926154"/>
                    <a:gd name="connsiteX3645" fmla="*/ 1128747 w 1197657"/>
                    <a:gd name="connsiteY3645" fmla="*/ 505280 h 926154"/>
                    <a:gd name="connsiteX3646" fmla="*/ 1128322 w 1197657"/>
                    <a:gd name="connsiteY3646" fmla="*/ 504721 h 926154"/>
                    <a:gd name="connsiteX3647" fmla="*/ 1126780 w 1197657"/>
                    <a:gd name="connsiteY3647" fmla="*/ 502718 h 926154"/>
                    <a:gd name="connsiteX3648" fmla="*/ 1126428 w 1197657"/>
                    <a:gd name="connsiteY3648" fmla="*/ 502268 h 926154"/>
                    <a:gd name="connsiteX3649" fmla="*/ 1126003 w 1197657"/>
                    <a:gd name="connsiteY3649" fmla="*/ 501880 h 926154"/>
                    <a:gd name="connsiteX3650" fmla="*/ 1123574 w 1197657"/>
                    <a:gd name="connsiteY3650" fmla="*/ 499731 h 926154"/>
                    <a:gd name="connsiteX3651" fmla="*/ 1123780 w 1197657"/>
                    <a:gd name="connsiteY3651" fmla="*/ 494570 h 926154"/>
                    <a:gd name="connsiteX3652" fmla="*/ 1123793 w 1197657"/>
                    <a:gd name="connsiteY3652" fmla="*/ 494120 h 926154"/>
                    <a:gd name="connsiteX3653" fmla="*/ 1123744 w 1197657"/>
                    <a:gd name="connsiteY3653" fmla="*/ 493659 h 926154"/>
                    <a:gd name="connsiteX3654" fmla="*/ 1123453 w 1197657"/>
                    <a:gd name="connsiteY3654" fmla="*/ 491060 h 926154"/>
                    <a:gd name="connsiteX3655" fmla="*/ 1123392 w 1197657"/>
                    <a:gd name="connsiteY3655" fmla="*/ 490563 h 926154"/>
                    <a:gd name="connsiteX3656" fmla="*/ 1123258 w 1197657"/>
                    <a:gd name="connsiteY3656" fmla="*/ 490077 h 926154"/>
                    <a:gd name="connsiteX3657" fmla="*/ 1122360 w 1197657"/>
                    <a:gd name="connsiteY3657" fmla="*/ 486908 h 926154"/>
                    <a:gd name="connsiteX3658" fmla="*/ 1122105 w 1197657"/>
                    <a:gd name="connsiteY3658" fmla="*/ 484661 h 926154"/>
                    <a:gd name="connsiteX3659" fmla="*/ 1122469 w 1197657"/>
                    <a:gd name="connsiteY3659" fmla="*/ 481334 h 926154"/>
                    <a:gd name="connsiteX3660" fmla="*/ 1123610 w 1197657"/>
                    <a:gd name="connsiteY3660" fmla="*/ 482488 h 926154"/>
                    <a:gd name="connsiteX3661" fmla="*/ 1124193 w 1197657"/>
                    <a:gd name="connsiteY3661" fmla="*/ 483083 h 926154"/>
                    <a:gd name="connsiteX3662" fmla="*/ 1124922 w 1197657"/>
                    <a:gd name="connsiteY3662" fmla="*/ 483495 h 926154"/>
                    <a:gd name="connsiteX3663" fmla="*/ 1126258 w 1197657"/>
                    <a:gd name="connsiteY3663" fmla="*/ 484260 h 926154"/>
                    <a:gd name="connsiteX3664" fmla="*/ 1127035 w 1197657"/>
                    <a:gd name="connsiteY3664" fmla="*/ 484710 h 926154"/>
                    <a:gd name="connsiteX3665" fmla="*/ 1127909 w 1197657"/>
                    <a:gd name="connsiteY3665" fmla="*/ 484904 h 926154"/>
                    <a:gd name="connsiteX3666" fmla="*/ 1129730 w 1197657"/>
                    <a:gd name="connsiteY3666" fmla="*/ 485317 h 926154"/>
                    <a:gd name="connsiteX3667" fmla="*/ 1130447 w 1197657"/>
                    <a:gd name="connsiteY3667" fmla="*/ 485487 h 926154"/>
                    <a:gd name="connsiteX3668" fmla="*/ 1131175 w 1197657"/>
                    <a:gd name="connsiteY3668" fmla="*/ 485475 h 926154"/>
                    <a:gd name="connsiteX3669" fmla="*/ 1133422 w 1197657"/>
                    <a:gd name="connsiteY3669" fmla="*/ 485438 h 926154"/>
                    <a:gd name="connsiteX3670" fmla="*/ 1133980 w 1197657"/>
                    <a:gd name="connsiteY3670" fmla="*/ 485426 h 926154"/>
                    <a:gd name="connsiteX3671" fmla="*/ 1134527 w 1197657"/>
                    <a:gd name="connsiteY3671" fmla="*/ 485317 h 926154"/>
                    <a:gd name="connsiteX3672" fmla="*/ 1140380 w 1197657"/>
                    <a:gd name="connsiteY3672" fmla="*/ 484139 h 926154"/>
                    <a:gd name="connsiteX3673" fmla="*/ 1140817 w 1197657"/>
                    <a:gd name="connsiteY3673" fmla="*/ 484054 h 926154"/>
                    <a:gd name="connsiteX3674" fmla="*/ 1141230 w 1197657"/>
                    <a:gd name="connsiteY3674" fmla="*/ 483908 h 926154"/>
                    <a:gd name="connsiteX3675" fmla="*/ 1144338 w 1197657"/>
                    <a:gd name="connsiteY3675" fmla="*/ 482791 h 926154"/>
                    <a:gd name="connsiteX3676" fmla="*/ 1144739 w 1197657"/>
                    <a:gd name="connsiteY3676" fmla="*/ 482645 h 926154"/>
                    <a:gd name="connsiteX3677" fmla="*/ 1145128 w 1197657"/>
                    <a:gd name="connsiteY3677" fmla="*/ 482439 h 926154"/>
                    <a:gd name="connsiteX3678" fmla="*/ 1147993 w 1197657"/>
                    <a:gd name="connsiteY3678" fmla="*/ 480921 h 926154"/>
                    <a:gd name="connsiteX3679" fmla="*/ 1148382 w 1197657"/>
                    <a:gd name="connsiteY3679" fmla="*/ 480715 h 926154"/>
                    <a:gd name="connsiteX3680" fmla="*/ 1148734 w 1197657"/>
                    <a:gd name="connsiteY3680" fmla="*/ 480460 h 926154"/>
                    <a:gd name="connsiteX3681" fmla="*/ 1151090 w 1197657"/>
                    <a:gd name="connsiteY3681" fmla="*/ 478735 h 926154"/>
                    <a:gd name="connsiteX3682" fmla="*/ 1151539 w 1197657"/>
                    <a:gd name="connsiteY3682" fmla="*/ 478408 h 926154"/>
                    <a:gd name="connsiteX3683" fmla="*/ 1151916 w 1197657"/>
                    <a:gd name="connsiteY3683" fmla="*/ 478007 h 926154"/>
                    <a:gd name="connsiteX3684" fmla="*/ 1153749 w 1197657"/>
                    <a:gd name="connsiteY3684" fmla="*/ 476076 h 926154"/>
                    <a:gd name="connsiteX3685" fmla="*/ 1155170 w 1197657"/>
                    <a:gd name="connsiteY3685" fmla="*/ 474303 h 926154"/>
                    <a:gd name="connsiteX3686" fmla="*/ 1155571 w 1197657"/>
                    <a:gd name="connsiteY3686" fmla="*/ 473781 h 926154"/>
                    <a:gd name="connsiteX3687" fmla="*/ 1155850 w 1197657"/>
                    <a:gd name="connsiteY3687" fmla="*/ 473186 h 926154"/>
                    <a:gd name="connsiteX3688" fmla="*/ 1156761 w 1197657"/>
                    <a:gd name="connsiteY3688" fmla="*/ 471280 h 926154"/>
                    <a:gd name="connsiteX3689" fmla="*/ 1157198 w 1197657"/>
                    <a:gd name="connsiteY3689" fmla="*/ 470357 h 926154"/>
                    <a:gd name="connsiteX3690" fmla="*/ 1157319 w 1197657"/>
                    <a:gd name="connsiteY3690" fmla="*/ 469349 h 926154"/>
                    <a:gd name="connsiteX3691" fmla="*/ 1157550 w 1197657"/>
                    <a:gd name="connsiteY3691" fmla="*/ 467345 h 926154"/>
                    <a:gd name="connsiteX3692" fmla="*/ 1157671 w 1197657"/>
                    <a:gd name="connsiteY3692" fmla="*/ 466350 h 926154"/>
                    <a:gd name="connsiteX3693" fmla="*/ 1157453 w 1197657"/>
                    <a:gd name="connsiteY3693" fmla="*/ 465366 h 926154"/>
                    <a:gd name="connsiteX3694" fmla="*/ 1157064 w 1197657"/>
                    <a:gd name="connsiteY3694" fmla="*/ 463557 h 926154"/>
                    <a:gd name="connsiteX3695" fmla="*/ 1156676 w 1197657"/>
                    <a:gd name="connsiteY3695" fmla="*/ 461772 h 926154"/>
                    <a:gd name="connsiteX3696" fmla="*/ 1155364 w 1197657"/>
                    <a:gd name="connsiteY3696" fmla="*/ 460497 h 926154"/>
                    <a:gd name="connsiteX3697" fmla="*/ 1153628 w 1197657"/>
                    <a:gd name="connsiteY3697" fmla="*/ 458797 h 926154"/>
                    <a:gd name="connsiteX3698" fmla="*/ 1152948 w 1197657"/>
                    <a:gd name="connsiteY3698" fmla="*/ 458141 h 926154"/>
                    <a:gd name="connsiteX3699" fmla="*/ 1152110 w 1197657"/>
                    <a:gd name="connsiteY3699" fmla="*/ 457716 h 926154"/>
                    <a:gd name="connsiteX3700" fmla="*/ 1149706 w 1197657"/>
                    <a:gd name="connsiteY3700" fmla="*/ 456514 h 926154"/>
                    <a:gd name="connsiteX3701" fmla="*/ 1149050 w 1197657"/>
                    <a:gd name="connsiteY3701" fmla="*/ 456186 h 926154"/>
                    <a:gd name="connsiteX3702" fmla="*/ 1148321 w 1197657"/>
                    <a:gd name="connsiteY3702" fmla="*/ 456016 h 926154"/>
                    <a:gd name="connsiteX3703" fmla="*/ 1143610 w 1197657"/>
                    <a:gd name="connsiteY3703" fmla="*/ 454947 h 926154"/>
                    <a:gd name="connsiteX3704" fmla="*/ 1143124 w 1197657"/>
                    <a:gd name="connsiteY3704" fmla="*/ 454838 h 926154"/>
                    <a:gd name="connsiteX3705" fmla="*/ 1142626 w 1197657"/>
                    <a:gd name="connsiteY3705" fmla="*/ 454814 h 926154"/>
                    <a:gd name="connsiteX3706" fmla="*/ 1136591 w 1197657"/>
                    <a:gd name="connsiteY3706" fmla="*/ 454449 h 926154"/>
                    <a:gd name="connsiteX3707" fmla="*/ 1135948 w 1197657"/>
                    <a:gd name="connsiteY3707" fmla="*/ 454413 h 926154"/>
                    <a:gd name="connsiteX3708" fmla="*/ 1135316 w 1197657"/>
                    <a:gd name="connsiteY3708" fmla="*/ 454510 h 926154"/>
                    <a:gd name="connsiteX3709" fmla="*/ 1128176 w 1197657"/>
                    <a:gd name="connsiteY3709" fmla="*/ 455591 h 926154"/>
                    <a:gd name="connsiteX3710" fmla="*/ 1127812 w 1197657"/>
                    <a:gd name="connsiteY3710" fmla="*/ 455603 h 926154"/>
                    <a:gd name="connsiteX3711" fmla="*/ 1126828 w 1197657"/>
                    <a:gd name="connsiteY3711" fmla="*/ 455166 h 926154"/>
                    <a:gd name="connsiteX3712" fmla="*/ 1124558 w 1197657"/>
                    <a:gd name="connsiteY3712" fmla="*/ 453587 h 926154"/>
                    <a:gd name="connsiteX3713" fmla="*/ 1116592 w 1197657"/>
                    <a:gd name="connsiteY3713" fmla="*/ 446132 h 926154"/>
                    <a:gd name="connsiteX3714" fmla="*/ 1126088 w 1197657"/>
                    <a:gd name="connsiteY3714" fmla="*/ 449022 h 926154"/>
                    <a:gd name="connsiteX3715" fmla="*/ 1126755 w 1197657"/>
                    <a:gd name="connsiteY3715" fmla="*/ 449228 h 926154"/>
                    <a:gd name="connsiteX3716" fmla="*/ 1127460 w 1197657"/>
                    <a:gd name="connsiteY3716" fmla="*/ 449277 h 926154"/>
                    <a:gd name="connsiteX3717" fmla="*/ 1129342 w 1197657"/>
                    <a:gd name="connsiteY3717" fmla="*/ 449398 h 926154"/>
                    <a:gd name="connsiteX3718" fmla="*/ 1130180 w 1197657"/>
                    <a:gd name="connsiteY3718" fmla="*/ 449447 h 926154"/>
                    <a:gd name="connsiteX3719" fmla="*/ 1131005 w 1197657"/>
                    <a:gd name="connsiteY3719" fmla="*/ 449277 h 926154"/>
                    <a:gd name="connsiteX3720" fmla="*/ 1132900 w 1197657"/>
                    <a:gd name="connsiteY3720" fmla="*/ 448876 h 926154"/>
                    <a:gd name="connsiteX3721" fmla="*/ 1133398 w 1197657"/>
                    <a:gd name="connsiteY3721" fmla="*/ 448767 h 926154"/>
                    <a:gd name="connsiteX3722" fmla="*/ 1133871 w 1197657"/>
                    <a:gd name="connsiteY3722" fmla="*/ 448572 h 926154"/>
                    <a:gd name="connsiteX3723" fmla="*/ 1136057 w 1197657"/>
                    <a:gd name="connsiteY3723" fmla="*/ 447710 h 926154"/>
                    <a:gd name="connsiteX3724" fmla="*/ 1136688 w 1197657"/>
                    <a:gd name="connsiteY3724" fmla="*/ 447455 h 926154"/>
                    <a:gd name="connsiteX3725" fmla="*/ 1137247 w 1197657"/>
                    <a:gd name="connsiteY3725" fmla="*/ 447067 h 926154"/>
                    <a:gd name="connsiteX3726" fmla="*/ 1139081 w 1197657"/>
                    <a:gd name="connsiteY3726" fmla="*/ 445804 h 926154"/>
                    <a:gd name="connsiteX3727" fmla="*/ 1139700 w 1197657"/>
                    <a:gd name="connsiteY3727" fmla="*/ 445379 h 926154"/>
                    <a:gd name="connsiteX3728" fmla="*/ 1140198 w 1197657"/>
                    <a:gd name="connsiteY3728" fmla="*/ 444832 h 926154"/>
                    <a:gd name="connsiteX3729" fmla="*/ 1146633 w 1197657"/>
                    <a:gd name="connsiteY3729" fmla="*/ 437571 h 926154"/>
                    <a:gd name="connsiteX3730" fmla="*/ 1159456 w 1197657"/>
                    <a:gd name="connsiteY3730" fmla="*/ 427869 h 926154"/>
                    <a:gd name="connsiteX3731" fmla="*/ 1159529 w 1197657"/>
                    <a:gd name="connsiteY3731" fmla="*/ 427844 h 926154"/>
                    <a:gd name="connsiteX3732" fmla="*/ 1160598 w 1197657"/>
                    <a:gd name="connsiteY3732" fmla="*/ 427674 h 926154"/>
                    <a:gd name="connsiteX3733" fmla="*/ 1164872 w 1197657"/>
                    <a:gd name="connsiteY3733" fmla="*/ 427747 h 926154"/>
                    <a:gd name="connsiteX3734" fmla="*/ 1165334 w 1197657"/>
                    <a:gd name="connsiteY3734" fmla="*/ 427747 h 926154"/>
                    <a:gd name="connsiteX3735" fmla="*/ 1165795 w 1197657"/>
                    <a:gd name="connsiteY3735" fmla="*/ 427687 h 926154"/>
                    <a:gd name="connsiteX3736" fmla="*/ 1168151 w 1197657"/>
                    <a:gd name="connsiteY3736" fmla="*/ 427371 h 926154"/>
                    <a:gd name="connsiteX3737" fmla="*/ 1168855 w 1197657"/>
                    <a:gd name="connsiteY3737" fmla="*/ 427274 h 926154"/>
                    <a:gd name="connsiteX3738" fmla="*/ 1169511 w 1197657"/>
                    <a:gd name="connsiteY3738" fmla="*/ 427019 h 926154"/>
                    <a:gd name="connsiteX3739" fmla="*/ 1170956 w 1197657"/>
                    <a:gd name="connsiteY3739" fmla="*/ 426472 h 926154"/>
                    <a:gd name="connsiteX3740" fmla="*/ 1171417 w 1197657"/>
                    <a:gd name="connsiteY3740" fmla="*/ 426290 h 926154"/>
                    <a:gd name="connsiteX3741" fmla="*/ 1171842 w 1197657"/>
                    <a:gd name="connsiteY3741" fmla="*/ 426047 h 926154"/>
                    <a:gd name="connsiteX3742" fmla="*/ 1174125 w 1197657"/>
                    <a:gd name="connsiteY3742" fmla="*/ 424724 h 926154"/>
                    <a:gd name="connsiteX3743" fmla="*/ 1174526 w 1197657"/>
                    <a:gd name="connsiteY3743" fmla="*/ 424493 h 926154"/>
                    <a:gd name="connsiteX3744" fmla="*/ 1174878 w 1197657"/>
                    <a:gd name="connsiteY3744" fmla="*/ 424214 h 926154"/>
                    <a:gd name="connsiteX3745" fmla="*/ 1176772 w 1197657"/>
                    <a:gd name="connsiteY3745" fmla="*/ 422696 h 926154"/>
                    <a:gd name="connsiteX3746" fmla="*/ 1177124 w 1197657"/>
                    <a:gd name="connsiteY3746" fmla="*/ 422404 h 926154"/>
                    <a:gd name="connsiteX3747" fmla="*/ 1177440 w 1197657"/>
                    <a:gd name="connsiteY3747" fmla="*/ 422064 h 926154"/>
                    <a:gd name="connsiteX3748" fmla="*/ 1179055 w 1197657"/>
                    <a:gd name="connsiteY3748" fmla="*/ 420316 h 926154"/>
                    <a:gd name="connsiteX3749" fmla="*/ 1179261 w 1197657"/>
                    <a:gd name="connsiteY3749" fmla="*/ 420085 h 926154"/>
                    <a:gd name="connsiteX3750" fmla="*/ 1179444 w 1197657"/>
                    <a:gd name="connsiteY3750" fmla="*/ 419830 h 926154"/>
                    <a:gd name="connsiteX3751" fmla="*/ 1180877 w 1197657"/>
                    <a:gd name="connsiteY3751" fmla="*/ 417911 h 926154"/>
                    <a:gd name="connsiteX3752" fmla="*/ 1181192 w 1197657"/>
                    <a:gd name="connsiteY3752" fmla="*/ 417486 h 926154"/>
                    <a:gd name="connsiteX3753" fmla="*/ 1181435 w 1197657"/>
                    <a:gd name="connsiteY3753" fmla="*/ 417013 h 926154"/>
                    <a:gd name="connsiteX3754" fmla="*/ 1196772 w 1197657"/>
                    <a:gd name="connsiteY3754" fmla="*/ 386777 h 926154"/>
                    <a:gd name="connsiteX3755" fmla="*/ 1197355 w 1197657"/>
                    <a:gd name="connsiteY3755" fmla="*/ 385623 h 926154"/>
                    <a:gd name="connsiteX3756" fmla="*/ 1197415 w 1197657"/>
                    <a:gd name="connsiteY3756" fmla="*/ 384336 h 926154"/>
                    <a:gd name="connsiteX3757" fmla="*/ 1197597 w 1197657"/>
                    <a:gd name="connsiteY3757" fmla="*/ 380718 h 926154"/>
                    <a:gd name="connsiteX3758" fmla="*/ 1197658 w 1197657"/>
                    <a:gd name="connsiteY3758" fmla="*/ 379431 h 926154"/>
                    <a:gd name="connsiteX3759" fmla="*/ 1197197 w 1197657"/>
                    <a:gd name="connsiteY3759" fmla="*/ 378228 h 926154"/>
                    <a:gd name="connsiteX3760" fmla="*/ 1195800 w 1197657"/>
                    <a:gd name="connsiteY3760" fmla="*/ 374585 h 926154"/>
                    <a:gd name="connsiteX3761" fmla="*/ 1195484 w 1197657"/>
                    <a:gd name="connsiteY3761" fmla="*/ 373748 h 926154"/>
                    <a:gd name="connsiteX3762" fmla="*/ 1194938 w 1197657"/>
                    <a:gd name="connsiteY3762" fmla="*/ 373043 h 926154"/>
                    <a:gd name="connsiteX3763" fmla="*/ 1190239 w 1197657"/>
                    <a:gd name="connsiteY3763" fmla="*/ 366972 h 926154"/>
                    <a:gd name="connsiteX3764" fmla="*/ 1189547 w 1197657"/>
                    <a:gd name="connsiteY3764" fmla="*/ 366085 h 926154"/>
                    <a:gd name="connsiteX3765" fmla="*/ 1188575 w 1197657"/>
                    <a:gd name="connsiteY3765" fmla="*/ 365503 h 926154"/>
                    <a:gd name="connsiteX3766" fmla="*/ 1185928 w 1197657"/>
                    <a:gd name="connsiteY3766" fmla="*/ 363900 h 926154"/>
                    <a:gd name="connsiteX3767" fmla="*/ 1184944 w 1197657"/>
                    <a:gd name="connsiteY3767" fmla="*/ 363305 h 926154"/>
                    <a:gd name="connsiteX3768" fmla="*/ 1183803 w 1197657"/>
                    <a:gd name="connsiteY3768" fmla="*/ 363110 h 926154"/>
                    <a:gd name="connsiteX3769" fmla="*/ 1181617 w 1197657"/>
                    <a:gd name="connsiteY3769" fmla="*/ 362734 h 926154"/>
                    <a:gd name="connsiteX3770" fmla="*/ 1179334 w 1197657"/>
                    <a:gd name="connsiteY3770" fmla="*/ 362345 h 926154"/>
                    <a:gd name="connsiteX3771" fmla="*/ 1177853 w 1197657"/>
                    <a:gd name="connsiteY3771" fmla="*/ 363268 h 926154"/>
                    <a:gd name="connsiteX3772" fmla="*/ 1175947 w 1197657"/>
                    <a:gd name="connsiteY3772" fmla="*/ 347179 h 926154"/>
                    <a:gd name="connsiteX3773" fmla="*/ 1175849 w 1197657"/>
                    <a:gd name="connsiteY3773" fmla="*/ 346389 h 926154"/>
                    <a:gd name="connsiteX3774" fmla="*/ 1175558 w 1197657"/>
                    <a:gd name="connsiteY3774" fmla="*/ 345649 h 926154"/>
                    <a:gd name="connsiteX3775" fmla="*/ 1171709 w 1197657"/>
                    <a:gd name="connsiteY3775" fmla="*/ 335947 h 926154"/>
                    <a:gd name="connsiteX3776" fmla="*/ 1170397 w 1197657"/>
                    <a:gd name="connsiteY3776" fmla="*/ 332364 h 926154"/>
                    <a:gd name="connsiteX3777" fmla="*/ 1170251 w 1197657"/>
                    <a:gd name="connsiteY3777" fmla="*/ 331952 h 926154"/>
                    <a:gd name="connsiteX3778" fmla="*/ 1170033 w 1197657"/>
                    <a:gd name="connsiteY3778" fmla="*/ 331563 h 926154"/>
                    <a:gd name="connsiteX3779" fmla="*/ 1168479 w 1197657"/>
                    <a:gd name="connsiteY3779" fmla="*/ 328697 h 926154"/>
                    <a:gd name="connsiteX3780" fmla="*/ 1168090 w 1197657"/>
                    <a:gd name="connsiteY3780" fmla="*/ 327981 h 926154"/>
                    <a:gd name="connsiteX3781" fmla="*/ 1167531 w 1197657"/>
                    <a:gd name="connsiteY3781" fmla="*/ 327398 h 926154"/>
                    <a:gd name="connsiteX3782" fmla="*/ 1166317 w 1197657"/>
                    <a:gd name="connsiteY3782" fmla="*/ 326123 h 926154"/>
                    <a:gd name="connsiteX3783" fmla="*/ 1165783 w 1197657"/>
                    <a:gd name="connsiteY3783" fmla="*/ 325564 h 926154"/>
                    <a:gd name="connsiteX3784" fmla="*/ 1165127 w 1197657"/>
                    <a:gd name="connsiteY3784" fmla="*/ 325164 h 926154"/>
                    <a:gd name="connsiteX3785" fmla="*/ 1163524 w 1197657"/>
                    <a:gd name="connsiteY3785" fmla="*/ 324168 h 926154"/>
                    <a:gd name="connsiteX3786" fmla="*/ 1163124 w 1197657"/>
                    <a:gd name="connsiteY3786" fmla="*/ 323913 h 926154"/>
                    <a:gd name="connsiteX3787" fmla="*/ 1162686 w 1197657"/>
                    <a:gd name="connsiteY3787" fmla="*/ 323731 h 926154"/>
                    <a:gd name="connsiteX3788" fmla="*/ 1161278 w 1197657"/>
                    <a:gd name="connsiteY3788" fmla="*/ 323136 h 926154"/>
                    <a:gd name="connsiteX3789" fmla="*/ 1159007 w 1197657"/>
                    <a:gd name="connsiteY3789" fmla="*/ 319299 h 926154"/>
                    <a:gd name="connsiteX3790" fmla="*/ 1158449 w 1197657"/>
                    <a:gd name="connsiteY3790" fmla="*/ 317769 h 926154"/>
                    <a:gd name="connsiteX3791" fmla="*/ 1158266 w 1197657"/>
                    <a:gd name="connsiteY3791" fmla="*/ 317259 h 926154"/>
                    <a:gd name="connsiteX3792" fmla="*/ 1157999 w 1197657"/>
                    <a:gd name="connsiteY3792" fmla="*/ 316785 h 926154"/>
                    <a:gd name="connsiteX3793" fmla="*/ 1156566 w 1197657"/>
                    <a:gd name="connsiteY3793" fmla="*/ 314320 h 926154"/>
                    <a:gd name="connsiteX3794" fmla="*/ 1156384 w 1197657"/>
                    <a:gd name="connsiteY3794" fmla="*/ 314004 h 926154"/>
                    <a:gd name="connsiteX3795" fmla="*/ 1156166 w 1197657"/>
                    <a:gd name="connsiteY3795" fmla="*/ 313725 h 926154"/>
                    <a:gd name="connsiteX3796" fmla="*/ 1153980 w 1197657"/>
                    <a:gd name="connsiteY3796" fmla="*/ 310823 h 926154"/>
                    <a:gd name="connsiteX3797" fmla="*/ 1153300 w 1197657"/>
                    <a:gd name="connsiteY3797" fmla="*/ 309924 h 926154"/>
                    <a:gd name="connsiteX3798" fmla="*/ 1152341 w 1197657"/>
                    <a:gd name="connsiteY3798" fmla="*/ 309329 h 926154"/>
                    <a:gd name="connsiteX3799" fmla="*/ 1147241 w 1197657"/>
                    <a:gd name="connsiteY3799" fmla="*/ 306148 h 926154"/>
                    <a:gd name="connsiteX3800" fmla="*/ 1146816 w 1197657"/>
                    <a:gd name="connsiteY3800" fmla="*/ 305893 h 926154"/>
                    <a:gd name="connsiteX3801" fmla="*/ 1146354 w 1197657"/>
                    <a:gd name="connsiteY3801" fmla="*/ 305699 h 926154"/>
                    <a:gd name="connsiteX3802" fmla="*/ 1143926 w 1197657"/>
                    <a:gd name="connsiteY3802" fmla="*/ 304691 h 926154"/>
                    <a:gd name="connsiteX3803" fmla="*/ 1142918 w 1197657"/>
                    <a:gd name="connsiteY3803" fmla="*/ 304278 h 926154"/>
                    <a:gd name="connsiteX3804" fmla="*/ 1141825 w 1197657"/>
                    <a:gd name="connsiteY3804" fmla="*/ 304241 h 926154"/>
                    <a:gd name="connsiteX3805" fmla="*/ 1140283 w 1197657"/>
                    <a:gd name="connsiteY3805" fmla="*/ 304181 h 926154"/>
                    <a:gd name="connsiteX3806" fmla="*/ 1137866 w 1197657"/>
                    <a:gd name="connsiteY3806" fmla="*/ 304084 h 926154"/>
                    <a:gd name="connsiteX3807" fmla="*/ 1136057 w 1197657"/>
                    <a:gd name="connsiteY3807" fmla="*/ 305674 h 926154"/>
                    <a:gd name="connsiteX3808" fmla="*/ 1133968 w 1197657"/>
                    <a:gd name="connsiteY3808" fmla="*/ 307496 h 926154"/>
                    <a:gd name="connsiteX3809" fmla="*/ 1133713 w 1197657"/>
                    <a:gd name="connsiteY3809" fmla="*/ 307653 h 926154"/>
                    <a:gd name="connsiteX3810" fmla="*/ 1133288 w 1197657"/>
                    <a:gd name="connsiteY3810" fmla="*/ 307811 h 926154"/>
                    <a:gd name="connsiteX3811" fmla="*/ 1133264 w 1197657"/>
                    <a:gd name="connsiteY3811" fmla="*/ 307811 h 926154"/>
                    <a:gd name="connsiteX3812" fmla="*/ 1132815 w 1197657"/>
                    <a:gd name="connsiteY3812" fmla="*/ 307496 h 926154"/>
                    <a:gd name="connsiteX3813" fmla="*/ 1131625 w 1197657"/>
                    <a:gd name="connsiteY3813" fmla="*/ 305468 h 926154"/>
                    <a:gd name="connsiteX3814" fmla="*/ 1131370 w 1197657"/>
                    <a:gd name="connsiteY3814" fmla="*/ 303853 h 926154"/>
                    <a:gd name="connsiteX3815" fmla="*/ 1131370 w 1197657"/>
                    <a:gd name="connsiteY3815" fmla="*/ 301376 h 926154"/>
                    <a:gd name="connsiteX3816" fmla="*/ 1131576 w 1197657"/>
                    <a:gd name="connsiteY3816" fmla="*/ 299299 h 926154"/>
                    <a:gd name="connsiteX3817" fmla="*/ 1131625 w 1197657"/>
                    <a:gd name="connsiteY3817" fmla="*/ 298668 h 926154"/>
                    <a:gd name="connsiteX3818" fmla="*/ 1131552 w 1197657"/>
                    <a:gd name="connsiteY3818" fmla="*/ 298036 h 926154"/>
                    <a:gd name="connsiteX3819" fmla="*/ 1131260 w 1197657"/>
                    <a:gd name="connsiteY3819" fmla="*/ 295632 h 926154"/>
                    <a:gd name="connsiteX3820" fmla="*/ 1131090 w 1197657"/>
                    <a:gd name="connsiteY3820" fmla="*/ 294272 h 926154"/>
                    <a:gd name="connsiteX3821" fmla="*/ 1130350 w 1197657"/>
                    <a:gd name="connsiteY3821" fmla="*/ 293106 h 926154"/>
                    <a:gd name="connsiteX3822" fmla="*/ 1128795 w 1197657"/>
                    <a:gd name="connsiteY3822" fmla="*/ 290665 h 926154"/>
                    <a:gd name="connsiteX3823" fmla="*/ 1128334 w 1197657"/>
                    <a:gd name="connsiteY3823" fmla="*/ 289937 h 926154"/>
                    <a:gd name="connsiteX3824" fmla="*/ 1127690 w 1197657"/>
                    <a:gd name="connsiteY3824" fmla="*/ 289366 h 926154"/>
                    <a:gd name="connsiteX3825" fmla="*/ 1125116 w 1197657"/>
                    <a:gd name="connsiteY3825" fmla="*/ 287096 h 926154"/>
                    <a:gd name="connsiteX3826" fmla="*/ 1124545 w 1197657"/>
                    <a:gd name="connsiteY3826" fmla="*/ 286598 h 926154"/>
                    <a:gd name="connsiteX3827" fmla="*/ 1123865 w 1197657"/>
                    <a:gd name="connsiteY3827" fmla="*/ 286245 h 926154"/>
                    <a:gd name="connsiteX3828" fmla="*/ 1114600 w 1197657"/>
                    <a:gd name="connsiteY3828" fmla="*/ 281485 h 926154"/>
                    <a:gd name="connsiteX3829" fmla="*/ 1108845 w 1197657"/>
                    <a:gd name="connsiteY3829" fmla="*/ 275705 h 926154"/>
                    <a:gd name="connsiteX3830" fmla="*/ 1101656 w 1197657"/>
                    <a:gd name="connsiteY3830" fmla="*/ 269695 h 926154"/>
                    <a:gd name="connsiteX3831" fmla="*/ 1100660 w 1197657"/>
                    <a:gd name="connsiteY3831" fmla="*/ 268869 h 926154"/>
                    <a:gd name="connsiteX3832" fmla="*/ 1099410 w 1197657"/>
                    <a:gd name="connsiteY3832" fmla="*/ 268517 h 926154"/>
                    <a:gd name="connsiteX3833" fmla="*/ 1096932 w 1197657"/>
                    <a:gd name="connsiteY3833" fmla="*/ 267825 h 926154"/>
                    <a:gd name="connsiteX3834" fmla="*/ 1096131 w 1197657"/>
                    <a:gd name="connsiteY3834" fmla="*/ 267594 h 926154"/>
                    <a:gd name="connsiteX3835" fmla="*/ 1095293 w 1197657"/>
                    <a:gd name="connsiteY3835" fmla="*/ 267594 h 926154"/>
                    <a:gd name="connsiteX3836" fmla="*/ 1093800 w 1197657"/>
                    <a:gd name="connsiteY3836" fmla="*/ 267594 h 926154"/>
                    <a:gd name="connsiteX3837" fmla="*/ 1090217 w 1197657"/>
                    <a:gd name="connsiteY3837" fmla="*/ 267594 h 926154"/>
                    <a:gd name="connsiteX3838" fmla="*/ 1088481 w 1197657"/>
                    <a:gd name="connsiteY3838" fmla="*/ 270739 h 926154"/>
                    <a:gd name="connsiteX3839" fmla="*/ 1087971 w 1197657"/>
                    <a:gd name="connsiteY3839" fmla="*/ 271662 h 926154"/>
                    <a:gd name="connsiteX3840" fmla="*/ 1087813 w 1197657"/>
                    <a:gd name="connsiteY3840" fmla="*/ 271953 h 926154"/>
                    <a:gd name="connsiteX3841" fmla="*/ 1087692 w 1197657"/>
                    <a:gd name="connsiteY3841" fmla="*/ 272257 h 926154"/>
                    <a:gd name="connsiteX3842" fmla="*/ 1087352 w 1197657"/>
                    <a:gd name="connsiteY3842" fmla="*/ 273070 h 926154"/>
                    <a:gd name="connsiteX3843" fmla="*/ 1083053 w 1197657"/>
                    <a:gd name="connsiteY3843" fmla="*/ 268468 h 926154"/>
                    <a:gd name="connsiteX3844" fmla="*/ 1076338 w 1197657"/>
                    <a:gd name="connsiteY3844" fmla="*/ 258086 h 926154"/>
                    <a:gd name="connsiteX3845" fmla="*/ 1075415 w 1197657"/>
                    <a:gd name="connsiteY3845" fmla="*/ 256398 h 926154"/>
                    <a:gd name="connsiteX3846" fmla="*/ 1074516 w 1197657"/>
                    <a:gd name="connsiteY3846" fmla="*/ 254783 h 926154"/>
                    <a:gd name="connsiteX3847" fmla="*/ 1072865 w 1197657"/>
                    <a:gd name="connsiteY3847" fmla="*/ 253945 h 926154"/>
                    <a:gd name="connsiteX3848" fmla="*/ 1071250 w 1197657"/>
                    <a:gd name="connsiteY3848" fmla="*/ 253120 h 926154"/>
                    <a:gd name="connsiteX3849" fmla="*/ 1070182 w 1197657"/>
                    <a:gd name="connsiteY3849" fmla="*/ 252573 h 926154"/>
                    <a:gd name="connsiteX3850" fmla="*/ 1068979 w 1197657"/>
                    <a:gd name="connsiteY3850" fmla="*/ 252476 h 926154"/>
                    <a:gd name="connsiteX3851" fmla="*/ 1066393 w 1197657"/>
                    <a:gd name="connsiteY3851" fmla="*/ 252270 h 926154"/>
                    <a:gd name="connsiteX3852" fmla="*/ 1065166 w 1197657"/>
                    <a:gd name="connsiteY3852" fmla="*/ 252172 h 926154"/>
                    <a:gd name="connsiteX3853" fmla="*/ 1064001 w 1197657"/>
                    <a:gd name="connsiteY3853" fmla="*/ 252561 h 926154"/>
                    <a:gd name="connsiteX3854" fmla="*/ 1051202 w 1197657"/>
                    <a:gd name="connsiteY3854" fmla="*/ 256799 h 926154"/>
                    <a:gd name="connsiteX3855" fmla="*/ 1049077 w 1197657"/>
                    <a:gd name="connsiteY3855" fmla="*/ 254686 h 926154"/>
                    <a:gd name="connsiteX3856" fmla="*/ 1048421 w 1197657"/>
                    <a:gd name="connsiteY3856" fmla="*/ 254030 h 926154"/>
                    <a:gd name="connsiteX3857" fmla="*/ 1047608 w 1197657"/>
                    <a:gd name="connsiteY3857" fmla="*/ 253605 h 926154"/>
                    <a:gd name="connsiteX3858" fmla="*/ 1045592 w 1197657"/>
                    <a:gd name="connsiteY3858" fmla="*/ 252549 h 926154"/>
                    <a:gd name="connsiteX3859" fmla="*/ 1044026 w 1197657"/>
                    <a:gd name="connsiteY3859" fmla="*/ 251723 h 926154"/>
                    <a:gd name="connsiteX3860" fmla="*/ 1042265 w 1197657"/>
                    <a:gd name="connsiteY3860" fmla="*/ 251881 h 926154"/>
                    <a:gd name="connsiteX3861" fmla="*/ 1041961 w 1197657"/>
                    <a:gd name="connsiteY3861" fmla="*/ 251905 h 926154"/>
                    <a:gd name="connsiteX3862" fmla="*/ 1042289 w 1197657"/>
                    <a:gd name="connsiteY3862" fmla="*/ 249720 h 926154"/>
                    <a:gd name="connsiteX3863" fmla="*/ 1042447 w 1197657"/>
                    <a:gd name="connsiteY3863" fmla="*/ 248700 h 926154"/>
                    <a:gd name="connsiteX3864" fmla="*/ 1042253 w 1197657"/>
                    <a:gd name="connsiteY3864" fmla="*/ 247680 h 926154"/>
                    <a:gd name="connsiteX3865" fmla="*/ 1041852 w 1197657"/>
                    <a:gd name="connsiteY3865" fmla="*/ 245615 h 926154"/>
                    <a:gd name="connsiteX3866" fmla="*/ 1041682 w 1197657"/>
                    <a:gd name="connsiteY3866" fmla="*/ 244753 h 926154"/>
                    <a:gd name="connsiteX3867" fmla="*/ 1041281 w 1197657"/>
                    <a:gd name="connsiteY3867" fmla="*/ 243976 h 926154"/>
                    <a:gd name="connsiteX3868" fmla="*/ 1039994 w 1197657"/>
                    <a:gd name="connsiteY3868" fmla="*/ 241499 h 926154"/>
                    <a:gd name="connsiteX3869" fmla="*/ 1039484 w 1197657"/>
                    <a:gd name="connsiteY3869" fmla="*/ 240151 h 926154"/>
                    <a:gd name="connsiteX3870" fmla="*/ 1039351 w 1197657"/>
                    <a:gd name="connsiteY3870" fmla="*/ 238038 h 926154"/>
                    <a:gd name="connsiteX3871" fmla="*/ 1039873 w 1197657"/>
                    <a:gd name="connsiteY3871" fmla="*/ 235452 h 926154"/>
                    <a:gd name="connsiteX3872" fmla="*/ 1039958 w 1197657"/>
                    <a:gd name="connsiteY3872" fmla="*/ 235051 h 926154"/>
                    <a:gd name="connsiteX3873" fmla="*/ 1039982 w 1197657"/>
                    <a:gd name="connsiteY3873" fmla="*/ 234650 h 926154"/>
                    <a:gd name="connsiteX3874" fmla="*/ 1040273 w 1197657"/>
                    <a:gd name="connsiteY3874" fmla="*/ 230485 h 926154"/>
                    <a:gd name="connsiteX3875" fmla="*/ 1040334 w 1197657"/>
                    <a:gd name="connsiteY3875" fmla="*/ 229502 h 926154"/>
                    <a:gd name="connsiteX3876" fmla="*/ 1040091 w 1197657"/>
                    <a:gd name="connsiteY3876" fmla="*/ 228542 h 926154"/>
                    <a:gd name="connsiteX3877" fmla="*/ 1039108 w 1197657"/>
                    <a:gd name="connsiteY3877" fmla="*/ 224717 h 926154"/>
                    <a:gd name="connsiteX3878" fmla="*/ 1038792 w 1197657"/>
                    <a:gd name="connsiteY3878" fmla="*/ 223491 h 926154"/>
                    <a:gd name="connsiteX3879" fmla="*/ 1038015 w 1197657"/>
                    <a:gd name="connsiteY3879" fmla="*/ 222495 h 926154"/>
                    <a:gd name="connsiteX3880" fmla="*/ 1034056 w 1197657"/>
                    <a:gd name="connsiteY3880" fmla="*/ 217419 h 926154"/>
                    <a:gd name="connsiteX3881" fmla="*/ 1033303 w 1197657"/>
                    <a:gd name="connsiteY3881" fmla="*/ 216448 h 926154"/>
                    <a:gd name="connsiteX3882" fmla="*/ 1032247 w 1197657"/>
                    <a:gd name="connsiteY3882" fmla="*/ 215853 h 926154"/>
                    <a:gd name="connsiteX3883" fmla="*/ 1029551 w 1197657"/>
                    <a:gd name="connsiteY3883" fmla="*/ 214335 h 926154"/>
                    <a:gd name="connsiteX3884" fmla="*/ 1028228 w 1197657"/>
                    <a:gd name="connsiteY3884" fmla="*/ 213582 h 926154"/>
                    <a:gd name="connsiteX3885" fmla="*/ 1026710 w 1197657"/>
                    <a:gd name="connsiteY3885" fmla="*/ 213546 h 926154"/>
                    <a:gd name="connsiteX3886" fmla="*/ 1024184 w 1197657"/>
                    <a:gd name="connsiteY3886" fmla="*/ 213485 h 926154"/>
                    <a:gd name="connsiteX3887" fmla="*/ 1022265 w 1197657"/>
                    <a:gd name="connsiteY3887" fmla="*/ 213449 h 926154"/>
                    <a:gd name="connsiteX3888" fmla="*/ 1020675 w 1197657"/>
                    <a:gd name="connsiteY3888" fmla="*/ 214505 h 926154"/>
                    <a:gd name="connsiteX3889" fmla="*/ 1018780 w 1197657"/>
                    <a:gd name="connsiteY3889" fmla="*/ 215768 h 926154"/>
                    <a:gd name="connsiteX3890" fmla="*/ 1018343 w 1197657"/>
                    <a:gd name="connsiteY3890" fmla="*/ 216059 h 926154"/>
                    <a:gd name="connsiteX3891" fmla="*/ 1018040 w 1197657"/>
                    <a:gd name="connsiteY3891" fmla="*/ 216351 h 926154"/>
                    <a:gd name="connsiteX3892" fmla="*/ 1018040 w 1197657"/>
                    <a:gd name="connsiteY3892" fmla="*/ 215537 h 926154"/>
                    <a:gd name="connsiteX3893" fmla="*/ 1018234 w 1197657"/>
                    <a:gd name="connsiteY3893" fmla="*/ 214736 h 926154"/>
                    <a:gd name="connsiteX3894" fmla="*/ 1018744 w 1197657"/>
                    <a:gd name="connsiteY3894" fmla="*/ 213558 h 926154"/>
                    <a:gd name="connsiteX3895" fmla="*/ 1018878 w 1197657"/>
                    <a:gd name="connsiteY3895" fmla="*/ 213254 h 926154"/>
                    <a:gd name="connsiteX3896" fmla="*/ 1018975 w 1197657"/>
                    <a:gd name="connsiteY3896" fmla="*/ 212939 h 926154"/>
                    <a:gd name="connsiteX3897" fmla="*/ 1019375 w 1197657"/>
                    <a:gd name="connsiteY3897" fmla="*/ 211652 h 926154"/>
                    <a:gd name="connsiteX3898" fmla="*/ 1019764 w 1197657"/>
                    <a:gd name="connsiteY3898" fmla="*/ 210389 h 926154"/>
                    <a:gd name="connsiteX3899" fmla="*/ 1019606 w 1197657"/>
                    <a:gd name="connsiteY3899" fmla="*/ 209089 h 926154"/>
                    <a:gd name="connsiteX3900" fmla="*/ 1019436 w 1197657"/>
                    <a:gd name="connsiteY3900" fmla="*/ 207705 h 926154"/>
                    <a:gd name="connsiteX3901" fmla="*/ 1019266 w 1197657"/>
                    <a:gd name="connsiteY3901" fmla="*/ 206321 h 926154"/>
                    <a:gd name="connsiteX3902" fmla="*/ 1018513 w 1197657"/>
                    <a:gd name="connsiteY3902" fmla="*/ 205143 h 926154"/>
                    <a:gd name="connsiteX3903" fmla="*/ 1017190 w 1197657"/>
                    <a:gd name="connsiteY3903" fmla="*/ 203103 h 926154"/>
                    <a:gd name="connsiteX3904" fmla="*/ 1016850 w 1197657"/>
                    <a:gd name="connsiteY3904" fmla="*/ 202569 h 926154"/>
                    <a:gd name="connsiteX3905" fmla="*/ 1016388 w 1197657"/>
                    <a:gd name="connsiteY3905" fmla="*/ 202119 h 926154"/>
                    <a:gd name="connsiteX3906" fmla="*/ 1015477 w 1197657"/>
                    <a:gd name="connsiteY3906" fmla="*/ 201209 h 926154"/>
                    <a:gd name="connsiteX3907" fmla="*/ 1014785 w 1197657"/>
                    <a:gd name="connsiteY3907" fmla="*/ 200504 h 926154"/>
                    <a:gd name="connsiteX3908" fmla="*/ 1013899 w 1197657"/>
                    <a:gd name="connsiteY3908" fmla="*/ 200067 h 926154"/>
                    <a:gd name="connsiteX3909" fmla="*/ 1012223 w 1197657"/>
                    <a:gd name="connsiteY3909" fmla="*/ 199229 h 926154"/>
                    <a:gd name="connsiteX3910" fmla="*/ 1011410 w 1197657"/>
                    <a:gd name="connsiteY3910" fmla="*/ 198829 h 926154"/>
                    <a:gd name="connsiteX3911" fmla="*/ 1010523 w 1197657"/>
                    <a:gd name="connsiteY3911" fmla="*/ 198671 h 926154"/>
                    <a:gd name="connsiteX3912" fmla="*/ 1006261 w 1197657"/>
                    <a:gd name="connsiteY3912" fmla="*/ 197954 h 926154"/>
                    <a:gd name="connsiteX3913" fmla="*/ 1005532 w 1197657"/>
                    <a:gd name="connsiteY3913" fmla="*/ 197651 h 926154"/>
                    <a:gd name="connsiteX3914" fmla="*/ 1004974 w 1197657"/>
                    <a:gd name="connsiteY3914" fmla="*/ 197116 h 926154"/>
                    <a:gd name="connsiteX3915" fmla="*/ 1004148 w 1197657"/>
                    <a:gd name="connsiteY3915" fmla="*/ 195708 h 926154"/>
                    <a:gd name="connsiteX3916" fmla="*/ 1003140 w 1197657"/>
                    <a:gd name="connsiteY3916" fmla="*/ 192830 h 926154"/>
                    <a:gd name="connsiteX3917" fmla="*/ 1003007 w 1197657"/>
                    <a:gd name="connsiteY3917" fmla="*/ 192429 h 926154"/>
                    <a:gd name="connsiteX3918" fmla="*/ 1002812 w 1197657"/>
                    <a:gd name="connsiteY3918" fmla="*/ 192053 h 926154"/>
                    <a:gd name="connsiteX3919" fmla="*/ 1001707 w 1197657"/>
                    <a:gd name="connsiteY3919" fmla="*/ 189904 h 926154"/>
                    <a:gd name="connsiteX3920" fmla="*/ 1001428 w 1197657"/>
                    <a:gd name="connsiteY3920" fmla="*/ 189369 h 926154"/>
                    <a:gd name="connsiteX3921" fmla="*/ 1001052 w 1197657"/>
                    <a:gd name="connsiteY3921" fmla="*/ 188896 h 926154"/>
                    <a:gd name="connsiteX3922" fmla="*/ 999740 w 1197657"/>
                    <a:gd name="connsiteY3922" fmla="*/ 187256 h 926154"/>
                    <a:gd name="connsiteX3923" fmla="*/ 999072 w 1197657"/>
                    <a:gd name="connsiteY3923" fmla="*/ 186418 h 926154"/>
                    <a:gd name="connsiteX3924" fmla="*/ 998150 w 1197657"/>
                    <a:gd name="connsiteY3924" fmla="*/ 185860 h 926154"/>
                    <a:gd name="connsiteX3925" fmla="*/ 996595 w 1197657"/>
                    <a:gd name="connsiteY3925" fmla="*/ 184913 h 926154"/>
                    <a:gd name="connsiteX3926" fmla="*/ 995794 w 1197657"/>
                    <a:gd name="connsiteY3926" fmla="*/ 184427 h 926154"/>
                    <a:gd name="connsiteX3927" fmla="*/ 994883 w 1197657"/>
                    <a:gd name="connsiteY3927" fmla="*/ 184196 h 926154"/>
                    <a:gd name="connsiteX3928" fmla="*/ 993329 w 1197657"/>
                    <a:gd name="connsiteY3928" fmla="*/ 183820 h 926154"/>
                    <a:gd name="connsiteX3929" fmla="*/ 992467 w 1197657"/>
                    <a:gd name="connsiteY3929" fmla="*/ 183613 h 926154"/>
                    <a:gd name="connsiteX3930" fmla="*/ 991653 w 1197657"/>
                    <a:gd name="connsiteY3930" fmla="*/ 183650 h 926154"/>
                    <a:gd name="connsiteX3931" fmla="*/ 992248 w 1197657"/>
                    <a:gd name="connsiteY3931" fmla="*/ 180043 h 926154"/>
                    <a:gd name="connsiteX3932" fmla="*/ 992309 w 1197657"/>
                    <a:gd name="connsiteY3932" fmla="*/ 179691 h 926154"/>
                    <a:gd name="connsiteX3933" fmla="*/ 992321 w 1197657"/>
                    <a:gd name="connsiteY3933" fmla="*/ 179339 h 926154"/>
                    <a:gd name="connsiteX3934" fmla="*/ 992442 w 1197657"/>
                    <a:gd name="connsiteY3934" fmla="*/ 176898 h 926154"/>
                    <a:gd name="connsiteX3935" fmla="*/ 992455 w 1197657"/>
                    <a:gd name="connsiteY3935" fmla="*/ 176510 h 926154"/>
                    <a:gd name="connsiteX3936" fmla="*/ 992430 w 1197657"/>
                    <a:gd name="connsiteY3936" fmla="*/ 176121 h 926154"/>
                    <a:gd name="connsiteX3937" fmla="*/ 992066 w 1197657"/>
                    <a:gd name="connsiteY3937" fmla="*/ 171556 h 926154"/>
                    <a:gd name="connsiteX3938" fmla="*/ 992115 w 1197657"/>
                    <a:gd name="connsiteY3938" fmla="*/ 170402 h 926154"/>
                    <a:gd name="connsiteX3939" fmla="*/ 992248 w 1197657"/>
                    <a:gd name="connsiteY3939" fmla="*/ 170025 h 926154"/>
                    <a:gd name="connsiteX3940" fmla="*/ 992479 w 1197657"/>
                    <a:gd name="connsiteY3940" fmla="*/ 169722 h 926154"/>
                    <a:gd name="connsiteX3941" fmla="*/ 994385 w 1197657"/>
                    <a:gd name="connsiteY3941" fmla="*/ 168410 h 926154"/>
                    <a:gd name="connsiteX3942" fmla="*/ 996802 w 1197657"/>
                    <a:gd name="connsiteY3942" fmla="*/ 167099 h 926154"/>
                    <a:gd name="connsiteX3943" fmla="*/ 997166 w 1197657"/>
                    <a:gd name="connsiteY3943" fmla="*/ 166893 h 926154"/>
                    <a:gd name="connsiteX3944" fmla="*/ 997506 w 1197657"/>
                    <a:gd name="connsiteY3944" fmla="*/ 166638 h 926154"/>
                    <a:gd name="connsiteX3945" fmla="*/ 999874 w 1197657"/>
                    <a:gd name="connsiteY3945" fmla="*/ 164889 h 926154"/>
                    <a:gd name="connsiteX3946" fmla="*/ 1000262 w 1197657"/>
                    <a:gd name="connsiteY3946" fmla="*/ 164610 h 926154"/>
                    <a:gd name="connsiteX3947" fmla="*/ 1000602 w 1197657"/>
                    <a:gd name="connsiteY3947" fmla="*/ 164258 h 926154"/>
                    <a:gd name="connsiteX3948" fmla="*/ 1001635 w 1197657"/>
                    <a:gd name="connsiteY3948" fmla="*/ 163201 h 926154"/>
                    <a:gd name="connsiteX3949" fmla="*/ 1003845 w 1197657"/>
                    <a:gd name="connsiteY3949" fmla="*/ 160942 h 926154"/>
                    <a:gd name="connsiteX3950" fmla="*/ 1003262 w 1197657"/>
                    <a:gd name="connsiteY3950" fmla="*/ 157846 h 926154"/>
                    <a:gd name="connsiteX3951" fmla="*/ 1002230 w 1197657"/>
                    <a:gd name="connsiteY3951" fmla="*/ 152333 h 926154"/>
                    <a:gd name="connsiteX3952" fmla="*/ 1001999 w 1197657"/>
                    <a:gd name="connsiteY3952" fmla="*/ 151119 h 926154"/>
                    <a:gd name="connsiteX3953" fmla="*/ 1001319 w 1197657"/>
                    <a:gd name="connsiteY3953" fmla="*/ 150087 h 926154"/>
                    <a:gd name="connsiteX3954" fmla="*/ 999315 w 1197657"/>
                    <a:gd name="connsiteY3954" fmla="*/ 147063 h 926154"/>
                    <a:gd name="connsiteX3955" fmla="*/ 998587 w 1197657"/>
                    <a:gd name="connsiteY3955" fmla="*/ 145521 h 926154"/>
                    <a:gd name="connsiteX3956" fmla="*/ 998575 w 1197657"/>
                    <a:gd name="connsiteY3956" fmla="*/ 145363 h 926154"/>
                    <a:gd name="connsiteX3957" fmla="*/ 998647 w 1197657"/>
                    <a:gd name="connsiteY3957" fmla="*/ 141514 h 926154"/>
                    <a:gd name="connsiteX3958" fmla="*/ 998647 w 1197657"/>
                    <a:gd name="connsiteY3958" fmla="*/ 140870 h 926154"/>
                    <a:gd name="connsiteX3959" fmla="*/ 998526 w 1197657"/>
                    <a:gd name="connsiteY3959" fmla="*/ 140239 h 926154"/>
                    <a:gd name="connsiteX3960" fmla="*/ 998004 w 1197657"/>
                    <a:gd name="connsiteY3960" fmla="*/ 137640 h 926154"/>
                    <a:gd name="connsiteX3961" fmla="*/ 997870 w 1197657"/>
                    <a:gd name="connsiteY3961" fmla="*/ 136960 h 926154"/>
                    <a:gd name="connsiteX3962" fmla="*/ 997579 w 1197657"/>
                    <a:gd name="connsiteY3962" fmla="*/ 136329 h 926154"/>
                    <a:gd name="connsiteX3963" fmla="*/ 996207 w 1197657"/>
                    <a:gd name="connsiteY3963" fmla="*/ 133305 h 926154"/>
                    <a:gd name="connsiteX3964" fmla="*/ 995976 w 1197657"/>
                    <a:gd name="connsiteY3964" fmla="*/ 132807 h 926154"/>
                    <a:gd name="connsiteX3965" fmla="*/ 995672 w 1197657"/>
                    <a:gd name="connsiteY3965" fmla="*/ 132358 h 926154"/>
                    <a:gd name="connsiteX3966" fmla="*/ 989176 w 1197657"/>
                    <a:gd name="connsiteY3966" fmla="*/ 122947 h 926154"/>
                    <a:gd name="connsiteX3967" fmla="*/ 988265 w 1197657"/>
                    <a:gd name="connsiteY3967" fmla="*/ 121636 h 926154"/>
                    <a:gd name="connsiteX3968" fmla="*/ 986820 w 1197657"/>
                    <a:gd name="connsiteY3968" fmla="*/ 120932 h 926154"/>
                    <a:gd name="connsiteX3969" fmla="*/ 985436 w 1197657"/>
                    <a:gd name="connsiteY3969" fmla="*/ 120264 h 926154"/>
                    <a:gd name="connsiteX3970" fmla="*/ 982412 w 1197657"/>
                    <a:gd name="connsiteY3970" fmla="*/ 118794 h 926154"/>
                    <a:gd name="connsiteX3971" fmla="*/ 979559 w 1197657"/>
                    <a:gd name="connsiteY3971" fmla="*/ 120579 h 926154"/>
                    <a:gd name="connsiteX3972" fmla="*/ 977956 w 1197657"/>
                    <a:gd name="connsiteY3972" fmla="*/ 121587 h 926154"/>
                    <a:gd name="connsiteX3973" fmla="*/ 976899 w 1197657"/>
                    <a:gd name="connsiteY3973" fmla="*/ 122255 h 926154"/>
                    <a:gd name="connsiteX3974" fmla="*/ 976195 w 1197657"/>
                    <a:gd name="connsiteY3974" fmla="*/ 123275 h 926154"/>
                    <a:gd name="connsiteX3975" fmla="*/ 974932 w 1197657"/>
                    <a:gd name="connsiteY3975" fmla="*/ 125109 h 926154"/>
                    <a:gd name="connsiteX3976" fmla="*/ 974568 w 1197657"/>
                    <a:gd name="connsiteY3976" fmla="*/ 125631 h 926154"/>
                    <a:gd name="connsiteX3977" fmla="*/ 974325 w 1197657"/>
                    <a:gd name="connsiteY3977" fmla="*/ 126214 h 926154"/>
                    <a:gd name="connsiteX3978" fmla="*/ 972285 w 1197657"/>
                    <a:gd name="connsiteY3978" fmla="*/ 131107 h 926154"/>
                    <a:gd name="connsiteX3979" fmla="*/ 971399 w 1197657"/>
                    <a:gd name="connsiteY3979" fmla="*/ 132662 h 926154"/>
                    <a:gd name="connsiteX3980" fmla="*/ 970488 w 1197657"/>
                    <a:gd name="connsiteY3980" fmla="*/ 133803 h 926154"/>
                    <a:gd name="connsiteX3981" fmla="*/ 969347 w 1197657"/>
                    <a:gd name="connsiteY3981" fmla="*/ 134677 h 926154"/>
                    <a:gd name="connsiteX3982" fmla="*/ 965388 w 1197657"/>
                    <a:gd name="connsiteY3982" fmla="*/ 137240 h 926154"/>
                    <a:gd name="connsiteX3983" fmla="*/ 965291 w 1197657"/>
                    <a:gd name="connsiteY3983" fmla="*/ 137142 h 926154"/>
                    <a:gd name="connsiteX3984" fmla="*/ 962012 w 1197657"/>
                    <a:gd name="connsiteY3984" fmla="*/ 133220 h 926154"/>
                    <a:gd name="connsiteX3985" fmla="*/ 961891 w 1197657"/>
                    <a:gd name="connsiteY3985" fmla="*/ 132953 h 926154"/>
                    <a:gd name="connsiteX3986" fmla="*/ 961454 w 1197657"/>
                    <a:gd name="connsiteY3986" fmla="*/ 130488 h 926154"/>
                    <a:gd name="connsiteX3987" fmla="*/ 961296 w 1197657"/>
                    <a:gd name="connsiteY3987" fmla="*/ 129602 h 926154"/>
                    <a:gd name="connsiteX3988" fmla="*/ 960883 w 1197657"/>
                    <a:gd name="connsiteY3988" fmla="*/ 128800 h 926154"/>
                    <a:gd name="connsiteX3989" fmla="*/ 960081 w 1197657"/>
                    <a:gd name="connsiteY3989" fmla="*/ 127234 h 926154"/>
                    <a:gd name="connsiteX3990" fmla="*/ 959705 w 1197657"/>
                    <a:gd name="connsiteY3990" fmla="*/ 126505 h 926154"/>
                    <a:gd name="connsiteX3991" fmla="*/ 959159 w 1197657"/>
                    <a:gd name="connsiteY3991" fmla="*/ 125898 h 926154"/>
                    <a:gd name="connsiteX3992" fmla="*/ 957835 w 1197657"/>
                    <a:gd name="connsiteY3992" fmla="*/ 124453 h 926154"/>
                    <a:gd name="connsiteX3993" fmla="*/ 956936 w 1197657"/>
                    <a:gd name="connsiteY3993" fmla="*/ 123469 h 926154"/>
                    <a:gd name="connsiteX3994" fmla="*/ 955710 w 1197657"/>
                    <a:gd name="connsiteY3994" fmla="*/ 122959 h 926154"/>
                    <a:gd name="connsiteX3995" fmla="*/ 952541 w 1197657"/>
                    <a:gd name="connsiteY3995" fmla="*/ 121624 h 926154"/>
                    <a:gd name="connsiteX3996" fmla="*/ 952383 w 1197657"/>
                    <a:gd name="connsiteY3996" fmla="*/ 121502 h 926154"/>
                    <a:gd name="connsiteX3997" fmla="*/ 950306 w 1197657"/>
                    <a:gd name="connsiteY3997" fmla="*/ 118964 h 926154"/>
                    <a:gd name="connsiteX3998" fmla="*/ 949821 w 1197657"/>
                    <a:gd name="connsiteY3998" fmla="*/ 118369 h 926154"/>
                    <a:gd name="connsiteX3999" fmla="*/ 949201 w 1197657"/>
                    <a:gd name="connsiteY3999" fmla="*/ 117908 h 926154"/>
                    <a:gd name="connsiteX4000" fmla="*/ 947647 w 1197657"/>
                    <a:gd name="connsiteY4000" fmla="*/ 116766 h 926154"/>
                    <a:gd name="connsiteX4001" fmla="*/ 947210 w 1197657"/>
                    <a:gd name="connsiteY4001" fmla="*/ 116439 h 926154"/>
                    <a:gd name="connsiteX4002" fmla="*/ 946712 w 1197657"/>
                    <a:gd name="connsiteY4002" fmla="*/ 116196 h 926154"/>
                    <a:gd name="connsiteX4003" fmla="*/ 943506 w 1197657"/>
                    <a:gd name="connsiteY4003" fmla="*/ 114629 h 926154"/>
                    <a:gd name="connsiteX4004" fmla="*/ 942923 w 1197657"/>
                    <a:gd name="connsiteY4004" fmla="*/ 113974 h 926154"/>
                    <a:gd name="connsiteX4005" fmla="*/ 942462 w 1197657"/>
                    <a:gd name="connsiteY4005" fmla="*/ 113111 h 926154"/>
                    <a:gd name="connsiteX4006" fmla="*/ 941236 w 1197657"/>
                    <a:gd name="connsiteY4006" fmla="*/ 109566 h 926154"/>
                    <a:gd name="connsiteX4007" fmla="*/ 941053 w 1197657"/>
                    <a:gd name="connsiteY4007" fmla="*/ 109019 h 926154"/>
                    <a:gd name="connsiteX4008" fmla="*/ 940774 w 1197657"/>
                    <a:gd name="connsiteY4008" fmla="*/ 108521 h 926154"/>
                    <a:gd name="connsiteX4009" fmla="*/ 938540 w 1197657"/>
                    <a:gd name="connsiteY4009" fmla="*/ 104624 h 926154"/>
                    <a:gd name="connsiteX4010" fmla="*/ 938698 w 1197657"/>
                    <a:gd name="connsiteY4010" fmla="*/ 103871 h 926154"/>
                    <a:gd name="connsiteX4011" fmla="*/ 943251 w 1197657"/>
                    <a:gd name="connsiteY4011" fmla="*/ 92238 h 926154"/>
                    <a:gd name="connsiteX4012" fmla="*/ 943312 w 1197657"/>
                    <a:gd name="connsiteY4012" fmla="*/ 92165 h 926154"/>
                    <a:gd name="connsiteX4013" fmla="*/ 944356 w 1197657"/>
                    <a:gd name="connsiteY4013" fmla="*/ 91400 h 926154"/>
                    <a:gd name="connsiteX4014" fmla="*/ 944769 w 1197657"/>
                    <a:gd name="connsiteY4014" fmla="*/ 91109 h 926154"/>
                    <a:gd name="connsiteX4015" fmla="*/ 945121 w 1197657"/>
                    <a:gd name="connsiteY4015" fmla="*/ 90744 h 926154"/>
                    <a:gd name="connsiteX4016" fmla="*/ 946676 w 1197657"/>
                    <a:gd name="connsiteY4016" fmla="*/ 89141 h 926154"/>
                    <a:gd name="connsiteX4017" fmla="*/ 947526 w 1197657"/>
                    <a:gd name="connsiteY4017" fmla="*/ 88267 h 926154"/>
                    <a:gd name="connsiteX4018" fmla="*/ 947975 w 1197657"/>
                    <a:gd name="connsiteY4018" fmla="*/ 87138 h 926154"/>
                    <a:gd name="connsiteX4019" fmla="*/ 948023 w 1197657"/>
                    <a:gd name="connsiteY4019" fmla="*/ 87004 h 926154"/>
                    <a:gd name="connsiteX4020" fmla="*/ 948218 w 1197657"/>
                    <a:gd name="connsiteY4020" fmla="*/ 87016 h 926154"/>
                    <a:gd name="connsiteX4021" fmla="*/ 948546 w 1197657"/>
                    <a:gd name="connsiteY4021" fmla="*/ 87053 h 926154"/>
                    <a:gd name="connsiteX4022" fmla="*/ 948873 w 1197657"/>
                    <a:gd name="connsiteY4022" fmla="*/ 87053 h 926154"/>
                    <a:gd name="connsiteX4023" fmla="*/ 951751 w 1197657"/>
                    <a:gd name="connsiteY4023" fmla="*/ 87053 h 926154"/>
                    <a:gd name="connsiteX4024" fmla="*/ 952529 w 1197657"/>
                    <a:gd name="connsiteY4024" fmla="*/ 87053 h 926154"/>
                    <a:gd name="connsiteX4025" fmla="*/ 953281 w 1197657"/>
                    <a:gd name="connsiteY4025" fmla="*/ 86858 h 926154"/>
                    <a:gd name="connsiteX4026" fmla="*/ 955455 w 1197657"/>
                    <a:gd name="connsiteY4026" fmla="*/ 86288 h 926154"/>
                    <a:gd name="connsiteX4027" fmla="*/ 956026 w 1197657"/>
                    <a:gd name="connsiteY4027" fmla="*/ 86130 h 926154"/>
                    <a:gd name="connsiteX4028" fmla="*/ 956560 w 1197657"/>
                    <a:gd name="connsiteY4028" fmla="*/ 85875 h 926154"/>
                    <a:gd name="connsiteX4029" fmla="*/ 957993 w 1197657"/>
                    <a:gd name="connsiteY4029" fmla="*/ 85183 h 926154"/>
                    <a:gd name="connsiteX4030" fmla="*/ 958879 w 1197657"/>
                    <a:gd name="connsiteY4030" fmla="*/ 84746 h 926154"/>
                    <a:gd name="connsiteX4031" fmla="*/ 959584 w 1197657"/>
                    <a:gd name="connsiteY4031" fmla="*/ 84053 h 926154"/>
                    <a:gd name="connsiteX4032" fmla="*/ 961029 w 1197657"/>
                    <a:gd name="connsiteY4032" fmla="*/ 82645 h 926154"/>
                    <a:gd name="connsiteX4033" fmla="*/ 961672 w 1197657"/>
                    <a:gd name="connsiteY4033" fmla="*/ 82013 h 926154"/>
                    <a:gd name="connsiteX4034" fmla="*/ 962109 w 1197657"/>
                    <a:gd name="connsiteY4034" fmla="*/ 81224 h 926154"/>
                    <a:gd name="connsiteX4035" fmla="*/ 963141 w 1197657"/>
                    <a:gd name="connsiteY4035" fmla="*/ 79354 h 926154"/>
                    <a:gd name="connsiteX4036" fmla="*/ 963530 w 1197657"/>
                    <a:gd name="connsiteY4036" fmla="*/ 78650 h 926154"/>
                    <a:gd name="connsiteX4037" fmla="*/ 963724 w 1197657"/>
                    <a:gd name="connsiteY4037" fmla="*/ 77873 h 926154"/>
                    <a:gd name="connsiteX4038" fmla="*/ 964356 w 1197657"/>
                    <a:gd name="connsiteY4038" fmla="*/ 75298 h 926154"/>
                    <a:gd name="connsiteX4039" fmla="*/ 964599 w 1197657"/>
                    <a:gd name="connsiteY4039" fmla="*/ 74339 h 926154"/>
                    <a:gd name="connsiteX4040" fmla="*/ 964526 w 1197657"/>
                    <a:gd name="connsiteY4040" fmla="*/ 73355 h 926154"/>
                    <a:gd name="connsiteX4041" fmla="*/ 964356 w 1197657"/>
                    <a:gd name="connsiteY4041" fmla="*/ 71230 h 926154"/>
                    <a:gd name="connsiteX4042" fmla="*/ 964259 w 1197657"/>
                    <a:gd name="connsiteY4042" fmla="*/ 70077 h 926154"/>
                    <a:gd name="connsiteX4043" fmla="*/ 963749 w 1197657"/>
                    <a:gd name="connsiteY4043" fmla="*/ 69045 h 926154"/>
                    <a:gd name="connsiteX4044" fmla="*/ 962996 w 1197657"/>
                    <a:gd name="connsiteY4044" fmla="*/ 67515 h 926154"/>
                    <a:gd name="connsiteX4045" fmla="*/ 962085 w 1197657"/>
                    <a:gd name="connsiteY4045" fmla="*/ 65669 h 926154"/>
                    <a:gd name="connsiteX4046" fmla="*/ 960239 w 1197657"/>
                    <a:gd name="connsiteY4046" fmla="*/ 64758 h 926154"/>
                    <a:gd name="connsiteX4047" fmla="*/ 958746 w 1197657"/>
                    <a:gd name="connsiteY4047" fmla="*/ 64018 h 926154"/>
                    <a:gd name="connsiteX4048" fmla="*/ 957191 w 1197657"/>
                    <a:gd name="connsiteY4048" fmla="*/ 63253 h 926154"/>
                    <a:gd name="connsiteX4049" fmla="*/ 955467 w 1197657"/>
                    <a:gd name="connsiteY4049" fmla="*/ 63423 h 926154"/>
                    <a:gd name="connsiteX4050" fmla="*/ 954095 w 1197657"/>
                    <a:gd name="connsiteY4050" fmla="*/ 63556 h 926154"/>
                    <a:gd name="connsiteX4051" fmla="*/ 952771 w 1197657"/>
                    <a:gd name="connsiteY4051" fmla="*/ 63678 h 926154"/>
                    <a:gd name="connsiteX4052" fmla="*/ 951630 w 1197657"/>
                    <a:gd name="connsiteY4052" fmla="*/ 64345 h 926154"/>
                    <a:gd name="connsiteX4053" fmla="*/ 949675 w 1197657"/>
                    <a:gd name="connsiteY4053" fmla="*/ 65475 h 926154"/>
                    <a:gd name="connsiteX4054" fmla="*/ 949299 w 1197657"/>
                    <a:gd name="connsiteY4054" fmla="*/ 65693 h 926154"/>
                    <a:gd name="connsiteX4055" fmla="*/ 949262 w 1197657"/>
                    <a:gd name="connsiteY4055" fmla="*/ 65718 h 926154"/>
                    <a:gd name="connsiteX4056" fmla="*/ 941648 w 1197657"/>
                    <a:gd name="connsiteY4056" fmla="*/ 63180 h 926154"/>
                    <a:gd name="connsiteX4057" fmla="*/ 941357 w 1197657"/>
                    <a:gd name="connsiteY4057" fmla="*/ 63046 h 926154"/>
                    <a:gd name="connsiteX4058" fmla="*/ 941988 w 1197657"/>
                    <a:gd name="connsiteY4058" fmla="*/ 61358 h 926154"/>
                    <a:gd name="connsiteX4059" fmla="*/ 942243 w 1197657"/>
                    <a:gd name="connsiteY4059" fmla="*/ 60654 h 926154"/>
                    <a:gd name="connsiteX4060" fmla="*/ 942328 w 1197657"/>
                    <a:gd name="connsiteY4060" fmla="*/ 59901 h 926154"/>
                    <a:gd name="connsiteX4061" fmla="*/ 942790 w 1197657"/>
                    <a:gd name="connsiteY4061" fmla="*/ 55748 h 926154"/>
                    <a:gd name="connsiteX4062" fmla="*/ 942826 w 1197657"/>
                    <a:gd name="connsiteY4062" fmla="*/ 55420 h 926154"/>
                    <a:gd name="connsiteX4063" fmla="*/ 942826 w 1197657"/>
                    <a:gd name="connsiteY4063" fmla="*/ 55080 h 926154"/>
                    <a:gd name="connsiteX4064" fmla="*/ 942826 w 1197657"/>
                    <a:gd name="connsiteY4064" fmla="*/ 50770 h 926154"/>
                    <a:gd name="connsiteX4065" fmla="*/ 942826 w 1197657"/>
                    <a:gd name="connsiteY4065" fmla="*/ 50235 h 926154"/>
                    <a:gd name="connsiteX4066" fmla="*/ 942729 w 1197657"/>
                    <a:gd name="connsiteY4066" fmla="*/ 49701 h 926154"/>
                    <a:gd name="connsiteX4067" fmla="*/ 942450 w 1197657"/>
                    <a:gd name="connsiteY4067" fmla="*/ 48147 h 926154"/>
                    <a:gd name="connsiteX4068" fmla="*/ 942389 w 1197657"/>
                    <a:gd name="connsiteY4068" fmla="*/ 47831 h 926154"/>
                    <a:gd name="connsiteX4069" fmla="*/ 942304 w 1197657"/>
                    <a:gd name="connsiteY4069" fmla="*/ 47527 h 926154"/>
                    <a:gd name="connsiteX4070" fmla="*/ 941903 w 1197657"/>
                    <a:gd name="connsiteY4070" fmla="*/ 46143 h 926154"/>
                    <a:gd name="connsiteX4071" fmla="*/ 941661 w 1197657"/>
                    <a:gd name="connsiteY4071" fmla="*/ 45305 h 926154"/>
                    <a:gd name="connsiteX4072" fmla="*/ 941187 w 1197657"/>
                    <a:gd name="connsiteY4072" fmla="*/ 44565 h 926154"/>
                    <a:gd name="connsiteX4073" fmla="*/ 940774 w 1197657"/>
                    <a:gd name="connsiteY4073" fmla="*/ 43873 h 926154"/>
                    <a:gd name="connsiteX4074" fmla="*/ 939827 w 1197657"/>
                    <a:gd name="connsiteY4074" fmla="*/ 42707 h 926154"/>
                    <a:gd name="connsiteX4075" fmla="*/ 939086 w 1197657"/>
                    <a:gd name="connsiteY4075" fmla="*/ 41990 h 926154"/>
                    <a:gd name="connsiteX4076" fmla="*/ 937726 w 1197657"/>
                    <a:gd name="connsiteY4076" fmla="*/ 40667 h 926154"/>
                    <a:gd name="connsiteX4077" fmla="*/ 935868 w 1197657"/>
                    <a:gd name="connsiteY4077" fmla="*/ 40351 h 926154"/>
                    <a:gd name="connsiteX4078" fmla="*/ 933743 w 1197657"/>
                    <a:gd name="connsiteY4078" fmla="*/ 39987 h 926154"/>
                    <a:gd name="connsiteX4079" fmla="*/ 932930 w 1197657"/>
                    <a:gd name="connsiteY4079" fmla="*/ 39853 h 926154"/>
                    <a:gd name="connsiteX4080" fmla="*/ 932104 w 1197657"/>
                    <a:gd name="connsiteY4080" fmla="*/ 39938 h 926154"/>
                    <a:gd name="connsiteX4081" fmla="*/ 928777 w 1197657"/>
                    <a:gd name="connsiteY4081" fmla="*/ 40278 h 926154"/>
                    <a:gd name="connsiteX4082" fmla="*/ 928121 w 1197657"/>
                    <a:gd name="connsiteY4082" fmla="*/ 40339 h 926154"/>
                    <a:gd name="connsiteX4083" fmla="*/ 927490 w 1197657"/>
                    <a:gd name="connsiteY4083" fmla="*/ 40545 h 926154"/>
                    <a:gd name="connsiteX4084" fmla="*/ 921855 w 1197657"/>
                    <a:gd name="connsiteY4084" fmla="*/ 42403 h 926154"/>
                    <a:gd name="connsiteX4085" fmla="*/ 919730 w 1197657"/>
                    <a:gd name="connsiteY4085" fmla="*/ 42792 h 926154"/>
                    <a:gd name="connsiteX4086" fmla="*/ 918213 w 1197657"/>
                    <a:gd name="connsiteY4086" fmla="*/ 42913 h 926154"/>
                    <a:gd name="connsiteX4087" fmla="*/ 916707 w 1197657"/>
                    <a:gd name="connsiteY4087" fmla="*/ 43144 h 926154"/>
                    <a:gd name="connsiteX4088" fmla="*/ 915456 w 1197657"/>
                    <a:gd name="connsiteY4088" fmla="*/ 43362 h 926154"/>
                    <a:gd name="connsiteX4089" fmla="*/ 914400 w 1197657"/>
                    <a:gd name="connsiteY4089" fmla="*/ 44055 h 926154"/>
                    <a:gd name="connsiteX4090" fmla="*/ 913428 w 1197657"/>
                    <a:gd name="connsiteY4090" fmla="*/ 44686 h 926154"/>
                    <a:gd name="connsiteX4091" fmla="*/ 912858 w 1197657"/>
                    <a:gd name="connsiteY4091" fmla="*/ 45062 h 926154"/>
                    <a:gd name="connsiteX4092" fmla="*/ 912372 w 1197657"/>
                    <a:gd name="connsiteY4092" fmla="*/ 45560 h 926154"/>
                    <a:gd name="connsiteX4093" fmla="*/ 910465 w 1197657"/>
                    <a:gd name="connsiteY4093" fmla="*/ 47540 h 926154"/>
                    <a:gd name="connsiteX4094" fmla="*/ 910077 w 1197657"/>
                    <a:gd name="connsiteY4094" fmla="*/ 47940 h 926154"/>
                    <a:gd name="connsiteX4095" fmla="*/ 909773 w 1197657"/>
                    <a:gd name="connsiteY4095" fmla="*/ 48414 h 926154"/>
                    <a:gd name="connsiteX4096" fmla="*/ 908729 w 1197657"/>
                    <a:gd name="connsiteY4096" fmla="*/ 49993 h 926154"/>
                    <a:gd name="connsiteX4097" fmla="*/ 907612 w 1197657"/>
                    <a:gd name="connsiteY4097" fmla="*/ 52008 h 926154"/>
                    <a:gd name="connsiteX4098" fmla="*/ 907211 w 1197657"/>
                    <a:gd name="connsiteY4098" fmla="*/ 52749 h 926154"/>
                    <a:gd name="connsiteX4099" fmla="*/ 907029 w 1197657"/>
                    <a:gd name="connsiteY4099" fmla="*/ 53563 h 926154"/>
                    <a:gd name="connsiteX4100" fmla="*/ 906750 w 1197657"/>
                    <a:gd name="connsiteY4100" fmla="*/ 54777 h 926154"/>
                    <a:gd name="connsiteX4101" fmla="*/ 906677 w 1197657"/>
                    <a:gd name="connsiteY4101" fmla="*/ 55080 h 926154"/>
                    <a:gd name="connsiteX4102" fmla="*/ 906640 w 1197657"/>
                    <a:gd name="connsiteY4102" fmla="*/ 55384 h 926154"/>
                    <a:gd name="connsiteX4103" fmla="*/ 906519 w 1197657"/>
                    <a:gd name="connsiteY4103" fmla="*/ 56331 h 926154"/>
                    <a:gd name="connsiteX4104" fmla="*/ 906483 w 1197657"/>
                    <a:gd name="connsiteY4104" fmla="*/ 56635 h 926154"/>
                    <a:gd name="connsiteX4105" fmla="*/ 906567 w 1197657"/>
                    <a:gd name="connsiteY4105" fmla="*/ 56926 h 926154"/>
                    <a:gd name="connsiteX4106" fmla="*/ 906507 w 1197657"/>
                    <a:gd name="connsiteY4106" fmla="*/ 59646 h 926154"/>
                    <a:gd name="connsiteX4107" fmla="*/ 906385 w 1197657"/>
                    <a:gd name="connsiteY4107" fmla="*/ 59804 h 926154"/>
                    <a:gd name="connsiteX4108" fmla="*/ 905669 w 1197657"/>
                    <a:gd name="connsiteY4108" fmla="*/ 60666 h 926154"/>
                    <a:gd name="connsiteX4109" fmla="*/ 905317 w 1197657"/>
                    <a:gd name="connsiteY4109" fmla="*/ 61735 h 926154"/>
                    <a:gd name="connsiteX4110" fmla="*/ 904989 w 1197657"/>
                    <a:gd name="connsiteY4110" fmla="*/ 62718 h 926154"/>
                    <a:gd name="connsiteX4111" fmla="*/ 904819 w 1197657"/>
                    <a:gd name="connsiteY4111" fmla="*/ 63228 h 926154"/>
                    <a:gd name="connsiteX4112" fmla="*/ 904746 w 1197657"/>
                    <a:gd name="connsiteY4112" fmla="*/ 63763 h 926154"/>
                    <a:gd name="connsiteX4113" fmla="*/ 904625 w 1197657"/>
                    <a:gd name="connsiteY4113" fmla="*/ 64588 h 926154"/>
                    <a:gd name="connsiteX4114" fmla="*/ 904564 w 1197657"/>
                    <a:gd name="connsiteY4114" fmla="*/ 65026 h 926154"/>
                    <a:gd name="connsiteX4115" fmla="*/ 904564 w 1197657"/>
                    <a:gd name="connsiteY4115" fmla="*/ 65463 h 926154"/>
                    <a:gd name="connsiteX4116" fmla="*/ 904564 w 1197657"/>
                    <a:gd name="connsiteY4116" fmla="*/ 67041 h 926154"/>
                    <a:gd name="connsiteX4117" fmla="*/ 904443 w 1197657"/>
                    <a:gd name="connsiteY4117" fmla="*/ 67175 h 926154"/>
                    <a:gd name="connsiteX4118" fmla="*/ 901152 w 1197657"/>
                    <a:gd name="connsiteY4118" fmla="*/ 69385 h 926154"/>
                    <a:gd name="connsiteX4119" fmla="*/ 900532 w 1197657"/>
                    <a:gd name="connsiteY4119" fmla="*/ 69555 h 926154"/>
                    <a:gd name="connsiteX4120" fmla="*/ 899719 w 1197657"/>
                    <a:gd name="connsiteY4120" fmla="*/ 69530 h 926154"/>
                    <a:gd name="connsiteX4121" fmla="*/ 893720 w 1197657"/>
                    <a:gd name="connsiteY4121" fmla="*/ 67539 h 926154"/>
                    <a:gd name="connsiteX4122" fmla="*/ 893380 w 1197657"/>
                    <a:gd name="connsiteY4122" fmla="*/ 67430 h 926154"/>
                    <a:gd name="connsiteX4123" fmla="*/ 893028 w 1197657"/>
                    <a:gd name="connsiteY4123" fmla="*/ 67357 h 926154"/>
                    <a:gd name="connsiteX4124" fmla="*/ 888268 w 1197657"/>
                    <a:gd name="connsiteY4124" fmla="*/ 66386 h 926154"/>
                    <a:gd name="connsiteX4125" fmla="*/ 887710 w 1197657"/>
                    <a:gd name="connsiteY4125" fmla="*/ 66276 h 926154"/>
                    <a:gd name="connsiteX4126" fmla="*/ 887151 w 1197657"/>
                    <a:gd name="connsiteY4126" fmla="*/ 66264 h 926154"/>
                    <a:gd name="connsiteX4127" fmla="*/ 879732 w 1197657"/>
                    <a:gd name="connsiteY4127" fmla="*/ 66155 h 926154"/>
                    <a:gd name="connsiteX4128" fmla="*/ 871535 w 1197657"/>
                    <a:gd name="connsiteY4128" fmla="*/ 65584 h 926154"/>
                    <a:gd name="connsiteX4129" fmla="*/ 869653 w 1197657"/>
                    <a:gd name="connsiteY4129" fmla="*/ 65026 h 926154"/>
                    <a:gd name="connsiteX4130" fmla="*/ 867880 w 1197657"/>
                    <a:gd name="connsiteY4130" fmla="*/ 64321 h 926154"/>
                    <a:gd name="connsiteX4131" fmla="*/ 866362 w 1197657"/>
                    <a:gd name="connsiteY4131" fmla="*/ 63180 h 926154"/>
                    <a:gd name="connsiteX4132" fmla="*/ 865731 w 1197657"/>
                    <a:gd name="connsiteY4132" fmla="*/ 62536 h 926154"/>
                    <a:gd name="connsiteX4133" fmla="*/ 865318 w 1197657"/>
                    <a:gd name="connsiteY4133" fmla="*/ 61808 h 926154"/>
                    <a:gd name="connsiteX4134" fmla="*/ 863351 w 1197657"/>
                    <a:gd name="connsiteY4134" fmla="*/ 56720 h 926154"/>
                    <a:gd name="connsiteX4135" fmla="*/ 863193 w 1197657"/>
                    <a:gd name="connsiteY4135" fmla="*/ 56319 h 926154"/>
                    <a:gd name="connsiteX4136" fmla="*/ 862986 w 1197657"/>
                    <a:gd name="connsiteY4136" fmla="*/ 55943 h 926154"/>
                    <a:gd name="connsiteX4137" fmla="*/ 861954 w 1197657"/>
                    <a:gd name="connsiteY4137" fmla="*/ 54097 h 926154"/>
                    <a:gd name="connsiteX4138" fmla="*/ 861711 w 1197657"/>
                    <a:gd name="connsiteY4138" fmla="*/ 53672 h 926154"/>
                    <a:gd name="connsiteX4139" fmla="*/ 861420 w 1197657"/>
                    <a:gd name="connsiteY4139" fmla="*/ 53295 h 926154"/>
                    <a:gd name="connsiteX4140" fmla="*/ 860266 w 1197657"/>
                    <a:gd name="connsiteY4140" fmla="*/ 51838 h 926154"/>
                    <a:gd name="connsiteX4141" fmla="*/ 859708 w 1197657"/>
                    <a:gd name="connsiteY4141" fmla="*/ 51122 h 926154"/>
                    <a:gd name="connsiteX4142" fmla="*/ 858955 w 1197657"/>
                    <a:gd name="connsiteY4142" fmla="*/ 50600 h 926154"/>
                    <a:gd name="connsiteX4143" fmla="*/ 857231 w 1197657"/>
                    <a:gd name="connsiteY4143" fmla="*/ 49410 h 926154"/>
                    <a:gd name="connsiteX4144" fmla="*/ 856478 w 1197657"/>
                    <a:gd name="connsiteY4144" fmla="*/ 48900 h 926154"/>
                    <a:gd name="connsiteX4145" fmla="*/ 855604 w 1197657"/>
                    <a:gd name="connsiteY4145" fmla="*/ 48620 h 926154"/>
                    <a:gd name="connsiteX4146" fmla="*/ 853831 w 1197657"/>
                    <a:gd name="connsiteY4146" fmla="*/ 48062 h 926154"/>
                    <a:gd name="connsiteX4147" fmla="*/ 853284 w 1197657"/>
                    <a:gd name="connsiteY4147" fmla="*/ 47892 h 926154"/>
                    <a:gd name="connsiteX4148" fmla="*/ 852714 w 1197657"/>
                    <a:gd name="connsiteY4148" fmla="*/ 47831 h 926154"/>
                    <a:gd name="connsiteX4149" fmla="*/ 849156 w 1197657"/>
                    <a:gd name="connsiteY4149" fmla="*/ 47418 h 926154"/>
                    <a:gd name="connsiteX4150" fmla="*/ 847444 w 1197657"/>
                    <a:gd name="connsiteY4150" fmla="*/ 47042 h 926154"/>
                    <a:gd name="connsiteX4151" fmla="*/ 845464 w 1197657"/>
                    <a:gd name="connsiteY4151" fmla="*/ 46313 h 926154"/>
                    <a:gd name="connsiteX4152" fmla="*/ 837826 w 1197657"/>
                    <a:gd name="connsiteY4152" fmla="*/ 41395 h 926154"/>
                    <a:gd name="connsiteX4153" fmla="*/ 837158 w 1197657"/>
                    <a:gd name="connsiteY4153" fmla="*/ 40958 h 926154"/>
                    <a:gd name="connsiteX4154" fmla="*/ 836393 w 1197657"/>
                    <a:gd name="connsiteY4154" fmla="*/ 40715 h 926154"/>
                    <a:gd name="connsiteX4155" fmla="*/ 834268 w 1197657"/>
                    <a:gd name="connsiteY4155" fmla="*/ 40035 h 926154"/>
                    <a:gd name="connsiteX4156" fmla="*/ 833601 w 1197657"/>
                    <a:gd name="connsiteY4156" fmla="*/ 39817 h 926154"/>
                    <a:gd name="connsiteX4157" fmla="*/ 832896 w 1197657"/>
                    <a:gd name="connsiteY4157" fmla="*/ 39756 h 926154"/>
                    <a:gd name="connsiteX4158" fmla="*/ 829290 w 1197657"/>
                    <a:gd name="connsiteY4158" fmla="*/ 39465 h 926154"/>
                    <a:gd name="connsiteX4159" fmla="*/ 828428 w 1197657"/>
                    <a:gd name="connsiteY4159" fmla="*/ 39404 h 926154"/>
                    <a:gd name="connsiteX4160" fmla="*/ 827578 w 1197657"/>
                    <a:gd name="connsiteY4160" fmla="*/ 39574 h 926154"/>
                    <a:gd name="connsiteX4161" fmla="*/ 825623 w 1197657"/>
                    <a:gd name="connsiteY4161" fmla="*/ 39975 h 926154"/>
                    <a:gd name="connsiteX4162" fmla="*/ 824906 w 1197657"/>
                    <a:gd name="connsiteY4162" fmla="*/ 40120 h 926154"/>
                    <a:gd name="connsiteX4163" fmla="*/ 824250 w 1197657"/>
                    <a:gd name="connsiteY4163" fmla="*/ 40436 h 926154"/>
                    <a:gd name="connsiteX4164" fmla="*/ 822976 w 1197657"/>
                    <a:gd name="connsiteY4164" fmla="*/ 41043 h 926154"/>
                    <a:gd name="connsiteX4165" fmla="*/ 821773 w 1197657"/>
                    <a:gd name="connsiteY4165" fmla="*/ 41614 h 926154"/>
                    <a:gd name="connsiteX4166" fmla="*/ 820911 w 1197657"/>
                    <a:gd name="connsiteY4166" fmla="*/ 42634 h 926154"/>
                    <a:gd name="connsiteX4167" fmla="*/ 820462 w 1197657"/>
                    <a:gd name="connsiteY4167" fmla="*/ 43168 h 926154"/>
                    <a:gd name="connsiteX4168" fmla="*/ 820256 w 1197657"/>
                    <a:gd name="connsiteY4168" fmla="*/ 43423 h 926154"/>
                    <a:gd name="connsiteX4169" fmla="*/ 820073 w 1197657"/>
                    <a:gd name="connsiteY4169" fmla="*/ 43690 h 926154"/>
                    <a:gd name="connsiteX4170" fmla="*/ 819673 w 1197657"/>
                    <a:gd name="connsiteY4170" fmla="*/ 44298 h 926154"/>
                    <a:gd name="connsiteX4171" fmla="*/ 819442 w 1197657"/>
                    <a:gd name="connsiteY4171" fmla="*/ 44638 h 926154"/>
                    <a:gd name="connsiteX4172" fmla="*/ 819260 w 1197657"/>
                    <a:gd name="connsiteY4172" fmla="*/ 45002 h 926154"/>
                    <a:gd name="connsiteX4173" fmla="*/ 818798 w 1197657"/>
                    <a:gd name="connsiteY4173" fmla="*/ 45949 h 926154"/>
                    <a:gd name="connsiteX4174" fmla="*/ 818568 w 1197657"/>
                    <a:gd name="connsiteY4174" fmla="*/ 46410 h 926154"/>
                    <a:gd name="connsiteX4175" fmla="*/ 818422 w 1197657"/>
                    <a:gd name="connsiteY4175" fmla="*/ 46908 h 926154"/>
                    <a:gd name="connsiteX4176" fmla="*/ 816831 w 1197657"/>
                    <a:gd name="connsiteY4176" fmla="*/ 52360 h 926154"/>
                    <a:gd name="connsiteX4177" fmla="*/ 814913 w 1197657"/>
                    <a:gd name="connsiteY4177" fmla="*/ 48875 h 926154"/>
                    <a:gd name="connsiteX4178" fmla="*/ 814743 w 1197657"/>
                    <a:gd name="connsiteY4178" fmla="*/ 48487 h 926154"/>
                    <a:gd name="connsiteX4179" fmla="*/ 814706 w 1197657"/>
                    <a:gd name="connsiteY4179" fmla="*/ 48207 h 926154"/>
                    <a:gd name="connsiteX4180" fmla="*/ 814937 w 1197657"/>
                    <a:gd name="connsiteY4180" fmla="*/ 47042 h 926154"/>
                    <a:gd name="connsiteX4181" fmla="*/ 815131 w 1197657"/>
                    <a:gd name="connsiteY4181" fmla="*/ 46107 h 926154"/>
                    <a:gd name="connsiteX4182" fmla="*/ 815022 w 1197657"/>
                    <a:gd name="connsiteY4182" fmla="*/ 45160 h 926154"/>
                    <a:gd name="connsiteX4183" fmla="*/ 814852 w 1197657"/>
                    <a:gd name="connsiteY4183" fmla="*/ 43666 h 926154"/>
                    <a:gd name="connsiteX4184" fmla="*/ 814633 w 1197657"/>
                    <a:gd name="connsiteY4184" fmla="*/ 41772 h 926154"/>
                    <a:gd name="connsiteX4185" fmla="*/ 813370 w 1197657"/>
                    <a:gd name="connsiteY4185" fmla="*/ 40339 h 926154"/>
                    <a:gd name="connsiteX4186" fmla="*/ 812387 w 1197657"/>
                    <a:gd name="connsiteY4186" fmla="*/ 39222 h 926154"/>
                    <a:gd name="connsiteX4187" fmla="*/ 810918 w 1197657"/>
                    <a:gd name="connsiteY4187" fmla="*/ 37570 h 926154"/>
                    <a:gd name="connsiteX4188" fmla="*/ 808744 w 1197657"/>
                    <a:gd name="connsiteY4188" fmla="*/ 37242 h 926154"/>
                    <a:gd name="connsiteX4189" fmla="*/ 805696 w 1197657"/>
                    <a:gd name="connsiteY4189" fmla="*/ 36781 h 926154"/>
                    <a:gd name="connsiteX4190" fmla="*/ 805004 w 1197657"/>
                    <a:gd name="connsiteY4190" fmla="*/ 36672 h 926154"/>
                    <a:gd name="connsiteX4191" fmla="*/ 804312 w 1197657"/>
                    <a:gd name="connsiteY4191" fmla="*/ 36720 h 926154"/>
                    <a:gd name="connsiteX4192" fmla="*/ 802126 w 1197657"/>
                    <a:gd name="connsiteY4192" fmla="*/ 36890 h 926154"/>
                    <a:gd name="connsiteX4193" fmla="*/ 801774 w 1197657"/>
                    <a:gd name="connsiteY4193" fmla="*/ 36915 h 926154"/>
                    <a:gd name="connsiteX4194" fmla="*/ 801434 w 1197657"/>
                    <a:gd name="connsiteY4194" fmla="*/ 36963 h 926154"/>
                    <a:gd name="connsiteX4195" fmla="*/ 800560 w 1197657"/>
                    <a:gd name="connsiteY4195" fmla="*/ 37133 h 926154"/>
                    <a:gd name="connsiteX4196" fmla="*/ 800329 w 1197657"/>
                    <a:gd name="connsiteY4196" fmla="*/ 36380 h 926154"/>
                    <a:gd name="connsiteX4197" fmla="*/ 799952 w 1197657"/>
                    <a:gd name="connsiteY4197" fmla="*/ 35154 h 926154"/>
                    <a:gd name="connsiteX4198" fmla="*/ 799127 w 1197657"/>
                    <a:gd name="connsiteY4198" fmla="*/ 34182 h 926154"/>
                    <a:gd name="connsiteX4199" fmla="*/ 798386 w 1197657"/>
                    <a:gd name="connsiteY4199" fmla="*/ 33320 h 926154"/>
                    <a:gd name="connsiteX4200" fmla="*/ 797488 w 1197657"/>
                    <a:gd name="connsiteY4200" fmla="*/ 32288 h 926154"/>
                    <a:gd name="connsiteX4201" fmla="*/ 796237 w 1197657"/>
                    <a:gd name="connsiteY4201" fmla="*/ 31730 h 926154"/>
                    <a:gd name="connsiteX4202" fmla="*/ 794804 w 1197657"/>
                    <a:gd name="connsiteY4202" fmla="*/ 31098 h 926154"/>
                    <a:gd name="connsiteX4203" fmla="*/ 793966 w 1197657"/>
                    <a:gd name="connsiteY4203" fmla="*/ 30734 h 926154"/>
                    <a:gd name="connsiteX4204" fmla="*/ 793055 w 1197657"/>
                    <a:gd name="connsiteY4204" fmla="*/ 30625 h 926154"/>
                    <a:gd name="connsiteX4205" fmla="*/ 792910 w 1197657"/>
                    <a:gd name="connsiteY4205" fmla="*/ 30612 h 926154"/>
                    <a:gd name="connsiteX4206" fmla="*/ 794233 w 1197657"/>
                    <a:gd name="connsiteY4206" fmla="*/ 30054 h 926154"/>
                    <a:gd name="connsiteX4207" fmla="*/ 795569 w 1197657"/>
                    <a:gd name="connsiteY4207" fmla="*/ 29495 h 926154"/>
                    <a:gd name="connsiteX4208" fmla="*/ 796516 w 1197657"/>
                    <a:gd name="connsiteY4208" fmla="*/ 28390 h 926154"/>
                    <a:gd name="connsiteX4209" fmla="*/ 797196 w 1197657"/>
                    <a:gd name="connsiteY4209" fmla="*/ 27589 h 926154"/>
                    <a:gd name="connsiteX4210" fmla="*/ 798216 w 1197657"/>
                    <a:gd name="connsiteY4210" fmla="*/ 26374 h 926154"/>
                    <a:gd name="connsiteX4211" fmla="*/ 798520 w 1197657"/>
                    <a:gd name="connsiteY4211" fmla="*/ 24820 h 926154"/>
                    <a:gd name="connsiteX4212" fmla="*/ 798750 w 1197657"/>
                    <a:gd name="connsiteY4212" fmla="*/ 23642 h 926154"/>
                    <a:gd name="connsiteX4213" fmla="*/ 798932 w 1197657"/>
                    <a:gd name="connsiteY4213" fmla="*/ 22744 h 926154"/>
                    <a:gd name="connsiteX4214" fmla="*/ 798835 w 1197657"/>
                    <a:gd name="connsiteY4214" fmla="*/ 21833 h 926154"/>
                    <a:gd name="connsiteX4215" fmla="*/ 798665 w 1197657"/>
                    <a:gd name="connsiteY4215" fmla="*/ 20218 h 926154"/>
                    <a:gd name="connsiteX4216" fmla="*/ 798520 w 1197657"/>
                    <a:gd name="connsiteY4216" fmla="*/ 18785 h 926154"/>
                    <a:gd name="connsiteX4217" fmla="*/ 797742 w 1197657"/>
                    <a:gd name="connsiteY4217" fmla="*/ 17571 h 926154"/>
                    <a:gd name="connsiteX4218" fmla="*/ 796832 w 1197657"/>
                    <a:gd name="connsiteY4218" fmla="*/ 16162 h 926154"/>
                    <a:gd name="connsiteX4219" fmla="*/ 795763 w 1197657"/>
                    <a:gd name="connsiteY4219" fmla="*/ 14499 h 926154"/>
                    <a:gd name="connsiteX4220" fmla="*/ 793930 w 1197657"/>
                    <a:gd name="connsiteY4220" fmla="*/ 13782 h 926154"/>
                    <a:gd name="connsiteX4221" fmla="*/ 792254 w 1197657"/>
                    <a:gd name="connsiteY4221" fmla="*/ 13127 h 926154"/>
                    <a:gd name="connsiteX4222" fmla="*/ 790821 w 1197657"/>
                    <a:gd name="connsiteY4222" fmla="*/ 12568 h 926154"/>
                    <a:gd name="connsiteX4223" fmla="*/ 789291 w 1197657"/>
                    <a:gd name="connsiteY4223" fmla="*/ 12787 h 926154"/>
                    <a:gd name="connsiteX4224" fmla="*/ 786316 w 1197657"/>
                    <a:gd name="connsiteY4224" fmla="*/ 13163 h 926154"/>
                    <a:gd name="connsiteX4225" fmla="*/ 785988 w 1197657"/>
                    <a:gd name="connsiteY4225" fmla="*/ 13199 h 926154"/>
                    <a:gd name="connsiteX4226" fmla="*/ 785672 w 1197657"/>
                    <a:gd name="connsiteY4226" fmla="*/ 13272 h 926154"/>
                    <a:gd name="connsiteX4227" fmla="*/ 779176 w 1197657"/>
                    <a:gd name="connsiteY4227" fmla="*/ 14802 h 926154"/>
                    <a:gd name="connsiteX4228" fmla="*/ 769061 w 1197657"/>
                    <a:gd name="connsiteY4228" fmla="*/ 15774 h 926154"/>
                    <a:gd name="connsiteX4229" fmla="*/ 764034 w 1197657"/>
                    <a:gd name="connsiteY4229" fmla="*/ 15154 h 926154"/>
                    <a:gd name="connsiteX4230" fmla="*/ 751636 w 1197657"/>
                    <a:gd name="connsiteY4230" fmla="*/ 11099 h 926154"/>
                    <a:gd name="connsiteX4231" fmla="*/ 750118 w 1197657"/>
                    <a:gd name="connsiteY4231" fmla="*/ 10067 h 926154"/>
                    <a:gd name="connsiteX4232" fmla="*/ 748588 w 1197657"/>
                    <a:gd name="connsiteY4232" fmla="*/ 7104 h 926154"/>
                    <a:gd name="connsiteX4233" fmla="*/ 746888 w 1197657"/>
                    <a:gd name="connsiteY4233" fmla="*/ 4371 h 926154"/>
                    <a:gd name="connsiteX4234" fmla="*/ 746220 w 1197657"/>
                    <a:gd name="connsiteY4234" fmla="*/ 3315 h 926154"/>
                    <a:gd name="connsiteX4235" fmla="*/ 745188 w 1197657"/>
                    <a:gd name="connsiteY4235" fmla="*/ 2611 h 926154"/>
                    <a:gd name="connsiteX4236" fmla="*/ 743281 w 1197657"/>
                    <a:gd name="connsiteY4236" fmla="*/ 1299 h 926154"/>
                    <a:gd name="connsiteX4237" fmla="*/ 741399 w 1197657"/>
                    <a:gd name="connsiteY4237" fmla="*/ 0 h 926154"/>
                    <a:gd name="connsiteX4238" fmla="*/ 741399 w 1197657"/>
                    <a:gd name="connsiteY4238" fmla="*/ 0 h 926154"/>
                    <a:gd name="connsiteX4239" fmla="*/ 71060 w 1197657"/>
                    <a:gd name="connsiteY4239" fmla="*/ 205058 h 926154"/>
                    <a:gd name="connsiteX4240" fmla="*/ 76853 w 1197657"/>
                    <a:gd name="connsiteY4240" fmla="*/ 203953 h 926154"/>
                    <a:gd name="connsiteX4241" fmla="*/ 77812 w 1197657"/>
                    <a:gd name="connsiteY4241" fmla="*/ 203771 h 926154"/>
                    <a:gd name="connsiteX4242" fmla="*/ 77982 w 1197657"/>
                    <a:gd name="connsiteY4242" fmla="*/ 203674 h 926154"/>
                    <a:gd name="connsiteX4243" fmla="*/ 76707 w 1197657"/>
                    <a:gd name="connsiteY4243" fmla="*/ 205580 h 926154"/>
                    <a:gd name="connsiteX4244" fmla="*/ 74145 w 1197657"/>
                    <a:gd name="connsiteY4244" fmla="*/ 205835 h 926154"/>
                    <a:gd name="connsiteX4245" fmla="*/ 72736 w 1197657"/>
                    <a:gd name="connsiteY4245" fmla="*/ 205969 h 926154"/>
                    <a:gd name="connsiteX4246" fmla="*/ 71534 w 1197657"/>
                    <a:gd name="connsiteY4246" fmla="*/ 206721 h 926154"/>
                    <a:gd name="connsiteX4247" fmla="*/ 69251 w 1197657"/>
                    <a:gd name="connsiteY4247" fmla="*/ 208142 h 926154"/>
                    <a:gd name="connsiteX4248" fmla="*/ 66361 w 1197657"/>
                    <a:gd name="connsiteY4248" fmla="*/ 208992 h 926154"/>
                    <a:gd name="connsiteX4249" fmla="*/ 64625 w 1197657"/>
                    <a:gd name="connsiteY4249" fmla="*/ 209502 h 926154"/>
                    <a:gd name="connsiteX4250" fmla="*/ 63447 w 1197657"/>
                    <a:gd name="connsiteY4250" fmla="*/ 210886 h 926154"/>
                    <a:gd name="connsiteX4251" fmla="*/ 62767 w 1197657"/>
                    <a:gd name="connsiteY4251" fmla="*/ 211688 h 926154"/>
                    <a:gd name="connsiteX4252" fmla="*/ 60885 w 1197657"/>
                    <a:gd name="connsiteY4252" fmla="*/ 213910 h 926154"/>
                    <a:gd name="connsiteX4253" fmla="*/ 60933 w 1197657"/>
                    <a:gd name="connsiteY4253" fmla="*/ 214189 h 926154"/>
                    <a:gd name="connsiteX4254" fmla="*/ 59549 w 1197657"/>
                    <a:gd name="connsiteY4254" fmla="*/ 213764 h 926154"/>
                    <a:gd name="connsiteX4255" fmla="*/ 58505 w 1197657"/>
                    <a:gd name="connsiteY4255" fmla="*/ 214359 h 926154"/>
                    <a:gd name="connsiteX4256" fmla="*/ 61443 w 1197657"/>
                    <a:gd name="connsiteY4256" fmla="*/ 210911 h 926154"/>
                    <a:gd name="connsiteX4257" fmla="*/ 63532 w 1197657"/>
                    <a:gd name="connsiteY4257" fmla="*/ 209089 h 926154"/>
                    <a:gd name="connsiteX4258" fmla="*/ 66810 w 1197657"/>
                    <a:gd name="connsiteY4258" fmla="*/ 207681 h 926154"/>
                    <a:gd name="connsiteX4259" fmla="*/ 67272 w 1197657"/>
                    <a:gd name="connsiteY4259" fmla="*/ 207498 h 926154"/>
                    <a:gd name="connsiteX4260" fmla="*/ 67685 w 1197657"/>
                    <a:gd name="connsiteY4260" fmla="*/ 207231 h 926154"/>
                    <a:gd name="connsiteX4261" fmla="*/ 71060 w 1197657"/>
                    <a:gd name="connsiteY4261" fmla="*/ 205058 h 926154"/>
                    <a:gd name="connsiteX4262" fmla="*/ 71060 w 1197657"/>
                    <a:gd name="connsiteY4262" fmla="*/ 205058 h 926154"/>
                    <a:gd name="connsiteX4263" fmla="*/ 436381 w 1197657"/>
                    <a:gd name="connsiteY4263" fmla="*/ 333020 h 926154"/>
                    <a:gd name="connsiteX4264" fmla="*/ 442562 w 1197657"/>
                    <a:gd name="connsiteY4264" fmla="*/ 329827 h 926154"/>
                    <a:gd name="connsiteX4265" fmla="*/ 443436 w 1197657"/>
                    <a:gd name="connsiteY4265" fmla="*/ 329377 h 926154"/>
                    <a:gd name="connsiteX4266" fmla="*/ 444128 w 1197657"/>
                    <a:gd name="connsiteY4266" fmla="*/ 328673 h 926154"/>
                    <a:gd name="connsiteX4267" fmla="*/ 444529 w 1197657"/>
                    <a:gd name="connsiteY4267" fmla="*/ 328260 h 926154"/>
                    <a:gd name="connsiteX4268" fmla="*/ 444990 w 1197657"/>
                    <a:gd name="connsiteY4268" fmla="*/ 328709 h 926154"/>
                    <a:gd name="connsiteX4269" fmla="*/ 446508 w 1197657"/>
                    <a:gd name="connsiteY4269" fmla="*/ 330689 h 926154"/>
                    <a:gd name="connsiteX4270" fmla="*/ 447577 w 1197657"/>
                    <a:gd name="connsiteY4270" fmla="*/ 333202 h 926154"/>
                    <a:gd name="connsiteX4271" fmla="*/ 448220 w 1197657"/>
                    <a:gd name="connsiteY4271" fmla="*/ 336469 h 926154"/>
                    <a:gd name="connsiteX4272" fmla="*/ 448087 w 1197657"/>
                    <a:gd name="connsiteY4272" fmla="*/ 339225 h 926154"/>
                    <a:gd name="connsiteX4273" fmla="*/ 446957 w 1197657"/>
                    <a:gd name="connsiteY4273" fmla="*/ 341690 h 926154"/>
                    <a:gd name="connsiteX4274" fmla="*/ 446107 w 1197657"/>
                    <a:gd name="connsiteY4274" fmla="*/ 343087 h 926154"/>
                    <a:gd name="connsiteX4275" fmla="*/ 445913 w 1197657"/>
                    <a:gd name="connsiteY4275" fmla="*/ 343390 h 926154"/>
                    <a:gd name="connsiteX4276" fmla="*/ 445767 w 1197657"/>
                    <a:gd name="connsiteY4276" fmla="*/ 343718 h 926154"/>
                    <a:gd name="connsiteX4277" fmla="*/ 444565 w 1197657"/>
                    <a:gd name="connsiteY4277" fmla="*/ 346317 h 926154"/>
                    <a:gd name="connsiteX4278" fmla="*/ 443375 w 1197657"/>
                    <a:gd name="connsiteY4278" fmla="*/ 346037 h 926154"/>
                    <a:gd name="connsiteX4279" fmla="*/ 442683 w 1197657"/>
                    <a:gd name="connsiteY4279" fmla="*/ 345867 h 926154"/>
                    <a:gd name="connsiteX4280" fmla="*/ 441967 w 1197657"/>
                    <a:gd name="connsiteY4280" fmla="*/ 345867 h 926154"/>
                    <a:gd name="connsiteX4281" fmla="*/ 440254 w 1197657"/>
                    <a:gd name="connsiteY4281" fmla="*/ 345867 h 926154"/>
                    <a:gd name="connsiteX4282" fmla="*/ 438239 w 1197657"/>
                    <a:gd name="connsiteY4282" fmla="*/ 345867 h 926154"/>
                    <a:gd name="connsiteX4283" fmla="*/ 436733 w 1197657"/>
                    <a:gd name="connsiteY4283" fmla="*/ 346984 h 926154"/>
                    <a:gd name="connsiteX4284" fmla="*/ 436672 w 1197657"/>
                    <a:gd name="connsiteY4284" fmla="*/ 346681 h 926154"/>
                    <a:gd name="connsiteX4285" fmla="*/ 436672 w 1197657"/>
                    <a:gd name="connsiteY4285" fmla="*/ 346523 h 926154"/>
                    <a:gd name="connsiteX4286" fmla="*/ 437984 w 1197657"/>
                    <a:gd name="connsiteY4286" fmla="*/ 342759 h 926154"/>
                    <a:gd name="connsiteX4287" fmla="*/ 438919 w 1197657"/>
                    <a:gd name="connsiteY4287" fmla="*/ 340063 h 926154"/>
                    <a:gd name="connsiteX4288" fmla="*/ 437449 w 1197657"/>
                    <a:gd name="connsiteY4288" fmla="*/ 337622 h 926154"/>
                    <a:gd name="connsiteX4289" fmla="*/ 436684 w 1197657"/>
                    <a:gd name="connsiteY4289" fmla="*/ 336347 h 926154"/>
                    <a:gd name="connsiteX4290" fmla="*/ 436369 w 1197657"/>
                    <a:gd name="connsiteY4290" fmla="*/ 335157 h 926154"/>
                    <a:gd name="connsiteX4291" fmla="*/ 436114 w 1197657"/>
                    <a:gd name="connsiteY4291" fmla="*/ 333421 h 926154"/>
                    <a:gd name="connsiteX4292" fmla="*/ 436381 w 1197657"/>
                    <a:gd name="connsiteY4292" fmla="*/ 333020 h 926154"/>
                    <a:gd name="connsiteX4293" fmla="*/ 436381 w 1197657"/>
                    <a:gd name="connsiteY4293" fmla="*/ 333020 h 926154"/>
                    <a:gd name="connsiteX4294" fmla="*/ 852143 w 1197657"/>
                    <a:gd name="connsiteY4294" fmla="*/ 494703 h 926154"/>
                    <a:gd name="connsiteX4295" fmla="*/ 852823 w 1197657"/>
                    <a:gd name="connsiteY4295" fmla="*/ 494703 h 926154"/>
                    <a:gd name="connsiteX4296" fmla="*/ 864383 w 1197657"/>
                    <a:gd name="connsiteY4296" fmla="*/ 499208 h 926154"/>
                    <a:gd name="connsiteX4297" fmla="*/ 864917 w 1197657"/>
                    <a:gd name="connsiteY4297" fmla="*/ 499427 h 926154"/>
                    <a:gd name="connsiteX4298" fmla="*/ 865488 w 1197657"/>
                    <a:gd name="connsiteY4298" fmla="*/ 499536 h 926154"/>
                    <a:gd name="connsiteX4299" fmla="*/ 870430 w 1197657"/>
                    <a:gd name="connsiteY4299" fmla="*/ 500435 h 926154"/>
                    <a:gd name="connsiteX4300" fmla="*/ 869301 w 1197657"/>
                    <a:gd name="connsiteY4300" fmla="*/ 501928 h 926154"/>
                    <a:gd name="connsiteX4301" fmla="*/ 867880 w 1197657"/>
                    <a:gd name="connsiteY4301" fmla="*/ 501236 h 926154"/>
                    <a:gd name="connsiteX4302" fmla="*/ 867504 w 1197657"/>
                    <a:gd name="connsiteY4302" fmla="*/ 501042 h 926154"/>
                    <a:gd name="connsiteX4303" fmla="*/ 867103 w 1197657"/>
                    <a:gd name="connsiteY4303" fmla="*/ 500908 h 926154"/>
                    <a:gd name="connsiteX4304" fmla="*/ 864917 w 1197657"/>
                    <a:gd name="connsiteY4304" fmla="*/ 500192 h 926154"/>
                    <a:gd name="connsiteX4305" fmla="*/ 863642 w 1197657"/>
                    <a:gd name="connsiteY4305" fmla="*/ 499779 h 926154"/>
                    <a:gd name="connsiteX4306" fmla="*/ 862319 w 1197657"/>
                    <a:gd name="connsiteY4306" fmla="*/ 499949 h 926154"/>
                    <a:gd name="connsiteX4307" fmla="*/ 860825 w 1197657"/>
                    <a:gd name="connsiteY4307" fmla="*/ 500131 h 926154"/>
                    <a:gd name="connsiteX4308" fmla="*/ 860084 w 1197657"/>
                    <a:gd name="connsiteY4308" fmla="*/ 500216 h 926154"/>
                    <a:gd name="connsiteX4309" fmla="*/ 859489 w 1197657"/>
                    <a:gd name="connsiteY4309" fmla="*/ 500447 h 926154"/>
                    <a:gd name="connsiteX4310" fmla="*/ 859441 w 1197657"/>
                    <a:gd name="connsiteY4310" fmla="*/ 500423 h 926154"/>
                    <a:gd name="connsiteX4311" fmla="*/ 856466 w 1197657"/>
                    <a:gd name="connsiteY4311" fmla="*/ 498018 h 926154"/>
                    <a:gd name="connsiteX4312" fmla="*/ 855919 w 1197657"/>
                    <a:gd name="connsiteY4312" fmla="*/ 497569 h 926154"/>
                    <a:gd name="connsiteX4313" fmla="*/ 855276 w 1197657"/>
                    <a:gd name="connsiteY4313" fmla="*/ 497278 h 926154"/>
                    <a:gd name="connsiteX4314" fmla="*/ 851949 w 1197657"/>
                    <a:gd name="connsiteY4314" fmla="*/ 495675 h 926154"/>
                    <a:gd name="connsiteX4315" fmla="*/ 850892 w 1197657"/>
                    <a:gd name="connsiteY4315" fmla="*/ 495153 h 926154"/>
                    <a:gd name="connsiteX4316" fmla="*/ 850176 w 1197657"/>
                    <a:gd name="connsiteY4316" fmla="*/ 495116 h 926154"/>
                    <a:gd name="connsiteX4317" fmla="*/ 850625 w 1197657"/>
                    <a:gd name="connsiteY4317" fmla="*/ 495019 h 926154"/>
                    <a:gd name="connsiteX4318" fmla="*/ 852143 w 1197657"/>
                    <a:gd name="connsiteY4318" fmla="*/ 494703 h 926154"/>
                    <a:gd name="connsiteX4319" fmla="*/ 852143 w 1197657"/>
                    <a:gd name="connsiteY4319" fmla="*/ 494703 h 926154"/>
                    <a:gd name="connsiteX4320" fmla="*/ 874037 w 1197657"/>
                    <a:gd name="connsiteY4320" fmla="*/ 723197 h 926154"/>
                    <a:gd name="connsiteX4321" fmla="*/ 874583 w 1197657"/>
                    <a:gd name="connsiteY4321" fmla="*/ 722942 h 926154"/>
                    <a:gd name="connsiteX4322" fmla="*/ 879234 w 1197657"/>
                    <a:gd name="connsiteY4322" fmla="*/ 720793 h 926154"/>
                    <a:gd name="connsiteX4323" fmla="*/ 881298 w 1197657"/>
                    <a:gd name="connsiteY4323" fmla="*/ 725516 h 926154"/>
                    <a:gd name="connsiteX4324" fmla="*/ 878372 w 1197657"/>
                    <a:gd name="connsiteY4324" fmla="*/ 725006 h 926154"/>
                    <a:gd name="connsiteX4325" fmla="*/ 877534 w 1197657"/>
                    <a:gd name="connsiteY4325" fmla="*/ 724849 h 926154"/>
                    <a:gd name="connsiteX4326" fmla="*/ 876696 w 1197657"/>
                    <a:gd name="connsiteY4326" fmla="*/ 724946 h 926154"/>
                    <a:gd name="connsiteX4327" fmla="*/ 873478 w 1197657"/>
                    <a:gd name="connsiteY4327" fmla="*/ 725274 h 926154"/>
                    <a:gd name="connsiteX4328" fmla="*/ 872021 w 1197657"/>
                    <a:gd name="connsiteY4328" fmla="*/ 725419 h 926154"/>
                    <a:gd name="connsiteX4329" fmla="*/ 872494 w 1197657"/>
                    <a:gd name="connsiteY4329" fmla="*/ 724921 h 926154"/>
                    <a:gd name="connsiteX4330" fmla="*/ 874037 w 1197657"/>
                    <a:gd name="connsiteY4330" fmla="*/ 723282 h 926154"/>
                    <a:gd name="connsiteX4331" fmla="*/ 874037 w 1197657"/>
                    <a:gd name="connsiteY4331" fmla="*/ 723197 h 926154"/>
                    <a:gd name="connsiteX4332" fmla="*/ 874037 w 1197657"/>
                    <a:gd name="connsiteY4332" fmla="*/ 723197 h 926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Lst>
                  <a:rect l="l" t="t" r="r" b="b"/>
                  <a:pathLst>
                    <a:path w="1197657" h="926154">
                      <a:moveTo>
                        <a:pt x="739845" y="6302"/>
                      </a:moveTo>
                      <a:lnTo>
                        <a:pt x="741751" y="7614"/>
                      </a:lnTo>
                      <a:lnTo>
                        <a:pt x="743184" y="9884"/>
                      </a:lnTo>
                      <a:lnTo>
                        <a:pt x="745419" y="14219"/>
                      </a:lnTo>
                      <a:lnTo>
                        <a:pt x="748928" y="16599"/>
                      </a:lnTo>
                      <a:lnTo>
                        <a:pt x="762698" y="21105"/>
                      </a:lnTo>
                      <a:lnTo>
                        <a:pt x="768964" y="21882"/>
                      </a:lnTo>
                      <a:lnTo>
                        <a:pt x="780160" y="20813"/>
                      </a:lnTo>
                      <a:lnTo>
                        <a:pt x="787057" y="19186"/>
                      </a:lnTo>
                      <a:lnTo>
                        <a:pt x="790032" y="18809"/>
                      </a:lnTo>
                      <a:lnTo>
                        <a:pt x="791707" y="19465"/>
                      </a:lnTo>
                      <a:lnTo>
                        <a:pt x="792618" y="20874"/>
                      </a:lnTo>
                      <a:lnTo>
                        <a:pt x="792788" y="22489"/>
                      </a:lnTo>
                      <a:lnTo>
                        <a:pt x="792557" y="23667"/>
                      </a:lnTo>
                      <a:lnTo>
                        <a:pt x="791877" y="24468"/>
                      </a:lnTo>
                      <a:lnTo>
                        <a:pt x="790323" y="25124"/>
                      </a:lnTo>
                      <a:lnTo>
                        <a:pt x="788137" y="25585"/>
                      </a:lnTo>
                      <a:lnTo>
                        <a:pt x="779346" y="26217"/>
                      </a:lnTo>
                      <a:lnTo>
                        <a:pt x="778265" y="26557"/>
                      </a:lnTo>
                      <a:lnTo>
                        <a:pt x="777282" y="27139"/>
                      </a:lnTo>
                      <a:lnTo>
                        <a:pt x="776662" y="27965"/>
                      </a:lnTo>
                      <a:lnTo>
                        <a:pt x="776942" y="29325"/>
                      </a:lnTo>
                      <a:lnTo>
                        <a:pt x="778217" y="31050"/>
                      </a:lnTo>
                      <a:lnTo>
                        <a:pt x="781884" y="34170"/>
                      </a:lnTo>
                      <a:lnTo>
                        <a:pt x="784458" y="35603"/>
                      </a:lnTo>
                      <a:lnTo>
                        <a:pt x="787166" y="36295"/>
                      </a:lnTo>
                      <a:lnTo>
                        <a:pt x="789352" y="36319"/>
                      </a:lnTo>
                      <a:lnTo>
                        <a:pt x="792339" y="36672"/>
                      </a:lnTo>
                      <a:lnTo>
                        <a:pt x="793772" y="37303"/>
                      </a:lnTo>
                      <a:lnTo>
                        <a:pt x="794512" y="38165"/>
                      </a:lnTo>
                      <a:lnTo>
                        <a:pt x="795022" y="39829"/>
                      </a:lnTo>
                      <a:lnTo>
                        <a:pt x="795775" y="41347"/>
                      </a:lnTo>
                      <a:lnTo>
                        <a:pt x="797038" y="42865"/>
                      </a:lnTo>
                      <a:lnTo>
                        <a:pt x="798641" y="43387"/>
                      </a:lnTo>
                      <a:lnTo>
                        <a:pt x="800256" y="43387"/>
                      </a:lnTo>
                      <a:lnTo>
                        <a:pt x="802600" y="42925"/>
                      </a:lnTo>
                      <a:lnTo>
                        <a:pt x="804785" y="42755"/>
                      </a:lnTo>
                      <a:lnTo>
                        <a:pt x="807833" y="43217"/>
                      </a:lnTo>
                      <a:lnTo>
                        <a:pt x="808817" y="44334"/>
                      </a:lnTo>
                      <a:lnTo>
                        <a:pt x="808987" y="45827"/>
                      </a:lnTo>
                      <a:lnTo>
                        <a:pt x="808635" y="47613"/>
                      </a:lnTo>
                      <a:lnTo>
                        <a:pt x="808586" y="47989"/>
                      </a:lnTo>
                      <a:lnTo>
                        <a:pt x="808817" y="50017"/>
                      </a:lnTo>
                      <a:lnTo>
                        <a:pt x="809448" y="51510"/>
                      </a:lnTo>
                      <a:lnTo>
                        <a:pt x="811330" y="54874"/>
                      </a:lnTo>
                      <a:lnTo>
                        <a:pt x="812945" y="58517"/>
                      </a:lnTo>
                      <a:lnTo>
                        <a:pt x="814560" y="60751"/>
                      </a:lnTo>
                      <a:lnTo>
                        <a:pt x="815993" y="61625"/>
                      </a:lnTo>
                      <a:lnTo>
                        <a:pt x="817475" y="61783"/>
                      </a:lnTo>
                      <a:lnTo>
                        <a:pt x="818750" y="61455"/>
                      </a:lnTo>
                      <a:lnTo>
                        <a:pt x="819673" y="60933"/>
                      </a:lnTo>
                      <a:lnTo>
                        <a:pt x="820243" y="60387"/>
                      </a:lnTo>
                      <a:lnTo>
                        <a:pt x="820814" y="59670"/>
                      </a:lnTo>
                      <a:lnTo>
                        <a:pt x="821215" y="58978"/>
                      </a:lnTo>
                      <a:lnTo>
                        <a:pt x="824263" y="48584"/>
                      </a:lnTo>
                      <a:lnTo>
                        <a:pt x="824724" y="47637"/>
                      </a:lnTo>
                      <a:lnTo>
                        <a:pt x="825125" y="47030"/>
                      </a:lnTo>
                      <a:lnTo>
                        <a:pt x="825574" y="46495"/>
                      </a:lnTo>
                      <a:lnTo>
                        <a:pt x="826849" y="45888"/>
                      </a:lnTo>
                      <a:lnTo>
                        <a:pt x="828804" y="45487"/>
                      </a:lnTo>
                      <a:lnTo>
                        <a:pt x="832411" y="45779"/>
                      </a:lnTo>
                      <a:lnTo>
                        <a:pt x="834536" y="46459"/>
                      </a:lnTo>
                      <a:lnTo>
                        <a:pt x="842744" y="51741"/>
                      </a:lnTo>
                      <a:lnTo>
                        <a:pt x="845731" y="52834"/>
                      </a:lnTo>
                      <a:lnTo>
                        <a:pt x="848439" y="53405"/>
                      </a:lnTo>
                      <a:lnTo>
                        <a:pt x="851997" y="53818"/>
                      </a:lnTo>
                      <a:lnTo>
                        <a:pt x="853770" y="54376"/>
                      </a:lnTo>
                      <a:lnTo>
                        <a:pt x="855494" y="55566"/>
                      </a:lnTo>
                      <a:lnTo>
                        <a:pt x="856648" y="57023"/>
                      </a:lnTo>
                      <a:lnTo>
                        <a:pt x="857680" y="58869"/>
                      </a:lnTo>
                      <a:lnTo>
                        <a:pt x="859805" y="64382"/>
                      </a:lnTo>
                      <a:lnTo>
                        <a:pt x="860825" y="66179"/>
                      </a:lnTo>
                      <a:lnTo>
                        <a:pt x="862319" y="67709"/>
                      </a:lnTo>
                      <a:lnTo>
                        <a:pt x="864857" y="69628"/>
                      </a:lnTo>
                      <a:lnTo>
                        <a:pt x="867892" y="70806"/>
                      </a:lnTo>
                      <a:lnTo>
                        <a:pt x="870418" y="71558"/>
                      </a:lnTo>
                      <a:lnTo>
                        <a:pt x="879610" y="72190"/>
                      </a:lnTo>
                      <a:lnTo>
                        <a:pt x="887030" y="72299"/>
                      </a:lnTo>
                      <a:lnTo>
                        <a:pt x="891790" y="73270"/>
                      </a:lnTo>
                      <a:lnTo>
                        <a:pt x="898626" y="75541"/>
                      </a:lnTo>
                      <a:lnTo>
                        <a:pt x="901212" y="75626"/>
                      </a:lnTo>
                      <a:lnTo>
                        <a:pt x="903677" y="74970"/>
                      </a:lnTo>
                      <a:lnTo>
                        <a:pt x="908437" y="71777"/>
                      </a:lnTo>
                      <a:lnTo>
                        <a:pt x="909409" y="70696"/>
                      </a:lnTo>
                      <a:lnTo>
                        <a:pt x="910101" y="69652"/>
                      </a:lnTo>
                      <a:lnTo>
                        <a:pt x="910502" y="68486"/>
                      </a:lnTo>
                      <a:lnTo>
                        <a:pt x="910623" y="67478"/>
                      </a:lnTo>
                      <a:lnTo>
                        <a:pt x="910623" y="65438"/>
                      </a:lnTo>
                      <a:lnTo>
                        <a:pt x="910745" y="64613"/>
                      </a:lnTo>
                      <a:lnTo>
                        <a:pt x="911073" y="63629"/>
                      </a:lnTo>
                      <a:lnTo>
                        <a:pt x="911655" y="62913"/>
                      </a:lnTo>
                      <a:lnTo>
                        <a:pt x="912178" y="62111"/>
                      </a:lnTo>
                      <a:lnTo>
                        <a:pt x="912396" y="61213"/>
                      </a:lnTo>
                      <a:lnTo>
                        <a:pt x="912566" y="59804"/>
                      </a:lnTo>
                      <a:lnTo>
                        <a:pt x="912627" y="57060"/>
                      </a:lnTo>
                      <a:lnTo>
                        <a:pt x="912748" y="56113"/>
                      </a:lnTo>
                      <a:lnTo>
                        <a:pt x="913028" y="54898"/>
                      </a:lnTo>
                      <a:lnTo>
                        <a:pt x="913890" y="53320"/>
                      </a:lnTo>
                      <a:lnTo>
                        <a:pt x="914922" y="51741"/>
                      </a:lnTo>
                      <a:lnTo>
                        <a:pt x="916828" y="49762"/>
                      </a:lnTo>
                      <a:lnTo>
                        <a:pt x="917800" y="49130"/>
                      </a:lnTo>
                      <a:lnTo>
                        <a:pt x="918783" y="48960"/>
                      </a:lnTo>
                      <a:lnTo>
                        <a:pt x="920605" y="48815"/>
                      </a:lnTo>
                      <a:lnTo>
                        <a:pt x="923434" y="48293"/>
                      </a:lnTo>
                      <a:lnTo>
                        <a:pt x="929457" y="46313"/>
                      </a:lnTo>
                      <a:lnTo>
                        <a:pt x="932784" y="45973"/>
                      </a:lnTo>
                      <a:lnTo>
                        <a:pt x="934909" y="46338"/>
                      </a:lnTo>
                      <a:lnTo>
                        <a:pt x="935650" y="47054"/>
                      </a:lnTo>
                      <a:lnTo>
                        <a:pt x="935941" y="47552"/>
                      </a:lnTo>
                      <a:lnTo>
                        <a:pt x="936123" y="47831"/>
                      </a:lnTo>
                      <a:lnTo>
                        <a:pt x="936524" y="49215"/>
                      </a:lnTo>
                      <a:lnTo>
                        <a:pt x="936803" y="50770"/>
                      </a:lnTo>
                      <a:lnTo>
                        <a:pt x="936803" y="55080"/>
                      </a:lnTo>
                      <a:lnTo>
                        <a:pt x="936342" y="59233"/>
                      </a:lnTo>
                      <a:lnTo>
                        <a:pt x="934739" y="63544"/>
                      </a:lnTo>
                      <a:lnTo>
                        <a:pt x="934678" y="64515"/>
                      </a:lnTo>
                      <a:lnTo>
                        <a:pt x="935031" y="65523"/>
                      </a:lnTo>
                      <a:lnTo>
                        <a:pt x="936123" y="66847"/>
                      </a:lnTo>
                      <a:lnTo>
                        <a:pt x="937556" y="67940"/>
                      </a:lnTo>
                      <a:lnTo>
                        <a:pt x="939451" y="68826"/>
                      </a:lnTo>
                      <a:lnTo>
                        <a:pt x="948922" y="71983"/>
                      </a:lnTo>
                      <a:lnTo>
                        <a:pt x="950355" y="72129"/>
                      </a:lnTo>
                      <a:lnTo>
                        <a:pt x="951496" y="71728"/>
                      </a:lnTo>
                      <a:lnTo>
                        <a:pt x="952771" y="70721"/>
                      </a:lnTo>
                      <a:lnTo>
                        <a:pt x="954726" y="69591"/>
                      </a:lnTo>
                      <a:lnTo>
                        <a:pt x="956099" y="69458"/>
                      </a:lnTo>
                      <a:lnTo>
                        <a:pt x="957592" y="70198"/>
                      </a:lnTo>
                      <a:lnTo>
                        <a:pt x="958345" y="71728"/>
                      </a:lnTo>
                      <a:lnTo>
                        <a:pt x="958515" y="73853"/>
                      </a:lnTo>
                      <a:lnTo>
                        <a:pt x="957884" y="76428"/>
                      </a:lnTo>
                      <a:lnTo>
                        <a:pt x="956851" y="78298"/>
                      </a:lnTo>
                      <a:lnTo>
                        <a:pt x="955406" y="79706"/>
                      </a:lnTo>
                      <a:lnTo>
                        <a:pt x="953973" y="80398"/>
                      </a:lnTo>
                      <a:lnTo>
                        <a:pt x="951800" y="80969"/>
                      </a:lnTo>
                      <a:lnTo>
                        <a:pt x="948922" y="80969"/>
                      </a:lnTo>
                      <a:lnTo>
                        <a:pt x="946336" y="80690"/>
                      </a:lnTo>
                      <a:lnTo>
                        <a:pt x="944381" y="80277"/>
                      </a:lnTo>
                      <a:lnTo>
                        <a:pt x="943579" y="80447"/>
                      </a:lnTo>
                      <a:lnTo>
                        <a:pt x="943178" y="81516"/>
                      </a:lnTo>
                      <a:lnTo>
                        <a:pt x="943008" y="83289"/>
                      </a:lnTo>
                      <a:lnTo>
                        <a:pt x="942377" y="84903"/>
                      </a:lnTo>
                      <a:lnTo>
                        <a:pt x="940823" y="86506"/>
                      </a:lnTo>
                      <a:lnTo>
                        <a:pt x="939171" y="87721"/>
                      </a:lnTo>
                      <a:lnTo>
                        <a:pt x="938006" y="89129"/>
                      </a:lnTo>
                      <a:lnTo>
                        <a:pt x="932906" y="102134"/>
                      </a:lnTo>
                      <a:lnTo>
                        <a:pt x="932383" y="104624"/>
                      </a:lnTo>
                      <a:lnTo>
                        <a:pt x="932723" y="106603"/>
                      </a:lnTo>
                      <a:lnTo>
                        <a:pt x="935553" y="111545"/>
                      </a:lnTo>
                      <a:lnTo>
                        <a:pt x="936925" y="115540"/>
                      </a:lnTo>
                      <a:lnTo>
                        <a:pt x="937957" y="117495"/>
                      </a:lnTo>
                      <a:lnTo>
                        <a:pt x="939851" y="119584"/>
                      </a:lnTo>
                      <a:lnTo>
                        <a:pt x="944101" y="121660"/>
                      </a:lnTo>
                      <a:lnTo>
                        <a:pt x="945656" y="122802"/>
                      </a:lnTo>
                      <a:lnTo>
                        <a:pt x="948242" y="125983"/>
                      </a:lnTo>
                      <a:lnTo>
                        <a:pt x="949614" y="126967"/>
                      </a:lnTo>
                      <a:lnTo>
                        <a:pt x="953403" y="128569"/>
                      </a:lnTo>
                      <a:lnTo>
                        <a:pt x="954726" y="130014"/>
                      </a:lnTo>
                      <a:lnTo>
                        <a:pt x="955528" y="131581"/>
                      </a:lnTo>
                      <a:lnTo>
                        <a:pt x="956099" y="134750"/>
                      </a:lnTo>
                      <a:lnTo>
                        <a:pt x="956851" y="136462"/>
                      </a:lnTo>
                      <a:lnTo>
                        <a:pt x="960919" y="141344"/>
                      </a:lnTo>
                      <a:lnTo>
                        <a:pt x="963919" y="144137"/>
                      </a:lnTo>
                      <a:lnTo>
                        <a:pt x="965801" y="144246"/>
                      </a:lnTo>
                      <a:lnTo>
                        <a:pt x="973087" y="139510"/>
                      </a:lnTo>
                      <a:lnTo>
                        <a:pt x="974823" y="138187"/>
                      </a:lnTo>
                      <a:lnTo>
                        <a:pt x="976487" y="136098"/>
                      </a:lnTo>
                      <a:lnTo>
                        <a:pt x="977798" y="133803"/>
                      </a:lnTo>
                      <a:lnTo>
                        <a:pt x="979984" y="128569"/>
                      </a:lnTo>
                      <a:lnTo>
                        <a:pt x="981247" y="126736"/>
                      </a:lnTo>
                      <a:lnTo>
                        <a:pt x="982849" y="125728"/>
                      </a:lnTo>
                      <a:lnTo>
                        <a:pt x="984234" y="126396"/>
                      </a:lnTo>
                      <a:lnTo>
                        <a:pt x="990730" y="135807"/>
                      </a:lnTo>
                      <a:lnTo>
                        <a:pt x="992102" y="138830"/>
                      </a:lnTo>
                      <a:lnTo>
                        <a:pt x="992625" y="141429"/>
                      </a:lnTo>
                      <a:lnTo>
                        <a:pt x="992564" y="145715"/>
                      </a:lnTo>
                      <a:lnTo>
                        <a:pt x="992625" y="146747"/>
                      </a:lnTo>
                      <a:lnTo>
                        <a:pt x="992734" y="147233"/>
                      </a:lnTo>
                      <a:lnTo>
                        <a:pt x="994057" y="150050"/>
                      </a:lnTo>
                      <a:lnTo>
                        <a:pt x="996304" y="153438"/>
                      </a:lnTo>
                      <a:lnTo>
                        <a:pt x="997336" y="158951"/>
                      </a:lnTo>
                      <a:lnTo>
                        <a:pt x="996304" y="160008"/>
                      </a:lnTo>
                      <a:lnTo>
                        <a:pt x="993936" y="161756"/>
                      </a:lnTo>
                      <a:lnTo>
                        <a:pt x="991240" y="163225"/>
                      </a:lnTo>
                      <a:lnTo>
                        <a:pt x="988241" y="165290"/>
                      </a:lnTo>
                      <a:lnTo>
                        <a:pt x="986869" y="167135"/>
                      </a:lnTo>
                      <a:lnTo>
                        <a:pt x="986128" y="169224"/>
                      </a:lnTo>
                      <a:lnTo>
                        <a:pt x="986019" y="171665"/>
                      </a:lnTo>
                      <a:lnTo>
                        <a:pt x="986419" y="176607"/>
                      </a:lnTo>
                      <a:lnTo>
                        <a:pt x="986298" y="179048"/>
                      </a:lnTo>
                      <a:lnTo>
                        <a:pt x="984804" y="188033"/>
                      </a:lnTo>
                      <a:lnTo>
                        <a:pt x="985047" y="189406"/>
                      </a:lnTo>
                      <a:lnTo>
                        <a:pt x="985679" y="190037"/>
                      </a:lnTo>
                      <a:lnTo>
                        <a:pt x="991920" y="189721"/>
                      </a:lnTo>
                      <a:lnTo>
                        <a:pt x="993475" y="190098"/>
                      </a:lnTo>
                      <a:lnTo>
                        <a:pt x="995029" y="191045"/>
                      </a:lnTo>
                      <a:lnTo>
                        <a:pt x="996340" y="192684"/>
                      </a:lnTo>
                      <a:lnTo>
                        <a:pt x="997445" y="194833"/>
                      </a:lnTo>
                      <a:lnTo>
                        <a:pt x="998647" y="198258"/>
                      </a:lnTo>
                      <a:lnTo>
                        <a:pt x="1000202" y="200917"/>
                      </a:lnTo>
                      <a:lnTo>
                        <a:pt x="1002205" y="202824"/>
                      </a:lnTo>
                      <a:lnTo>
                        <a:pt x="1004622" y="203819"/>
                      </a:lnTo>
                      <a:lnTo>
                        <a:pt x="1009552" y="204657"/>
                      </a:lnTo>
                      <a:lnTo>
                        <a:pt x="1011227" y="205495"/>
                      </a:lnTo>
                      <a:lnTo>
                        <a:pt x="1012138" y="206406"/>
                      </a:lnTo>
                      <a:lnTo>
                        <a:pt x="1013462" y="208446"/>
                      </a:lnTo>
                      <a:lnTo>
                        <a:pt x="1013632" y="209830"/>
                      </a:lnTo>
                      <a:lnTo>
                        <a:pt x="1013231" y="211117"/>
                      </a:lnTo>
                      <a:lnTo>
                        <a:pt x="1012490" y="212805"/>
                      </a:lnTo>
                      <a:lnTo>
                        <a:pt x="1012017" y="214821"/>
                      </a:lnTo>
                      <a:lnTo>
                        <a:pt x="1011980" y="219787"/>
                      </a:lnTo>
                      <a:lnTo>
                        <a:pt x="1011567" y="222714"/>
                      </a:lnTo>
                      <a:lnTo>
                        <a:pt x="1011798" y="225130"/>
                      </a:lnTo>
                      <a:lnTo>
                        <a:pt x="1012430" y="226053"/>
                      </a:lnTo>
                      <a:lnTo>
                        <a:pt x="1014154" y="226599"/>
                      </a:lnTo>
                      <a:lnTo>
                        <a:pt x="1016218" y="225956"/>
                      </a:lnTo>
                      <a:lnTo>
                        <a:pt x="1018465" y="224377"/>
                      </a:lnTo>
                      <a:lnTo>
                        <a:pt x="1022193" y="220819"/>
                      </a:lnTo>
                      <a:lnTo>
                        <a:pt x="1024087" y="219557"/>
                      </a:lnTo>
                      <a:lnTo>
                        <a:pt x="1026613" y="219617"/>
                      </a:lnTo>
                      <a:lnTo>
                        <a:pt x="1029308" y="221135"/>
                      </a:lnTo>
                      <a:lnTo>
                        <a:pt x="1033267" y="226211"/>
                      </a:lnTo>
                      <a:lnTo>
                        <a:pt x="1034250" y="230036"/>
                      </a:lnTo>
                      <a:lnTo>
                        <a:pt x="1033959" y="234201"/>
                      </a:lnTo>
                      <a:lnTo>
                        <a:pt x="1033267" y="237589"/>
                      </a:lnTo>
                      <a:lnTo>
                        <a:pt x="1033510" y="241438"/>
                      </a:lnTo>
                      <a:lnTo>
                        <a:pt x="1034481" y="243964"/>
                      </a:lnTo>
                      <a:lnTo>
                        <a:pt x="1035914" y="246745"/>
                      </a:lnTo>
                      <a:lnTo>
                        <a:pt x="1036315" y="248809"/>
                      </a:lnTo>
                      <a:lnTo>
                        <a:pt x="1035914" y="251456"/>
                      </a:lnTo>
                      <a:lnTo>
                        <a:pt x="1033898" y="255937"/>
                      </a:lnTo>
                      <a:lnTo>
                        <a:pt x="1035453" y="258548"/>
                      </a:lnTo>
                      <a:lnTo>
                        <a:pt x="1042811" y="257916"/>
                      </a:lnTo>
                      <a:lnTo>
                        <a:pt x="1044827" y="258973"/>
                      </a:lnTo>
                      <a:lnTo>
                        <a:pt x="1048834" y="262968"/>
                      </a:lnTo>
                      <a:lnTo>
                        <a:pt x="1051129" y="263222"/>
                      </a:lnTo>
                      <a:lnTo>
                        <a:pt x="1065944" y="258317"/>
                      </a:lnTo>
                      <a:lnTo>
                        <a:pt x="1068530" y="258523"/>
                      </a:lnTo>
                      <a:lnTo>
                        <a:pt x="1070145" y="259349"/>
                      </a:lnTo>
                      <a:lnTo>
                        <a:pt x="1071274" y="261389"/>
                      </a:lnTo>
                      <a:lnTo>
                        <a:pt x="1078293" y="272233"/>
                      </a:lnTo>
                      <a:lnTo>
                        <a:pt x="1083915" y="278243"/>
                      </a:lnTo>
                      <a:lnTo>
                        <a:pt x="1085822" y="279045"/>
                      </a:lnTo>
                      <a:lnTo>
                        <a:pt x="1087473" y="279385"/>
                      </a:lnTo>
                      <a:lnTo>
                        <a:pt x="1088809" y="279166"/>
                      </a:lnTo>
                      <a:lnTo>
                        <a:pt x="1090351" y="278668"/>
                      </a:lnTo>
                      <a:lnTo>
                        <a:pt x="1091444" y="278061"/>
                      </a:lnTo>
                      <a:lnTo>
                        <a:pt x="1092124" y="277260"/>
                      </a:lnTo>
                      <a:lnTo>
                        <a:pt x="1092585" y="276410"/>
                      </a:lnTo>
                      <a:lnTo>
                        <a:pt x="1093338" y="274600"/>
                      </a:lnTo>
                      <a:lnTo>
                        <a:pt x="1093848" y="273678"/>
                      </a:lnTo>
                      <a:lnTo>
                        <a:pt x="1095342" y="273678"/>
                      </a:lnTo>
                      <a:lnTo>
                        <a:pt x="1097819" y="274370"/>
                      </a:lnTo>
                      <a:lnTo>
                        <a:pt x="1104595" y="280004"/>
                      </a:lnTo>
                      <a:lnTo>
                        <a:pt x="1111018" y="286452"/>
                      </a:lnTo>
                      <a:lnTo>
                        <a:pt x="1121133" y="291649"/>
                      </a:lnTo>
                      <a:lnTo>
                        <a:pt x="1123708" y="293920"/>
                      </a:lnTo>
                      <a:lnTo>
                        <a:pt x="1125262" y="296361"/>
                      </a:lnTo>
                      <a:lnTo>
                        <a:pt x="1125553" y="298765"/>
                      </a:lnTo>
                      <a:lnTo>
                        <a:pt x="1125323" y="301376"/>
                      </a:lnTo>
                      <a:lnTo>
                        <a:pt x="1125323" y="304339"/>
                      </a:lnTo>
                      <a:lnTo>
                        <a:pt x="1125845" y="307556"/>
                      </a:lnTo>
                      <a:lnTo>
                        <a:pt x="1128249" y="311685"/>
                      </a:lnTo>
                      <a:lnTo>
                        <a:pt x="1130665" y="313409"/>
                      </a:lnTo>
                      <a:lnTo>
                        <a:pt x="1132900" y="314065"/>
                      </a:lnTo>
                      <a:lnTo>
                        <a:pt x="1134915" y="313701"/>
                      </a:lnTo>
                      <a:lnTo>
                        <a:pt x="1136409" y="313154"/>
                      </a:lnTo>
                      <a:lnTo>
                        <a:pt x="1137611" y="312413"/>
                      </a:lnTo>
                      <a:lnTo>
                        <a:pt x="1140076" y="310252"/>
                      </a:lnTo>
                      <a:lnTo>
                        <a:pt x="1141618" y="310313"/>
                      </a:lnTo>
                      <a:lnTo>
                        <a:pt x="1144047" y="311321"/>
                      </a:lnTo>
                      <a:lnTo>
                        <a:pt x="1149147" y="314502"/>
                      </a:lnTo>
                      <a:lnTo>
                        <a:pt x="1151333" y="317404"/>
                      </a:lnTo>
                      <a:lnTo>
                        <a:pt x="1152766" y="319869"/>
                      </a:lnTo>
                      <a:lnTo>
                        <a:pt x="1153518" y="321934"/>
                      </a:lnTo>
                      <a:lnTo>
                        <a:pt x="1156833" y="327544"/>
                      </a:lnTo>
                      <a:lnTo>
                        <a:pt x="1158230" y="328454"/>
                      </a:lnTo>
                      <a:lnTo>
                        <a:pt x="1160343" y="329353"/>
                      </a:lnTo>
                      <a:lnTo>
                        <a:pt x="1161946" y="330349"/>
                      </a:lnTo>
                      <a:lnTo>
                        <a:pt x="1163160" y="331624"/>
                      </a:lnTo>
                      <a:lnTo>
                        <a:pt x="1164714" y="334489"/>
                      </a:lnTo>
                      <a:lnTo>
                        <a:pt x="1166086" y="338217"/>
                      </a:lnTo>
                      <a:lnTo>
                        <a:pt x="1169936" y="347920"/>
                      </a:lnTo>
                      <a:lnTo>
                        <a:pt x="1172000" y="365320"/>
                      </a:lnTo>
                      <a:lnTo>
                        <a:pt x="1172814" y="368308"/>
                      </a:lnTo>
                      <a:lnTo>
                        <a:pt x="1173846" y="370056"/>
                      </a:lnTo>
                      <a:lnTo>
                        <a:pt x="1174939" y="370493"/>
                      </a:lnTo>
                      <a:lnTo>
                        <a:pt x="1176141" y="370603"/>
                      </a:lnTo>
                      <a:lnTo>
                        <a:pt x="1177574" y="370372"/>
                      </a:lnTo>
                      <a:lnTo>
                        <a:pt x="1179007" y="369740"/>
                      </a:lnTo>
                      <a:lnTo>
                        <a:pt x="1180609" y="368732"/>
                      </a:lnTo>
                      <a:lnTo>
                        <a:pt x="1182795" y="369109"/>
                      </a:lnTo>
                      <a:lnTo>
                        <a:pt x="1185442" y="370712"/>
                      </a:lnTo>
                      <a:lnTo>
                        <a:pt x="1190142" y="376783"/>
                      </a:lnTo>
                      <a:lnTo>
                        <a:pt x="1191538" y="380426"/>
                      </a:lnTo>
                      <a:lnTo>
                        <a:pt x="1191356" y="384045"/>
                      </a:lnTo>
                      <a:lnTo>
                        <a:pt x="1176019" y="414281"/>
                      </a:lnTo>
                      <a:lnTo>
                        <a:pt x="1174587" y="416199"/>
                      </a:lnTo>
                      <a:lnTo>
                        <a:pt x="1172971" y="417948"/>
                      </a:lnTo>
                      <a:lnTo>
                        <a:pt x="1171077" y="419466"/>
                      </a:lnTo>
                      <a:lnTo>
                        <a:pt x="1168794" y="420789"/>
                      </a:lnTo>
                      <a:lnTo>
                        <a:pt x="1167349" y="421336"/>
                      </a:lnTo>
                      <a:lnTo>
                        <a:pt x="1164994" y="421651"/>
                      </a:lnTo>
                      <a:lnTo>
                        <a:pt x="1160185" y="421567"/>
                      </a:lnTo>
                      <a:lnTo>
                        <a:pt x="1158048" y="421907"/>
                      </a:lnTo>
                      <a:lnTo>
                        <a:pt x="1156554" y="422429"/>
                      </a:lnTo>
                      <a:lnTo>
                        <a:pt x="1142493" y="433078"/>
                      </a:lnTo>
                      <a:lnTo>
                        <a:pt x="1135656" y="440776"/>
                      </a:lnTo>
                      <a:lnTo>
                        <a:pt x="1133823" y="442039"/>
                      </a:lnTo>
                      <a:lnTo>
                        <a:pt x="1131637" y="442902"/>
                      </a:lnTo>
                      <a:lnTo>
                        <a:pt x="1129743" y="443302"/>
                      </a:lnTo>
                      <a:lnTo>
                        <a:pt x="1127860" y="443181"/>
                      </a:lnTo>
                      <a:lnTo>
                        <a:pt x="1117223" y="439939"/>
                      </a:lnTo>
                      <a:lnTo>
                        <a:pt x="1116191" y="439854"/>
                      </a:lnTo>
                      <a:lnTo>
                        <a:pt x="1114867" y="439999"/>
                      </a:lnTo>
                      <a:lnTo>
                        <a:pt x="1113374" y="440825"/>
                      </a:lnTo>
                      <a:lnTo>
                        <a:pt x="1111662" y="442161"/>
                      </a:lnTo>
                      <a:lnTo>
                        <a:pt x="1110047" y="445767"/>
                      </a:lnTo>
                      <a:lnTo>
                        <a:pt x="1110217" y="448062"/>
                      </a:lnTo>
                      <a:lnTo>
                        <a:pt x="1112184" y="450284"/>
                      </a:lnTo>
                      <a:lnTo>
                        <a:pt x="1120733" y="458287"/>
                      </a:lnTo>
                      <a:lnTo>
                        <a:pt x="1123829" y="460436"/>
                      </a:lnTo>
                      <a:lnTo>
                        <a:pt x="1126585" y="461675"/>
                      </a:lnTo>
                      <a:lnTo>
                        <a:pt x="1128710" y="461614"/>
                      </a:lnTo>
                      <a:lnTo>
                        <a:pt x="1136227" y="460472"/>
                      </a:lnTo>
                      <a:lnTo>
                        <a:pt x="1142262" y="460837"/>
                      </a:lnTo>
                      <a:lnTo>
                        <a:pt x="1146973" y="461905"/>
                      </a:lnTo>
                      <a:lnTo>
                        <a:pt x="1149378" y="463107"/>
                      </a:lnTo>
                      <a:lnTo>
                        <a:pt x="1151114" y="464807"/>
                      </a:lnTo>
                      <a:lnTo>
                        <a:pt x="1151503" y="466617"/>
                      </a:lnTo>
                      <a:lnTo>
                        <a:pt x="1151272" y="468620"/>
                      </a:lnTo>
                      <a:lnTo>
                        <a:pt x="1150361" y="470527"/>
                      </a:lnTo>
                      <a:lnTo>
                        <a:pt x="1149317" y="471863"/>
                      </a:lnTo>
                      <a:lnTo>
                        <a:pt x="1147483" y="473793"/>
                      </a:lnTo>
                      <a:lnTo>
                        <a:pt x="1145128" y="475517"/>
                      </a:lnTo>
                      <a:lnTo>
                        <a:pt x="1142262" y="477035"/>
                      </a:lnTo>
                      <a:lnTo>
                        <a:pt x="1139153" y="478152"/>
                      </a:lnTo>
                      <a:lnTo>
                        <a:pt x="1133300" y="479330"/>
                      </a:lnTo>
                      <a:lnTo>
                        <a:pt x="1131054" y="479367"/>
                      </a:lnTo>
                      <a:lnTo>
                        <a:pt x="1129233" y="478954"/>
                      </a:lnTo>
                      <a:lnTo>
                        <a:pt x="1127897" y="478189"/>
                      </a:lnTo>
                      <a:lnTo>
                        <a:pt x="1125262" y="475517"/>
                      </a:lnTo>
                      <a:lnTo>
                        <a:pt x="1123878" y="474449"/>
                      </a:lnTo>
                      <a:lnTo>
                        <a:pt x="1122566" y="473878"/>
                      </a:lnTo>
                      <a:lnTo>
                        <a:pt x="1121352" y="473732"/>
                      </a:lnTo>
                      <a:lnTo>
                        <a:pt x="1120089" y="474024"/>
                      </a:lnTo>
                      <a:lnTo>
                        <a:pt x="1118948" y="474777"/>
                      </a:lnTo>
                      <a:lnTo>
                        <a:pt x="1117745" y="476598"/>
                      </a:lnTo>
                      <a:lnTo>
                        <a:pt x="1116531" y="479415"/>
                      </a:lnTo>
                      <a:lnTo>
                        <a:pt x="1115960" y="484649"/>
                      </a:lnTo>
                      <a:lnTo>
                        <a:pt x="1116361" y="488061"/>
                      </a:lnTo>
                      <a:lnTo>
                        <a:pt x="1117393" y="491704"/>
                      </a:lnTo>
                      <a:lnTo>
                        <a:pt x="1117685" y="494303"/>
                      </a:lnTo>
                      <a:lnTo>
                        <a:pt x="1117454" y="500143"/>
                      </a:lnTo>
                      <a:lnTo>
                        <a:pt x="1117794" y="502062"/>
                      </a:lnTo>
                      <a:lnTo>
                        <a:pt x="1118826" y="503616"/>
                      </a:lnTo>
                      <a:lnTo>
                        <a:pt x="1121935" y="506385"/>
                      </a:lnTo>
                      <a:lnTo>
                        <a:pt x="1123477" y="508388"/>
                      </a:lnTo>
                      <a:lnTo>
                        <a:pt x="1125371" y="512553"/>
                      </a:lnTo>
                      <a:lnTo>
                        <a:pt x="1126245" y="515881"/>
                      </a:lnTo>
                      <a:lnTo>
                        <a:pt x="1126816" y="520422"/>
                      </a:lnTo>
                      <a:lnTo>
                        <a:pt x="1127375" y="522486"/>
                      </a:lnTo>
                      <a:lnTo>
                        <a:pt x="1128540" y="524211"/>
                      </a:lnTo>
                      <a:lnTo>
                        <a:pt x="1130265" y="525947"/>
                      </a:lnTo>
                      <a:lnTo>
                        <a:pt x="1131807" y="528497"/>
                      </a:lnTo>
                      <a:lnTo>
                        <a:pt x="1132038" y="530197"/>
                      </a:lnTo>
                      <a:lnTo>
                        <a:pt x="1129621" y="537714"/>
                      </a:lnTo>
                      <a:lnTo>
                        <a:pt x="1129573" y="552079"/>
                      </a:lnTo>
                      <a:lnTo>
                        <a:pt x="1116871" y="554325"/>
                      </a:lnTo>
                      <a:lnTo>
                        <a:pt x="1100624" y="562024"/>
                      </a:lnTo>
                      <a:lnTo>
                        <a:pt x="1098851" y="564671"/>
                      </a:lnTo>
                      <a:lnTo>
                        <a:pt x="1094650" y="567245"/>
                      </a:lnTo>
                      <a:lnTo>
                        <a:pt x="1089938" y="568763"/>
                      </a:lnTo>
                      <a:lnTo>
                        <a:pt x="1086562" y="568205"/>
                      </a:lnTo>
                      <a:lnTo>
                        <a:pt x="1081171" y="571180"/>
                      </a:lnTo>
                      <a:lnTo>
                        <a:pt x="1074043" y="573365"/>
                      </a:lnTo>
                      <a:lnTo>
                        <a:pt x="1072440" y="573620"/>
                      </a:lnTo>
                      <a:lnTo>
                        <a:pt x="1069684" y="574738"/>
                      </a:lnTo>
                      <a:lnTo>
                        <a:pt x="1067437" y="579279"/>
                      </a:lnTo>
                      <a:lnTo>
                        <a:pt x="1067158" y="580906"/>
                      </a:lnTo>
                      <a:lnTo>
                        <a:pt x="1067267" y="583007"/>
                      </a:lnTo>
                      <a:lnTo>
                        <a:pt x="1068821" y="588495"/>
                      </a:lnTo>
                      <a:lnTo>
                        <a:pt x="1069052" y="590985"/>
                      </a:lnTo>
                      <a:lnTo>
                        <a:pt x="1068530" y="593753"/>
                      </a:lnTo>
                      <a:lnTo>
                        <a:pt x="1069271" y="596765"/>
                      </a:lnTo>
                      <a:lnTo>
                        <a:pt x="1070825" y="598805"/>
                      </a:lnTo>
                      <a:lnTo>
                        <a:pt x="1073011" y="600116"/>
                      </a:lnTo>
                      <a:lnTo>
                        <a:pt x="1074844" y="602047"/>
                      </a:lnTo>
                      <a:lnTo>
                        <a:pt x="1075257" y="605083"/>
                      </a:lnTo>
                      <a:lnTo>
                        <a:pt x="1073242" y="611227"/>
                      </a:lnTo>
                      <a:lnTo>
                        <a:pt x="1069963" y="614396"/>
                      </a:lnTo>
                      <a:lnTo>
                        <a:pt x="1066526" y="615975"/>
                      </a:lnTo>
                      <a:lnTo>
                        <a:pt x="1060771" y="616546"/>
                      </a:lnTo>
                      <a:lnTo>
                        <a:pt x="1059277" y="617529"/>
                      </a:lnTo>
                      <a:lnTo>
                        <a:pt x="1058828" y="619047"/>
                      </a:lnTo>
                      <a:lnTo>
                        <a:pt x="1059860" y="621937"/>
                      </a:lnTo>
                      <a:lnTo>
                        <a:pt x="1061014" y="624038"/>
                      </a:lnTo>
                      <a:lnTo>
                        <a:pt x="1066526" y="630522"/>
                      </a:lnTo>
                      <a:lnTo>
                        <a:pt x="1067959" y="632902"/>
                      </a:lnTo>
                      <a:lnTo>
                        <a:pt x="1070024" y="637322"/>
                      </a:lnTo>
                      <a:lnTo>
                        <a:pt x="1070825" y="638585"/>
                      </a:lnTo>
                      <a:lnTo>
                        <a:pt x="1071796" y="639216"/>
                      </a:lnTo>
                      <a:lnTo>
                        <a:pt x="1073011" y="639071"/>
                      </a:lnTo>
                      <a:lnTo>
                        <a:pt x="1078463" y="636751"/>
                      </a:lnTo>
                      <a:lnTo>
                        <a:pt x="1091152" y="634711"/>
                      </a:lnTo>
                      <a:lnTo>
                        <a:pt x="1096957" y="632271"/>
                      </a:lnTo>
                      <a:lnTo>
                        <a:pt x="1104643" y="630000"/>
                      </a:lnTo>
                      <a:lnTo>
                        <a:pt x="1108954" y="629271"/>
                      </a:lnTo>
                      <a:lnTo>
                        <a:pt x="1112512" y="629187"/>
                      </a:lnTo>
                      <a:lnTo>
                        <a:pt x="1125845" y="630498"/>
                      </a:lnTo>
                      <a:lnTo>
                        <a:pt x="1127800" y="630073"/>
                      </a:lnTo>
                      <a:lnTo>
                        <a:pt x="1128880" y="629187"/>
                      </a:lnTo>
                      <a:lnTo>
                        <a:pt x="1129573" y="628093"/>
                      </a:lnTo>
                      <a:lnTo>
                        <a:pt x="1130143" y="627511"/>
                      </a:lnTo>
                      <a:lnTo>
                        <a:pt x="1131115" y="627147"/>
                      </a:lnTo>
                      <a:lnTo>
                        <a:pt x="1132900" y="626940"/>
                      </a:lnTo>
                      <a:lnTo>
                        <a:pt x="1134563" y="627316"/>
                      </a:lnTo>
                      <a:lnTo>
                        <a:pt x="1135717" y="627827"/>
                      </a:lnTo>
                      <a:lnTo>
                        <a:pt x="1137150" y="629041"/>
                      </a:lnTo>
                      <a:lnTo>
                        <a:pt x="1138364" y="630376"/>
                      </a:lnTo>
                      <a:lnTo>
                        <a:pt x="1139676" y="631542"/>
                      </a:lnTo>
                      <a:lnTo>
                        <a:pt x="1141339" y="631918"/>
                      </a:lnTo>
                      <a:lnTo>
                        <a:pt x="1148455" y="630534"/>
                      </a:lnTo>
                      <a:lnTo>
                        <a:pt x="1150361" y="629951"/>
                      </a:lnTo>
                      <a:lnTo>
                        <a:pt x="1152086" y="629126"/>
                      </a:lnTo>
                      <a:lnTo>
                        <a:pt x="1155182" y="627183"/>
                      </a:lnTo>
                      <a:lnTo>
                        <a:pt x="1156615" y="626539"/>
                      </a:lnTo>
                      <a:lnTo>
                        <a:pt x="1157878" y="626309"/>
                      </a:lnTo>
                      <a:lnTo>
                        <a:pt x="1158910" y="626478"/>
                      </a:lnTo>
                      <a:lnTo>
                        <a:pt x="1159602" y="626964"/>
                      </a:lnTo>
                      <a:lnTo>
                        <a:pt x="1160063" y="627802"/>
                      </a:lnTo>
                      <a:lnTo>
                        <a:pt x="1161156" y="630413"/>
                      </a:lnTo>
                      <a:lnTo>
                        <a:pt x="1161618" y="631918"/>
                      </a:lnTo>
                      <a:lnTo>
                        <a:pt x="1161836" y="633570"/>
                      </a:lnTo>
                      <a:lnTo>
                        <a:pt x="1161679" y="635355"/>
                      </a:lnTo>
                      <a:lnTo>
                        <a:pt x="1161096" y="636873"/>
                      </a:lnTo>
                      <a:lnTo>
                        <a:pt x="1160063" y="638111"/>
                      </a:lnTo>
                      <a:lnTo>
                        <a:pt x="1158048" y="639775"/>
                      </a:lnTo>
                      <a:lnTo>
                        <a:pt x="1155121" y="641560"/>
                      </a:lnTo>
                      <a:lnTo>
                        <a:pt x="1150531" y="643576"/>
                      </a:lnTo>
                      <a:lnTo>
                        <a:pt x="1125784" y="650339"/>
                      </a:lnTo>
                      <a:lnTo>
                        <a:pt x="1123829" y="650485"/>
                      </a:lnTo>
                      <a:lnTo>
                        <a:pt x="1121813" y="650097"/>
                      </a:lnTo>
                      <a:lnTo>
                        <a:pt x="1117272" y="648166"/>
                      </a:lnTo>
                      <a:lnTo>
                        <a:pt x="1115438" y="647559"/>
                      </a:lnTo>
                      <a:lnTo>
                        <a:pt x="1113313" y="648336"/>
                      </a:lnTo>
                      <a:lnTo>
                        <a:pt x="1111140" y="650218"/>
                      </a:lnTo>
                      <a:lnTo>
                        <a:pt x="1106707" y="655111"/>
                      </a:lnTo>
                      <a:lnTo>
                        <a:pt x="1103902" y="657285"/>
                      </a:lnTo>
                      <a:lnTo>
                        <a:pt x="1100624" y="659119"/>
                      </a:lnTo>
                      <a:lnTo>
                        <a:pt x="1097940" y="661559"/>
                      </a:lnTo>
                      <a:lnTo>
                        <a:pt x="1095342" y="665664"/>
                      </a:lnTo>
                      <a:lnTo>
                        <a:pt x="1092184" y="678414"/>
                      </a:lnTo>
                      <a:lnTo>
                        <a:pt x="1090120" y="681741"/>
                      </a:lnTo>
                      <a:lnTo>
                        <a:pt x="1088444" y="682628"/>
                      </a:lnTo>
                      <a:lnTo>
                        <a:pt x="1077941" y="686392"/>
                      </a:lnTo>
                      <a:lnTo>
                        <a:pt x="1075658" y="686793"/>
                      </a:lnTo>
                      <a:lnTo>
                        <a:pt x="1073873" y="686246"/>
                      </a:lnTo>
                      <a:lnTo>
                        <a:pt x="1071007" y="683319"/>
                      </a:lnTo>
                      <a:lnTo>
                        <a:pt x="1069453" y="682858"/>
                      </a:lnTo>
                      <a:lnTo>
                        <a:pt x="1067899" y="683805"/>
                      </a:lnTo>
                      <a:lnTo>
                        <a:pt x="1066526" y="686974"/>
                      </a:lnTo>
                      <a:lnTo>
                        <a:pt x="1063649" y="696446"/>
                      </a:lnTo>
                      <a:lnTo>
                        <a:pt x="1061694" y="698948"/>
                      </a:lnTo>
                      <a:lnTo>
                        <a:pt x="1059581" y="700259"/>
                      </a:lnTo>
                      <a:lnTo>
                        <a:pt x="1057516" y="700660"/>
                      </a:lnTo>
                      <a:lnTo>
                        <a:pt x="1055379" y="701413"/>
                      </a:lnTo>
                      <a:lnTo>
                        <a:pt x="1053534" y="702384"/>
                      </a:lnTo>
                      <a:lnTo>
                        <a:pt x="1051882" y="703501"/>
                      </a:lnTo>
                      <a:lnTo>
                        <a:pt x="1048774" y="706428"/>
                      </a:lnTo>
                      <a:lnTo>
                        <a:pt x="1048446" y="706610"/>
                      </a:lnTo>
                      <a:lnTo>
                        <a:pt x="1047814" y="706573"/>
                      </a:lnTo>
                      <a:lnTo>
                        <a:pt x="1046782" y="706270"/>
                      </a:lnTo>
                      <a:lnTo>
                        <a:pt x="1045458" y="705748"/>
                      </a:lnTo>
                      <a:lnTo>
                        <a:pt x="1043856" y="705262"/>
                      </a:lnTo>
                      <a:lnTo>
                        <a:pt x="1042131" y="705092"/>
                      </a:lnTo>
                      <a:lnTo>
                        <a:pt x="1040456" y="705517"/>
                      </a:lnTo>
                      <a:lnTo>
                        <a:pt x="1039144" y="706270"/>
                      </a:lnTo>
                      <a:lnTo>
                        <a:pt x="1037772" y="706634"/>
                      </a:lnTo>
                      <a:lnTo>
                        <a:pt x="1036376" y="706379"/>
                      </a:lnTo>
                      <a:lnTo>
                        <a:pt x="1026054" y="700757"/>
                      </a:lnTo>
                      <a:lnTo>
                        <a:pt x="1024160" y="700186"/>
                      </a:lnTo>
                      <a:lnTo>
                        <a:pt x="1022605" y="700065"/>
                      </a:lnTo>
                      <a:lnTo>
                        <a:pt x="1021683" y="700575"/>
                      </a:lnTo>
                      <a:lnTo>
                        <a:pt x="1021403" y="701522"/>
                      </a:lnTo>
                      <a:lnTo>
                        <a:pt x="1021525" y="702675"/>
                      </a:lnTo>
                      <a:lnTo>
                        <a:pt x="1022897" y="704752"/>
                      </a:lnTo>
                      <a:lnTo>
                        <a:pt x="1029891" y="711491"/>
                      </a:lnTo>
                      <a:lnTo>
                        <a:pt x="1036788" y="715510"/>
                      </a:lnTo>
                      <a:lnTo>
                        <a:pt x="1040055" y="715656"/>
                      </a:lnTo>
                      <a:lnTo>
                        <a:pt x="1042471" y="715547"/>
                      </a:lnTo>
                      <a:lnTo>
                        <a:pt x="1044536" y="714746"/>
                      </a:lnTo>
                      <a:lnTo>
                        <a:pt x="1046272" y="714660"/>
                      </a:lnTo>
                      <a:lnTo>
                        <a:pt x="1048215" y="714867"/>
                      </a:lnTo>
                      <a:lnTo>
                        <a:pt x="1050109" y="715632"/>
                      </a:lnTo>
                      <a:lnTo>
                        <a:pt x="1051834" y="716943"/>
                      </a:lnTo>
                      <a:lnTo>
                        <a:pt x="1054019" y="719845"/>
                      </a:lnTo>
                      <a:lnTo>
                        <a:pt x="1054881" y="721703"/>
                      </a:lnTo>
                      <a:lnTo>
                        <a:pt x="1057067" y="724581"/>
                      </a:lnTo>
                      <a:lnTo>
                        <a:pt x="1063139" y="726731"/>
                      </a:lnTo>
                      <a:lnTo>
                        <a:pt x="1066016" y="727423"/>
                      </a:lnTo>
                      <a:lnTo>
                        <a:pt x="1067631" y="729378"/>
                      </a:lnTo>
                      <a:lnTo>
                        <a:pt x="1070606" y="733968"/>
                      </a:lnTo>
                      <a:lnTo>
                        <a:pt x="1074055" y="738181"/>
                      </a:lnTo>
                      <a:lnTo>
                        <a:pt x="1076799" y="740780"/>
                      </a:lnTo>
                      <a:lnTo>
                        <a:pt x="1079046" y="742358"/>
                      </a:lnTo>
                      <a:lnTo>
                        <a:pt x="1080722" y="743840"/>
                      </a:lnTo>
                      <a:lnTo>
                        <a:pt x="1081972" y="746196"/>
                      </a:lnTo>
                      <a:lnTo>
                        <a:pt x="1083769" y="753287"/>
                      </a:lnTo>
                      <a:lnTo>
                        <a:pt x="1085652" y="757027"/>
                      </a:lnTo>
                      <a:lnTo>
                        <a:pt x="1087206" y="761642"/>
                      </a:lnTo>
                      <a:lnTo>
                        <a:pt x="1088821" y="776832"/>
                      </a:lnTo>
                      <a:lnTo>
                        <a:pt x="1088760" y="779965"/>
                      </a:lnTo>
                      <a:lnTo>
                        <a:pt x="1088359" y="782795"/>
                      </a:lnTo>
                      <a:lnTo>
                        <a:pt x="1087607" y="785357"/>
                      </a:lnTo>
                      <a:lnTo>
                        <a:pt x="1086453" y="787652"/>
                      </a:lnTo>
                      <a:lnTo>
                        <a:pt x="1084619" y="789655"/>
                      </a:lnTo>
                      <a:lnTo>
                        <a:pt x="1075379" y="796577"/>
                      </a:lnTo>
                      <a:lnTo>
                        <a:pt x="1069975" y="802138"/>
                      </a:lnTo>
                      <a:lnTo>
                        <a:pt x="1069744" y="803523"/>
                      </a:lnTo>
                      <a:lnTo>
                        <a:pt x="1070157" y="807105"/>
                      </a:lnTo>
                      <a:lnTo>
                        <a:pt x="1069854" y="809497"/>
                      </a:lnTo>
                      <a:lnTo>
                        <a:pt x="1069064" y="812022"/>
                      </a:lnTo>
                      <a:lnTo>
                        <a:pt x="1067971" y="814172"/>
                      </a:lnTo>
                      <a:lnTo>
                        <a:pt x="1066478" y="815981"/>
                      </a:lnTo>
                      <a:lnTo>
                        <a:pt x="1064231" y="817293"/>
                      </a:lnTo>
                      <a:lnTo>
                        <a:pt x="1061135" y="818410"/>
                      </a:lnTo>
                      <a:lnTo>
                        <a:pt x="1056084" y="820887"/>
                      </a:lnTo>
                      <a:lnTo>
                        <a:pt x="1051542" y="823716"/>
                      </a:lnTo>
                      <a:lnTo>
                        <a:pt x="1049138" y="824518"/>
                      </a:lnTo>
                      <a:lnTo>
                        <a:pt x="1039314" y="825161"/>
                      </a:lnTo>
                      <a:lnTo>
                        <a:pt x="1037529" y="824894"/>
                      </a:lnTo>
                      <a:lnTo>
                        <a:pt x="1036036" y="824238"/>
                      </a:lnTo>
                      <a:lnTo>
                        <a:pt x="1034724" y="822805"/>
                      </a:lnTo>
                      <a:lnTo>
                        <a:pt x="1030292" y="816285"/>
                      </a:lnTo>
                      <a:lnTo>
                        <a:pt x="1027766" y="814160"/>
                      </a:lnTo>
                      <a:lnTo>
                        <a:pt x="1024682" y="812302"/>
                      </a:lnTo>
                      <a:lnTo>
                        <a:pt x="1018926" y="809594"/>
                      </a:lnTo>
                      <a:lnTo>
                        <a:pt x="1011932" y="804542"/>
                      </a:lnTo>
                      <a:lnTo>
                        <a:pt x="1010900" y="803996"/>
                      </a:lnTo>
                      <a:lnTo>
                        <a:pt x="1009224" y="803353"/>
                      </a:lnTo>
                      <a:lnTo>
                        <a:pt x="1008082" y="802721"/>
                      </a:lnTo>
                      <a:lnTo>
                        <a:pt x="1007099" y="801750"/>
                      </a:lnTo>
                      <a:lnTo>
                        <a:pt x="1005035" y="797002"/>
                      </a:lnTo>
                      <a:lnTo>
                        <a:pt x="1004172" y="795508"/>
                      </a:lnTo>
                      <a:lnTo>
                        <a:pt x="1002922" y="794233"/>
                      </a:lnTo>
                      <a:lnTo>
                        <a:pt x="1001756" y="793687"/>
                      </a:lnTo>
                      <a:lnTo>
                        <a:pt x="1000214" y="793857"/>
                      </a:lnTo>
                      <a:lnTo>
                        <a:pt x="999242" y="794403"/>
                      </a:lnTo>
                      <a:lnTo>
                        <a:pt x="998320" y="795581"/>
                      </a:lnTo>
                      <a:lnTo>
                        <a:pt x="996316" y="800790"/>
                      </a:lnTo>
                      <a:lnTo>
                        <a:pt x="993669" y="803523"/>
                      </a:lnTo>
                      <a:lnTo>
                        <a:pt x="987585" y="805550"/>
                      </a:lnTo>
                      <a:lnTo>
                        <a:pt x="986249" y="806874"/>
                      </a:lnTo>
                      <a:lnTo>
                        <a:pt x="986140" y="807700"/>
                      </a:lnTo>
                      <a:lnTo>
                        <a:pt x="986602" y="808963"/>
                      </a:lnTo>
                      <a:lnTo>
                        <a:pt x="987694" y="809643"/>
                      </a:lnTo>
                      <a:lnTo>
                        <a:pt x="989127" y="809946"/>
                      </a:lnTo>
                      <a:lnTo>
                        <a:pt x="990961" y="810031"/>
                      </a:lnTo>
                      <a:lnTo>
                        <a:pt x="992297" y="810213"/>
                      </a:lnTo>
                      <a:lnTo>
                        <a:pt x="993547" y="810614"/>
                      </a:lnTo>
                      <a:lnTo>
                        <a:pt x="994179" y="811245"/>
                      </a:lnTo>
                      <a:lnTo>
                        <a:pt x="994531" y="812338"/>
                      </a:lnTo>
                      <a:lnTo>
                        <a:pt x="995162" y="816807"/>
                      </a:lnTo>
                      <a:lnTo>
                        <a:pt x="995502" y="817973"/>
                      </a:lnTo>
                      <a:lnTo>
                        <a:pt x="996085" y="818628"/>
                      </a:lnTo>
                      <a:lnTo>
                        <a:pt x="996996" y="819090"/>
                      </a:lnTo>
                      <a:lnTo>
                        <a:pt x="998089" y="819345"/>
                      </a:lnTo>
                      <a:lnTo>
                        <a:pt x="1000275" y="819600"/>
                      </a:lnTo>
                      <a:lnTo>
                        <a:pt x="1001125" y="819806"/>
                      </a:lnTo>
                      <a:lnTo>
                        <a:pt x="1001586" y="820292"/>
                      </a:lnTo>
                      <a:lnTo>
                        <a:pt x="1001987" y="821142"/>
                      </a:lnTo>
                      <a:lnTo>
                        <a:pt x="1002400" y="822308"/>
                      </a:lnTo>
                      <a:lnTo>
                        <a:pt x="1003893" y="829314"/>
                      </a:lnTo>
                      <a:lnTo>
                        <a:pt x="1002958" y="832787"/>
                      </a:lnTo>
                      <a:lnTo>
                        <a:pt x="1000785" y="837608"/>
                      </a:lnTo>
                      <a:lnTo>
                        <a:pt x="991544" y="852677"/>
                      </a:lnTo>
                      <a:lnTo>
                        <a:pt x="986249" y="859732"/>
                      </a:lnTo>
                      <a:lnTo>
                        <a:pt x="985509" y="862258"/>
                      </a:lnTo>
                      <a:lnTo>
                        <a:pt x="986031" y="863521"/>
                      </a:lnTo>
                      <a:lnTo>
                        <a:pt x="986723" y="864286"/>
                      </a:lnTo>
                      <a:lnTo>
                        <a:pt x="988435" y="864832"/>
                      </a:lnTo>
                      <a:lnTo>
                        <a:pt x="989188" y="865318"/>
                      </a:lnTo>
                      <a:lnTo>
                        <a:pt x="989759" y="866301"/>
                      </a:lnTo>
                      <a:lnTo>
                        <a:pt x="990172" y="867783"/>
                      </a:lnTo>
                      <a:lnTo>
                        <a:pt x="990390" y="869434"/>
                      </a:lnTo>
                      <a:lnTo>
                        <a:pt x="990512" y="872215"/>
                      </a:lnTo>
                      <a:lnTo>
                        <a:pt x="991775" y="881589"/>
                      </a:lnTo>
                      <a:lnTo>
                        <a:pt x="991483" y="884395"/>
                      </a:lnTo>
                      <a:lnTo>
                        <a:pt x="990852" y="886677"/>
                      </a:lnTo>
                      <a:lnTo>
                        <a:pt x="989127" y="889798"/>
                      </a:lnTo>
                      <a:lnTo>
                        <a:pt x="988739" y="891705"/>
                      </a:lnTo>
                      <a:lnTo>
                        <a:pt x="988836" y="893393"/>
                      </a:lnTo>
                      <a:lnTo>
                        <a:pt x="989868" y="896465"/>
                      </a:lnTo>
                      <a:lnTo>
                        <a:pt x="989710" y="898031"/>
                      </a:lnTo>
                      <a:lnTo>
                        <a:pt x="988739" y="899172"/>
                      </a:lnTo>
                      <a:lnTo>
                        <a:pt x="986092" y="899573"/>
                      </a:lnTo>
                      <a:lnTo>
                        <a:pt x="984477" y="899367"/>
                      </a:lnTo>
                      <a:lnTo>
                        <a:pt x="981186" y="898505"/>
                      </a:lnTo>
                      <a:lnTo>
                        <a:pt x="968849" y="896622"/>
                      </a:lnTo>
                      <a:lnTo>
                        <a:pt x="967064" y="897108"/>
                      </a:lnTo>
                      <a:lnTo>
                        <a:pt x="965740" y="897995"/>
                      </a:lnTo>
                      <a:lnTo>
                        <a:pt x="964246" y="900144"/>
                      </a:lnTo>
                      <a:lnTo>
                        <a:pt x="963797" y="901844"/>
                      </a:lnTo>
                      <a:lnTo>
                        <a:pt x="963736" y="903107"/>
                      </a:lnTo>
                      <a:lnTo>
                        <a:pt x="963919" y="904564"/>
                      </a:lnTo>
                      <a:lnTo>
                        <a:pt x="963797" y="905912"/>
                      </a:lnTo>
                      <a:lnTo>
                        <a:pt x="963506" y="907321"/>
                      </a:lnTo>
                      <a:lnTo>
                        <a:pt x="962425" y="908717"/>
                      </a:lnTo>
                      <a:lnTo>
                        <a:pt x="961150" y="909846"/>
                      </a:lnTo>
                      <a:lnTo>
                        <a:pt x="958515" y="911340"/>
                      </a:lnTo>
                      <a:lnTo>
                        <a:pt x="955819" y="912287"/>
                      </a:lnTo>
                      <a:lnTo>
                        <a:pt x="954034" y="912712"/>
                      </a:lnTo>
                      <a:lnTo>
                        <a:pt x="949031" y="911935"/>
                      </a:lnTo>
                      <a:lnTo>
                        <a:pt x="949736" y="902269"/>
                      </a:lnTo>
                      <a:lnTo>
                        <a:pt x="948691" y="901018"/>
                      </a:lnTo>
                      <a:lnTo>
                        <a:pt x="946846" y="899646"/>
                      </a:lnTo>
                      <a:lnTo>
                        <a:pt x="940191" y="898760"/>
                      </a:lnTo>
                      <a:lnTo>
                        <a:pt x="939220" y="898905"/>
                      </a:lnTo>
                      <a:lnTo>
                        <a:pt x="938418" y="899513"/>
                      </a:lnTo>
                      <a:lnTo>
                        <a:pt x="937775" y="900860"/>
                      </a:lnTo>
                      <a:lnTo>
                        <a:pt x="937496" y="902415"/>
                      </a:lnTo>
                      <a:lnTo>
                        <a:pt x="937313" y="904819"/>
                      </a:lnTo>
                      <a:lnTo>
                        <a:pt x="937034" y="905705"/>
                      </a:lnTo>
                      <a:lnTo>
                        <a:pt x="935941" y="906507"/>
                      </a:lnTo>
                      <a:lnTo>
                        <a:pt x="933998" y="907199"/>
                      </a:lnTo>
                      <a:lnTo>
                        <a:pt x="930198" y="907405"/>
                      </a:lnTo>
                      <a:lnTo>
                        <a:pt x="927915" y="906641"/>
                      </a:lnTo>
                      <a:lnTo>
                        <a:pt x="926421" y="905317"/>
                      </a:lnTo>
                      <a:lnTo>
                        <a:pt x="925668" y="903605"/>
                      </a:lnTo>
                      <a:lnTo>
                        <a:pt x="924235" y="896804"/>
                      </a:lnTo>
                      <a:lnTo>
                        <a:pt x="924175" y="895712"/>
                      </a:lnTo>
                      <a:lnTo>
                        <a:pt x="924235" y="894764"/>
                      </a:lnTo>
                      <a:lnTo>
                        <a:pt x="924515" y="893732"/>
                      </a:lnTo>
                      <a:lnTo>
                        <a:pt x="924867" y="892980"/>
                      </a:lnTo>
                      <a:lnTo>
                        <a:pt x="925547" y="892130"/>
                      </a:lnTo>
                      <a:lnTo>
                        <a:pt x="926640" y="891182"/>
                      </a:lnTo>
                      <a:lnTo>
                        <a:pt x="938868" y="884613"/>
                      </a:lnTo>
                      <a:lnTo>
                        <a:pt x="939912" y="883569"/>
                      </a:lnTo>
                      <a:lnTo>
                        <a:pt x="940604" y="882257"/>
                      </a:lnTo>
                      <a:lnTo>
                        <a:pt x="940944" y="880072"/>
                      </a:lnTo>
                      <a:lnTo>
                        <a:pt x="940604" y="878894"/>
                      </a:lnTo>
                      <a:lnTo>
                        <a:pt x="939791" y="878311"/>
                      </a:lnTo>
                      <a:lnTo>
                        <a:pt x="938297" y="878275"/>
                      </a:lnTo>
                      <a:lnTo>
                        <a:pt x="936463" y="878627"/>
                      </a:lnTo>
                      <a:lnTo>
                        <a:pt x="934848" y="878712"/>
                      </a:lnTo>
                      <a:lnTo>
                        <a:pt x="933306" y="878481"/>
                      </a:lnTo>
                      <a:lnTo>
                        <a:pt x="931752" y="877412"/>
                      </a:lnTo>
                      <a:lnTo>
                        <a:pt x="931230" y="876441"/>
                      </a:lnTo>
                      <a:lnTo>
                        <a:pt x="931291" y="875032"/>
                      </a:lnTo>
                      <a:lnTo>
                        <a:pt x="931813" y="873211"/>
                      </a:lnTo>
                      <a:lnTo>
                        <a:pt x="932153" y="870333"/>
                      </a:lnTo>
                      <a:lnTo>
                        <a:pt x="931230" y="868839"/>
                      </a:lnTo>
                      <a:lnTo>
                        <a:pt x="930088" y="868499"/>
                      </a:lnTo>
                      <a:lnTo>
                        <a:pt x="928595" y="869021"/>
                      </a:lnTo>
                      <a:lnTo>
                        <a:pt x="927223" y="869872"/>
                      </a:lnTo>
                      <a:lnTo>
                        <a:pt x="921188" y="874984"/>
                      </a:lnTo>
                      <a:lnTo>
                        <a:pt x="917411" y="877048"/>
                      </a:lnTo>
                      <a:lnTo>
                        <a:pt x="916367" y="877170"/>
                      </a:lnTo>
                      <a:lnTo>
                        <a:pt x="915104" y="876915"/>
                      </a:lnTo>
                      <a:lnTo>
                        <a:pt x="913028" y="876113"/>
                      </a:lnTo>
                      <a:lnTo>
                        <a:pt x="911874" y="876174"/>
                      </a:lnTo>
                      <a:lnTo>
                        <a:pt x="911024" y="876745"/>
                      </a:lnTo>
                      <a:lnTo>
                        <a:pt x="910162" y="878153"/>
                      </a:lnTo>
                      <a:lnTo>
                        <a:pt x="907575" y="884407"/>
                      </a:lnTo>
                      <a:lnTo>
                        <a:pt x="907126" y="884880"/>
                      </a:lnTo>
                      <a:lnTo>
                        <a:pt x="905912" y="885014"/>
                      </a:lnTo>
                      <a:lnTo>
                        <a:pt x="904200" y="884807"/>
                      </a:lnTo>
                      <a:lnTo>
                        <a:pt x="901091" y="884091"/>
                      </a:lnTo>
                      <a:lnTo>
                        <a:pt x="899597" y="883945"/>
                      </a:lnTo>
                      <a:lnTo>
                        <a:pt x="898274" y="884395"/>
                      </a:lnTo>
                      <a:lnTo>
                        <a:pt x="897642" y="885196"/>
                      </a:lnTo>
                      <a:lnTo>
                        <a:pt x="896950" y="886690"/>
                      </a:lnTo>
                      <a:lnTo>
                        <a:pt x="896841" y="887782"/>
                      </a:lnTo>
                      <a:lnTo>
                        <a:pt x="896950" y="888875"/>
                      </a:lnTo>
                      <a:lnTo>
                        <a:pt x="897533" y="889968"/>
                      </a:lnTo>
                      <a:lnTo>
                        <a:pt x="898444" y="891122"/>
                      </a:lnTo>
                      <a:lnTo>
                        <a:pt x="899828" y="892214"/>
                      </a:lnTo>
                      <a:lnTo>
                        <a:pt x="903107" y="894376"/>
                      </a:lnTo>
                      <a:lnTo>
                        <a:pt x="904649" y="895639"/>
                      </a:lnTo>
                      <a:lnTo>
                        <a:pt x="905742" y="896926"/>
                      </a:lnTo>
                      <a:lnTo>
                        <a:pt x="906483" y="898383"/>
                      </a:lnTo>
                      <a:lnTo>
                        <a:pt x="906883" y="899731"/>
                      </a:lnTo>
                      <a:lnTo>
                        <a:pt x="907466" y="907429"/>
                      </a:lnTo>
                      <a:lnTo>
                        <a:pt x="907915" y="909506"/>
                      </a:lnTo>
                      <a:lnTo>
                        <a:pt x="898626" y="913465"/>
                      </a:lnTo>
                      <a:lnTo>
                        <a:pt x="893975" y="914497"/>
                      </a:lnTo>
                      <a:lnTo>
                        <a:pt x="890867" y="914521"/>
                      </a:lnTo>
                      <a:lnTo>
                        <a:pt x="886095" y="914060"/>
                      </a:lnTo>
                      <a:lnTo>
                        <a:pt x="884662" y="914497"/>
                      </a:lnTo>
                      <a:lnTo>
                        <a:pt x="883459" y="915189"/>
                      </a:lnTo>
                      <a:lnTo>
                        <a:pt x="882379" y="916233"/>
                      </a:lnTo>
                      <a:lnTo>
                        <a:pt x="881456" y="916306"/>
                      </a:lnTo>
                      <a:lnTo>
                        <a:pt x="877084" y="914533"/>
                      </a:lnTo>
                      <a:lnTo>
                        <a:pt x="875992" y="914594"/>
                      </a:lnTo>
                      <a:lnTo>
                        <a:pt x="874850" y="914934"/>
                      </a:lnTo>
                      <a:lnTo>
                        <a:pt x="872494" y="916513"/>
                      </a:lnTo>
                      <a:lnTo>
                        <a:pt x="871232" y="917581"/>
                      </a:lnTo>
                      <a:lnTo>
                        <a:pt x="867613" y="919621"/>
                      </a:lnTo>
                      <a:lnTo>
                        <a:pt x="863132" y="920216"/>
                      </a:lnTo>
                      <a:lnTo>
                        <a:pt x="863071" y="920216"/>
                      </a:lnTo>
                      <a:lnTo>
                        <a:pt x="863533" y="918212"/>
                      </a:lnTo>
                      <a:lnTo>
                        <a:pt x="866860" y="909117"/>
                      </a:lnTo>
                      <a:lnTo>
                        <a:pt x="868074" y="900532"/>
                      </a:lnTo>
                      <a:lnTo>
                        <a:pt x="868645" y="898432"/>
                      </a:lnTo>
                      <a:lnTo>
                        <a:pt x="871389" y="894619"/>
                      </a:lnTo>
                      <a:lnTo>
                        <a:pt x="872033" y="892372"/>
                      </a:lnTo>
                      <a:lnTo>
                        <a:pt x="871632" y="891802"/>
                      </a:lnTo>
                      <a:lnTo>
                        <a:pt x="870770" y="891765"/>
                      </a:lnTo>
                      <a:lnTo>
                        <a:pt x="869896" y="891559"/>
                      </a:lnTo>
                      <a:lnTo>
                        <a:pt x="869447" y="890442"/>
                      </a:lnTo>
                      <a:lnTo>
                        <a:pt x="869447" y="886447"/>
                      </a:lnTo>
                      <a:lnTo>
                        <a:pt x="869629" y="886022"/>
                      </a:lnTo>
                      <a:lnTo>
                        <a:pt x="870600" y="879659"/>
                      </a:lnTo>
                      <a:lnTo>
                        <a:pt x="872203" y="876611"/>
                      </a:lnTo>
                      <a:lnTo>
                        <a:pt x="874328" y="873478"/>
                      </a:lnTo>
                      <a:lnTo>
                        <a:pt x="876113" y="869945"/>
                      </a:lnTo>
                      <a:lnTo>
                        <a:pt x="876866" y="865609"/>
                      </a:lnTo>
                      <a:lnTo>
                        <a:pt x="877837" y="865609"/>
                      </a:lnTo>
                      <a:lnTo>
                        <a:pt x="880011" y="864237"/>
                      </a:lnTo>
                      <a:lnTo>
                        <a:pt x="882257" y="862379"/>
                      </a:lnTo>
                      <a:lnTo>
                        <a:pt x="883508" y="861007"/>
                      </a:lnTo>
                      <a:lnTo>
                        <a:pt x="883751" y="860425"/>
                      </a:lnTo>
                      <a:lnTo>
                        <a:pt x="887649" y="860910"/>
                      </a:lnTo>
                      <a:lnTo>
                        <a:pt x="892700" y="860024"/>
                      </a:lnTo>
                      <a:lnTo>
                        <a:pt x="895687" y="857813"/>
                      </a:lnTo>
                      <a:lnTo>
                        <a:pt x="896100" y="852531"/>
                      </a:lnTo>
                      <a:lnTo>
                        <a:pt x="895226" y="848573"/>
                      </a:lnTo>
                      <a:lnTo>
                        <a:pt x="892300" y="844153"/>
                      </a:lnTo>
                      <a:lnTo>
                        <a:pt x="889142" y="842939"/>
                      </a:lnTo>
                      <a:lnTo>
                        <a:pt x="895165" y="834293"/>
                      </a:lnTo>
                      <a:lnTo>
                        <a:pt x="896562" y="830553"/>
                      </a:lnTo>
                      <a:lnTo>
                        <a:pt x="897302" y="826424"/>
                      </a:lnTo>
                      <a:lnTo>
                        <a:pt x="897472" y="822028"/>
                      </a:lnTo>
                      <a:lnTo>
                        <a:pt x="897351" y="819709"/>
                      </a:lnTo>
                      <a:lnTo>
                        <a:pt x="896501" y="815520"/>
                      </a:lnTo>
                      <a:lnTo>
                        <a:pt x="896319" y="813419"/>
                      </a:lnTo>
                      <a:lnTo>
                        <a:pt x="896890" y="811622"/>
                      </a:lnTo>
                      <a:lnTo>
                        <a:pt x="899597" y="808963"/>
                      </a:lnTo>
                      <a:lnTo>
                        <a:pt x="900180" y="806753"/>
                      </a:lnTo>
                      <a:lnTo>
                        <a:pt x="900860" y="797864"/>
                      </a:lnTo>
                      <a:lnTo>
                        <a:pt x="900569" y="794014"/>
                      </a:lnTo>
                      <a:lnTo>
                        <a:pt x="898905" y="791307"/>
                      </a:lnTo>
                      <a:lnTo>
                        <a:pt x="906665" y="785976"/>
                      </a:lnTo>
                      <a:lnTo>
                        <a:pt x="907867" y="785976"/>
                      </a:lnTo>
                      <a:lnTo>
                        <a:pt x="907515" y="783912"/>
                      </a:lnTo>
                      <a:lnTo>
                        <a:pt x="905912" y="782698"/>
                      </a:lnTo>
                      <a:lnTo>
                        <a:pt x="904078" y="781762"/>
                      </a:lnTo>
                      <a:lnTo>
                        <a:pt x="902743" y="780524"/>
                      </a:lnTo>
                      <a:lnTo>
                        <a:pt x="902706" y="778909"/>
                      </a:lnTo>
                      <a:lnTo>
                        <a:pt x="903386" y="777537"/>
                      </a:lnTo>
                      <a:lnTo>
                        <a:pt x="903787" y="775946"/>
                      </a:lnTo>
                      <a:lnTo>
                        <a:pt x="902743" y="773821"/>
                      </a:lnTo>
                      <a:lnTo>
                        <a:pt x="899136" y="778217"/>
                      </a:lnTo>
                      <a:lnTo>
                        <a:pt x="896440" y="776626"/>
                      </a:lnTo>
                      <a:lnTo>
                        <a:pt x="895347" y="772182"/>
                      </a:lnTo>
                      <a:lnTo>
                        <a:pt x="896890" y="767846"/>
                      </a:lnTo>
                      <a:lnTo>
                        <a:pt x="899136" y="764690"/>
                      </a:lnTo>
                      <a:lnTo>
                        <a:pt x="897934" y="764325"/>
                      </a:lnTo>
                      <a:lnTo>
                        <a:pt x="895578" y="765175"/>
                      </a:lnTo>
                      <a:lnTo>
                        <a:pt x="894485" y="765819"/>
                      </a:lnTo>
                      <a:lnTo>
                        <a:pt x="887248" y="771016"/>
                      </a:lnTo>
                      <a:lnTo>
                        <a:pt x="888924" y="767907"/>
                      </a:lnTo>
                      <a:lnTo>
                        <a:pt x="890527" y="760962"/>
                      </a:lnTo>
                      <a:lnTo>
                        <a:pt x="892542" y="758982"/>
                      </a:lnTo>
                      <a:lnTo>
                        <a:pt x="887187" y="752619"/>
                      </a:lnTo>
                      <a:lnTo>
                        <a:pt x="890940" y="749074"/>
                      </a:lnTo>
                      <a:lnTo>
                        <a:pt x="896574" y="746305"/>
                      </a:lnTo>
                      <a:lnTo>
                        <a:pt x="896902" y="742286"/>
                      </a:lnTo>
                      <a:lnTo>
                        <a:pt x="894619" y="742541"/>
                      </a:lnTo>
                      <a:lnTo>
                        <a:pt x="890430" y="743804"/>
                      </a:lnTo>
                      <a:lnTo>
                        <a:pt x="886459" y="744301"/>
                      </a:lnTo>
                      <a:lnTo>
                        <a:pt x="884674" y="742286"/>
                      </a:lnTo>
                      <a:lnTo>
                        <a:pt x="884334" y="740537"/>
                      </a:lnTo>
                      <a:lnTo>
                        <a:pt x="883362" y="739068"/>
                      </a:lnTo>
                      <a:lnTo>
                        <a:pt x="881917" y="738096"/>
                      </a:lnTo>
                      <a:lnTo>
                        <a:pt x="880193" y="737756"/>
                      </a:lnTo>
                      <a:lnTo>
                        <a:pt x="878007" y="737514"/>
                      </a:lnTo>
                      <a:lnTo>
                        <a:pt x="876987" y="736882"/>
                      </a:lnTo>
                      <a:lnTo>
                        <a:pt x="875081" y="734211"/>
                      </a:lnTo>
                      <a:lnTo>
                        <a:pt x="874109" y="731308"/>
                      </a:lnTo>
                      <a:lnTo>
                        <a:pt x="877327" y="730981"/>
                      </a:lnTo>
                      <a:lnTo>
                        <a:pt x="884674" y="732268"/>
                      </a:lnTo>
                      <a:lnTo>
                        <a:pt x="888815" y="731369"/>
                      </a:lnTo>
                      <a:lnTo>
                        <a:pt x="889677" y="729487"/>
                      </a:lnTo>
                      <a:lnTo>
                        <a:pt x="883362" y="715061"/>
                      </a:lnTo>
                      <a:lnTo>
                        <a:pt x="882148" y="713398"/>
                      </a:lnTo>
                      <a:lnTo>
                        <a:pt x="880254" y="713628"/>
                      </a:lnTo>
                      <a:lnTo>
                        <a:pt x="872045" y="717417"/>
                      </a:lnTo>
                      <a:lnTo>
                        <a:pt x="871462" y="716591"/>
                      </a:lnTo>
                      <a:lnTo>
                        <a:pt x="870272" y="715693"/>
                      </a:lnTo>
                      <a:lnTo>
                        <a:pt x="869459" y="714721"/>
                      </a:lnTo>
                      <a:lnTo>
                        <a:pt x="868657" y="715875"/>
                      </a:lnTo>
                      <a:lnTo>
                        <a:pt x="868257" y="717186"/>
                      </a:lnTo>
                      <a:lnTo>
                        <a:pt x="868087" y="720756"/>
                      </a:lnTo>
                      <a:lnTo>
                        <a:pt x="867224" y="721667"/>
                      </a:lnTo>
                      <a:lnTo>
                        <a:pt x="861651" y="724217"/>
                      </a:lnTo>
                      <a:lnTo>
                        <a:pt x="862695" y="718048"/>
                      </a:lnTo>
                      <a:lnTo>
                        <a:pt x="865439" y="713446"/>
                      </a:lnTo>
                      <a:lnTo>
                        <a:pt x="866994" y="709864"/>
                      </a:lnTo>
                      <a:lnTo>
                        <a:pt x="864249" y="706707"/>
                      </a:lnTo>
                      <a:lnTo>
                        <a:pt x="862792" y="707970"/>
                      </a:lnTo>
                      <a:lnTo>
                        <a:pt x="859076" y="707885"/>
                      </a:lnTo>
                      <a:lnTo>
                        <a:pt x="857170" y="708771"/>
                      </a:lnTo>
                      <a:lnTo>
                        <a:pt x="856490" y="710338"/>
                      </a:lnTo>
                      <a:lnTo>
                        <a:pt x="856308" y="712535"/>
                      </a:lnTo>
                      <a:lnTo>
                        <a:pt x="856539" y="716822"/>
                      </a:lnTo>
                      <a:lnTo>
                        <a:pt x="856199" y="719311"/>
                      </a:lnTo>
                      <a:lnTo>
                        <a:pt x="855276" y="719797"/>
                      </a:lnTo>
                      <a:lnTo>
                        <a:pt x="853843" y="719748"/>
                      </a:lnTo>
                      <a:lnTo>
                        <a:pt x="849945" y="722153"/>
                      </a:lnTo>
                      <a:lnTo>
                        <a:pt x="848391" y="721643"/>
                      </a:lnTo>
                      <a:lnTo>
                        <a:pt x="845634" y="718133"/>
                      </a:lnTo>
                      <a:lnTo>
                        <a:pt x="845744" y="715401"/>
                      </a:lnTo>
                      <a:lnTo>
                        <a:pt x="848573" y="712208"/>
                      </a:lnTo>
                      <a:lnTo>
                        <a:pt x="860388" y="703878"/>
                      </a:lnTo>
                      <a:lnTo>
                        <a:pt x="863788" y="700842"/>
                      </a:lnTo>
                      <a:lnTo>
                        <a:pt x="865561" y="699895"/>
                      </a:lnTo>
                      <a:lnTo>
                        <a:pt x="868087" y="699895"/>
                      </a:lnTo>
                      <a:lnTo>
                        <a:pt x="866010" y="697879"/>
                      </a:lnTo>
                      <a:lnTo>
                        <a:pt x="859295" y="695669"/>
                      </a:lnTo>
                      <a:lnTo>
                        <a:pt x="857801" y="693969"/>
                      </a:lnTo>
                      <a:lnTo>
                        <a:pt x="856539" y="691990"/>
                      </a:lnTo>
                      <a:lnTo>
                        <a:pt x="853964" y="690897"/>
                      </a:lnTo>
                      <a:lnTo>
                        <a:pt x="851657" y="689136"/>
                      </a:lnTo>
                      <a:lnTo>
                        <a:pt x="851439" y="685262"/>
                      </a:lnTo>
                      <a:lnTo>
                        <a:pt x="847589" y="688043"/>
                      </a:lnTo>
                      <a:lnTo>
                        <a:pt x="846326" y="689294"/>
                      </a:lnTo>
                      <a:lnTo>
                        <a:pt x="843971" y="686598"/>
                      </a:lnTo>
                      <a:lnTo>
                        <a:pt x="843218" y="684437"/>
                      </a:lnTo>
                      <a:lnTo>
                        <a:pt x="842416" y="678559"/>
                      </a:lnTo>
                      <a:lnTo>
                        <a:pt x="840692" y="673787"/>
                      </a:lnTo>
                      <a:lnTo>
                        <a:pt x="840352" y="671954"/>
                      </a:lnTo>
                      <a:lnTo>
                        <a:pt x="841032" y="670521"/>
                      </a:lnTo>
                      <a:lnTo>
                        <a:pt x="843448" y="669719"/>
                      </a:lnTo>
                      <a:lnTo>
                        <a:pt x="850066" y="668845"/>
                      </a:lnTo>
                      <a:lnTo>
                        <a:pt x="851439" y="667740"/>
                      </a:lnTo>
                      <a:lnTo>
                        <a:pt x="850115" y="666077"/>
                      </a:lnTo>
                      <a:lnTo>
                        <a:pt x="847237" y="666283"/>
                      </a:lnTo>
                      <a:lnTo>
                        <a:pt x="841724" y="667740"/>
                      </a:lnTo>
                      <a:lnTo>
                        <a:pt x="838858" y="666915"/>
                      </a:lnTo>
                      <a:lnTo>
                        <a:pt x="836794" y="665081"/>
                      </a:lnTo>
                      <a:lnTo>
                        <a:pt x="836211" y="663247"/>
                      </a:lnTo>
                      <a:lnTo>
                        <a:pt x="837948" y="662385"/>
                      </a:lnTo>
                      <a:lnTo>
                        <a:pt x="849423" y="659010"/>
                      </a:lnTo>
                      <a:lnTo>
                        <a:pt x="856490" y="654930"/>
                      </a:lnTo>
                      <a:lnTo>
                        <a:pt x="857170" y="654237"/>
                      </a:lnTo>
                      <a:lnTo>
                        <a:pt x="866872" y="647534"/>
                      </a:lnTo>
                      <a:lnTo>
                        <a:pt x="870430" y="650072"/>
                      </a:lnTo>
                      <a:lnTo>
                        <a:pt x="871462" y="647972"/>
                      </a:lnTo>
                      <a:lnTo>
                        <a:pt x="870661" y="644802"/>
                      </a:lnTo>
                      <a:lnTo>
                        <a:pt x="868779" y="644171"/>
                      </a:lnTo>
                      <a:lnTo>
                        <a:pt x="858433" y="647522"/>
                      </a:lnTo>
                      <a:lnTo>
                        <a:pt x="855045" y="649198"/>
                      </a:lnTo>
                      <a:lnTo>
                        <a:pt x="845161" y="656144"/>
                      </a:lnTo>
                      <a:lnTo>
                        <a:pt x="839769" y="657030"/>
                      </a:lnTo>
                      <a:lnTo>
                        <a:pt x="840923" y="654019"/>
                      </a:lnTo>
                      <a:lnTo>
                        <a:pt x="846496" y="643272"/>
                      </a:lnTo>
                      <a:lnTo>
                        <a:pt x="849423" y="640929"/>
                      </a:lnTo>
                      <a:lnTo>
                        <a:pt x="852410" y="639435"/>
                      </a:lnTo>
                      <a:lnTo>
                        <a:pt x="859756" y="632829"/>
                      </a:lnTo>
                      <a:lnTo>
                        <a:pt x="862331" y="631311"/>
                      </a:lnTo>
                      <a:lnTo>
                        <a:pt x="866654" y="630352"/>
                      </a:lnTo>
                      <a:lnTo>
                        <a:pt x="871183" y="628009"/>
                      </a:lnTo>
                      <a:lnTo>
                        <a:pt x="875324" y="624997"/>
                      </a:lnTo>
                      <a:lnTo>
                        <a:pt x="878311" y="622070"/>
                      </a:lnTo>
                      <a:lnTo>
                        <a:pt x="882269" y="614287"/>
                      </a:lnTo>
                      <a:lnTo>
                        <a:pt x="884674" y="612526"/>
                      </a:lnTo>
                      <a:lnTo>
                        <a:pt x="886750" y="612441"/>
                      </a:lnTo>
                      <a:lnTo>
                        <a:pt x="891340" y="613789"/>
                      </a:lnTo>
                      <a:lnTo>
                        <a:pt x="893745" y="613996"/>
                      </a:lnTo>
                      <a:lnTo>
                        <a:pt x="897145" y="613219"/>
                      </a:lnTo>
                      <a:lnTo>
                        <a:pt x="905754" y="609721"/>
                      </a:lnTo>
                      <a:lnTo>
                        <a:pt x="911376" y="605702"/>
                      </a:lnTo>
                      <a:lnTo>
                        <a:pt x="922062" y="601828"/>
                      </a:lnTo>
                      <a:lnTo>
                        <a:pt x="933768" y="595684"/>
                      </a:lnTo>
                      <a:lnTo>
                        <a:pt x="938139" y="594980"/>
                      </a:lnTo>
                      <a:lnTo>
                        <a:pt x="939803" y="594227"/>
                      </a:lnTo>
                      <a:lnTo>
                        <a:pt x="941697" y="592357"/>
                      </a:lnTo>
                      <a:lnTo>
                        <a:pt x="942620" y="590171"/>
                      </a:lnTo>
                      <a:lnTo>
                        <a:pt x="941527" y="588398"/>
                      </a:lnTo>
                      <a:lnTo>
                        <a:pt x="940155" y="588811"/>
                      </a:lnTo>
                      <a:lnTo>
                        <a:pt x="933610" y="592405"/>
                      </a:lnTo>
                      <a:lnTo>
                        <a:pt x="926591" y="594980"/>
                      </a:lnTo>
                      <a:lnTo>
                        <a:pt x="925559" y="595599"/>
                      </a:lnTo>
                      <a:lnTo>
                        <a:pt x="922062" y="598380"/>
                      </a:lnTo>
                      <a:lnTo>
                        <a:pt x="920216" y="599023"/>
                      </a:lnTo>
                      <a:lnTo>
                        <a:pt x="916258" y="599873"/>
                      </a:lnTo>
                      <a:lnTo>
                        <a:pt x="908510" y="603662"/>
                      </a:lnTo>
                      <a:lnTo>
                        <a:pt x="904151" y="604487"/>
                      </a:lnTo>
                      <a:lnTo>
                        <a:pt x="895870" y="602885"/>
                      </a:lnTo>
                      <a:lnTo>
                        <a:pt x="891280" y="602508"/>
                      </a:lnTo>
                      <a:lnTo>
                        <a:pt x="887892" y="603796"/>
                      </a:lnTo>
                      <a:lnTo>
                        <a:pt x="883933" y="606406"/>
                      </a:lnTo>
                      <a:lnTo>
                        <a:pt x="879974" y="606722"/>
                      </a:lnTo>
                      <a:lnTo>
                        <a:pt x="872045" y="604476"/>
                      </a:lnTo>
                      <a:lnTo>
                        <a:pt x="867844" y="603965"/>
                      </a:lnTo>
                      <a:lnTo>
                        <a:pt x="857170" y="605799"/>
                      </a:lnTo>
                      <a:lnTo>
                        <a:pt x="852750" y="605338"/>
                      </a:lnTo>
                      <a:lnTo>
                        <a:pt x="849362" y="604536"/>
                      </a:lnTo>
                      <a:lnTo>
                        <a:pt x="845865" y="604354"/>
                      </a:lnTo>
                      <a:lnTo>
                        <a:pt x="837316" y="607317"/>
                      </a:lnTo>
                      <a:lnTo>
                        <a:pt x="833516" y="608070"/>
                      </a:lnTo>
                      <a:lnTo>
                        <a:pt x="830589" y="606831"/>
                      </a:lnTo>
                      <a:lnTo>
                        <a:pt x="829436" y="602472"/>
                      </a:lnTo>
                      <a:lnTo>
                        <a:pt x="830067" y="598793"/>
                      </a:lnTo>
                      <a:lnTo>
                        <a:pt x="833455" y="591300"/>
                      </a:lnTo>
                      <a:lnTo>
                        <a:pt x="834657" y="586917"/>
                      </a:lnTo>
                      <a:lnTo>
                        <a:pt x="835871" y="574106"/>
                      </a:lnTo>
                      <a:lnTo>
                        <a:pt x="836612" y="572151"/>
                      </a:lnTo>
                      <a:lnTo>
                        <a:pt x="840121" y="570293"/>
                      </a:lnTo>
                      <a:lnTo>
                        <a:pt x="842586" y="565922"/>
                      </a:lnTo>
                      <a:lnTo>
                        <a:pt x="846326" y="557264"/>
                      </a:lnTo>
                      <a:lnTo>
                        <a:pt x="849192" y="554823"/>
                      </a:lnTo>
                      <a:lnTo>
                        <a:pt x="852641" y="554131"/>
                      </a:lnTo>
                      <a:lnTo>
                        <a:pt x="859756" y="554556"/>
                      </a:lnTo>
                      <a:lnTo>
                        <a:pt x="862064" y="552832"/>
                      </a:lnTo>
                      <a:lnTo>
                        <a:pt x="862853" y="549177"/>
                      </a:lnTo>
                      <a:lnTo>
                        <a:pt x="864249" y="545886"/>
                      </a:lnTo>
                      <a:lnTo>
                        <a:pt x="868087" y="545157"/>
                      </a:lnTo>
                      <a:lnTo>
                        <a:pt x="868087" y="543700"/>
                      </a:lnTo>
                      <a:lnTo>
                        <a:pt x="866532" y="543360"/>
                      </a:lnTo>
                      <a:lnTo>
                        <a:pt x="865318" y="543239"/>
                      </a:lnTo>
                      <a:lnTo>
                        <a:pt x="864189" y="543360"/>
                      </a:lnTo>
                      <a:lnTo>
                        <a:pt x="863035" y="543700"/>
                      </a:lnTo>
                      <a:lnTo>
                        <a:pt x="861772" y="544696"/>
                      </a:lnTo>
                      <a:lnTo>
                        <a:pt x="861141" y="546044"/>
                      </a:lnTo>
                      <a:lnTo>
                        <a:pt x="860789" y="547258"/>
                      </a:lnTo>
                      <a:lnTo>
                        <a:pt x="860388" y="547987"/>
                      </a:lnTo>
                      <a:lnTo>
                        <a:pt x="847176" y="549104"/>
                      </a:lnTo>
                      <a:lnTo>
                        <a:pt x="845003" y="551290"/>
                      </a:lnTo>
                      <a:lnTo>
                        <a:pt x="843339" y="553645"/>
                      </a:lnTo>
                      <a:lnTo>
                        <a:pt x="839441" y="556657"/>
                      </a:lnTo>
                      <a:lnTo>
                        <a:pt x="835070" y="559207"/>
                      </a:lnTo>
                      <a:lnTo>
                        <a:pt x="832083" y="560069"/>
                      </a:lnTo>
                      <a:lnTo>
                        <a:pt x="830358" y="558199"/>
                      </a:lnTo>
                      <a:lnTo>
                        <a:pt x="825416" y="549930"/>
                      </a:lnTo>
                      <a:lnTo>
                        <a:pt x="824384" y="547234"/>
                      </a:lnTo>
                      <a:lnTo>
                        <a:pt x="824955" y="543664"/>
                      </a:lnTo>
                      <a:lnTo>
                        <a:pt x="827432" y="536208"/>
                      </a:lnTo>
                      <a:lnTo>
                        <a:pt x="828233" y="531849"/>
                      </a:lnTo>
                      <a:lnTo>
                        <a:pt x="828112" y="529529"/>
                      </a:lnTo>
                      <a:lnTo>
                        <a:pt x="827723" y="527246"/>
                      </a:lnTo>
                      <a:lnTo>
                        <a:pt x="827723" y="525134"/>
                      </a:lnTo>
                      <a:lnTo>
                        <a:pt x="829727" y="521357"/>
                      </a:lnTo>
                      <a:lnTo>
                        <a:pt x="830358" y="519171"/>
                      </a:lnTo>
                      <a:lnTo>
                        <a:pt x="830820" y="514873"/>
                      </a:lnTo>
                      <a:lnTo>
                        <a:pt x="831961" y="511655"/>
                      </a:lnTo>
                      <a:lnTo>
                        <a:pt x="834839" y="507745"/>
                      </a:lnTo>
                      <a:lnTo>
                        <a:pt x="838227" y="504211"/>
                      </a:lnTo>
                      <a:lnTo>
                        <a:pt x="841032" y="502147"/>
                      </a:lnTo>
                      <a:lnTo>
                        <a:pt x="845464" y="500848"/>
                      </a:lnTo>
                      <a:lnTo>
                        <a:pt x="849314" y="501103"/>
                      </a:lnTo>
                      <a:lnTo>
                        <a:pt x="852641" y="502706"/>
                      </a:lnTo>
                      <a:lnTo>
                        <a:pt x="855907" y="505353"/>
                      </a:lnTo>
                      <a:lnTo>
                        <a:pt x="858214" y="506786"/>
                      </a:lnTo>
                      <a:lnTo>
                        <a:pt x="860048" y="506700"/>
                      </a:lnTo>
                      <a:lnTo>
                        <a:pt x="861541" y="506130"/>
                      </a:lnTo>
                      <a:lnTo>
                        <a:pt x="863035" y="505948"/>
                      </a:lnTo>
                      <a:lnTo>
                        <a:pt x="865221" y="506664"/>
                      </a:lnTo>
                      <a:lnTo>
                        <a:pt x="867115" y="507587"/>
                      </a:lnTo>
                      <a:lnTo>
                        <a:pt x="870612" y="510234"/>
                      </a:lnTo>
                      <a:lnTo>
                        <a:pt x="878529" y="499779"/>
                      </a:lnTo>
                      <a:lnTo>
                        <a:pt x="882670" y="496464"/>
                      </a:lnTo>
                      <a:lnTo>
                        <a:pt x="889264" y="495201"/>
                      </a:lnTo>
                      <a:lnTo>
                        <a:pt x="892555" y="496573"/>
                      </a:lnTo>
                      <a:lnTo>
                        <a:pt x="895590" y="499160"/>
                      </a:lnTo>
                      <a:lnTo>
                        <a:pt x="898577" y="500605"/>
                      </a:lnTo>
                      <a:lnTo>
                        <a:pt x="902135" y="498626"/>
                      </a:lnTo>
                      <a:lnTo>
                        <a:pt x="903277" y="495991"/>
                      </a:lnTo>
                      <a:lnTo>
                        <a:pt x="903337" y="492433"/>
                      </a:lnTo>
                      <a:lnTo>
                        <a:pt x="902366" y="489118"/>
                      </a:lnTo>
                      <a:lnTo>
                        <a:pt x="900192" y="487138"/>
                      </a:lnTo>
                      <a:lnTo>
                        <a:pt x="899039" y="489555"/>
                      </a:lnTo>
                      <a:lnTo>
                        <a:pt x="896513" y="490903"/>
                      </a:lnTo>
                      <a:lnTo>
                        <a:pt x="893405" y="490903"/>
                      </a:lnTo>
                      <a:lnTo>
                        <a:pt x="890539" y="489239"/>
                      </a:lnTo>
                      <a:lnTo>
                        <a:pt x="887600" y="488073"/>
                      </a:lnTo>
                      <a:lnTo>
                        <a:pt x="883763" y="488729"/>
                      </a:lnTo>
                      <a:lnTo>
                        <a:pt x="880084" y="490271"/>
                      </a:lnTo>
                      <a:lnTo>
                        <a:pt x="877619" y="491959"/>
                      </a:lnTo>
                      <a:lnTo>
                        <a:pt x="872215" y="494582"/>
                      </a:lnTo>
                      <a:lnTo>
                        <a:pt x="866593" y="493550"/>
                      </a:lnTo>
                      <a:lnTo>
                        <a:pt x="853964" y="488632"/>
                      </a:lnTo>
                      <a:lnTo>
                        <a:pt x="851548" y="488632"/>
                      </a:lnTo>
                      <a:lnTo>
                        <a:pt x="849423" y="489057"/>
                      </a:lnTo>
                      <a:lnTo>
                        <a:pt x="847529" y="489118"/>
                      </a:lnTo>
                      <a:lnTo>
                        <a:pt x="844080" y="486653"/>
                      </a:lnTo>
                      <a:lnTo>
                        <a:pt x="842125" y="486058"/>
                      </a:lnTo>
                      <a:lnTo>
                        <a:pt x="837948" y="485790"/>
                      </a:lnTo>
                      <a:lnTo>
                        <a:pt x="834026" y="486944"/>
                      </a:lnTo>
                      <a:lnTo>
                        <a:pt x="828063" y="492712"/>
                      </a:lnTo>
                      <a:lnTo>
                        <a:pt x="824384" y="495213"/>
                      </a:lnTo>
                      <a:lnTo>
                        <a:pt x="820146" y="496610"/>
                      </a:lnTo>
                      <a:lnTo>
                        <a:pt x="817730" y="496768"/>
                      </a:lnTo>
                      <a:lnTo>
                        <a:pt x="816005" y="495966"/>
                      </a:lnTo>
                      <a:lnTo>
                        <a:pt x="815605" y="494266"/>
                      </a:lnTo>
                      <a:lnTo>
                        <a:pt x="817900" y="492190"/>
                      </a:lnTo>
                      <a:lnTo>
                        <a:pt x="817317" y="490587"/>
                      </a:lnTo>
                      <a:lnTo>
                        <a:pt x="814451" y="490004"/>
                      </a:lnTo>
                      <a:lnTo>
                        <a:pt x="811403" y="492190"/>
                      </a:lnTo>
                      <a:lnTo>
                        <a:pt x="807906" y="494060"/>
                      </a:lnTo>
                      <a:lnTo>
                        <a:pt x="803765" y="492651"/>
                      </a:lnTo>
                      <a:lnTo>
                        <a:pt x="802733" y="490065"/>
                      </a:lnTo>
                      <a:lnTo>
                        <a:pt x="801762" y="485475"/>
                      </a:lnTo>
                      <a:lnTo>
                        <a:pt x="801640" y="481030"/>
                      </a:lnTo>
                      <a:lnTo>
                        <a:pt x="803134" y="479075"/>
                      </a:lnTo>
                      <a:lnTo>
                        <a:pt x="806230" y="476975"/>
                      </a:lnTo>
                      <a:lnTo>
                        <a:pt x="806813" y="472955"/>
                      </a:lnTo>
                      <a:lnTo>
                        <a:pt x="804798" y="470320"/>
                      </a:lnTo>
                      <a:lnTo>
                        <a:pt x="799928" y="472470"/>
                      </a:lnTo>
                      <a:lnTo>
                        <a:pt x="798022" y="474910"/>
                      </a:lnTo>
                      <a:lnTo>
                        <a:pt x="795909" y="478675"/>
                      </a:lnTo>
                      <a:lnTo>
                        <a:pt x="794185" y="482864"/>
                      </a:lnTo>
                      <a:lnTo>
                        <a:pt x="793444" y="486483"/>
                      </a:lnTo>
                      <a:lnTo>
                        <a:pt x="791890" y="491218"/>
                      </a:lnTo>
                      <a:lnTo>
                        <a:pt x="788271" y="491923"/>
                      </a:lnTo>
                      <a:lnTo>
                        <a:pt x="784361" y="491121"/>
                      </a:lnTo>
                      <a:lnTo>
                        <a:pt x="781896" y="491328"/>
                      </a:lnTo>
                      <a:lnTo>
                        <a:pt x="779662" y="488171"/>
                      </a:lnTo>
                      <a:lnTo>
                        <a:pt x="780172" y="485985"/>
                      </a:lnTo>
                      <a:lnTo>
                        <a:pt x="779941" y="484443"/>
                      </a:lnTo>
                      <a:lnTo>
                        <a:pt x="775399" y="483119"/>
                      </a:lnTo>
                      <a:lnTo>
                        <a:pt x="772194" y="482888"/>
                      </a:lnTo>
                      <a:lnTo>
                        <a:pt x="769437" y="483398"/>
                      </a:lnTo>
                      <a:lnTo>
                        <a:pt x="767992" y="485183"/>
                      </a:lnTo>
                      <a:lnTo>
                        <a:pt x="768976" y="488656"/>
                      </a:lnTo>
                      <a:lnTo>
                        <a:pt x="760646" y="487248"/>
                      </a:lnTo>
                      <a:lnTo>
                        <a:pt x="758181" y="487855"/>
                      </a:lnTo>
                      <a:lnTo>
                        <a:pt x="761459" y="491328"/>
                      </a:lnTo>
                      <a:lnTo>
                        <a:pt x="766049" y="493100"/>
                      </a:lnTo>
                      <a:lnTo>
                        <a:pt x="769547" y="491485"/>
                      </a:lnTo>
                      <a:lnTo>
                        <a:pt x="775399" y="485803"/>
                      </a:lnTo>
                      <a:lnTo>
                        <a:pt x="776444" y="488304"/>
                      </a:lnTo>
                      <a:lnTo>
                        <a:pt x="775922" y="490198"/>
                      </a:lnTo>
                      <a:lnTo>
                        <a:pt x="774829" y="492117"/>
                      </a:lnTo>
                      <a:lnTo>
                        <a:pt x="774209" y="494618"/>
                      </a:lnTo>
                      <a:lnTo>
                        <a:pt x="775120" y="495541"/>
                      </a:lnTo>
                      <a:lnTo>
                        <a:pt x="780633" y="497921"/>
                      </a:lnTo>
                      <a:lnTo>
                        <a:pt x="787810" y="497375"/>
                      </a:lnTo>
                      <a:lnTo>
                        <a:pt x="789825" y="506166"/>
                      </a:lnTo>
                      <a:lnTo>
                        <a:pt x="787980" y="527004"/>
                      </a:lnTo>
                      <a:lnTo>
                        <a:pt x="786207" y="530416"/>
                      </a:lnTo>
                      <a:lnTo>
                        <a:pt x="785745" y="532492"/>
                      </a:lnTo>
                      <a:lnTo>
                        <a:pt x="784992" y="532055"/>
                      </a:lnTo>
                      <a:lnTo>
                        <a:pt x="783438" y="533986"/>
                      </a:lnTo>
                      <a:lnTo>
                        <a:pt x="782066" y="536329"/>
                      </a:lnTo>
                      <a:lnTo>
                        <a:pt x="781896" y="537131"/>
                      </a:lnTo>
                      <a:lnTo>
                        <a:pt x="778617" y="540179"/>
                      </a:lnTo>
                      <a:lnTo>
                        <a:pt x="777075" y="540931"/>
                      </a:lnTo>
                      <a:lnTo>
                        <a:pt x="774829" y="541187"/>
                      </a:lnTo>
                      <a:lnTo>
                        <a:pt x="771720" y="540422"/>
                      </a:lnTo>
                      <a:lnTo>
                        <a:pt x="770919" y="541053"/>
                      </a:lnTo>
                      <a:lnTo>
                        <a:pt x="770530" y="543761"/>
                      </a:lnTo>
                      <a:lnTo>
                        <a:pt x="768976" y="543761"/>
                      </a:lnTo>
                      <a:lnTo>
                        <a:pt x="767762" y="541199"/>
                      </a:lnTo>
                      <a:lnTo>
                        <a:pt x="766912" y="541867"/>
                      </a:lnTo>
                      <a:lnTo>
                        <a:pt x="766159" y="543846"/>
                      </a:lnTo>
                      <a:lnTo>
                        <a:pt x="765236" y="545218"/>
                      </a:lnTo>
                      <a:lnTo>
                        <a:pt x="764556" y="545971"/>
                      </a:lnTo>
                      <a:lnTo>
                        <a:pt x="762771" y="547379"/>
                      </a:lnTo>
                      <a:lnTo>
                        <a:pt x="760937" y="547865"/>
                      </a:lnTo>
                      <a:lnTo>
                        <a:pt x="760184" y="545886"/>
                      </a:lnTo>
                      <a:lnTo>
                        <a:pt x="758752" y="543785"/>
                      </a:lnTo>
                      <a:lnTo>
                        <a:pt x="755485" y="541696"/>
                      </a:lnTo>
                      <a:lnTo>
                        <a:pt x="751624" y="540507"/>
                      </a:lnTo>
                      <a:lnTo>
                        <a:pt x="748466" y="541199"/>
                      </a:lnTo>
                      <a:lnTo>
                        <a:pt x="752668" y="543846"/>
                      </a:lnTo>
                      <a:lnTo>
                        <a:pt x="754331" y="545825"/>
                      </a:lnTo>
                      <a:lnTo>
                        <a:pt x="753700" y="548047"/>
                      </a:lnTo>
                      <a:lnTo>
                        <a:pt x="751866" y="548618"/>
                      </a:lnTo>
                      <a:lnTo>
                        <a:pt x="744629" y="546578"/>
                      </a:lnTo>
                      <a:lnTo>
                        <a:pt x="745783" y="547817"/>
                      </a:lnTo>
                      <a:lnTo>
                        <a:pt x="749911" y="550597"/>
                      </a:lnTo>
                      <a:lnTo>
                        <a:pt x="749960" y="552115"/>
                      </a:lnTo>
                      <a:lnTo>
                        <a:pt x="749438" y="553402"/>
                      </a:lnTo>
                      <a:lnTo>
                        <a:pt x="748369" y="553779"/>
                      </a:lnTo>
                      <a:lnTo>
                        <a:pt x="746694" y="552710"/>
                      </a:lnTo>
                      <a:lnTo>
                        <a:pt x="744046" y="551532"/>
                      </a:lnTo>
                      <a:lnTo>
                        <a:pt x="740671" y="551739"/>
                      </a:lnTo>
                      <a:lnTo>
                        <a:pt x="737501" y="552892"/>
                      </a:lnTo>
                      <a:lnTo>
                        <a:pt x="735668" y="554617"/>
                      </a:lnTo>
                      <a:lnTo>
                        <a:pt x="746754" y="558381"/>
                      </a:lnTo>
                      <a:lnTo>
                        <a:pt x="749911" y="558782"/>
                      </a:lnTo>
                      <a:lnTo>
                        <a:pt x="756979" y="557349"/>
                      </a:lnTo>
                      <a:lnTo>
                        <a:pt x="759662" y="557167"/>
                      </a:lnTo>
                      <a:lnTo>
                        <a:pt x="757537" y="558782"/>
                      </a:lnTo>
                      <a:lnTo>
                        <a:pt x="757537" y="560130"/>
                      </a:lnTo>
                      <a:lnTo>
                        <a:pt x="760184" y="561368"/>
                      </a:lnTo>
                      <a:lnTo>
                        <a:pt x="758873" y="562679"/>
                      </a:lnTo>
                      <a:lnTo>
                        <a:pt x="762139" y="564161"/>
                      </a:lnTo>
                      <a:lnTo>
                        <a:pt x="761678" y="566359"/>
                      </a:lnTo>
                      <a:lnTo>
                        <a:pt x="760306" y="568970"/>
                      </a:lnTo>
                      <a:lnTo>
                        <a:pt x="760816" y="571532"/>
                      </a:lnTo>
                      <a:lnTo>
                        <a:pt x="762091" y="573803"/>
                      </a:lnTo>
                      <a:lnTo>
                        <a:pt x="760646" y="574239"/>
                      </a:lnTo>
                      <a:lnTo>
                        <a:pt x="754854" y="572831"/>
                      </a:lnTo>
                      <a:lnTo>
                        <a:pt x="753421" y="571362"/>
                      </a:lnTo>
                      <a:lnTo>
                        <a:pt x="751174" y="568217"/>
                      </a:lnTo>
                      <a:lnTo>
                        <a:pt x="748770" y="566104"/>
                      </a:lnTo>
                      <a:lnTo>
                        <a:pt x="744860" y="563347"/>
                      </a:lnTo>
                      <a:lnTo>
                        <a:pt x="741181" y="562522"/>
                      </a:lnTo>
                      <a:lnTo>
                        <a:pt x="739566" y="566104"/>
                      </a:lnTo>
                      <a:lnTo>
                        <a:pt x="740209" y="566881"/>
                      </a:lnTo>
                      <a:lnTo>
                        <a:pt x="741812" y="567537"/>
                      </a:lnTo>
                      <a:lnTo>
                        <a:pt x="743767" y="567998"/>
                      </a:lnTo>
                      <a:lnTo>
                        <a:pt x="745382" y="568217"/>
                      </a:lnTo>
                      <a:lnTo>
                        <a:pt x="746524" y="569030"/>
                      </a:lnTo>
                      <a:lnTo>
                        <a:pt x="749911" y="574883"/>
                      </a:lnTo>
                      <a:lnTo>
                        <a:pt x="746584" y="575976"/>
                      </a:lnTo>
                      <a:lnTo>
                        <a:pt x="742104" y="575187"/>
                      </a:lnTo>
                      <a:lnTo>
                        <a:pt x="731078" y="570585"/>
                      </a:lnTo>
                      <a:lnTo>
                        <a:pt x="729803" y="571131"/>
                      </a:lnTo>
                      <a:lnTo>
                        <a:pt x="729293" y="574179"/>
                      </a:lnTo>
                      <a:lnTo>
                        <a:pt x="729183" y="579534"/>
                      </a:lnTo>
                      <a:lnTo>
                        <a:pt x="729584" y="582011"/>
                      </a:lnTo>
                      <a:lnTo>
                        <a:pt x="730556" y="584306"/>
                      </a:lnTo>
                      <a:lnTo>
                        <a:pt x="731296" y="583298"/>
                      </a:lnTo>
                      <a:lnTo>
                        <a:pt x="732110" y="582776"/>
                      </a:lnTo>
                      <a:lnTo>
                        <a:pt x="734405" y="581708"/>
                      </a:lnTo>
                      <a:lnTo>
                        <a:pt x="734344" y="582995"/>
                      </a:lnTo>
                      <a:lnTo>
                        <a:pt x="734466" y="585678"/>
                      </a:lnTo>
                      <a:lnTo>
                        <a:pt x="734405" y="586965"/>
                      </a:lnTo>
                      <a:lnTo>
                        <a:pt x="740610" y="584743"/>
                      </a:lnTo>
                      <a:lnTo>
                        <a:pt x="744168" y="584112"/>
                      </a:lnTo>
                      <a:lnTo>
                        <a:pt x="746694" y="584938"/>
                      </a:lnTo>
                      <a:lnTo>
                        <a:pt x="749681" y="586771"/>
                      </a:lnTo>
                      <a:lnTo>
                        <a:pt x="752316" y="586492"/>
                      </a:lnTo>
                      <a:lnTo>
                        <a:pt x="761459" y="583104"/>
                      </a:lnTo>
                      <a:lnTo>
                        <a:pt x="762370" y="583675"/>
                      </a:lnTo>
                      <a:lnTo>
                        <a:pt x="762710" y="586298"/>
                      </a:lnTo>
                      <a:lnTo>
                        <a:pt x="763524" y="588459"/>
                      </a:lnTo>
                      <a:lnTo>
                        <a:pt x="767021" y="590207"/>
                      </a:lnTo>
                      <a:lnTo>
                        <a:pt x="767822" y="591725"/>
                      </a:lnTo>
                      <a:lnTo>
                        <a:pt x="768284" y="592102"/>
                      </a:lnTo>
                      <a:lnTo>
                        <a:pt x="770530" y="599060"/>
                      </a:lnTo>
                      <a:lnTo>
                        <a:pt x="771392" y="600396"/>
                      </a:lnTo>
                      <a:lnTo>
                        <a:pt x="772303" y="601452"/>
                      </a:lnTo>
                      <a:lnTo>
                        <a:pt x="773517" y="602338"/>
                      </a:lnTo>
                      <a:lnTo>
                        <a:pt x="775399" y="603176"/>
                      </a:lnTo>
                      <a:lnTo>
                        <a:pt x="777537" y="603346"/>
                      </a:lnTo>
                      <a:lnTo>
                        <a:pt x="779662" y="603067"/>
                      </a:lnTo>
                      <a:lnTo>
                        <a:pt x="781264" y="603346"/>
                      </a:lnTo>
                      <a:lnTo>
                        <a:pt x="782527" y="607086"/>
                      </a:lnTo>
                      <a:lnTo>
                        <a:pt x="783851" y="608422"/>
                      </a:lnTo>
                      <a:lnTo>
                        <a:pt x="785162" y="609527"/>
                      </a:lnTo>
                      <a:lnTo>
                        <a:pt x="785745" y="610608"/>
                      </a:lnTo>
                      <a:lnTo>
                        <a:pt x="785903" y="612939"/>
                      </a:lnTo>
                      <a:lnTo>
                        <a:pt x="786328" y="614542"/>
                      </a:lnTo>
                      <a:lnTo>
                        <a:pt x="786377" y="616036"/>
                      </a:lnTo>
                      <a:lnTo>
                        <a:pt x="785745" y="618051"/>
                      </a:lnTo>
                      <a:lnTo>
                        <a:pt x="785053" y="618901"/>
                      </a:lnTo>
                      <a:lnTo>
                        <a:pt x="782649" y="621087"/>
                      </a:lnTo>
                      <a:lnTo>
                        <a:pt x="781896" y="622095"/>
                      </a:lnTo>
                      <a:lnTo>
                        <a:pt x="775752" y="644608"/>
                      </a:lnTo>
                      <a:lnTo>
                        <a:pt x="771562" y="651699"/>
                      </a:lnTo>
                      <a:lnTo>
                        <a:pt x="761569" y="662045"/>
                      </a:lnTo>
                      <a:lnTo>
                        <a:pt x="760184" y="665724"/>
                      </a:lnTo>
                      <a:lnTo>
                        <a:pt x="758752" y="668311"/>
                      </a:lnTo>
                      <a:lnTo>
                        <a:pt x="752085" y="675658"/>
                      </a:lnTo>
                      <a:lnTo>
                        <a:pt x="749911" y="677139"/>
                      </a:lnTo>
                      <a:lnTo>
                        <a:pt x="750944" y="679155"/>
                      </a:lnTo>
                      <a:lnTo>
                        <a:pt x="751235" y="680879"/>
                      </a:lnTo>
                      <a:lnTo>
                        <a:pt x="750543" y="682093"/>
                      </a:lnTo>
                      <a:lnTo>
                        <a:pt x="748466" y="682518"/>
                      </a:lnTo>
                      <a:lnTo>
                        <a:pt x="749499" y="685129"/>
                      </a:lnTo>
                      <a:lnTo>
                        <a:pt x="748940" y="686974"/>
                      </a:lnTo>
                      <a:lnTo>
                        <a:pt x="747847" y="688310"/>
                      </a:lnTo>
                      <a:lnTo>
                        <a:pt x="747325" y="689342"/>
                      </a:lnTo>
                      <a:lnTo>
                        <a:pt x="747847" y="691176"/>
                      </a:lnTo>
                      <a:lnTo>
                        <a:pt x="749911" y="695378"/>
                      </a:lnTo>
                      <a:lnTo>
                        <a:pt x="749960" y="698729"/>
                      </a:lnTo>
                      <a:lnTo>
                        <a:pt x="747325" y="701376"/>
                      </a:lnTo>
                      <a:lnTo>
                        <a:pt x="746184" y="701923"/>
                      </a:lnTo>
                      <a:lnTo>
                        <a:pt x="744459" y="702530"/>
                      </a:lnTo>
                      <a:lnTo>
                        <a:pt x="742796" y="703392"/>
                      </a:lnTo>
                      <a:lnTo>
                        <a:pt x="742104" y="704667"/>
                      </a:lnTo>
                      <a:lnTo>
                        <a:pt x="740610" y="705906"/>
                      </a:lnTo>
                      <a:lnTo>
                        <a:pt x="728552" y="712208"/>
                      </a:lnTo>
                      <a:lnTo>
                        <a:pt x="725116" y="712997"/>
                      </a:lnTo>
                      <a:lnTo>
                        <a:pt x="716494" y="713434"/>
                      </a:lnTo>
                      <a:lnTo>
                        <a:pt x="693920" y="726755"/>
                      </a:lnTo>
                      <a:lnTo>
                        <a:pt x="690654" y="729596"/>
                      </a:lnTo>
                      <a:lnTo>
                        <a:pt x="685821" y="732571"/>
                      </a:lnTo>
                      <a:lnTo>
                        <a:pt x="682202" y="733494"/>
                      </a:lnTo>
                      <a:lnTo>
                        <a:pt x="679677" y="732887"/>
                      </a:lnTo>
                      <a:lnTo>
                        <a:pt x="677333" y="732632"/>
                      </a:lnTo>
                      <a:lnTo>
                        <a:pt x="670897" y="736663"/>
                      </a:lnTo>
                      <a:lnTo>
                        <a:pt x="662810" y="739517"/>
                      </a:lnTo>
                      <a:lnTo>
                        <a:pt x="652185" y="747070"/>
                      </a:lnTo>
                      <a:lnTo>
                        <a:pt x="645798" y="748454"/>
                      </a:lnTo>
                      <a:lnTo>
                        <a:pt x="647291" y="745552"/>
                      </a:lnTo>
                      <a:lnTo>
                        <a:pt x="648214" y="744204"/>
                      </a:lnTo>
                      <a:lnTo>
                        <a:pt x="649538" y="743002"/>
                      </a:lnTo>
                      <a:lnTo>
                        <a:pt x="646089" y="744083"/>
                      </a:lnTo>
                      <a:lnTo>
                        <a:pt x="643394" y="745892"/>
                      </a:lnTo>
                      <a:lnTo>
                        <a:pt x="635294" y="752777"/>
                      </a:lnTo>
                      <a:lnTo>
                        <a:pt x="633582" y="755121"/>
                      </a:lnTo>
                      <a:lnTo>
                        <a:pt x="632890" y="758412"/>
                      </a:lnTo>
                      <a:lnTo>
                        <a:pt x="629441" y="761350"/>
                      </a:lnTo>
                      <a:lnTo>
                        <a:pt x="613643" y="766402"/>
                      </a:lnTo>
                      <a:lnTo>
                        <a:pt x="602508" y="768417"/>
                      </a:lnTo>
                      <a:lnTo>
                        <a:pt x="569152" y="784786"/>
                      </a:lnTo>
                      <a:lnTo>
                        <a:pt x="564671" y="784531"/>
                      </a:lnTo>
                      <a:lnTo>
                        <a:pt x="563408" y="785988"/>
                      </a:lnTo>
                      <a:lnTo>
                        <a:pt x="560652" y="785162"/>
                      </a:lnTo>
                      <a:lnTo>
                        <a:pt x="558344" y="786571"/>
                      </a:lnTo>
                      <a:lnTo>
                        <a:pt x="556341" y="788696"/>
                      </a:lnTo>
                      <a:lnTo>
                        <a:pt x="554447" y="790007"/>
                      </a:lnTo>
                      <a:lnTo>
                        <a:pt x="551059" y="789704"/>
                      </a:lnTo>
                      <a:lnTo>
                        <a:pt x="547270" y="788927"/>
                      </a:lnTo>
                      <a:lnTo>
                        <a:pt x="544162" y="789509"/>
                      </a:lnTo>
                      <a:lnTo>
                        <a:pt x="543882" y="790481"/>
                      </a:lnTo>
                      <a:lnTo>
                        <a:pt x="542559" y="790056"/>
                      </a:lnTo>
                      <a:lnTo>
                        <a:pt x="541065" y="789898"/>
                      </a:lnTo>
                      <a:lnTo>
                        <a:pt x="539353" y="790189"/>
                      </a:lnTo>
                      <a:lnTo>
                        <a:pt x="538260" y="791197"/>
                      </a:lnTo>
                      <a:lnTo>
                        <a:pt x="537398" y="792812"/>
                      </a:lnTo>
                      <a:lnTo>
                        <a:pt x="537398" y="794561"/>
                      </a:lnTo>
                      <a:lnTo>
                        <a:pt x="537677" y="795763"/>
                      </a:lnTo>
                      <a:lnTo>
                        <a:pt x="512760" y="797293"/>
                      </a:lnTo>
                      <a:lnTo>
                        <a:pt x="508911" y="797050"/>
                      </a:lnTo>
                      <a:lnTo>
                        <a:pt x="505535" y="795873"/>
                      </a:lnTo>
                      <a:lnTo>
                        <a:pt x="502426" y="793298"/>
                      </a:lnTo>
                      <a:lnTo>
                        <a:pt x="500471" y="792290"/>
                      </a:lnTo>
                      <a:lnTo>
                        <a:pt x="498346" y="792837"/>
                      </a:lnTo>
                      <a:lnTo>
                        <a:pt x="496160" y="793808"/>
                      </a:lnTo>
                      <a:lnTo>
                        <a:pt x="494035" y="794014"/>
                      </a:lnTo>
                      <a:lnTo>
                        <a:pt x="492263" y="793092"/>
                      </a:lnTo>
                      <a:lnTo>
                        <a:pt x="486240" y="788563"/>
                      </a:lnTo>
                      <a:lnTo>
                        <a:pt x="456781" y="776529"/>
                      </a:lnTo>
                      <a:lnTo>
                        <a:pt x="445974" y="769474"/>
                      </a:lnTo>
                      <a:lnTo>
                        <a:pt x="442015" y="768539"/>
                      </a:lnTo>
                      <a:lnTo>
                        <a:pt x="439829" y="767142"/>
                      </a:lnTo>
                      <a:lnTo>
                        <a:pt x="433406" y="760366"/>
                      </a:lnTo>
                      <a:lnTo>
                        <a:pt x="429957" y="757817"/>
                      </a:lnTo>
                      <a:lnTo>
                        <a:pt x="418361" y="753190"/>
                      </a:lnTo>
                      <a:lnTo>
                        <a:pt x="411476" y="747009"/>
                      </a:lnTo>
                      <a:lnTo>
                        <a:pt x="404639" y="742747"/>
                      </a:lnTo>
                      <a:lnTo>
                        <a:pt x="383729" y="723525"/>
                      </a:lnTo>
                      <a:lnTo>
                        <a:pt x="365988" y="709645"/>
                      </a:lnTo>
                      <a:lnTo>
                        <a:pt x="349789" y="689075"/>
                      </a:lnTo>
                      <a:lnTo>
                        <a:pt x="348818" y="687266"/>
                      </a:lnTo>
                      <a:lnTo>
                        <a:pt x="347324" y="685311"/>
                      </a:lnTo>
                      <a:lnTo>
                        <a:pt x="338606" y="677127"/>
                      </a:lnTo>
                      <a:lnTo>
                        <a:pt x="326074" y="662519"/>
                      </a:lnTo>
                      <a:lnTo>
                        <a:pt x="320452" y="653873"/>
                      </a:lnTo>
                      <a:lnTo>
                        <a:pt x="319311" y="647547"/>
                      </a:lnTo>
                      <a:lnTo>
                        <a:pt x="315571" y="646854"/>
                      </a:lnTo>
                      <a:lnTo>
                        <a:pt x="312304" y="645082"/>
                      </a:lnTo>
                      <a:lnTo>
                        <a:pt x="309487" y="642689"/>
                      </a:lnTo>
                      <a:lnTo>
                        <a:pt x="285711" y="618039"/>
                      </a:lnTo>
                      <a:lnTo>
                        <a:pt x="274175" y="611336"/>
                      </a:lnTo>
                      <a:lnTo>
                        <a:pt x="271310" y="608386"/>
                      </a:lnTo>
                      <a:lnTo>
                        <a:pt x="265105" y="600602"/>
                      </a:lnTo>
                      <a:lnTo>
                        <a:pt x="261304" y="597554"/>
                      </a:lnTo>
                      <a:lnTo>
                        <a:pt x="257406" y="591191"/>
                      </a:lnTo>
                      <a:lnTo>
                        <a:pt x="251322" y="588520"/>
                      </a:lnTo>
                      <a:lnTo>
                        <a:pt x="247825" y="585593"/>
                      </a:lnTo>
                      <a:lnTo>
                        <a:pt x="242239" y="578902"/>
                      </a:lnTo>
                      <a:lnTo>
                        <a:pt x="241098" y="575575"/>
                      </a:lnTo>
                      <a:lnTo>
                        <a:pt x="241729" y="569832"/>
                      </a:lnTo>
                      <a:lnTo>
                        <a:pt x="240940" y="566808"/>
                      </a:lnTo>
                      <a:lnTo>
                        <a:pt x="236617" y="570852"/>
                      </a:lnTo>
                      <a:lnTo>
                        <a:pt x="234334" y="571435"/>
                      </a:lnTo>
                      <a:lnTo>
                        <a:pt x="230704" y="569601"/>
                      </a:lnTo>
                      <a:lnTo>
                        <a:pt x="213364" y="553184"/>
                      </a:lnTo>
                      <a:lnTo>
                        <a:pt x="207450" y="548946"/>
                      </a:lnTo>
                      <a:lnTo>
                        <a:pt x="204864" y="546542"/>
                      </a:lnTo>
                      <a:lnTo>
                        <a:pt x="195914" y="534459"/>
                      </a:lnTo>
                      <a:lnTo>
                        <a:pt x="189988" y="530319"/>
                      </a:lnTo>
                      <a:lnTo>
                        <a:pt x="186953" y="527538"/>
                      </a:lnTo>
                      <a:lnTo>
                        <a:pt x="184876" y="522948"/>
                      </a:lnTo>
                      <a:lnTo>
                        <a:pt x="176680" y="511461"/>
                      </a:lnTo>
                      <a:lnTo>
                        <a:pt x="170001" y="505996"/>
                      </a:lnTo>
                      <a:lnTo>
                        <a:pt x="166504" y="502414"/>
                      </a:lnTo>
                      <a:lnTo>
                        <a:pt x="163978" y="496173"/>
                      </a:lnTo>
                      <a:lnTo>
                        <a:pt x="158866" y="488195"/>
                      </a:lnTo>
                      <a:lnTo>
                        <a:pt x="157251" y="484430"/>
                      </a:lnTo>
                      <a:lnTo>
                        <a:pt x="157142" y="479865"/>
                      </a:lnTo>
                      <a:lnTo>
                        <a:pt x="158514" y="476586"/>
                      </a:lnTo>
                      <a:lnTo>
                        <a:pt x="160238" y="473720"/>
                      </a:lnTo>
                      <a:lnTo>
                        <a:pt x="161040" y="470308"/>
                      </a:lnTo>
                      <a:lnTo>
                        <a:pt x="161550" y="466289"/>
                      </a:lnTo>
                      <a:lnTo>
                        <a:pt x="162825" y="462840"/>
                      </a:lnTo>
                      <a:lnTo>
                        <a:pt x="164488" y="459938"/>
                      </a:lnTo>
                      <a:lnTo>
                        <a:pt x="166261" y="457534"/>
                      </a:lnTo>
                      <a:lnTo>
                        <a:pt x="169030" y="455263"/>
                      </a:lnTo>
                      <a:lnTo>
                        <a:pt x="176546" y="451159"/>
                      </a:lnTo>
                      <a:lnTo>
                        <a:pt x="181428" y="447625"/>
                      </a:lnTo>
                      <a:lnTo>
                        <a:pt x="182861" y="447880"/>
                      </a:lnTo>
                      <a:lnTo>
                        <a:pt x="183613" y="449398"/>
                      </a:lnTo>
                      <a:lnTo>
                        <a:pt x="183031" y="452021"/>
                      </a:lnTo>
                      <a:lnTo>
                        <a:pt x="181598" y="454024"/>
                      </a:lnTo>
                      <a:lnTo>
                        <a:pt x="178100" y="455518"/>
                      </a:lnTo>
                      <a:lnTo>
                        <a:pt x="176668" y="457534"/>
                      </a:lnTo>
                      <a:lnTo>
                        <a:pt x="179290" y="462233"/>
                      </a:lnTo>
                      <a:lnTo>
                        <a:pt x="181088" y="463872"/>
                      </a:lnTo>
                      <a:lnTo>
                        <a:pt x="184245" y="464395"/>
                      </a:lnTo>
                      <a:lnTo>
                        <a:pt x="185896" y="463994"/>
                      </a:lnTo>
                      <a:lnTo>
                        <a:pt x="188944" y="462209"/>
                      </a:lnTo>
                      <a:lnTo>
                        <a:pt x="190608" y="461577"/>
                      </a:lnTo>
                      <a:lnTo>
                        <a:pt x="192393" y="461687"/>
                      </a:lnTo>
                      <a:lnTo>
                        <a:pt x="193838" y="462355"/>
                      </a:lnTo>
                      <a:lnTo>
                        <a:pt x="195210" y="462804"/>
                      </a:lnTo>
                      <a:lnTo>
                        <a:pt x="196643" y="462233"/>
                      </a:lnTo>
                      <a:lnTo>
                        <a:pt x="199290" y="459683"/>
                      </a:lnTo>
                      <a:lnTo>
                        <a:pt x="201111" y="458311"/>
                      </a:lnTo>
                      <a:lnTo>
                        <a:pt x="202908" y="458566"/>
                      </a:lnTo>
                      <a:lnTo>
                        <a:pt x="205531" y="460824"/>
                      </a:lnTo>
                      <a:lnTo>
                        <a:pt x="206175" y="464018"/>
                      </a:lnTo>
                      <a:lnTo>
                        <a:pt x="201755" y="470393"/>
                      </a:lnTo>
                      <a:lnTo>
                        <a:pt x="202386" y="473696"/>
                      </a:lnTo>
                      <a:lnTo>
                        <a:pt x="199460" y="477970"/>
                      </a:lnTo>
                      <a:lnTo>
                        <a:pt x="200201" y="481844"/>
                      </a:lnTo>
                      <a:lnTo>
                        <a:pt x="203358" y="484977"/>
                      </a:lnTo>
                      <a:lnTo>
                        <a:pt x="207389" y="487126"/>
                      </a:lnTo>
                      <a:lnTo>
                        <a:pt x="207389" y="488620"/>
                      </a:lnTo>
                      <a:lnTo>
                        <a:pt x="221329" y="486495"/>
                      </a:lnTo>
                      <a:lnTo>
                        <a:pt x="230582" y="482245"/>
                      </a:lnTo>
                      <a:lnTo>
                        <a:pt x="232586" y="478578"/>
                      </a:lnTo>
                      <a:lnTo>
                        <a:pt x="235112" y="477715"/>
                      </a:lnTo>
                      <a:lnTo>
                        <a:pt x="249295" y="477485"/>
                      </a:lnTo>
                      <a:lnTo>
                        <a:pt x="255560" y="476015"/>
                      </a:lnTo>
                      <a:lnTo>
                        <a:pt x="257576" y="475153"/>
                      </a:lnTo>
                      <a:lnTo>
                        <a:pt x="258657" y="474097"/>
                      </a:lnTo>
                      <a:lnTo>
                        <a:pt x="261413" y="470308"/>
                      </a:lnTo>
                      <a:lnTo>
                        <a:pt x="261875" y="469240"/>
                      </a:lnTo>
                      <a:lnTo>
                        <a:pt x="263028" y="468839"/>
                      </a:lnTo>
                      <a:lnTo>
                        <a:pt x="264230" y="468669"/>
                      </a:lnTo>
                      <a:lnTo>
                        <a:pt x="265153" y="468183"/>
                      </a:lnTo>
                      <a:lnTo>
                        <a:pt x="266185" y="465342"/>
                      </a:lnTo>
                      <a:lnTo>
                        <a:pt x="265663" y="462986"/>
                      </a:lnTo>
                      <a:lnTo>
                        <a:pt x="264570" y="460594"/>
                      </a:lnTo>
                      <a:lnTo>
                        <a:pt x="263939" y="457534"/>
                      </a:lnTo>
                      <a:lnTo>
                        <a:pt x="264400" y="454292"/>
                      </a:lnTo>
                      <a:lnTo>
                        <a:pt x="265542" y="454109"/>
                      </a:lnTo>
                      <a:lnTo>
                        <a:pt x="267157" y="454656"/>
                      </a:lnTo>
                      <a:lnTo>
                        <a:pt x="269112" y="453478"/>
                      </a:lnTo>
                      <a:lnTo>
                        <a:pt x="270375" y="453478"/>
                      </a:lnTo>
                      <a:lnTo>
                        <a:pt x="272609" y="461492"/>
                      </a:lnTo>
                      <a:lnTo>
                        <a:pt x="272949" y="465427"/>
                      </a:lnTo>
                      <a:lnTo>
                        <a:pt x="271638" y="468183"/>
                      </a:lnTo>
                      <a:lnTo>
                        <a:pt x="274333" y="469555"/>
                      </a:lnTo>
                      <a:lnTo>
                        <a:pt x="280368" y="470879"/>
                      </a:lnTo>
                      <a:lnTo>
                        <a:pt x="283173" y="472457"/>
                      </a:lnTo>
                      <a:lnTo>
                        <a:pt x="283404" y="470648"/>
                      </a:lnTo>
                      <a:lnTo>
                        <a:pt x="283865" y="469470"/>
                      </a:lnTo>
                      <a:lnTo>
                        <a:pt x="285699" y="466969"/>
                      </a:lnTo>
                      <a:lnTo>
                        <a:pt x="287715" y="468499"/>
                      </a:lnTo>
                      <a:lnTo>
                        <a:pt x="289026" y="467612"/>
                      </a:lnTo>
                      <a:lnTo>
                        <a:pt x="289961" y="465767"/>
                      </a:lnTo>
                      <a:lnTo>
                        <a:pt x="290993" y="464395"/>
                      </a:lnTo>
                      <a:lnTo>
                        <a:pt x="291673" y="463727"/>
                      </a:lnTo>
                      <a:lnTo>
                        <a:pt x="292366" y="462780"/>
                      </a:lnTo>
                      <a:lnTo>
                        <a:pt x="293155" y="461954"/>
                      </a:lnTo>
                      <a:lnTo>
                        <a:pt x="294138" y="461577"/>
                      </a:lnTo>
                      <a:lnTo>
                        <a:pt x="295292" y="461869"/>
                      </a:lnTo>
                      <a:lnTo>
                        <a:pt x="297878" y="462986"/>
                      </a:lnTo>
                      <a:lnTo>
                        <a:pt x="298801" y="462925"/>
                      </a:lnTo>
                      <a:lnTo>
                        <a:pt x="300574" y="460023"/>
                      </a:lnTo>
                      <a:lnTo>
                        <a:pt x="303683" y="451037"/>
                      </a:lnTo>
                      <a:lnTo>
                        <a:pt x="305176" y="447965"/>
                      </a:lnTo>
                      <a:lnTo>
                        <a:pt x="306828" y="449374"/>
                      </a:lnTo>
                      <a:lnTo>
                        <a:pt x="315559" y="459197"/>
                      </a:lnTo>
                      <a:lnTo>
                        <a:pt x="316712" y="460084"/>
                      </a:lnTo>
                      <a:lnTo>
                        <a:pt x="318946" y="459622"/>
                      </a:lnTo>
                      <a:lnTo>
                        <a:pt x="320100" y="457922"/>
                      </a:lnTo>
                      <a:lnTo>
                        <a:pt x="320853" y="455688"/>
                      </a:lnTo>
                      <a:lnTo>
                        <a:pt x="321824" y="453478"/>
                      </a:lnTo>
                      <a:lnTo>
                        <a:pt x="323889" y="451183"/>
                      </a:lnTo>
                      <a:lnTo>
                        <a:pt x="325491" y="450673"/>
                      </a:lnTo>
                      <a:lnTo>
                        <a:pt x="327216" y="450892"/>
                      </a:lnTo>
                      <a:lnTo>
                        <a:pt x="329632" y="450807"/>
                      </a:lnTo>
                      <a:lnTo>
                        <a:pt x="333542" y="449264"/>
                      </a:lnTo>
                      <a:lnTo>
                        <a:pt x="337440" y="446739"/>
                      </a:lnTo>
                      <a:lnTo>
                        <a:pt x="348065" y="437085"/>
                      </a:lnTo>
                      <a:lnTo>
                        <a:pt x="350129" y="435871"/>
                      </a:lnTo>
                      <a:lnTo>
                        <a:pt x="350299" y="436162"/>
                      </a:lnTo>
                      <a:lnTo>
                        <a:pt x="354489" y="435871"/>
                      </a:lnTo>
                      <a:lnTo>
                        <a:pt x="355703" y="435543"/>
                      </a:lnTo>
                      <a:lnTo>
                        <a:pt x="359079" y="433175"/>
                      </a:lnTo>
                      <a:lnTo>
                        <a:pt x="366267" y="432519"/>
                      </a:lnTo>
                      <a:lnTo>
                        <a:pt x="382345" y="434608"/>
                      </a:lnTo>
                      <a:lnTo>
                        <a:pt x="388671" y="431827"/>
                      </a:lnTo>
                      <a:lnTo>
                        <a:pt x="390723" y="428707"/>
                      </a:lnTo>
                      <a:lnTo>
                        <a:pt x="394063" y="421360"/>
                      </a:lnTo>
                      <a:lnTo>
                        <a:pt x="399236" y="414693"/>
                      </a:lnTo>
                      <a:lnTo>
                        <a:pt x="405319" y="403413"/>
                      </a:lnTo>
                      <a:lnTo>
                        <a:pt x="415009" y="389133"/>
                      </a:lnTo>
                      <a:lnTo>
                        <a:pt x="415823" y="387275"/>
                      </a:lnTo>
                      <a:lnTo>
                        <a:pt x="415483" y="382539"/>
                      </a:lnTo>
                      <a:lnTo>
                        <a:pt x="415653" y="380353"/>
                      </a:lnTo>
                      <a:lnTo>
                        <a:pt x="416224" y="379637"/>
                      </a:lnTo>
                      <a:lnTo>
                        <a:pt x="419502" y="376297"/>
                      </a:lnTo>
                      <a:lnTo>
                        <a:pt x="425586" y="364555"/>
                      </a:lnTo>
                      <a:lnTo>
                        <a:pt x="427881" y="362734"/>
                      </a:lnTo>
                      <a:lnTo>
                        <a:pt x="431038" y="361228"/>
                      </a:lnTo>
                      <a:lnTo>
                        <a:pt x="437122" y="354234"/>
                      </a:lnTo>
                      <a:lnTo>
                        <a:pt x="440230" y="351927"/>
                      </a:lnTo>
                      <a:lnTo>
                        <a:pt x="441942" y="351927"/>
                      </a:lnTo>
                      <a:lnTo>
                        <a:pt x="444128" y="352449"/>
                      </a:lnTo>
                      <a:lnTo>
                        <a:pt x="446362" y="352509"/>
                      </a:lnTo>
                      <a:lnTo>
                        <a:pt x="448487" y="351247"/>
                      </a:lnTo>
                      <a:lnTo>
                        <a:pt x="449811" y="349364"/>
                      </a:lnTo>
                      <a:lnTo>
                        <a:pt x="451244" y="346244"/>
                      </a:lnTo>
                      <a:lnTo>
                        <a:pt x="452288" y="344544"/>
                      </a:lnTo>
                      <a:lnTo>
                        <a:pt x="454061" y="340682"/>
                      </a:lnTo>
                      <a:lnTo>
                        <a:pt x="454292" y="336019"/>
                      </a:lnTo>
                      <a:lnTo>
                        <a:pt x="453381" y="331405"/>
                      </a:lnTo>
                      <a:lnTo>
                        <a:pt x="451766" y="327604"/>
                      </a:lnTo>
                      <a:lnTo>
                        <a:pt x="449519" y="324678"/>
                      </a:lnTo>
                      <a:lnTo>
                        <a:pt x="445962" y="321181"/>
                      </a:lnTo>
                      <a:lnTo>
                        <a:pt x="442817" y="319687"/>
                      </a:lnTo>
                      <a:lnTo>
                        <a:pt x="441372" y="322784"/>
                      </a:lnTo>
                      <a:lnTo>
                        <a:pt x="439769" y="324423"/>
                      </a:lnTo>
                      <a:lnTo>
                        <a:pt x="432191" y="328333"/>
                      </a:lnTo>
                      <a:lnTo>
                        <a:pt x="429945" y="331697"/>
                      </a:lnTo>
                      <a:lnTo>
                        <a:pt x="430006" y="333652"/>
                      </a:lnTo>
                      <a:lnTo>
                        <a:pt x="430406" y="336372"/>
                      </a:lnTo>
                      <a:lnTo>
                        <a:pt x="431038" y="338727"/>
                      </a:lnTo>
                      <a:lnTo>
                        <a:pt x="432240" y="340731"/>
                      </a:lnTo>
                      <a:lnTo>
                        <a:pt x="430589" y="345467"/>
                      </a:lnTo>
                      <a:lnTo>
                        <a:pt x="430589" y="347252"/>
                      </a:lnTo>
                      <a:lnTo>
                        <a:pt x="430916" y="348915"/>
                      </a:lnTo>
                      <a:lnTo>
                        <a:pt x="430856" y="351672"/>
                      </a:lnTo>
                      <a:lnTo>
                        <a:pt x="430528" y="354452"/>
                      </a:lnTo>
                      <a:lnTo>
                        <a:pt x="429945" y="356092"/>
                      </a:lnTo>
                      <a:lnTo>
                        <a:pt x="428791" y="357015"/>
                      </a:lnTo>
                      <a:lnTo>
                        <a:pt x="427298" y="357415"/>
                      </a:lnTo>
                      <a:lnTo>
                        <a:pt x="423339" y="357440"/>
                      </a:lnTo>
                      <a:lnTo>
                        <a:pt x="422259" y="357852"/>
                      </a:lnTo>
                      <a:lnTo>
                        <a:pt x="421275" y="358569"/>
                      </a:lnTo>
                      <a:lnTo>
                        <a:pt x="420182" y="358909"/>
                      </a:lnTo>
                      <a:lnTo>
                        <a:pt x="418859" y="358132"/>
                      </a:lnTo>
                      <a:lnTo>
                        <a:pt x="417887" y="357160"/>
                      </a:lnTo>
                      <a:lnTo>
                        <a:pt x="417134" y="356517"/>
                      </a:lnTo>
                      <a:lnTo>
                        <a:pt x="416284" y="356201"/>
                      </a:lnTo>
                      <a:lnTo>
                        <a:pt x="415009" y="356092"/>
                      </a:lnTo>
                      <a:lnTo>
                        <a:pt x="414159" y="356492"/>
                      </a:lnTo>
                      <a:lnTo>
                        <a:pt x="413054" y="357245"/>
                      </a:lnTo>
                      <a:lnTo>
                        <a:pt x="412083" y="357561"/>
                      </a:lnTo>
                      <a:lnTo>
                        <a:pt x="411463" y="356359"/>
                      </a:lnTo>
                      <a:lnTo>
                        <a:pt x="410249" y="354950"/>
                      </a:lnTo>
                      <a:lnTo>
                        <a:pt x="409909" y="354598"/>
                      </a:lnTo>
                      <a:lnTo>
                        <a:pt x="405659" y="353505"/>
                      </a:lnTo>
                      <a:lnTo>
                        <a:pt x="403656" y="350895"/>
                      </a:lnTo>
                      <a:lnTo>
                        <a:pt x="401980" y="347798"/>
                      </a:lnTo>
                      <a:lnTo>
                        <a:pt x="398871" y="345297"/>
                      </a:lnTo>
                      <a:lnTo>
                        <a:pt x="398653" y="350300"/>
                      </a:lnTo>
                      <a:lnTo>
                        <a:pt x="396807" y="353396"/>
                      </a:lnTo>
                      <a:lnTo>
                        <a:pt x="393480" y="354768"/>
                      </a:lnTo>
                      <a:lnTo>
                        <a:pt x="388671" y="354598"/>
                      </a:lnTo>
                      <a:lnTo>
                        <a:pt x="387396" y="354829"/>
                      </a:lnTo>
                      <a:lnTo>
                        <a:pt x="386655" y="355375"/>
                      </a:lnTo>
                      <a:lnTo>
                        <a:pt x="385781" y="355412"/>
                      </a:lnTo>
                      <a:lnTo>
                        <a:pt x="384130" y="354027"/>
                      </a:lnTo>
                      <a:lnTo>
                        <a:pt x="383438" y="353020"/>
                      </a:lnTo>
                      <a:lnTo>
                        <a:pt x="383255" y="352388"/>
                      </a:lnTo>
                      <a:lnTo>
                        <a:pt x="382855" y="352048"/>
                      </a:lnTo>
                      <a:lnTo>
                        <a:pt x="381543" y="351927"/>
                      </a:lnTo>
                      <a:lnTo>
                        <a:pt x="379358" y="351380"/>
                      </a:lnTo>
                      <a:lnTo>
                        <a:pt x="378605" y="350069"/>
                      </a:lnTo>
                      <a:lnTo>
                        <a:pt x="378860" y="348357"/>
                      </a:lnTo>
                      <a:lnTo>
                        <a:pt x="379710" y="346547"/>
                      </a:lnTo>
                      <a:lnTo>
                        <a:pt x="375751" y="353408"/>
                      </a:lnTo>
                      <a:lnTo>
                        <a:pt x="377755" y="354695"/>
                      </a:lnTo>
                      <a:lnTo>
                        <a:pt x="380001" y="356990"/>
                      </a:lnTo>
                      <a:lnTo>
                        <a:pt x="380584" y="359176"/>
                      </a:lnTo>
                      <a:lnTo>
                        <a:pt x="377694" y="360147"/>
                      </a:lnTo>
                      <a:lnTo>
                        <a:pt x="366802" y="361507"/>
                      </a:lnTo>
                      <a:lnTo>
                        <a:pt x="354622" y="366328"/>
                      </a:lnTo>
                      <a:lnTo>
                        <a:pt x="344058" y="367846"/>
                      </a:lnTo>
                      <a:lnTo>
                        <a:pt x="333494" y="371465"/>
                      </a:lnTo>
                      <a:lnTo>
                        <a:pt x="327568" y="372303"/>
                      </a:lnTo>
                      <a:lnTo>
                        <a:pt x="323901" y="373310"/>
                      </a:lnTo>
                      <a:lnTo>
                        <a:pt x="318959" y="375909"/>
                      </a:lnTo>
                      <a:lnTo>
                        <a:pt x="313968" y="379418"/>
                      </a:lnTo>
                      <a:lnTo>
                        <a:pt x="310179" y="383207"/>
                      </a:lnTo>
                      <a:lnTo>
                        <a:pt x="304314" y="393771"/>
                      </a:lnTo>
                      <a:lnTo>
                        <a:pt x="301910" y="395362"/>
                      </a:lnTo>
                      <a:lnTo>
                        <a:pt x="297830" y="394779"/>
                      </a:lnTo>
                      <a:lnTo>
                        <a:pt x="290253" y="392654"/>
                      </a:lnTo>
                      <a:lnTo>
                        <a:pt x="277503" y="392508"/>
                      </a:lnTo>
                      <a:lnTo>
                        <a:pt x="275608" y="391913"/>
                      </a:lnTo>
                      <a:lnTo>
                        <a:pt x="272111" y="389096"/>
                      </a:lnTo>
                      <a:lnTo>
                        <a:pt x="269755" y="388465"/>
                      </a:lnTo>
                      <a:lnTo>
                        <a:pt x="263429" y="388696"/>
                      </a:lnTo>
                      <a:lnTo>
                        <a:pt x="261425" y="388465"/>
                      </a:lnTo>
                      <a:lnTo>
                        <a:pt x="259410" y="387858"/>
                      </a:lnTo>
                      <a:lnTo>
                        <a:pt x="258159" y="387141"/>
                      </a:lnTo>
                      <a:lnTo>
                        <a:pt x="257163" y="386425"/>
                      </a:lnTo>
                      <a:lnTo>
                        <a:pt x="256192" y="385903"/>
                      </a:lnTo>
                      <a:lnTo>
                        <a:pt x="247303" y="384008"/>
                      </a:lnTo>
                      <a:lnTo>
                        <a:pt x="243733" y="382151"/>
                      </a:lnTo>
                      <a:lnTo>
                        <a:pt x="237479" y="381118"/>
                      </a:lnTo>
                      <a:lnTo>
                        <a:pt x="231044" y="378325"/>
                      </a:lnTo>
                      <a:lnTo>
                        <a:pt x="212380" y="376577"/>
                      </a:lnTo>
                      <a:lnTo>
                        <a:pt x="205495" y="374537"/>
                      </a:lnTo>
                      <a:lnTo>
                        <a:pt x="193036" y="367385"/>
                      </a:lnTo>
                      <a:lnTo>
                        <a:pt x="175125" y="355132"/>
                      </a:lnTo>
                      <a:lnTo>
                        <a:pt x="142558" y="341411"/>
                      </a:lnTo>
                      <a:lnTo>
                        <a:pt x="109711" y="319529"/>
                      </a:lnTo>
                      <a:lnTo>
                        <a:pt x="103980" y="314842"/>
                      </a:lnTo>
                      <a:lnTo>
                        <a:pt x="102778" y="314126"/>
                      </a:lnTo>
                      <a:lnTo>
                        <a:pt x="102074" y="313300"/>
                      </a:lnTo>
                      <a:lnTo>
                        <a:pt x="102195" y="311430"/>
                      </a:lnTo>
                      <a:lnTo>
                        <a:pt x="101904" y="309572"/>
                      </a:lnTo>
                      <a:lnTo>
                        <a:pt x="96852" y="307471"/>
                      </a:lnTo>
                      <a:lnTo>
                        <a:pt x="94326" y="304460"/>
                      </a:lnTo>
                      <a:lnTo>
                        <a:pt x="92614" y="300841"/>
                      </a:lnTo>
                      <a:lnTo>
                        <a:pt x="91801" y="297793"/>
                      </a:lnTo>
                      <a:lnTo>
                        <a:pt x="92262" y="298486"/>
                      </a:lnTo>
                      <a:lnTo>
                        <a:pt x="94387" y="300501"/>
                      </a:lnTo>
                      <a:lnTo>
                        <a:pt x="96391" y="296786"/>
                      </a:lnTo>
                      <a:lnTo>
                        <a:pt x="96961" y="294673"/>
                      </a:lnTo>
                      <a:lnTo>
                        <a:pt x="96913" y="292402"/>
                      </a:lnTo>
                      <a:lnTo>
                        <a:pt x="93586" y="294005"/>
                      </a:lnTo>
                      <a:lnTo>
                        <a:pt x="88473" y="294867"/>
                      </a:lnTo>
                      <a:lnTo>
                        <a:pt x="83641" y="293981"/>
                      </a:lnTo>
                      <a:lnTo>
                        <a:pt x="81528" y="290301"/>
                      </a:lnTo>
                      <a:lnTo>
                        <a:pt x="85316" y="282809"/>
                      </a:lnTo>
                      <a:lnTo>
                        <a:pt x="86688" y="282348"/>
                      </a:lnTo>
                      <a:lnTo>
                        <a:pt x="92432" y="281595"/>
                      </a:lnTo>
                      <a:lnTo>
                        <a:pt x="93926" y="280939"/>
                      </a:lnTo>
                      <a:lnTo>
                        <a:pt x="93185" y="279506"/>
                      </a:lnTo>
                      <a:lnTo>
                        <a:pt x="91121" y="278061"/>
                      </a:lnTo>
                      <a:lnTo>
                        <a:pt x="88534" y="277405"/>
                      </a:lnTo>
                      <a:lnTo>
                        <a:pt x="87150" y="276810"/>
                      </a:lnTo>
                      <a:lnTo>
                        <a:pt x="86348" y="275511"/>
                      </a:lnTo>
                      <a:lnTo>
                        <a:pt x="85826" y="274139"/>
                      </a:lnTo>
                      <a:lnTo>
                        <a:pt x="85316" y="273338"/>
                      </a:lnTo>
                      <a:lnTo>
                        <a:pt x="84211" y="273338"/>
                      </a:lnTo>
                      <a:lnTo>
                        <a:pt x="82961" y="273823"/>
                      </a:lnTo>
                      <a:lnTo>
                        <a:pt x="81928" y="274394"/>
                      </a:lnTo>
                      <a:lnTo>
                        <a:pt x="81528" y="274710"/>
                      </a:lnTo>
                      <a:lnTo>
                        <a:pt x="79403" y="273508"/>
                      </a:lnTo>
                      <a:lnTo>
                        <a:pt x="77739" y="272293"/>
                      </a:lnTo>
                      <a:lnTo>
                        <a:pt x="76695" y="270751"/>
                      </a:lnTo>
                      <a:lnTo>
                        <a:pt x="76306" y="268565"/>
                      </a:lnTo>
                      <a:lnTo>
                        <a:pt x="76695" y="266331"/>
                      </a:lnTo>
                      <a:lnTo>
                        <a:pt x="77739" y="264716"/>
                      </a:lnTo>
                      <a:lnTo>
                        <a:pt x="79403" y="263830"/>
                      </a:lnTo>
                      <a:lnTo>
                        <a:pt x="81528" y="263878"/>
                      </a:lnTo>
                      <a:lnTo>
                        <a:pt x="80653" y="261960"/>
                      </a:lnTo>
                      <a:lnTo>
                        <a:pt x="79524" y="261097"/>
                      </a:lnTo>
                      <a:lnTo>
                        <a:pt x="78031" y="261304"/>
                      </a:lnTo>
                      <a:lnTo>
                        <a:pt x="76306" y="262542"/>
                      </a:lnTo>
                      <a:lnTo>
                        <a:pt x="74120" y="261583"/>
                      </a:lnTo>
                      <a:lnTo>
                        <a:pt x="73198" y="262652"/>
                      </a:lnTo>
                      <a:lnTo>
                        <a:pt x="72044" y="264352"/>
                      </a:lnTo>
                      <a:lnTo>
                        <a:pt x="69239" y="265238"/>
                      </a:lnTo>
                      <a:lnTo>
                        <a:pt x="66823" y="264400"/>
                      </a:lnTo>
                      <a:lnTo>
                        <a:pt x="66130" y="262288"/>
                      </a:lnTo>
                      <a:lnTo>
                        <a:pt x="66531" y="259640"/>
                      </a:lnTo>
                      <a:lnTo>
                        <a:pt x="67405" y="257139"/>
                      </a:lnTo>
                      <a:lnTo>
                        <a:pt x="64819" y="258717"/>
                      </a:lnTo>
                      <a:lnTo>
                        <a:pt x="62694" y="259410"/>
                      </a:lnTo>
                      <a:lnTo>
                        <a:pt x="60909" y="258948"/>
                      </a:lnTo>
                      <a:lnTo>
                        <a:pt x="59525" y="257139"/>
                      </a:lnTo>
                      <a:lnTo>
                        <a:pt x="61261" y="253144"/>
                      </a:lnTo>
                      <a:lnTo>
                        <a:pt x="64005" y="248882"/>
                      </a:lnTo>
                      <a:lnTo>
                        <a:pt x="67405" y="245336"/>
                      </a:lnTo>
                      <a:lnTo>
                        <a:pt x="71194" y="243587"/>
                      </a:lnTo>
                      <a:lnTo>
                        <a:pt x="70332" y="241402"/>
                      </a:lnTo>
                      <a:lnTo>
                        <a:pt x="69300" y="241608"/>
                      </a:lnTo>
                      <a:lnTo>
                        <a:pt x="67867" y="242470"/>
                      </a:lnTo>
                      <a:lnTo>
                        <a:pt x="66070" y="242154"/>
                      </a:lnTo>
                      <a:lnTo>
                        <a:pt x="65220" y="241171"/>
                      </a:lnTo>
                      <a:lnTo>
                        <a:pt x="63325" y="238220"/>
                      </a:lnTo>
                      <a:lnTo>
                        <a:pt x="62123" y="236727"/>
                      </a:lnTo>
                      <a:lnTo>
                        <a:pt x="62864" y="240029"/>
                      </a:lnTo>
                      <a:lnTo>
                        <a:pt x="64005" y="243162"/>
                      </a:lnTo>
                      <a:lnTo>
                        <a:pt x="63884" y="245797"/>
                      </a:lnTo>
                      <a:lnTo>
                        <a:pt x="60909" y="247667"/>
                      </a:lnTo>
                      <a:lnTo>
                        <a:pt x="57290" y="247425"/>
                      </a:lnTo>
                      <a:lnTo>
                        <a:pt x="56270" y="244644"/>
                      </a:lnTo>
                      <a:lnTo>
                        <a:pt x="57120" y="236727"/>
                      </a:lnTo>
                      <a:lnTo>
                        <a:pt x="56028" y="227049"/>
                      </a:lnTo>
                      <a:lnTo>
                        <a:pt x="56780" y="222349"/>
                      </a:lnTo>
                      <a:lnTo>
                        <a:pt x="60278" y="220358"/>
                      </a:lnTo>
                      <a:lnTo>
                        <a:pt x="68486" y="222884"/>
                      </a:lnTo>
                      <a:lnTo>
                        <a:pt x="72275" y="222835"/>
                      </a:lnTo>
                      <a:lnTo>
                        <a:pt x="72457" y="219119"/>
                      </a:lnTo>
                      <a:lnTo>
                        <a:pt x="71243" y="218342"/>
                      </a:lnTo>
                      <a:lnTo>
                        <a:pt x="69518" y="218779"/>
                      </a:lnTo>
                      <a:lnTo>
                        <a:pt x="67964" y="218500"/>
                      </a:lnTo>
                      <a:lnTo>
                        <a:pt x="67405" y="215622"/>
                      </a:lnTo>
                      <a:lnTo>
                        <a:pt x="68085" y="214821"/>
                      </a:lnTo>
                      <a:lnTo>
                        <a:pt x="71765" y="213728"/>
                      </a:lnTo>
                      <a:lnTo>
                        <a:pt x="74752" y="211870"/>
                      </a:lnTo>
                      <a:lnTo>
                        <a:pt x="78371" y="211518"/>
                      </a:lnTo>
                      <a:lnTo>
                        <a:pt x="80143" y="210886"/>
                      </a:lnTo>
                      <a:lnTo>
                        <a:pt x="81115" y="209915"/>
                      </a:lnTo>
                      <a:lnTo>
                        <a:pt x="84114" y="205458"/>
                      </a:lnTo>
                      <a:lnTo>
                        <a:pt x="89506" y="199751"/>
                      </a:lnTo>
                      <a:lnTo>
                        <a:pt x="92954" y="197104"/>
                      </a:lnTo>
                      <a:lnTo>
                        <a:pt x="99730" y="194542"/>
                      </a:lnTo>
                      <a:lnTo>
                        <a:pt x="102826" y="187086"/>
                      </a:lnTo>
                      <a:lnTo>
                        <a:pt x="105874" y="183783"/>
                      </a:lnTo>
                      <a:lnTo>
                        <a:pt x="107647" y="183383"/>
                      </a:lnTo>
                      <a:lnTo>
                        <a:pt x="114314" y="183783"/>
                      </a:lnTo>
                      <a:lnTo>
                        <a:pt x="116147" y="183152"/>
                      </a:lnTo>
                      <a:lnTo>
                        <a:pt x="119827" y="180335"/>
                      </a:lnTo>
                      <a:lnTo>
                        <a:pt x="121952" y="179703"/>
                      </a:lnTo>
                      <a:lnTo>
                        <a:pt x="124247" y="178756"/>
                      </a:lnTo>
                      <a:lnTo>
                        <a:pt x="134179" y="171349"/>
                      </a:lnTo>
                      <a:lnTo>
                        <a:pt x="131192" y="170147"/>
                      </a:lnTo>
                      <a:lnTo>
                        <a:pt x="126372" y="172223"/>
                      </a:lnTo>
                      <a:lnTo>
                        <a:pt x="123894" y="171349"/>
                      </a:lnTo>
                      <a:lnTo>
                        <a:pt x="118904" y="176291"/>
                      </a:lnTo>
                      <a:lnTo>
                        <a:pt x="114714" y="178793"/>
                      </a:lnTo>
                      <a:lnTo>
                        <a:pt x="109833" y="179643"/>
                      </a:lnTo>
                      <a:lnTo>
                        <a:pt x="102778" y="179703"/>
                      </a:lnTo>
                      <a:lnTo>
                        <a:pt x="98868" y="180335"/>
                      </a:lnTo>
                      <a:lnTo>
                        <a:pt x="96913" y="182059"/>
                      </a:lnTo>
                      <a:lnTo>
                        <a:pt x="94387" y="187863"/>
                      </a:lnTo>
                      <a:lnTo>
                        <a:pt x="92359" y="190498"/>
                      </a:lnTo>
                      <a:lnTo>
                        <a:pt x="90295" y="191737"/>
                      </a:lnTo>
                      <a:lnTo>
                        <a:pt x="84102" y="193146"/>
                      </a:lnTo>
                      <a:lnTo>
                        <a:pt x="81054" y="194578"/>
                      </a:lnTo>
                      <a:lnTo>
                        <a:pt x="78480" y="196449"/>
                      </a:lnTo>
                      <a:lnTo>
                        <a:pt x="75711" y="197991"/>
                      </a:lnTo>
                      <a:lnTo>
                        <a:pt x="68765" y="199314"/>
                      </a:lnTo>
                      <a:lnTo>
                        <a:pt x="64394" y="202119"/>
                      </a:lnTo>
                      <a:lnTo>
                        <a:pt x="60265" y="203904"/>
                      </a:lnTo>
                      <a:lnTo>
                        <a:pt x="57108" y="206636"/>
                      </a:lnTo>
                      <a:lnTo>
                        <a:pt x="44200" y="221827"/>
                      </a:lnTo>
                      <a:lnTo>
                        <a:pt x="46034" y="223029"/>
                      </a:lnTo>
                      <a:lnTo>
                        <a:pt x="46265" y="224462"/>
                      </a:lnTo>
                      <a:lnTo>
                        <a:pt x="45524" y="225895"/>
                      </a:lnTo>
                      <a:lnTo>
                        <a:pt x="44200" y="227255"/>
                      </a:lnTo>
                      <a:lnTo>
                        <a:pt x="41444" y="229174"/>
                      </a:lnTo>
                      <a:lnTo>
                        <a:pt x="39659" y="229320"/>
                      </a:lnTo>
                      <a:lnTo>
                        <a:pt x="37886" y="228749"/>
                      </a:lnTo>
                      <a:lnTo>
                        <a:pt x="35239" y="228482"/>
                      </a:lnTo>
                      <a:lnTo>
                        <a:pt x="23363" y="228943"/>
                      </a:lnTo>
                      <a:lnTo>
                        <a:pt x="14110" y="227741"/>
                      </a:lnTo>
                      <a:lnTo>
                        <a:pt x="9581" y="226417"/>
                      </a:lnTo>
                      <a:lnTo>
                        <a:pt x="6994" y="224062"/>
                      </a:lnTo>
                      <a:lnTo>
                        <a:pt x="8209" y="220358"/>
                      </a:lnTo>
                      <a:lnTo>
                        <a:pt x="8998" y="220164"/>
                      </a:lnTo>
                      <a:lnTo>
                        <a:pt x="12787" y="220358"/>
                      </a:lnTo>
                      <a:lnTo>
                        <a:pt x="13479" y="219751"/>
                      </a:lnTo>
                      <a:lnTo>
                        <a:pt x="14171" y="217079"/>
                      </a:lnTo>
                      <a:lnTo>
                        <a:pt x="14632" y="216278"/>
                      </a:lnTo>
                      <a:lnTo>
                        <a:pt x="17219" y="214869"/>
                      </a:lnTo>
                      <a:lnTo>
                        <a:pt x="19344" y="214129"/>
                      </a:lnTo>
                      <a:lnTo>
                        <a:pt x="21347" y="214821"/>
                      </a:lnTo>
                      <a:lnTo>
                        <a:pt x="23703" y="217662"/>
                      </a:lnTo>
                      <a:lnTo>
                        <a:pt x="26059" y="214845"/>
                      </a:lnTo>
                      <a:lnTo>
                        <a:pt x="29216" y="214384"/>
                      </a:lnTo>
                      <a:lnTo>
                        <a:pt x="31790" y="213521"/>
                      </a:lnTo>
                      <a:lnTo>
                        <a:pt x="32652" y="209538"/>
                      </a:lnTo>
                      <a:lnTo>
                        <a:pt x="28633" y="211773"/>
                      </a:lnTo>
                      <a:lnTo>
                        <a:pt x="25257" y="211894"/>
                      </a:lnTo>
                      <a:lnTo>
                        <a:pt x="22270" y="210340"/>
                      </a:lnTo>
                      <a:lnTo>
                        <a:pt x="19222" y="207498"/>
                      </a:lnTo>
                      <a:lnTo>
                        <a:pt x="17097" y="203856"/>
                      </a:lnTo>
                      <a:lnTo>
                        <a:pt x="16818" y="200116"/>
                      </a:lnTo>
                      <a:lnTo>
                        <a:pt x="17219" y="196157"/>
                      </a:lnTo>
                      <a:lnTo>
                        <a:pt x="17158" y="191907"/>
                      </a:lnTo>
                      <a:lnTo>
                        <a:pt x="13479" y="195987"/>
                      </a:lnTo>
                      <a:lnTo>
                        <a:pt x="11584" y="197335"/>
                      </a:lnTo>
                      <a:lnTo>
                        <a:pt x="10771" y="195295"/>
                      </a:lnTo>
                      <a:lnTo>
                        <a:pt x="11196" y="192223"/>
                      </a:lnTo>
                      <a:lnTo>
                        <a:pt x="13017" y="187256"/>
                      </a:lnTo>
                      <a:lnTo>
                        <a:pt x="13770" y="181464"/>
                      </a:lnTo>
                      <a:lnTo>
                        <a:pt x="14292" y="179825"/>
                      </a:lnTo>
                      <a:lnTo>
                        <a:pt x="14389" y="178562"/>
                      </a:lnTo>
                      <a:lnTo>
                        <a:pt x="14511" y="178331"/>
                      </a:lnTo>
                      <a:lnTo>
                        <a:pt x="18931" y="171641"/>
                      </a:lnTo>
                      <a:lnTo>
                        <a:pt x="20424" y="170693"/>
                      </a:lnTo>
                      <a:lnTo>
                        <a:pt x="23764" y="169224"/>
                      </a:lnTo>
                      <a:lnTo>
                        <a:pt x="25075" y="168423"/>
                      </a:lnTo>
                      <a:lnTo>
                        <a:pt x="25646" y="168362"/>
                      </a:lnTo>
                      <a:lnTo>
                        <a:pt x="27479" y="168714"/>
                      </a:lnTo>
                      <a:lnTo>
                        <a:pt x="28232" y="168690"/>
                      </a:lnTo>
                      <a:lnTo>
                        <a:pt x="28924" y="167961"/>
                      </a:lnTo>
                      <a:lnTo>
                        <a:pt x="28463" y="167160"/>
                      </a:lnTo>
                      <a:lnTo>
                        <a:pt x="27662" y="166528"/>
                      </a:lnTo>
                      <a:lnTo>
                        <a:pt x="27322" y="166091"/>
                      </a:lnTo>
                      <a:lnTo>
                        <a:pt x="27540" y="164840"/>
                      </a:lnTo>
                      <a:lnTo>
                        <a:pt x="27443" y="163080"/>
                      </a:lnTo>
                      <a:lnTo>
                        <a:pt x="27892" y="161270"/>
                      </a:lnTo>
                      <a:lnTo>
                        <a:pt x="29556" y="159922"/>
                      </a:lnTo>
                      <a:lnTo>
                        <a:pt x="31462" y="159582"/>
                      </a:lnTo>
                      <a:lnTo>
                        <a:pt x="32142" y="160408"/>
                      </a:lnTo>
                      <a:lnTo>
                        <a:pt x="32592" y="161962"/>
                      </a:lnTo>
                      <a:lnTo>
                        <a:pt x="33745" y="163833"/>
                      </a:lnTo>
                      <a:lnTo>
                        <a:pt x="36392" y="164974"/>
                      </a:lnTo>
                      <a:lnTo>
                        <a:pt x="38979" y="163918"/>
                      </a:lnTo>
                      <a:lnTo>
                        <a:pt x="41213" y="161562"/>
                      </a:lnTo>
                      <a:lnTo>
                        <a:pt x="42877" y="158915"/>
                      </a:lnTo>
                      <a:lnTo>
                        <a:pt x="42646" y="157518"/>
                      </a:lnTo>
                      <a:lnTo>
                        <a:pt x="41966" y="155539"/>
                      </a:lnTo>
                      <a:lnTo>
                        <a:pt x="42075" y="153839"/>
                      </a:lnTo>
                      <a:lnTo>
                        <a:pt x="44310" y="153462"/>
                      </a:lnTo>
                      <a:lnTo>
                        <a:pt x="45524" y="154240"/>
                      </a:lnTo>
                      <a:lnTo>
                        <a:pt x="46155" y="155842"/>
                      </a:lnTo>
                      <a:lnTo>
                        <a:pt x="46447" y="157713"/>
                      </a:lnTo>
                      <a:lnTo>
                        <a:pt x="46386" y="159267"/>
                      </a:lnTo>
                      <a:lnTo>
                        <a:pt x="52348" y="155065"/>
                      </a:lnTo>
                      <a:lnTo>
                        <a:pt x="61018" y="153730"/>
                      </a:lnTo>
                      <a:lnTo>
                        <a:pt x="82839" y="153888"/>
                      </a:lnTo>
                      <a:lnTo>
                        <a:pt x="101333" y="154009"/>
                      </a:lnTo>
                      <a:lnTo>
                        <a:pt x="115929" y="154118"/>
                      </a:lnTo>
                      <a:lnTo>
                        <a:pt x="116086" y="126529"/>
                      </a:lnTo>
                      <a:lnTo>
                        <a:pt x="116147" y="105692"/>
                      </a:lnTo>
                      <a:lnTo>
                        <a:pt x="116208" y="89724"/>
                      </a:lnTo>
                      <a:lnTo>
                        <a:pt x="120227" y="81370"/>
                      </a:lnTo>
                      <a:lnTo>
                        <a:pt x="129990" y="81807"/>
                      </a:lnTo>
                      <a:lnTo>
                        <a:pt x="132686" y="85911"/>
                      </a:lnTo>
                      <a:lnTo>
                        <a:pt x="133779" y="97484"/>
                      </a:lnTo>
                      <a:lnTo>
                        <a:pt x="137385" y="100228"/>
                      </a:lnTo>
                      <a:lnTo>
                        <a:pt x="139292" y="98710"/>
                      </a:lnTo>
                      <a:lnTo>
                        <a:pt x="145157" y="88121"/>
                      </a:lnTo>
                      <a:lnTo>
                        <a:pt x="145715" y="86506"/>
                      </a:lnTo>
                      <a:lnTo>
                        <a:pt x="146055" y="84879"/>
                      </a:lnTo>
                      <a:lnTo>
                        <a:pt x="147027" y="83726"/>
                      </a:lnTo>
                      <a:lnTo>
                        <a:pt x="149674" y="83495"/>
                      </a:lnTo>
                      <a:lnTo>
                        <a:pt x="151337" y="84163"/>
                      </a:lnTo>
                      <a:lnTo>
                        <a:pt x="153001" y="85498"/>
                      </a:lnTo>
                      <a:lnTo>
                        <a:pt x="154385" y="87113"/>
                      </a:lnTo>
                      <a:lnTo>
                        <a:pt x="157992" y="93489"/>
                      </a:lnTo>
                      <a:lnTo>
                        <a:pt x="160578" y="96099"/>
                      </a:lnTo>
                      <a:lnTo>
                        <a:pt x="164039" y="96451"/>
                      </a:lnTo>
                      <a:lnTo>
                        <a:pt x="169090" y="94630"/>
                      </a:lnTo>
                      <a:lnTo>
                        <a:pt x="176716" y="90538"/>
                      </a:lnTo>
                      <a:lnTo>
                        <a:pt x="180335" y="89870"/>
                      </a:lnTo>
                      <a:lnTo>
                        <a:pt x="184864" y="91194"/>
                      </a:lnTo>
                      <a:lnTo>
                        <a:pt x="195428" y="96221"/>
                      </a:lnTo>
                      <a:lnTo>
                        <a:pt x="198889" y="96901"/>
                      </a:lnTo>
                      <a:lnTo>
                        <a:pt x="206284" y="95808"/>
                      </a:lnTo>
                      <a:lnTo>
                        <a:pt x="220297" y="90817"/>
                      </a:lnTo>
                      <a:lnTo>
                        <a:pt x="273253" y="92189"/>
                      </a:lnTo>
                      <a:lnTo>
                        <a:pt x="278705" y="94630"/>
                      </a:lnTo>
                      <a:lnTo>
                        <a:pt x="293398" y="109711"/>
                      </a:lnTo>
                      <a:lnTo>
                        <a:pt x="301667" y="113731"/>
                      </a:lnTo>
                      <a:lnTo>
                        <a:pt x="311819" y="114909"/>
                      </a:lnTo>
                      <a:lnTo>
                        <a:pt x="349959" y="114386"/>
                      </a:lnTo>
                      <a:lnTo>
                        <a:pt x="358168" y="112638"/>
                      </a:lnTo>
                      <a:lnTo>
                        <a:pt x="364944" y="107064"/>
                      </a:lnTo>
                      <a:lnTo>
                        <a:pt x="367008" y="103421"/>
                      </a:lnTo>
                      <a:lnTo>
                        <a:pt x="371550" y="91048"/>
                      </a:lnTo>
                      <a:lnTo>
                        <a:pt x="373505" y="87830"/>
                      </a:lnTo>
                      <a:lnTo>
                        <a:pt x="375739" y="86591"/>
                      </a:lnTo>
                      <a:lnTo>
                        <a:pt x="382284" y="86021"/>
                      </a:lnTo>
                      <a:lnTo>
                        <a:pt x="393079" y="82487"/>
                      </a:lnTo>
                      <a:lnTo>
                        <a:pt x="396928" y="82269"/>
                      </a:lnTo>
                      <a:lnTo>
                        <a:pt x="400668" y="81491"/>
                      </a:lnTo>
                      <a:lnTo>
                        <a:pt x="407493" y="76634"/>
                      </a:lnTo>
                      <a:lnTo>
                        <a:pt x="411172" y="74970"/>
                      </a:lnTo>
                      <a:lnTo>
                        <a:pt x="421396" y="74400"/>
                      </a:lnTo>
                      <a:lnTo>
                        <a:pt x="424724" y="73186"/>
                      </a:lnTo>
                      <a:lnTo>
                        <a:pt x="433272" y="67308"/>
                      </a:lnTo>
                      <a:lnTo>
                        <a:pt x="452859" y="62730"/>
                      </a:lnTo>
                      <a:lnTo>
                        <a:pt x="460776" y="62888"/>
                      </a:lnTo>
                      <a:lnTo>
                        <a:pt x="463071" y="67673"/>
                      </a:lnTo>
                      <a:lnTo>
                        <a:pt x="461930" y="69713"/>
                      </a:lnTo>
                      <a:lnTo>
                        <a:pt x="458712" y="71777"/>
                      </a:lnTo>
                      <a:lnTo>
                        <a:pt x="457680" y="73040"/>
                      </a:lnTo>
                      <a:lnTo>
                        <a:pt x="457497" y="75226"/>
                      </a:lnTo>
                      <a:lnTo>
                        <a:pt x="459343" y="82208"/>
                      </a:lnTo>
                      <a:lnTo>
                        <a:pt x="460266" y="90125"/>
                      </a:lnTo>
                      <a:lnTo>
                        <a:pt x="461638" y="93003"/>
                      </a:lnTo>
                      <a:lnTo>
                        <a:pt x="464856" y="95954"/>
                      </a:lnTo>
                      <a:lnTo>
                        <a:pt x="471741" y="99293"/>
                      </a:lnTo>
                      <a:lnTo>
                        <a:pt x="496840" y="101211"/>
                      </a:lnTo>
                      <a:lnTo>
                        <a:pt x="500750" y="100179"/>
                      </a:lnTo>
                      <a:lnTo>
                        <a:pt x="507757" y="96646"/>
                      </a:lnTo>
                      <a:lnTo>
                        <a:pt x="511606" y="95298"/>
                      </a:lnTo>
                      <a:lnTo>
                        <a:pt x="514873" y="94581"/>
                      </a:lnTo>
                      <a:lnTo>
                        <a:pt x="516026" y="93234"/>
                      </a:lnTo>
                      <a:lnTo>
                        <a:pt x="513549" y="89931"/>
                      </a:lnTo>
                      <a:lnTo>
                        <a:pt x="512930" y="86433"/>
                      </a:lnTo>
                      <a:lnTo>
                        <a:pt x="515844" y="82839"/>
                      </a:lnTo>
                      <a:lnTo>
                        <a:pt x="527283" y="75311"/>
                      </a:lnTo>
                      <a:lnTo>
                        <a:pt x="530780" y="74218"/>
                      </a:lnTo>
                      <a:lnTo>
                        <a:pt x="534338" y="74485"/>
                      </a:lnTo>
                      <a:lnTo>
                        <a:pt x="538418" y="76197"/>
                      </a:lnTo>
                      <a:lnTo>
                        <a:pt x="542085" y="76318"/>
                      </a:lnTo>
                      <a:lnTo>
                        <a:pt x="544040" y="74861"/>
                      </a:lnTo>
                      <a:lnTo>
                        <a:pt x="545424" y="72615"/>
                      </a:lnTo>
                      <a:lnTo>
                        <a:pt x="547440" y="70405"/>
                      </a:lnTo>
                      <a:lnTo>
                        <a:pt x="556450" y="67284"/>
                      </a:lnTo>
                      <a:lnTo>
                        <a:pt x="558272" y="65402"/>
                      </a:lnTo>
                      <a:lnTo>
                        <a:pt x="556790" y="60448"/>
                      </a:lnTo>
                      <a:lnTo>
                        <a:pt x="550245" y="58371"/>
                      </a:lnTo>
                      <a:lnTo>
                        <a:pt x="542789" y="57169"/>
                      </a:lnTo>
                      <a:lnTo>
                        <a:pt x="538430" y="54753"/>
                      </a:lnTo>
                      <a:lnTo>
                        <a:pt x="537920" y="53320"/>
                      </a:lnTo>
                      <a:lnTo>
                        <a:pt x="537677" y="51826"/>
                      </a:lnTo>
                      <a:lnTo>
                        <a:pt x="537738" y="50333"/>
                      </a:lnTo>
                      <a:lnTo>
                        <a:pt x="538017" y="48790"/>
                      </a:lnTo>
                      <a:lnTo>
                        <a:pt x="538430" y="44795"/>
                      </a:lnTo>
                      <a:lnTo>
                        <a:pt x="539110" y="43411"/>
                      </a:lnTo>
                      <a:lnTo>
                        <a:pt x="539353" y="42100"/>
                      </a:lnTo>
                      <a:lnTo>
                        <a:pt x="539171" y="40861"/>
                      </a:lnTo>
                      <a:lnTo>
                        <a:pt x="538430" y="39744"/>
                      </a:lnTo>
                      <a:lnTo>
                        <a:pt x="534811" y="36647"/>
                      </a:lnTo>
                      <a:lnTo>
                        <a:pt x="534289" y="30952"/>
                      </a:lnTo>
                      <a:lnTo>
                        <a:pt x="535783" y="24735"/>
                      </a:lnTo>
                      <a:lnTo>
                        <a:pt x="538430" y="19963"/>
                      </a:lnTo>
                      <a:lnTo>
                        <a:pt x="550889" y="14110"/>
                      </a:lnTo>
                      <a:lnTo>
                        <a:pt x="554726" y="11439"/>
                      </a:lnTo>
                      <a:lnTo>
                        <a:pt x="553354" y="9362"/>
                      </a:lnTo>
                      <a:lnTo>
                        <a:pt x="559037" y="10455"/>
                      </a:lnTo>
                      <a:lnTo>
                        <a:pt x="567087" y="15737"/>
                      </a:lnTo>
                      <a:lnTo>
                        <a:pt x="584428" y="20534"/>
                      </a:lnTo>
                      <a:lnTo>
                        <a:pt x="586832" y="20704"/>
                      </a:lnTo>
                      <a:lnTo>
                        <a:pt x="589940" y="20534"/>
                      </a:lnTo>
                      <a:lnTo>
                        <a:pt x="592806" y="18445"/>
                      </a:lnTo>
                      <a:lnTo>
                        <a:pt x="595271" y="17194"/>
                      </a:lnTo>
                      <a:lnTo>
                        <a:pt x="598258" y="16259"/>
                      </a:lnTo>
                      <a:lnTo>
                        <a:pt x="603140" y="15446"/>
                      </a:lnTo>
                      <a:lnTo>
                        <a:pt x="605726" y="15907"/>
                      </a:lnTo>
                      <a:lnTo>
                        <a:pt x="609916" y="17814"/>
                      </a:lnTo>
                      <a:lnTo>
                        <a:pt x="613704" y="18579"/>
                      </a:lnTo>
                      <a:lnTo>
                        <a:pt x="616521" y="18117"/>
                      </a:lnTo>
                      <a:lnTo>
                        <a:pt x="619399" y="16867"/>
                      </a:lnTo>
                      <a:lnTo>
                        <a:pt x="625070" y="12702"/>
                      </a:lnTo>
                      <a:lnTo>
                        <a:pt x="627086" y="11572"/>
                      </a:lnTo>
                      <a:lnTo>
                        <a:pt x="630704" y="10662"/>
                      </a:lnTo>
                      <a:lnTo>
                        <a:pt x="645118" y="10346"/>
                      </a:lnTo>
                      <a:lnTo>
                        <a:pt x="649999" y="10686"/>
                      </a:lnTo>
                      <a:lnTo>
                        <a:pt x="653618" y="11548"/>
                      </a:lnTo>
                      <a:lnTo>
                        <a:pt x="657054" y="14329"/>
                      </a:lnTo>
                      <a:lnTo>
                        <a:pt x="659009" y="15507"/>
                      </a:lnTo>
                      <a:lnTo>
                        <a:pt x="662227" y="16405"/>
                      </a:lnTo>
                      <a:lnTo>
                        <a:pt x="664984" y="16320"/>
                      </a:lnTo>
                      <a:lnTo>
                        <a:pt x="683599" y="12289"/>
                      </a:lnTo>
                      <a:lnTo>
                        <a:pt x="685821" y="12617"/>
                      </a:lnTo>
                      <a:lnTo>
                        <a:pt x="686975" y="13722"/>
                      </a:lnTo>
                      <a:lnTo>
                        <a:pt x="687436" y="15677"/>
                      </a:lnTo>
                      <a:lnTo>
                        <a:pt x="688237" y="17838"/>
                      </a:lnTo>
                      <a:lnTo>
                        <a:pt x="689962" y="19295"/>
                      </a:lnTo>
                      <a:lnTo>
                        <a:pt x="694273" y="20679"/>
                      </a:lnTo>
                      <a:lnTo>
                        <a:pt x="696798" y="20765"/>
                      </a:lnTo>
                      <a:lnTo>
                        <a:pt x="698170" y="20242"/>
                      </a:lnTo>
                      <a:lnTo>
                        <a:pt x="698523" y="19162"/>
                      </a:lnTo>
                      <a:lnTo>
                        <a:pt x="698292" y="16514"/>
                      </a:lnTo>
                      <a:lnTo>
                        <a:pt x="698340" y="15251"/>
                      </a:lnTo>
                      <a:lnTo>
                        <a:pt x="699093" y="13697"/>
                      </a:lnTo>
                      <a:lnTo>
                        <a:pt x="700587" y="12228"/>
                      </a:lnTo>
                      <a:lnTo>
                        <a:pt x="703453" y="10941"/>
                      </a:lnTo>
                      <a:lnTo>
                        <a:pt x="705420" y="10625"/>
                      </a:lnTo>
                      <a:lnTo>
                        <a:pt x="707193" y="10831"/>
                      </a:lnTo>
                      <a:lnTo>
                        <a:pt x="708407" y="11572"/>
                      </a:lnTo>
                      <a:lnTo>
                        <a:pt x="710289" y="14365"/>
                      </a:lnTo>
                      <a:lnTo>
                        <a:pt x="711843" y="15567"/>
                      </a:lnTo>
                      <a:lnTo>
                        <a:pt x="715401" y="16514"/>
                      </a:lnTo>
                      <a:lnTo>
                        <a:pt x="718048" y="16284"/>
                      </a:lnTo>
                      <a:lnTo>
                        <a:pt x="720513" y="15397"/>
                      </a:lnTo>
                      <a:lnTo>
                        <a:pt x="722286" y="13952"/>
                      </a:lnTo>
                      <a:lnTo>
                        <a:pt x="725334" y="10431"/>
                      </a:lnTo>
                      <a:lnTo>
                        <a:pt x="726306" y="9654"/>
                      </a:lnTo>
                      <a:lnTo>
                        <a:pt x="727799" y="8877"/>
                      </a:lnTo>
                      <a:lnTo>
                        <a:pt x="736761" y="6666"/>
                      </a:lnTo>
                      <a:lnTo>
                        <a:pt x="739845" y="6302"/>
                      </a:lnTo>
                      <a:moveTo>
                        <a:pt x="741399" y="0"/>
                      </a:moveTo>
                      <a:lnTo>
                        <a:pt x="739129" y="267"/>
                      </a:lnTo>
                      <a:lnTo>
                        <a:pt x="736032" y="631"/>
                      </a:lnTo>
                      <a:lnTo>
                        <a:pt x="735656" y="680"/>
                      </a:lnTo>
                      <a:lnTo>
                        <a:pt x="735291" y="765"/>
                      </a:lnTo>
                      <a:lnTo>
                        <a:pt x="726330" y="2975"/>
                      </a:lnTo>
                      <a:lnTo>
                        <a:pt x="725626" y="3145"/>
                      </a:lnTo>
                      <a:lnTo>
                        <a:pt x="724982" y="3485"/>
                      </a:lnTo>
                      <a:lnTo>
                        <a:pt x="723488" y="4250"/>
                      </a:lnTo>
                      <a:lnTo>
                        <a:pt x="722966" y="4529"/>
                      </a:lnTo>
                      <a:lnTo>
                        <a:pt x="722505" y="4894"/>
                      </a:lnTo>
                      <a:lnTo>
                        <a:pt x="721533" y="5671"/>
                      </a:lnTo>
                      <a:lnTo>
                        <a:pt x="721096" y="6023"/>
                      </a:lnTo>
                      <a:lnTo>
                        <a:pt x="720732" y="6448"/>
                      </a:lnTo>
                      <a:lnTo>
                        <a:pt x="718024" y="9569"/>
                      </a:lnTo>
                      <a:lnTo>
                        <a:pt x="717466" y="10030"/>
                      </a:lnTo>
                      <a:lnTo>
                        <a:pt x="716725" y="10297"/>
                      </a:lnTo>
                      <a:lnTo>
                        <a:pt x="715923" y="10370"/>
                      </a:lnTo>
                      <a:lnTo>
                        <a:pt x="714685" y="10042"/>
                      </a:lnTo>
                      <a:lnTo>
                        <a:pt x="713422" y="8172"/>
                      </a:lnTo>
                      <a:lnTo>
                        <a:pt x="712681" y="7079"/>
                      </a:lnTo>
                      <a:lnTo>
                        <a:pt x="711552" y="6387"/>
                      </a:lnTo>
                      <a:lnTo>
                        <a:pt x="710338" y="5646"/>
                      </a:lnTo>
                      <a:lnTo>
                        <a:pt x="709208" y="4954"/>
                      </a:lnTo>
                      <a:lnTo>
                        <a:pt x="707885" y="4797"/>
                      </a:lnTo>
                      <a:lnTo>
                        <a:pt x="706112" y="4590"/>
                      </a:lnTo>
                      <a:lnTo>
                        <a:pt x="705274" y="4493"/>
                      </a:lnTo>
                      <a:lnTo>
                        <a:pt x="704448" y="4626"/>
                      </a:lnTo>
                      <a:lnTo>
                        <a:pt x="702481" y="4942"/>
                      </a:lnTo>
                      <a:lnTo>
                        <a:pt x="701692" y="5064"/>
                      </a:lnTo>
                      <a:lnTo>
                        <a:pt x="700951" y="5391"/>
                      </a:lnTo>
                      <a:lnTo>
                        <a:pt x="698085" y="6679"/>
                      </a:lnTo>
                      <a:lnTo>
                        <a:pt x="697102" y="7128"/>
                      </a:lnTo>
                      <a:lnTo>
                        <a:pt x="696337" y="7881"/>
                      </a:lnTo>
                      <a:lnTo>
                        <a:pt x="694843" y="9350"/>
                      </a:lnTo>
                      <a:lnTo>
                        <a:pt x="694090" y="10091"/>
                      </a:lnTo>
                      <a:lnTo>
                        <a:pt x="693629" y="11038"/>
                      </a:lnTo>
                      <a:lnTo>
                        <a:pt x="692925" y="12483"/>
                      </a:lnTo>
                      <a:lnTo>
                        <a:pt x="692888" y="12325"/>
                      </a:lnTo>
                      <a:lnTo>
                        <a:pt x="692475" y="10564"/>
                      </a:lnTo>
                      <a:lnTo>
                        <a:pt x="691164" y="9314"/>
                      </a:lnTo>
                      <a:lnTo>
                        <a:pt x="690010" y="8209"/>
                      </a:lnTo>
                      <a:lnTo>
                        <a:pt x="688614" y="6873"/>
                      </a:lnTo>
                      <a:lnTo>
                        <a:pt x="686707" y="6594"/>
                      </a:lnTo>
                      <a:lnTo>
                        <a:pt x="684485" y="6266"/>
                      </a:lnTo>
                      <a:lnTo>
                        <a:pt x="683392" y="6108"/>
                      </a:lnTo>
                      <a:lnTo>
                        <a:pt x="682312" y="6339"/>
                      </a:lnTo>
                      <a:lnTo>
                        <a:pt x="664243" y="10249"/>
                      </a:lnTo>
                      <a:lnTo>
                        <a:pt x="662968" y="10285"/>
                      </a:lnTo>
                      <a:lnTo>
                        <a:pt x="661438" y="9848"/>
                      </a:lnTo>
                      <a:lnTo>
                        <a:pt x="660552" y="9314"/>
                      </a:lnTo>
                      <a:lnTo>
                        <a:pt x="657455" y="6800"/>
                      </a:lnTo>
                      <a:lnTo>
                        <a:pt x="656387" y="5938"/>
                      </a:lnTo>
                      <a:lnTo>
                        <a:pt x="655051" y="5622"/>
                      </a:lnTo>
                      <a:lnTo>
                        <a:pt x="651432" y="4760"/>
                      </a:lnTo>
                      <a:lnTo>
                        <a:pt x="650934" y="4639"/>
                      </a:lnTo>
                      <a:lnTo>
                        <a:pt x="650436" y="4602"/>
                      </a:lnTo>
                      <a:lnTo>
                        <a:pt x="645555" y="4262"/>
                      </a:lnTo>
                      <a:lnTo>
                        <a:pt x="630595" y="4566"/>
                      </a:lnTo>
                      <a:lnTo>
                        <a:pt x="629903" y="4578"/>
                      </a:lnTo>
                      <a:lnTo>
                        <a:pt x="629235" y="4748"/>
                      </a:lnTo>
                      <a:lnTo>
                        <a:pt x="625616" y="5659"/>
                      </a:lnTo>
                      <a:lnTo>
                        <a:pt x="624839" y="5853"/>
                      </a:lnTo>
                      <a:lnTo>
                        <a:pt x="624147" y="6242"/>
                      </a:lnTo>
                      <a:lnTo>
                        <a:pt x="622131" y="7371"/>
                      </a:lnTo>
                      <a:lnTo>
                        <a:pt x="621803" y="7553"/>
                      </a:lnTo>
                      <a:lnTo>
                        <a:pt x="621500" y="7784"/>
                      </a:lnTo>
                      <a:lnTo>
                        <a:pt x="616376" y="11548"/>
                      </a:lnTo>
                      <a:lnTo>
                        <a:pt x="614821" y="12228"/>
                      </a:lnTo>
                      <a:lnTo>
                        <a:pt x="613850" y="12386"/>
                      </a:lnTo>
                      <a:lnTo>
                        <a:pt x="611834" y="11985"/>
                      </a:lnTo>
                      <a:lnTo>
                        <a:pt x="608276" y="10358"/>
                      </a:lnTo>
                      <a:lnTo>
                        <a:pt x="607584" y="10042"/>
                      </a:lnTo>
                      <a:lnTo>
                        <a:pt x="606831" y="9909"/>
                      </a:lnTo>
                      <a:lnTo>
                        <a:pt x="604245" y="9447"/>
                      </a:lnTo>
                      <a:lnTo>
                        <a:pt x="603213" y="9265"/>
                      </a:lnTo>
                      <a:lnTo>
                        <a:pt x="602180" y="9435"/>
                      </a:lnTo>
                      <a:lnTo>
                        <a:pt x="597299" y="10249"/>
                      </a:lnTo>
                      <a:lnTo>
                        <a:pt x="596886" y="10322"/>
                      </a:lnTo>
                      <a:lnTo>
                        <a:pt x="596485" y="10443"/>
                      </a:lnTo>
                      <a:lnTo>
                        <a:pt x="593498" y="11378"/>
                      </a:lnTo>
                      <a:lnTo>
                        <a:pt x="593013" y="11524"/>
                      </a:lnTo>
                      <a:lnTo>
                        <a:pt x="592563" y="11754"/>
                      </a:lnTo>
                      <a:lnTo>
                        <a:pt x="590098" y="13005"/>
                      </a:lnTo>
                      <a:lnTo>
                        <a:pt x="589661" y="13224"/>
                      </a:lnTo>
                      <a:lnTo>
                        <a:pt x="589273" y="13503"/>
                      </a:lnTo>
                      <a:lnTo>
                        <a:pt x="587852" y="14535"/>
                      </a:lnTo>
                      <a:lnTo>
                        <a:pt x="586917" y="14584"/>
                      </a:lnTo>
                      <a:lnTo>
                        <a:pt x="585496" y="14487"/>
                      </a:lnTo>
                      <a:lnTo>
                        <a:pt x="569662" y="10103"/>
                      </a:lnTo>
                      <a:lnTo>
                        <a:pt x="562400" y="5343"/>
                      </a:lnTo>
                      <a:lnTo>
                        <a:pt x="561392" y="4687"/>
                      </a:lnTo>
                      <a:lnTo>
                        <a:pt x="560214" y="4457"/>
                      </a:lnTo>
                      <a:lnTo>
                        <a:pt x="554532" y="3364"/>
                      </a:lnTo>
                      <a:lnTo>
                        <a:pt x="540349" y="644"/>
                      </a:lnTo>
                      <a:lnTo>
                        <a:pt x="546262" y="9557"/>
                      </a:lnTo>
                      <a:lnTo>
                        <a:pt x="535892" y="14426"/>
                      </a:lnTo>
                      <a:lnTo>
                        <a:pt x="534119" y="15264"/>
                      </a:lnTo>
                      <a:lnTo>
                        <a:pt x="533160" y="16988"/>
                      </a:lnTo>
                      <a:lnTo>
                        <a:pt x="530513" y="21760"/>
                      </a:lnTo>
                      <a:lnTo>
                        <a:pt x="530112" y="22477"/>
                      </a:lnTo>
                      <a:lnTo>
                        <a:pt x="529918" y="23278"/>
                      </a:lnTo>
                      <a:lnTo>
                        <a:pt x="528424" y="29495"/>
                      </a:lnTo>
                      <a:lnTo>
                        <a:pt x="528194" y="30467"/>
                      </a:lnTo>
                      <a:lnTo>
                        <a:pt x="528279" y="31462"/>
                      </a:lnTo>
                      <a:lnTo>
                        <a:pt x="528801" y="37157"/>
                      </a:lnTo>
                      <a:lnTo>
                        <a:pt x="529031" y="39622"/>
                      </a:lnTo>
                      <a:lnTo>
                        <a:pt x="530901" y="41225"/>
                      </a:lnTo>
                      <a:lnTo>
                        <a:pt x="532686" y="42755"/>
                      </a:lnTo>
                      <a:lnTo>
                        <a:pt x="532541" y="43047"/>
                      </a:lnTo>
                      <a:lnTo>
                        <a:pt x="532431" y="44140"/>
                      </a:lnTo>
                      <a:lnTo>
                        <a:pt x="532019" y="48135"/>
                      </a:lnTo>
                      <a:lnTo>
                        <a:pt x="531800" y="49215"/>
                      </a:lnTo>
                      <a:lnTo>
                        <a:pt x="531727" y="49616"/>
                      </a:lnTo>
                      <a:lnTo>
                        <a:pt x="531715" y="50029"/>
                      </a:lnTo>
                      <a:lnTo>
                        <a:pt x="531654" y="51522"/>
                      </a:lnTo>
                      <a:lnTo>
                        <a:pt x="531630" y="52142"/>
                      </a:lnTo>
                      <a:lnTo>
                        <a:pt x="531727" y="52761"/>
                      </a:lnTo>
                      <a:lnTo>
                        <a:pt x="531970" y="54255"/>
                      </a:lnTo>
                      <a:lnTo>
                        <a:pt x="532055" y="54801"/>
                      </a:lnTo>
                      <a:lnTo>
                        <a:pt x="532237" y="55311"/>
                      </a:lnTo>
                      <a:lnTo>
                        <a:pt x="532747" y="56744"/>
                      </a:lnTo>
                      <a:lnTo>
                        <a:pt x="533512" y="58905"/>
                      </a:lnTo>
                      <a:lnTo>
                        <a:pt x="535528" y="60023"/>
                      </a:lnTo>
                      <a:lnTo>
                        <a:pt x="539887" y="62439"/>
                      </a:lnTo>
                      <a:lnTo>
                        <a:pt x="540822" y="62949"/>
                      </a:lnTo>
                      <a:lnTo>
                        <a:pt x="541867" y="63119"/>
                      </a:lnTo>
                      <a:lnTo>
                        <a:pt x="547307" y="63993"/>
                      </a:lnTo>
                      <a:lnTo>
                        <a:pt x="545509" y="64613"/>
                      </a:lnTo>
                      <a:lnTo>
                        <a:pt x="544052" y="65123"/>
                      </a:lnTo>
                      <a:lnTo>
                        <a:pt x="543008" y="66264"/>
                      </a:lnTo>
                      <a:lnTo>
                        <a:pt x="540992" y="68474"/>
                      </a:lnTo>
                      <a:lnTo>
                        <a:pt x="540616" y="68899"/>
                      </a:lnTo>
                      <a:lnTo>
                        <a:pt x="540324" y="69385"/>
                      </a:lnTo>
                      <a:lnTo>
                        <a:pt x="539863" y="70126"/>
                      </a:lnTo>
                      <a:lnTo>
                        <a:pt x="539802" y="70126"/>
                      </a:lnTo>
                      <a:lnTo>
                        <a:pt x="536754" y="68850"/>
                      </a:lnTo>
                      <a:lnTo>
                        <a:pt x="535856" y="68474"/>
                      </a:lnTo>
                      <a:lnTo>
                        <a:pt x="534872" y="68401"/>
                      </a:lnTo>
                      <a:lnTo>
                        <a:pt x="531314" y="68134"/>
                      </a:lnTo>
                      <a:lnTo>
                        <a:pt x="530149" y="68049"/>
                      </a:lnTo>
                      <a:lnTo>
                        <a:pt x="529031" y="68401"/>
                      </a:lnTo>
                      <a:lnTo>
                        <a:pt x="525534" y="69494"/>
                      </a:lnTo>
                      <a:lnTo>
                        <a:pt x="524721" y="69749"/>
                      </a:lnTo>
                      <a:lnTo>
                        <a:pt x="524004" y="70223"/>
                      </a:lnTo>
                      <a:lnTo>
                        <a:pt x="512566" y="77751"/>
                      </a:lnTo>
                      <a:lnTo>
                        <a:pt x="511776" y="78261"/>
                      </a:lnTo>
                      <a:lnTo>
                        <a:pt x="511181" y="78990"/>
                      </a:lnTo>
                      <a:lnTo>
                        <a:pt x="508267" y="82584"/>
                      </a:lnTo>
                      <a:lnTo>
                        <a:pt x="506518" y="84733"/>
                      </a:lnTo>
                      <a:lnTo>
                        <a:pt x="507004" y="87466"/>
                      </a:lnTo>
                      <a:lnTo>
                        <a:pt x="507502" y="90295"/>
                      </a:lnTo>
                      <a:lnTo>
                        <a:pt x="505802" y="90890"/>
                      </a:lnTo>
                      <a:lnTo>
                        <a:pt x="505426" y="91023"/>
                      </a:lnTo>
                      <a:lnTo>
                        <a:pt x="505073" y="91206"/>
                      </a:lnTo>
                      <a:lnTo>
                        <a:pt x="498638" y="94448"/>
                      </a:lnTo>
                      <a:lnTo>
                        <a:pt x="496343" y="95055"/>
                      </a:lnTo>
                      <a:lnTo>
                        <a:pt x="473417" y="93306"/>
                      </a:lnTo>
                      <a:lnTo>
                        <a:pt x="468365" y="90854"/>
                      </a:lnTo>
                      <a:lnTo>
                        <a:pt x="466665" y="89299"/>
                      </a:lnTo>
                      <a:lnTo>
                        <a:pt x="466228" y="88401"/>
                      </a:lnTo>
                      <a:lnTo>
                        <a:pt x="465427" y="81491"/>
                      </a:lnTo>
                      <a:lnTo>
                        <a:pt x="465378" y="81054"/>
                      </a:lnTo>
                      <a:lnTo>
                        <a:pt x="465269" y="80629"/>
                      </a:lnTo>
                      <a:lnTo>
                        <a:pt x="463945" y="75638"/>
                      </a:lnTo>
                      <a:lnTo>
                        <a:pt x="465257" y="74801"/>
                      </a:lnTo>
                      <a:lnTo>
                        <a:pt x="466544" y="73975"/>
                      </a:lnTo>
                      <a:lnTo>
                        <a:pt x="467285" y="72651"/>
                      </a:lnTo>
                      <a:lnTo>
                        <a:pt x="468426" y="70611"/>
                      </a:lnTo>
                      <a:lnTo>
                        <a:pt x="469956" y="67867"/>
                      </a:lnTo>
                      <a:lnTo>
                        <a:pt x="468596" y="65026"/>
                      </a:lnTo>
                      <a:lnTo>
                        <a:pt x="466301" y="60241"/>
                      </a:lnTo>
                      <a:lnTo>
                        <a:pt x="464686" y="56878"/>
                      </a:lnTo>
                      <a:lnTo>
                        <a:pt x="460946" y="56805"/>
                      </a:lnTo>
                      <a:lnTo>
                        <a:pt x="453029" y="56647"/>
                      </a:lnTo>
                      <a:lnTo>
                        <a:pt x="452264" y="56635"/>
                      </a:lnTo>
                      <a:lnTo>
                        <a:pt x="451523" y="56805"/>
                      </a:lnTo>
                      <a:lnTo>
                        <a:pt x="431936" y="61383"/>
                      </a:lnTo>
                      <a:lnTo>
                        <a:pt x="430819" y="61638"/>
                      </a:lnTo>
                      <a:lnTo>
                        <a:pt x="429872" y="62281"/>
                      </a:lnTo>
                      <a:lnTo>
                        <a:pt x="421955" y="67721"/>
                      </a:lnTo>
                      <a:lnTo>
                        <a:pt x="420194" y="68365"/>
                      </a:lnTo>
                      <a:lnTo>
                        <a:pt x="410868" y="68887"/>
                      </a:lnTo>
                      <a:lnTo>
                        <a:pt x="409739" y="68948"/>
                      </a:lnTo>
                      <a:lnTo>
                        <a:pt x="408719" y="69421"/>
                      </a:lnTo>
                      <a:lnTo>
                        <a:pt x="405040" y="71085"/>
                      </a:lnTo>
                      <a:lnTo>
                        <a:pt x="404506" y="71328"/>
                      </a:lnTo>
                      <a:lnTo>
                        <a:pt x="404020" y="71668"/>
                      </a:lnTo>
                      <a:lnTo>
                        <a:pt x="398228" y="75784"/>
                      </a:lnTo>
                      <a:lnTo>
                        <a:pt x="396176" y="76209"/>
                      </a:lnTo>
                      <a:lnTo>
                        <a:pt x="392775" y="76403"/>
                      </a:lnTo>
                      <a:lnTo>
                        <a:pt x="391986" y="76440"/>
                      </a:lnTo>
                      <a:lnTo>
                        <a:pt x="391233" y="76695"/>
                      </a:lnTo>
                      <a:lnTo>
                        <a:pt x="381106" y="80010"/>
                      </a:lnTo>
                      <a:lnTo>
                        <a:pt x="375253" y="80520"/>
                      </a:lnTo>
                      <a:lnTo>
                        <a:pt x="373966" y="80629"/>
                      </a:lnTo>
                      <a:lnTo>
                        <a:pt x="372837" y="81249"/>
                      </a:lnTo>
                      <a:lnTo>
                        <a:pt x="370602" y="82487"/>
                      </a:lnTo>
                      <a:lnTo>
                        <a:pt x="369194" y="83264"/>
                      </a:lnTo>
                      <a:lnTo>
                        <a:pt x="368356" y="84649"/>
                      </a:lnTo>
                      <a:lnTo>
                        <a:pt x="366401" y="87866"/>
                      </a:lnTo>
                      <a:lnTo>
                        <a:pt x="366097" y="88376"/>
                      </a:lnTo>
                      <a:lnTo>
                        <a:pt x="365891" y="88923"/>
                      </a:lnTo>
                      <a:lnTo>
                        <a:pt x="361520" y="100823"/>
                      </a:lnTo>
                      <a:lnTo>
                        <a:pt x="360257" y="103057"/>
                      </a:lnTo>
                      <a:lnTo>
                        <a:pt x="355485" y="106967"/>
                      </a:lnTo>
                      <a:lnTo>
                        <a:pt x="349304" y="108279"/>
                      </a:lnTo>
                      <a:lnTo>
                        <a:pt x="312159" y="108789"/>
                      </a:lnTo>
                      <a:lnTo>
                        <a:pt x="303416" y="107781"/>
                      </a:lnTo>
                      <a:lnTo>
                        <a:pt x="297041" y="104672"/>
                      </a:lnTo>
                      <a:lnTo>
                        <a:pt x="283088" y="90343"/>
                      </a:lnTo>
                      <a:lnTo>
                        <a:pt x="282275" y="89518"/>
                      </a:lnTo>
                      <a:lnTo>
                        <a:pt x="281218" y="89044"/>
                      </a:lnTo>
                      <a:lnTo>
                        <a:pt x="275766" y="86603"/>
                      </a:lnTo>
                      <a:lnTo>
                        <a:pt x="274661" y="86106"/>
                      </a:lnTo>
                      <a:lnTo>
                        <a:pt x="273447" y="86069"/>
                      </a:lnTo>
                      <a:lnTo>
                        <a:pt x="220491" y="84697"/>
                      </a:lnTo>
                      <a:lnTo>
                        <a:pt x="219362" y="84673"/>
                      </a:lnTo>
                      <a:lnTo>
                        <a:pt x="218294" y="85049"/>
                      </a:lnTo>
                      <a:lnTo>
                        <a:pt x="204839" y="89846"/>
                      </a:lnTo>
                      <a:lnTo>
                        <a:pt x="199059" y="90696"/>
                      </a:lnTo>
                      <a:lnTo>
                        <a:pt x="197371" y="90368"/>
                      </a:lnTo>
                      <a:lnTo>
                        <a:pt x="187511" y="85669"/>
                      </a:lnTo>
                      <a:lnTo>
                        <a:pt x="187074" y="85462"/>
                      </a:lnTo>
                      <a:lnTo>
                        <a:pt x="186613" y="85329"/>
                      </a:lnTo>
                      <a:lnTo>
                        <a:pt x="182083" y="84005"/>
                      </a:lnTo>
                      <a:lnTo>
                        <a:pt x="180699" y="83604"/>
                      </a:lnTo>
                      <a:lnTo>
                        <a:pt x="179266" y="83859"/>
                      </a:lnTo>
                      <a:lnTo>
                        <a:pt x="175648" y="84527"/>
                      </a:lnTo>
                      <a:lnTo>
                        <a:pt x="174725" y="84697"/>
                      </a:lnTo>
                      <a:lnTo>
                        <a:pt x="173887" y="85146"/>
                      </a:lnTo>
                      <a:lnTo>
                        <a:pt x="166650" y="89032"/>
                      </a:lnTo>
                      <a:lnTo>
                        <a:pt x="163371" y="90210"/>
                      </a:lnTo>
                      <a:lnTo>
                        <a:pt x="162922" y="89749"/>
                      </a:lnTo>
                      <a:lnTo>
                        <a:pt x="159704" y="84078"/>
                      </a:lnTo>
                      <a:lnTo>
                        <a:pt x="159425" y="83568"/>
                      </a:lnTo>
                      <a:lnTo>
                        <a:pt x="159048" y="83118"/>
                      </a:lnTo>
                      <a:lnTo>
                        <a:pt x="157664" y="81503"/>
                      </a:lnTo>
                      <a:lnTo>
                        <a:pt x="157287" y="81066"/>
                      </a:lnTo>
                      <a:lnTo>
                        <a:pt x="156838" y="80714"/>
                      </a:lnTo>
                      <a:lnTo>
                        <a:pt x="155175" y="79378"/>
                      </a:lnTo>
                      <a:lnTo>
                        <a:pt x="154482" y="78820"/>
                      </a:lnTo>
                      <a:lnTo>
                        <a:pt x="153657" y="78480"/>
                      </a:lnTo>
                      <a:lnTo>
                        <a:pt x="151993" y="77812"/>
                      </a:lnTo>
                      <a:lnTo>
                        <a:pt x="150645" y="77278"/>
                      </a:lnTo>
                      <a:lnTo>
                        <a:pt x="149188" y="77399"/>
                      </a:lnTo>
                      <a:lnTo>
                        <a:pt x="146541" y="77630"/>
                      </a:lnTo>
                      <a:lnTo>
                        <a:pt x="144040" y="77849"/>
                      </a:lnTo>
                      <a:lnTo>
                        <a:pt x="142425" y="79767"/>
                      </a:lnTo>
                      <a:lnTo>
                        <a:pt x="141453" y="80921"/>
                      </a:lnTo>
                      <a:lnTo>
                        <a:pt x="140470" y="82098"/>
                      </a:lnTo>
                      <a:lnTo>
                        <a:pt x="140154" y="83592"/>
                      </a:lnTo>
                      <a:lnTo>
                        <a:pt x="139899" y="84831"/>
                      </a:lnTo>
                      <a:lnTo>
                        <a:pt x="139644" y="85583"/>
                      </a:lnTo>
                      <a:lnTo>
                        <a:pt x="138915" y="86883"/>
                      </a:lnTo>
                      <a:lnTo>
                        <a:pt x="138757" y="85292"/>
                      </a:lnTo>
                      <a:lnTo>
                        <a:pt x="138624" y="83798"/>
                      </a:lnTo>
                      <a:lnTo>
                        <a:pt x="137798" y="82536"/>
                      </a:lnTo>
                      <a:lnTo>
                        <a:pt x="135102" y="78431"/>
                      </a:lnTo>
                      <a:lnTo>
                        <a:pt x="133390" y="75833"/>
                      </a:lnTo>
                      <a:lnTo>
                        <a:pt x="130282" y="75699"/>
                      </a:lnTo>
                      <a:lnTo>
                        <a:pt x="120519" y="75262"/>
                      </a:lnTo>
                      <a:lnTo>
                        <a:pt x="116511" y="75080"/>
                      </a:lnTo>
                      <a:lnTo>
                        <a:pt x="114775" y="78686"/>
                      </a:lnTo>
                      <a:lnTo>
                        <a:pt x="110756" y="87041"/>
                      </a:lnTo>
                      <a:lnTo>
                        <a:pt x="110161" y="88279"/>
                      </a:lnTo>
                      <a:lnTo>
                        <a:pt x="110161" y="89651"/>
                      </a:lnTo>
                      <a:lnTo>
                        <a:pt x="110100" y="105619"/>
                      </a:lnTo>
                      <a:lnTo>
                        <a:pt x="110015" y="126505"/>
                      </a:lnTo>
                      <a:lnTo>
                        <a:pt x="109894" y="147998"/>
                      </a:lnTo>
                      <a:lnTo>
                        <a:pt x="101381" y="147937"/>
                      </a:lnTo>
                      <a:lnTo>
                        <a:pt x="82888" y="147816"/>
                      </a:lnTo>
                      <a:lnTo>
                        <a:pt x="61067" y="147658"/>
                      </a:lnTo>
                      <a:lnTo>
                        <a:pt x="60581" y="147658"/>
                      </a:lnTo>
                      <a:lnTo>
                        <a:pt x="60095" y="147731"/>
                      </a:lnTo>
                      <a:lnTo>
                        <a:pt x="51425" y="149067"/>
                      </a:lnTo>
                      <a:lnTo>
                        <a:pt x="50017" y="149285"/>
                      </a:lnTo>
                      <a:lnTo>
                        <a:pt x="49543" y="149613"/>
                      </a:lnTo>
                      <a:lnTo>
                        <a:pt x="48790" y="149127"/>
                      </a:lnTo>
                      <a:lnTo>
                        <a:pt x="47576" y="148350"/>
                      </a:lnTo>
                      <a:lnTo>
                        <a:pt x="45609" y="147087"/>
                      </a:lnTo>
                      <a:lnTo>
                        <a:pt x="43302" y="147476"/>
                      </a:lnTo>
                      <a:lnTo>
                        <a:pt x="41067" y="147853"/>
                      </a:lnTo>
                      <a:lnTo>
                        <a:pt x="36307" y="148642"/>
                      </a:lnTo>
                      <a:lnTo>
                        <a:pt x="36004" y="153450"/>
                      </a:lnTo>
                      <a:lnTo>
                        <a:pt x="35895" y="155150"/>
                      </a:lnTo>
                      <a:lnTo>
                        <a:pt x="35882" y="155405"/>
                      </a:lnTo>
                      <a:lnTo>
                        <a:pt x="33879" y="152977"/>
                      </a:lnTo>
                      <a:lnTo>
                        <a:pt x="30394" y="153596"/>
                      </a:lnTo>
                      <a:lnTo>
                        <a:pt x="28487" y="153936"/>
                      </a:lnTo>
                      <a:lnTo>
                        <a:pt x="26945" y="154203"/>
                      </a:lnTo>
                      <a:lnTo>
                        <a:pt x="25731" y="155199"/>
                      </a:lnTo>
                      <a:lnTo>
                        <a:pt x="24067" y="156547"/>
                      </a:lnTo>
                      <a:lnTo>
                        <a:pt x="22489" y="157822"/>
                      </a:lnTo>
                      <a:lnTo>
                        <a:pt x="21991" y="159789"/>
                      </a:lnTo>
                      <a:lnTo>
                        <a:pt x="21542" y="161598"/>
                      </a:lnTo>
                      <a:lnTo>
                        <a:pt x="21323" y="162497"/>
                      </a:lnTo>
                      <a:lnTo>
                        <a:pt x="21372" y="163420"/>
                      </a:lnTo>
                      <a:lnTo>
                        <a:pt x="21372" y="163553"/>
                      </a:lnTo>
                      <a:lnTo>
                        <a:pt x="20934" y="163820"/>
                      </a:lnTo>
                      <a:lnTo>
                        <a:pt x="17959" y="165132"/>
                      </a:lnTo>
                      <a:lnTo>
                        <a:pt x="17534" y="165314"/>
                      </a:lnTo>
                      <a:lnTo>
                        <a:pt x="17146" y="165569"/>
                      </a:lnTo>
                      <a:lnTo>
                        <a:pt x="15652" y="166516"/>
                      </a:lnTo>
                      <a:lnTo>
                        <a:pt x="14559" y="167208"/>
                      </a:lnTo>
                      <a:lnTo>
                        <a:pt x="13843" y="168289"/>
                      </a:lnTo>
                      <a:lnTo>
                        <a:pt x="9423" y="174980"/>
                      </a:lnTo>
                      <a:lnTo>
                        <a:pt x="9241" y="175259"/>
                      </a:lnTo>
                      <a:lnTo>
                        <a:pt x="9107" y="175563"/>
                      </a:lnTo>
                      <a:lnTo>
                        <a:pt x="8561" y="176643"/>
                      </a:lnTo>
                      <a:lnTo>
                        <a:pt x="8342" y="178088"/>
                      </a:lnTo>
                      <a:lnTo>
                        <a:pt x="8306" y="178647"/>
                      </a:lnTo>
                      <a:lnTo>
                        <a:pt x="7990" y="179618"/>
                      </a:lnTo>
                      <a:lnTo>
                        <a:pt x="7820" y="180141"/>
                      </a:lnTo>
                      <a:lnTo>
                        <a:pt x="7759" y="180675"/>
                      </a:lnTo>
                      <a:lnTo>
                        <a:pt x="7091" y="185799"/>
                      </a:lnTo>
                      <a:lnTo>
                        <a:pt x="5501" y="190134"/>
                      </a:lnTo>
                      <a:lnTo>
                        <a:pt x="5270" y="190741"/>
                      </a:lnTo>
                      <a:lnTo>
                        <a:pt x="5185" y="191397"/>
                      </a:lnTo>
                      <a:lnTo>
                        <a:pt x="4760" y="194469"/>
                      </a:lnTo>
                      <a:lnTo>
                        <a:pt x="4541" y="196048"/>
                      </a:lnTo>
                      <a:lnTo>
                        <a:pt x="5136" y="197541"/>
                      </a:lnTo>
                      <a:lnTo>
                        <a:pt x="5950" y="199581"/>
                      </a:lnTo>
                      <a:lnTo>
                        <a:pt x="8804" y="206758"/>
                      </a:lnTo>
                      <a:lnTo>
                        <a:pt x="11099" y="205118"/>
                      </a:lnTo>
                      <a:lnTo>
                        <a:pt x="11147" y="205701"/>
                      </a:lnTo>
                      <a:lnTo>
                        <a:pt x="11852" y="206916"/>
                      </a:lnTo>
                      <a:lnTo>
                        <a:pt x="13600" y="209927"/>
                      </a:lnTo>
                      <a:lnTo>
                        <a:pt x="11718" y="210947"/>
                      </a:lnTo>
                      <a:lnTo>
                        <a:pt x="10224" y="211761"/>
                      </a:lnTo>
                      <a:lnTo>
                        <a:pt x="9374" y="213242"/>
                      </a:lnTo>
                      <a:lnTo>
                        <a:pt x="8913" y="214044"/>
                      </a:lnTo>
                      <a:lnTo>
                        <a:pt x="8901" y="214080"/>
                      </a:lnTo>
                      <a:lnTo>
                        <a:pt x="8427" y="214056"/>
                      </a:lnTo>
                      <a:lnTo>
                        <a:pt x="7553" y="214274"/>
                      </a:lnTo>
                      <a:lnTo>
                        <a:pt x="6764" y="214469"/>
                      </a:lnTo>
                      <a:lnTo>
                        <a:pt x="3485" y="215270"/>
                      </a:lnTo>
                      <a:lnTo>
                        <a:pt x="2429" y="218476"/>
                      </a:lnTo>
                      <a:lnTo>
                        <a:pt x="1226" y="222179"/>
                      </a:lnTo>
                      <a:lnTo>
                        <a:pt x="0" y="225919"/>
                      </a:lnTo>
                      <a:lnTo>
                        <a:pt x="2902" y="228554"/>
                      </a:lnTo>
                      <a:lnTo>
                        <a:pt x="5489" y="230910"/>
                      </a:lnTo>
                      <a:lnTo>
                        <a:pt x="6521" y="231857"/>
                      </a:lnTo>
                      <a:lnTo>
                        <a:pt x="7869" y="232246"/>
                      </a:lnTo>
                      <a:lnTo>
                        <a:pt x="12398" y="233569"/>
                      </a:lnTo>
                      <a:lnTo>
                        <a:pt x="12847" y="233703"/>
                      </a:lnTo>
                      <a:lnTo>
                        <a:pt x="13321" y="233764"/>
                      </a:lnTo>
                      <a:lnTo>
                        <a:pt x="22574" y="234966"/>
                      </a:lnTo>
                      <a:lnTo>
                        <a:pt x="23084" y="235039"/>
                      </a:lnTo>
                      <a:lnTo>
                        <a:pt x="23594" y="235014"/>
                      </a:lnTo>
                      <a:lnTo>
                        <a:pt x="35045" y="234565"/>
                      </a:lnTo>
                      <a:lnTo>
                        <a:pt x="36623" y="234723"/>
                      </a:lnTo>
                      <a:lnTo>
                        <a:pt x="37777" y="235100"/>
                      </a:lnTo>
                      <a:lnTo>
                        <a:pt x="38942" y="235476"/>
                      </a:lnTo>
                      <a:lnTo>
                        <a:pt x="40157" y="235367"/>
                      </a:lnTo>
                      <a:lnTo>
                        <a:pt x="41942" y="235221"/>
                      </a:lnTo>
                      <a:lnTo>
                        <a:pt x="43569" y="235087"/>
                      </a:lnTo>
                      <a:lnTo>
                        <a:pt x="44905" y="234152"/>
                      </a:lnTo>
                      <a:lnTo>
                        <a:pt x="47661" y="232234"/>
                      </a:lnTo>
                      <a:lnTo>
                        <a:pt x="48147" y="231894"/>
                      </a:lnTo>
                      <a:lnTo>
                        <a:pt x="48560" y="231469"/>
                      </a:lnTo>
                      <a:lnTo>
                        <a:pt x="49883" y="230109"/>
                      </a:lnTo>
                      <a:lnTo>
                        <a:pt x="50223" y="229757"/>
                      </a:lnTo>
                      <a:lnTo>
                        <a:pt x="51012" y="236727"/>
                      </a:lnTo>
                      <a:lnTo>
                        <a:pt x="50235" y="243976"/>
                      </a:lnTo>
                      <a:lnTo>
                        <a:pt x="50077" y="245385"/>
                      </a:lnTo>
                      <a:lnTo>
                        <a:pt x="50575" y="246720"/>
                      </a:lnTo>
                      <a:lnTo>
                        <a:pt x="51595" y="249501"/>
                      </a:lnTo>
                      <a:lnTo>
                        <a:pt x="52955" y="253205"/>
                      </a:lnTo>
                      <a:lnTo>
                        <a:pt x="54570" y="253314"/>
                      </a:lnTo>
                      <a:lnTo>
                        <a:pt x="53963" y="254710"/>
                      </a:lnTo>
                      <a:lnTo>
                        <a:pt x="52530" y="257989"/>
                      </a:lnTo>
                      <a:lnTo>
                        <a:pt x="54716" y="260818"/>
                      </a:lnTo>
                      <a:lnTo>
                        <a:pt x="56100" y="262628"/>
                      </a:lnTo>
                      <a:lnTo>
                        <a:pt x="57363" y="264291"/>
                      </a:lnTo>
                      <a:lnTo>
                        <a:pt x="59391" y="264813"/>
                      </a:lnTo>
                      <a:lnTo>
                        <a:pt x="60678" y="265153"/>
                      </a:lnTo>
                      <a:lnTo>
                        <a:pt x="61055" y="266283"/>
                      </a:lnTo>
                      <a:lnTo>
                        <a:pt x="61990" y="269136"/>
                      </a:lnTo>
                      <a:lnTo>
                        <a:pt x="64819" y="270120"/>
                      </a:lnTo>
                      <a:lnTo>
                        <a:pt x="67235" y="270958"/>
                      </a:lnTo>
                      <a:lnTo>
                        <a:pt x="69142" y="271625"/>
                      </a:lnTo>
                      <a:lnTo>
                        <a:pt x="70599" y="271164"/>
                      </a:lnTo>
                      <a:lnTo>
                        <a:pt x="70708" y="271796"/>
                      </a:lnTo>
                      <a:lnTo>
                        <a:pt x="70927" y="273058"/>
                      </a:lnTo>
                      <a:lnTo>
                        <a:pt x="71655" y="274127"/>
                      </a:lnTo>
                      <a:lnTo>
                        <a:pt x="72700" y="275669"/>
                      </a:lnTo>
                      <a:lnTo>
                        <a:pt x="73295" y="276556"/>
                      </a:lnTo>
                      <a:lnTo>
                        <a:pt x="74157" y="277187"/>
                      </a:lnTo>
                      <a:lnTo>
                        <a:pt x="75821" y="278401"/>
                      </a:lnTo>
                      <a:lnTo>
                        <a:pt x="76100" y="278596"/>
                      </a:lnTo>
                      <a:lnTo>
                        <a:pt x="76391" y="278765"/>
                      </a:lnTo>
                      <a:lnTo>
                        <a:pt x="78516" y="279968"/>
                      </a:lnTo>
                      <a:lnTo>
                        <a:pt x="79609" y="280587"/>
                      </a:lnTo>
                      <a:lnTo>
                        <a:pt x="76088" y="287545"/>
                      </a:lnTo>
                      <a:lnTo>
                        <a:pt x="74606" y="290471"/>
                      </a:lnTo>
                      <a:lnTo>
                        <a:pt x="76246" y="293313"/>
                      </a:lnTo>
                      <a:lnTo>
                        <a:pt x="78358" y="296992"/>
                      </a:lnTo>
                      <a:lnTo>
                        <a:pt x="79755" y="299421"/>
                      </a:lnTo>
                      <a:lnTo>
                        <a:pt x="82523" y="299931"/>
                      </a:lnTo>
                      <a:lnTo>
                        <a:pt x="86251" y="300623"/>
                      </a:lnTo>
                      <a:lnTo>
                        <a:pt x="86725" y="302396"/>
                      </a:lnTo>
                      <a:lnTo>
                        <a:pt x="86858" y="302930"/>
                      </a:lnTo>
                      <a:lnTo>
                        <a:pt x="87101" y="303428"/>
                      </a:lnTo>
                      <a:lnTo>
                        <a:pt x="88813" y="307046"/>
                      </a:lnTo>
                      <a:lnTo>
                        <a:pt x="89153" y="307751"/>
                      </a:lnTo>
                      <a:lnTo>
                        <a:pt x="89651" y="308346"/>
                      </a:lnTo>
                      <a:lnTo>
                        <a:pt x="92177" y="311357"/>
                      </a:lnTo>
                      <a:lnTo>
                        <a:pt x="93136" y="312499"/>
                      </a:lnTo>
                      <a:lnTo>
                        <a:pt x="94508" y="313069"/>
                      </a:lnTo>
                      <a:lnTo>
                        <a:pt x="95953" y="313664"/>
                      </a:lnTo>
                      <a:lnTo>
                        <a:pt x="95844" y="315364"/>
                      </a:lnTo>
                      <a:lnTo>
                        <a:pt x="97447" y="317246"/>
                      </a:lnTo>
                      <a:lnTo>
                        <a:pt x="98151" y="318072"/>
                      </a:lnTo>
                      <a:lnTo>
                        <a:pt x="98795" y="318825"/>
                      </a:lnTo>
                      <a:lnTo>
                        <a:pt x="99657" y="319335"/>
                      </a:lnTo>
                      <a:lnTo>
                        <a:pt x="100471" y="319821"/>
                      </a:lnTo>
                      <a:lnTo>
                        <a:pt x="105850" y="324216"/>
                      </a:lnTo>
                      <a:lnTo>
                        <a:pt x="139170" y="346450"/>
                      </a:lnTo>
                      <a:lnTo>
                        <a:pt x="139656" y="346766"/>
                      </a:lnTo>
                      <a:lnTo>
                        <a:pt x="140178" y="346997"/>
                      </a:lnTo>
                      <a:lnTo>
                        <a:pt x="172187" y="360475"/>
                      </a:lnTo>
                      <a:lnTo>
                        <a:pt x="189600" y="372375"/>
                      </a:lnTo>
                      <a:lnTo>
                        <a:pt x="202459" y="379783"/>
                      </a:lnTo>
                      <a:lnTo>
                        <a:pt x="203079" y="380135"/>
                      </a:lnTo>
                      <a:lnTo>
                        <a:pt x="203759" y="380341"/>
                      </a:lnTo>
                      <a:lnTo>
                        <a:pt x="210644" y="382381"/>
                      </a:lnTo>
                      <a:lnTo>
                        <a:pt x="211214" y="382551"/>
                      </a:lnTo>
                      <a:lnTo>
                        <a:pt x="211797" y="382612"/>
                      </a:lnTo>
                      <a:lnTo>
                        <a:pt x="229502" y="384263"/>
                      </a:lnTo>
                      <a:lnTo>
                        <a:pt x="235063" y="386668"/>
                      </a:lnTo>
                      <a:lnTo>
                        <a:pt x="235755" y="386971"/>
                      </a:lnTo>
                      <a:lnTo>
                        <a:pt x="236496" y="387093"/>
                      </a:lnTo>
                      <a:lnTo>
                        <a:pt x="241802" y="387967"/>
                      </a:lnTo>
                      <a:lnTo>
                        <a:pt x="244522" y="389376"/>
                      </a:lnTo>
                      <a:lnTo>
                        <a:pt x="245251" y="389752"/>
                      </a:lnTo>
                      <a:lnTo>
                        <a:pt x="246052" y="389922"/>
                      </a:lnTo>
                      <a:lnTo>
                        <a:pt x="254042" y="391634"/>
                      </a:lnTo>
                      <a:lnTo>
                        <a:pt x="254625" y="392059"/>
                      </a:lnTo>
                      <a:lnTo>
                        <a:pt x="254880" y="392253"/>
                      </a:lnTo>
                      <a:lnTo>
                        <a:pt x="255160" y="392411"/>
                      </a:lnTo>
                      <a:lnTo>
                        <a:pt x="256410" y="393128"/>
                      </a:lnTo>
                      <a:lnTo>
                        <a:pt x="256993" y="393468"/>
                      </a:lnTo>
                      <a:lnTo>
                        <a:pt x="257649" y="393662"/>
                      </a:lnTo>
                      <a:lnTo>
                        <a:pt x="259665" y="394269"/>
                      </a:lnTo>
                      <a:lnTo>
                        <a:pt x="260187" y="394427"/>
                      </a:lnTo>
                      <a:lnTo>
                        <a:pt x="260733" y="394488"/>
                      </a:lnTo>
                      <a:lnTo>
                        <a:pt x="262737" y="394718"/>
                      </a:lnTo>
                      <a:lnTo>
                        <a:pt x="263198" y="394767"/>
                      </a:lnTo>
                      <a:lnTo>
                        <a:pt x="263660" y="394755"/>
                      </a:lnTo>
                      <a:lnTo>
                        <a:pt x="269075" y="394560"/>
                      </a:lnTo>
                      <a:lnTo>
                        <a:pt x="269318" y="394621"/>
                      </a:lnTo>
                      <a:lnTo>
                        <a:pt x="271808" y="396625"/>
                      </a:lnTo>
                      <a:lnTo>
                        <a:pt x="272706" y="397341"/>
                      </a:lnTo>
                      <a:lnTo>
                        <a:pt x="273799" y="397681"/>
                      </a:lnTo>
                      <a:lnTo>
                        <a:pt x="275693" y="398288"/>
                      </a:lnTo>
                      <a:lnTo>
                        <a:pt x="276555" y="398556"/>
                      </a:lnTo>
                      <a:lnTo>
                        <a:pt x="277454" y="398568"/>
                      </a:lnTo>
                      <a:lnTo>
                        <a:pt x="289391" y="398701"/>
                      </a:lnTo>
                      <a:lnTo>
                        <a:pt x="296203" y="400620"/>
                      </a:lnTo>
                      <a:lnTo>
                        <a:pt x="296591" y="400729"/>
                      </a:lnTo>
                      <a:lnTo>
                        <a:pt x="296992" y="400790"/>
                      </a:lnTo>
                      <a:lnTo>
                        <a:pt x="301072" y="401373"/>
                      </a:lnTo>
                      <a:lnTo>
                        <a:pt x="303355" y="401701"/>
                      </a:lnTo>
                      <a:lnTo>
                        <a:pt x="305273" y="400438"/>
                      </a:lnTo>
                      <a:lnTo>
                        <a:pt x="307678" y="398847"/>
                      </a:lnTo>
                      <a:lnTo>
                        <a:pt x="308929" y="398021"/>
                      </a:lnTo>
                      <a:lnTo>
                        <a:pt x="309645" y="396722"/>
                      </a:lnTo>
                      <a:lnTo>
                        <a:pt x="315097" y="386898"/>
                      </a:lnTo>
                      <a:lnTo>
                        <a:pt x="317914" y="384093"/>
                      </a:lnTo>
                      <a:lnTo>
                        <a:pt x="322152" y="381106"/>
                      </a:lnTo>
                      <a:lnTo>
                        <a:pt x="326159" y="378993"/>
                      </a:lnTo>
                      <a:lnTo>
                        <a:pt x="328819" y="378265"/>
                      </a:lnTo>
                      <a:lnTo>
                        <a:pt x="334356" y="377488"/>
                      </a:lnTo>
                      <a:lnTo>
                        <a:pt x="334927" y="377403"/>
                      </a:lnTo>
                      <a:lnTo>
                        <a:pt x="335473" y="377220"/>
                      </a:lnTo>
                      <a:lnTo>
                        <a:pt x="345503" y="373784"/>
                      </a:lnTo>
                      <a:lnTo>
                        <a:pt x="355509" y="372351"/>
                      </a:lnTo>
                      <a:lnTo>
                        <a:pt x="356213" y="372254"/>
                      </a:lnTo>
                      <a:lnTo>
                        <a:pt x="356881" y="371987"/>
                      </a:lnTo>
                      <a:lnTo>
                        <a:pt x="368344" y="367445"/>
                      </a:lnTo>
                      <a:lnTo>
                        <a:pt x="378471" y="366183"/>
                      </a:lnTo>
                      <a:lnTo>
                        <a:pt x="379078" y="366110"/>
                      </a:lnTo>
                      <a:lnTo>
                        <a:pt x="379661" y="365915"/>
                      </a:lnTo>
                      <a:lnTo>
                        <a:pt x="382551" y="364944"/>
                      </a:lnTo>
                      <a:lnTo>
                        <a:pt x="387943" y="363135"/>
                      </a:lnTo>
                      <a:lnTo>
                        <a:pt x="387493" y="361447"/>
                      </a:lnTo>
                      <a:lnTo>
                        <a:pt x="388793" y="361398"/>
                      </a:lnTo>
                      <a:lnTo>
                        <a:pt x="389679" y="360743"/>
                      </a:lnTo>
                      <a:lnTo>
                        <a:pt x="393285" y="360864"/>
                      </a:lnTo>
                      <a:lnTo>
                        <a:pt x="394597" y="360912"/>
                      </a:lnTo>
                      <a:lnTo>
                        <a:pt x="395823" y="360415"/>
                      </a:lnTo>
                      <a:lnTo>
                        <a:pt x="399151" y="359042"/>
                      </a:lnTo>
                      <a:lnTo>
                        <a:pt x="401008" y="358277"/>
                      </a:lnTo>
                      <a:lnTo>
                        <a:pt x="401288" y="357804"/>
                      </a:lnTo>
                      <a:lnTo>
                        <a:pt x="402126" y="358909"/>
                      </a:lnTo>
                      <a:lnTo>
                        <a:pt x="404153" y="359431"/>
                      </a:lnTo>
                      <a:lnTo>
                        <a:pt x="406509" y="360038"/>
                      </a:lnTo>
                      <a:lnTo>
                        <a:pt x="406703" y="360403"/>
                      </a:lnTo>
                      <a:lnTo>
                        <a:pt x="409071" y="364992"/>
                      </a:lnTo>
                      <a:lnTo>
                        <a:pt x="413989" y="363377"/>
                      </a:lnTo>
                      <a:lnTo>
                        <a:pt x="414961" y="363062"/>
                      </a:lnTo>
                      <a:lnTo>
                        <a:pt x="415106" y="363013"/>
                      </a:lnTo>
                      <a:lnTo>
                        <a:pt x="415119" y="363025"/>
                      </a:lnTo>
                      <a:lnTo>
                        <a:pt x="415786" y="363414"/>
                      </a:lnTo>
                      <a:lnTo>
                        <a:pt x="417110" y="364191"/>
                      </a:lnTo>
                      <a:lnTo>
                        <a:pt x="418531" y="365029"/>
                      </a:lnTo>
                      <a:lnTo>
                        <a:pt x="414536" y="372740"/>
                      </a:lnTo>
                      <a:lnTo>
                        <a:pt x="411888" y="375423"/>
                      </a:lnTo>
                      <a:lnTo>
                        <a:pt x="411658" y="375654"/>
                      </a:lnTo>
                      <a:lnTo>
                        <a:pt x="411463" y="375909"/>
                      </a:lnTo>
                      <a:lnTo>
                        <a:pt x="410893" y="376625"/>
                      </a:lnTo>
                      <a:lnTo>
                        <a:pt x="409739" y="378070"/>
                      </a:lnTo>
                      <a:lnTo>
                        <a:pt x="409593" y="379916"/>
                      </a:lnTo>
                      <a:lnTo>
                        <a:pt x="409423" y="382102"/>
                      </a:lnTo>
                      <a:lnTo>
                        <a:pt x="409387" y="382563"/>
                      </a:lnTo>
                      <a:lnTo>
                        <a:pt x="409423" y="383025"/>
                      </a:lnTo>
                      <a:lnTo>
                        <a:pt x="409654" y="386243"/>
                      </a:lnTo>
                      <a:lnTo>
                        <a:pt x="400292" y="400049"/>
                      </a:lnTo>
                      <a:lnTo>
                        <a:pt x="400110" y="400304"/>
                      </a:lnTo>
                      <a:lnTo>
                        <a:pt x="399964" y="400571"/>
                      </a:lnTo>
                      <a:lnTo>
                        <a:pt x="394123" y="411403"/>
                      </a:lnTo>
                      <a:lnTo>
                        <a:pt x="389266" y="417681"/>
                      </a:lnTo>
                      <a:lnTo>
                        <a:pt x="388829" y="418239"/>
                      </a:lnTo>
                      <a:lnTo>
                        <a:pt x="388538" y="418883"/>
                      </a:lnTo>
                      <a:lnTo>
                        <a:pt x="385393" y="425804"/>
                      </a:lnTo>
                      <a:lnTo>
                        <a:pt x="384591" y="427031"/>
                      </a:lnTo>
                      <a:lnTo>
                        <a:pt x="381458" y="428415"/>
                      </a:lnTo>
                      <a:lnTo>
                        <a:pt x="367057" y="426545"/>
                      </a:lnTo>
                      <a:lnTo>
                        <a:pt x="366389" y="426460"/>
                      </a:lnTo>
                      <a:lnTo>
                        <a:pt x="365721" y="426521"/>
                      </a:lnTo>
                      <a:lnTo>
                        <a:pt x="358532" y="427176"/>
                      </a:lnTo>
                      <a:lnTo>
                        <a:pt x="356917" y="427322"/>
                      </a:lnTo>
                      <a:lnTo>
                        <a:pt x="355594" y="428257"/>
                      </a:lnTo>
                      <a:lnTo>
                        <a:pt x="353517" y="429714"/>
                      </a:lnTo>
                      <a:lnTo>
                        <a:pt x="352449" y="427905"/>
                      </a:lnTo>
                      <a:lnTo>
                        <a:pt x="347057" y="430686"/>
                      </a:lnTo>
                      <a:lnTo>
                        <a:pt x="344993" y="431900"/>
                      </a:lnTo>
                      <a:lnTo>
                        <a:pt x="344459" y="432216"/>
                      </a:lnTo>
                      <a:lnTo>
                        <a:pt x="343997" y="432641"/>
                      </a:lnTo>
                      <a:lnTo>
                        <a:pt x="333737" y="441967"/>
                      </a:lnTo>
                      <a:lnTo>
                        <a:pt x="330762" y="443897"/>
                      </a:lnTo>
                      <a:lnTo>
                        <a:pt x="328381" y="444832"/>
                      </a:lnTo>
                      <a:lnTo>
                        <a:pt x="327495" y="444869"/>
                      </a:lnTo>
                      <a:lnTo>
                        <a:pt x="326269" y="444711"/>
                      </a:lnTo>
                      <a:lnTo>
                        <a:pt x="324945" y="444541"/>
                      </a:lnTo>
                      <a:lnTo>
                        <a:pt x="323670" y="444942"/>
                      </a:lnTo>
                      <a:lnTo>
                        <a:pt x="322067" y="445452"/>
                      </a:lnTo>
                      <a:lnTo>
                        <a:pt x="320501" y="445949"/>
                      </a:lnTo>
                      <a:lnTo>
                        <a:pt x="319396" y="447176"/>
                      </a:lnTo>
                      <a:lnTo>
                        <a:pt x="317331" y="449471"/>
                      </a:lnTo>
                      <a:lnTo>
                        <a:pt x="316676" y="450199"/>
                      </a:lnTo>
                      <a:lnTo>
                        <a:pt x="316336" y="450964"/>
                      </a:lnTo>
                      <a:lnTo>
                        <a:pt x="311381" y="445403"/>
                      </a:lnTo>
                      <a:lnTo>
                        <a:pt x="311102" y="445087"/>
                      </a:lnTo>
                      <a:lnTo>
                        <a:pt x="310786" y="444820"/>
                      </a:lnTo>
                      <a:lnTo>
                        <a:pt x="309135" y="443412"/>
                      </a:lnTo>
                      <a:lnTo>
                        <a:pt x="303161" y="438324"/>
                      </a:lnTo>
                      <a:lnTo>
                        <a:pt x="299724" y="445379"/>
                      </a:lnTo>
                      <a:lnTo>
                        <a:pt x="298231" y="448451"/>
                      </a:lnTo>
                      <a:lnTo>
                        <a:pt x="298073" y="448779"/>
                      </a:lnTo>
                      <a:lnTo>
                        <a:pt x="297951" y="449131"/>
                      </a:lnTo>
                      <a:lnTo>
                        <a:pt x="295656" y="455773"/>
                      </a:lnTo>
                      <a:lnTo>
                        <a:pt x="295644" y="455773"/>
                      </a:lnTo>
                      <a:lnTo>
                        <a:pt x="293786" y="455300"/>
                      </a:lnTo>
                      <a:lnTo>
                        <a:pt x="292001" y="455980"/>
                      </a:lnTo>
                      <a:lnTo>
                        <a:pt x="291018" y="456356"/>
                      </a:lnTo>
                      <a:lnTo>
                        <a:pt x="289731" y="456842"/>
                      </a:lnTo>
                      <a:lnTo>
                        <a:pt x="288783" y="457837"/>
                      </a:lnTo>
                      <a:lnTo>
                        <a:pt x="287994" y="458663"/>
                      </a:lnTo>
                      <a:lnTo>
                        <a:pt x="287715" y="458955"/>
                      </a:lnTo>
                      <a:lnTo>
                        <a:pt x="287472" y="459282"/>
                      </a:lnTo>
                      <a:lnTo>
                        <a:pt x="287071" y="459829"/>
                      </a:lnTo>
                      <a:lnTo>
                        <a:pt x="286743" y="460157"/>
                      </a:lnTo>
                      <a:lnTo>
                        <a:pt x="286707" y="460193"/>
                      </a:lnTo>
                      <a:lnTo>
                        <a:pt x="284460" y="458493"/>
                      </a:lnTo>
                      <a:lnTo>
                        <a:pt x="280818" y="463472"/>
                      </a:lnTo>
                      <a:lnTo>
                        <a:pt x="279943" y="464662"/>
                      </a:lnTo>
                      <a:lnTo>
                        <a:pt x="278960" y="464443"/>
                      </a:lnTo>
                      <a:lnTo>
                        <a:pt x="278668" y="461055"/>
                      </a:lnTo>
                      <a:lnTo>
                        <a:pt x="278620" y="460497"/>
                      </a:lnTo>
                      <a:lnTo>
                        <a:pt x="278462" y="459950"/>
                      </a:lnTo>
                      <a:lnTo>
                        <a:pt x="276228" y="451936"/>
                      </a:lnTo>
                      <a:lnTo>
                        <a:pt x="274989" y="447492"/>
                      </a:lnTo>
                      <a:lnTo>
                        <a:pt x="270387" y="447492"/>
                      </a:lnTo>
                      <a:lnTo>
                        <a:pt x="269124" y="447492"/>
                      </a:lnTo>
                      <a:lnTo>
                        <a:pt x="267436" y="447492"/>
                      </a:lnTo>
                      <a:lnTo>
                        <a:pt x="266440" y="448087"/>
                      </a:lnTo>
                      <a:lnTo>
                        <a:pt x="266064" y="447965"/>
                      </a:lnTo>
                      <a:lnTo>
                        <a:pt x="264582" y="448208"/>
                      </a:lnTo>
                      <a:lnTo>
                        <a:pt x="263441" y="448390"/>
                      </a:lnTo>
                      <a:lnTo>
                        <a:pt x="259021" y="449107"/>
                      </a:lnTo>
                      <a:lnTo>
                        <a:pt x="258390" y="453527"/>
                      </a:lnTo>
                      <a:lnTo>
                        <a:pt x="257928" y="456781"/>
                      </a:lnTo>
                      <a:lnTo>
                        <a:pt x="257782" y="457825"/>
                      </a:lnTo>
                      <a:lnTo>
                        <a:pt x="258001" y="458857"/>
                      </a:lnTo>
                      <a:lnTo>
                        <a:pt x="258632" y="461917"/>
                      </a:lnTo>
                      <a:lnTo>
                        <a:pt x="258778" y="462585"/>
                      </a:lnTo>
                      <a:lnTo>
                        <a:pt x="259057" y="463204"/>
                      </a:lnTo>
                      <a:lnTo>
                        <a:pt x="259325" y="463787"/>
                      </a:lnTo>
                      <a:lnTo>
                        <a:pt x="257370" y="464467"/>
                      </a:lnTo>
                      <a:lnTo>
                        <a:pt x="256313" y="466908"/>
                      </a:lnTo>
                      <a:lnTo>
                        <a:pt x="256119" y="467357"/>
                      </a:lnTo>
                      <a:lnTo>
                        <a:pt x="254115" y="470114"/>
                      </a:lnTo>
                      <a:lnTo>
                        <a:pt x="253666" y="470308"/>
                      </a:lnTo>
                      <a:lnTo>
                        <a:pt x="248554" y="471510"/>
                      </a:lnTo>
                      <a:lnTo>
                        <a:pt x="235027" y="471729"/>
                      </a:lnTo>
                      <a:lnTo>
                        <a:pt x="234067" y="471741"/>
                      </a:lnTo>
                      <a:lnTo>
                        <a:pt x="233169" y="472045"/>
                      </a:lnTo>
                      <a:lnTo>
                        <a:pt x="230643" y="472907"/>
                      </a:lnTo>
                      <a:lnTo>
                        <a:pt x="228397" y="473660"/>
                      </a:lnTo>
                      <a:lnTo>
                        <a:pt x="227267" y="475736"/>
                      </a:lnTo>
                      <a:lnTo>
                        <a:pt x="226235" y="477643"/>
                      </a:lnTo>
                      <a:lnTo>
                        <a:pt x="219593" y="480690"/>
                      </a:lnTo>
                      <a:lnTo>
                        <a:pt x="210656" y="482050"/>
                      </a:lnTo>
                      <a:lnTo>
                        <a:pt x="210267" y="481844"/>
                      </a:lnTo>
                      <a:lnTo>
                        <a:pt x="207013" y="480108"/>
                      </a:lnTo>
                      <a:lnTo>
                        <a:pt x="206066" y="479160"/>
                      </a:lnTo>
                      <a:lnTo>
                        <a:pt x="207414" y="477193"/>
                      </a:lnTo>
                      <a:lnTo>
                        <a:pt x="208846" y="475105"/>
                      </a:lnTo>
                      <a:lnTo>
                        <a:pt x="208373" y="472627"/>
                      </a:lnTo>
                      <a:lnTo>
                        <a:pt x="208215" y="471826"/>
                      </a:lnTo>
                      <a:lnTo>
                        <a:pt x="211190" y="467540"/>
                      </a:lnTo>
                      <a:lnTo>
                        <a:pt x="212659" y="465415"/>
                      </a:lnTo>
                      <a:lnTo>
                        <a:pt x="212149" y="462889"/>
                      </a:lnTo>
                      <a:lnTo>
                        <a:pt x="211506" y="459695"/>
                      </a:lnTo>
                      <a:lnTo>
                        <a:pt x="211093" y="457655"/>
                      </a:lnTo>
                      <a:lnTo>
                        <a:pt x="209526" y="456295"/>
                      </a:lnTo>
                      <a:lnTo>
                        <a:pt x="206904" y="454037"/>
                      </a:lnTo>
                      <a:lnTo>
                        <a:pt x="205556" y="452871"/>
                      </a:lnTo>
                      <a:lnTo>
                        <a:pt x="203795" y="452616"/>
                      </a:lnTo>
                      <a:lnTo>
                        <a:pt x="201998" y="452361"/>
                      </a:lnTo>
                      <a:lnTo>
                        <a:pt x="199508" y="452009"/>
                      </a:lnTo>
                      <a:lnTo>
                        <a:pt x="197493" y="453527"/>
                      </a:lnTo>
                      <a:lnTo>
                        <a:pt x="195671" y="454899"/>
                      </a:lnTo>
                      <a:lnTo>
                        <a:pt x="195380" y="455117"/>
                      </a:lnTo>
                      <a:lnTo>
                        <a:pt x="195113" y="455372"/>
                      </a:lnTo>
                      <a:lnTo>
                        <a:pt x="194457" y="456004"/>
                      </a:lnTo>
                      <a:lnTo>
                        <a:pt x="193935" y="455761"/>
                      </a:lnTo>
                      <a:lnTo>
                        <a:pt x="192781" y="455700"/>
                      </a:lnTo>
                      <a:lnTo>
                        <a:pt x="190996" y="455591"/>
                      </a:lnTo>
                      <a:lnTo>
                        <a:pt x="189697" y="455518"/>
                      </a:lnTo>
                      <a:lnTo>
                        <a:pt x="188483" y="455980"/>
                      </a:lnTo>
                      <a:lnTo>
                        <a:pt x="187475" y="456356"/>
                      </a:lnTo>
                      <a:lnTo>
                        <a:pt x="187997" y="455627"/>
                      </a:lnTo>
                      <a:lnTo>
                        <a:pt x="188713" y="454620"/>
                      </a:lnTo>
                      <a:lnTo>
                        <a:pt x="188981" y="453405"/>
                      </a:lnTo>
                      <a:lnTo>
                        <a:pt x="189563" y="450782"/>
                      </a:lnTo>
                      <a:lnTo>
                        <a:pt x="190025" y="448694"/>
                      </a:lnTo>
                      <a:lnTo>
                        <a:pt x="189066" y="446775"/>
                      </a:lnTo>
                      <a:lnTo>
                        <a:pt x="188313" y="445257"/>
                      </a:lnTo>
                      <a:lnTo>
                        <a:pt x="186953" y="442513"/>
                      </a:lnTo>
                      <a:lnTo>
                        <a:pt x="183929" y="441979"/>
                      </a:lnTo>
                      <a:lnTo>
                        <a:pt x="182496" y="441724"/>
                      </a:lnTo>
                      <a:lnTo>
                        <a:pt x="179958" y="441274"/>
                      </a:lnTo>
                      <a:lnTo>
                        <a:pt x="177870" y="442792"/>
                      </a:lnTo>
                      <a:lnTo>
                        <a:pt x="173304" y="446095"/>
                      </a:lnTo>
                      <a:lnTo>
                        <a:pt x="166128" y="450017"/>
                      </a:lnTo>
                      <a:lnTo>
                        <a:pt x="165630" y="450284"/>
                      </a:lnTo>
                      <a:lnTo>
                        <a:pt x="165193" y="450649"/>
                      </a:lnTo>
                      <a:lnTo>
                        <a:pt x="162424" y="452919"/>
                      </a:lnTo>
                      <a:lnTo>
                        <a:pt x="161841" y="453405"/>
                      </a:lnTo>
                      <a:lnTo>
                        <a:pt x="161392" y="454012"/>
                      </a:lnTo>
                      <a:lnTo>
                        <a:pt x="159619" y="456417"/>
                      </a:lnTo>
                      <a:lnTo>
                        <a:pt x="159413" y="456696"/>
                      </a:lnTo>
                      <a:lnTo>
                        <a:pt x="159230" y="457000"/>
                      </a:lnTo>
                      <a:lnTo>
                        <a:pt x="157567" y="459902"/>
                      </a:lnTo>
                      <a:lnTo>
                        <a:pt x="157312" y="460339"/>
                      </a:lnTo>
                      <a:lnTo>
                        <a:pt x="157142" y="460812"/>
                      </a:lnTo>
                      <a:lnTo>
                        <a:pt x="155867" y="464261"/>
                      </a:lnTo>
                      <a:lnTo>
                        <a:pt x="155624" y="464917"/>
                      </a:lnTo>
                      <a:lnTo>
                        <a:pt x="155539" y="465609"/>
                      </a:lnTo>
                      <a:lnTo>
                        <a:pt x="155065" y="469312"/>
                      </a:lnTo>
                      <a:lnTo>
                        <a:pt x="154555" y="471498"/>
                      </a:lnTo>
                      <a:lnTo>
                        <a:pt x="153317" y="473550"/>
                      </a:lnTo>
                      <a:lnTo>
                        <a:pt x="153086" y="473927"/>
                      </a:lnTo>
                      <a:lnTo>
                        <a:pt x="152916" y="474327"/>
                      </a:lnTo>
                      <a:lnTo>
                        <a:pt x="151544" y="477606"/>
                      </a:lnTo>
                      <a:lnTo>
                        <a:pt x="151034" y="478808"/>
                      </a:lnTo>
                      <a:lnTo>
                        <a:pt x="151058" y="480108"/>
                      </a:lnTo>
                      <a:lnTo>
                        <a:pt x="151167" y="484673"/>
                      </a:lnTo>
                      <a:lnTo>
                        <a:pt x="151192" y="485839"/>
                      </a:lnTo>
                      <a:lnTo>
                        <a:pt x="151653" y="486908"/>
                      </a:lnTo>
                      <a:lnTo>
                        <a:pt x="153268" y="490672"/>
                      </a:lnTo>
                      <a:lnTo>
                        <a:pt x="153462" y="491133"/>
                      </a:lnTo>
                      <a:lnTo>
                        <a:pt x="153730" y="491558"/>
                      </a:lnTo>
                      <a:lnTo>
                        <a:pt x="158538" y="499051"/>
                      </a:lnTo>
                      <a:lnTo>
                        <a:pt x="160845" y="504770"/>
                      </a:lnTo>
                      <a:lnTo>
                        <a:pt x="161295" y="505887"/>
                      </a:lnTo>
                      <a:lnTo>
                        <a:pt x="162120" y="506737"/>
                      </a:lnTo>
                      <a:lnTo>
                        <a:pt x="165618" y="510319"/>
                      </a:lnTo>
                      <a:lnTo>
                        <a:pt x="165860" y="510562"/>
                      </a:lnTo>
                      <a:lnTo>
                        <a:pt x="166115" y="510781"/>
                      </a:lnTo>
                      <a:lnTo>
                        <a:pt x="172163" y="515723"/>
                      </a:lnTo>
                      <a:lnTo>
                        <a:pt x="179545" y="526081"/>
                      </a:lnTo>
                      <a:lnTo>
                        <a:pt x="181379" y="530124"/>
                      </a:lnTo>
                      <a:lnTo>
                        <a:pt x="181889" y="531254"/>
                      </a:lnTo>
                      <a:lnTo>
                        <a:pt x="182812" y="532091"/>
                      </a:lnTo>
                      <a:lnTo>
                        <a:pt x="185848" y="534872"/>
                      </a:lnTo>
                      <a:lnTo>
                        <a:pt x="186139" y="535139"/>
                      </a:lnTo>
                      <a:lnTo>
                        <a:pt x="186467" y="535382"/>
                      </a:lnTo>
                      <a:lnTo>
                        <a:pt x="191579" y="538952"/>
                      </a:lnTo>
                      <a:lnTo>
                        <a:pt x="199933" y="550245"/>
                      </a:lnTo>
                      <a:lnTo>
                        <a:pt x="200261" y="550694"/>
                      </a:lnTo>
                      <a:lnTo>
                        <a:pt x="200674" y="551071"/>
                      </a:lnTo>
                      <a:lnTo>
                        <a:pt x="203261" y="553475"/>
                      </a:lnTo>
                      <a:lnTo>
                        <a:pt x="203540" y="553730"/>
                      </a:lnTo>
                      <a:lnTo>
                        <a:pt x="203856" y="553961"/>
                      </a:lnTo>
                      <a:lnTo>
                        <a:pt x="209429" y="557956"/>
                      </a:lnTo>
                      <a:lnTo>
                        <a:pt x="226466" y="574082"/>
                      </a:lnTo>
                      <a:lnTo>
                        <a:pt x="227109" y="574689"/>
                      </a:lnTo>
                      <a:lnTo>
                        <a:pt x="227899" y="575090"/>
                      </a:lnTo>
                      <a:lnTo>
                        <a:pt x="231529" y="576923"/>
                      </a:lnTo>
                      <a:lnTo>
                        <a:pt x="233557" y="577955"/>
                      </a:lnTo>
                      <a:lnTo>
                        <a:pt x="235257" y="577518"/>
                      </a:lnTo>
                      <a:lnTo>
                        <a:pt x="235282" y="577615"/>
                      </a:lnTo>
                      <a:lnTo>
                        <a:pt x="236435" y="580942"/>
                      </a:lnTo>
                      <a:lnTo>
                        <a:pt x="236799" y="582011"/>
                      </a:lnTo>
                      <a:lnTo>
                        <a:pt x="237516" y="582861"/>
                      </a:lnTo>
                      <a:lnTo>
                        <a:pt x="243102" y="589552"/>
                      </a:lnTo>
                      <a:lnTo>
                        <a:pt x="243442" y="589965"/>
                      </a:lnTo>
                      <a:lnTo>
                        <a:pt x="243854" y="590305"/>
                      </a:lnTo>
                      <a:lnTo>
                        <a:pt x="247352" y="593231"/>
                      </a:lnTo>
                      <a:lnTo>
                        <a:pt x="248020" y="593790"/>
                      </a:lnTo>
                      <a:lnTo>
                        <a:pt x="248821" y="594142"/>
                      </a:lnTo>
                      <a:lnTo>
                        <a:pt x="253156" y="596036"/>
                      </a:lnTo>
                      <a:lnTo>
                        <a:pt x="256058" y="600784"/>
                      </a:lnTo>
                      <a:lnTo>
                        <a:pt x="256605" y="601695"/>
                      </a:lnTo>
                      <a:lnTo>
                        <a:pt x="257430" y="602350"/>
                      </a:lnTo>
                      <a:lnTo>
                        <a:pt x="260709" y="604986"/>
                      </a:lnTo>
                      <a:lnTo>
                        <a:pt x="266489" y="612235"/>
                      </a:lnTo>
                      <a:lnTo>
                        <a:pt x="269755" y="615635"/>
                      </a:lnTo>
                      <a:lnTo>
                        <a:pt x="270338" y="616230"/>
                      </a:lnTo>
                      <a:lnTo>
                        <a:pt x="271067" y="616655"/>
                      </a:lnTo>
                      <a:lnTo>
                        <a:pt x="281862" y="622933"/>
                      </a:lnTo>
                      <a:lnTo>
                        <a:pt x="305055" y="646964"/>
                      </a:lnTo>
                      <a:lnTo>
                        <a:pt x="308309" y="649769"/>
                      </a:lnTo>
                      <a:lnTo>
                        <a:pt x="308795" y="650181"/>
                      </a:lnTo>
                      <a:lnTo>
                        <a:pt x="309354" y="650473"/>
                      </a:lnTo>
                      <a:lnTo>
                        <a:pt x="312620" y="652246"/>
                      </a:lnTo>
                      <a:lnTo>
                        <a:pt x="313458" y="652707"/>
                      </a:lnTo>
                      <a:lnTo>
                        <a:pt x="314016" y="652817"/>
                      </a:lnTo>
                      <a:lnTo>
                        <a:pt x="314405" y="655002"/>
                      </a:lnTo>
                      <a:lnTo>
                        <a:pt x="314624" y="656217"/>
                      </a:lnTo>
                      <a:lnTo>
                        <a:pt x="315291" y="657237"/>
                      </a:lnTo>
                      <a:lnTo>
                        <a:pt x="320914" y="665882"/>
                      </a:lnTo>
                      <a:lnTo>
                        <a:pt x="321144" y="666222"/>
                      </a:lnTo>
                      <a:lnTo>
                        <a:pt x="321399" y="666514"/>
                      </a:lnTo>
                      <a:lnTo>
                        <a:pt x="333931" y="681122"/>
                      </a:lnTo>
                      <a:lnTo>
                        <a:pt x="334149" y="681377"/>
                      </a:lnTo>
                      <a:lnTo>
                        <a:pt x="334392" y="681607"/>
                      </a:lnTo>
                      <a:lnTo>
                        <a:pt x="342747" y="689452"/>
                      </a:lnTo>
                      <a:lnTo>
                        <a:pt x="343633" y="690630"/>
                      </a:lnTo>
                      <a:lnTo>
                        <a:pt x="344374" y="692014"/>
                      </a:lnTo>
                      <a:lnTo>
                        <a:pt x="344629" y="692475"/>
                      </a:lnTo>
                      <a:lnTo>
                        <a:pt x="344957" y="692900"/>
                      </a:lnTo>
                      <a:lnTo>
                        <a:pt x="361155" y="713470"/>
                      </a:lnTo>
                      <a:lnTo>
                        <a:pt x="361617" y="714041"/>
                      </a:lnTo>
                      <a:lnTo>
                        <a:pt x="362187" y="714491"/>
                      </a:lnTo>
                      <a:lnTo>
                        <a:pt x="379928" y="728370"/>
                      </a:lnTo>
                      <a:lnTo>
                        <a:pt x="400462" y="747289"/>
                      </a:lnTo>
                      <a:lnTo>
                        <a:pt x="400875" y="747665"/>
                      </a:lnTo>
                      <a:lnTo>
                        <a:pt x="401361" y="747969"/>
                      </a:lnTo>
                      <a:lnTo>
                        <a:pt x="407748" y="751939"/>
                      </a:lnTo>
                      <a:lnTo>
                        <a:pt x="414244" y="757756"/>
                      </a:lnTo>
                      <a:lnTo>
                        <a:pt x="415046" y="758484"/>
                      </a:lnTo>
                      <a:lnTo>
                        <a:pt x="416054" y="758885"/>
                      </a:lnTo>
                      <a:lnTo>
                        <a:pt x="426921" y="763208"/>
                      </a:lnTo>
                      <a:lnTo>
                        <a:pt x="429301" y="764981"/>
                      </a:lnTo>
                      <a:lnTo>
                        <a:pt x="435361" y="771356"/>
                      </a:lnTo>
                      <a:lnTo>
                        <a:pt x="435871" y="771902"/>
                      </a:lnTo>
                      <a:lnTo>
                        <a:pt x="436490" y="772291"/>
                      </a:lnTo>
                      <a:lnTo>
                        <a:pt x="438676" y="773687"/>
                      </a:lnTo>
                      <a:lnTo>
                        <a:pt x="439550" y="774246"/>
                      </a:lnTo>
                      <a:lnTo>
                        <a:pt x="440558" y="774489"/>
                      </a:lnTo>
                      <a:lnTo>
                        <a:pt x="443484" y="775193"/>
                      </a:lnTo>
                      <a:lnTo>
                        <a:pt x="453405" y="781665"/>
                      </a:lnTo>
                      <a:lnTo>
                        <a:pt x="453891" y="781969"/>
                      </a:lnTo>
                      <a:lnTo>
                        <a:pt x="454425" y="782200"/>
                      </a:lnTo>
                      <a:lnTo>
                        <a:pt x="483155" y="793942"/>
                      </a:lnTo>
                      <a:lnTo>
                        <a:pt x="488559" y="797997"/>
                      </a:lnTo>
                      <a:lnTo>
                        <a:pt x="488960" y="798289"/>
                      </a:lnTo>
                      <a:lnTo>
                        <a:pt x="489397" y="798532"/>
                      </a:lnTo>
                      <a:lnTo>
                        <a:pt x="491170" y="799454"/>
                      </a:lnTo>
                      <a:lnTo>
                        <a:pt x="492760" y="800281"/>
                      </a:lnTo>
                      <a:lnTo>
                        <a:pt x="494545" y="800110"/>
                      </a:lnTo>
                      <a:lnTo>
                        <a:pt x="496670" y="799904"/>
                      </a:lnTo>
                      <a:lnTo>
                        <a:pt x="497654" y="799807"/>
                      </a:lnTo>
                      <a:lnTo>
                        <a:pt x="498565" y="799406"/>
                      </a:lnTo>
                      <a:lnTo>
                        <a:pt x="499597" y="798945"/>
                      </a:lnTo>
                      <a:lnTo>
                        <a:pt x="501600" y="800596"/>
                      </a:lnTo>
                      <a:lnTo>
                        <a:pt x="502438" y="801300"/>
                      </a:lnTo>
                      <a:lnTo>
                        <a:pt x="503471" y="801665"/>
                      </a:lnTo>
                      <a:lnTo>
                        <a:pt x="506846" y="802843"/>
                      </a:lnTo>
                      <a:lnTo>
                        <a:pt x="507636" y="803110"/>
                      </a:lnTo>
                      <a:lnTo>
                        <a:pt x="508461" y="803158"/>
                      </a:lnTo>
                      <a:lnTo>
                        <a:pt x="512311" y="803401"/>
                      </a:lnTo>
                      <a:lnTo>
                        <a:pt x="512687" y="803426"/>
                      </a:lnTo>
                      <a:lnTo>
                        <a:pt x="513063" y="803401"/>
                      </a:lnTo>
                      <a:lnTo>
                        <a:pt x="537981" y="801871"/>
                      </a:lnTo>
                      <a:lnTo>
                        <a:pt x="545145" y="801434"/>
                      </a:lnTo>
                      <a:lnTo>
                        <a:pt x="544125" y="797014"/>
                      </a:lnTo>
                      <a:lnTo>
                        <a:pt x="547926" y="798252"/>
                      </a:lnTo>
                      <a:lnTo>
                        <a:pt x="548715" y="795496"/>
                      </a:lnTo>
                      <a:lnTo>
                        <a:pt x="549759" y="795715"/>
                      </a:lnTo>
                      <a:lnTo>
                        <a:pt x="550099" y="795787"/>
                      </a:lnTo>
                      <a:lnTo>
                        <a:pt x="550439" y="795824"/>
                      </a:lnTo>
                      <a:lnTo>
                        <a:pt x="553827" y="796127"/>
                      </a:lnTo>
                      <a:lnTo>
                        <a:pt x="556037" y="796334"/>
                      </a:lnTo>
                      <a:lnTo>
                        <a:pt x="557847" y="795071"/>
                      </a:lnTo>
                      <a:lnTo>
                        <a:pt x="559741" y="793760"/>
                      </a:lnTo>
                      <a:lnTo>
                        <a:pt x="560251" y="793407"/>
                      </a:lnTo>
                      <a:lnTo>
                        <a:pt x="560688" y="792946"/>
                      </a:lnTo>
                      <a:lnTo>
                        <a:pt x="561660" y="791914"/>
                      </a:lnTo>
                      <a:lnTo>
                        <a:pt x="565351" y="793031"/>
                      </a:lnTo>
                      <a:lnTo>
                        <a:pt x="567233" y="790858"/>
                      </a:lnTo>
                      <a:lnTo>
                        <a:pt x="568727" y="790942"/>
                      </a:lnTo>
                      <a:lnTo>
                        <a:pt x="570317" y="791040"/>
                      </a:lnTo>
                      <a:lnTo>
                        <a:pt x="571750" y="790335"/>
                      </a:lnTo>
                      <a:lnTo>
                        <a:pt x="604354" y="774343"/>
                      </a:lnTo>
                      <a:lnTo>
                        <a:pt x="614651" y="772485"/>
                      </a:lnTo>
                      <a:lnTo>
                        <a:pt x="615040" y="772412"/>
                      </a:lnTo>
                      <a:lnTo>
                        <a:pt x="615416" y="772291"/>
                      </a:lnTo>
                      <a:lnTo>
                        <a:pt x="631214" y="767239"/>
                      </a:lnTo>
                      <a:lnTo>
                        <a:pt x="632380" y="766863"/>
                      </a:lnTo>
                      <a:lnTo>
                        <a:pt x="633303" y="766086"/>
                      </a:lnTo>
                      <a:lnTo>
                        <a:pt x="636751" y="763147"/>
                      </a:lnTo>
                      <a:lnTo>
                        <a:pt x="638330" y="761799"/>
                      </a:lnTo>
                      <a:lnTo>
                        <a:pt x="638755" y="759772"/>
                      </a:lnTo>
                      <a:lnTo>
                        <a:pt x="639180" y="757756"/>
                      </a:lnTo>
                      <a:lnTo>
                        <a:pt x="639702" y="757039"/>
                      </a:lnTo>
                      <a:lnTo>
                        <a:pt x="641220" y="755740"/>
                      </a:lnTo>
                      <a:lnTo>
                        <a:pt x="647012" y="754477"/>
                      </a:lnTo>
                      <a:lnTo>
                        <a:pt x="653399" y="753093"/>
                      </a:lnTo>
                      <a:lnTo>
                        <a:pt x="654614" y="752838"/>
                      </a:lnTo>
                      <a:lnTo>
                        <a:pt x="655622" y="752109"/>
                      </a:lnTo>
                      <a:lnTo>
                        <a:pt x="665554" y="745054"/>
                      </a:lnTo>
                      <a:lnTo>
                        <a:pt x="672840" y="742480"/>
                      </a:lnTo>
                      <a:lnTo>
                        <a:pt x="673472" y="742249"/>
                      </a:lnTo>
                      <a:lnTo>
                        <a:pt x="674042" y="741897"/>
                      </a:lnTo>
                      <a:lnTo>
                        <a:pt x="678657" y="739007"/>
                      </a:lnTo>
                      <a:lnTo>
                        <a:pt x="680709" y="739493"/>
                      </a:lnTo>
                      <a:lnTo>
                        <a:pt x="682166" y="739833"/>
                      </a:lnTo>
                      <a:lnTo>
                        <a:pt x="683623" y="739469"/>
                      </a:lnTo>
                      <a:lnTo>
                        <a:pt x="687242" y="738546"/>
                      </a:lnTo>
                      <a:lnTo>
                        <a:pt x="688140" y="738315"/>
                      </a:lnTo>
                      <a:lnTo>
                        <a:pt x="688917" y="737829"/>
                      </a:lnTo>
                      <a:lnTo>
                        <a:pt x="693750" y="734854"/>
                      </a:lnTo>
                      <a:lnTo>
                        <a:pt x="694175" y="734599"/>
                      </a:lnTo>
                      <a:lnTo>
                        <a:pt x="694552" y="734271"/>
                      </a:lnTo>
                      <a:lnTo>
                        <a:pt x="697393" y="731794"/>
                      </a:lnTo>
                      <a:lnTo>
                        <a:pt x="718194" y="719518"/>
                      </a:lnTo>
                      <a:lnTo>
                        <a:pt x="725322" y="719154"/>
                      </a:lnTo>
                      <a:lnTo>
                        <a:pt x="725856" y="719129"/>
                      </a:lnTo>
                      <a:lnTo>
                        <a:pt x="726378" y="719008"/>
                      </a:lnTo>
                      <a:lnTo>
                        <a:pt x="729815" y="718219"/>
                      </a:lnTo>
                      <a:lnTo>
                        <a:pt x="730568" y="718036"/>
                      </a:lnTo>
                      <a:lnTo>
                        <a:pt x="731260" y="717684"/>
                      </a:lnTo>
                      <a:lnTo>
                        <a:pt x="743318" y="711382"/>
                      </a:lnTo>
                      <a:lnTo>
                        <a:pt x="743889" y="711091"/>
                      </a:lnTo>
                      <a:lnTo>
                        <a:pt x="744386" y="710678"/>
                      </a:lnTo>
                      <a:lnTo>
                        <a:pt x="745880" y="709439"/>
                      </a:lnTo>
                      <a:lnTo>
                        <a:pt x="746791" y="708686"/>
                      </a:lnTo>
                      <a:lnTo>
                        <a:pt x="747119" y="708079"/>
                      </a:lnTo>
                      <a:lnTo>
                        <a:pt x="748114" y="707739"/>
                      </a:lnTo>
                      <a:lnTo>
                        <a:pt x="748430" y="707630"/>
                      </a:lnTo>
                      <a:lnTo>
                        <a:pt x="748721" y="707484"/>
                      </a:lnTo>
                      <a:lnTo>
                        <a:pt x="749863" y="706938"/>
                      </a:lnTo>
                      <a:lnTo>
                        <a:pt x="750810" y="706488"/>
                      </a:lnTo>
                      <a:lnTo>
                        <a:pt x="751551" y="705735"/>
                      </a:lnTo>
                      <a:lnTo>
                        <a:pt x="754186" y="703088"/>
                      </a:lnTo>
                      <a:lnTo>
                        <a:pt x="755983" y="701279"/>
                      </a:lnTo>
                      <a:lnTo>
                        <a:pt x="755947" y="698729"/>
                      </a:lnTo>
                      <a:lnTo>
                        <a:pt x="755898" y="695378"/>
                      </a:lnTo>
                      <a:lnTo>
                        <a:pt x="755886" y="694018"/>
                      </a:lnTo>
                      <a:lnTo>
                        <a:pt x="755279" y="692779"/>
                      </a:lnTo>
                      <a:lnTo>
                        <a:pt x="754052" y="690290"/>
                      </a:lnTo>
                      <a:lnTo>
                        <a:pt x="754319" y="689962"/>
                      </a:lnTo>
                      <a:lnTo>
                        <a:pt x="754671" y="688820"/>
                      </a:lnTo>
                      <a:lnTo>
                        <a:pt x="755230" y="686974"/>
                      </a:lnTo>
                      <a:lnTo>
                        <a:pt x="755813" y="685044"/>
                      </a:lnTo>
                      <a:lnTo>
                        <a:pt x="756420" y="683988"/>
                      </a:lnTo>
                      <a:lnTo>
                        <a:pt x="757513" y="682093"/>
                      </a:lnTo>
                      <a:lnTo>
                        <a:pt x="757137" y="679932"/>
                      </a:lnTo>
                      <a:lnTo>
                        <a:pt x="757015" y="679252"/>
                      </a:lnTo>
                      <a:lnTo>
                        <a:pt x="763159" y="672464"/>
                      </a:lnTo>
                      <a:lnTo>
                        <a:pt x="763633" y="671942"/>
                      </a:lnTo>
                      <a:lnTo>
                        <a:pt x="763973" y="671322"/>
                      </a:lnTo>
                      <a:lnTo>
                        <a:pt x="765406" y="668736"/>
                      </a:lnTo>
                      <a:lnTo>
                        <a:pt x="765624" y="668347"/>
                      </a:lnTo>
                      <a:lnTo>
                        <a:pt x="765782" y="667934"/>
                      </a:lnTo>
                      <a:lnTo>
                        <a:pt x="766717" y="665445"/>
                      </a:lnTo>
                      <a:lnTo>
                        <a:pt x="775837" y="656010"/>
                      </a:lnTo>
                      <a:lnTo>
                        <a:pt x="776334" y="655488"/>
                      </a:lnTo>
                      <a:lnTo>
                        <a:pt x="776699" y="654869"/>
                      </a:lnTo>
                      <a:lnTo>
                        <a:pt x="780888" y="647777"/>
                      </a:lnTo>
                      <a:lnTo>
                        <a:pt x="781301" y="647073"/>
                      </a:lnTo>
                      <a:lnTo>
                        <a:pt x="781520" y="646296"/>
                      </a:lnTo>
                      <a:lnTo>
                        <a:pt x="787324" y="625058"/>
                      </a:lnTo>
                      <a:lnTo>
                        <a:pt x="789060" y="623491"/>
                      </a:lnTo>
                      <a:lnTo>
                        <a:pt x="789400" y="623188"/>
                      </a:lnTo>
                      <a:lnTo>
                        <a:pt x="789692" y="622836"/>
                      </a:lnTo>
                      <a:lnTo>
                        <a:pt x="790384" y="621986"/>
                      </a:lnTo>
                      <a:lnTo>
                        <a:pt x="791125" y="621075"/>
                      </a:lnTo>
                      <a:lnTo>
                        <a:pt x="791477" y="619958"/>
                      </a:lnTo>
                      <a:lnTo>
                        <a:pt x="792108" y="617942"/>
                      </a:lnTo>
                      <a:lnTo>
                        <a:pt x="792412" y="616971"/>
                      </a:lnTo>
                      <a:lnTo>
                        <a:pt x="792387" y="615950"/>
                      </a:lnTo>
                      <a:lnTo>
                        <a:pt x="792339" y="614457"/>
                      </a:lnTo>
                      <a:lnTo>
                        <a:pt x="792315" y="613753"/>
                      </a:lnTo>
                      <a:lnTo>
                        <a:pt x="792132" y="613073"/>
                      </a:lnTo>
                      <a:lnTo>
                        <a:pt x="791865" y="612041"/>
                      </a:lnTo>
                      <a:lnTo>
                        <a:pt x="791756" y="610292"/>
                      </a:lnTo>
                      <a:lnTo>
                        <a:pt x="791671" y="608981"/>
                      </a:lnTo>
                      <a:lnTo>
                        <a:pt x="791052" y="607815"/>
                      </a:lnTo>
                      <a:lnTo>
                        <a:pt x="790505" y="606637"/>
                      </a:lnTo>
                      <a:lnTo>
                        <a:pt x="789947" y="605617"/>
                      </a:lnTo>
                      <a:lnTo>
                        <a:pt x="789060" y="604864"/>
                      </a:lnTo>
                      <a:lnTo>
                        <a:pt x="787834" y="603832"/>
                      </a:lnTo>
                      <a:lnTo>
                        <a:pt x="787008" y="601391"/>
                      </a:lnTo>
                      <a:lnTo>
                        <a:pt x="785855" y="597991"/>
                      </a:lnTo>
                      <a:lnTo>
                        <a:pt x="782309" y="597360"/>
                      </a:lnTo>
                      <a:lnTo>
                        <a:pt x="780706" y="597080"/>
                      </a:lnTo>
                      <a:lnTo>
                        <a:pt x="779771" y="596910"/>
                      </a:lnTo>
                      <a:lnTo>
                        <a:pt x="778836" y="597032"/>
                      </a:lnTo>
                      <a:lnTo>
                        <a:pt x="777342" y="597238"/>
                      </a:lnTo>
                      <a:lnTo>
                        <a:pt x="776905" y="597202"/>
                      </a:lnTo>
                      <a:lnTo>
                        <a:pt x="776565" y="597056"/>
                      </a:lnTo>
                      <a:lnTo>
                        <a:pt x="776419" y="596947"/>
                      </a:lnTo>
                      <a:lnTo>
                        <a:pt x="776237" y="596740"/>
                      </a:lnTo>
                      <a:lnTo>
                        <a:pt x="776043" y="596425"/>
                      </a:lnTo>
                      <a:lnTo>
                        <a:pt x="774027" y="590220"/>
                      </a:lnTo>
                      <a:lnTo>
                        <a:pt x="773481" y="588520"/>
                      </a:lnTo>
                      <a:lnTo>
                        <a:pt x="772582" y="587779"/>
                      </a:lnTo>
                      <a:lnTo>
                        <a:pt x="772352" y="587342"/>
                      </a:lnTo>
                      <a:lnTo>
                        <a:pt x="771441" y="585605"/>
                      </a:lnTo>
                      <a:lnTo>
                        <a:pt x="769692" y="584743"/>
                      </a:lnTo>
                      <a:lnTo>
                        <a:pt x="768514" y="584160"/>
                      </a:lnTo>
                      <a:lnTo>
                        <a:pt x="768357" y="582885"/>
                      </a:lnTo>
                      <a:lnTo>
                        <a:pt x="767992" y="580032"/>
                      </a:lnTo>
                      <a:lnTo>
                        <a:pt x="766122" y="578866"/>
                      </a:lnTo>
                      <a:lnTo>
                        <a:pt x="771052" y="577360"/>
                      </a:lnTo>
                      <a:lnTo>
                        <a:pt x="767349" y="570779"/>
                      </a:lnTo>
                      <a:lnTo>
                        <a:pt x="766742" y="569686"/>
                      </a:lnTo>
                      <a:lnTo>
                        <a:pt x="767021" y="569152"/>
                      </a:lnTo>
                      <a:lnTo>
                        <a:pt x="767409" y="568399"/>
                      </a:lnTo>
                      <a:lnTo>
                        <a:pt x="767592" y="567573"/>
                      </a:lnTo>
                      <a:lnTo>
                        <a:pt x="768053" y="565375"/>
                      </a:lnTo>
                      <a:lnTo>
                        <a:pt x="768952" y="561077"/>
                      </a:lnTo>
                      <a:lnTo>
                        <a:pt x="770567" y="559462"/>
                      </a:lnTo>
                      <a:lnTo>
                        <a:pt x="768102" y="558308"/>
                      </a:lnTo>
                      <a:lnTo>
                        <a:pt x="779443" y="549711"/>
                      </a:lnTo>
                      <a:lnTo>
                        <a:pt x="768599" y="550439"/>
                      </a:lnTo>
                      <a:lnTo>
                        <a:pt x="768672" y="550379"/>
                      </a:lnTo>
                      <a:lnTo>
                        <a:pt x="769000" y="550014"/>
                      </a:lnTo>
                      <a:lnTo>
                        <a:pt x="769207" y="549784"/>
                      </a:lnTo>
                      <a:lnTo>
                        <a:pt x="770494" y="549784"/>
                      </a:lnTo>
                      <a:lnTo>
                        <a:pt x="775764" y="549784"/>
                      </a:lnTo>
                      <a:lnTo>
                        <a:pt x="776152" y="547112"/>
                      </a:lnTo>
                      <a:lnTo>
                        <a:pt x="777719" y="546930"/>
                      </a:lnTo>
                      <a:lnTo>
                        <a:pt x="778751" y="546809"/>
                      </a:lnTo>
                      <a:lnTo>
                        <a:pt x="779686" y="546359"/>
                      </a:lnTo>
                      <a:lnTo>
                        <a:pt x="781228" y="545607"/>
                      </a:lnTo>
                      <a:lnTo>
                        <a:pt x="782054" y="545206"/>
                      </a:lnTo>
                      <a:lnTo>
                        <a:pt x="782722" y="544587"/>
                      </a:lnTo>
                      <a:lnTo>
                        <a:pt x="786000" y="541539"/>
                      </a:lnTo>
                      <a:lnTo>
                        <a:pt x="787263" y="540361"/>
                      </a:lnTo>
                      <a:lnTo>
                        <a:pt x="789837" y="541867"/>
                      </a:lnTo>
                      <a:lnTo>
                        <a:pt x="791635" y="533755"/>
                      </a:lnTo>
                      <a:lnTo>
                        <a:pt x="791926" y="532468"/>
                      </a:lnTo>
                      <a:lnTo>
                        <a:pt x="793335" y="529748"/>
                      </a:lnTo>
                      <a:lnTo>
                        <a:pt x="793881" y="528679"/>
                      </a:lnTo>
                      <a:lnTo>
                        <a:pt x="793990" y="527477"/>
                      </a:lnTo>
                      <a:lnTo>
                        <a:pt x="795836" y="506640"/>
                      </a:lnTo>
                      <a:lnTo>
                        <a:pt x="795921" y="505680"/>
                      </a:lnTo>
                      <a:lnTo>
                        <a:pt x="795702" y="504746"/>
                      </a:lnTo>
                      <a:lnTo>
                        <a:pt x="793917" y="496950"/>
                      </a:lnTo>
                      <a:lnTo>
                        <a:pt x="796504" y="496452"/>
                      </a:lnTo>
                      <a:lnTo>
                        <a:pt x="797512" y="493392"/>
                      </a:lnTo>
                      <a:lnTo>
                        <a:pt x="798095" y="494849"/>
                      </a:lnTo>
                      <a:lnTo>
                        <a:pt x="799127" y="497448"/>
                      </a:lnTo>
                      <a:lnTo>
                        <a:pt x="801774" y="498346"/>
                      </a:lnTo>
                      <a:lnTo>
                        <a:pt x="805915" y="499755"/>
                      </a:lnTo>
                      <a:lnTo>
                        <a:pt x="808416" y="500593"/>
                      </a:lnTo>
                      <a:lnTo>
                        <a:pt x="810578" y="499439"/>
                      </a:lnTo>
                      <a:lnTo>
                        <a:pt x="810748" y="500156"/>
                      </a:lnTo>
                      <a:lnTo>
                        <a:pt x="813395" y="501406"/>
                      </a:lnTo>
                      <a:lnTo>
                        <a:pt x="815119" y="502208"/>
                      </a:lnTo>
                      <a:lnTo>
                        <a:pt x="816528" y="502863"/>
                      </a:lnTo>
                      <a:lnTo>
                        <a:pt x="818082" y="502766"/>
                      </a:lnTo>
                      <a:lnTo>
                        <a:pt x="820498" y="502608"/>
                      </a:lnTo>
                      <a:lnTo>
                        <a:pt x="821276" y="502560"/>
                      </a:lnTo>
                      <a:lnTo>
                        <a:pt x="822016" y="502305"/>
                      </a:lnTo>
                      <a:lnTo>
                        <a:pt x="826254" y="500908"/>
                      </a:lnTo>
                      <a:lnTo>
                        <a:pt x="827056" y="500653"/>
                      </a:lnTo>
                      <a:lnTo>
                        <a:pt x="827760" y="500168"/>
                      </a:lnTo>
                      <a:lnTo>
                        <a:pt x="831439" y="497666"/>
                      </a:lnTo>
                      <a:lnTo>
                        <a:pt x="831876" y="497387"/>
                      </a:lnTo>
                      <a:lnTo>
                        <a:pt x="832241" y="497023"/>
                      </a:lnTo>
                      <a:lnTo>
                        <a:pt x="837134" y="492299"/>
                      </a:lnTo>
                      <a:lnTo>
                        <a:pt x="838591" y="491862"/>
                      </a:lnTo>
                      <a:lnTo>
                        <a:pt x="840984" y="492020"/>
                      </a:lnTo>
                      <a:lnTo>
                        <a:pt x="841311" y="492129"/>
                      </a:lnTo>
                      <a:lnTo>
                        <a:pt x="843958" y="494011"/>
                      </a:lnTo>
                      <a:lnTo>
                        <a:pt x="844942" y="494715"/>
                      </a:lnTo>
                      <a:lnTo>
                        <a:pt x="844736" y="494703"/>
                      </a:lnTo>
                      <a:lnTo>
                        <a:pt x="843704" y="495007"/>
                      </a:lnTo>
                      <a:lnTo>
                        <a:pt x="839271" y="496306"/>
                      </a:lnTo>
                      <a:lnTo>
                        <a:pt x="838251" y="496598"/>
                      </a:lnTo>
                      <a:lnTo>
                        <a:pt x="837389" y="497241"/>
                      </a:lnTo>
                      <a:lnTo>
                        <a:pt x="834584" y="499306"/>
                      </a:lnTo>
                      <a:lnTo>
                        <a:pt x="834159" y="499609"/>
                      </a:lnTo>
                      <a:lnTo>
                        <a:pt x="833795" y="499986"/>
                      </a:lnTo>
                      <a:lnTo>
                        <a:pt x="830407" y="503519"/>
                      </a:lnTo>
                      <a:lnTo>
                        <a:pt x="830128" y="503798"/>
                      </a:lnTo>
                      <a:lnTo>
                        <a:pt x="829897" y="504114"/>
                      </a:lnTo>
                      <a:lnTo>
                        <a:pt x="827019" y="508024"/>
                      </a:lnTo>
                      <a:lnTo>
                        <a:pt x="826497" y="508740"/>
                      </a:lnTo>
                      <a:lnTo>
                        <a:pt x="826193" y="509578"/>
                      </a:lnTo>
                      <a:lnTo>
                        <a:pt x="825052" y="512796"/>
                      </a:lnTo>
                      <a:lnTo>
                        <a:pt x="824809" y="513476"/>
                      </a:lnTo>
                      <a:lnTo>
                        <a:pt x="824736" y="514193"/>
                      </a:lnTo>
                      <a:lnTo>
                        <a:pt x="824323" y="517981"/>
                      </a:lnTo>
                      <a:lnTo>
                        <a:pt x="824020" y="519050"/>
                      </a:lnTo>
                      <a:lnTo>
                        <a:pt x="822308" y="522268"/>
                      </a:lnTo>
                      <a:lnTo>
                        <a:pt x="821591" y="523591"/>
                      </a:lnTo>
                      <a:lnTo>
                        <a:pt x="821591" y="525109"/>
                      </a:lnTo>
                      <a:lnTo>
                        <a:pt x="821591" y="527222"/>
                      </a:lnTo>
                      <a:lnTo>
                        <a:pt x="821591" y="527732"/>
                      </a:lnTo>
                      <a:lnTo>
                        <a:pt x="821676" y="528230"/>
                      </a:lnTo>
                      <a:lnTo>
                        <a:pt x="822004" y="530173"/>
                      </a:lnTo>
                      <a:lnTo>
                        <a:pt x="822065" y="531436"/>
                      </a:lnTo>
                      <a:lnTo>
                        <a:pt x="821470" y="534690"/>
                      </a:lnTo>
                      <a:lnTo>
                        <a:pt x="819126" y="541745"/>
                      </a:lnTo>
                      <a:lnTo>
                        <a:pt x="818968" y="542207"/>
                      </a:lnTo>
                      <a:lnTo>
                        <a:pt x="818896" y="542692"/>
                      </a:lnTo>
                      <a:lnTo>
                        <a:pt x="818325" y="546262"/>
                      </a:lnTo>
                      <a:lnTo>
                        <a:pt x="818070" y="547877"/>
                      </a:lnTo>
                      <a:lnTo>
                        <a:pt x="818653" y="549395"/>
                      </a:lnTo>
                      <a:lnTo>
                        <a:pt x="819685" y="552091"/>
                      </a:lnTo>
                      <a:lnTo>
                        <a:pt x="819867" y="552589"/>
                      </a:lnTo>
                      <a:lnTo>
                        <a:pt x="820134" y="553038"/>
                      </a:lnTo>
                      <a:lnTo>
                        <a:pt x="825076" y="561307"/>
                      </a:lnTo>
                      <a:lnTo>
                        <a:pt x="825392" y="561842"/>
                      </a:lnTo>
                      <a:lnTo>
                        <a:pt x="825817" y="562303"/>
                      </a:lnTo>
                      <a:lnTo>
                        <a:pt x="827541" y="564173"/>
                      </a:lnTo>
                      <a:lnTo>
                        <a:pt x="830079" y="566942"/>
                      </a:lnTo>
                      <a:lnTo>
                        <a:pt x="833686" y="565898"/>
                      </a:lnTo>
                      <a:lnTo>
                        <a:pt x="835908" y="565254"/>
                      </a:lnTo>
                      <a:lnTo>
                        <a:pt x="835628" y="565752"/>
                      </a:lnTo>
                      <a:lnTo>
                        <a:pt x="833686" y="566784"/>
                      </a:lnTo>
                      <a:lnTo>
                        <a:pt x="831658" y="567852"/>
                      </a:lnTo>
                      <a:lnTo>
                        <a:pt x="830844" y="570002"/>
                      </a:lnTo>
                      <a:lnTo>
                        <a:pt x="830103" y="571957"/>
                      </a:lnTo>
                      <a:lnTo>
                        <a:pt x="829824" y="572710"/>
                      </a:lnTo>
                      <a:lnTo>
                        <a:pt x="829751" y="573523"/>
                      </a:lnTo>
                      <a:lnTo>
                        <a:pt x="828586" y="585799"/>
                      </a:lnTo>
                      <a:lnTo>
                        <a:pt x="827651" y="589224"/>
                      </a:lnTo>
                      <a:lnTo>
                        <a:pt x="824457" y="596279"/>
                      </a:lnTo>
                      <a:lnTo>
                        <a:pt x="824141" y="596996"/>
                      </a:lnTo>
                      <a:lnTo>
                        <a:pt x="824008" y="597760"/>
                      </a:lnTo>
                      <a:lnTo>
                        <a:pt x="823376" y="601440"/>
                      </a:lnTo>
                      <a:lnTo>
                        <a:pt x="823146" y="602727"/>
                      </a:lnTo>
                      <a:lnTo>
                        <a:pt x="823486" y="603990"/>
                      </a:lnTo>
                      <a:lnTo>
                        <a:pt x="824639" y="608349"/>
                      </a:lnTo>
                      <a:lnTo>
                        <a:pt x="825392" y="611239"/>
                      </a:lnTo>
                      <a:lnTo>
                        <a:pt x="828148" y="612405"/>
                      </a:lnTo>
                      <a:lnTo>
                        <a:pt x="831075" y="613643"/>
                      </a:lnTo>
                      <a:lnTo>
                        <a:pt x="832787" y="614372"/>
                      </a:lnTo>
                      <a:lnTo>
                        <a:pt x="834596" y="614008"/>
                      </a:lnTo>
                      <a:lnTo>
                        <a:pt x="838397" y="613255"/>
                      </a:lnTo>
                      <a:lnTo>
                        <a:pt x="838810" y="613170"/>
                      </a:lnTo>
                      <a:lnTo>
                        <a:pt x="839211" y="613036"/>
                      </a:lnTo>
                      <a:lnTo>
                        <a:pt x="846642" y="610450"/>
                      </a:lnTo>
                      <a:lnTo>
                        <a:pt x="848403" y="610547"/>
                      </a:lnTo>
                      <a:lnTo>
                        <a:pt x="851256" y="611227"/>
                      </a:lnTo>
                      <a:lnTo>
                        <a:pt x="851633" y="611324"/>
                      </a:lnTo>
                      <a:lnTo>
                        <a:pt x="852021" y="611361"/>
                      </a:lnTo>
                      <a:lnTo>
                        <a:pt x="856441" y="611822"/>
                      </a:lnTo>
                      <a:lnTo>
                        <a:pt x="857279" y="611919"/>
                      </a:lnTo>
                      <a:lnTo>
                        <a:pt x="858105" y="611773"/>
                      </a:lnTo>
                      <a:lnTo>
                        <a:pt x="867904" y="610074"/>
                      </a:lnTo>
                      <a:lnTo>
                        <a:pt x="870758" y="610413"/>
                      </a:lnTo>
                      <a:lnTo>
                        <a:pt x="876489" y="612041"/>
                      </a:lnTo>
                      <a:lnTo>
                        <a:pt x="873259" y="618379"/>
                      </a:lnTo>
                      <a:lnTo>
                        <a:pt x="871304" y="620298"/>
                      </a:lnTo>
                      <a:lnTo>
                        <a:pt x="867892" y="622775"/>
                      </a:lnTo>
                      <a:lnTo>
                        <a:pt x="864468" y="624548"/>
                      </a:lnTo>
                      <a:lnTo>
                        <a:pt x="860922" y="625325"/>
                      </a:lnTo>
                      <a:lnTo>
                        <a:pt x="859987" y="625543"/>
                      </a:lnTo>
                      <a:lnTo>
                        <a:pt x="859161" y="626029"/>
                      </a:lnTo>
                      <a:lnTo>
                        <a:pt x="856587" y="627547"/>
                      </a:lnTo>
                      <a:lnTo>
                        <a:pt x="856065" y="627851"/>
                      </a:lnTo>
                      <a:lnTo>
                        <a:pt x="855604" y="628251"/>
                      </a:lnTo>
                      <a:lnTo>
                        <a:pt x="848864" y="634311"/>
                      </a:lnTo>
                      <a:lnTo>
                        <a:pt x="846606" y="635440"/>
                      </a:lnTo>
                      <a:lnTo>
                        <a:pt x="846035" y="635731"/>
                      </a:lnTo>
                      <a:lnTo>
                        <a:pt x="845537" y="636120"/>
                      </a:lnTo>
                      <a:lnTo>
                        <a:pt x="842611" y="638463"/>
                      </a:lnTo>
                      <a:lnTo>
                        <a:pt x="841603" y="639265"/>
                      </a:lnTo>
                      <a:lnTo>
                        <a:pt x="841008" y="640406"/>
                      </a:lnTo>
                      <a:lnTo>
                        <a:pt x="835434" y="651153"/>
                      </a:lnTo>
                      <a:lnTo>
                        <a:pt x="835276" y="651457"/>
                      </a:lnTo>
                      <a:lnTo>
                        <a:pt x="835155" y="651772"/>
                      </a:lnTo>
                      <a:lnTo>
                        <a:pt x="834001" y="654772"/>
                      </a:lnTo>
                      <a:lnTo>
                        <a:pt x="832738" y="658050"/>
                      </a:lnTo>
                      <a:lnTo>
                        <a:pt x="828731" y="660054"/>
                      </a:lnTo>
                      <a:lnTo>
                        <a:pt x="830201" y="664656"/>
                      </a:lnTo>
                      <a:lnTo>
                        <a:pt x="830201" y="664668"/>
                      </a:lnTo>
                      <a:lnTo>
                        <a:pt x="830213" y="664668"/>
                      </a:lnTo>
                      <a:lnTo>
                        <a:pt x="830322" y="665008"/>
                      </a:lnTo>
                      <a:lnTo>
                        <a:pt x="830905" y="666842"/>
                      </a:lnTo>
                      <a:lnTo>
                        <a:pt x="831415" y="668420"/>
                      </a:lnTo>
                      <a:lnTo>
                        <a:pt x="832653" y="669525"/>
                      </a:lnTo>
                      <a:lnTo>
                        <a:pt x="834062" y="670788"/>
                      </a:lnTo>
                      <a:lnTo>
                        <a:pt x="833928" y="671067"/>
                      </a:lnTo>
                      <a:lnTo>
                        <a:pt x="834281" y="672986"/>
                      </a:lnTo>
                      <a:lnTo>
                        <a:pt x="834621" y="674820"/>
                      </a:lnTo>
                      <a:lnTo>
                        <a:pt x="834706" y="675305"/>
                      </a:lnTo>
                      <a:lnTo>
                        <a:pt x="834876" y="675779"/>
                      </a:lnTo>
                      <a:lnTo>
                        <a:pt x="836381" y="679944"/>
                      </a:lnTo>
                      <a:lnTo>
                        <a:pt x="837098" y="685190"/>
                      </a:lnTo>
                      <a:lnTo>
                        <a:pt x="837183" y="685797"/>
                      </a:lnTo>
                      <a:lnTo>
                        <a:pt x="837389" y="686380"/>
                      </a:lnTo>
                      <a:lnTo>
                        <a:pt x="838142" y="688541"/>
                      </a:lnTo>
                      <a:lnTo>
                        <a:pt x="838531" y="689646"/>
                      </a:lnTo>
                      <a:lnTo>
                        <a:pt x="839296" y="690532"/>
                      </a:lnTo>
                      <a:lnTo>
                        <a:pt x="841651" y="693228"/>
                      </a:lnTo>
                      <a:lnTo>
                        <a:pt x="845901" y="698073"/>
                      </a:lnTo>
                      <a:lnTo>
                        <a:pt x="849144" y="694868"/>
                      </a:lnTo>
                      <a:lnTo>
                        <a:pt x="850200" y="695669"/>
                      </a:lnTo>
                      <a:lnTo>
                        <a:pt x="850807" y="696118"/>
                      </a:lnTo>
                      <a:lnTo>
                        <a:pt x="851499" y="696410"/>
                      </a:lnTo>
                      <a:lnTo>
                        <a:pt x="852337" y="696762"/>
                      </a:lnTo>
                      <a:lnTo>
                        <a:pt x="852592" y="697150"/>
                      </a:lnTo>
                      <a:lnTo>
                        <a:pt x="852847" y="697551"/>
                      </a:lnTo>
                      <a:lnTo>
                        <a:pt x="853163" y="697891"/>
                      </a:lnTo>
                      <a:lnTo>
                        <a:pt x="854656" y="699591"/>
                      </a:lnTo>
                      <a:lnTo>
                        <a:pt x="855057" y="700053"/>
                      </a:lnTo>
                      <a:lnTo>
                        <a:pt x="844979" y="707144"/>
                      </a:lnTo>
                      <a:lnTo>
                        <a:pt x="844408" y="707557"/>
                      </a:lnTo>
                      <a:lnTo>
                        <a:pt x="843934" y="708079"/>
                      </a:lnTo>
                      <a:lnTo>
                        <a:pt x="841105" y="711273"/>
                      </a:lnTo>
                      <a:lnTo>
                        <a:pt x="839660" y="712900"/>
                      </a:lnTo>
                      <a:lnTo>
                        <a:pt x="839575" y="715074"/>
                      </a:lnTo>
                      <a:lnTo>
                        <a:pt x="839466" y="717805"/>
                      </a:lnTo>
                      <a:lnTo>
                        <a:pt x="839381" y="720040"/>
                      </a:lnTo>
                      <a:lnTo>
                        <a:pt x="840765" y="721801"/>
                      </a:lnTo>
                      <a:lnTo>
                        <a:pt x="843521" y="725310"/>
                      </a:lnTo>
                      <a:lnTo>
                        <a:pt x="844651" y="726755"/>
                      </a:lnTo>
                      <a:lnTo>
                        <a:pt x="846399" y="727326"/>
                      </a:lnTo>
                      <a:lnTo>
                        <a:pt x="847954" y="727836"/>
                      </a:lnTo>
                      <a:lnTo>
                        <a:pt x="850637" y="728722"/>
                      </a:lnTo>
                      <a:lnTo>
                        <a:pt x="853041" y="727241"/>
                      </a:lnTo>
                      <a:lnTo>
                        <a:pt x="855081" y="725978"/>
                      </a:lnTo>
                      <a:lnTo>
                        <a:pt x="853649" y="734429"/>
                      </a:lnTo>
                      <a:lnTo>
                        <a:pt x="864067" y="729657"/>
                      </a:lnTo>
                      <a:lnTo>
                        <a:pt x="866666" y="728455"/>
                      </a:lnTo>
                      <a:lnTo>
                        <a:pt x="868232" y="733142"/>
                      </a:lnTo>
                      <a:lnTo>
                        <a:pt x="869204" y="736044"/>
                      </a:lnTo>
                      <a:lnTo>
                        <a:pt x="869495" y="736906"/>
                      </a:lnTo>
                      <a:lnTo>
                        <a:pt x="870017" y="737659"/>
                      </a:lnTo>
                      <a:lnTo>
                        <a:pt x="871924" y="740331"/>
                      </a:lnTo>
                      <a:lnTo>
                        <a:pt x="872640" y="741326"/>
                      </a:lnTo>
                      <a:lnTo>
                        <a:pt x="873684" y="741970"/>
                      </a:lnTo>
                      <a:lnTo>
                        <a:pt x="874704" y="742602"/>
                      </a:lnTo>
                      <a:lnTo>
                        <a:pt x="875870" y="743330"/>
                      </a:lnTo>
                      <a:lnTo>
                        <a:pt x="877230" y="743476"/>
                      </a:lnTo>
                      <a:lnTo>
                        <a:pt x="878639" y="743634"/>
                      </a:lnTo>
                      <a:lnTo>
                        <a:pt x="878906" y="744994"/>
                      </a:lnTo>
                      <a:lnTo>
                        <a:pt x="879999" y="746232"/>
                      </a:lnTo>
                      <a:lnTo>
                        <a:pt x="881784" y="748248"/>
                      </a:lnTo>
                      <a:lnTo>
                        <a:pt x="882245" y="748770"/>
                      </a:lnTo>
                      <a:lnTo>
                        <a:pt x="878748" y="752085"/>
                      </a:lnTo>
                      <a:lnTo>
                        <a:pt x="882427" y="756457"/>
                      </a:lnTo>
                      <a:lnTo>
                        <a:pt x="884613" y="759043"/>
                      </a:lnTo>
                      <a:lnTo>
                        <a:pt x="884504" y="759529"/>
                      </a:lnTo>
                      <a:lnTo>
                        <a:pt x="883083" y="765685"/>
                      </a:lnTo>
                      <a:lnTo>
                        <a:pt x="881796" y="768065"/>
                      </a:lnTo>
                      <a:lnTo>
                        <a:pt x="869289" y="791222"/>
                      </a:lnTo>
                      <a:lnTo>
                        <a:pt x="890029" y="776334"/>
                      </a:lnTo>
                      <a:lnTo>
                        <a:pt x="890442" y="778022"/>
                      </a:lnTo>
                      <a:lnTo>
                        <a:pt x="891049" y="780500"/>
                      </a:lnTo>
                      <a:lnTo>
                        <a:pt x="893247" y="781787"/>
                      </a:lnTo>
                      <a:lnTo>
                        <a:pt x="895942" y="783378"/>
                      </a:lnTo>
                      <a:lnTo>
                        <a:pt x="897861" y="784507"/>
                      </a:lnTo>
                      <a:lnTo>
                        <a:pt x="895360" y="786231"/>
                      </a:lnTo>
                      <a:lnTo>
                        <a:pt x="890600" y="789509"/>
                      </a:lnTo>
                      <a:lnTo>
                        <a:pt x="893635" y="794427"/>
                      </a:lnTo>
                      <a:lnTo>
                        <a:pt x="894534" y="795873"/>
                      </a:lnTo>
                      <a:lnTo>
                        <a:pt x="894680" y="797791"/>
                      </a:lnTo>
                      <a:lnTo>
                        <a:pt x="894072" y="805660"/>
                      </a:lnTo>
                      <a:lnTo>
                        <a:pt x="894060" y="805721"/>
                      </a:lnTo>
                      <a:lnTo>
                        <a:pt x="892542" y="807202"/>
                      </a:lnTo>
                      <a:lnTo>
                        <a:pt x="891462" y="808270"/>
                      </a:lnTo>
                      <a:lnTo>
                        <a:pt x="891000" y="809715"/>
                      </a:lnTo>
                      <a:lnTo>
                        <a:pt x="890430" y="811513"/>
                      </a:lnTo>
                      <a:lnTo>
                        <a:pt x="890065" y="812666"/>
                      </a:lnTo>
                      <a:lnTo>
                        <a:pt x="890175" y="813881"/>
                      </a:lnTo>
                      <a:lnTo>
                        <a:pt x="890357" y="815981"/>
                      </a:lnTo>
                      <a:lnTo>
                        <a:pt x="890381" y="816309"/>
                      </a:lnTo>
                      <a:lnTo>
                        <a:pt x="890442" y="816649"/>
                      </a:lnTo>
                      <a:lnTo>
                        <a:pt x="891195" y="820401"/>
                      </a:lnTo>
                      <a:lnTo>
                        <a:pt x="891304" y="822271"/>
                      </a:lnTo>
                      <a:lnTo>
                        <a:pt x="891146" y="825671"/>
                      </a:lnTo>
                      <a:lnTo>
                        <a:pt x="890575" y="828865"/>
                      </a:lnTo>
                      <a:lnTo>
                        <a:pt x="889628" y="831366"/>
                      </a:lnTo>
                      <a:lnTo>
                        <a:pt x="884055" y="839381"/>
                      </a:lnTo>
                      <a:lnTo>
                        <a:pt x="879622" y="845744"/>
                      </a:lnTo>
                      <a:lnTo>
                        <a:pt x="886860" y="848524"/>
                      </a:lnTo>
                      <a:lnTo>
                        <a:pt x="888195" y="849034"/>
                      </a:lnTo>
                      <a:lnTo>
                        <a:pt x="889434" y="850892"/>
                      </a:lnTo>
                      <a:lnTo>
                        <a:pt x="889871" y="852871"/>
                      </a:lnTo>
                      <a:lnTo>
                        <a:pt x="889762" y="854256"/>
                      </a:lnTo>
                      <a:lnTo>
                        <a:pt x="887394" y="854669"/>
                      </a:lnTo>
                      <a:lnTo>
                        <a:pt x="884395" y="854304"/>
                      </a:lnTo>
                      <a:lnTo>
                        <a:pt x="879817" y="853733"/>
                      </a:lnTo>
                      <a:lnTo>
                        <a:pt x="878202" y="857595"/>
                      </a:lnTo>
                      <a:lnTo>
                        <a:pt x="877947" y="857874"/>
                      </a:lnTo>
                      <a:lnTo>
                        <a:pt x="876332" y="859210"/>
                      </a:lnTo>
                      <a:lnTo>
                        <a:pt x="875967" y="859441"/>
                      </a:lnTo>
                      <a:lnTo>
                        <a:pt x="871644" y="859441"/>
                      </a:lnTo>
                      <a:lnTo>
                        <a:pt x="870770" y="864468"/>
                      </a:lnTo>
                      <a:lnTo>
                        <a:pt x="870175" y="867916"/>
                      </a:lnTo>
                      <a:lnTo>
                        <a:pt x="868973" y="870297"/>
                      </a:lnTo>
                      <a:lnTo>
                        <a:pt x="867067" y="873101"/>
                      </a:lnTo>
                      <a:lnTo>
                        <a:pt x="866884" y="873369"/>
                      </a:lnTo>
                      <a:lnTo>
                        <a:pt x="866727" y="873660"/>
                      </a:lnTo>
                      <a:lnTo>
                        <a:pt x="865124" y="876708"/>
                      </a:lnTo>
                      <a:lnTo>
                        <a:pt x="864650" y="877619"/>
                      </a:lnTo>
                      <a:lnTo>
                        <a:pt x="864492" y="878627"/>
                      </a:lnTo>
                      <a:lnTo>
                        <a:pt x="863642" y="884225"/>
                      </a:lnTo>
                      <a:lnTo>
                        <a:pt x="863460" y="884650"/>
                      </a:lnTo>
                      <a:lnTo>
                        <a:pt x="863278" y="886337"/>
                      </a:lnTo>
                      <a:lnTo>
                        <a:pt x="863278" y="890332"/>
                      </a:lnTo>
                      <a:lnTo>
                        <a:pt x="863278" y="891522"/>
                      </a:lnTo>
                      <a:lnTo>
                        <a:pt x="863727" y="892615"/>
                      </a:lnTo>
                      <a:lnTo>
                        <a:pt x="864177" y="893732"/>
                      </a:lnTo>
                      <a:lnTo>
                        <a:pt x="864249" y="893915"/>
                      </a:lnTo>
                      <a:lnTo>
                        <a:pt x="863618" y="894789"/>
                      </a:lnTo>
                      <a:lnTo>
                        <a:pt x="862986" y="895663"/>
                      </a:lnTo>
                      <a:lnTo>
                        <a:pt x="862695" y="896720"/>
                      </a:lnTo>
                      <a:lnTo>
                        <a:pt x="862124" y="898820"/>
                      </a:lnTo>
                      <a:lnTo>
                        <a:pt x="862027" y="899185"/>
                      </a:lnTo>
                      <a:lnTo>
                        <a:pt x="861979" y="899573"/>
                      </a:lnTo>
                      <a:lnTo>
                        <a:pt x="860861" y="907515"/>
                      </a:lnTo>
                      <a:lnTo>
                        <a:pt x="857753" y="916003"/>
                      </a:lnTo>
                      <a:lnTo>
                        <a:pt x="857619" y="916355"/>
                      </a:lnTo>
                      <a:lnTo>
                        <a:pt x="857534" y="916731"/>
                      </a:lnTo>
                      <a:lnTo>
                        <a:pt x="857073" y="918735"/>
                      </a:lnTo>
                      <a:lnTo>
                        <a:pt x="855373" y="926154"/>
                      </a:lnTo>
                      <a:lnTo>
                        <a:pt x="862986" y="926154"/>
                      </a:lnTo>
                      <a:lnTo>
                        <a:pt x="863387" y="926154"/>
                      </a:lnTo>
                      <a:lnTo>
                        <a:pt x="863849" y="926106"/>
                      </a:lnTo>
                      <a:lnTo>
                        <a:pt x="868329" y="925510"/>
                      </a:lnTo>
                      <a:lnTo>
                        <a:pt x="869495" y="925353"/>
                      </a:lnTo>
                      <a:lnTo>
                        <a:pt x="870515" y="924770"/>
                      </a:lnTo>
                      <a:lnTo>
                        <a:pt x="874134" y="922730"/>
                      </a:lnTo>
                      <a:lnTo>
                        <a:pt x="874632" y="922451"/>
                      </a:lnTo>
                      <a:lnTo>
                        <a:pt x="875069" y="922086"/>
                      </a:lnTo>
                      <a:lnTo>
                        <a:pt x="876077" y="921236"/>
                      </a:lnTo>
                      <a:lnTo>
                        <a:pt x="876696" y="920835"/>
                      </a:lnTo>
                      <a:lnTo>
                        <a:pt x="879088" y="921807"/>
                      </a:lnTo>
                      <a:lnTo>
                        <a:pt x="880412" y="922353"/>
                      </a:lnTo>
                      <a:lnTo>
                        <a:pt x="881844" y="922232"/>
                      </a:lnTo>
                      <a:lnTo>
                        <a:pt x="882767" y="922159"/>
                      </a:lnTo>
                      <a:lnTo>
                        <a:pt x="884953" y="921989"/>
                      </a:lnTo>
                      <a:lnTo>
                        <a:pt x="886520" y="920471"/>
                      </a:lnTo>
                      <a:lnTo>
                        <a:pt x="886884" y="920119"/>
                      </a:lnTo>
                      <a:lnTo>
                        <a:pt x="890199" y="920447"/>
                      </a:lnTo>
                      <a:lnTo>
                        <a:pt x="890515" y="920471"/>
                      </a:lnTo>
                      <a:lnTo>
                        <a:pt x="890830" y="920471"/>
                      </a:lnTo>
                      <a:lnTo>
                        <a:pt x="893939" y="920447"/>
                      </a:lnTo>
                      <a:lnTo>
                        <a:pt x="894582" y="920447"/>
                      </a:lnTo>
                      <a:lnTo>
                        <a:pt x="895214" y="920301"/>
                      </a:lnTo>
                      <a:lnTo>
                        <a:pt x="899865" y="919269"/>
                      </a:lnTo>
                      <a:lnTo>
                        <a:pt x="900411" y="919148"/>
                      </a:lnTo>
                      <a:lnTo>
                        <a:pt x="900933" y="918917"/>
                      </a:lnTo>
                      <a:lnTo>
                        <a:pt x="910223" y="914958"/>
                      </a:lnTo>
                      <a:lnTo>
                        <a:pt x="914837" y="912991"/>
                      </a:lnTo>
                      <a:lnTo>
                        <a:pt x="913780" y="908085"/>
                      </a:lnTo>
                      <a:lnTo>
                        <a:pt x="913416" y="906422"/>
                      </a:lnTo>
                      <a:lnTo>
                        <a:pt x="912870" y="899136"/>
                      </a:lnTo>
                      <a:lnTo>
                        <a:pt x="912821" y="898480"/>
                      </a:lnTo>
                      <a:lnTo>
                        <a:pt x="912627" y="897861"/>
                      </a:lnTo>
                      <a:lnTo>
                        <a:pt x="912226" y="896513"/>
                      </a:lnTo>
                      <a:lnTo>
                        <a:pt x="912068" y="895979"/>
                      </a:lnTo>
                      <a:lnTo>
                        <a:pt x="911813" y="895493"/>
                      </a:lnTo>
                      <a:lnTo>
                        <a:pt x="911073" y="894036"/>
                      </a:lnTo>
                      <a:lnTo>
                        <a:pt x="910842" y="893574"/>
                      </a:lnTo>
                      <a:lnTo>
                        <a:pt x="910380" y="893040"/>
                      </a:lnTo>
                      <a:lnTo>
                        <a:pt x="909288" y="891753"/>
                      </a:lnTo>
                      <a:lnTo>
                        <a:pt x="908923" y="891316"/>
                      </a:lnTo>
                      <a:lnTo>
                        <a:pt x="908486" y="890964"/>
                      </a:lnTo>
                      <a:lnTo>
                        <a:pt x="908389" y="890891"/>
                      </a:lnTo>
                      <a:lnTo>
                        <a:pt x="909992" y="890709"/>
                      </a:lnTo>
                      <a:lnTo>
                        <a:pt x="911522" y="889094"/>
                      </a:lnTo>
                      <a:lnTo>
                        <a:pt x="911971" y="888620"/>
                      </a:lnTo>
                      <a:lnTo>
                        <a:pt x="912748" y="887807"/>
                      </a:lnTo>
                      <a:lnTo>
                        <a:pt x="913173" y="886762"/>
                      </a:lnTo>
                      <a:lnTo>
                        <a:pt x="914703" y="883059"/>
                      </a:lnTo>
                      <a:lnTo>
                        <a:pt x="915177" y="883156"/>
                      </a:lnTo>
                      <a:lnTo>
                        <a:pt x="916100" y="883350"/>
                      </a:lnTo>
                      <a:lnTo>
                        <a:pt x="917035" y="883241"/>
                      </a:lnTo>
                      <a:lnTo>
                        <a:pt x="918079" y="883120"/>
                      </a:lnTo>
                      <a:lnTo>
                        <a:pt x="919257" y="882974"/>
                      </a:lnTo>
                      <a:lnTo>
                        <a:pt x="920301" y="882403"/>
                      </a:lnTo>
                      <a:lnTo>
                        <a:pt x="924078" y="880339"/>
                      </a:lnTo>
                      <a:lnTo>
                        <a:pt x="924612" y="880047"/>
                      </a:lnTo>
                      <a:lnTo>
                        <a:pt x="925085" y="879659"/>
                      </a:lnTo>
                      <a:lnTo>
                        <a:pt x="925717" y="879113"/>
                      </a:lnTo>
                      <a:lnTo>
                        <a:pt x="925851" y="879367"/>
                      </a:lnTo>
                      <a:lnTo>
                        <a:pt x="926373" y="880339"/>
                      </a:lnTo>
                      <a:lnTo>
                        <a:pt x="927065" y="881638"/>
                      </a:lnTo>
                      <a:lnTo>
                        <a:pt x="928279" y="882464"/>
                      </a:lnTo>
                      <a:lnTo>
                        <a:pt x="929056" y="882998"/>
                      </a:lnTo>
                      <a:lnTo>
                        <a:pt x="923725" y="885864"/>
                      </a:lnTo>
                      <a:lnTo>
                        <a:pt x="923131" y="886179"/>
                      </a:lnTo>
                      <a:lnTo>
                        <a:pt x="922621" y="886629"/>
                      </a:lnTo>
                      <a:lnTo>
                        <a:pt x="921528" y="887576"/>
                      </a:lnTo>
                      <a:lnTo>
                        <a:pt x="921115" y="887928"/>
                      </a:lnTo>
                      <a:lnTo>
                        <a:pt x="920775" y="888365"/>
                      </a:lnTo>
                      <a:lnTo>
                        <a:pt x="920095" y="889203"/>
                      </a:lnTo>
                      <a:lnTo>
                        <a:pt x="919658" y="889762"/>
                      </a:lnTo>
                      <a:lnTo>
                        <a:pt x="919354" y="890393"/>
                      </a:lnTo>
                      <a:lnTo>
                        <a:pt x="919002" y="891146"/>
                      </a:lnTo>
                      <a:lnTo>
                        <a:pt x="918771" y="891644"/>
                      </a:lnTo>
                      <a:lnTo>
                        <a:pt x="918625" y="892166"/>
                      </a:lnTo>
                      <a:lnTo>
                        <a:pt x="918346" y="893210"/>
                      </a:lnTo>
                      <a:lnTo>
                        <a:pt x="918188" y="893793"/>
                      </a:lnTo>
                      <a:lnTo>
                        <a:pt x="918152" y="894412"/>
                      </a:lnTo>
                      <a:lnTo>
                        <a:pt x="918091" y="895360"/>
                      </a:lnTo>
                      <a:lnTo>
                        <a:pt x="918067" y="895712"/>
                      </a:lnTo>
                      <a:lnTo>
                        <a:pt x="918079" y="896064"/>
                      </a:lnTo>
                      <a:lnTo>
                        <a:pt x="918140" y="897157"/>
                      </a:lnTo>
                      <a:lnTo>
                        <a:pt x="918164" y="897618"/>
                      </a:lnTo>
                      <a:lnTo>
                        <a:pt x="918261" y="898080"/>
                      </a:lnTo>
                      <a:lnTo>
                        <a:pt x="919694" y="904880"/>
                      </a:lnTo>
                      <a:lnTo>
                        <a:pt x="919828" y="905499"/>
                      </a:lnTo>
                      <a:lnTo>
                        <a:pt x="920083" y="906082"/>
                      </a:lnTo>
                      <a:lnTo>
                        <a:pt x="920835" y="907794"/>
                      </a:lnTo>
                      <a:lnTo>
                        <a:pt x="921370" y="909008"/>
                      </a:lnTo>
                      <a:lnTo>
                        <a:pt x="922365" y="909883"/>
                      </a:lnTo>
                      <a:lnTo>
                        <a:pt x="923859" y="911206"/>
                      </a:lnTo>
                      <a:lnTo>
                        <a:pt x="924782" y="912020"/>
                      </a:lnTo>
                      <a:lnTo>
                        <a:pt x="925948" y="912408"/>
                      </a:lnTo>
                      <a:lnTo>
                        <a:pt x="928231" y="913173"/>
                      </a:lnTo>
                      <a:lnTo>
                        <a:pt x="929335" y="913538"/>
                      </a:lnTo>
                      <a:lnTo>
                        <a:pt x="930501" y="913477"/>
                      </a:lnTo>
                      <a:lnTo>
                        <a:pt x="934302" y="913270"/>
                      </a:lnTo>
                      <a:lnTo>
                        <a:pt x="935176" y="913222"/>
                      </a:lnTo>
                      <a:lnTo>
                        <a:pt x="936002" y="912942"/>
                      </a:lnTo>
                      <a:lnTo>
                        <a:pt x="937945" y="912250"/>
                      </a:lnTo>
                      <a:lnTo>
                        <a:pt x="938807" y="911947"/>
                      </a:lnTo>
                      <a:lnTo>
                        <a:pt x="939536" y="911412"/>
                      </a:lnTo>
                      <a:lnTo>
                        <a:pt x="940628" y="910611"/>
                      </a:lnTo>
                      <a:lnTo>
                        <a:pt x="942219" y="909421"/>
                      </a:lnTo>
                      <a:lnTo>
                        <a:pt x="942814" y="907539"/>
                      </a:lnTo>
                      <a:lnTo>
                        <a:pt x="943093" y="906652"/>
                      </a:lnTo>
                      <a:lnTo>
                        <a:pt x="943300" y="905985"/>
                      </a:lnTo>
                      <a:lnTo>
                        <a:pt x="943348" y="905317"/>
                      </a:lnTo>
                      <a:lnTo>
                        <a:pt x="943409" y="905329"/>
                      </a:lnTo>
                      <a:lnTo>
                        <a:pt x="942960" y="911510"/>
                      </a:lnTo>
                      <a:lnTo>
                        <a:pt x="942547" y="917083"/>
                      </a:lnTo>
                      <a:lnTo>
                        <a:pt x="948072" y="917946"/>
                      </a:lnTo>
                      <a:lnTo>
                        <a:pt x="953075" y="918723"/>
                      </a:lnTo>
                      <a:lnTo>
                        <a:pt x="954253" y="918905"/>
                      </a:lnTo>
                      <a:lnTo>
                        <a:pt x="955419" y="918637"/>
                      </a:lnTo>
                      <a:lnTo>
                        <a:pt x="957204" y="918212"/>
                      </a:lnTo>
                      <a:lnTo>
                        <a:pt x="957507" y="918140"/>
                      </a:lnTo>
                      <a:lnTo>
                        <a:pt x="957799" y="918030"/>
                      </a:lnTo>
                      <a:lnTo>
                        <a:pt x="960494" y="917083"/>
                      </a:lnTo>
                      <a:lnTo>
                        <a:pt x="961004" y="916901"/>
                      </a:lnTo>
                      <a:lnTo>
                        <a:pt x="961478" y="916634"/>
                      </a:lnTo>
                      <a:lnTo>
                        <a:pt x="964113" y="915140"/>
                      </a:lnTo>
                      <a:lnTo>
                        <a:pt x="964659" y="914837"/>
                      </a:lnTo>
                      <a:lnTo>
                        <a:pt x="965133" y="914424"/>
                      </a:lnTo>
                      <a:lnTo>
                        <a:pt x="966408" y="913295"/>
                      </a:lnTo>
                      <a:lnTo>
                        <a:pt x="966833" y="912918"/>
                      </a:lnTo>
                      <a:lnTo>
                        <a:pt x="967185" y="912469"/>
                      </a:lnTo>
                      <a:lnTo>
                        <a:pt x="968266" y="911073"/>
                      </a:lnTo>
                      <a:lnTo>
                        <a:pt x="969128" y="909955"/>
                      </a:lnTo>
                      <a:lnTo>
                        <a:pt x="969407" y="908571"/>
                      </a:lnTo>
                      <a:lnTo>
                        <a:pt x="969699" y="907163"/>
                      </a:lnTo>
                      <a:lnTo>
                        <a:pt x="969771" y="906822"/>
                      </a:lnTo>
                      <a:lnTo>
                        <a:pt x="969796" y="906483"/>
                      </a:lnTo>
                      <a:lnTo>
                        <a:pt x="969917" y="905135"/>
                      </a:lnTo>
                      <a:lnTo>
                        <a:pt x="969978" y="904491"/>
                      </a:lnTo>
                      <a:lnTo>
                        <a:pt x="969893" y="903860"/>
                      </a:lnTo>
                      <a:lnTo>
                        <a:pt x="969784" y="902949"/>
                      </a:lnTo>
                      <a:lnTo>
                        <a:pt x="979899" y="904491"/>
                      </a:lnTo>
                      <a:lnTo>
                        <a:pt x="982874" y="905268"/>
                      </a:lnTo>
                      <a:lnTo>
                        <a:pt x="983262" y="905378"/>
                      </a:lnTo>
                      <a:lnTo>
                        <a:pt x="983663" y="905426"/>
                      </a:lnTo>
                      <a:lnTo>
                        <a:pt x="985278" y="905633"/>
                      </a:lnTo>
                      <a:lnTo>
                        <a:pt x="986116" y="905742"/>
                      </a:lnTo>
                      <a:lnTo>
                        <a:pt x="986942" y="905608"/>
                      </a:lnTo>
                      <a:lnTo>
                        <a:pt x="989589" y="905208"/>
                      </a:lnTo>
                      <a:lnTo>
                        <a:pt x="991823" y="904867"/>
                      </a:lnTo>
                      <a:lnTo>
                        <a:pt x="993292" y="903155"/>
                      </a:lnTo>
                      <a:lnTo>
                        <a:pt x="994264" y="902014"/>
                      </a:lnTo>
                      <a:lnTo>
                        <a:pt x="995490" y="900569"/>
                      </a:lnTo>
                      <a:lnTo>
                        <a:pt x="995685" y="898687"/>
                      </a:lnTo>
                      <a:lnTo>
                        <a:pt x="995842" y="897120"/>
                      </a:lnTo>
                      <a:lnTo>
                        <a:pt x="995976" y="895821"/>
                      </a:lnTo>
                      <a:lnTo>
                        <a:pt x="995563" y="894570"/>
                      </a:lnTo>
                      <a:lnTo>
                        <a:pt x="994786" y="892263"/>
                      </a:lnTo>
                      <a:lnTo>
                        <a:pt x="994786" y="892190"/>
                      </a:lnTo>
                      <a:lnTo>
                        <a:pt x="994835" y="891960"/>
                      </a:lnTo>
                      <a:lnTo>
                        <a:pt x="996109" y="889665"/>
                      </a:lnTo>
                      <a:lnTo>
                        <a:pt x="996462" y="889033"/>
                      </a:lnTo>
                      <a:lnTo>
                        <a:pt x="996656" y="888329"/>
                      </a:lnTo>
                      <a:lnTo>
                        <a:pt x="997287" y="886046"/>
                      </a:lnTo>
                      <a:lnTo>
                        <a:pt x="997421" y="885560"/>
                      </a:lnTo>
                      <a:lnTo>
                        <a:pt x="997470" y="885062"/>
                      </a:lnTo>
                      <a:lnTo>
                        <a:pt x="997761" y="882257"/>
                      </a:lnTo>
                      <a:lnTo>
                        <a:pt x="997834" y="881529"/>
                      </a:lnTo>
                      <a:lnTo>
                        <a:pt x="997737" y="880812"/>
                      </a:lnTo>
                      <a:lnTo>
                        <a:pt x="996474" y="871438"/>
                      </a:lnTo>
                      <a:lnTo>
                        <a:pt x="996401" y="869192"/>
                      </a:lnTo>
                      <a:lnTo>
                        <a:pt x="996134" y="866994"/>
                      </a:lnTo>
                      <a:lnTo>
                        <a:pt x="996085" y="866581"/>
                      </a:lnTo>
                      <a:lnTo>
                        <a:pt x="995964" y="866168"/>
                      </a:lnTo>
                      <a:lnTo>
                        <a:pt x="995551" y="864686"/>
                      </a:lnTo>
                      <a:lnTo>
                        <a:pt x="995345" y="863946"/>
                      </a:lnTo>
                      <a:lnTo>
                        <a:pt x="994956" y="863278"/>
                      </a:lnTo>
                      <a:lnTo>
                        <a:pt x="994385" y="862294"/>
                      </a:lnTo>
                      <a:lnTo>
                        <a:pt x="993657" y="861032"/>
                      </a:lnTo>
                      <a:lnTo>
                        <a:pt x="993086" y="860667"/>
                      </a:lnTo>
                      <a:lnTo>
                        <a:pt x="996340" y="856332"/>
                      </a:lnTo>
                      <a:lnTo>
                        <a:pt x="1005909" y="840801"/>
                      </a:lnTo>
                      <a:lnTo>
                        <a:pt x="1006115" y="840474"/>
                      </a:lnTo>
                      <a:lnTo>
                        <a:pt x="1006273" y="840121"/>
                      </a:lnTo>
                      <a:lnTo>
                        <a:pt x="1008447" y="835301"/>
                      </a:lnTo>
                      <a:lnTo>
                        <a:pt x="1008641" y="834863"/>
                      </a:lnTo>
                      <a:lnTo>
                        <a:pt x="1008775" y="834390"/>
                      </a:lnTo>
                      <a:lnTo>
                        <a:pt x="1009710" y="830917"/>
                      </a:lnTo>
                      <a:lnTo>
                        <a:pt x="1010086" y="829508"/>
                      </a:lnTo>
                      <a:lnTo>
                        <a:pt x="1009782" y="828076"/>
                      </a:lnTo>
                      <a:lnTo>
                        <a:pt x="1008289" y="821069"/>
                      </a:lnTo>
                      <a:lnTo>
                        <a:pt x="1008204" y="820693"/>
                      </a:lnTo>
                      <a:lnTo>
                        <a:pt x="1008070" y="820329"/>
                      </a:lnTo>
                      <a:lnTo>
                        <a:pt x="1007657" y="819163"/>
                      </a:lnTo>
                      <a:lnTo>
                        <a:pt x="1007548" y="818871"/>
                      </a:lnTo>
                      <a:lnTo>
                        <a:pt x="1007415" y="818592"/>
                      </a:lnTo>
                      <a:lnTo>
                        <a:pt x="1007014" y="817742"/>
                      </a:lnTo>
                      <a:lnTo>
                        <a:pt x="1006601" y="816868"/>
                      </a:lnTo>
                      <a:lnTo>
                        <a:pt x="1005921" y="816151"/>
                      </a:lnTo>
                      <a:lnTo>
                        <a:pt x="1005460" y="815666"/>
                      </a:lnTo>
                      <a:lnTo>
                        <a:pt x="1004221" y="814366"/>
                      </a:lnTo>
                      <a:lnTo>
                        <a:pt x="1002460" y="813953"/>
                      </a:lnTo>
                      <a:lnTo>
                        <a:pt x="1001610" y="813747"/>
                      </a:lnTo>
                      <a:lnTo>
                        <a:pt x="1001258" y="813662"/>
                      </a:lnTo>
                      <a:lnTo>
                        <a:pt x="1000894" y="813613"/>
                      </a:lnTo>
                      <a:lnTo>
                        <a:pt x="1000760" y="813601"/>
                      </a:lnTo>
                      <a:lnTo>
                        <a:pt x="1000469" y="811537"/>
                      </a:lnTo>
                      <a:lnTo>
                        <a:pt x="1000396" y="811027"/>
                      </a:lnTo>
                      <a:lnTo>
                        <a:pt x="1000238" y="810541"/>
                      </a:lnTo>
                      <a:lnTo>
                        <a:pt x="999886" y="809448"/>
                      </a:lnTo>
                      <a:lnTo>
                        <a:pt x="999437" y="808028"/>
                      </a:lnTo>
                      <a:lnTo>
                        <a:pt x="998575" y="807178"/>
                      </a:lnTo>
                      <a:lnTo>
                        <a:pt x="1000602" y="805077"/>
                      </a:lnTo>
                      <a:lnTo>
                        <a:pt x="1001440" y="804215"/>
                      </a:lnTo>
                      <a:lnTo>
                        <a:pt x="1001452" y="804251"/>
                      </a:lnTo>
                      <a:lnTo>
                        <a:pt x="1001926" y="805332"/>
                      </a:lnTo>
                      <a:lnTo>
                        <a:pt x="1002752" y="806146"/>
                      </a:lnTo>
                      <a:lnTo>
                        <a:pt x="1003735" y="807117"/>
                      </a:lnTo>
                      <a:lnTo>
                        <a:pt x="1004330" y="807712"/>
                      </a:lnTo>
                      <a:lnTo>
                        <a:pt x="1005071" y="808113"/>
                      </a:lnTo>
                      <a:lnTo>
                        <a:pt x="1006212" y="808744"/>
                      </a:lnTo>
                      <a:lnTo>
                        <a:pt x="1006589" y="808963"/>
                      </a:lnTo>
                      <a:lnTo>
                        <a:pt x="1006990" y="809108"/>
                      </a:lnTo>
                      <a:lnTo>
                        <a:pt x="1008325" y="809618"/>
                      </a:lnTo>
                      <a:lnTo>
                        <a:pt x="1008653" y="809801"/>
                      </a:lnTo>
                      <a:lnTo>
                        <a:pt x="1015307" y="814609"/>
                      </a:lnTo>
                      <a:lnTo>
                        <a:pt x="1015769" y="814937"/>
                      </a:lnTo>
                      <a:lnTo>
                        <a:pt x="1016279" y="815180"/>
                      </a:lnTo>
                      <a:lnTo>
                        <a:pt x="1021755" y="817754"/>
                      </a:lnTo>
                      <a:lnTo>
                        <a:pt x="1024172" y="819211"/>
                      </a:lnTo>
                      <a:lnTo>
                        <a:pt x="1025690" y="820474"/>
                      </a:lnTo>
                      <a:lnTo>
                        <a:pt x="1029648" y="826303"/>
                      </a:lnTo>
                      <a:lnTo>
                        <a:pt x="1029891" y="826655"/>
                      </a:lnTo>
                      <a:lnTo>
                        <a:pt x="1030183" y="826971"/>
                      </a:lnTo>
                      <a:lnTo>
                        <a:pt x="1031494" y="828403"/>
                      </a:lnTo>
                      <a:lnTo>
                        <a:pt x="1032368" y="829363"/>
                      </a:lnTo>
                      <a:lnTo>
                        <a:pt x="1033546" y="829873"/>
                      </a:lnTo>
                      <a:lnTo>
                        <a:pt x="1035040" y="830529"/>
                      </a:lnTo>
                      <a:lnTo>
                        <a:pt x="1035768" y="830844"/>
                      </a:lnTo>
                      <a:lnTo>
                        <a:pt x="1036546" y="830965"/>
                      </a:lnTo>
                      <a:lnTo>
                        <a:pt x="1038331" y="831233"/>
                      </a:lnTo>
                      <a:lnTo>
                        <a:pt x="1038986" y="831342"/>
                      </a:lnTo>
                      <a:lnTo>
                        <a:pt x="1039654" y="831293"/>
                      </a:lnTo>
                      <a:lnTo>
                        <a:pt x="1049478" y="830650"/>
                      </a:lnTo>
                      <a:lnTo>
                        <a:pt x="1050255" y="830601"/>
                      </a:lnTo>
                      <a:lnTo>
                        <a:pt x="1051008" y="830346"/>
                      </a:lnTo>
                      <a:lnTo>
                        <a:pt x="1053412" y="829545"/>
                      </a:lnTo>
                      <a:lnTo>
                        <a:pt x="1054092" y="829314"/>
                      </a:lnTo>
                      <a:lnTo>
                        <a:pt x="1054699" y="828938"/>
                      </a:lnTo>
                      <a:lnTo>
                        <a:pt x="1058974" y="826266"/>
                      </a:lnTo>
                      <a:lnTo>
                        <a:pt x="1063442" y="824068"/>
                      </a:lnTo>
                      <a:lnTo>
                        <a:pt x="1066223" y="823073"/>
                      </a:lnTo>
                      <a:lnTo>
                        <a:pt x="1066757" y="822878"/>
                      </a:lnTo>
                      <a:lnTo>
                        <a:pt x="1067243" y="822599"/>
                      </a:lnTo>
                      <a:lnTo>
                        <a:pt x="1069489" y="821288"/>
                      </a:lnTo>
                      <a:lnTo>
                        <a:pt x="1070424" y="820741"/>
                      </a:lnTo>
                      <a:lnTo>
                        <a:pt x="1071104" y="819903"/>
                      </a:lnTo>
                      <a:lnTo>
                        <a:pt x="1072598" y="818094"/>
                      </a:lnTo>
                      <a:lnTo>
                        <a:pt x="1073023" y="817584"/>
                      </a:lnTo>
                      <a:lnTo>
                        <a:pt x="1073326" y="816989"/>
                      </a:lnTo>
                      <a:lnTo>
                        <a:pt x="1074419" y="814840"/>
                      </a:lnTo>
                      <a:lnTo>
                        <a:pt x="1074650" y="814390"/>
                      </a:lnTo>
                      <a:lnTo>
                        <a:pt x="1074808" y="813905"/>
                      </a:lnTo>
                      <a:lnTo>
                        <a:pt x="1075585" y="811379"/>
                      </a:lnTo>
                      <a:lnTo>
                        <a:pt x="1075755" y="810857"/>
                      </a:lnTo>
                      <a:lnTo>
                        <a:pt x="1075816" y="810323"/>
                      </a:lnTo>
                      <a:lnTo>
                        <a:pt x="1076119" y="807930"/>
                      </a:lnTo>
                      <a:lnTo>
                        <a:pt x="1076204" y="807202"/>
                      </a:lnTo>
                      <a:lnTo>
                        <a:pt x="1076119" y="806461"/>
                      </a:lnTo>
                      <a:lnTo>
                        <a:pt x="1075913" y="804713"/>
                      </a:lnTo>
                      <a:lnTo>
                        <a:pt x="1079325" y="801203"/>
                      </a:lnTo>
                      <a:lnTo>
                        <a:pt x="1088177" y="794561"/>
                      </a:lnTo>
                      <a:lnTo>
                        <a:pt x="1088627" y="794221"/>
                      </a:lnTo>
                      <a:lnTo>
                        <a:pt x="1089015" y="793808"/>
                      </a:lnTo>
                      <a:lnTo>
                        <a:pt x="1090849" y="791805"/>
                      </a:lnTo>
                      <a:lnTo>
                        <a:pt x="1091419" y="791173"/>
                      </a:lnTo>
                      <a:lnTo>
                        <a:pt x="1091796" y="790420"/>
                      </a:lnTo>
                      <a:lnTo>
                        <a:pt x="1092950" y="788125"/>
                      </a:lnTo>
                      <a:lnTo>
                        <a:pt x="1093192" y="787640"/>
                      </a:lnTo>
                      <a:lnTo>
                        <a:pt x="1093338" y="787117"/>
                      </a:lnTo>
                      <a:lnTo>
                        <a:pt x="1094091" y="784555"/>
                      </a:lnTo>
                      <a:lnTo>
                        <a:pt x="1094212" y="784142"/>
                      </a:lnTo>
                      <a:lnTo>
                        <a:pt x="1094273" y="783705"/>
                      </a:lnTo>
                      <a:lnTo>
                        <a:pt x="1094674" y="780876"/>
                      </a:lnTo>
                      <a:lnTo>
                        <a:pt x="1094722" y="780512"/>
                      </a:lnTo>
                      <a:lnTo>
                        <a:pt x="1094722" y="780147"/>
                      </a:lnTo>
                      <a:lnTo>
                        <a:pt x="1094783" y="777014"/>
                      </a:lnTo>
                      <a:lnTo>
                        <a:pt x="1094783" y="776638"/>
                      </a:lnTo>
                      <a:lnTo>
                        <a:pt x="1094747" y="776262"/>
                      </a:lnTo>
                      <a:lnTo>
                        <a:pt x="1093132" y="761071"/>
                      </a:lnTo>
                      <a:lnTo>
                        <a:pt x="1093059" y="760403"/>
                      </a:lnTo>
                      <a:lnTo>
                        <a:pt x="1092840" y="759759"/>
                      </a:lnTo>
                      <a:lnTo>
                        <a:pt x="1091286" y="755145"/>
                      </a:lnTo>
                      <a:lnTo>
                        <a:pt x="1091152" y="754744"/>
                      </a:lnTo>
                      <a:lnTo>
                        <a:pt x="1090958" y="754368"/>
                      </a:lnTo>
                      <a:lnTo>
                        <a:pt x="1089379" y="751223"/>
                      </a:lnTo>
                      <a:lnTo>
                        <a:pt x="1087752" y="744775"/>
                      </a:lnTo>
                      <a:lnTo>
                        <a:pt x="1087570" y="744071"/>
                      </a:lnTo>
                      <a:lnTo>
                        <a:pt x="1087230" y="743415"/>
                      </a:lnTo>
                      <a:lnTo>
                        <a:pt x="1085979" y="741059"/>
                      </a:lnTo>
                      <a:lnTo>
                        <a:pt x="1085469" y="740100"/>
                      </a:lnTo>
                      <a:lnTo>
                        <a:pt x="1084656" y="739371"/>
                      </a:lnTo>
                      <a:lnTo>
                        <a:pt x="1082980" y="737878"/>
                      </a:lnTo>
                      <a:lnTo>
                        <a:pt x="1082725" y="737635"/>
                      </a:lnTo>
                      <a:lnTo>
                        <a:pt x="1082434" y="737428"/>
                      </a:lnTo>
                      <a:lnTo>
                        <a:pt x="1080552" y="736117"/>
                      </a:lnTo>
                      <a:lnTo>
                        <a:pt x="1078414" y="734089"/>
                      </a:lnTo>
                      <a:lnTo>
                        <a:pt x="1075415" y="730434"/>
                      </a:lnTo>
                      <a:lnTo>
                        <a:pt x="1072622" y="726123"/>
                      </a:lnTo>
                      <a:lnTo>
                        <a:pt x="1072428" y="725844"/>
                      </a:lnTo>
                      <a:lnTo>
                        <a:pt x="1072209" y="725577"/>
                      </a:lnTo>
                      <a:lnTo>
                        <a:pt x="1070594" y="723622"/>
                      </a:lnTo>
                      <a:lnTo>
                        <a:pt x="1069307" y="722056"/>
                      </a:lnTo>
                      <a:lnTo>
                        <a:pt x="1067328" y="721582"/>
                      </a:lnTo>
                      <a:lnTo>
                        <a:pt x="1064754" y="720963"/>
                      </a:lnTo>
                      <a:lnTo>
                        <a:pt x="1060710" y="719530"/>
                      </a:lnTo>
                      <a:lnTo>
                        <a:pt x="1060018" y="718631"/>
                      </a:lnTo>
                      <a:lnTo>
                        <a:pt x="1059423" y="717356"/>
                      </a:lnTo>
                      <a:lnTo>
                        <a:pt x="1059156" y="716773"/>
                      </a:lnTo>
                      <a:lnTo>
                        <a:pt x="1058779" y="716276"/>
                      </a:lnTo>
                      <a:lnTo>
                        <a:pt x="1056594" y="713373"/>
                      </a:lnTo>
                      <a:lnTo>
                        <a:pt x="1056084" y="712693"/>
                      </a:lnTo>
                      <a:lnTo>
                        <a:pt x="1055416" y="712183"/>
                      </a:lnTo>
                      <a:lnTo>
                        <a:pt x="1053691" y="710872"/>
                      </a:lnTo>
                      <a:lnTo>
                        <a:pt x="1053254" y="710544"/>
                      </a:lnTo>
                      <a:lnTo>
                        <a:pt x="1055598" y="708334"/>
                      </a:lnTo>
                      <a:lnTo>
                        <a:pt x="1056569" y="707678"/>
                      </a:lnTo>
                      <a:lnTo>
                        <a:pt x="1057723" y="707071"/>
                      </a:lnTo>
                      <a:lnTo>
                        <a:pt x="1059022" y="706610"/>
                      </a:lnTo>
                      <a:lnTo>
                        <a:pt x="1060649" y="706294"/>
                      </a:lnTo>
                      <a:lnTo>
                        <a:pt x="1061742" y="706076"/>
                      </a:lnTo>
                      <a:lnTo>
                        <a:pt x="1062689" y="705493"/>
                      </a:lnTo>
                      <a:lnTo>
                        <a:pt x="1064802" y="704181"/>
                      </a:lnTo>
                      <a:lnTo>
                        <a:pt x="1065713" y="703611"/>
                      </a:lnTo>
                      <a:lnTo>
                        <a:pt x="1066381" y="702761"/>
                      </a:lnTo>
                      <a:lnTo>
                        <a:pt x="1068336" y="700259"/>
                      </a:lnTo>
                      <a:lnTo>
                        <a:pt x="1069028" y="699373"/>
                      </a:lnTo>
                      <a:lnTo>
                        <a:pt x="1069356" y="698292"/>
                      </a:lnTo>
                      <a:lnTo>
                        <a:pt x="1071299" y="691917"/>
                      </a:lnTo>
                      <a:lnTo>
                        <a:pt x="1072003" y="692148"/>
                      </a:lnTo>
                      <a:lnTo>
                        <a:pt x="1073788" y="692694"/>
                      </a:lnTo>
                      <a:lnTo>
                        <a:pt x="1075184" y="693119"/>
                      </a:lnTo>
                      <a:lnTo>
                        <a:pt x="1076617" y="692864"/>
                      </a:lnTo>
                      <a:lnTo>
                        <a:pt x="1078900" y="692463"/>
                      </a:lnTo>
                      <a:lnTo>
                        <a:pt x="1079410" y="692378"/>
                      </a:lnTo>
                      <a:lnTo>
                        <a:pt x="1079896" y="692196"/>
                      </a:lnTo>
                      <a:lnTo>
                        <a:pt x="1090399" y="688432"/>
                      </a:lnTo>
                      <a:lnTo>
                        <a:pt x="1090812" y="688286"/>
                      </a:lnTo>
                      <a:lnTo>
                        <a:pt x="1091201" y="688068"/>
                      </a:lnTo>
                      <a:lnTo>
                        <a:pt x="1092877" y="687181"/>
                      </a:lnTo>
                      <a:lnTo>
                        <a:pt x="1094334" y="686416"/>
                      </a:lnTo>
                      <a:lnTo>
                        <a:pt x="1095196" y="685032"/>
                      </a:lnTo>
                      <a:lnTo>
                        <a:pt x="1097260" y="681705"/>
                      </a:lnTo>
                      <a:lnTo>
                        <a:pt x="1097758" y="680891"/>
                      </a:lnTo>
                      <a:lnTo>
                        <a:pt x="1097989" y="679968"/>
                      </a:lnTo>
                      <a:lnTo>
                        <a:pt x="1100915" y="668178"/>
                      </a:lnTo>
                      <a:lnTo>
                        <a:pt x="1102542" y="665591"/>
                      </a:lnTo>
                      <a:lnTo>
                        <a:pt x="1104206" y="664073"/>
                      </a:lnTo>
                      <a:lnTo>
                        <a:pt x="1106877" y="662580"/>
                      </a:lnTo>
                      <a:lnTo>
                        <a:pt x="1107266" y="662349"/>
                      </a:lnTo>
                      <a:lnTo>
                        <a:pt x="1107618" y="662082"/>
                      </a:lnTo>
                      <a:lnTo>
                        <a:pt x="1110423" y="659908"/>
                      </a:lnTo>
                      <a:lnTo>
                        <a:pt x="1110848" y="659580"/>
                      </a:lnTo>
                      <a:lnTo>
                        <a:pt x="1111200" y="659179"/>
                      </a:lnTo>
                      <a:lnTo>
                        <a:pt x="1115390" y="654565"/>
                      </a:lnTo>
                      <a:lnTo>
                        <a:pt x="1115875" y="654140"/>
                      </a:lnTo>
                      <a:lnTo>
                        <a:pt x="1119421" y="655670"/>
                      </a:lnTo>
                      <a:lnTo>
                        <a:pt x="1120016" y="655925"/>
                      </a:lnTo>
                      <a:lnTo>
                        <a:pt x="1120648" y="656059"/>
                      </a:lnTo>
                      <a:lnTo>
                        <a:pt x="1122663" y="656447"/>
                      </a:lnTo>
                      <a:lnTo>
                        <a:pt x="1123453" y="656605"/>
                      </a:lnTo>
                      <a:lnTo>
                        <a:pt x="1124254" y="656544"/>
                      </a:lnTo>
                      <a:lnTo>
                        <a:pt x="1126209" y="656399"/>
                      </a:lnTo>
                      <a:lnTo>
                        <a:pt x="1126804" y="656350"/>
                      </a:lnTo>
                      <a:lnTo>
                        <a:pt x="1127375" y="656192"/>
                      </a:lnTo>
                      <a:lnTo>
                        <a:pt x="1152122" y="649429"/>
                      </a:lnTo>
                      <a:lnTo>
                        <a:pt x="1152559" y="649307"/>
                      </a:lnTo>
                      <a:lnTo>
                        <a:pt x="1152972" y="649125"/>
                      </a:lnTo>
                      <a:lnTo>
                        <a:pt x="1157562" y="647109"/>
                      </a:lnTo>
                      <a:lnTo>
                        <a:pt x="1157939" y="646939"/>
                      </a:lnTo>
                      <a:lnTo>
                        <a:pt x="1158291" y="646721"/>
                      </a:lnTo>
                      <a:lnTo>
                        <a:pt x="1161217" y="644936"/>
                      </a:lnTo>
                      <a:lnTo>
                        <a:pt x="1161581" y="644705"/>
                      </a:lnTo>
                      <a:lnTo>
                        <a:pt x="1161909" y="644438"/>
                      </a:lnTo>
                      <a:lnTo>
                        <a:pt x="1163925" y="642774"/>
                      </a:lnTo>
                      <a:lnTo>
                        <a:pt x="1164362" y="642422"/>
                      </a:lnTo>
                      <a:lnTo>
                        <a:pt x="1164726" y="641985"/>
                      </a:lnTo>
                      <a:lnTo>
                        <a:pt x="1165759" y="640747"/>
                      </a:lnTo>
                      <a:lnTo>
                        <a:pt x="1166414" y="639981"/>
                      </a:lnTo>
                      <a:lnTo>
                        <a:pt x="1166779" y="639034"/>
                      </a:lnTo>
                      <a:lnTo>
                        <a:pt x="1167361" y="637516"/>
                      </a:lnTo>
                      <a:lnTo>
                        <a:pt x="1167665" y="636739"/>
                      </a:lnTo>
                      <a:lnTo>
                        <a:pt x="1167738" y="635901"/>
                      </a:lnTo>
                      <a:lnTo>
                        <a:pt x="1167896" y="634116"/>
                      </a:lnTo>
                      <a:lnTo>
                        <a:pt x="1167956" y="633436"/>
                      </a:lnTo>
                      <a:lnTo>
                        <a:pt x="1167871" y="632756"/>
                      </a:lnTo>
                      <a:lnTo>
                        <a:pt x="1167653" y="631105"/>
                      </a:lnTo>
                      <a:lnTo>
                        <a:pt x="1167592" y="630607"/>
                      </a:lnTo>
                      <a:lnTo>
                        <a:pt x="1167446" y="630133"/>
                      </a:lnTo>
                      <a:lnTo>
                        <a:pt x="1166985" y="628628"/>
                      </a:lnTo>
                      <a:lnTo>
                        <a:pt x="1165698" y="625446"/>
                      </a:lnTo>
                      <a:lnTo>
                        <a:pt x="1165576" y="625155"/>
                      </a:lnTo>
                      <a:lnTo>
                        <a:pt x="1165419" y="624876"/>
                      </a:lnTo>
                      <a:lnTo>
                        <a:pt x="1164945" y="624038"/>
                      </a:lnTo>
                      <a:lnTo>
                        <a:pt x="1164265" y="622799"/>
                      </a:lnTo>
                      <a:lnTo>
                        <a:pt x="1163111" y="621998"/>
                      </a:lnTo>
                      <a:lnTo>
                        <a:pt x="1162419" y="621512"/>
                      </a:lnTo>
                      <a:lnTo>
                        <a:pt x="1161278" y="620710"/>
                      </a:lnTo>
                      <a:lnTo>
                        <a:pt x="1159906" y="620492"/>
                      </a:lnTo>
                      <a:lnTo>
                        <a:pt x="1158873" y="620322"/>
                      </a:lnTo>
                      <a:lnTo>
                        <a:pt x="1157853" y="620152"/>
                      </a:lnTo>
                      <a:lnTo>
                        <a:pt x="1156846" y="620334"/>
                      </a:lnTo>
                      <a:lnTo>
                        <a:pt x="1155583" y="620565"/>
                      </a:lnTo>
                      <a:lnTo>
                        <a:pt x="1154854" y="620699"/>
                      </a:lnTo>
                      <a:lnTo>
                        <a:pt x="1154174" y="620990"/>
                      </a:lnTo>
                      <a:lnTo>
                        <a:pt x="1152741" y="621634"/>
                      </a:lnTo>
                      <a:lnTo>
                        <a:pt x="1152341" y="621815"/>
                      </a:lnTo>
                      <a:lnTo>
                        <a:pt x="1151976" y="622046"/>
                      </a:lnTo>
                      <a:lnTo>
                        <a:pt x="1149171" y="623819"/>
                      </a:lnTo>
                      <a:lnTo>
                        <a:pt x="1148163" y="624305"/>
                      </a:lnTo>
                      <a:lnTo>
                        <a:pt x="1147010" y="624657"/>
                      </a:lnTo>
                      <a:lnTo>
                        <a:pt x="1142213" y="625580"/>
                      </a:lnTo>
                      <a:lnTo>
                        <a:pt x="1141667" y="624973"/>
                      </a:lnTo>
                      <a:lnTo>
                        <a:pt x="1141388" y="624682"/>
                      </a:lnTo>
                      <a:lnTo>
                        <a:pt x="1141084" y="624426"/>
                      </a:lnTo>
                      <a:lnTo>
                        <a:pt x="1139651" y="623212"/>
                      </a:lnTo>
                      <a:lnTo>
                        <a:pt x="1138983" y="622641"/>
                      </a:lnTo>
                      <a:lnTo>
                        <a:pt x="1138194" y="622301"/>
                      </a:lnTo>
                      <a:lnTo>
                        <a:pt x="1137041" y="621791"/>
                      </a:lnTo>
                      <a:lnTo>
                        <a:pt x="1136506" y="621548"/>
                      </a:lnTo>
                      <a:lnTo>
                        <a:pt x="1135935" y="621415"/>
                      </a:lnTo>
                      <a:lnTo>
                        <a:pt x="1134272" y="621038"/>
                      </a:lnTo>
                      <a:lnTo>
                        <a:pt x="1133264" y="620796"/>
                      </a:lnTo>
                      <a:lnTo>
                        <a:pt x="1132244" y="620917"/>
                      </a:lnTo>
                      <a:lnTo>
                        <a:pt x="1130459" y="621124"/>
                      </a:lnTo>
                      <a:lnTo>
                        <a:pt x="1129706" y="621208"/>
                      </a:lnTo>
                      <a:lnTo>
                        <a:pt x="1128990" y="621476"/>
                      </a:lnTo>
                      <a:lnTo>
                        <a:pt x="1128018" y="621840"/>
                      </a:lnTo>
                      <a:lnTo>
                        <a:pt x="1126768" y="622314"/>
                      </a:lnTo>
                      <a:lnTo>
                        <a:pt x="1125833" y="623273"/>
                      </a:lnTo>
                      <a:lnTo>
                        <a:pt x="1125262" y="623855"/>
                      </a:lnTo>
                      <a:lnTo>
                        <a:pt x="1124813" y="624305"/>
                      </a:lnTo>
                      <a:lnTo>
                        <a:pt x="1113131" y="623151"/>
                      </a:lnTo>
                      <a:lnTo>
                        <a:pt x="1112755" y="623103"/>
                      </a:lnTo>
                      <a:lnTo>
                        <a:pt x="1112390" y="623115"/>
                      </a:lnTo>
                      <a:lnTo>
                        <a:pt x="1108832" y="623200"/>
                      </a:lnTo>
                      <a:lnTo>
                        <a:pt x="1108395" y="623212"/>
                      </a:lnTo>
                      <a:lnTo>
                        <a:pt x="1107970" y="623285"/>
                      </a:lnTo>
                      <a:lnTo>
                        <a:pt x="1103660" y="624013"/>
                      </a:lnTo>
                      <a:lnTo>
                        <a:pt x="1103295" y="624074"/>
                      </a:lnTo>
                      <a:lnTo>
                        <a:pt x="1102943" y="624183"/>
                      </a:lnTo>
                      <a:lnTo>
                        <a:pt x="1095257" y="626454"/>
                      </a:lnTo>
                      <a:lnTo>
                        <a:pt x="1094941" y="626551"/>
                      </a:lnTo>
                      <a:lnTo>
                        <a:pt x="1094625" y="626685"/>
                      </a:lnTo>
                      <a:lnTo>
                        <a:pt x="1089489" y="628846"/>
                      </a:lnTo>
                      <a:lnTo>
                        <a:pt x="1077516" y="630765"/>
                      </a:lnTo>
                      <a:lnTo>
                        <a:pt x="1076787" y="630886"/>
                      </a:lnTo>
                      <a:lnTo>
                        <a:pt x="1076095" y="631178"/>
                      </a:lnTo>
                      <a:lnTo>
                        <a:pt x="1074237" y="631967"/>
                      </a:lnTo>
                      <a:lnTo>
                        <a:pt x="1073484" y="630340"/>
                      </a:lnTo>
                      <a:lnTo>
                        <a:pt x="1073351" y="630049"/>
                      </a:lnTo>
                      <a:lnTo>
                        <a:pt x="1073181" y="629781"/>
                      </a:lnTo>
                      <a:lnTo>
                        <a:pt x="1071748" y="627402"/>
                      </a:lnTo>
                      <a:lnTo>
                        <a:pt x="1071493" y="626976"/>
                      </a:lnTo>
                      <a:lnTo>
                        <a:pt x="1071177" y="626600"/>
                      </a:lnTo>
                      <a:lnTo>
                        <a:pt x="1067279" y="622010"/>
                      </a:lnTo>
                      <a:lnTo>
                        <a:pt x="1068166" y="621925"/>
                      </a:lnTo>
                      <a:lnTo>
                        <a:pt x="1069089" y="621500"/>
                      </a:lnTo>
                      <a:lnTo>
                        <a:pt x="1072513" y="619921"/>
                      </a:lnTo>
                      <a:lnTo>
                        <a:pt x="1073460" y="619496"/>
                      </a:lnTo>
                      <a:lnTo>
                        <a:pt x="1074201" y="618768"/>
                      </a:lnTo>
                      <a:lnTo>
                        <a:pt x="1077479" y="615598"/>
                      </a:lnTo>
                      <a:lnTo>
                        <a:pt x="1078560" y="614554"/>
                      </a:lnTo>
                      <a:lnTo>
                        <a:pt x="1079034" y="613133"/>
                      </a:lnTo>
                      <a:lnTo>
                        <a:pt x="1081049" y="606989"/>
                      </a:lnTo>
                      <a:lnTo>
                        <a:pt x="1081487" y="605666"/>
                      </a:lnTo>
                      <a:lnTo>
                        <a:pt x="1081304" y="604293"/>
                      </a:lnTo>
                      <a:lnTo>
                        <a:pt x="1080892" y="601258"/>
                      </a:lnTo>
                      <a:lnTo>
                        <a:pt x="1080637" y="599315"/>
                      </a:lnTo>
                      <a:lnTo>
                        <a:pt x="1079289" y="597894"/>
                      </a:lnTo>
                      <a:lnTo>
                        <a:pt x="1077455" y="595963"/>
                      </a:lnTo>
                      <a:lnTo>
                        <a:pt x="1076884" y="595356"/>
                      </a:lnTo>
                      <a:lnTo>
                        <a:pt x="1076180" y="594931"/>
                      </a:lnTo>
                      <a:lnTo>
                        <a:pt x="1074990" y="594215"/>
                      </a:lnTo>
                      <a:lnTo>
                        <a:pt x="1074905" y="594093"/>
                      </a:lnTo>
                      <a:lnTo>
                        <a:pt x="1074784" y="593596"/>
                      </a:lnTo>
                      <a:lnTo>
                        <a:pt x="1075051" y="592126"/>
                      </a:lnTo>
                      <a:lnTo>
                        <a:pt x="1075209" y="591288"/>
                      </a:lnTo>
                      <a:lnTo>
                        <a:pt x="1075136" y="590451"/>
                      </a:lnTo>
                      <a:lnTo>
                        <a:pt x="1074905" y="587961"/>
                      </a:lnTo>
                      <a:lnTo>
                        <a:pt x="1074856" y="587403"/>
                      </a:lnTo>
                      <a:lnTo>
                        <a:pt x="1074699" y="586868"/>
                      </a:lnTo>
                      <a:lnTo>
                        <a:pt x="1073326" y="582035"/>
                      </a:lnTo>
                      <a:lnTo>
                        <a:pt x="1073290" y="581283"/>
                      </a:lnTo>
                      <a:lnTo>
                        <a:pt x="1073302" y="581197"/>
                      </a:lnTo>
                      <a:lnTo>
                        <a:pt x="1074128" y="579522"/>
                      </a:lnTo>
                      <a:lnTo>
                        <a:pt x="1075051" y="579364"/>
                      </a:lnTo>
                      <a:lnTo>
                        <a:pt x="1075464" y="579303"/>
                      </a:lnTo>
                      <a:lnTo>
                        <a:pt x="1075864" y="579182"/>
                      </a:lnTo>
                      <a:lnTo>
                        <a:pt x="1082992" y="576996"/>
                      </a:lnTo>
                      <a:lnTo>
                        <a:pt x="1083599" y="576802"/>
                      </a:lnTo>
                      <a:lnTo>
                        <a:pt x="1084146" y="576498"/>
                      </a:lnTo>
                      <a:lnTo>
                        <a:pt x="1087692" y="574543"/>
                      </a:lnTo>
                      <a:lnTo>
                        <a:pt x="1088979" y="574762"/>
                      </a:lnTo>
                      <a:lnTo>
                        <a:pt x="1090436" y="575005"/>
                      </a:lnTo>
                      <a:lnTo>
                        <a:pt x="1091832" y="574555"/>
                      </a:lnTo>
                      <a:lnTo>
                        <a:pt x="1096544" y="573037"/>
                      </a:lnTo>
                      <a:lnTo>
                        <a:pt x="1097236" y="572819"/>
                      </a:lnTo>
                      <a:lnTo>
                        <a:pt x="1097855" y="572443"/>
                      </a:lnTo>
                      <a:lnTo>
                        <a:pt x="1102057" y="569868"/>
                      </a:lnTo>
                      <a:lnTo>
                        <a:pt x="1103186" y="569164"/>
                      </a:lnTo>
                      <a:lnTo>
                        <a:pt x="1103927" y="568059"/>
                      </a:lnTo>
                      <a:lnTo>
                        <a:pt x="1104765" y="566796"/>
                      </a:lnTo>
                      <a:lnTo>
                        <a:pt x="1118765" y="560166"/>
                      </a:lnTo>
                      <a:lnTo>
                        <a:pt x="1130653" y="558065"/>
                      </a:lnTo>
                      <a:lnTo>
                        <a:pt x="1135656" y="557191"/>
                      </a:lnTo>
                      <a:lnTo>
                        <a:pt x="1135668" y="552115"/>
                      </a:lnTo>
                      <a:lnTo>
                        <a:pt x="1135705" y="538697"/>
                      </a:lnTo>
                      <a:lnTo>
                        <a:pt x="1137842" y="532079"/>
                      </a:lnTo>
                      <a:lnTo>
                        <a:pt x="1138267" y="530768"/>
                      </a:lnTo>
                      <a:lnTo>
                        <a:pt x="1138085" y="529408"/>
                      </a:lnTo>
                      <a:lnTo>
                        <a:pt x="1137854" y="527708"/>
                      </a:lnTo>
                      <a:lnTo>
                        <a:pt x="1137684" y="526457"/>
                      </a:lnTo>
                      <a:lnTo>
                        <a:pt x="1137028" y="525376"/>
                      </a:lnTo>
                      <a:lnTo>
                        <a:pt x="1135486" y="522826"/>
                      </a:lnTo>
                      <a:lnTo>
                        <a:pt x="1135110" y="522195"/>
                      </a:lnTo>
                      <a:lnTo>
                        <a:pt x="1134600" y="521685"/>
                      </a:lnTo>
                      <a:lnTo>
                        <a:pt x="1133276" y="520361"/>
                      </a:lnTo>
                      <a:lnTo>
                        <a:pt x="1133009" y="519948"/>
                      </a:lnTo>
                      <a:lnTo>
                        <a:pt x="1132827" y="519281"/>
                      </a:lnTo>
                      <a:lnTo>
                        <a:pt x="1132317" y="515152"/>
                      </a:lnTo>
                      <a:lnTo>
                        <a:pt x="1132268" y="514763"/>
                      </a:lnTo>
                      <a:lnTo>
                        <a:pt x="1132159" y="514375"/>
                      </a:lnTo>
                      <a:lnTo>
                        <a:pt x="1131285" y="511048"/>
                      </a:lnTo>
                      <a:lnTo>
                        <a:pt x="1131151" y="510550"/>
                      </a:lnTo>
                      <a:lnTo>
                        <a:pt x="1130933" y="510076"/>
                      </a:lnTo>
                      <a:lnTo>
                        <a:pt x="1129038" y="505911"/>
                      </a:lnTo>
                      <a:lnTo>
                        <a:pt x="1128747" y="505280"/>
                      </a:lnTo>
                      <a:lnTo>
                        <a:pt x="1128322" y="504721"/>
                      </a:lnTo>
                      <a:lnTo>
                        <a:pt x="1126780" y="502718"/>
                      </a:lnTo>
                      <a:lnTo>
                        <a:pt x="1126428" y="502268"/>
                      </a:lnTo>
                      <a:lnTo>
                        <a:pt x="1126003" y="501880"/>
                      </a:lnTo>
                      <a:lnTo>
                        <a:pt x="1123574" y="499731"/>
                      </a:lnTo>
                      <a:lnTo>
                        <a:pt x="1123780" y="494570"/>
                      </a:lnTo>
                      <a:lnTo>
                        <a:pt x="1123793" y="494120"/>
                      </a:lnTo>
                      <a:lnTo>
                        <a:pt x="1123744" y="493659"/>
                      </a:lnTo>
                      <a:lnTo>
                        <a:pt x="1123453" y="491060"/>
                      </a:lnTo>
                      <a:lnTo>
                        <a:pt x="1123392" y="490563"/>
                      </a:lnTo>
                      <a:lnTo>
                        <a:pt x="1123258" y="490077"/>
                      </a:lnTo>
                      <a:lnTo>
                        <a:pt x="1122360" y="486908"/>
                      </a:lnTo>
                      <a:lnTo>
                        <a:pt x="1122105" y="484661"/>
                      </a:lnTo>
                      <a:lnTo>
                        <a:pt x="1122469" y="481334"/>
                      </a:lnTo>
                      <a:lnTo>
                        <a:pt x="1123610" y="482488"/>
                      </a:lnTo>
                      <a:lnTo>
                        <a:pt x="1124193" y="483083"/>
                      </a:lnTo>
                      <a:lnTo>
                        <a:pt x="1124922" y="483495"/>
                      </a:lnTo>
                      <a:lnTo>
                        <a:pt x="1126258" y="484260"/>
                      </a:lnTo>
                      <a:lnTo>
                        <a:pt x="1127035" y="484710"/>
                      </a:lnTo>
                      <a:lnTo>
                        <a:pt x="1127909" y="484904"/>
                      </a:lnTo>
                      <a:lnTo>
                        <a:pt x="1129730" y="485317"/>
                      </a:lnTo>
                      <a:lnTo>
                        <a:pt x="1130447" y="485487"/>
                      </a:lnTo>
                      <a:lnTo>
                        <a:pt x="1131175" y="485475"/>
                      </a:lnTo>
                      <a:lnTo>
                        <a:pt x="1133422" y="485438"/>
                      </a:lnTo>
                      <a:lnTo>
                        <a:pt x="1133980" y="485426"/>
                      </a:lnTo>
                      <a:lnTo>
                        <a:pt x="1134527" y="485317"/>
                      </a:lnTo>
                      <a:lnTo>
                        <a:pt x="1140380" y="484139"/>
                      </a:lnTo>
                      <a:lnTo>
                        <a:pt x="1140817" y="484054"/>
                      </a:lnTo>
                      <a:lnTo>
                        <a:pt x="1141230" y="483908"/>
                      </a:lnTo>
                      <a:lnTo>
                        <a:pt x="1144338" y="482791"/>
                      </a:lnTo>
                      <a:lnTo>
                        <a:pt x="1144739" y="482645"/>
                      </a:lnTo>
                      <a:lnTo>
                        <a:pt x="1145128" y="482439"/>
                      </a:lnTo>
                      <a:lnTo>
                        <a:pt x="1147993" y="480921"/>
                      </a:lnTo>
                      <a:lnTo>
                        <a:pt x="1148382" y="480715"/>
                      </a:lnTo>
                      <a:lnTo>
                        <a:pt x="1148734" y="480460"/>
                      </a:lnTo>
                      <a:lnTo>
                        <a:pt x="1151090" y="478735"/>
                      </a:lnTo>
                      <a:lnTo>
                        <a:pt x="1151539" y="478408"/>
                      </a:lnTo>
                      <a:lnTo>
                        <a:pt x="1151916" y="478007"/>
                      </a:lnTo>
                      <a:lnTo>
                        <a:pt x="1153749" y="476076"/>
                      </a:lnTo>
                      <a:lnTo>
                        <a:pt x="1155170" y="474303"/>
                      </a:lnTo>
                      <a:lnTo>
                        <a:pt x="1155571" y="473781"/>
                      </a:lnTo>
                      <a:lnTo>
                        <a:pt x="1155850" y="473186"/>
                      </a:lnTo>
                      <a:lnTo>
                        <a:pt x="1156761" y="471280"/>
                      </a:lnTo>
                      <a:lnTo>
                        <a:pt x="1157198" y="470357"/>
                      </a:lnTo>
                      <a:lnTo>
                        <a:pt x="1157319" y="469349"/>
                      </a:lnTo>
                      <a:lnTo>
                        <a:pt x="1157550" y="467345"/>
                      </a:lnTo>
                      <a:lnTo>
                        <a:pt x="1157671" y="466350"/>
                      </a:lnTo>
                      <a:lnTo>
                        <a:pt x="1157453" y="465366"/>
                      </a:lnTo>
                      <a:lnTo>
                        <a:pt x="1157064" y="463557"/>
                      </a:lnTo>
                      <a:lnTo>
                        <a:pt x="1156676" y="461772"/>
                      </a:lnTo>
                      <a:lnTo>
                        <a:pt x="1155364" y="460497"/>
                      </a:lnTo>
                      <a:lnTo>
                        <a:pt x="1153628" y="458797"/>
                      </a:lnTo>
                      <a:lnTo>
                        <a:pt x="1152948" y="458141"/>
                      </a:lnTo>
                      <a:lnTo>
                        <a:pt x="1152110" y="457716"/>
                      </a:lnTo>
                      <a:lnTo>
                        <a:pt x="1149706" y="456514"/>
                      </a:lnTo>
                      <a:lnTo>
                        <a:pt x="1149050" y="456186"/>
                      </a:lnTo>
                      <a:lnTo>
                        <a:pt x="1148321" y="456016"/>
                      </a:lnTo>
                      <a:lnTo>
                        <a:pt x="1143610" y="454947"/>
                      </a:lnTo>
                      <a:lnTo>
                        <a:pt x="1143124" y="454838"/>
                      </a:lnTo>
                      <a:lnTo>
                        <a:pt x="1142626" y="454814"/>
                      </a:lnTo>
                      <a:lnTo>
                        <a:pt x="1136591" y="454449"/>
                      </a:lnTo>
                      <a:lnTo>
                        <a:pt x="1135948" y="454413"/>
                      </a:lnTo>
                      <a:lnTo>
                        <a:pt x="1135316" y="454510"/>
                      </a:lnTo>
                      <a:lnTo>
                        <a:pt x="1128176" y="455591"/>
                      </a:lnTo>
                      <a:lnTo>
                        <a:pt x="1127812" y="455603"/>
                      </a:lnTo>
                      <a:lnTo>
                        <a:pt x="1126828" y="455166"/>
                      </a:lnTo>
                      <a:lnTo>
                        <a:pt x="1124558" y="453587"/>
                      </a:lnTo>
                      <a:lnTo>
                        <a:pt x="1116592" y="446132"/>
                      </a:lnTo>
                      <a:lnTo>
                        <a:pt x="1126088" y="449022"/>
                      </a:lnTo>
                      <a:lnTo>
                        <a:pt x="1126755" y="449228"/>
                      </a:lnTo>
                      <a:lnTo>
                        <a:pt x="1127460" y="449277"/>
                      </a:lnTo>
                      <a:lnTo>
                        <a:pt x="1129342" y="449398"/>
                      </a:lnTo>
                      <a:lnTo>
                        <a:pt x="1130180" y="449447"/>
                      </a:lnTo>
                      <a:lnTo>
                        <a:pt x="1131005" y="449277"/>
                      </a:lnTo>
                      <a:lnTo>
                        <a:pt x="1132900" y="448876"/>
                      </a:lnTo>
                      <a:lnTo>
                        <a:pt x="1133398" y="448767"/>
                      </a:lnTo>
                      <a:lnTo>
                        <a:pt x="1133871" y="448572"/>
                      </a:lnTo>
                      <a:lnTo>
                        <a:pt x="1136057" y="447710"/>
                      </a:lnTo>
                      <a:lnTo>
                        <a:pt x="1136688" y="447455"/>
                      </a:lnTo>
                      <a:lnTo>
                        <a:pt x="1137247" y="447067"/>
                      </a:lnTo>
                      <a:lnTo>
                        <a:pt x="1139081" y="445804"/>
                      </a:lnTo>
                      <a:lnTo>
                        <a:pt x="1139700" y="445379"/>
                      </a:lnTo>
                      <a:lnTo>
                        <a:pt x="1140198" y="444832"/>
                      </a:lnTo>
                      <a:lnTo>
                        <a:pt x="1146633" y="437571"/>
                      </a:lnTo>
                      <a:lnTo>
                        <a:pt x="1159456" y="427869"/>
                      </a:lnTo>
                      <a:lnTo>
                        <a:pt x="1159529" y="427844"/>
                      </a:lnTo>
                      <a:lnTo>
                        <a:pt x="1160598" y="427674"/>
                      </a:lnTo>
                      <a:lnTo>
                        <a:pt x="1164872" y="427747"/>
                      </a:lnTo>
                      <a:lnTo>
                        <a:pt x="1165334" y="427747"/>
                      </a:lnTo>
                      <a:lnTo>
                        <a:pt x="1165795" y="427687"/>
                      </a:lnTo>
                      <a:lnTo>
                        <a:pt x="1168151" y="427371"/>
                      </a:lnTo>
                      <a:lnTo>
                        <a:pt x="1168855" y="427274"/>
                      </a:lnTo>
                      <a:lnTo>
                        <a:pt x="1169511" y="427019"/>
                      </a:lnTo>
                      <a:lnTo>
                        <a:pt x="1170956" y="426472"/>
                      </a:lnTo>
                      <a:lnTo>
                        <a:pt x="1171417" y="426290"/>
                      </a:lnTo>
                      <a:lnTo>
                        <a:pt x="1171842" y="426047"/>
                      </a:lnTo>
                      <a:lnTo>
                        <a:pt x="1174125" y="424724"/>
                      </a:lnTo>
                      <a:lnTo>
                        <a:pt x="1174526" y="424493"/>
                      </a:lnTo>
                      <a:lnTo>
                        <a:pt x="1174878" y="424214"/>
                      </a:lnTo>
                      <a:lnTo>
                        <a:pt x="1176772" y="422696"/>
                      </a:lnTo>
                      <a:lnTo>
                        <a:pt x="1177124" y="422404"/>
                      </a:lnTo>
                      <a:lnTo>
                        <a:pt x="1177440" y="422064"/>
                      </a:lnTo>
                      <a:lnTo>
                        <a:pt x="1179055" y="420316"/>
                      </a:lnTo>
                      <a:lnTo>
                        <a:pt x="1179261" y="420085"/>
                      </a:lnTo>
                      <a:lnTo>
                        <a:pt x="1179444" y="419830"/>
                      </a:lnTo>
                      <a:lnTo>
                        <a:pt x="1180877" y="417911"/>
                      </a:lnTo>
                      <a:lnTo>
                        <a:pt x="1181192" y="417486"/>
                      </a:lnTo>
                      <a:lnTo>
                        <a:pt x="1181435" y="417013"/>
                      </a:lnTo>
                      <a:lnTo>
                        <a:pt x="1196772" y="386777"/>
                      </a:lnTo>
                      <a:lnTo>
                        <a:pt x="1197355" y="385623"/>
                      </a:lnTo>
                      <a:lnTo>
                        <a:pt x="1197415" y="384336"/>
                      </a:lnTo>
                      <a:lnTo>
                        <a:pt x="1197597" y="380718"/>
                      </a:lnTo>
                      <a:lnTo>
                        <a:pt x="1197658" y="379431"/>
                      </a:lnTo>
                      <a:lnTo>
                        <a:pt x="1197197" y="378228"/>
                      </a:lnTo>
                      <a:lnTo>
                        <a:pt x="1195800" y="374585"/>
                      </a:lnTo>
                      <a:lnTo>
                        <a:pt x="1195484" y="373748"/>
                      </a:lnTo>
                      <a:lnTo>
                        <a:pt x="1194938" y="373043"/>
                      </a:lnTo>
                      <a:lnTo>
                        <a:pt x="1190239" y="366972"/>
                      </a:lnTo>
                      <a:lnTo>
                        <a:pt x="1189547" y="366085"/>
                      </a:lnTo>
                      <a:lnTo>
                        <a:pt x="1188575" y="365503"/>
                      </a:lnTo>
                      <a:lnTo>
                        <a:pt x="1185928" y="363900"/>
                      </a:lnTo>
                      <a:lnTo>
                        <a:pt x="1184944" y="363305"/>
                      </a:lnTo>
                      <a:lnTo>
                        <a:pt x="1183803" y="363110"/>
                      </a:lnTo>
                      <a:lnTo>
                        <a:pt x="1181617" y="362734"/>
                      </a:lnTo>
                      <a:lnTo>
                        <a:pt x="1179334" y="362345"/>
                      </a:lnTo>
                      <a:lnTo>
                        <a:pt x="1177853" y="363268"/>
                      </a:lnTo>
                      <a:lnTo>
                        <a:pt x="1175947" y="347179"/>
                      </a:lnTo>
                      <a:lnTo>
                        <a:pt x="1175849" y="346389"/>
                      </a:lnTo>
                      <a:lnTo>
                        <a:pt x="1175558" y="345649"/>
                      </a:lnTo>
                      <a:lnTo>
                        <a:pt x="1171709" y="335947"/>
                      </a:lnTo>
                      <a:lnTo>
                        <a:pt x="1170397" y="332364"/>
                      </a:lnTo>
                      <a:lnTo>
                        <a:pt x="1170251" y="331952"/>
                      </a:lnTo>
                      <a:lnTo>
                        <a:pt x="1170033" y="331563"/>
                      </a:lnTo>
                      <a:lnTo>
                        <a:pt x="1168479" y="328697"/>
                      </a:lnTo>
                      <a:lnTo>
                        <a:pt x="1168090" y="327981"/>
                      </a:lnTo>
                      <a:lnTo>
                        <a:pt x="1167531" y="327398"/>
                      </a:lnTo>
                      <a:lnTo>
                        <a:pt x="1166317" y="326123"/>
                      </a:lnTo>
                      <a:lnTo>
                        <a:pt x="1165783" y="325564"/>
                      </a:lnTo>
                      <a:lnTo>
                        <a:pt x="1165127" y="325164"/>
                      </a:lnTo>
                      <a:lnTo>
                        <a:pt x="1163524" y="324168"/>
                      </a:lnTo>
                      <a:lnTo>
                        <a:pt x="1163124" y="323913"/>
                      </a:lnTo>
                      <a:lnTo>
                        <a:pt x="1162686" y="323731"/>
                      </a:lnTo>
                      <a:lnTo>
                        <a:pt x="1161278" y="323136"/>
                      </a:lnTo>
                      <a:lnTo>
                        <a:pt x="1159007" y="319299"/>
                      </a:lnTo>
                      <a:lnTo>
                        <a:pt x="1158449" y="317769"/>
                      </a:lnTo>
                      <a:lnTo>
                        <a:pt x="1158266" y="317259"/>
                      </a:lnTo>
                      <a:lnTo>
                        <a:pt x="1157999" y="316785"/>
                      </a:lnTo>
                      <a:lnTo>
                        <a:pt x="1156566" y="314320"/>
                      </a:lnTo>
                      <a:lnTo>
                        <a:pt x="1156384" y="314004"/>
                      </a:lnTo>
                      <a:lnTo>
                        <a:pt x="1156166" y="313725"/>
                      </a:lnTo>
                      <a:lnTo>
                        <a:pt x="1153980" y="310823"/>
                      </a:lnTo>
                      <a:lnTo>
                        <a:pt x="1153300" y="309924"/>
                      </a:lnTo>
                      <a:lnTo>
                        <a:pt x="1152341" y="309329"/>
                      </a:lnTo>
                      <a:lnTo>
                        <a:pt x="1147241" y="306148"/>
                      </a:lnTo>
                      <a:lnTo>
                        <a:pt x="1146816" y="305893"/>
                      </a:lnTo>
                      <a:lnTo>
                        <a:pt x="1146354" y="305699"/>
                      </a:lnTo>
                      <a:lnTo>
                        <a:pt x="1143926" y="304691"/>
                      </a:lnTo>
                      <a:lnTo>
                        <a:pt x="1142918" y="304278"/>
                      </a:lnTo>
                      <a:lnTo>
                        <a:pt x="1141825" y="304241"/>
                      </a:lnTo>
                      <a:lnTo>
                        <a:pt x="1140283" y="304181"/>
                      </a:lnTo>
                      <a:lnTo>
                        <a:pt x="1137866" y="304084"/>
                      </a:lnTo>
                      <a:lnTo>
                        <a:pt x="1136057" y="305674"/>
                      </a:lnTo>
                      <a:lnTo>
                        <a:pt x="1133968" y="307496"/>
                      </a:lnTo>
                      <a:lnTo>
                        <a:pt x="1133713" y="307653"/>
                      </a:lnTo>
                      <a:lnTo>
                        <a:pt x="1133288" y="307811"/>
                      </a:lnTo>
                      <a:lnTo>
                        <a:pt x="1133264" y="307811"/>
                      </a:lnTo>
                      <a:lnTo>
                        <a:pt x="1132815" y="307496"/>
                      </a:lnTo>
                      <a:lnTo>
                        <a:pt x="1131625" y="305468"/>
                      </a:lnTo>
                      <a:lnTo>
                        <a:pt x="1131370" y="303853"/>
                      </a:lnTo>
                      <a:lnTo>
                        <a:pt x="1131370" y="301376"/>
                      </a:lnTo>
                      <a:lnTo>
                        <a:pt x="1131576" y="299299"/>
                      </a:lnTo>
                      <a:lnTo>
                        <a:pt x="1131625" y="298668"/>
                      </a:lnTo>
                      <a:lnTo>
                        <a:pt x="1131552" y="298036"/>
                      </a:lnTo>
                      <a:lnTo>
                        <a:pt x="1131260" y="295632"/>
                      </a:lnTo>
                      <a:lnTo>
                        <a:pt x="1131090" y="294272"/>
                      </a:lnTo>
                      <a:lnTo>
                        <a:pt x="1130350" y="293106"/>
                      </a:lnTo>
                      <a:lnTo>
                        <a:pt x="1128795" y="290665"/>
                      </a:lnTo>
                      <a:lnTo>
                        <a:pt x="1128334" y="289937"/>
                      </a:lnTo>
                      <a:lnTo>
                        <a:pt x="1127690" y="289366"/>
                      </a:lnTo>
                      <a:lnTo>
                        <a:pt x="1125116" y="287096"/>
                      </a:lnTo>
                      <a:lnTo>
                        <a:pt x="1124545" y="286598"/>
                      </a:lnTo>
                      <a:lnTo>
                        <a:pt x="1123865" y="286245"/>
                      </a:lnTo>
                      <a:lnTo>
                        <a:pt x="1114600" y="281485"/>
                      </a:lnTo>
                      <a:lnTo>
                        <a:pt x="1108845" y="275705"/>
                      </a:lnTo>
                      <a:lnTo>
                        <a:pt x="1101656" y="269695"/>
                      </a:lnTo>
                      <a:lnTo>
                        <a:pt x="1100660" y="268869"/>
                      </a:lnTo>
                      <a:lnTo>
                        <a:pt x="1099410" y="268517"/>
                      </a:lnTo>
                      <a:lnTo>
                        <a:pt x="1096932" y="267825"/>
                      </a:lnTo>
                      <a:lnTo>
                        <a:pt x="1096131" y="267594"/>
                      </a:lnTo>
                      <a:lnTo>
                        <a:pt x="1095293" y="267594"/>
                      </a:lnTo>
                      <a:lnTo>
                        <a:pt x="1093800" y="267594"/>
                      </a:lnTo>
                      <a:lnTo>
                        <a:pt x="1090217" y="267594"/>
                      </a:lnTo>
                      <a:lnTo>
                        <a:pt x="1088481" y="270739"/>
                      </a:lnTo>
                      <a:lnTo>
                        <a:pt x="1087971" y="271662"/>
                      </a:lnTo>
                      <a:lnTo>
                        <a:pt x="1087813" y="271953"/>
                      </a:lnTo>
                      <a:lnTo>
                        <a:pt x="1087692" y="272257"/>
                      </a:lnTo>
                      <a:lnTo>
                        <a:pt x="1087352" y="273070"/>
                      </a:lnTo>
                      <a:lnTo>
                        <a:pt x="1083053" y="268468"/>
                      </a:lnTo>
                      <a:lnTo>
                        <a:pt x="1076338" y="258086"/>
                      </a:lnTo>
                      <a:lnTo>
                        <a:pt x="1075415" y="256398"/>
                      </a:lnTo>
                      <a:lnTo>
                        <a:pt x="1074516" y="254783"/>
                      </a:lnTo>
                      <a:lnTo>
                        <a:pt x="1072865" y="253945"/>
                      </a:lnTo>
                      <a:lnTo>
                        <a:pt x="1071250" y="253120"/>
                      </a:lnTo>
                      <a:lnTo>
                        <a:pt x="1070182" y="252573"/>
                      </a:lnTo>
                      <a:lnTo>
                        <a:pt x="1068979" y="252476"/>
                      </a:lnTo>
                      <a:lnTo>
                        <a:pt x="1066393" y="252270"/>
                      </a:lnTo>
                      <a:lnTo>
                        <a:pt x="1065166" y="252172"/>
                      </a:lnTo>
                      <a:lnTo>
                        <a:pt x="1064001" y="252561"/>
                      </a:lnTo>
                      <a:lnTo>
                        <a:pt x="1051202" y="256799"/>
                      </a:lnTo>
                      <a:lnTo>
                        <a:pt x="1049077" y="254686"/>
                      </a:lnTo>
                      <a:lnTo>
                        <a:pt x="1048421" y="254030"/>
                      </a:lnTo>
                      <a:lnTo>
                        <a:pt x="1047608" y="253605"/>
                      </a:lnTo>
                      <a:lnTo>
                        <a:pt x="1045592" y="252549"/>
                      </a:lnTo>
                      <a:lnTo>
                        <a:pt x="1044026" y="251723"/>
                      </a:lnTo>
                      <a:lnTo>
                        <a:pt x="1042265" y="251881"/>
                      </a:lnTo>
                      <a:lnTo>
                        <a:pt x="1041961" y="251905"/>
                      </a:lnTo>
                      <a:lnTo>
                        <a:pt x="1042289" y="249720"/>
                      </a:lnTo>
                      <a:lnTo>
                        <a:pt x="1042447" y="248700"/>
                      </a:lnTo>
                      <a:lnTo>
                        <a:pt x="1042253" y="247680"/>
                      </a:lnTo>
                      <a:lnTo>
                        <a:pt x="1041852" y="245615"/>
                      </a:lnTo>
                      <a:lnTo>
                        <a:pt x="1041682" y="244753"/>
                      </a:lnTo>
                      <a:lnTo>
                        <a:pt x="1041281" y="243976"/>
                      </a:lnTo>
                      <a:lnTo>
                        <a:pt x="1039994" y="241499"/>
                      </a:lnTo>
                      <a:lnTo>
                        <a:pt x="1039484" y="240151"/>
                      </a:lnTo>
                      <a:lnTo>
                        <a:pt x="1039351" y="238038"/>
                      </a:lnTo>
                      <a:lnTo>
                        <a:pt x="1039873" y="235452"/>
                      </a:lnTo>
                      <a:lnTo>
                        <a:pt x="1039958" y="235051"/>
                      </a:lnTo>
                      <a:lnTo>
                        <a:pt x="1039982" y="234650"/>
                      </a:lnTo>
                      <a:lnTo>
                        <a:pt x="1040273" y="230485"/>
                      </a:lnTo>
                      <a:lnTo>
                        <a:pt x="1040334" y="229502"/>
                      </a:lnTo>
                      <a:lnTo>
                        <a:pt x="1040091" y="228542"/>
                      </a:lnTo>
                      <a:lnTo>
                        <a:pt x="1039108" y="224717"/>
                      </a:lnTo>
                      <a:lnTo>
                        <a:pt x="1038792" y="223491"/>
                      </a:lnTo>
                      <a:lnTo>
                        <a:pt x="1038015" y="222495"/>
                      </a:lnTo>
                      <a:lnTo>
                        <a:pt x="1034056" y="217419"/>
                      </a:lnTo>
                      <a:lnTo>
                        <a:pt x="1033303" y="216448"/>
                      </a:lnTo>
                      <a:lnTo>
                        <a:pt x="1032247" y="215853"/>
                      </a:lnTo>
                      <a:lnTo>
                        <a:pt x="1029551" y="214335"/>
                      </a:lnTo>
                      <a:lnTo>
                        <a:pt x="1028228" y="213582"/>
                      </a:lnTo>
                      <a:lnTo>
                        <a:pt x="1026710" y="213546"/>
                      </a:lnTo>
                      <a:lnTo>
                        <a:pt x="1024184" y="213485"/>
                      </a:lnTo>
                      <a:lnTo>
                        <a:pt x="1022265" y="213449"/>
                      </a:lnTo>
                      <a:lnTo>
                        <a:pt x="1020675" y="214505"/>
                      </a:lnTo>
                      <a:lnTo>
                        <a:pt x="1018780" y="215768"/>
                      </a:lnTo>
                      <a:lnTo>
                        <a:pt x="1018343" y="216059"/>
                      </a:lnTo>
                      <a:lnTo>
                        <a:pt x="1018040" y="216351"/>
                      </a:lnTo>
                      <a:lnTo>
                        <a:pt x="1018040" y="215537"/>
                      </a:lnTo>
                      <a:lnTo>
                        <a:pt x="1018234" y="214736"/>
                      </a:lnTo>
                      <a:lnTo>
                        <a:pt x="1018744" y="213558"/>
                      </a:lnTo>
                      <a:lnTo>
                        <a:pt x="1018878" y="213254"/>
                      </a:lnTo>
                      <a:lnTo>
                        <a:pt x="1018975" y="212939"/>
                      </a:lnTo>
                      <a:lnTo>
                        <a:pt x="1019375" y="211652"/>
                      </a:lnTo>
                      <a:lnTo>
                        <a:pt x="1019764" y="210389"/>
                      </a:lnTo>
                      <a:lnTo>
                        <a:pt x="1019606" y="209089"/>
                      </a:lnTo>
                      <a:lnTo>
                        <a:pt x="1019436" y="207705"/>
                      </a:lnTo>
                      <a:lnTo>
                        <a:pt x="1019266" y="206321"/>
                      </a:lnTo>
                      <a:lnTo>
                        <a:pt x="1018513" y="205143"/>
                      </a:lnTo>
                      <a:lnTo>
                        <a:pt x="1017190" y="203103"/>
                      </a:lnTo>
                      <a:lnTo>
                        <a:pt x="1016850" y="202569"/>
                      </a:lnTo>
                      <a:lnTo>
                        <a:pt x="1016388" y="202119"/>
                      </a:lnTo>
                      <a:lnTo>
                        <a:pt x="1015477" y="201209"/>
                      </a:lnTo>
                      <a:lnTo>
                        <a:pt x="1014785" y="200504"/>
                      </a:lnTo>
                      <a:lnTo>
                        <a:pt x="1013899" y="200067"/>
                      </a:lnTo>
                      <a:lnTo>
                        <a:pt x="1012223" y="199229"/>
                      </a:lnTo>
                      <a:lnTo>
                        <a:pt x="1011410" y="198829"/>
                      </a:lnTo>
                      <a:lnTo>
                        <a:pt x="1010523" y="198671"/>
                      </a:lnTo>
                      <a:lnTo>
                        <a:pt x="1006261" y="197954"/>
                      </a:lnTo>
                      <a:lnTo>
                        <a:pt x="1005532" y="197651"/>
                      </a:lnTo>
                      <a:lnTo>
                        <a:pt x="1004974" y="197116"/>
                      </a:lnTo>
                      <a:lnTo>
                        <a:pt x="1004148" y="195708"/>
                      </a:lnTo>
                      <a:lnTo>
                        <a:pt x="1003140" y="192830"/>
                      </a:lnTo>
                      <a:lnTo>
                        <a:pt x="1003007" y="192429"/>
                      </a:lnTo>
                      <a:lnTo>
                        <a:pt x="1002812" y="192053"/>
                      </a:lnTo>
                      <a:lnTo>
                        <a:pt x="1001707" y="189904"/>
                      </a:lnTo>
                      <a:lnTo>
                        <a:pt x="1001428" y="189369"/>
                      </a:lnTo>
                      <a:lnTo>
                        <a:pt x="1001052" y="188896"/>
                      </a:lnTo>
                      <a:lnTo>
                        <a:pt x="999740" y="187256"/>
                      </a:lnTo>
                      <a:lnTo>
                        <a:pt x="999072" y="186418"/>
                      </a:lnTo>
                      <a:lnTo>
                        <a:pt x="998150" y="185860"/>
                      </a:lnTo>
                      <a:lnTo>
                        <a:pt x="996595" y="184913"/>
                      </a:lnTo>
                      <a:lnTo>
                        <a:pt x="995794" y="184427"/>
                      </a:lnTo>
                      <a:lnTo>
                        <a:pt x="994883" y="184196"/>
                      </a:lnTo>
                      <a:lnTo>
                        <a:pt x="993329" y="183820"/>
                      </a:lnTo>
                      <a:lnTo>
                        <a:pt x="992467" y="183613"/>
                      </a:lnTo>
                      <a:lnTo>
                        <a:pt x="991653" y="183650"/>
                      </a:lnTo>
                      <a:lnTo>
                        <a:pt x="992248" y="180043"/>
                      </a:lnTo>
                      <a:lnTo>
                        <a:pt x="992309" y="179691"/>
                      </a:lnTo>
                      <a:lnTo>
                        <a:pt x="992321" y="179339"/>
                      </a:lnTo>
                      <a:lnTo>
                        <a:pt x="992442" y="176898"/>
                      </a:lnTo>
                      <a:lnTo>
                        <a:pt x="992455" y="176510"/>
                      </a:lnTo>
                      <a:lnTo>
                        <a:pt x="992430" y="176121"/>
                      </a:lnTo>
                      <a:lnTo>
                        <a:pt x="992066" y="171556"/>
                      </a:lnTo>
                      <a:lnTo>
                        <a:pt x="992115" y="170402"/>
                      </a:lnTo>
                      <a:lnTo>
                        <a:pt x="992248" y="170025"/>
                      </a:lnTo>
                      <a:lnTo>
                        <a:pt x="992479" y="169722"/>
                      </a:lnTo>
                      <a:lnTo>
                        <a:pt x="994385" y="168410"/>
                      </a:lnTo>
                      <a:lnTo>
                        <a:pt x="996802" y="167099"/>
                      </a:lnTo>
                      <a:lnTo>
                        <a:pt x="997166" y="166893"/>
                      </a:lnTo>
                      <a:lnTo>
                        <a:pt x="997506" y="166638"/>
                      </a:lnTo>
                      <a:lnTo>
                        <a:pt x="999874" y="164889"/>
                      </a:lnTo>
                      <a:lnTo>
                        <a:pt x="1000262" y="164610"/>
                      </a:lnTo>
                      <a:lnTo>
                        <a:pt x="1000602" y="164258"/>
                      </a:lnTo>
                      <a:lnTo>
                        <a:pt x="1001635" y="163201"/>
                      </a:lnTo>
                      <a:lnTo>
                        <a:pt x="1003845" y="160942"/>
                      </a:lnTo>
                      <a:lnTo>
                        <a:pt x="1003262" y="157846"/>
                      </a:lnTo>
                      <a:lnTo>
                        <a:pt x="1002230" y="152333"/>
                      </a:lnTo>
                      <a:lnTo>
                        <a:pt x="1001999" y="151119"/>
                      </a:lnTo>
                      <a:lnTo>
                        <a:pt x="1001319" y="150087"/>
                      </a:lnTo>
                      <a:lnTo>
                        <a:pt x="999315" y="147063"/>
                      </a:lnTo>
                      <a:lnTo>
                        <a:pt x="998587" y="145521"/>
                      </a:lnTo>
                      <a:lnTo>
                        <a:pt x="998575" y="145363"/>
                      </a:lnTo>
                      <a:lnTo>
                        <a:pt x="998647" y="141514"/>
                      </a:lnTo>
                      <a:lnTo>
                        <a:pt x="998647" y="140870"/>
                      </a:lnTo>
                      <a:lnTo>
                        <a:pt x="998526" y="140239"/>
                      </a:lnTo>
                      <a:lnTo>
                        <a:pt x="998004" y="137640"/>
                      </a:lnTo>
                      <a:lnTo>
                        <a:pt x="997870" y="136960"/>
                      </a:lnTo>
                      <a:lnTo>
                        <a:pt x="997579" y="136329"/>
                      </a:lnTo>
                      <a:lnTo>
                        <a:pt x="996207" y="133305"/>
                      </a:lnTo>
                      <a:lnTo>
                        <a:pt x="995976" y="132807"/>
                      </a:lnTo>
                      <a:lnTo>
                        <a:pt x="995672" y="132358"/>
                      </a:lnTo>
                      <a:lnTo>
                        <a:pt x="989176" y="122947"/>
                      </a:lnTo>
                      <a:lnTo>
                        <a:pt x="988265" y="121636"/>
                      </a:lnTo>
                      <a:lnTo>
                        <a:pt x="986820" y="120932"/>
                      </a:lnTo>
                      <a:lnTo>
                        <a:pt x="985436" y="120264"/>
                      </a:lnTo>
                      <a:lnTo>
                        <a:pt x="982412" y="118794"/>
                      </a:lnTo>
                      <a:lnTo>
                        <a:pt x="979559" y="120579"/>
                      </a:lnTo>
                      <a:lnTo>
                        <a:pt x="977956" y="121587"/>
                      </a:lnTo>
                      <a:lnTo>
                        <a:pt x="976899" y="122255"/>
                      </a:lnTo>
                      <a:lnTo>
                        <a:pt x="976195" y="123275"/>
                      </a:lnTo>
                      <a:lnTo>
                        <a:pt x="974932" y="125109"/>
                      </a:lnTo>
                      <a:lnTo>
                        <a:pt x="974568" y="125631"/>
                      </a:lnTo>
                      <a:lnTo>
                        <a:pt x="974325" y="126214"/>
                      </a:lnTo>
                      <a:lnTo>
                        <a:pt x="972285" y="131107"/>
                      </a:lnTo>
                      <a:lnTo>
                        <a:pt x="971399" y="132662"/>
                      </a:lnTo>
                      <a:lnTo>
                        <a:pt x="970488" y="133803"/>
                      </a:lnTo>
                      <a:lnTo>
                        <a:pt x="969347" y="134677"/>
                      </a:lnTo>
                      <a:lnTo>
                        <a:pt x="965388" y="137240"/>
                      </a:lnTo>
                      <a:lnTo>
                        <a:pt x="965291" y="137142"/>
                      </a:lnTo>
                      <a:lnTo>
                        <a:pt x="962012" y="133220"/>
                      </a:lnTo>
                      <a:lnTo>
                        <a:pt x="961891" y="132953"/>
                      </a:lnTo>
                      <a:lnTo>
                        <a:pt x="961454" y="130488"/>
                      </a:lnTo>
                      <a:lnTo>
                        <a:pt x="961296" y="129602"/>
                      </a:lnTo>
                      <a:lnTo>
                        <a:pt x="960883" y="128800"/>
                      </a:lnTo>
                      <a:lnTo>
                        <a:pt x="960081" y="127234"/>
                      </a:lnTo>
                      <a:lnTo>
                        <a:pt x="959705" y="126505"/>
                      </a:lnTo>
                      <a:lnTo>
                        <a:pt x="959159" y="125898"/>
                      </a:lnTo>
                      <a:lnTo>
                        <a:pt x="957835" y="124453"/>
                      </a:lnTo>
                      <a:lnTo>
                        <a:pt x="956936" y="123469"/>
                      </a:lnTo>
                      <a:lnTo>
                        <a:pt x="955710" y="122959"/>
                      </a:lnTo>
                      <a:lnTo>
                        <a:pt x="952541" y="121624"/>
                      </a:lnTo>
                      <a:lnTo>
                        <a:pt x="952383" y="121502"/>
                      </a:lnTo>
                      <a:lnTo>
                        <a:pt x="950306" y="118964"/>
                      </a:lnTo>
                      <a:lnTo>
                        <a:pt x="949821" y="118369"/>
                      </a:lnTo>
                      <a:lnTo>
                        <a:pt x="949201" y="117908"/>
                      </a:lnTo>
                      <a:lnTo>
                        <a:pt x="947647" y="116766"/>
                      </a:lnTo>
                      <a:lnTo>
                        <a:pt x="947210" y="116439"/>
                      </a:lnTo>
                      <a:lnTo>
                        <a:pt x="946712" y="116196"/>
                      </a:lnTo>
                      <a:lnTo>
                        <a:pt x="943506" y="114629"/>
                      </a:lnTo>
                      <a:lnTo>
                        <a:pt x="942923" y="113974"/>
                      </a:lnTo>
                      <a:lnTo>
                        <a:pt x="942462" y="113111"/>
                      </a:lnTo>
                      <a:lnTo>
                        <a:pt x="941236" y="109566"/>
                      </a:lnTo>
                      <a:lnTo>
                        <a:pt x="941053" y="109019"/>
                      </a:lnTo>
                      <a:lnTo>
                        <a:pt x="940774" y="108521"/>
                      </a:lnTo>
                      <a:lnTo>
                        <a:pt x="938540" y="104624"/>
                      </a:lnTo>
                      <a:lnTo>
                        <a:pt x="938698" y="103871"/>
                      </a:lnTo>
                      <a:lnTo>
                        <a:pt x="943251" y="92238"/>
                      </a:lnTo>
                      <a:lnTo>
                        <a:pt x="943312" y="92165"/>
                      </a:lnTo>
                      <a:lnTo>
                        <a:pt x="944356" y="91400"/>
                      </a:lnTo>
                      <a:lnTo>
                        <a:pt x="944769" y="91109"/>
                      </a:lnTo>
                      <a:lnTo>
                        <a:pt x="945121" y="90744"/>
                      </a:lnTo>
                      <a:lnTo>
                        <a:pt x="946676" y="89141"/>
                      </a:lnTo>
                      <a:lnTo>
                        <a:pt x="947526" y="88267"/>
                      </a:lnTo>
                      <a:lnTo>
                        <a:pt x="947975" y="87138"/>
                      </a:lnTo>
                      <a:lnTo>
                        <a:pt x="948023" y="87004"/>
                      </a:lnTo>
                      <a:lnTo>
                        <a:pt x="948218" y="87016"/>
                      </a:lnTo>
                      <a:lnTo>
                        <a:pt x="948546" y="87053"/>
                      </a:lnTo>
                      <a:lnTo>
                        <a:pt x="948873" y="87053"/>
                      </a:lnTo>
                      <a:lnTo>
                        <a:pt x="951751" y="87053"/>
                      </a:lnTo>
                      <a:lnTo>
                        <a:pt x="952529" y="87053"/>
                      </a:lnTo>
                      <a:lnTo>
                        <a:pt x="953281" y="86858"/>
                      </a:lnTo>
                      <a:lnTo>
                        <a:pt x="955455" y="86288"/>
                      </a:lnTo>
                      <a:lnTo>
                        <a:pt x="956026" y="86130"/>
                      </a:lnTo>
                      <a:lnTo>
                        <a:pt x="956560" y="85875"/>
                      </a:lnTo>
                      <a:lnTo>
                        <a:pt x="957993" y="85183"/>
                      </a:lnTo>
                      <a:lnTo>
                        <a:pt x="958879" y="84746"/>
                      </a:lnTo>
                      <a:lnTo>
                        <a:pt x="959584" y="84053"/>
                      </a:lnTo>
                      <a:lnTo>
                        <a:pt x="961029" y="82645"/>
                      </a:lnTo>
                      <a:lnTo>
                        <a:pt x="961672" y="82013"/>
                      </a:lnTo>
                      <a:lnTo>
                        <a:pt x="962109" y="81224"/>
                      </a:lnTo>
                      <a:lnTo>
                        <a:pt x="963141" y="79354"/>
                      </a:lnTo>
                      <a:lnTo>
                        <a:pt x="963530" y="78650"/>
                      </a:lnTo>
                      <a:lnTo>
                        <a:pt x="963724" y="77873"/>
                      </a:lnTo>
                      <a:lnTo>
                        <a:pt x="964356" y="75298"/>
                      </a:lnTo>
                      <a:lnTo>
                        <a:pt x="964599" y="74339"/>
                      </a:lnTo>
                      <a:lnTo>
                        <a:pt x="964526" y="73355"/>
                      </a:lnTo>
                      <a:lnTo>
                        <a:pt x="964356" y="71230"/>
                      </a:lnTo>
                      <a:lnTo>
                        <a:pt x="964259" y="70077"/>
                      </a:lnTo>
                      <a:lnTo>
                        <a:pt x="963749" y="69045"/>
                      </a:lnTo>
                      <a:lnTo>
                        <a:pt x="962996" y="67515"/>
                      </a:lnTo>
                      <a:lnTo>
                        <a:pt x="962085" y="65669"/>
                      </a:lnTo>
                      <a:lnTo>
                        <a:pt x="960239" y="64758"/>
                      </a:lnTo>
                      <a:lnTo>
                        <a:pt x="958746" y="64018"/>
                      </a:lnTo>
                      <a:lnTo>
                        <a:pt x="957191" y="63253"/>
                      </a:lnTo>
                      <a:lnTo>
                        <a:pt x="955467" y="63423"/>
                      </a:lnTo>
                      <a:lnTo>
                        <a:pt x="954095" y="63556"/>
                      </a:lnTo>
                      <a:lnTo>
                        <a:pt x="952771" y="63678"/>
                      </a:lnTo>
                      <a:lnTo>
                        <a:pt x="951630" y="64345"/>
                      </a:lnTo>
                      <a:lnTo>
                        <a:pt x="949675" y="65475"/>
                      </a:lnTo>
                      <a:lnTo>
                        <a:pt x="949299" y="65693"/>
                      </a:lnTo>
                      <a:lnTo>
                        <a:pt x="949262" y="65718"/>
                      </a:lnTo>
                      <a:lnTo>
                        <a:pt x="941648" y="63180"/>
                      </a:lnTo>
                      <a:lnTo>
                        <a:pt x="941357" y="63046"/>
                      </a:lnTo>
                      <a:lnTo>
                        <a:pt x="941988" y="61358"/>
                      </a:lnTo>
                      <a:lnTo>
                        <a:pt x="942243" y="60654"/>
                      </a:lnTo>
                      <a:lnTo>
                        <a:pt x="942328" y="59901"/>
                      </a:lnTo>
                      <a:lnTo>
                        <a:pt x="942790" y="55748"/>
                      </a:lnTo>
                      <a:lnTo>
                        <a:pt x="942826" y="55420"/>
                      </a:lnTo>
                      <a:lnTo>
                        <a:pt x="942826" y="55080"/>
                      </a:lnTo>
                      <a:lnTo>
                        <a:pt x="942826" y="50770"/>
                      </a:lnTo>
                      <a:lnTo>
                        <a:pt x="942826" y="50235"/>
                      </a:lnTo>
                      <a:lnTo>
                        <a:pt x="942729" y="49701"/>
                      </a:lnTo>
                      <a:lnTo>
                        <a:pt x="942450" y="48147"/>
                      </a:lnTo>
                      <a:lnTo>
                        <a:pt x="942389" y="47831"/>
                      </a:lnTo>
                      <a:lnTo>
                        <a:pt x="942304" y="47527"/>
                      </a:lnTo>
                      <a:lnTo>
                        <a:pt x="941903" y="46143"/>
                      </a:lnTo>
                      <a:lnTo>
                        <a:pt x="941661" y="45305"/>
                      </a:lnTo>
                      <a:lnTo>
                        <a:pt x="941187" y="44565"/>
                      </a:lnTo>
                      <a:lnTo>
                        <a:pt x="940774" y="43873"/>
                      </a:lnTo>
                      <a:lnTo>
                        <a:pt x="939827" y="42707"/>
                      </a:lnTo>
                      <a:lnTo>
                        <a:pt x="939086" y="41990"/>
                      </a:lnTo>
                      <a:lnTo>
                        <a:pt x="937726" y="40667"/>
                      </a:lnTo>
                      <a:lnTo>
                        <a:pt x="935868" y="40351"/>
                      </a:lnTo>
                      <a:lnTo>
                        <a:pt x="933743" y="39987"/>
                      </a:lnTo>
                      <a:lnTo>
                        <a:pt x="932930" y="39853"/>
                      </a:lnTo>
                      <a:lnTo>
                        <a:pt x="932104" y="39938"/>
                      </a:lnTo>
                      <a:lnTo>
                        <a:pt x="928777" y="40278"/>
                      </a:lnTo>
                      <a:lnTo>
                        <a:pt x="928121" y="40339"/>
                      </a:lnTo>
                      <a:lnTo>
                        <a:pt x="927490" y="40545"/>
                      </a:lnTo>
                      <a:lnTo>
                        <a:pt x="921855" y="42403"/>
                      </a:lnTo>
                      <a:lnTo>
                        <a:pt x="919730" y="42792"/>
                      </a:lnTo>
                      <a:lnTo>
                        <a:pt x="918213" y="42913"/>
                      </a:lnTo>
                      <a:lnTo>
                        <a:pt x="916707" y="43144"/>
                      </a:lnTo>
                      <a:lnTo>
                        <a:pt x="915456" y="43362"/>
                      </a:lnTo>
                      <a:lnTo>
                        <a:pt x="914400" y="44055"/>
                      </a:lnTo>
                      <a:lnTo>
                        <a:pt x="913428" y="44686"/>
                      </a:lnTo>
                      <a:lnTo>
                        <a:pt x="912858" y="45062"/>
                      </a:lnTo>
                      <a:lnTo>
                        <a:pt x="912372" y="45560"/>
                      </a:lnTo>
                      <a:lnTo>
                        <a:pt x="910465" y="47540"/>
                      </a:lnTo>
                      <a:lnTo>
                        <a:pt x="910077" y="47940"/>
                      </a:lnTo>
                      <a:lnTo>
                        <a:pt x="909773" y="48414"/>
                      </a:lnTo>
                      <a:lnTo>
                        <a:pt x="908729" y="49993"/>
                      </a:lnTo>
                      <a:lnTo>
                        <a:pt x="907612" y="52008"/>
                      </a:lnTo>
                      <a:lnTo>
                        <a:pt x="907211" y="52749"/>
                      </a:lnTo>
                      <a:lnTo>
                        <a:pt x="907029" y="53563"/>
                      </a:lnTo>
                      <a:lnTo>
                        <a:pt x="906750" y="54777"/>
                      </a:lnTo>
                      <a:lnTo>
                        <a:pt x="906677" y="55080"/>
                      </a:lnTo>
                      <a:lnTo>
                        <a:pt x="906640" y="55384"/>
                      </a:lnTo>
                      <a:lnTo>
                        <a:pt x="906519" y="56331"/>
                      </a:lnTo>
                      <a:lnTo>
                        <a:pt x="906483" y="56635"/>
                      </a:lnTo>
                      <a:lnTo>
                        <a:pt x="906567" y="56926"/>
                      </a:lnTo>
                      <a:lnTo>
                        <a:pt x="906507" y="59646"/>
                      </a:lnTo>
                      <a:lnTo>
                        <a:pt x="906385" y="59804"/>
                      </a:lnTo>
                      <a:lnTo>
                        <a:pt x="905669" y="60666"/>
                      </a:lnTo>
                      <a:lnTo>
                        <a:pt x="905317" y="61735"/>
                      </a:lnTo>
                      <a:lnTo>
                        <a:pt x="904989" y="62718"/>
                      </a:lnTo>
                      <a:lnTo>
                        <a:pt x="904819" y="63228"/>
                      </a:lnTo>
                      <a:lnTo>
                        <a:pt x="904746" y="63763"/>
                      </a:lnTo>
                      <a:lnTo>
                        <a:pt x="904625" y="64588"/>
                      </a:lnTo>
                      <a:lnTo>
                        <a:pt x="904564" y="65026"/>
                      </a:lnTo>
                      <a:lnTo>
                        <a:pt x="904564" y="65463"/>
                      </a:lnTo>
                      <a:lnTo>
                        <a:pt x="904564" y="67041"/>
                      </a:lnTo>
                      <a:lnTo>
                        <a:pt x="904443" y="67175"/>
                      </a:lnTo>
                      <a:lnTo>
                        <a:pt x="901152" y="69385"/>
                      </a:lnTo>
                      <a:lnTo>
                        <a:pt x="900532" y="69555"/>
                      </a:lnTo>
                      <a:lnTo>
                        <a:pt x="899719" y="69530"/>
                      </a:lnTo>
                      <a:lnTo>
                        <a:pt x="893720" y="67539"/>
                      </a:lnTo>
                      <a:lnTo>
                        <a:pt x="893380" y="67430"/>
                      </a:lnTo>
                      <a:lnTo>
                        <a:pt x="893028" y="67357"/>
                      </a:lnTo>
                      <a:lnTo>
                        <a:pt x="888268" y="66386"/>
                      </a:lnTo>
                      <a:lnTo>
                        <a:pt x="887710" y="66276"/>
                      </a:lnTo>
                      <a:lnTo>
                        <a:pt x="887151" y="66264"/>
                      </a:lnTo>
                      <a:lnTo>
                        <a:pt x="879732" y="66155"/>
                      </a:lnTo>
                      <a:lnTo>
                        <a:pt x="871535" y="65584"/>
                      </a:lnTo>
                      <a:lnTo>
                        <a:pt x="869653" y="65026"/>
                      </a:lnTo>
                      <a:lnTo>
                        <a:pt x="867880" y="64321"/>
                      </a:lnTo>
                      <a:lnTo>
                        <a:pt x="866362" y="63180"/>
                      </a:lnTo>
                      <a:lnTo>
                        <a:pt x="865731" y="62536"/>
                      </a:lnTo>
                      <a:lnTo>
                        <a:pt x="865318" y="61808"/>
                      </a:lnTo>
                      <a:lnTo>
                        <a:pt x="863351" y="56720"/>
                      </a:lnTo>
                      <a:lnTo>
                        <a:pt x="863193" y="56319"/>
                      </a:lnTo>
                      <a:lnTo>
                        <a:pt x="862986" y="55943"/>
                      </a:lnTo>
                      <a:lnTo>
                        <a:pt x="861954" y="54097"/>
                      </a:lnTo>
                      <a:lnTo>
                        <a:pt x="861711" y="53672"/>
                      </a:lnTo>
                      <a:lnTo>
                        <a:pt x="861420" y="53295"/>
                      </a:lnTo>
                      <a:lnTo>
                        <a:pt x="860266" y="51838"/>
                      </a:lnTo>
                      <a:lnTo>
                        <a:pt x="859708" y="51122"/>
                      </a:lnTo>
                      <a:lnTo>
                        <a:pt x="858955" y="50600"/>
                      </a:lnTo>
                      <a:lnTo>
                        <a:pt x="857231" y="49410"/>
                      </a:lnTo>
                      <a:lnTo>
                        <a:pt x="856478" y="48900"/>
                      </a:lnTo>
                      <a:lnTo>
                        <a:pt x="855604" y="48620"/>
                      </a:lnTo>
                      <a:lnTo>
                        <a:pt x="853831" y="48062"/>
                      </a:lnTo>
                      <a:lnTo>
                        <a:pt x="853284" y="47892"/>
                      </a:lnTo>
                      <a:lnTo>
                        <a:pt x="852714" y="47831"/>
                      </a:lnTo>
                      <a:lnTo>
                        <a:pt x="849156" y="47418"/>
                      </a:lnTo>
                      <a:lnTo>
                        <a:pt x="847444" y="47042"/>
                      </a:lnTo>
                      <a:lnTo>
                        <a:pt x="845464" y="46313"/>
                      </a:lnTo>
                      <a:lnTo>
                        <a:pt x="837826" y="41395"/>
                      </a:lnTo>
                      <a:lnTo>
                        <a:pt x="837158" y="40958"/>
                      </a:lnTo>
                      <a:lnTo>
                        <a:pt x="836393" y="40715"/>
                      </a:lnTo>
                      <a:lnTo>
                        <a:pt x="834268" y="40035"/>
                      </a:lnTo>
                      <a:lnTo>
                        <a:pt x="833601" y="39817"/>
                      </a:lnTo>
                      <a:lnTo>
                        <a:pt x="832896" y="39756"/>
                      </a:lnTo>
                      <a:lnTo>
                        <a:pt x="829290" y="39465"/>
                      </a:lnTo>
                      <a:lnTo>
                        <a:pt x="828428" y="39404"/>
                      </a:lnTo>
                      <a:lnTo>
                        <a:pt x="827578" y="39574"/>
                      </a:lnTo>
                      <a:lnTo>
                        <a:pt x="825623" y="39975"/>
                      </a:lnTo>
                      <a:lnTo>
                        <a:pt x="824906" y="40120"/>
                      </a:lnTo>
                      <a:lnTo>
                        <a:pt x="824250" y="40436"/>
                      </a:lnTo>
                      <a:lnTo>
                        <a:pt x="822976" y="41043"/>
                      </a:lnTo>
                      <a:lnTo>
                        <a:pt x="821773" y="41614"/>
                      </a:lnTo>
                      <a:lnTo>
                        <a:pt x="820911" y="42634"/>
                      </a:lnTo>
                      <a:lnTo>
                        <a:pt x="820462" y="43168"/>
                      </a:lnTo>
                      <a:lnTo>
                        <a:pt x="820256" y="43423"/>
                      </a:lnTo>
                      <a:lnTo>
                        <a:pt x="820073" y="43690"/>
                      </a:lnTo>
                      <a:lnTo>
                        <a:pt x="819673" y="44298"/>
                      </a:lnTo>
                      <a:lnTo>
                        <a:pt x="819442" y="44638"/>
                      </a:lnTo>
                      <a:lnTo>
                        <a:pt x="819260" y="45002"/>
                      </a:lnTo>
                      <a:lnTo>
                        <a:pt x="818798" y="45949"/>
                      </a:lnTo>
                      <a:lnTo>
                        <a:pt x="818568" y="46410"/>
                      </a:lnTo>
                      <a:lnTo>
                        <a:pt x="818422" y="46908"/>
                      </a:lnTo>
                      <a:lnTo>
                        <a:pt x="816831" y="52360"/>
                      </a:lnTo>
                      <a:lnTo>
                        <a:pt x="814913" y="48875"/>
                      </a:lnTo>
                      <a:lnTo>
                        <a:pt x="814743" y="48487"/>
                      </a:lnTo>
                      <a:lnTo>
                        <a:pt x="814706" y="48207"/>
                      </a:lnTo>
                      <a:lnTo>
                        <a:pt x="814937" y="47042"/>
                      </a:lnTo>
                      <a:lnTo>
                        <a:pt x="815131" y="46107"/>
                      </a:lnTo>
                      <a:lnTo>
                        <a:pt x="815022" y="45160"/>
                      </a:lnTo>
                      <a:lnTo>
                        <a:pt x="814852" y="43666"/>
                      </a:lnTo>
                      <a:lnTo>
                        <a:pt x="814633" y="41772"/>
                      </a:lnTo>
                      <a:lnTo>
                        <a:pt x="813370" y="40339"/>
                      </a:lnTo>
                      <a:lnTo>
                        <a:pt x="812387" y="39222"/>
                      </a:lnTo>
                      <a:lnTo>
                        <a:pt x="810918" y="37570"/>
                      </a:lnTo>
                      <a:lnTo>
                        <a:pt x="808744" y="37242"/>
                      </a:lnTo>
                      <a:lnTo>
                        <a:pt x="805696" y="36781"/>
                      </a:lnTo>
                      <a:lnTo>
                        <a:pt x="805004" y="36672"/>
                      </a:lnTo>
                      <a:lnTo>
                        <a:pt x="804312" y="36720"/>
                      </a:lnTo>
                      <a:lnTo>
                        <a:pt x="802126" y="36890"/>
                      </a:lnTo>
                      <a:lnTo>
                        <a:pt x="801774" y="36915"/>
                      </a:lnTo>
                      <a:lnTo>
                        <a:pt x="801434" y="36963"/>
                      </a:lnTo>
                      <a:lnTo>
                        <a:pt x="800560" y="37133"/>
                      </a:lnTo>
                      <a:lnTo>
                        <a:pt x="800329" y="36380"/>
                      </a:lnTo>
                      <a:lnTo>
                        <a:pt x="799952" y="35154"/>
                      </a:lnTo>
                      <a:lnTo>
                        <a:pt x="799127" y="34182"/>
                      </a:lnTo>
                      <a:lnTo>
                        <a:pt x="798386" y="33320"/>
                      </a:lnTo>
                      <a:lnTo>
                        <a:pt x="797488" y="32288"/>
                      </a:lnTo>
                      <a:lnTo>
                        <a:pt x="796237" y="31730"/>
                      </a:lnTo>
                      <a:lnTo>
                        <a:pt x="794804" y="31098"/>
                      </a:lnTo>
                      <a:lnTo>
                        <a:pt x="793966" y="30734"/>
                      </a:lnTo>
                      <a:lnTo>
                        <a:pt x="793055" y="30625"/>
                      </a:lnTo>
                      <a:lnTo>
                        <a:pt x="792910" y="30612"/>
                      </a:lnTo>
                      <a:lnTo>
                        <a:pt x="794233" y="30054"/>
                      </a:lnTo>
                      <a:lnTo>
                        <a:pt x="795569" y="29495"/>
                      </a:lnTo>
                      <a:lnTo>
                        <a:pt x="796516" y="28390"/>
                      </a:lnTo>
                      <a:lnTo>
                        <a:pt x="797196" y="27589"/>
                      </a:lnTo>
                      <a:lnTo>
                        <a:pt x="798216" y="26374"/>
                      </a:lnTo>
                      <a:lnTo>
                        <a:pt x="798520" y="24820"/>
                      </a:lnTo>
                      <a:lnTo>
                        <a:pt x="798750" y="23642"/>
                      </a:lnTo>
                      <a:lnTo>
                        <a:pt x="798932" y="22744"/>
                      </a:lnTo>
                      <a:lnTo>
                        <a:pt x="798835" y="21833"/>
                      </a:lnTo>
                      <a:lnTo>
                        <a:pt x="798665" y="20218"/>
                      </a:lnTo>
                      <a:lnTo>
                        <a:pt x="798520" y="18785"/>
                      </a:lnTo>
                      <a:lnTo>
                        <a:pt x="797742" y="17571"/>
                      </a:lnTo>
                      <a:lnTo>
                        <a:pt x="796832" y="16162"/>
                      </a:lnTo>
                      <a:lnTo>
                        <a:pt x="795763" y="14499"/>
                      </a:lnTo>
                      <a:lnTo>
                        <a:pt x="793930" y="13782"/>
                      </a:lnTo>
                      <a:lnTo>
                        <a:pt x="792254" y="13127"/>
                      </a:lnTo>
                      <a:lnTo>
                        <a:pt x="790821" y="12568"/>
                      </a:lnTo>
                      <a:lnTo>
                        <a:pt x="789291" y="12787"/>
                      </a:lnTo>
                      <a:lnTo>
                        <a:pt x="786316" y="13163"/>
                      </a:lnTo>
                      <a:lnTo>
                        <a:pt x="785988" y="13199"/>
                      </a:lnTo>
                      <a:lnTo>
                        <a:pt x="785672" y="13272"/>
                      </a:lnTo>
                      <a:lnTo>
                        <a:pt x="779176" y="14802"/>
                      </a:lnTo>
                      <a:lnTo>
                        <a:pt x="769061" y="15774"/>
                      </a:lnTo>
                      <a:lnTo>
                        <a:pt x="764034" y="15154"/>
                      </a:lnTo>
                      <a:lnTo>
                        <a:pt x="751636" y="11099"/>
                      </a:lnTo>
                      <a:lnTo>
                        <a:pt x="750118" y="10067"/>
                      </a:lnTo>
                      <a:lnTo>
                        <a:pt x="748588" y="7104"/>
                      </a:lnTo>
                      <a:lnTo>
                        <a:pt x="746888" y="4371"/>
                      </a:lnTo>
                      <a:lnTo>
                        <a:pt x="746220" y="3315"/>
                      </a:lnTo>
                      <a:lnTo>
                        <a:pt x="745188" y="2611"/>
                      </a:lnTo>
                      <a:lnTo>
                        <a:pt x="743281" y="1299"/>
                      </a:lnTo>
                      <a:lnTo>
                        <a:pt x="741399" y="0"/>
                      </a:lnTo>
                      <a:lnTo>
                        <a:pt x="741399" y="0"/>
                      </a:lnTo>
                      <a:close/>
                      <a:moveTo>
                        <a:pt x="71060" y="205058"/>
                      </a:moveTo>
                      <a:lnTo>
                        <a:pt x="76853" y="203953"/>
                      </a:lnTo>
                      <a:lnTo>
                        <a:pt x="77812" y="203771"/>
                      </a:lnTo>
                      <a:lnTo>
                        <a:pt x="77982" y="203674"/>
                      </a:lnTo>
                      <a:lnTo>
                        <a:pt x="76707" y="205580"/>
                      </a:lnTo>
                      <a:lnTo>
                        <a:pt x="74145" y="205835"/>
                      </a:lnTo>
                      <a:lnTo>
                        <a:pt x="72736" y="205969"/>
                      </a:lnTo>
                      <a:lnTo>
                        <a:pt x="71534" y="206721"/>
                      </a:lnTo>
                      <a:lnTo>
                        <a:pt x="69251" y="208142"/>
                      </a:lnTo>
                      <a:lnTo>
                        <a:pt x="66361" y="208992"/>
                      </a:lnTo>
                      <a:lnTo>
                        <a:pt x="64625" y="209502"/>
                      </a:lnTo>
                      <a:lnTo>
                        <a:pt x="63447" y="210886"/>
                      </a:lnTo>
                      <a:lnTo>
                        <a:pt x="62767" y="211688"/>
                      </a:lnTo>
                      <a:lnTo>
                        <a:pt x="60885" y="213910"/>
                      </a:lnTo>
                      <a:lnTo>
                        <a:pt x="60933" y="214189"/>
                      </a:lnTo>
                      <a:lnTo>
                        <a:pt x="59549" y="213764"/>
                      </a:lnTo>
                      <a:lnTo>
                        <a:pt x="58505" y="214359"/>
                      </a:lnTo>
                      <a:lnTo>
                        <a:pt x="61443" y="210911"/>
                      </a:lnTo>
                      <a:lnTo>
                        <a:pt x="63532" y="209089"/>
                      </a:lnTo>
                      <a:lnTo>
                        <a:pt x="66810" y="207681"/>
                      </a:lnTo>
                      <a:lnTo>
                        <a:pt x="67272" y="207498"/>
                      </a:lnTo>
                      <a:lnTo>
                        <a:pt x="67685" y="207231"/>
                      </a:lnTo>
                      <a:lnTo>
                        <a:pt x="71060" y="205058"/>
                      </a:lnTo>
                      <a:lnTo>
                        <a:pt x="71060" y="205058"/>
                      </a:lnTo>
                      <a:close/>
                      <a:moveTo>
                        <a:pt x="436381" y="333020"/>
                      </a:moveTo>
                      <a:lnTo>
                        <a:pt x="442562" y="329827"/>
                      </a:lnTo>
                      <a:lnTo>
                        <a:pt x="443436" y="329377"/>
                      </a:lnTo>
                      <a:lnTo>
                        <a:pt x="444128" y="328673"/>
                      </a:lnTo>
                      <a:lnTo>
                        <a:pt x="444529" y="328260"/>
                      </a:lnTo>
                      <a:lnTo>
                        <a:pt x="444990" y="328709"/>
                      </a:lnTo>
                      <a:lnTo>
                        <a:pt x="446508" y="330689"/>
                      </a:lnTo>
                      <a:lnTo>
                        <a:pt x="447577" y="333202"/>
                      </a:lnTo>
                      <a:lnTo>
                        <a:pt x="448220" y="336469"/>
                      </a:lnTo>
                      <a:lnTo>
                        <a:pt x="448087" y="339225"/>
                      </a:lnTo>
                      <a:lnTo>
                        <a:pt x="446957" y="341690"/>
                      </a:lnTo>
                      <a:lnTo>
                        <a:pt x="446107" y="343087"/>
                      </a:lnTo>
                      <a:lnTo>
                        <a:pt x="445913" y="343390"/>
                      </a:lnTo>
                      <a:lnTo>
                        <a:pt x="445767" y="343718"/>
                      </a:lnTo>
                      <a:lnTo>
                        <a:pt x="444565" y="346317"/>
                      </a:lnTo>
                      <a:lnTo>
                        <a:pt x="443375" y="346037"/>
                      </a:lnTo>
                      <a:lnTo>
                        <a:pt x="442683" y="345867"/>
                      </a:lnTo>
                      <a:lnTo>
                        <a:pt x="441967" y="345867"/>
                      </a:lnTo>
                      <a:lnTo>
                        <a:pt x="440254" y="345867"/>
                      </a:lnTo>
                      <a:lnTo>
                        <a:pt x="438239" y="345867"/>
                      </a:lnTo>
                      <a:lnTo>
                        <a:pt x="436733" y="346984"/>
                      </a:lnTo>
                      <a:lnTo>
                        <a:pt x="436672" y="346681"/>
                      </a:lnTo>
                      <a:lnTo>
                        <a:pt x="436672" y="346523"/>
                      </a:lnTo>
                      <a:lnTo>
                        <a:pt x="437984" y="342759"/>
                      </a:lnTo>
                      <a:lnTo>
                        <a:pt x="438919" y="340063"/>
                      </a:lnTo>
                      <a:lnTo>
                        <a:pt x="437449" y="337622"/>
                      </a:lnTo>
                      <a:lnTo>
                        <a:pt x="436684" y="336347"/>
                      </a:lnTo>
                      <a:lnTo>
                        <a:pt x="436369" y="335157"/>
                      </a:lnTo>
                      <a:lnTo>
                        <a:pt x="436114" y="333421"/>
                      </a:lnTo>
                      <a:lnTo>
                        <a:pt x="436381" y="333020"/>
                      </a:lnTo>
                      <a:lnTo>
                        <a:pt x="436381" y="333020"/>
                      </a:lnTo>
                      <a:close/>
                      <a:moveTo>
                        <a:pt x="852143" y="494703"/>
                      </a:moveTo>
                      <a:lnTo>
                        <a:pt x="852823" y="494703"/>
                      </a:lnTo>
                      <a:lnTo>
                        <a:pt x="864383" y="499208"/>
                      </a:lnTo>
                      <a:lnTo>
                        <a:pt x="864917" y="499427"/>
                      </a:lnTo>
                      <a:lnTo>
                        <a:pt x="865488" y="499536"/>
                      </a:lnTo>
                      <a:lnTo>
                        <a:pt x="870430" y="500435"/>
                      </a:lnTo>
                      <a:lnTo>
                        <a:pt x="869301" y="501928"/>
                      </a:lnTo>
                      <a:lnTo>
                        <a:pt x="867880" y="501236"/>
                      </a:lnTo>
                      <a:lnTo>
                        <a:pt x="867504" y="501042"/>
                      </a:lnTo>
                      <a:lnTo>
                        <a:pt x="867103" y="500908"/>
                      </a:lnTo>
                      <a:lnTo>
                        <a:pt x="864917" y="500192"/>
                      </a:lnTo>
                      <a:lnTo>
                        <a:pt x="863642" y="499779"/>
                      </a:lnTo>
                      <a:lnTo>
                        <a:pt x="862319" y="499949"/>
                      </a:lnTo>
                      <a:lnTo>
                        <a:pt x="860825" y="500131"/>
                      </a:lnTo>
                      <a:lnTo>
                        <a:pt x="860084" y="500216"/>
                      </a:lnTo>
                      <a:lnTo>
                        <a:pt x="859489" y="500447"/>
                      </a:lnTo>
                      <a:lnTo>
                        <a:pt x="859441" y="500423"/>
                      </a:lnTo>
                      <a:lnTo>
                        <a:pt x="856466" y="498018"/>
                      </a:lnTo>
                      <a:lnTo>
                        <a:pt x="855919" y="497569"/>
                      </a:lnTo>
                      <a:lnTo>
                        <a:pt x="855276" y="497278"/>
                      </a:lnTo>
                      <a:lnTo>
                        <a:pt x="851949" y="495675"/>
                      </a:lnTo>
                      <a:lnTo>
                        <a:pt x="850892" y="495153"/>
                      </a:lnTo>
                      <a:lnTo>
                        <a:pt x="850176" y="495116"/>
                      </a:lnTo>
                      <a:lnTo>
                        <a:pt x="850625" y="495019"/>
                      </a:lnTo>
                      <a:lnTo>
                        <a:pt x="852143" y="494703"/>
                      </a:lnTo>
                      <a:lnTo>
                        <a:pt x="852143" y="494703"/>
                      </a:lnTo>
                      <a:close/>
                      <a:moveTo>
                        <a:pt x="874037" y="723197"/>
                      </a:moveTo>
                      <a:lnTo>
                        <a:pt x="874583" y="722942"/>
                      </a:lnTo>
                      <a:lnTo>
                        <a:pt x="879234" y="720793"/>
                      </a:lnTo>
                      <a:lnTo>
                        <a:pt x="881298" y="725516"/>
                      </a:lnTo>
                      <a:lnTo>
                        <a:pt x="878372" y="725006"/>
                      </a:lnTo>
                      <a:lnTo>
                        <a:pt x="877534" y="724849"/>
                      </a:lnTo>
                      <a:lnTo>
                        <a:pt x="876696" y="724946"/>
                      </a:lnTo>
                      <a:lnTo>
                        <a:pt x="873478" y="725274"/>
                      </a:lnTo>
                      <a:lnTo>
                        <a:pt x="872021" y="725419"/>
                      </a:lnTo>
                      <a:lnTo>
                        <a:pt x="872494" y="724921"/>
                      </a:lnTo>
                      <a:lnTo>
                        <a:pt x="874037" y="723282"/>
                      </a:lnTo>
                      <a:lnTo>
                        <a:pt x="874037" y="723197"/>
                      </a:lnTo>
                      <a:lnTo>
                        <a:pt x="874037" y="723197"/>
                      </a:lnTo>
                      <a:close/>
                    </a:path>
                  </a:pathLst>
                </a:custGeom>
                <a:solidFill>
                  <a:srgbClr val="FFFFFF"/>
                </a:solidFill>
                <a:ln w="12138" cap="flat">
                  <a:noFill/>
                  <a:prstDash val="solid"/>
                  <a:miter/>
                </a:ln>
              </p:spPr>
              <p:txBody>
                <a:bodyPr rtlCol="0" anchor="ctr"/>
                <a:lstStyle/>
                <a:p>
                  <a:endParaRPr lang="en-US"/>
                </a:p>
              </p:txBody>
            </p:sp>
          </p:grpSp>
          <p:grpSp>
            <p:nvGrpSpPr>
              <p:cNvPr id="260" name="Graphic 280">
                <a:extLst>
                  <a:ext uri="{FF2B5EF4-FFF2-40B4-BE49-F238E27FC236}">
                    <a16:creationId xmlns:a16="http://schemas.microsoft.com/office/drawing/2014/main" id="{EEA0DCFE-A30E-40DE-B2FD-98781CB4295C}"/>
                  </a:ext>
                </a:extLst>
              </p:cNvPr>
              <p:cNvGrpSpPr/>
              <p:nvPr/>
            </p:nvGrpSpPr>
            <p:grpSpPr>
              <a:xfrm>
                <a:off x="3600419" y="2091567"/>
                <a:ext cx="1659478" cy="1461099"/>
                <a:chOff x="3600419" y="2091567"/>
                <a:chExt cx="1659478" cy="1461099"/>
              </a:xfrm>
            </p:grpSpPr>
            <p:sp>
              <p:nvSpPr>
                <p:cNvPr id="318" name="Freeform: Shape 317">
                  <a:extLst>
                    <a:ext uri="{FF2B5EF4-FFF2-40B4-BE49-F238E27FC236}">
                      <a16:creationId xmlns:a16="http://schemas.microsoft.com/office/drawing/2014/main" id="{27270244-DA2B-40D2-8574-6FC00A12E98A}"/>
                    </a:ext>
                  </a:extLst>
                </p:cNvPr>
                <p:cNvSpPr/>
                <p:nvPr/>
              </p:nvSpPr>
              <p:spPr>
                <a:xfrm>
                  <a:off x="3603576" y="2095683"/>
                  <a:ext cx="1653042" cy="1452453"/>
                </a:xfrm>
                <a:custGeom>
                  <a:avLst/>
                  <a:gdLst>
                    <a:gd name="connsiteX0" fmla="*/ 909992 w 1653042"/>
                    <a:gd name="connsiteY0" fmla="*/ 1445180 h 1452453"/>
                    <a:gd name="connsiteX1" fmla="*/ 908608 w 1653042"/>
                    <a:gd name="connsiteY1" fmla="*/ 1442690 h 1452453"/>
                    <a:gd name="connsiteX2" fmla="*/ 907879 w 1653042"/>
                    <a:gd name="connsiteY2" fmla="*/ 1442071 h 1452453"/>
                    <a:gd name="connsiteX3" fmla="*/ 906859 w 1653042"/>
                    <a:gd name="connsiteY3" fmla="*/ 1441549 h 1452453"/>
                    <a:gd name="connsiteX4" fmla="*/ 905183 w 1653042"/>
                    <a:gd name="connsiteY4" fmla="*/ 1440893 h 1452453"/>
                    <a:gd name="connsiteX5" fmla="*/ 902706 w 1653042"/>
                    <a:gd name="connsiteY5" fmla="*/ 1439302 h 1452453"/>
                    <a:gd name="connsiteX6" fmla="*/ 899027 w 1653042"/>
                    <a:gd name="connsiteY6" fmla="*/ 1433122 h 1452453"/>
                    <a:gd name="connsiteX7" fmla="*/ 898043 w 1653042"/>
                    <a:gd name="connsiteY7" fmla="*/ 1430535 h 1452453"/>
                    <a:gd name="connsiteX8" fmla="*/ 896841 w 1653042"/>
                    <a:gd name="connsiteY8" fmla="*/ 1428568 h 1452453"/>
                    <a:gd name="connsiteX9" fmla="*/ 894850 w 1653042"/>
                    <a:gd name="connsiteY9" fmla="*/ 1425970 h 1452453"/>
                    <a:gd name="connsiteX10" fmla="*/ 890563 w 1653042"/>
                    <a:gd name="connsiteY10" fmla="*/ 1423517 h 1452453"/>
                    <a:gd name="connsiteX11" fmla="*/ 889252 w 1653042"/>
                    <a:gd name="connsiteY11" fmla="*/ 1423007 h 1452453"/>
                    <a:gd name="connsiteX12" fmla="*/ 887734 w 1653042"/>
                    <a:gd name="connsiteY12" fmla="*/ 1424330 h 1452453"/>
                    <a:gd name="connsiteX13" fmla="*/ 886131 w 1653042"/>
                    <a:gd name="connsiteY13" fmla="*/ 1425362 h 1452453"/>
                    <a:gd name="connsiteX14" fmla="*/ 884079 w 1653042"/>
                    <a:gd name="connsiteY14" fmla="*/ 1426188 h 1452453"/>
                    <a:gd name="connsiteX15" fmla="*/ 880849 w 1653042"/>
                    <a:gd name="connsiteY15" fmla="*/ 1426820 h 1452453"/>
                    <a:gd name="connsiteX16" fmla="*/ 877934 w 1653042"/>
                    <a:gd name="connsiteY16" fmla="*/ 1425957 h 1452453"/>
                    <a:gd name="connsiteX17" fmla="*/ 874073 w 1653042"/>
                    <a:gd name="connsiteY17" fmla="*/ 1423419 h 1452453"/>
                    <a:gd name="connsiteX18" fmla="*/ 871341 w 1653042"/>
                    <a:gd name="connsiteY18" fmla="*/ 1418720 h 1452453"/>
                    <a:gd name="connsiteX19" fmla="*/ 870442 w 1653042"/>
                    <a:gd name="connsiteY19" fmla="*/ 1414470 h 1452453"/>
                    <a:gd name="connsiteX20" fmla="*/ 870406 w 1653042"/>
                    <a:gd name="connsiteY20" fmla="*/ 1411009 h 1452453"/>
                    <a:gd name="connsiteX21" fmla="*/ 870661 w 1653042"/>
                    <a:gd name="connsiteY21" fmla="*/ 1408119 h 1452453"/>
                    <a:gd name="connsiteX22" fmla="*/ 870491 w 1653042"/>
                    <a:gd name="connsiteY22" fmla="*/ 1407112 h 1452453"/>
                    <a:gd name="connsiteX23" fmla="*/ 869264 w 1653042"/>
                    <a:gd name="connsiteY23" fmla="*/ 1405181 h 1452453"/>
                    <a:gd name="connsiteX24" fmla="*/ 867249 w 1653042"/>
                    <a:gd name="connsiteY24" fmla="*/ 1403566 h 1452453"/>
                    <a:gd name="connsiteX25" fmla="*/ 857753 w 1653042"/>
                    <a:gd name="connsiteY25" fmla="*/ 1398794 h 1452453"/>
                    <a:gd name="connsiteX26" fmla="*/ 850564 w 1653042"/>
                    <a:gd name="connsiteY26" fmla="*/ 1391763 h 1452453"/>
                    <a:gd name="connsiteX27" fmla="*/ 844493 w 1653042"/>
                    <a:gd name="connsiteY27" fmla="*/ 1386748 h 1452453"/>
                    <a:gd name="connsiteX28" fmla="*/ 843813 w 1653042"/>
                    <a:gd name="connsiteY28" fmla="*/ 1386554 h 1452453"/>
                    <a:gd name="connsiteX29" fmla="*/ 842939 w 1653042"/>
                    <a:gd name="connsiteY29" fmla="*/ 1388326 h 1452453"/>
                    <a:gd name="connsiteX30" fmla="*/ 841032 w 1653042"/>
                    <a:gd name="connsiteY30" fmla="*/ 1390354 h 1452453"/>
                    <a:gd name="connsiteX31" fmla="*/ 839939 w 1653042"/>
                    <a:gd name="connsiteY31" fmla="*/ 1390961 h 1452453"/>
                    <a:gd name="connsiteX32" fmla="*/ 837863 w 1653042"/>
                    <a:gd name="connsiteY32" fmla="*/ 1391690 h 1452453"/>
                    <a:gd name="connsiteX33" fmla="*/ 836102 w 1653042"/>
                    <a:gd name="connsiteY33" fmla="*/ 1392018 h 1452453"/>
                    <a:gd name="connsiteX34" fmla="*/ 833333 w 1653042"/>
                    <a:gd name="connsiteY34" fmla="*/ 1391666 h 1452453"/>
                    <a:gd name="connsiteX35" fmla="*/ 830273 w 1653042"/>
                    <a:gd name="connsiteY35" fmla="*/ 1390427 h 1452453"/>
                    <a:gd name="connsiteX36" fmla="*/ 824202 w 1653042"/>
                    <a:gd name="connsiteY36" fmla="*/ 1383943 h 1452453"/>
                    <a:gd name="connsiteX37" fmla="*/ 816855 w 1653042"/>
                    <a:gd name="connsiteY37" fmla="*/ 1372674 h 1452453"/>
                    <a:gd name="connsiteX38" fmla="*/ 816066 w 1653042"/>
                    <a:gd name="connsiteY38" fmla="*/ 1371266 h 1452453"/>
                    <a:gd name="connsiteX39" fmla="*/ 815799 w 1653042"/>
                    <a:gd name="connsiteY39" fmla="*/ 1371132 h 1452453"/>
                    <a:gd name="connsiteX40" fmla="*/ 813844 w 1653042"/>
                    <a:gd name="connsiteY40" fmla="*/ 1370986 h 1452453"/>
                    <a:gd name="connsiteX41" fmla="*/ 799588 w 1653042"/>
                    <a:gd name="connsiteY41" fmla="*/ 1375953 h 1452453"/>
                    <a:gd name="connsiteX42" fmla="*/ 795557 w 1653042"/>
                    <a:gd name="connsiteY42" fmla="*/ 1375503 h 1452453"/>
                    <a:gd name="connsiteX43" fmla="*/ 790809 w 1653042"/>
                    <a:gd name="connsiteY43" fmla="*/ 1370756 h 1452453"/>
                    <a:gd name="connsiteX44" fmla="*/ 790505 w 1653042"/>
                    <a:gd name="connsiteY44" fmla="*/ 1370634 h 1452453"/>
                    <a:gd name="connsiteX45" fmla="*/ 781945 w 1653042"/>
                    <a:gd name="connsiteY45" fmla="*/ 1371375 h 1452453"/>
                    <a:gd name="connsiteX46" fmla="*/ 778617 w 1653042"/>
                    <a:gd name="connsiteY46" fmla="*/ 1365753 h 1452453"/>
                    <a:gd name="connsiteX47" fmla="*/ 781277 w 1653042"/>
                    <a:gd name="connsiteY47" fmla="*/ 1359839 h 1452453"/>
                    <a:gd name="connsiteX48" fmla="*/ 781447 w 1653042"/>
                    <a:gd name="connsiteY48" fmla="*/ 1357993 h 1452453"/>
                    <a:gd name="connsiteX49" fmla="*/ 781058 w 1653042"/>
                    <a:gd name="connsiteY49" fmla="*/ 1356961 h 1452453"/>
                    <a:gd name="connsiteX50" fmla="*/ 779917 w 1653042"/>
                    <a:gd name="connsiteY50" fmla="*/ 1354994 h 1452453"/>
                    <a:gd name="connsiteX51" fmla="*/ 778799 w 1653042"/>
                    <a:gd name="connsiteY51" fmla="*/ 1352165 h 1452453"/>
                    <a:gd name="connsiteX52" fmla="*/ 778362 w 1653042"/>
                    <a:gd name="connsiteY52" fmla="*/ 1347417 h 1452453"/>
                    <a:gd name="connsiteX53" fmla="*/ 779115 w 1653042"/>
                    <a:gd name="connsiteY53" fmla="*/ 1343227 h 1452453"/>
                    <a:gd name="connsiteX54" fmla="*/ 779334 w 1653042"/>
                    <a:gd name="connsiteY54" fmla="*/ 1339475 h 1452453"/>
                    <a:gd name="connsiteX55" fmla="*/ 778666 w 1653042"/>
                    <a:gd name="connsiteY55" fmla="*/ 1337290 h 1452453"/>
                    <a:gd name="connsiteX56" fmla="*/ 775047 w 1653042"/>
                    <a:gd name="connsiteY56" fmla="*/ 1332639 h 1452453"/>
                    <a:gd name="connsiteX57" fmla="*/ 774161 w 1653042"/>
                    <a:gd name="connsiteY57" fmla="*/ 1332275 h 1452453"/>
                    <a:gd name="connsiteX58" fmla="*/ 773092 w 1653042"/>
                    <a:gd name="connsiteY58" fmla="*/ 1332262 h 1452453"/>
                    <a:gd name="connsiteX59" fmla="*/ 772012 w 1653042"/>
                    <a:gd name="connsiteY59" fmla="*/ 1332979 h 1452453"/>
                    <a:gd name="connsiteX60" fmla="*/ 768672 w 1653042"/>
                    <a:gd name="connsiteY60" fmla="*/ 1336221 h 1452453"/>
                    <a:gd name="connsiteX61" fmla="*/ 766098 w 1653042"/>
                    <a:gd name="connsiteY61" fmla="*/ 1338079 h 1452453"/>
                    <a:gd name="connsiteX62" fmla="*/ 762273 w 1653042"/>
                    <a:gd name="connsiteY62" fmla="*/ 1339402 h 1452453"/>
                    <a:gd name="connsiteX63" fmla="*/ 758654 w 1653042"/>
                    <a:gd name="connsiteY63" fmla="*/ 1338261 h 1452453"/>
                    <a:gd name="connsiteX64" fmla="*/ 757598 w 1653042"/>
                    <a:gd name="connsiteY64" fmla="*/ 1336755 h 1452453"/>
                    <a:gd name="connsiteX65" fmla="*/ 756894 w 1653042"/>
                    <a:gd name="connsiteY65" fmla="*/ 1335043 h 1452453"/>
                    <a:gd name="connsiteX66" fmla="*/ 756675 w 1653042"/>
                    <a:gd name="connsiteY66" fmla="*/ 1332615 h 1452453"/>
                    <a:gd name="connsiteX67" fmla="*/ 757088 w 1653042"/>
                    <a:gd name="connsiteY67" fmla="*/ 1329008 h 1452453"/>
                    <a:gd name="connsiteX68" fmla="*/ 757112 w 1653042"/>
                    <a:gd name="connsiteY68" fmla="*/ 1324430 h 1452453"/>
                    <a:gd name="connsiteX69" fmla="*/ 757647 w 1653042"/>
                    <a:gd name="connsiteY69" fmla="*/ 1321771 h 1452453"/>
                    <a:gd name="connsiteX70" fmla="*/ 758667 w 1653042"/>
                    <a:gd name="connsiteY70" fmla="*/ 1319160 h 1452453"/>
                    <a:gd name="connsiteX71" fmla="*/ 757719 w 1653042"/>
                    <a:gd name="connsiteY71" fmla="*/ 1317691 h 1452453"/>
                    <a:gd name="connsiteX72" fmla="*/ 757209 w 1653042"/>
                    <a:gd name="connsiteY72" fmla="*/ 1317278 h 1452453"/>
                    <a:gd name="connsiteX73" fmla="*/ 756323 w 1653042"/>
                    <a:gd name="connsiteY73" fmla="*/ 1317011 h 1452453"/>
                    <a:gd name="connsiteX74" fmla="*/ 752243 w 1653042"/>
                    <a:gd name="connsiteY74" fmla="*/ 1316452 h 1452453"/>
                    <a:gd name="connsiteX75" fmla="*/ 749159 w 1653042"/>
                    <a:gd name="connsiteY75" fmla="*/ 1315250 h 1452453"/>
                    <a:gd name="connsiteX76" fmla="*/ 746244 w 1653042"/>
                    <a:gd name="connsiteY76" fmla="*/ 1312761 h 1452453"/>
                    <a:gd name="connsiteX77" fmla="*/ 744144 w 1653042"/>
                    <a:gd name="connsiteY77" fmla="*/ 1309410 h 1452453"/>
                    <a:gd name="connsiteX78" fmla="*/ 742711 w 1653042"/>
                    <a:gd name="connsiteY78" fmla="*/ 1305463 h 1452453"/>
                    <a:gd name="connsiteX79" fmla="*/ 741776 w 1653042"/>
                    <a:gd name="connsiteY79" fmla="*/ 1303702 h 1452453"/>
                    <a:gd name="connsiteX80" fmla="*/ 740792 w 1653042"/>
                    <a:gd name="connsiteY80" fmla="*/ 1302585 h 1452453"/>
                    <a:gd name="connsiteX81" fmla="*/ 740027 w 1653042"/>
                    <a:gd name="connsiteY81" fmla="*/ 1302330 h 1452453"/>
                    <a:gd name="connsiteX82" fmla="*/ 739335 w 1653042"/>
                    <a:gd name="connsiteY82" fmla="*/ 1302318 h 1452453"/>
                    <a:gd name="connsiteX83" fmla="*/ 732596 w 1653042"/>
                    <a:gd name="connsiteY83" fmla="*/ 1302779 h 1452453"/>
                    <a:gd name="connsiteX84" fmla="*/ 730956 w 1653042"/>
                    <a:gd name="connsiteY84" fmla="*/ 1301128 h 1452453"/>
                    <a:gd name="connsiteX85" fmla="*/ 730179 w 1653042"/>
                    <a:gd name="connsiteY85" fmla="*/ 1299549 h 1452453"/>
                    <a:gd name="connsiteX86" fmla="*/ 729936 w 1653042"/>
                    <a:gd name="connsiteY86" fmla="*/ 1298177 h 1452453"/>
                    <a:gd name="connsiteX87" fmla="*/ 731442 w 1653042"/>
                    <a:gd name="connsiteY87" fmla="*/ 1288184 h 1452453"/>
                    <a:gd name="connsiteX88" fmla="*/ 731515 w 1653042"/>
                    <a:gd name="connsiteY88" fmla="*/ 1286095 h 1452453"/>
                    <a:gd name="connsiteX89" fmla="*/ 731114 w 1653042"/>
                    <a:gd name="connsiteY89" fmla="*/ 1281554 h 1452453"/>
                    <a:gd name="connsiteX90" fmla="*/ 731211 w 1653042"/>
                    <a:gd name="connsiteY90" fmla="*/ 1278724 h 1452453"/>
                    <a:gd name="connsiteX91" fmla="*/ 732146 w 1653042"/>
                    <a:gd name="connsiteY91" fmla="*/ 1275737 h 1452453"/>
                    <a:gd name="connsiteX92" fmla="*/ 733943 w 1653042"/>
                    <a:gd name="connsiteY92" fmla="*/ 1273102 h 1452453"/>
                    <a:gd name="connsiteX93" fmla="*/ 737635 w 1653042"/>
                    <a:gd name="connsiteY93" fmla="*/ 1270370 h 1452453"/>
                    <a:gd name="connsiteX94" fmla="*/ 740622 w 1653042"/>
                    <a:gd name="connsiteY94" fmla="*/ 1268731 h 1452453"/>
                    <a:gd name="connsiteX95" fmla="*/ 742164 w 1653042"/>
                    <a:gd name="connsiteY95" fmla="*/ 1267541 h 1452453"/>
                    <a:gd name="connsiteX96" fmla="*/ 741436 w 1653042"/>
                    <a:gd name="connsiteY96" fmla="*/ 1263618 h 1452453"/>
                    <a:gd name="connsiteX97" fmla="*/ 739651 w 1653042"/>
                    <a:gd name="connsiteY97" fmla="*/ 1261372 h 1452453"/>
                    <a:gd name="connsiteX98" fmla="*/ 738109 w 1653042"/>
                    <a:gd name="connsiteY98" fmla="*/ 1258166 h 1452453"/>
                    <a:gd name="connsiteX99" fmla="*/ 737708 w 1653042"/>
                    <a:gd name="connsiteY99" fmla="*/ 1256454 h 1452453"/>
                    <a:gd name="connsiteX100" fmla="*/ 737647 w 1653042"/>
                    <a:gd name="connsiteY100" fmla="*/ 1255313 h 1452453"/>
                    <a:gd name="connsiteX101" fmla="*/ 737708 w 1653042"/>
                    <a:gd name="connsiteY101" fmla="*/ 1251026 h 1452453"/>
                    <a:gd name="connsiteX102" fmla="*/ 737246 w 1653042"/>
                    <a:gd name="connsiteY102" fmla="*/ 1249047 h 1452453"/>
                    <a:gd name="connsiteX103" fmla="*/ 736081 w 1653042"/>
                    <a:gd name="connsiteY103" fmla="*/ 1246703 h 1452453"/>
                    <a:gd name="connsiteX104" fmla="*/ 730896 w 1653042"/>
                    <a:gd name="connsiteY104" fmla="*/ 1239211 h 1452453"/>
                    <a:gd name="connsiteX105" fmla="*/ 728734 w 1653042"/>
                    <a:gd name="connsiteY105" fmla="*/ 1244590 h 1452453"/>
                    <a:gd name="connsiteX106" fmla="*/ 727241 w 1653042"/>
                    <a:gd name="connsiteY106" fmla="*/ 1247250 h 1452453"/>
                    <a:gd name="connsiteX107" fmla="*/ 725334 w 1653042"/>
                    <a:gd name="connsiteY107" fmla="*/ 1249715 h 1452453"/>
                    <a:gd name="connsiteX108" fmla="*/ 723063 w 1653042"/>
                    <a:gd name="connsiteY108" fmla="*/ 1251561 h 1452453"/>
                    <a:gd name="connsiteX109" fmla="*/ 714733 w 1653042"/>
                    <a:gd name="connsiteY109" fmla="*/ 1256976 h 1452453"/>
                    <a:gd name="connsiteX110" fmla="*/ 710763 w 1653042"/>
                    <a:gd name="connsiteY110" fmla="*/ 1256721 h 1452453"/>
                    <a:gd name="connsiteX111" fmla="*/ 706974 w 1653042"/>
                    <a:gd name="connsiteY111" fmla="*/ 1253200 h 1452453"/>
                    <a:gd name="connsiteX112" fmla="*/ 702639 w 1653042"/>
                    <a:gd name="connsiteY112" fmla="*/ 1248039 h 1452453"/>
                    <a:gd name="connsiteX113" fmla="*/ 701437 w 1653042"/>
                    <a:gd name="connsiteY113" fmla="*/ 1245574 h 1452453"/>
                    <a:gd name="connsiteX114" fmla="*/ 700672 w 1653042"/>
                    <a:gd name="connsiteY114" fmla="*/ 1241761 h 1452453"/>
                    <a:gd name="connsiteX115" fmla="*/ 700150 w 1653042"/>
                    <a:gd name="connsiteY115" fmla="*/ 1241033 h 1452453"/>
                    <a:gd name="connsiteX116" fmla="*/ 699907 w 1653042"/>
                    <a:gd name="connsiteY116" fmla="*/ 1240814 h 1452453"/>
                    <a:gd name="connsiteX117" fmla="*/ 696543 w 1653042"/>
                    <a:gd name="connsiteY117" fmla="*/ 1239381 h 1452453"/>
                    <a:gd name="connsiteX118" fmla="*/ 694613 w 1653042"/>
                    <a:gd name="connsiteY118" fmla="*/ 1238106 h 1452453"/>
                    <a:gd name="connsiteX119" fmla="*/ 691419 w 1653042"/>
                    <a:gd name="connsiteY119" fmla="*/ 1234354 h 1452453"/>
                    <a:gd name="connsiteX120" fmla="*/ 690411 w 1653042"/>
                    <a:gd name="connsiteY120" fmla="*/ 1233723 h 1452453"/>
                    <a:gd name="connsiteX121" fmla="*/ 686659 w 1653042"/>
                    <a:gd name="connsiteY121" fmla="*/ 1231950 h 1452453"/>
                    <a:gd name="connsiteX122" fmla="*/ 683842 w 1653042"/>
                    <a:gd name="connsiteY122" fmla="*/ 1229181 h 1452453"/>
                    <a:gd name="connsiteX123" fmla="*/ 682360 w 1653042"/>
                    <a:gd name="connsiteY123" fmla="*/ 1226582 h 1452453"/>
                    <a:gd name="connsiteX124" fmla="*/ 680806 w 1653042"/>
                    <a:gd name="connsiteY124" fmla="*/ 1222162 h 1452453"/>
                    <a:gd name="connsiteX125" fmla="*/ 678220 w 1653042"/>
                    <a:gd name="connsiteY125" fmla="*/ 1217742 h 1452453"/>
                    <a:gd name="connsiteX126" fmla="*/ 677515 w 1653042"/>
                    <a:gd name="connsiteY126" fmla="*/ 1214792 h 1452453"/>
                    <a:gd name="connsiteX127" fmla="*/ 678062 w 1653042"/>
                    <a:gd name="connsiteY127" fmla="*/ 1211137 h 1452453"/>
                    <a:gd name="connsiteX128" fmla="*/ 683295 w 1653042"/>
                    <a:gd name="connsiteY128" fmla="*/ 1197658 h 1452453"/>
                    <a:gd name="connsiteX129" fmla="*/ 684935 w 1653042"/>
                    <a:gd name="connsiteY129" fmla="*/ 1195424 h 1452453"/>
                    <a:gd name="connsiteX130" fmla="*/ 687181 w 1653042"/>
                    <a:gd name="connsiteY130" fmla="*/ 1193675 h 1452453"/>
                    <a:gd name="connsiteX131" fmla="*/ 688322 w 1653042"/>
                    <a:gd name="connsiteY131" fmla="*/ 1192424 h 1452453"/>
                    <a:gd name="connsiteX132" fmla="*/ 688274 w 1653042"/>
                    <a:gd name="connsiteY132" fmla="*/ 1190870 h 1452453"/>
                    <a:gd name="connsiteX133" fmla="*/ 688310 w 1653042"/>
                    <a:gd name="connsiteY133" fmla="*/ 1190469 h 1452453"/>
                    <a:gd name="connsiteX134" fmla="*/ 689452 w 1653042"/>
                    <a:gd name="connsiteY134" fmla="*/ 1187458 h 1452453"/>
                    <a:gd name="connsiteX135" fmla="*/ 691686 w 1653042"/>
                    <a:gd name="connsiteY135" fmla="*/ 1186984 h 1452453"/>
                    <a:gd name="connsiteX136" fmla="*/ 693119 w 1653042"/>
                    <a:gd name="connsiteY136" fmla="*/ 1186936 h 1452453"/>
                    <a:gd name="connsiteX137" fmla="*/ 695074 w 1653042"/>
                    <a:gd name="connsiteY137" fmla="*/ 1187336 h 1452453"/>
                    <a:gd name="connsiteX138" fmla="*/ 697393 w 1653042"/>
                    <a:gd name="connsiteY138" fmla="*/ 1187591 h 1452453"/>
                    <a:gd name="connsiteX139" fmla="*/ 699919 w 1653042"/>
                    <a:gd name="connsiteY139" fmla="*/ 1187567 h 1452453"/>
                    <a:gd name="connsiteX140" fmla="*/ 701315 w 1653042"/>
                    <a:gd name="connsiteY140" fmla="*/ 1187082 h 1452453"/>
                    <a:gd name="connsiteX141" fmla="*/ 702250 w 1653042"/>
                    <a:gd name="connsiteY141" fmla="*/ 1186596 h 1452453"/>
                    <a:gd name="connsiteX142" fmla="*/ 702833 w 1653042"/>
                    <a:gd name="connsiteY142" fmla="*/ 1185782 h 1452453"/>
                    <a:gd name="connsiteX143" fmla="*/ 703343 w 1653042"/>
                    <a:gd name="connsiteY143" fmla="*/ 1184592 h 1452453"/>
                    <a:gd name="connsiteX144" fmla="*/ 703695 w 1653042"/>
                    <a:gd name="connsiteY144" fmla="*/ 1182746 h 1452453"/>
                    <a:gd name="connsiteX145" fmla="*/ 703598 w 1653042"/>
                    <a:gd name="connsiteY145" fmla="*/ 1182297 h 1452453"/>
                    <a:gd name="connsiteX146" fmla="*/ 702396 w 1653042"/>
                    <a:gd name="connsiteY146" fmla="*/ 1182989 h 1452453"/>
                    <a:gd name="connsiteX147" fmla="*/ 701121 w 1653042"/>
                    <a:gd name="connsiteY147" fmla="*/ 1184034 h 1452453"/>
                    <a:gd name="connsiteX148" fmla="*/ 698875 w 1653042"/>
                    <a:gd name="connsiteY148" fmla="*/ 1184859 h 1452453"/>
                    <a:gd name="connsiteX149" fmla="*/ 696738 w 1653042"/>
                    <a:gd name="connsiteY149" fmla="*/ 1184641 h 1452453"/>
                    <a:gd name="connsiteX150" fmla="*/ 686610 w 1653042"/>
                    <a:gd name="connsiteY150" fmla="*/ 1181350 h 1452453"/>
                    <a:gd name="connsiteX151" fmla="*/ 684376 w 1653042"/>
                    <a:gd name="connsiteY151" fmla="*/ 1180306 h 1452453"/>
                    <a:gd name="connsiteX152" fmla="*/ 682409 w 1653042"/>
                    <a:gd name="connsiteY152" fmla="*/ 1178909 h 1452453"/>
                    <a:gd name="connsiteX153" fmla="*/ 680454 w 1653042"/>
                    <a:gd name="connsiteY153" fmla="*/ 1176663 h 1452453"/>
                    <a:gd name="connsiteX154" fmla="*/ 679932 w 1653042"/>
                    <a:gd name="connsiteY154" fmla="*/ 1175121 h 1452453"/>
                    <a:gd name="connsiteX155" fmla="*/ 680029 w 1653042"/>
                    <a:gd name="connsiteY155" fmla="*/ 1172121 h 1452453"/>
                    <a:gd name="connsiteX156" fmla="*/ 681620 w 1653042"/>
                    <a:gd name="connsiteY156" fmla="*/ 1167823 h 1452453"/>
                    <a:gd name="connsiteX157" fmla="*/ 681911 w 1653042"/>
                    <a:gd name="connsiteY157" fmla="*/ 1164374 h 1452453"/>
                    <a:gd name="connsiteX158" fmla="*/ 681899 w 1653042"/>
                    <a:gd name="connsiteY158" fmla="*/ 1160391 h 1452453"/>
                    <a:gd name="connsiteX159" fmla="*/ 681462 w 1653042"/>
                    <a:gd name="connsiteY159" fmla="*/ 1158788 h 1452453"/>
                    <a:gd name="connsiteX160" fmla="*/ 680393 w 1653042"/>
                    <a:gd name="connsiteY160" fmla="*/ 1158594 h 1452453"/>
                    <a:gd name="connsiteX161" fmla="*/ 677880 w 1653042"/>
                    <a:gd name="connsiteY161" fmla="*/ 1158971 h 1452453"/>
                    <a:gd name="connsiteX162" fmla="*/ 672500 w 1653042"/>
                    <a:gd name="connsiteY162" fmla="*/ 1160816 h 1452453"/>
                    <a:gd name="connsiteX163" fmla="*/ 669294 w 1653042"/>
                    <a:gd name="connsiteY163" fmla="*/ 1161436 h 1452453"/>
                    <a:gd name="connsiteX164" fmla="*/ 667121 w 1653042"/>
                    <a:gd name="connsiteY164" fmla="*/ 1161618 h 1452453"/>
                    <a:gd name="connsiteX165" fmla="*/ 665251 w 1653042"/>
                    <a:gd name="connsiteY165" fmla="*/ 1163463 h 1452453"/>
                    <a:gd name="connsiteX166" fmla="*/ 663818 w 1653042"/>
                    <a:gd name="connsiteY166" fmla="*/ 1166001 h 1452453"/>
                    <a:gd name="connsiteX167" fmla="*/ 663733 w 1653042"/>
                    <a:gd name="connsiteY167" fmla="*/ 1169499 h 1452453"/>
                    <a:gd name="connsiteX168" fmla="*/ 663514 w 1653042"/>
                    <a:gd name="connsiteY168" fmla="*/ 1171405 h 1452453"/>
                    <a:gd name="connsiteX169" fmla="*/ 663235 w 1653042"/>
                    <a:gd name="connsiteY169" fmla="*/ 1172510 h 1452453"/>
                    <a:gd name="connsiteX170" fmla="*/ 662142 w 1653042"/>
                    <a:gd name="connsiteY170" fmla="*/ 1174441 h 1452453"/>
                    <a:gd name="connsiteX171" fmla="*/ 661644 w 1653042"/>
                    <a:gd name="connsiteY171" fmla="*/ 1178448 h 1452453"/>
                    <a:gd name="connsiteX172" fmla="*/ 661086 w 1653042"/>
                    <a:gd name="connsiteY172" fmla="*/ 1180294 h 1452453"/>
                    <a:gd name="connsiteX173" fmla="*/ 660090 w 1653042"/>
                    <a:gd name="connsiteY173" fmla="*/ 1181982 h 1452453"/>
                    <a:gd name="connsiteX174" fmla="*/ 658827 w 1653042"/>
                    <a:gd name="connsiteY174" fmla="*/ 1183451 h 1452453"/>
                    <a:gd name="connsiteX175" fmla="*/ 653484 w 1653042"/>
                    <a:gd name="connsiteY175" fmla="*/ 1187130 h 1452453"/>
                    <a:gd name="connsiteX176" fmla="*/ 650109 w 1653042"/>
                    <a:gd name="connsiteY176" fmla="*/ 1188199 h 1452453"/>
                    <a:gd name="connsiteX177" fmla="*/ 646636 w 1653042"/>
                    <a:gd name="connsiteY177" fmla="*/ 1188211 h 1452453"/>
                    <a:gd name="connsiteX178" fmla="*/ 638961 w 1653042"/>
                    <a:gd name="connsiteY178" fmla="*/ 1185782 h 1452453"/>
                    <a:gd name="connsiteX179" fmla="*/ 634541 w 1653042"/>
                    <a:gd name="connsiteY179" fmla="*/ 1184908 h 1452453"/>
                    <a:gd name="connsiteX180" fmla="*/ 627705 w 1653042"/>
                    <a:gd name="connsiteY180" fmla="*/ 1184859 h 1452453"/>
                    <a:gd name="connsiteX181" fmla="*/ 618343 w 1653042"/>
                    <a:gd name="connsiteY181" fmla="*/ 1184216 h 1452453"/>
                    <a:gd name="connsiteX182" fmla="*/ 615173 w 1653042"/>
                    <a:gd name="connsiteY182" fmla="*/ 1183366 h 1452453"/>
                    <a:gd name="connsiteX183" fmla="*/ 611895 w 1653042"/>
                    <a:gd name="connsiteY183" fmla="*/ 1182091 h 1452453"/>
                    <a:gd name="connsiteX184" fmla="*/ 608616 w 1653042"/>
                    <a:gd name="connsiteY184" fmla="*/ 1179747 h 1452453"/>
                    <a:gd name="connsiteX185" fmla="*/ 606795 w 1653042"/>
                    <a:gd name="connsiteY185" fmla="*/ 1177950 h 1452453"/>
                    <a:gd name="connsiteX186" fmla="*/ 605301 w 1653042"/>
                    <a:gd name="connsiteY186" fmla="*/ 1175522 h 1452453"/>
                    <a:gd name="connsiteX187" fmla="*/ 602970 w 1653042"/>
                    <a:gd name="connsiteY187" fmla="*/ 1169596 h 1452453"/>
                    <a:gd name="connsiteX188" fmla="*/ 602120 w 1653042"/>
                    <a:gd name="connsiteY188" fmla="*/ 1168151 h 1452453"/>
                    <a:gd name="connsiteX189" fmla="*/ 601221 w 1653042"/>
                    <a:gd name="connsiteY189" fmla="*/ 1167058 h 1452453"/>
                    <a:gd name="connsiteX190" fmla="*/ 600189 w 1653042"/>
                    <a:gd name="connsiteY190" fmla="*/ 1166523 h 1452453"/>
                    <a:gd name="connsiteX191" fmla="*/ 599181 w 1653042"/>
                    <a:gd name="connsiteY191" fmla="*/ 1166329 h 1452453"/>
                    <a:gd name="connsiteX192" fmla="*/ 596218 w 1653042"/>
                    <a:gd name="connsiteY192" fmla="*/ 1166062 h 1452453"/>
                    <a:gd name="connsiteX193" fmla="*/ 593231 w 1653042"/>
                    <a:gd name="connsiteY193" fmla="*/ 1165443 h 1452453"/>
                    <a:gd name="connsiteX194" fmla="*/ 589819 w 1653042"/>
                    <a:gd name="connsiteY194" fmla="*/ 1164216 h 1452453"/>
                    <a:gd name="connsiteX195" fmla="*/ 581028 w 1653042"/>
                    <a:gd name="connsiteY195" fmla="*/ 1158655 h 1452453"/>
                    <a:gd name="connsiteX196" fmla="*/ 579595 w 1653042"/>
                    <a:gd name="connsiteY196" fmla="*/ 1158291 h 1452453"/>
                    <a:gd name="connsiteX197" fmla="*/ 576692 w 1653042"/>
                    <a:gd name="connsiteY197" fmla="*/ 1158145 h 1452453"/>
                    <a:gd name="connsiteX198" fmla="*/ 575575 w 1653042"/>
                    <a:gd name="connsiteY198" fmla="*/ 1158497 h 1452453"/>
                    <a:gd name="connsiteX199" fmla="*/ 574992 w 1653042"/>
                    <a:gd name="connsiteY199" fmla="*/ 1158861 h 1452453"/>
                    <a:gd name="connsiteX200" fmla="*/ 574422 w 1653042"/>
                    <a:gd name="connsiteY200" fmla="*/ 1157659 h 1452453"/>
                    <a:gd name="connsiteX201" fmla="*/ 572843 w 1653042"/>
                    <a:gd name="connsiteY201" fmla="*/ 1157271 h 1452453"/>
                    <a:gd name="connsiteX202" fmla="*/ 575102 w 1653042"/>
                    <a:gd name="connsiteY202" fmla="*/ 1159554 h 1452453"/>
                    <a:gd name="connsiteX203" fmla="*/ 572139 w 1653042"/>
                    <a:gd name="connsiteY203" fmla="*/ 1169814 h 1452453"/>
                    <a:gd name="connsiteX204" fmla="*/ 571483 w 1653042"/>
                    <a:gd name="connsiteY204" fmla="*/ 1170919 h 1452453"/>
                    <a:gd name="connsiteX205" fmla="*/ 570487 w 1653042"/>
                    <a:gd name="connsiteY205" fmla="*/ 1172182 h 1452453"/>
                    <a:gd name="connsiteX206" fmla="*/ 569261 w 1653042"/>
                    <a:gd name="connsiteY206" fmla="*/ 1173226 h 1452453"/>
                    <a:gd name="connsiteX207" fmla="*/ 567670 w 1653042"/>
                    <a:gd name="connsiteY207" fmla="*/ 1174004 h 1452453"/>
                    <a:gd name="connsiteX208" fmla="*/ 566407 w 1653042"/>
                    <a:gd name="connsiteY208" fmla="*/ 1174356 h 1452453"/>
                    <a:gd name="connsiteX209" fmla="*/ 563760 w 1653042"/>
                    <a:gd name="connsiteY209" fmla="*/ 1174271 h 1452453"/>
                    <a:gd name="connsiteX210" fmla="*/ 563104 w 1653042"/>
                    <a:gd name="connsiteY210" fmla="*/ 1174186 h 1452453"/>
                    <a:gd name="connsiteX211" fmla="*/ 561113 w 1653042"/>
                    <a:gd name="connsiteY211" fmla="*/ 1172996 h 1452453"/>
                    <a:gd name="connsiteX212" fmla="*/ 558600 w 1653042"/>
                    <a:gd name="connsiteY212" fmla="*/ 1169936 h 1452453"/>
                    <a:gd name="connsiteX213" fmla="*/ 556681 w 1653042"/>
                    <a:gd name="connsiteY213" fmla="*/ 1165710 h 1452453"/>
                    <a:gd name="connsiteX214" fmla="*/ 554920 w 1653042"/>
                    <a:gd name="connsiteY214" fmla="*/ 1162638 h 1452453"/>
                    <a:gd name="connsiteX215" fmla="*/ 554143 w 1653042"/>
                    <a:gd name="connsiteY215" fmla="*/ 1160816 h 1452453"/>
                    <a:gd name="connsiteX216" fmla="*/ 553694 w 1653042"/>
                    <a:gd name="connsiteY216" fmla="*/ 1157926 h 1452453"/>
                    <a:gd name="connsiteX217" fmla="*/ 553779 w 1653042"/>
                    <a:gd name="connsiteY217" fmla="*/ 1156676 h 1452453"/>
                    <a:gd name="connsiteX218" fmla="*/ 553985 w 1653042"/>
                    <a:gd name="connsiteY218" fmla="*/ 1155631 h 1452453"/>
                    <a:gd name="connsiteX219" fmla="*/ 552467 w 1653042"/>
                    <a:gd name="connsiteY219" fmla="*/ 1155401 h 1452453"/>
                    <a:gd name="connsiteX220" fmla="*/ 550962 w 1653042"/>
                    <a:gd name="connsiteY220" fmla="*/ 1155595 h 1452453"/>
                    <a:gd name="connsiteX221" fmla="*/ 548970 w 1653042"/>
                    <a:gd name="connsiteY221" fmla="*/ 1155996 h 1452453"/>
                    <a:gd name="connsiteX222" fmla="*/ 546772 w 1653042"/>
                    <a:gd name="connsiteY222" fmla="*/ 1156056 h 1452453"/>
                    <a:gd name="connsiteX223" fmla="*/ 544234 w 1653042"/>
                    <a:gd name="connsiteY223" fmla="*/ 1155388 h 1452453"/>
                    <a:gd name="connsiteX224" fmla="*/ 543409 w 1653042"/>
                    <a:gd name="connsiteY224" fmla="*/ 1155121 h 1452453"/>
                    <a:gd name="connsiteX225" fmla="*/ 541575 w 1653042"/>
                    <a:gd name="connsiteY225" fmla="*/ 1152936 h 1452453"/>
                    <a:gd name="connsiteX226" fmla="*/ 540434 w 1653042"/>
                    <a:gd name="connsiteY226" fmla="*/ 1150798 h 1452453"/>
                    <a:gd name="connsiteX227" fmla="*/ 540033 w 1653042"/>
                    <a:gd name="connsiteY227" fmla="*/ 1149596 h 1452453"/>
                    <a:gd name="connsiteX228" fmla="*/ 539244 w 1653042"/>
                    <a:gd name="connsiteY228" fmla="*/ 1149098 h 1452453"/>
                    <a:gd name="connsiteX229" fmla="*/ 537106 w 1653042"/>
                    <a:gd name="connsiteY229" fmla="*/ 1148965 h 1452453"/>
                    <a:gd name="connsiteX230" fmla="*/ 535249 w 1653042"/>
                    <a:gd name="connsiteY230" fmla="*/ 1148965 h 1452453"/>
                    <a:gd name="connsiteX231" fmla="*/ 531836 w 1653042"/>
                    <a:gd name="connsiteY231" fmla="*/ 1148175 h 1452453"/>
                    <a:gd name="connsiteX232" fmla="*/ 528546 w 1653042"/>
                    <a:gd name="connsiteY232" fmla="*/ 1146463 h 1452453"/>
                    <a:gd name="connsiteX233" fmla="*/ 524369 w 1653042"/>
                    <a:gd name="connsiteY233" fmla="*/ 1142991 h 1452453"/>
                    <a:gd name="connsiteX234" fmla="*/ 522243 w 1653042"/>
                    <a:gd name="connsiteY234" fmla="*/ 1140222 h 1452453"/>
                    <a:gd name="connsiteX235" fmla="*/ 521515 w 1653042"/>
                    <a:gd name="connsiteY235" fmla="*/ 1136870 h 1452453"/>
                    <a:gd name="connsiteX236" fmla="*/ 522729 w 1653042"/>
                    <a:gd name="connsiteY236" fmla="*/ 1135292 h 1452453"/>
                    <a:gd name="connsiteX237" fmla="*/ 523846 w 1653042"/>
                    <a:gd name="connsiteY237" fmla="*/ 1134175 h 1452453"/>
                    <a:gd name="connsiteX238" fmla="*/ 524429 w 1653042"/>
                    <a:gd name="connsiteY238" fmla="*/ 1133847 h 1452453"/>
                    <a:gd name="connsiteX239" fmla="*/ 517374 w 1653042"/>
                    <a:gd name="connsiteY239" fmla="*/ 1134539 h 1452453"/>
                    <a:gd name="connsiteX240" fmla="*/ 510453 w 1653042"/>
                    <a:gd name="connsiteY240" fmla="*/ 1133750 h 1452453"/>
                    <a:gd name="connsiteX241" fmla="*/ 496100 w 1653042"/>
                    <a:gd name="connsiteY241" fmla="*/ 1129123 h 1452453"/>
                    <a:gd name="connsiteX242" fmla="*/ 491206 w 1653042"/>
                    <a:gd name="connsiteY242" fmla="*/ 1125930 h 1452453"/>
                    <a:gd name="connsiteX243" fmla="*/ 488608 w 1653042"/>
                    <a:gd name="connsiteY243" fmla="*/ 1120927 h 1452453"/>
                    <a:gd name="connsiteX244" fmla="*/ 487418 w 1653042"/>
                    <a:gd name="connsiteY244" fmla="*/ 1119045 h 1452453"/>
                    <a:gd name="connsiteX245" fmla="*/ 485232 w 1653042"/>
                    <a:gd name="connsiteY245" fmla="*/ 1119312 h 1452453"/>
                    <a:gd name="connsiteX246" fmla="*/ 476647 w 1653042"/>
                    <a:gd name="connsiteY246" fmla="*/ 1121461 h 1452453"/>
                    <a:gd name="connsiteX247" fmla="*/ 475821 w 1653042"/>
                    <a:gd name="connsiteY247" fmla="*/ 1121983 h 1452453"/>
                    <a:gd name="connsiteX248" fmla="*/ 475347 w 1653042"/>
                    <a:gd name="connsiteY248" fmla="*/ 1122445 h 1452453"/>
                    <a:gd name="connsiteX249" fmla="*/ 472700 w 1653042"/>
                    <a:gd name="connsiteY249" fmla="*/ 1125578 h 1452453"/>
                    <a:gd name="connsiteX250" fmla="*/ 470527 w 1653042"/>
                    <a:gd name="connsiteY250" fmla="*/ 1127387 h 1452453"/>
                    <a:gd name="connsiteX251" fmla="*/ 467187 w 1653042"/>
                    <a:gd name="connsiteY251" fmla="*/ 1128783 h 1452453"/>
                    <a:gd name="connsiteX252" fmla="*/ 463775 w 1653042"/>
                    <a:gd name="connsiteY252" fmla="*/ 1129172 h 1452453"/>
                    <a:gd name="connsiteX253" fmla="*/ 458566 w 1653042"/>
                    <a:gd name="connsiteY253" fmla="*/ 1127982 h 1452453"/>
                    <a:gd name="connsiteX254" fmla="*/ 456526 w 1653042"/>
                    <a:gd name="connsiteY254" fmla="*/ 1126379 h 1452453"/>
                    <a:gd name="connsiteX255" fmla="*/ 454413 w 1653042"/>
                    <a:gd name="connsiteY255" fmla="*/ 1123477 h 1452453"/>
                    <a:gd name="connsiteX256" fmla="*/ 454292 w 1653042"/>
                    <a:gd name="connsiteY256" fmla="*/ 1123404 h 1452453"/>
                    <a:gd name="connsiteX257" fmla="*/ 453199 w 1653042"/>
                    <a:gd name="connsiteY257" fmla="*/ 1123283 h 1452453"/>
                    <a:gd name="connsiteX258" fmla="*/ 452057 w 1653042"/>
                    <a:gd name="connsiteY258" fmla="*/ 1123574 h 1452453"/>
                    <a:gd name="connsiteX259" fmla="*/ 449944 w 1653042"/>
                    <a:gd name="connsiteY259" fmla="*/ 1124630 h 1452453"/>
                    <a:gd name="connsiteX260" fmla="*/ 449471 w 1653042"/>
                    <a:gd name="connsiteY260" fmla="*/ 1125310 h 1452453"/>
                    <a:gd name="connsiteX261" fmla="*/ 449422 w 1653042"/>
                    <a:gd name="connsiteY261" fmla="*/ 1126294 h 1452453"/>
                    <a:gd name="connsiteX262" fmla="*/ 449726 w 1653042"/>
                    <a:gd name="connsiteY262" fmla="*/ 1129135 h 1452453"/>
                    <a:gd name="connsiteX263" fmla="*/ 449070 w 1653042"/>
                    <a:gd name="connsiteY263" fmla="*/ 1131115 h 1452453"/>
                    <a:gd name="connsiteX264" fmla="*/ 447358 w 1653042"/>
                    <a:gd name="connsiteY264" fmla="*/ 1132718 h 1452453"/>
                    <a:gd name="connsiteX265" fmla="*/ 445986 w 1653042"/>
                    <a:gd name="connsiteY265" fmla="*/ 1133240 h 1452453"/>
                    <a:gd name="connsiteX266" fmla="*/ 442258 w 1653042"/>
                    <a:gd name="connsiteY266" fmla="*/ 1133337 h 1452453"/>
                    <a:gd name="connsiteX267" fmla="*/ 437158 w 1653042"/>
                    <a:gd name="connsiteY267" fmla="*/ 1131831 h 1452453"/>
                    <a:gd name="connsiteX268" fmla="*/ 434401 w 1653042"/>
                    <a:gd name="connsiteY268" fmla="*/ 1129791 h 1452453"/>
                    <a:gd name="connsiteX269" fmla="*/ 433794 w 1653042"/>
                    <a:gd name="connsiteY269" fmla="*/ 1129281 h 1452453"/>
                    <a:gd name="connsiteX270" fmla="*/ 432701 w 1653042"/>
                    <a:gd name="connsiteY270" fmla="*/ 1126379 h 1452453"/>
                    <a:gd name="connsiteX271" fmla="*/ 432386 w 1653042"/>
                    <a:gd name="connsiteY271" fmla="*/ 1125080 h 1452453"/>
                    <a:gd name="connsiteX272" fmla="*/ 431281 w 1653042"/>
                    <a:gd name="connsiteY272" fmla="*/ 1124934 h 1452453"/>
                    <a:gd name="connsiteX273" fmla="*/ 413746 w 1653042"/>
                    <a:gd name="connsiteY273" fmla="*/ 1128917 h 1452453"/>
                    <a:gd name="connsiteX274" fmla="*/ 410419 w 1653042"/>
                    <a:gd name="connsiteY274" fmla="*/ 1129063 h 1452453"/>
                    <a:gd name="connsiteX275" fmla="*/ 406327 w 1653042"/>
                    <a:gd name="connsiteY275" fmla="*/ 1128079 h 1452453"/>
                    <a:gd name="connsiteX276" fmla="*/ 403607 w 1653042"/>
                    <a:gd name="connsiteY276" fmla="*/ 1126561 h 1452453"/>
                    <a:gd name="connsiteX277" fmla="*/ 400365 w 1653042"/>
                    <a:gd name="connsiteY277" fmla="*/ 1123975 h 1452453"/>
                    <a:gd name="connsiteX278" fmla="*/ 397426 w 1653042"/>
                    <a:gd name="connsiteY278" fmla="*/ 1123283 h 1452453"/>
                    <a:gd name="connsiteX279" fmla="*/ 393006 w 1653042"/>
                    <a:gd name="connsiteY279" fmla="*/ 1123003 h 1452453"/>
                    <a:gd name="connsiteX280" fmla="*/ 378896 w 1653042"/>
                    <a:gd name="connsiteY280" fmla="*/ 1123331 h 1452453"/>
                    <a:gd name="connsiteX281" fmla="*/ 375945 w 1653042"/>
                    <a:gd name="connsiteY281" fmla="*/ 1124157 h 1452453"/>
                    <a:gd name="connsiteX282" fmla="*/ 374682 w 1653042"/>
                    <a:gd name="connsiteY282" fmla="*/ 1124983 h 1452453"/>
                    <a:gd name="connsiteX283" fmla="*/ 369291 w 1653042"/>
                    <a:gd name="connsiteY283" fmla="*/ 1128941 h 1452453"/>
                    <a:gd name="connsiteX284" fmla="*/ 365867 w 1653042"/>
                    <a:gd name="connsiteY284" fmla="*/ 1130532 h 1452453"/>
                    <a:gd name="connsiteX285" fmla="*/ 362309 w 1653042"/>
                    <a:gd name="connsiteY285" fmla="*/ 1131212 h 1452453"/>
                    <a:gd name="connsiteX286" fmla="*/ 357427 w 1653042"/>
                    <a:gd name="connsiteY286" fmla="*/ 1130423 h 1452453"/>
                    <a:gd name="connsiteX287" fmla="*/ 352570 w 1653042"/>
                    <a:gd name="connsiteY287" fmla="*/ 1128310 h 1452453"/>
                    <a:gd name="connsiteX288" fmla="*/ 350712 w 1653042"/>
                    <a:gd name="connsiteY288" fmla="*/ 1128079 h 1452453"/>
                    <a:gd name="connsiteX289" fmla="*/ 346875 w 1653042"/>
                    <a:gd name="connsiteY289" fmla="*/ 1128892 h 1452453"/>
                    <a:gd name="connsiteX290" fmla="*/ 344301 w 1653042"/>
                    <a:gd name="connsiteY290" fmla="*/ 1129730 h 1452453"/>
                    <a:gd name="connsiteX291" fmla="*/ 342285 w 1653042"/>
                    <a:gd name="connsiteY291" fmla="*/ 1130787 h 1452453"/>
                    <a:gd name="connsiteX292" fmla="*/ 339104 w 1653042"/>
                    <a:gd name="connsiteY292" fmla="*/ 1133155 h 1452453"/>
                    <a:gd name="connsiteX293" fmla="*/ 335097 w 1653042"/>
                    <a:gd name="connsiteY293" fmla="*/ 1133373 h 1452453"/>
                    <a:gd name="connsiteX294" fmla="*/ 332328 w 1653042"/>
                    <a:gd name="connsiteY294" fmla="*/ 1133203 h 1452453"/>
                    <a:gd name="connsiteX295" fmla="*/ 314381 w 1653042"/>
                    <a:gd name="connsiteY295" fmla="*/ 1128298 h 1452453"/>
                    <a:gd name="connsiteX296" fmla="*/ 305480 w 1653042"/>
                    <a:gd name="connsiteY296" fmla="*/ 1122627 h 1452453"/>
                    <a:gd name="connsiteX297" fmla="*/ 300890 w 1653042"/>
                    <a:gd name="connsiteY297" fmla="*/ 1121983 h 1452453"/>
                    <a:gd name="connsiteX298" fmla="*/ 299639 w 1653042"/>
                    <a:gd name="connsiteY298" fmla="*/ 1121740 h 1452453"/>
                    <a:gd name="connsiteX299" fmla="*/ 295280 w 1653042"/>
                    <a:gd name="connsiteY299" fmla="*/ 1115147 h 1452453"/>
                    <a:gd name="connsiteX300" fmla="*/ 288613 w 1653042"/>
                    <a:gd name="connsiteY300" fmla="*/ 1097042 h 1452453"/>
                    <a:gd name="connsiteX301" fmla="*/ 277624 w 1653042"/>
                    <a:gd name="connsiteY301" fmla="*/ 1080564 h 1452453"/>
                    <a:gd name="connsiteX302" fmla="*/ 272220 w 1653042"/>
                    <a:gd name="connsiteY302" fmla="*/ 1069769 h 1452453"/>
                    <a:gd name="connsiteX303" fmla="*/ 268007 w 1653042"/>
                    <a:gd name="connsiteY303" fmla="*/ 1058439 h 1452453"/>
                    <a:gd name="connsiteX304" fmla="*/ 261632 w 1653042"/>
                    <a:gd name="connsiteY304" fmla="*/ 1030583 h 1452453"/>
                    <a:gd name="connsiteX305" fmla="*/ 259701 w 1653042"/>
                    <a:gd name="connsiteY305" fmla="*/ 1026382 h 1452453"/>
                    <a:gd name="connsiteX306" fmla="*/ 256896 w 1653042"/>
                    <a:gd name="connsiteY306" fmla="*/ 1023079 h 1452453"/>
                    <a:gd name="connsiteX307" fmla="*/ 245482 w 1653042"/>
                    <a:gd name="connsiteY307" fmla="*/ 1013510 h 1452453"/>
                    <a:gd name="connsiteX308" fmla="*/ 238900 w 1653042"/>
                    <a:gd name="connsiteY308" fmla="*/ 1006419 h 1452453"/>
                    <a:gd name="connsiteX309" fmla="*/ 236277 w 1653042"/>
                    <a:gd name="connsiteY309" fmla="*/ 1001829 h 1452453"/>
                    <a:gd name="connsiteX310" fmla="*/ 235087 w 1653042"/>
                    <a:gd name="connsiteY310" fmla="*/ 996207 h 1452453"/>
                    <a:gd name="connsiteX311" fmla="*/ 233885 w 1653042"/>
                    <a:gd name="connsiteY311" fmla="*/ 992224 h 1452453"/>
                    <a:gd name="connsiteX312" fmla="*/ 226854 w 1653042"/>
                    <a:gd name="connsiteY312" fmla="*/ 984792 h 1452453"/>
                    <a:gd name="connsiteX313" fmla="*/ 223236 w 1653042"/>
                    <a:gd name="connsiteY313" fmla="*/ 979765 h 1452453"/>
                    <a:gd name="connsiteX314" fmla="*/ 221609 w 1653042"/>
                    <a:gd name="connsiteY314" fmla="*/ 972176 h 1452453"/>
                    <a:gd name="connsiteX315" fmla="*/ 222701 w 1653042"/>
                    <a:gd name="connsiteY315" fmla="*/ 948485 h 1452453"/>
                    <a:gd name="connsiteX316" fmla="*/ 223564 w 1653042"/>
                    <a:gd name="connsiteY316" fmla="*/ 930914 h 1452453"/>
                    <a:gd name="connsiteX317" fmla="*/ 223017 w 1653042"/>
                    <a:gd name="connsiteY317" fmla="*/ 924029 h 1452453"/>
                    <a:gd name="connsiteX318" fmla="*/ 220164 w 1653042"/>
                    <a:gd name="connsiteY318" fmla="*/ 920265 h 1452453"/>
                    <a:gd name="connsiteX319" fmla="*/ 214481 w 1653042"/>
                    <a:gd name="connsiteY319" fmla="*/ 919135 h 1452453"/>
                    <a:gd name="connsiteX320" fmla="*/ 208130 w 1653042"/>
                    <a:gd name="connsiteY320" fmla="*/ 920945 h 1452453"/>
                    <a:gd name="connsiteX321" fmla="*/ 201354 w 1653042"/>
                    <a:gd name="connsiteY321" fmla="*/ 923810 h 1452453"/>
                    <a:gd name="connsiteX322" fmla="*/ 193449 w 1653042"/>
                    <a:gd name="connsiteY322" fmla="*/ 925510 h 1452453"/>
                    <a:gd name="connsiteX323" fmla="*/ 170912 w 1653042"/>
                    <a:gd name="connsiteY323" fmla="*/ 926142 h 1452453"/>
                    <a:gd name="connsiteX324" fmla="*/ 159643 w 1653042"/>
                    <a:gd name="connsiteY324" fmla="*/ 923835 h 1452453"/>
                    <a:gd name="connsiteX325" fmla="*/ 151920 w 1653042"/>
                    <a:gd name="connsiteY325" fmla="*/ 921176 h 1452453"/>
                    <a:gd name="connsiteX326" fmla="*/ 147755 w 1653042"/>
                    <a:gd name="connsiteY326" fmla="*/ 918322 h 1452453"/>
                    <a:gd name="connsiteX327" fmla="*/ 144683 w 1653042"/>
                    <a:gd name="connsiteY327" fmla="*/ 913100 h 1452453"/>
                    <a:gd name="connsiteX328" fmla="*/ 140579 w 1653042"/>
                    <a:gd name="connsiteY328" fmla="*/ 901480 h 1452453"/>
                    <a:gd name="connsiteX329" fmla="*/ 137677 w 1653042"/>
                    <a:gd name="connsiteY329" fmla="*/ 898286 h 1452453"/>
                    <a:gd name="connsiteX330" fmla="*/ 130306 w 1653042"/>
                    <a:gd name="connsiteY330" fmla="*/ 892190 h 1452453"/>
                    <a:gd name="connsiteX331" fmla="*/ 122547 w 1653042"/>
                    <a:gd name="connsiteY331" fmla="*/ 883350 h 1452453"/>
                    <a:gd name="connsiteX332" fmla="*/ 116341 w 1653042"/>
                    <a:gd name="connsiteY332" fmla="*/ 873284 h 1452453"/>
                    <a:gd name="connsiteX333" fmla="*/ 112553 w 1653042"/>
                    <a:gd name="connsiteY333" fmla="*/ 862574 h 1452453"/>
                    <a:gd name="connsiteX334" fmla="*/ 112322 w 1653042"/>
                    <a:gd name="connsiteY334" fmla="*/ 858591 h 1452453"/>
                    <a:gd name="connsiteX335" fmla="*/ 113974 w 1653042"/>
                    <a:gd name="connsiteY335" fmla="*/ 847650 h 1452453"/>
                    <a:gd name="connsiteX336" fmla="*/ 114119 w 1653042"/>
                    <a:gd name="connsiteY336" fmla="*/ 840886 h 1452453"/>
                    <a:gd name="connsiteX337" fmla="*/ 115066 w 1653042"/>
                    <a:gd name="connsiteY337" fmla="*/ 836891 h 1452453"/>
                    <a:gd name="connsiteX338" fmla="*/ 125473 w 1653042"/>
                    <a:gd name="connsiteY338" fmla="*/ 819806 h 1452453"/>
                    <a:gd name="connsiteX339" fmla="*/ 128047 w 1653042"/>
                    <a:gd name="connsiteY339" fmla="*/ 812921 h 1452453"/>
                    <a:gd name="connsiteX340" fmla="*/ 128703 w 1653042"/>
                    <a:gd name="connsiteY340" fmla="*/ 806279 h 1452453"/>
                    <a:gd name="connsiteX341" fmla="*/ 127307 w 1653042"/>
                    <a:gd name="connsiteY341" fmla="*/ 799066 h 1452453"/>
                    <a:gd name="connsiteX342" fmla="*/ 126967 w 1653042"/>
                    <a:gd name="connsiteY342" fmla="*/ 794877 h 1452453"/>
                    <a:gd name="connsiteX343" fmla="*/ 128096 w 1653042"/>
                    <a:gd name="connsiteY343" fmla="*/ 789947 h 1452453"/>
                    <a:gd name="connsiteX344" fmla="*/ 129954 w 1653042"/>
                    <a:gd name="connsiteY344" fmla="*/ 785405 h 1452453"/>
                    <a:gd name="connsiteX345" fmla="*/ 130415 w 1653042"/>
                    <a:gd name="connsiteY345" fmla="*/ 782503 h 1452453"/>
                    <a:gd name="connsiteX346" fmla="*/ 129735 w 1653042"/>
                    <a:gd name="connsiteY346" fmla="*/ 775339 h 1452453"/>
                    <a:gd name="connsiteX347" fmla="*/ 130840 w 1653042"/>
                    <a:gd name="connsiteY347" fmla="*/ 758339 h 1452453"/>
                    <a:gd name="connsiteX348" fmla="*/ 130051 w 1653042"/>
                    <a:gd name="connsiteY348" fmla="*/ 752389 h 1452453"/>
                    <a:gd name="connsiteX349" fmla="*/ 125254 w 1653042"/>
                    <a:gd name="connsiteY349" fmla="*/ 746536 h 1452453"/>
                    <a:gd name="connsiteX350" fmla="*/ 119450 w 1653042"/>
                    <a:gd name="connsiteY350" fmla="*/ 743706 h 1452453"/>
                    <a:gd name="connsiteX351" fmla="*/ 113075 w 1653042"/>
                    <a:gd name="connsiteY351" fmla="*/ 742213 h 1452453"/>
                    <a:gd name="connsiteX352" fmla="*/ 68814 w 1653042"/>
                    <a:gd name="connsiteY352" fmla="*/ 744058 h 1452453"/>
                    <a:gd name="connsiteX353" fmla="*/ 59549 w 1653042"/>
                    <a:gd name="connsiteY353" fmla="*/ 740914 h 1452453"/>
                    <a:gd name="connsiteX354" fmla="*/ 45111 w 1653042"/>
                    <a:gd name="connsiteY354" fmla="*/ 728710 h 1452453"/>
                    <a:gd name="connsiteX355" fmla="*/ 37752 w 1653042"/>
                    <a:gd name="connsiteY355" fmla="*/ 723962 h 1452453"/>
                    <a:gd name="connsiteX356" fmla="*/ 8524 w 1653042"/>
                    <a:gd name="connsiteY356" fmla="*/ 712414 h 1452453"/>
                    <a:gd name="connsiteX357" fmla="*/ 1591 w 1653042"/>
                    <a:gd name="connsiteY357" fmla="*/ 704934 h 1452453"/>
                    <a:gd name="connsiteX358" fmla="*/ 0 w 1653042"/>
                    <a:gd name="connsiteY358" fmla="*/ 695742 h 1452453"/>
                    <a:gd name="connsiteX359" fmla="*/ 3898 w 1653042"/>
                    <a:gd name="connsiteY359" fmla="*/ 670739 h 1452453"/>
                    <a:gd name="connsiteX360" fmla="*/ 7929 w 1653042"/>
                    <a:gd name="connsiteY360" fmla="*/ 645871 h 1452453"/>
                    <a:gd name="connsiteX361" fmla="*/ 13090 w 1653042"/>
                    <a:gd name="connsiteY361" fmla="*/ 630170 h 1452453"/>
                    <a:gd name="connsiteX362" fmla="*/ 21129 w 1653042"/>
                    <a:gd name="connsiteY362" fmla="*/ 616849 h 1452453"/>
                    <a:gd name="connsiteX363" fmla="*/ 38542 w 1653042"/>
                    <a:gd name="connsiteY363" fmla="*/ 599776 h 1452453"/>
                    <a:gd name="connsiteX364" fmla="*/ 51085 w 1653042"/>
                    <a:gd name="connsiteY364" fmla="*/ 591313 h 1452453"/>
                    <a:gd name="connsiteX365" fmla="*/ 72712 w 1653042"/>
                    <a:gd name="connsiteY365" fmla="*/ 571337 h 1452453"/>
                    <a:gd name="connsiteX366" fmla="*/ 83531 w 1653042"/>
                    <a:gd name="connsiteY366" fmla="*/ 554362 h 1452453"/>
                    <a:gd name="connsiteX367" fmla="*/ 100034 w 1653042"/>
                    <a:gd name="connsiteY367" fmla="*/ 538855 h 1452453"/>
                    <a:gd name="connsiteX368" fmla="*/ 104016 w 1653042"/>
                    <a:gd name="connsiteY368" fmla="*/ 533318 h 1452453"/>
                    <a:gd name="connsiteX369" fmla="*/ 117447 w 1653042"/>
                    <a:gd name="connsiteY369" fmla="*/ 495031 h 1452453"/>
                    <a:gd name="connsiteX370" fmla="*/ 119790 w 1653042"/>
                    <a:gd name="connsiteY370" fmla="*/ 490854 h 1452453"/>
                    <a:gd name="connsiteX371" fmla="*/ 136584 w 1653042"/>
                    <a:gd name="connsiteY371" fmla="*/ 473951 h 1452453"/>
                    <a:gd name="connsiteX372" fmla="*/ 138515 w 1653042"/>
                    <a:gd name="connsiteY372" fmla="*/ 472093 h 1452453"/>
                    <a:gd name="connsiteX373" fmla="*/ 151762 w 1653042"/>
                    <a:gd name="connsiteY373" fmla="*/ 462792 h 1452453"/>
                    <a:gd name="connsiteX374" fmla="*/ 161841 w 1653042"/>
                    <a:gd name="connsiteY374" fmla="*/ 452009 h 1452453"/>
                    <a:gd name="connsiteX375" fmla="*/ 165763 w 1653042"/>
                    <a:gd name="connsiteY375" fmla="*/ 449313 h 1452453"/>
                    <a:gd name="connsiteX376" fmla="*/ 169855 w 1653042"/>
                    <a:gd name="connsiteY376" fmla="*/ 447965 h 1452453"/>
                    <a:gd name="connsiteX377" fmla="*/ 177566 w 1653042"/>
                    <a:gd name="connsiteY377" fmla="*/ 446775 h 1452453"/>
                    <a:gd name="connsiteX378" fmla="*/ 184148 w 1653042"/>
                    <a:gd name="connsiteY378" fmla="*/ 444164 h 1452453"/>
                    <a:gd name="connsiteX379" fmla="*/ 188131 w 1653042"/>
                    <a:gd name="connsiteY379" fmla="*/ 443169 h 1452453"/>
                    <a:gd name="connsiteX380" fmla="*/ 193218 w 1653042"/>
                    <a:gd name="connsiteY380" fmla="*/ 443606 h 1452453"/>
                    <a:gd name="connsiteX381" fmla="*/ 199205 w 1653042"/>
                    <a:gd name="connsiteY381" fmla="*/ 445379 h 1452453"/>
                    <a:gd name="connsiteX382" fmla="*/ 204985 w 1653042"/>
                    <a:gd name="connsiteY382" fmla="*/ 448220 h 1452453"/>
                    <a:gd name="connsiteX383" fmla="*/ 210121 w 1653042"/>
                    <a:gd name="connsiteY383" fmla="*/ 452082 h 1452453"/>
                    <a:gd name="connsiteX384" fmla="*/ 216739 w 1653042"/>
                    <a:gd name="connsiteY384" fmla="*/ 459355 h 1452453"/>
                    <a:gd name="connsiteX385" fmla="*/ 221681 w 1653042"/>
                    <a:gd name="connsiteY385" fmla="*/ 463107 h 1452453"/>
                    <a:gd name="connsiteX386" fmla="*/ 224329 w 1653042"/>
                    <a:gd name="connsiteY386" fmla="*/ 466034 h 1452453"/>
                    <a:gd name="connsiteX387" fmla="*/ 226757 w 1653042"/>
                    <a:gd name="connsiteY387" fmla="*/ 471753 h 1452453"/>
                    <a:gd name="connsiteX388" fmla="*/ 225944 w 1653042"/>
                    <a:gd name="connsiteY388" fmla="*/ 479974 h 1452453"/>
                    <a:gd name="connsiteX389" fmla="*/ 226502 w 1653042"/>
                    <a:gd name="connsiteY389" fmla="*/ 483204 h 1452453"/>
                    <a:gd name="connsiteX390" fmla="*/ 232052 w 1653042"/>
                    <a:gd name="connsiteY390" fmla="*/ 495286 h 1452453"/>
                    <a:gd name="connsiteX391" fmla="*/ 238997 w 1653042"/>
                    <a:gd name="connsiteY391" fmla="*/ 504903 h 1452453"/>
                    <a:gd name="connsiteX392" fmla="*/ 247230 w 1653042"/>
                    <a:gd name="connsiteY392" fmla="*/ 510088 h 1452453"/>
                    <a:gd name="connsiteX393" fmla="*/ 259652 w 1653042"/>
                    <a:gd name="connsiteY393" fmla="*/ 511679 h 1452453"/>
                    <a:gd name="connsiteX394" fmla="*/ 274066 w 1653042"/>
                    <a:gd name="connsiteY394" fmla="*/ 508400 h 1452453"/>
                    <a:gd name="connsiteX395" fmla="*/ 294697 w 1653042"/>
                    <a:gd name="connsiteY395" fmla="*/ 498455 h 1452453"/>
                    <a:gd name="connsiteX396" fmla="*/ 317793 w 1653042"/>
                    <a:gd name="connsiteY396" fmla="*/ 487442 h 1452453"/>
                    <a:gd name="connsiteX397" fmla="*/ 332340 w 1653042"/>
                    <a:gd name="connsiteY397" fmla="*/ 482645 h 1452453"/>
                    <a:gd name="connsiteX398" fmla="*/ 348624 w 1653042"/>
                    <a:gd name="connsiteY398" fmla="*/ 479258 h 1452453"/>
                    <a:gd name="connsiteX399" fmla="*/ 365175 w 1653042"/>
                    <a:gd name="connsiteY399" fmla="*/ 477849 h 1452453"/>
                    <a:gd name="connsiteX400" fmla="*/ 380620 w 1653042"/>
                    <a:gd name="connsiteY400" fmla="*/ 479051 h 1452453"/>
                    <a:gd name="connsiteX401" fmla="*/ 395811 w 1653042"/>
                    <a:gd name="connsiteY401" fmla="*/ 477825 h 1452453"/>
                    <a:gd name="connsiteX402" fmla="*/ 421542 w 1653042"/>
                    <a:gd name="connsiteY402" fmla="*/ 470175 h 1452453"/>
                    <a:gd name="connsiteX403" fmla="*/ 451462 w 1653042"/>
                    <a:gd name="connsiteY403" fmla="*/ 461383 h 1452453"/>
                    <a:gd name="connsiteX404" fmla="*/ 452203 w 1653042"/>
                    <a:gd name="connsiteY404" fmla="*/ 460679 h 1452453"/>
                    <a:gd name="connsiteX405" fmla="*/ 453065 w 1653042"/>
                    <a:gd name="connsiteY405" fmla="*/ 458238 h 1452453"/>
                    <a:gd name="connsiteX406" fmla="*/ 455032 w 1653042"/>
                    <a:gd name="connsiteY406" fmla="*/ 434219 h 1452453"/>
                    <a:gd name="connsiteX407" fmla="*/ 456162 w 1653042"/>
                    <a:gd name="connsiteY407" fmla="*/ 429921 h 1452453"/>
                    <a:gd name="connsiteX408" fmla="*/ 458542 w 1653042"/>
                    <a:gd name="connsiteY408" fmla="*/ 425258 h 1452453"/>
                    <a:gd name="connsiteX409" fmla="*/ 473817 w 1653042"/>
                    <a:gd name="connsiteY409" fmla="*/ 405975 h 1452453"/>
                    <a:gd name="connsiteX410" fmla="*/ 497350 w 1653042"/>
                    <a:gd name="connsiteY410" fmla="*/ 387311 h 1452453"/>
                    <a:gd name="connsiteX411" fmla="*/ 504357 w 1653042"/>
                    <a:gd name="connsiteY411" fmla="*/ 380208 h 1452453"/>
                    <a:gd name="connsiteX412" fmla="*/ 509141 w 1653042"/>
                    <a:gd name="connsiteY412" fmla="*/ 371975 h 1452453"/>
                    <a:gd name="connsiteX413" fmla="*/ 512699 w 1653042"/>
                    <a:gd name="connsiteY413" fmla="*/ 362722 h 1452453"/>
                    <a:gd name="connsiteX414" fmla="*/ 523579 w 1653042"/>
                    <a:gd name="connsiteY414" fmla="*/ 322176 h 1452453"/>
                    <a:gd name="connsiteX415" fmla="*/ 528303 w 1653042"/>
                    <a:gd name="connsiteY415" fmla="*/ 313069 h 1452453"/>
                    <a:gd name="connsiteX416" fmla="*/ 542632 w 1653042"/>
                    <a:gd name="connsiteY416" fmla="*/ 296215 h 1452453"/>
                    <a:gd name="connsiteX417" fmla="*/ 548436 w 1653042"/>
                    <a:gd name="connsiteY417" fmla="*/ 292244 h 1452453"/>
                    <a:gd name="connsiteX418" fmla="*/ 646138 w 1653042"/>
                    <a:gd name="connsiteY418" fmla="*/ 243393 h 1452453"/>
                    <a:gd name="connsiteX419" fmla="*/ 648967 w 1653042"/>
                    <a:gd name="connsiteY419" fmla="*/ 241487 h 1452453"/>
                    <a:gd name="connsiteX420" fmla="*/ 650449 w 1653042"/>
                    <a:gd name="connsiteY420" fmla="*/ 239180 h 1452453"/>
                    <a:gd name="connsiteX421" fmla="*/ 656253 w 1653042"/>
                    <a:gd name="connsiteY421" fmla="*/ 225664 h 1452453"/>
                    <a:gd name="connsiteX422" fmla="*/ 661280 w 1653042"/>
                    <a:gd name="connsiteY422" fmla="*/ 217541 h 1452453"/>
                    <a:gd name="connsiteX423" fmla="*/ 673107 w 1653042"/>
                    <a:gd name="connsiteY423" fmla="*/ 202241 h 1452453"/>
                    <a:gd name="connsiteX424" fmla="*/ 706950 w 1653042"/>
                    <a:gd name="connsiteY424" fmla="*/ 139620 h 1452453"/>
                    <a:gd name="connsiteX425" fmla="*/ 732717 w 1653042"/>
                    <a:gd name="connsiteY425" fmla="*/ 59391 h 1452453"/>
                    <a:gd name="connsiteX426" fmla="*/ 736409 w 1653042"/>
                    <a:gd name="connsiteY426" fmla="*/ 55360 h 1452453"/>
                    <a:gd name="connsiteX427" fmla="*/ 769377 w 1653042"/>
                    <a:gd name="connsiteY427" fmla="*/ 40691 h 1452453"/>
                    <a:gd name="connsiteX428" fmla="*/ 804069 w 1653042"/>
                    <a:gd name="connsiteY428" fmla="*/ 33126 h 1452453"/>
                    <a:gd name="connsiteX429" fmla="*/ 810517 w 1653042"/>
                    <a:gd name="connsiteY429" fmla="*/ 29532 h 1452453"/>
                    <a:gd name="connsiteX430" fmla="*/ 840231 w 1653042"/>
                    <a:gd name="connsiteY430" fmla="*/ 5731 h 1452453"/>
                    <a:gd name="connsiteX431" fmla="*/ 841032 w 1653042"/>
                    <a:gd name="connsiteY431" fmla="*/ 0 h 1452453"/>
                    <a:gd name="connsiteX432" fmla="*/ 850431 w 1653042"/>
                    <a:gd name="connsiteY432" fmla="*/ 3364 h 1452453"/>
                    <a:gd name="connsiteX433" fmla="*/ 852106 w 1653042"/>
                    <a:gd name="connsiteY433" fmla="*/ 8549 h 1452453"/>
                    <a:gd name="connsiteX434" fmla="*/ 852082 w 1653042"/>
                    <a:gd name="connsiteY434" fmla="*/ 13090 h 1452453"/>
                    <a:gd name="connsiteX435" fmla="*/ 850965 w 1653042"/>
                    <a:gd name="connsiteY435" fmla="*/ 18093 h 1452453"/>
                    <a:gd name="connsiteX436" fmla="*/ 850394 w 1653042"/>
                    <a:gd name="connsiteY436" fmla="*/ 19441 h 1452453"/>
                    <a:gd name="connsiteX437" fmla="*/ 837013 w 1653042"/>
                    <a:gd name="connsiteY437" fmla="*/ 40509 h 1452453"/>
                    <a:gd name="connsiteX438" fmla="*/ 835094 w 1653042"/>
                    <a:gd name="connsiteY438" fmla="*/ 45682 h 1452453"/>
                    <a:gd name="connsiteX439" fmla="*/ 834863 w 1653042"/>
                    <a:gd name="connsiteY439" fmla="*/ 46605 h 1452453"/>
                    <a:gd name="connsiteX440" fmla="*/ 838276 w 1653042"/>
                    <a:gd name="connsiteY440" fmla="*/ 47163 h 1452453"/>
                    <a:gd name="connsiteX441" fmla="*/ 908170 w 1653042"/>
                    <a:gd name="connsiteY441" fmla="*/ 50721 h 1452453"/>
                    <a:gd name="connsiteX442" fmla="*/ 925838 w 1653042"/>
                    <a:gd name="connsiteY442" fmla="*/ 50587 h 1452453"/>
                    <a:gd name="connsiteX443" fmla="*/ 953585 w 1653042"/>
                    <a:gd name="connsiteY443" fmla="*/ 54230 h 1452453"/>
                    <a:gd name="connsiteX444" fmla="*/ 953075 w 1653042"/>
                    <a:gd name="connsiteY444" fmla="*/ 62609 h 1452453"/>
                    <a:gd name="connsiteX445" fmla="*/ 953281 w 1653042"/>
                    <a:gd name="connsiteY445" fmla="*/ 62913 h 1452453"/>
                    <a:gd name="connsiteX446" fmla="*/ 954471 w 1653042"/>
                    <a:gd name="connsiteY446" fmla="*/ 64163 h 1452453"/>
                    <a:gd name="connsiteX447" fmla="*/ 955516 w 1653042"/>
                    <a:gd name="connsiteY447" fmla="*/ 64698 h 1452453"/>
                    <a:gd name="connsiteX448" fmla="*/ 958284 w 1653042"/>
                    <a:gd name="connsiteY448" fmla="*/ 67308 h 1452453"/>
                    <a:gd name="connsiteX449" fmla="*/ 959280 w 1653042"/>
                    <a:gd name="connsiteY449" fmla="*/ 69737 h 1452453"/>
                    <a:gd name="connsiteX450" fmla="*/ 959681 w 1653042"/>
                    <a:gd name="connsiteY450" fmla="*/ 72554 h 1452453"/>
                    <a:gd name="connsiteX451" fmla="*/ 959049 w 1653042"/>
                    <a:gd name="connsiteY451" fmla="*/ 75468 h 1452453"/>
                    <a:gd name="connsiteX452" fmla="*/ 957750 w 1653042"/>
                    <a:gd name="connsiteY452" fmla="*/ 77776 h 1452453"/>
                    <a:gd name="connsiteX453" fmla="*/ 955904 w 1653042"/>
                    <a:gd name="connsiteY453" fmla="*/ 79718 h 1452453"/>
                    <a:gd name="connsiteX454" fmla="*/ 953548 w 1653042"/>
                    <a:gd name="connsiteY454" fmla="*/ 81273 h 1452453"/>
                    <a:gd name="connsiteX455" fmla="*/ 947453 w 1653042"/>
                    <a:gd name="connsiteY455" fmla="*/ 83944 h 1452453"/>
                    <a:gd name="connsiteX456" fmla="*/ 946311 w 1653042"/>
                    <a:gd name="connsiteY456" fmla="*/ 84284 h 1452453"/>
                    <a:gd name="connsiteX457" fmla="*/ 945206 w 1653042"/>
                    <a:gd name="connsiteY457" fmla="*/ 85535 h 1452453"/>
                    <a:gd name="connsiteX458" fmla="*/ 943749 w 1653042"/>
                    <a:gd name="connsiteY458" fmla="*/ 88643 h 1452453"/>
                    <a:gd name="connsiteX459" fmla="*/ 942960 w 1653042"/>
                    <a:gd name="connsiteY459" fmla="*/ 91570 h 1452453"/>
                    <a:gd name="connsiteX460" fmla="*/ 942729 w 1653042"/>
                    <a:gd name="connsiteY460" fmla="*/ 94921 h 1452453"/>
                    <a:gd name="connsiteX461" fmla="*/ 942887 w 1653042"/>
                    <a:gd name="connsiteY461" fmla="*/ 95577 h 1452453"/>
                    <a:gd name="connsiteX462" fmla="*/ 943276 w 1653042"/>
                    <a:gd name="connsiteY462" fmla="*/ 96063 h 1452453"/>
                    <a:gd name="connsiteX463" fmla="*/ 944502 w 1653042"/>
                    <a:gd name="connsiteY463" fmla="*/ 96670 h 1452453"/>
                    <a:gd name="connsiteX464" fmla="*/ 946008 w 1653042"/>
                    <a:gd name="connsiteY464" fmla="*/ 97059 h 1452453"/>
                    <a:gd name="connsiteX465" fmla="*/ 947258 w 1653042"/>
                    <a:gd name="connsiteY465" fmla="*/ 97107 h 1452453"/>
                    <a:gd name="connsiteX466" fmla="*/ 948278 w 1653042"/>
                    <a:gd name="connsiteY466" fmla="*/ 96998 h 1452453"/>
                    <a:gd name="connsiteX467" fmla="*/ 949347 w 1653042"/>
                    <a:gd name="connsiteY467" fmla="*/ 96646 h 1452453"/>
                    <a:gd name="connsiteX468" fmla="*/ 950331 w 1653042"/>
                    <a:gd name="connsiteY468" fmla="*/ 96111 h 1452453"/>
                    <a:gd name="connsiteX469" fmla="*/ 951764 w 1653042"/>
                    <a:gd name="connsiteY469" fmla="*/ 94861 h 1452453"/>
                    <a:gd name="connsiteX470" fmla="*/ 953306 w 1653042"/>
                    <a:gd name="connsiteY470" fmla="*/ 93865 h 1452453"/>
                    <a:gd name="connsiteX471" fmla="*/ 955686 w 1653042"/>
                    <a:gd name="connsiteY471" fmla="*/ 93173 h 1452453"/>
                    <a:gd name="connsiteX472" fmla="*/ 958636 w 1653042"/>
                    <a:gd name="connsiteY472" fmla="*/ 93148 h 1452453"/>
                    <a:gd name="connsiteX473" fmla="*/ 959304 w 1653042"/>
                    <a:gd name="connsiteY473" fmla="*/ 92141 h 1452453"/>
                    <a:gd name="connsiteX474" fmla="*/ 960166 w 1653042"/>
                    <a:gd name="connsiteY474" fmla="*/ 91327 h 1452453"/>
                    <a:gd name="connsiteX475" fmla="*/ 960968 w 1653042"/>
                    <a:gd name="connsiteY475" fmla="*/ 90999 h 1452453"/>
                    <a:gd name="connsiteX476" fmla="*/ 963651 w 1653042"/>
                    <a:gd name="connsiteY476" fmla="*/ 90198 h 1452453"/>
                    <a:gd name="connsiteX477" fmla="*/ 965667 w 1653042"/>
                    <a:gd name="connsiteY477" fmla="*/ 90538 h 1452453"/>
                    <a:gd name="connsiteX478" fmla="*/ 967902 w 1653042"/>
                    <a:gd name="connsiteY478" fmla="*/ 92043 h 1452453"/>
                    <a:gd name="connsiteX479" fmla="*/ 969942 w 1653042"/>
                    <a:gd name="connsiteY479" fmla="*/ 95298 h 1452453"/>
                    <a:gd name="connsiteX480" fmla="*/ 970245 w 1653042"/>
                    <a:gd name="connsiteY480" fmla="*/ 98625 h 1452453"/>
                    <a:gd name="connsiteX481" fmla="*/ 969565 w 1653042"/>
                    <a:gd name="connsiteY481" fmla="*/ 102766 h 1452453"/>
                    <a:gd name="connsiteX482" fmla="*/ 966651 w 1653042"/>
                    <a:gd name="connsiteY482" fmla="*/ 110477 h 1452453"/>
                    <a:gd name="connsiteX483" fmla="*/ 965922 w 1653042"/>
                    <a:gd name="connsiteY483" fmla="*/ 113549 h 1452453"/>
                    <a:gd name="connsiteX484" fmla="*/ 964380 w 1653042"/>
                    <a:gd name="connsiteY484" fmla="*/ 130452 h 1452453"/>
                    <a:gd name="connsiteX485" fmla="*/ 965024 w 1653042"/>
                    <a:gd name="connsiteY485" fmla="*/ 132977 h 1452453"/>
                    <a:gd name="connsiteX486" fmla="*/ 965995 w 1653042"/>
                    <a:gd name="connsiteY486" fmla="*/ 134617 h 1452453"/>
                    <a:gd name="connsiteX487" fmla="*/ 968824 w 1653042"/>
                    <a:gd name="connsiteY487" fmla="*/ 137531 h 1452453"/>
                    <a:gd name="connsiteX488" fmla="*/ 971204 w 1653042"/>
                    <a:gd name="connsiteY488" fmla="*/ 141149 h 1452453"/>
                    <a:gd name="connsiteX489" fmla="*/ 971654 w 1653042"/>
                    <a:gd name="connsiteY489" fmla="*/ 143894 h 1452453"/>
                    <a:gd name="connsiteX490" fmla="*/ 970986 w 1653042"/>
                    <a:gd name="connsiteY490" fmla="*/ 151362 h 1452453"/>
                    <a:gd name="connsiteX491" fmla="*/ 970257 w 1653042"/>
                    <a:gd name="connsiteY491" fmla="*/ 154009 h 1452453"/>
                    <a:gd name="connsiteX492" fmla="*/ 968557 w 1653042"/>
                    <a:gd name="connsiteY492" fmla="*/ 156960 h 1452453"/>
                    <a:gd name="connsiteX493" fmla="*/ 966335 w 1653042"/>
                    <a:gd name="connsiteY493" fmla="*/ 157955 h 1452453"/>
                    <a:gd name="connsiteX494" fmla="*/ 964113 w 1653042"/>
                    <a:gd name="connsiteY494" fmla="*/ 158429 h 1452453"/>
                    <a:gd name="connsiteX495" fmla="*/ 957993 w 1653042"/>
                    <a:gd name="connsiteY495" fmla="*/ 158210 h 1452453"/>
                    <a:gd name="connsiteX496" fmla="*/ 957884 w 1653042"/>
                    <a:gd name="connsiteY496" fmla="*/ 158308 h 1452453"/>
                    <a:gd name="connsiteX497" fmla="*/ 957240 w 1653042"/>
                    <a:gd name="connsiteY497" fmla="*/ 159886 h 1452453"/>
                    <a:gd name="connsiteX498" fmla="*/ 957519 w 1653042"/>
                    <a:gd name="connsiteY498" fmla="*/ 160590 h 1452453"/>
                    <a:gd name="connsiteX499" fmla="*/ 957799 w 1653042"/>
                    <a:gd name="connsiteY499" fmla="*/ 160578 h 1452453"/>
                    <a:gd name="connsiteX500" fmla="*/ 960191 w 1653042"/>
                    <a:gd name="connsiteY500" fmla="*/ 163881 h 1452453"/>
                    <a:gd name="connsiteX501" fmla="*/ 961672 w 1653042"/>
                    <a:gd name="connsiteY501" fmla="*/ 167172 h 1452453"/>
                    <a:gd name="connsiteX502" fmla="*/ 962425 w 1653042"/>
                    <a:gd name="connsiteY502" fmla="*/ 168556 h 1452453"/>
                    <a:gd name="connsiteX503" fmla="*/ 964963 w 1653042"/>
                    <a:gd name="connsiteY503" fmla="*/ 171556 h 1452453"/>
                    <a:gd name="connsiteX504" fmla="*/ 966663 w 1653042"/>
                    <a:gd name="connsiteY504" fmla="*/ 174154 h 1452453"/>
                    <a:gd name="connsiteX505" fmla="*/ 968630 w 1653042"/>
                    <a:gd name="connsiteY505" fmla="*/ 178683 h 1452453"/>
                    <a:gd name="connsiteX506" fmla="*/ 969516 w 1653042"/>
                    <a:gd name="connsiteY506" fmla="*/ 179849 h 1452453"/>
                    <a:gd name="connsiteX507" fmla="*/ 970585 w 1653042"/>
                    <a:gd name="connsiteY507" fmla="*/ 180031 h 1452453"/>
                    <a:gd name="connsiteX508" fmla="*/ 971605 w 1653042"/>
                    <a:gd name="connsiteY508" fmla="*/ 176534 h 1452453"/>
                    <a:gd name="connsiteX509" fmla="*/ 972819 w 1653042"/>
                    <a:gd name="connsiteY509" fmla="*/ 174640 h 1452453"/>
                    <a:gd name="connsiteX510" fmla="*/ 973354 w 1653042"/>
                    <a:gd name="connsiteY510" fmla="*/ 173911 h 1452453"/>
                    <a:gd name="connsiteX511" fmla="*/ 975819 w 1653042"/>
                    <a:gd name="connsiteY511" fmla="*/ 173013 h 1452453"/>
                    <a:gd name="connsiteX512" fmla="*/ 977276 w 1653042"/>
                    <a:gd name="connsiteY512" fmla="*/ 172794 h 1452453"/>
                    <a:gd name="connsiteX513" fmla="*/ 980190 w 1653042"/>
                    <a:gd name="connsiteY513" fmla="*/ 172758 h 1452453"/>
                    <a:gd name="connsiteX514" fmla="*/ 985302 w 1653042"/>
                    <a:gd name="connsiteY514" fmla="*/ 171908 h 1452453"/>
                    <a:gd name="connsiteX515" fmla="*/ 986492 w 1653042"/>
                    <a:gd name="connsiteY515" fmla="*/ 171871 h 1452453"/>
                    <a:gd name="connsiteX516" fmla="*/ 993535 w 1653042"/>
                    <a:gd name="connsiteY516" fmla="*/ 173219 h 1452453"/>
                    <a:gd name="connsiteX517" fmla="*/ 995915 w 1653042"/>
                    <a:gd name="connsiteY517" fmla="*/ 173268 h 1452453"/>
                    <a:gd name="connsiteX518" fmla="*/ 996692 w 1653042"/>
                    <a:gd name="connsiteY518" fmla="*/ 172964 h 1452453"/>
                    <a:gd name="connsiteX519" fmla="*/ 997506 w 1653042"/>
                    <a:gd name="connsiteY519" fmla="*/ 172187 h 1452453"/>
                    <a:gd name="connsiteX520" fmla="*/ 998732 w 1653042"/>
                    <a:gd name="connsiteY520" fmla="*/ 170705 h 1452453"/>
                    <a:gd name="connsiteX521" fmla="*/ 1001258 w 1653042"/>
                    <a:gd name="connsiteY521" fmla="*/ 168435 h 1452453"/>
                    <a:gd name="connsiteX522" fmla="*/ 1003505 w 1653042"/>
                    <a:gd name="connsiteY522" fmla="*/ 166856 h 1452453"/>
                    <a:gd name="connsiteX523" fmla="*/ 1006431 w 1653042"/>
                    <a:gd name="connsiteY523" fmla="*/ 165581 h 1452453"/>
                    <a:gd name="connsiteX524" fmla="*/ 1009115 w 1653042"/>
                    <a:gd name="connsiteY524" fmla="*/ 165193 h 1452453"/>
                    <a:gd name="connsiteX525" fmla="*/ 1011737 w 1653042"/>
                    <a:gd name="connsiteY525" fmla="*/ 165472 h 1452453"/>
                    <a:gd name="connsiteX526" fmla="*/ 1015793 w 1653042"/>
                    <a:gd name="connsiteY526" fmla="*/ 167609 h 1452453"/>
                    <a:gd name="connsiteX527" fmla="*/ 1016923 w 1653042"/>
                    <a:gd name="connsiteY527" fmla="*/ 167998 h 1452453"/>
                    <a:gd name="connsiteX528" fmla="*/ 1020128 w 1653042"/>
                    <a:gd name="connsiteY528" fmla="*/ 168702 h 1452453"/>
                    <a:gd name="connsiteX529" fmla="*/ 1022933 w 1653042"/>
                    <a:gd name="connsiteY529" fmla="*/ 169649 h 1452453"/>
                    <a:gd name="connsiteX530" fmla="*/ 1025070 w 1653042"/>
                    <a:gd name="connsiteY530" fmla="*/ 170730 h 1452453"/>
                    <a:gd name="connsiteX531" fmla="*/ 1028895 w 1653042"/>
                    <a:gd name="connsiteY531" fmla="*/ 173486 h 1452453"/>
                    <a:gd name="connsiteX532" fmla="*/ 1030583 w 1653042"/>
                    <a:gd name="connsiteY532" fmla="*/ 175526 h 1452453"/>
                    <a:gd name="connsiteX533" fmla="*/ 1031482 w 1653042"/>
                    <a:gd name="connsiteY533" fmla="*/ 177530 h 1452453"/>
                    <a:gd name="connsiteX534" fmla="*/ 1031980 w 1653042"/>
                    <a:gd name="connsiteY534" fmla="*/ 179740 h 1452453"/>
                    <a:gd name="connsiteX535" fmla="*/ 1033510 w 1653042"/>
                    <a:gd name="connsiteY535" fmla="*/ 183929 h 1452453"/>
                    <a:gd name="connsiteX536" fmla="*/ 1035562 w 1653042"/>
                    <a:gd name="connsiteY536" fmla="*/ 188058 h 1452453"/>
                    <a:gd name="connsiteX537" fmla="*/ 1036643 w 1653042"/>
                    <a:gd name="connsiteY537" fmla="*/ 189661 h 1452453"/>
                    <a:gd name="connsiteX538" fmla="*/ 1037080 w 1653042"/>
                    <a:gd name="connsiteY538" fmla="*/ 190073 h 1452453"/>
                    <a:gd name="connsiteX539" fmla="*/ 1037711 w 1653042"/>
                    <a:gd name="connsiteY539" fmla="*/ 190341 h 1452453"/>
                    <a:gd name="connsiteX540" fmla="*/ 1039035 w 1653042"/>
                    <a:gd name="connsiteY540" fmla="*/ 190571 h 1452453"/>
                    <a:gd name="connsiteX541" fmla="*/ 1040043 w 1653042"/>
                    <a:gd name="connsiteY541" fmla="*/ 190596 h 1452453"/>
                    <a:gd name="connsiteX542" fmla="*/ 1043540 w 1653042"/>
                    <a:gd name="connsiteY542" fmla="*/ 188483 h 1452453"/>
                    <a:gd name="connsiteX543" fmla="*/ 1047110 w 1653042"/>
                    <a:gd name="connsiteY543" fmla="*/ 188288 h 1452453"/>
                    <a:gd name="connsiteX544" fmla="*/ 1050801 w 1653042"/>
                    <a:gd name="connsiteY544" fmla="*/ 189830 h 1452453"/>
                    <a:gd name="connsiteX545" fmla="*/ 1052586 w 1653042"/>
                    <a:gd name="connsiteY545" fmla="*/ 191883 h 1452453"/>
                    <a:gd name="connsiteX546" fmla="*/ 1054080 w 1653042"/>
                    <a:gd name="connsiteY546" fmla="*/ 194396 h 1452453"/>
                    <a:gd name="connsiteX547" fmla="*/ 1056047 w 1653042"/>
                    <a:gd name="connsiteY547" fmla="*/ 199205 h 1452453"/>
                    <a:gd name="connsiteX548" fmla="*/ 1056715 w 1653042"/>
                    <a:gd name="connsiteY548" fmla="*/ 199618 h 1452453"/>
                    <a:gd name="connsiteX549" fmla="*/ 1057383 w 1653042"/>
                    <a:gd name="connsiteY549" fmla="*/ 199776 h 1452453"/>
                    <a:gd name="connsiteX550" fmla="*/ 1058051 w 1653042"/>
                    <a:gd name="connsiteY550" fmla="*/ 199606 h 1452453"/>
                    <a:gd name="connsiteX551" fmla="*/ 1059229 w 1653042"/>
                    <a:gd name="connsiteY551" fmla="*/ 199424 h 1452453"/>
                    <a:gd name="connsiteX552" fmla="*/ 1060394 w 1653042"/>
                    <a:gd name="connsiteY552" fmla="*/ 199120 h 1452453"/>
                    <a:gd name="connsiteX553" fmla="*/ 1062264 w 1653042"/>
                    <a:gd name="connsiteY553" fmla="*/ 197784 h 1452453"/>
                    <a:gd name="connsiteX554" fmla="*/ 1064401 w 1653042"/>
                    <a:gd name="connsiteY554" fmla="*/ 196922 h 1452453"/>
                    <a:gd name="connsiteX555" fmla="*/ 1068044 w 1653042"/>
                    <a:gd name="connsiteY555" fmla="*/ 196266 h 1452453"/>
                    <a:gd name="connsiteX556" fmla="*/ 1069210 w 1653042"/>
                    <a:gd name="connsiteY556" fmla="*/ 195428 h 1452453"/>
                    <a:gd name="connsiteX557" fmla="*/ 1072294 w 1653042"/>
                    <a:gd name="connsiteY557" fmla="*/ 192247 h 1452453"/>
                    <a:gd name="connsiteX558" fmla="*/ 1075512 w 1653042"/>
                    <a:gd name="connsiteY558" fmla="*/ 191810 h 1452453"/>
                    <a:gd name="connsiteX559" fmla="*/ 1077795 w 1653042"/>
                    <a:gd name="connsiteY559" fmla="*/ 192684 h 1452453"/>
                    <a:gd name="connsiteX560" fmla="*/ 1080151 w 1653042"/>
                    <a:gd name="connsiteY560" fmla="*/ 194506 h 1452453"/>
                    <a:gd name="connsiteX561" fmla="*/ 1082264 w 1653042"/>
                    <a:gd name="connsiteY561" fmla="*/ 195914 h 1452453"/>
                    <a:gd name="connsiteX562" fmla="*/ 1084061 w 1653042"/>
                    <a:gd name="connsiteY562" fmla="*/ 196024 h 1452453"/>
                    <a:gd name="connsiteX563" fmla="*/ 1087388 w 1653042"/>
                    <a:gd name="connsiteY563" fmla="*/ 195368 h 1452453"/>
                    <a:gd name="connsiteX564" fmla="*/ 1088663 w 1653042"/>
                    <a:gd name="connsiteY564" fmla="*/ 194846 h 1452453"/>
                    <a:gd name="connsiteX565" fmla="*/ 1089307 w 1653042"/>
                    <a:gd name="connsiteY565" fmla="*/ 193048 h 1452453"/>
                    <a:gd name="connsiteX566" fmla="*/ 1090132 w 1653042"/>
                    <a:gd name="connsiteY566" fmla="*/ 191664 h 1452453"/>
                    <a:gd name="connsiteX567" fmla="*/ 1090484 w 1653042"/>
                    <a:gd name="connsiteY567" fmla="*/ 191312 h 1452453"/>
                    <a:gd name="connsiteX568" fmla="*/ 1091674 w 1653042"/>
                    <a:gd name="connsiteY568" fmla="*/ 190353 h 1452453"/>
                    <a:gd name="connsiteX569" fmla="*/ 1099155 w 1653042"/>
                    <a:gd name="connsiteY569" fmla="*/ 186649 h 1452453"/>
                    <a:gd name="connsiteX570" fmla="*/ 1102312 w 1653042"/>
                    <a:gd name="connsiteY570" fmla="*/ 186540 h 1452453"/>
                    <a:gd name="connsiteX571" fmla="*/ 1105105 w 1653042"/>
                    <a:gd name="connsiteY571" fmla="*/ 188058 h 1452453"/>
                    <a:gd name="connsiteX572" fmla="*/ 1106258 w 1653042"/>
                    <a:gd name="connsiteY572" fmla="*/ 191069 h 1452453"/>
                    <a:gd name="connsiteX573" fmla="*/ 1106100 w 1653042"/>
                    <a:gd name="connsiteY573" fmla="*/ 193158 h 1452453"/>
                    <a:gd name="connsiteX574" fmla="*/ 1104740 w 1653042"/>
                    <a:gd name="connsiteY574" fmla="*/ 198306 h 1452453"/>
                    <a:gd name="connsiteX575" fmla="*/ 1104716 w 1653042"/>
                    <a:gd name="connsiteY575" fmla="*/ 199144 h 1452453"/>
                    <a:gd name="connsiteX576" fmla="*/ 1104777 w 1653042"/>
                    <a:gd name="connsiteY576" fmla="*/ 199314 h 1452453"/>
                    <a:gd name="connsiteX577" fmla="*/ 1105590 w 1653042"/>
                    <a:gd name="connsiteY577" fmla="*/ 198440 h 1452453"/>
                    <a:gd name="connsiteX578" fmla="*/ 1107485 w 1653042"/>
                    <a:gd name="connsiteY578" fmla="*/ 196886 h 1452453"/>
                    <a:gd name="connsiteX579" fmla="*/ 1112123 w 1653042"/>
                    <a:gd name="connsiteY579" fmla="*/ 194821 h 1452453"/>
                    <a:gd name="connsiteX580" fmla="*/ 1115681 w 1653042"/>
                    <a:gd name="connsiteY580" fmla="*/ 195271 h 1452453"/>
                    <a:gd name="connsiteX581" fmla="*/ 1116774 w 1653042"/>
                    <a:gd name="connsiteY581" fmla="*/ 197031 h 1452453"/>
                    <a:gd name="connsiteX582" fmla="*/ 1117503 w 1653042"/>
                    <a:gd name="connsiteY582" fmla="*/ 198658 h 1452453"/>
                    <a:gd name="connsiteX583" fmla="*/ 1118085 w 1653042"/>
                    <a:gd name="connsiteY583" fmla="*/ 202496 h 1452453"/>
                    <a:gd name="connsiteX584" fmla="*/ 1120077 w 1653042"/>
                    <a:gd name="connsiteY584" fmla="*/ 205616 h 1452453"/>
                    <a:gd name="connsiteX585" fmla="*/ 1120720 w 1653042"/>
                    <a:gd name="connsiteY585" fmla="*/ 207426 h 1452453"/>
                    <a:gd name="connsiteX586" fmla="*/ 1121060 w 1653042"/>
                    <a:gd name="connsiteY586" fmla="*/ 209478 h 1452453"/>
                    <a:gd name="connsiteX587" fmla="*/ 1120988 w 1653042"/>
                    <a:gd name="connsiteY587" fmla="*/ 210947 h 1452453"/>
                    <a:gd name="connsiteX588" fmla="*/ 1120089 w 1653042"/>
                    <a:gd name="connsiteY588" fmla="*/ 213643 h 1452453"/>
                    <a:gd name="connsiteX589" fmla="*/ 1119591 w 1653042"/>
                    <a:gd name="connsiteY589" fmla="*/ 214311 h 1452453"/>
                    <a:gd name="connsiteX590" fmla="*/ 1118377 w 1653042"/>
                    <a:gd name="connsiteY590" fmla="*/ 215234 h 1452453"/>
                    <a:gd name="connsiteX591" fmla="*/ 1116932 w 1653042"/>
                    <a:gd name="connsiteY591" fmla="*/ 215756 h 1452453"/>
                    <a:gd name="connsiteX592" fmla="*/ 1114819 w 1653042"/>
                    <a:gd name="connsiteY592" fmla="*/ 216132 h 1452453"/>
                    <a:gd name="connsiteX593" fmla="*/ 1114673 w 1653042"/>
                    <a:gd name="connsiteY593" fmla="*/ 216569 h 1452453"/>
                    <a:gd name="connsiteX594" fmla="*/ 1114952 w 1653042"/>
                    <a:gd name="connsiteY594" fmla="*/ 216934 h 1452453"/>
                    <a:gd name="connsiteX595" fmla="*/ 1115475 w 1653042"/>
                    <a:gd name="connsiteY595" fmla="*/ 218415 h 1452453"/>
                    <a:gd name="connsiteX596" fmla="*/ 1116665 w 1653042"/>
                    <a:gd name="connsiteY596" fmla="*/ 219666 h 1452453"/>
                    <a:gd name="connsiteX597" fmla="*/ 1117843 w 1653042"/>
                    <a:gd name="connsiteY597" fmla="*/ 221973 h 1452453"/>
                    <a:gd name="connsiteX598" fmla="*/ 1118183 w 1653042"/>
                    <a:gd name="connsiteY598" fmla="*/ 224219 h 1452453"/>
                    <a:gd name="connsiteX599" fmla="*/ 1117588 w 1653042"/>
                    <a:gd name="connsiteY599" fmla="*/ 226296 h 1452453"/>
                    <a:gd name="connsiteX600" fmla="*/ 1117806 w 1653042"/>
                    <a:gd name="connsiteY600" fmla="*/ 228809 h 1452453"/>
                    <a:gd name="connsiteX601" fmla="*/ 1118547 w 1653042"/>
                    <a:gd name="connsiteY601" fmla="*/ 230097 h 1452453"/>
                    <a:gd name="connsiteX602" fmla="*/ 1119907 w 1653042"/>
                    <a:gd name="connsiteY602" fmla="*/ 232088 h 1452453"/>
                    <a:gd name="connsiteX603" fmla="*/ 1122943 w 1653042"/>
                    <a:gd name="connsiteY603" fmla="*/ 235816 h 1452453"/>
                    <a:gd name="connsiteX604" fmla="*/ 1128407 w 1653042"/>
                    <a:gd name="connsiteY604" fmla="*/ 244194 h 1452453"/>
                    <a:gd name="connsiteX605" fmla="*/ 1129330 w 1653042"/>
                    <a:gd name="connsiteY605" fmla="*/ 244692 h 1452453"/>
                    <a:gd name="connsiteX606" fmla="*/ 1136458 w 1653042"/>
                    <a:gd name="connsiteY606" fmla="*/ 247048 h 1452453"/>
                    <a:gd name="connsiteX607" fmla="*/ 1138607 w 1653042"/>
                    <a:gd name="connsiteY607" fmla="*/ 248117 h 1452453"/>
                    <a:gd name="connsiteX608" fmla="*/ 1139785 w 1653042"/>
                    <a:gd name="connsiteY608" fmla="*/ 249246 h 1452453"/>
                    <a:gd name="connsiteX609" fmla="*/ 1141157 w 1653042"/>
                    <a:gd name="connsiteY609" fmla="*/ 251760 h 1452453"/>
                    <a:gd name="connsiteX610" fmla="*/ 1141861 w 1653042"/>
                    <a:gd name="connsiteY610" fmla="*/ 254565 h 1452453"/>
                    <a:gd name="connsiteX611" fmla="*/ 1141837 w 1653042"/>
                    <a:gd name="connsiteY611" fmla="*/ 257685 h 1452453"/>
                    <a:gd name="connsiteX612" fmla="*/ 1140671 w 1653042"/>
                    <a:gd name="connsiteY612" fmla="*/ 260697 h 1452453"/>
                    <a:gd name="connsiteX613" fmla="*/ 1140368 w 1653042"/>
                    <a:gd name="connsiteY613" fmla="*/ 261352 h 1452453"/>
                    <a:gd name="connsiteX614" fmla="*/ 1138194 w 1653042"/>
                    <a:gd name="connsiteY614" fmla="*/ 263052 h 1452453"/>
                    <a:gd name="connsiteX615" fmla="*/ 1135535 w 1653042"/>
                    <a:gd name="connsiteY615" fmla="*/ 264740 h 1452453"/>
                    <a:gd name="connsiteX616" fmla="*/ 1135353 w 1653042"/>
                    <a:gd name="connsiteY616" fmla="*/ 265408 h 1452453"/>
                    <a:gd name="connsiteX617" fmla="*/ 1136409 w 1653042"/>
                    <a:gd name="connsiteY617" fmla="*/ 268772 h 1452453"/>
                    <a:gd name="connsiteX618" fmla="*/ 1138048 w 1653042"/>
                    <a:gd name="connsiteY618" fmla="*/ 274831 h 1452453"/>
                    <a:gd name="connsiteX619" fmla="*/ 1139105 w 1653042"/>
                    <a:gd name="connsiteY619" fmla="*/ 278195 h 1452453"/>
                    <a:gd name="connsiteX620" fmla="*/ 1142165 w 1653042"/>
                    <a:gd name="connsiteY620" fmla="*/ 282882 h 1452453"/>
                    <a:gd name="connsiteX621" fmla="*/ 1143100 w 1653042"/>
                    <a:gd name="connsiteY621" fmla="*/ 286853 h 1452453"/>
                    <a:gd name="connsiteX622" fmla="*/ 1142857 w 1653042"/>
                    <a:gd name="connsiteY622" fmla="*/ 290872 h 1452453"/>
                    <a:gd name="connsiteX623" fmla="*/ 1143440 w 1653042"/>
                    <a:gd name="connsiteY623" fmla="*/ 292232 h 1452453"/>
                    <a:gd name="connsiteX624" fmla="*/ 1146998 w 1653042"/>
                    <a:gd name="connsiteY624" fmla="*/ 299554 h 1452453"/>
                    <a:gd name="connsiteX625" fmla="*/ 1152766 w 1653042"/>
                    <a:gd name="connsiteY625" fmla="*/ 317416 h 1452453"/>
                    <a:gd name="connsiteX626" fmla="*/ 1155133 w 1653042"/>
                    <a:gd name="connsiteY626" fmla="*/ 322237 h 1452453"/>
                    <a:gd name="connsiteX627" fmla="*/ 1158011 w 1653042"/>
                    <a:gd name="connsiteY627" fmla="*/ 326172 h 1452453"/>
                    <a:gd name="connsiteX628" fmla="*/ 1160355 w 1653042"/>
                    <a:gd name="connsiteY628" fmla="*/ 328612 h 1452453"/>
                    <a:gd name="connsiteX629" fmla="*/ 1165321 w 1653042"/>
                    <a:gd name="connsiteY629" fmla="*/ 335558 h 1452453"/>
                    <a:gd name="connsiteX630" fmla="*/ 1166524 w 1653042"/>
                    <a:gd name="connsiteY630" fmla="*/ 336906 h 1452453"/>
                    <a:gd name="connsiteX631" fmla="*/ 1169256 w 1653042"/>
                    <a:gd name="connsiteY631" fmla="*/ 339116 h 1452453"/>
                    <a:gd name="connsiteX632" fmla="*/ 1174599 w 1653042"/>
                    <a:gd name="connsiteY632" fmla="*/ 346669 h 1452453"/>
                    <a:gd name="connsiteX633" fmla="*/ 1182431 w 1653042"/>
                    <a:gd name="connsiteY633" fmla="*/ 352740 h 1452453"/>
                    <a:gd name="connsiteX634" fmla="*/ 1185600 w 1653042"/>
                    <a:gd name="connsiteY634" fmla="*/ 354234 h 1452453"/>
                    <a:gd name="connsiteX635" fmla="*/ 1188939 w 1653042"/>
                    <a:gd name="connsiteY635" fmla="*/ 357257 h 1452453"/>
                    <a:gd name="connsiteX636" fmla="*/ 1189486 w 1653042"/>
                    <a:gd name="connsiteY636" fmla="*/ 360487 h 1452453"/>
                    <a:gd name="connsiteX637" fmla="*/ 1188502 w 1653042"/>
                    <a:gd name="connsiteY637" fmla="*/ 362819 h 1452453"/>
                    <a:gd name="connsiteX638" fmla="*/ 1188369 w 1653042"/>
                    <a:gd name="connsiteY638" fmla="*/ 363523 h 1452453"/>
                    <a:gd name="connsiteX639" fmla="*/ 1188527 w 1653042"/>
                    <a:gd name="connsiteY639" fmla="*/ 364057 h 1452453"/>
                    <a:gd name="connsiteX640" fmla="*/ 1189182 w 1653042"/>
                    <a:gd name="connsiteY640" fmla="*/ 363985 h 1452453"/>
                    <a:gd name="connsiteX641" fmla="*/ 1189692 w 1653042"/>
                    <a:gd name="connsiteY641" fmla="*/ 363523 h 1452453"/>
                    <a:gd name="connsiteX642" fmla="*/ 1190336 w 1653042"/>
                    <a:gd name="connsiteY642" fmla="*/ 363195 h 1452453"/>
                    <a:gd name="connsiteX643" fmla="*/ 1192364 w 1653042"/>
                    <a:gd name="connsiteY643" fmla="*/ 363195 h 1452453"/>
                    <a:gd name="connsiteX644" fmla="*/ 1195824 w 1653042"/>
                    <a:gd name="connsiteY644" fmla="*/ 363827 h 1452453"/>
                    <a:gd name="connsiteX645" fmla="*/ 1199394 w 1653042"/>
                    <a:gd name="connsiteY645" fmla="*/ 366595 h 1452453"/>
                    <a:gd name="connsiteX646" fmla="*/ 1203232 w 1653042"/>
                    <a:gd name="connsiteY646" fmla="*/ 367858 h 1452453"/>
                    <a:gd name="connsiteX647" fmla="*/ 1205600 w 1653042"/>
                    <a:gd name="connsiteY647" fmla="*/ 368356 h 1452453"/>
                    <a:gd name="connsiteX648" fmla="*/ 1208417 w 1653042"/>
                    <a:gd name="connsiteY648" fmla="*/ 369255 h 1452453"/>
                    <a:gd name="connsiteX649" fmla="*/ 1214075 w 1653042"/>
                    <a:gd name="connsiteY649" fmla="*/ 373735 h 1452453"/>
                    <a:gd name="connsiteX650" fmla="*/ 1222842 w 1653042"/>
                    <a:gd name="connsiteY650" fmla="*/ 382260 h 1452453"/>
                    <a:gd name="connsiteX651" fmla="*/ 1235933 w 1653042"/>
                    <a:gd name="connsiteY651" fmla="*/ 399078 h 1452453"/>
                    <a:gd name="connsiteX652" fmla="*/ 1238616 w 1653042"/>
                    <a:gd name="connsiteY652" fmla="*/ 403534 h 1452453"/>
                    <a:gd name="connsiteX653" fmla="*/ 1240438 w 1653042"/>
                    <a:gd name="connsiteY653" fmla="*/ 408148 h 1452453"/>
                    <a:gd name="connsiteX654" fmla="*/ 1240899 w 1653042"/>
                    <a:gd name="connsiteY654" fmla="*/ 408403 h 1452453"/>
                    <a:gd name="connsiteX655" fmla="*/ 1242757 w 1653042"/>
                    <a:gd name="connsiteY655" fmla="*/ 410298 h 1452453"/>
                    <a:gd name="connsiteX656" fmla="*/ 1244469 w 1653042"/>
                    <a:gd name="connsiteY656" fmla="*/ 412823 h 1452453"/>
                    <a:gd name="connsiteX657" fmla="*/ 1247019 w 1653042"/>
                    <a:gd name="connsiteY657" fmla="*/ 418179 h 1452453"/>
                    <a:gd name="connsiteX658" fmla="*/ 1246667 w 1653042"/>
                    <a:gd name="connsiteY658" fmla="*/ 422550 h 1452453"/>
                    <a:gd name="connsiteX659" fmla="*/ 1243036 w 1653042"/>
                    <a:gd name="connsiteY659" fmla="*/ 425428 h 1452453"/>
                    <a:gd name="connsiteX660" fmla="*/ 1239527 w 1653042"/>
                    <a:gd name="connsiteY660" fmla="*/ 424104 h 1452453"/>
                    <a:gd name="connsiteX661" fmla="*/ 1236928 w 1653042"/>
                    <a:gd name="connsiteY661" fmla="*/ 422174 h 1452453"/>
                    <a:gd name="connsiteX662" fmla="*/ 1234791 w 1653042"/>
                    <a:gd name="connsiteY662" fmla="*/ 419757 h 1452453"/>
                    <a:gd name="connsiteX663" fmla="*/ 1234609 w 1653042"/>
                    <a:gd name="connsiteY663" fmla="*/ 419976 h 1452453"/>
                    <a:gd name="connsiteX664" fmla="*/ 1232897 w 1653042"/>
                    <a:gd name="connsiteY664" fmla="*/ 423011 h 1452453"/>
                    <a:gd name="connsiteX665" fmla="*/ 1230857 w 1653042"/>
                    <a:gd name="connsiteY665" fmla="*/ 425051 h 1452453"/>
                    <a:gd name="connsiteX666" fmla="*/ 1229193 w 1653042"/>
                    <a:gd name="connsiteY666" fmla="*/ 426132 h 1452453"/>
                    <a:gd name="connsiteX667" fmla="*/ 1224591 w 1653042"/>
                    <a:gd name="connsiteY667" fmla="*/ 427796 h 1452453"/>
                    <a:gd name="connsiteX668" fmla="*/ 1222709 w 1653042"/>
                    <a:gd name="connsiteY668" fmla="*/ 428646 h 1452453"/>
                    <a:gd name="connsiteX669" fmla="*/ 1221434 w 1653042"/>
                    <a:gd name="connsiteY669" fmla="*/ 429532 h 1452453"/>
                    <a:gd name="connsiteX670" fmla="*/ 1221142 w 1653042"/>
                    <a:gd name="connsiteY670" fmla="*/ 429848 h 1452453"/>
                    <a:gd name="connsiteX671" fmla="*/ 1220839 w 1653042"/>
                    <a:gd name="connsiteY671" fmla="*/ 430613 h 1452453"/>
                    <a:gd name="connsiteX672" fmla="*/ 1221458 w 1653042"/>
                    <a:gd name="connsiteY672" fmla="*/ 431451 h 1452453"/>
                    <a:gd name="connsiteX673" fmla="*/ 1224628 w 1653042"/>
                    <a:gd name="connsiteY673" fmla="*/ 433564 h 1452453"/>
                    <a:gd name="connsiteX674" fmla="*/ 1224798 w 1653042"/>
                    <a:gd name="connsiteY674" fmla="*/ 433454 h 1452453"/>
                    <a:gd name="connsiteX675" fmla="*/ 1226060 w 1653042"/>
                    <a:gd name="connsiteY675" fmla="*/ 431572 h 1452453"/>
                    <a:gd name="connsiteX676" fmla="*/ 1226838 w 1653042"/>
                    <a:gd name="connsiteY676" fmla="*/ 430747 h 1452453"/>
                    <a:gd name="connsiteX677" fmla="*/ 1228598 w 1653042"/>
                    <a:gd name="connsiteY677" fmla="*/ 429569 h 1452453"/>
                    <a:gd name="connsiteX678" fmla="*/ 1231391 w 1653042"/>
                    <a:gd name="connsiteY678" fmla="*/ 428621 h 1452453"/>
                    <a:gd name="connsiteX679" fmla="*/ 1234415 w 1653042"/>
                    <a:gd name="connsiteY679" fmla="*/ 429423 h 1452453"/>
                    <a:gd name="connsiteX680" fmla="*/ 1237208 w 1653042"/>
                    <a:gd name="connsiteY680" fmla="*/ 432021 h 1452453"/>
                    <a:gd name="connsiteX681" fmla="*/ 1237548 w 1653042"/>
                    <a:gd name="connsiteY681" fmla="*/ 435956 h 1452453"/>
                    <a:gd name="connsiteX682" fmla="*/ 1236430 w 1653042"/>
                    <a:gd name="connsiteY682" fmla="*/ 438530 h 1452453"/>
                    <a:gd name="connsiteX683" fmla="*/ 1233213 w 1653042"/>
                    <a:gd name="connsiteY683" fmla="*/ 442732 h 1452453"/>
                    <a:gd name="connsiteX684" fmla="*/ 1229788 w 1653042"/>
                    <a:gd name="connsiteY684" fmla="*/ 445743 h 1452453"/>
                    <a:gd name="connsiteX685" fmla="*/ 1229302 w 1653042"/>
                    <a:gd name="connsiteY685" fmla="*/ 446824 h 1452453"/>
                    <a:gd name="connsiteX686" fmla="*/ 1229011 w 1653042"/>
                    <a:gd name="connsiteY686" fmla="*/ 449131 h 1452453"/>
                    <a:gd name="connsiteX687" fmla="*/ 1228258 w 1653042"/>
                    <a:gd name="connsiteY687" fmla="*/ 451207 h 1452453"/>
                    <a:gd name="connsiteX688" fmla="*/ 1226388 w 1653042"/>
                    <a:gd name="connsiteY688" fmla="*/ 453515 h 1452453"/>
                    <a:gd name="connsiteX689" fmla="*/ 1227372 w 1653042"/>
                    <a:gd name="connsiteY689" fmla="*/ 454425 h 1452453"/>
                    <a:gd name="connsiteX690" fmla="*/ 1228999 w 1653042"/>
                    <a:gd name="connsiteY690" fmla="*/ 457424 h 1452453"/>
                    <a:gd name="connsiteX691" fmla="*/ 1229388 w 1653042"/>
                    <a:gd name="connsiteY691" fmla="*/ 458262 h 1452453"/>
                    <a:gd name="connsiteX692" fmla="*/ 1228829 w 1653042"/>
                    <a:gd name="connsiteY692" fmla="*/ 461699 h 1452453"/>
                    <a:gd name="connsiteX693" fmla="*/ 1226242 w 1653042"/>
                    <a:gd name="connsiteY693" fmla="*/ 463970 h 1452453"/>
                    <a:gd name="connsiteX694" fmla="*/ 1226194 w 1653042"/>
                    <a:gd name="connsiteY694" fmla="*/ 464310 h 1452453"/>
                    <a:gd name="connsiteX695" fmla="*/ 1225854 w 1653042"/>
                    <a:gd name="connsiteY695" fmla="*/ 464880 h 1452453"/>
                    <a:gd name="connsiteX696" fmla="*/ 1224858 w 1653042"/>
                    <a:gd name="connsiteY696" fmla="*/ 465548 h 1452453"/>
                    <a:gd name="connsiteX697" fmla="*/ 1223352 w 1653042"/>
                    <a:gd name="connsiteY697" fmla="*/ 466337 h 1452453"/>
                    <a:gd name="connsiteX698" fmla="*/ 1221628 w 1653042"/>
                    <a:gd name="connsiteY698" fmla="*/ 466762 h 1452453"/>
                    <a:gd name="connsiteX699" fmla="*/ 1218155 w 1653042"/>
                    <a:gd name="connsiteY699" fmla="*/ 466374 h 1452453"/>
                    <a:gd name="connsiteX700" fmla="*/ 1217973 w 1653042"/>
                    <a:gd name="connsiteY700" fmla="*/ 466957 h 1452453"/>
                    <a:gd name="connsiteX701" fmla="*/ 1218422 w 1653042"/>
                    <a:gd name="connsiteY701" fmla="*/ 468839 h 1452453"/>
                    <a:gd name="connsiteX702" fmla="*/ 1223316 w 1653042"/>
                    <a:gd name="connsiteY702" fmla="*/ 471717 h 1452453"/>
                    <a:gd name="connsiteX703" fmla="*/ 1225113 w 1653042"/>
                    <a:gd name="connsiteY703" fmla="*/ 473502 h 1452453"/>
                    <a:gd name="connsiteX704" fmla="*/ 1226631 w 1653042"/>
                    <a:gd name="connsiteY704" fmla="*/ 475772 h 1452453"/>
                    <a:gd name="connsiteX705" fmla="*/ 1226801 w 1653042"/>
                    <a:gd name="connsiteY705" fmla="*/ 478250 h 1452453"/>
                    <a:gd name="connsiteX706" fmla="*/ 1227056 w 1653042"/>
                    <a:gd name="connsiteY706" fmla="*/ 479986 h 1452453"/>
                    <a:gd name="connsiteX707" fmla="*/ 1227639 w 1653042"/>
                    <a:gd name="connsiteY707" fmla="*/ 481892 h 1452453"/>
                    <a:gd name="connsiteX708" fmla="*/ 1228173 w 1653042"/>
                    <a:gd name="connsiteY708" fmla="*/ 482512 h 1452453"/>
                    <a:gd name="connsiteX709" fmla="*/ 1229120 w 1653042"/>
                    <a:gd name="connsiteY709" fmla="*/ 482949 h 1452453"/>
                    <a:gd name="connsiteX710" fmla="*/ 1245538 w 1653042"/>
                    <a:gd name="connsiteY710" fmla="*/ 480715 h 1452453"/>
                    <a:gd name="connsiteX711" fmla="*/ 1252593 w 1653042"/>
                    <a:gd name="connsiteY711" fmla="*/ 481273 h 1452453"/>
                    <a:gd name="connsiteX712" fmla="*/ 1257620 w 1653042"/>
                    <a:gd name="connsiteY712" fmla="*/ 486300 h 1452453"/>
                    <a:gd name="connsiteX713" fmla="*/ 1262210 w 1653042"/>
                    <a:gd name="connsiteY713" fmla="*/ 489470 h 1452453"/>
                    <a:gd name="connsiteX714" fmla="*/ 1265501 w 1653042"/>
                    <a:gd name="connsiteY714" fmla="*/ 487126 h 1452453"/>
                    <a:gd name="connsiteX715" fmla="*/ 1265707 w 1653042"/>
                    <a:gd name="connsiteY715" fmla="*/ 486750 h 1452453"/>
                    <a:gd name="connsiteX716" fmla="*/ 1264857 w 1653042"/>
                    <a:gd name="connsiteY716" fmla="*/ 484867 h 1452453"/>
                    <a:gd name="connsiteX717" fmla="*/ 1264226 w 1653042"/>
                    <a:gd name="connsiteY717" fmla="*/ 482354 h 1452453"/>
                    <a:gd name="connsiteX718" fmla="*/ 1263873 w 1653042"/>
                    <a:gd name="connsiteY718" fmla="*/ 479221 h 1452453"/>
                    <a:gd name="connsiteX719" fmla="*/ 1263521 w 1653042"/>
                    <a:gd name="connsiteY719" fmla="*/ 478225 h 1452453"/>
                    <a:gd name="connsiteX720" fmla="*/ 1261724 w 1653042"/>
                    <a:gd name="connsiteY720" fmla="*/ 477242 h 1452453"/>
                    <a:gd name="connsiteX721" fmla="*/ 1261105 w 1653042"/>
                    <a:gd name="connsiteY721" fmla="*/ 476792 h 1452453"/>
                    <a:gd name="connsiteX722" fmla="*/ 1259405 w 1653042"/>
                    <a:gd name="connsiteY722" fmla="*/ 473247 h 1452453"/>
                    <a:gd name="connsiteX723" fmla="*/ 1259320 w 1653042"/>
                    <a:gd name="connsiteY723" fmla="*/ 469883 h 1452453"/>
                    <a:gd name="connsiteX724" fmla="*/ 1259575 w 1653042"/>
                    <a:gd name="connsiteY724" fmla="*/ 465487 h 1452453"/>
                    <a:gd name="connsiteX725" fmla="*/ 1259235 w 1653042"/>
                    <a:gd name="connsiteY725" fmla="*/ 463168 h 1452453"/>
                    <a:gd name="connsiteX726" fmla="*/ 1256867 w 1653042"/>
                    <a:gd name="connsiteY726" fmla="*/ 456939 h 1452453"/>
                    <a:gd name="connsiteX727" fmla="*/ 1255288 w 1653042"/>
                    <a:gd name="connsiteY727" fmla="*/ 450952 h 1452453"/>
                    <a:gd name="connsiteX728" fmla="*/ 1255143 w 1653042"/>
                    <a:gd name="connsiteY728" fmla="*/ 447455 h 1452453"/>
                    <a:gd name="connsiteX729" fmla="*/ 1255580 w 1653042"/>
                    <a:gd name="connsiteY729" fmla="*/ 444662 h 1452453"/>
                    <a:gd name="connsiteX730" fmla="*/ 1256333 w 1653042"/>
                    <a:gd name="connsiteY730" fmla="*/ 441687 h 1452453"/>
                    <a:gd name="connsiteX731" fmla="*/ 1257195 w 1653042"/>
                    <a:gd name="connsiteY731" fmla="*/ 439550 h 1452453"/>
                    <a:gd name="connsiteX732" fmla="*/ 1258336 w 1653042"/>
                    <a:gd name="connsiteY732" fmla="*/ 437729 h 1452453"/>
                    <a:gd name="connsiteX733" fmla="*/ 1259381 w 1653042"/>
                    <a:gd name="connsiteY733" fmla="*/ 437109 h 1452453"/>
                    <a:gd name="connsiteX734" fmla="*/ 1260813 w 1653042"/>
                    <a:gd name="connsiteY734" fmla="*/ 436429 h 1452453"/>
                    <a:gd name="connsiteX735" fmla="*/ 1262441 w 1653042"/>
                    <a:gd name="connsiteY735" fmla="*/ 436101 h 1452453"/>
                    <a:gd name="connsiteX736" fmla="*/ 1262926 w 1653042"/>
                    <a:gd name="connsiteY736" fmla="*/ 436065 h 1452453"/>
                    <a:gd name="connsiteX737" fmla="*/ 1264468 w 1653042"/>
                    <a:gd name="connsiteY737" fmla="*/ 436138 h 1452453"/>
                    <a:gd name="connsiteX738" fmla="*/ 1268512 w 1653042"/>
                    <a:gd name="connsiteY738" fmla="*/ 437231 h 1452453"/>
                    <a:gd name="connsiteX739" fmla="*/ 1269508 w 1653042"/>
                    <a:gd name="connsiteY739" fmla="*/ 437316 h 1452453"/>
                    <a:gd name="connsiteX740" fmla="*/ 1270564 w 1653042"/>
                    <a:gd name="connsiteY740" fmla="*/ 437146 h 1452453"/>
                    <a:gd name="connsiteX741" fmla="*/ 1271196 w 1653042"/>
                    <a:gd name="connsiteY741" fmla="*/ 436867 h 1452453"/>
                    <a:gd name="connsiteX742" fmla="*/ 1272495 w 1653042"/>
                    <a:gd name="connsiteY742" fmla="*/ 435786 h 1452453"/>
                    <a:gd name="connsiteX743" fmla="*/ 1273709 w 1653042"/>
                    <a:gd name="connsiteY743" fmla="*/ 435227 h 1452453"/>
                    <a:gd name="connsiteX744" fmla="*/ 1276029 w 1653042"/>
                    <a:gd name="connsiteY744" fmla="*/ 434863 h 1452453"/>
                    <a:gd name="connsiteX745" fmla="*/ 1280036 w 1653042"/>
                    <a:gd name="connsiteY745" fmla="*/ 435628 h 1452453"/>
                    <a:gd name="connsiteX746" fmla="*/ 1286872 w 1653042"/>
                    <a:gd name="connsiteY746" fmla="*/ 441226 h 1452453"/>
                    <a:gd name="connsiteX747" fmla="*/ 1288317 w 1653042"/>
                    <a:gd name="connsiteY747" fmla="*/ 441226 h 1452453"/>
                    <a:gd name="connsiteX748" fmla="*/ 1289362 w 1653042"/>
                    <a:gd name="connsiteY748" fmla="*/ 440971 h 1452453"/>
                    <a:gd name="connsiteX749" fmla="*/ 1290260 w 1653042"/>
                    <a:gd name="connsiteY749" fmla="*/ 439878 h 1452453"/>
                    <a:gd name="connsiteX750" fmla="*/ 1290527 w 1653042"/>
                    <a:gd name="connsiteY750" fmla="*/ 438785 h 1452453"/>
                    <a:gd name="connsiteX751" fmla="*/ 1290382 w 1653042"/>
                    <a:gd name="connsiteY751" fmla="*/ 438214 h 1452453"/>
                    <a:gd name="connsiteX752" fmla="*/ 1289495 w 1653042"/>
                    <a:gd name="connsiteY752" fmla="*/ 437219 h 1452453"/>
                    <a:gd name="connsiteX753" fmla="*/ 1288718 w 1653042"/>
                    <a:gd name="connsiteY753" fmla="*/ 437000 h 1452453"/>
                    <a:gd name="connsiteX754" fmla="*/ 1286180 w 1653042"/>
                    <a:gd name="connsiteY754" fmla="*/ 436041 h 1452453"/>
                    <a:gd name="connsiteX755" fmla="*/ 1284104 w 1653042"/>
                    <a:gd name="connsiteY755" fmla="*/ 434389 h 1452453"/>
                    <a:gd name="connsiteX756" fmla="*/ 1283460 w 1653042"/>
                    <a:gd name="connsiteY756" fmla="*/ 433782 h 1452453"/>
                    <a:gd name="connsiteX757" fmla="*/ 1282404 w 1653042"/>
                    <a:gd name="connsiteY757" fmla="*/ 429496 h 1452453"/>
                    <a:gd name="connsiteX758" fmla="*/ 1284808 w 1653042"/>
                    <a:gd name="connsiteY758" fmla="*/ 426776 h 1452453"/>
                    <a:gd name="connsiteX759" fmla="*/ 1286629 w 1653042"/>
                    <a:gd name="connsiteY759" fmla="*/ 425974 h 1452453"/>
                    <a:gd name="connsiteX760" fmla="*/ 1288414 w 1653042"/>
                    <a:gd name="connsiteY760" fmla="*/ 425574 h 1452453"/>
                    <a:gd name="connsiteX761" fmla="*/ 1286131 w 1653042"/>
                    <a:gd name="connsiteY761" fmla="*/ 424396 h 1452453"/>
                    <a:gd name="connsiteX762" fmla="*/ 1283958 w 1653042"/>
                    <a:gd name="connsiteY762" fmla="*/ 422538 h 1452453"/>
                    <a:gd name="connsiteX763" fmla="*/ 1281869 w 1653042"/>
                    <a:gd name="connsiteY763" fmla="*/ 419417 h 1452453"/>
                    <a:gd name="connsiteX764" fmla="*/ 1281262 w 1653042"/>
                    <a:gd name="connsiteY764" fmla="*/ 414317 h 1452453"/>
                    <a:gd name="connsiteX765" fmla="*/ 1283496 w 1653042"/>
                    <a:gd name="connsiteY765" fmla="*/ 411172 h 1452453"/>
                    <a:gd name="connsiteX766" fmla="*/ 1285561 w 1653042"/>
                    <a:gd name="connsiteY766" fmla="*/ 410504 h 1452453"/>
                    <a:gd name="connsiteX767" fmla="*/ 1287783 w 1653042"/>
                    <a:gd name="connsiteY767" fmla="*/ 410601 h 1452453"/>
                    <a:gd name="connsiteX768" fmla="*/ 1289957 w 1653042"/>
                    <a:gd name="connsiteY768" fmla="*/ 411573 h 1452453"/>
                    <a:gd name="connsiteX769" fmla="*/ 1291899 w 1653042"/>
                    <a:gd name="connsiteY769" fmla="*/ 412180 h 1452453"/>
                    <a:gd name="connsiteX770" fmla="*/ 1293757 w 1653042"/>
                    <a:gd name="connsiteY770" fmla="*/ 413236 h 1452453"/>
                    <a:gd name="connsiteX771" fmla="*/ 1295287 w 1653042"/>
                    <a:gd name="connsiteY771" fmla="*/ 414693 h 1452453"/>
                    <a:gd name="connsiteX772" fmla="*/ 1296429 w 1653042"/>
                    <a:gd name="connsiteY772" fmla="*/ 416563 h 1452453"/>
                    <a:gd name="connsiteX773" fmla="*/ 1297121 w 1653042"/>
                    <a:gd name="connsiteY773" fmla="*/ 418312 h 1452453"/>
                    <a:gd name="connsiteX774" fmla="*/ 1297570 w 1653042"/>
                    <a:gd name="connsiteY774" fmla="*/ 419041 h 1452453"/>
                    <a:gd name="connsiteX775" fmla="*/ 1297959 w 1653042"/>
                    <a:gd name="connsiteY775" fmla="*/ 419320 h 1452453"/>
                    <a:gd name="connsiteX776" fmla="*/ 1305852 w 1653042"/>
                    <a:gd name="connsiteY776" fmla="*/ 418045 h 1452453"/>
                    <a:gd name="connsiteX777" fmla="*/ 1308887 w 1653042"/>
                    <a:gd name="connsiteY777" fmla="*/ 417134 h 1452453"/>
                    <a:gd name="connsiteX778" fmla="*/ 1313016 w 1653042"/>
                    <a:gd name="connsiteY778" fmla="*/ 417122 h 1452453"/>
                    <a:gd name="connsiteX779" fmla="*/ 1315833 w 1653042"/>
                    <a:gd name="connsiteY779" fmla="*/ 418895 h 1452453"/>
                    <a:gd name="connsiteX780" fmla="*/ 1320957 w 1653042"/>
                    <a:gd name="connsiteY780" fmla="*/ 426290 h 1452453"/>
                    <a:gd name="connsiteX781" fmla="*/ 1322135 w 1653042"/>
                    <a:gd name="connsiteY781" fmla="*/ 428609 h 1452453"/>
                    <a:gd name="connsiteX782" fmla="*/ 1322354 w 1653042"/>
                    <a:gd name="connsiteY782" fmla="*/ 432009 h 1452453"/>
                    <a:gd name="connsiteX783" fmla="*/ 1319925 w 1653042"/>
                    <a:gd name="connsiteY783" fmla="*/ 433430 h 1452453"/>
                    <a:gd name="connsiteX784" fmla="*/ 1319015 w 1653042"/>
                    <a:gd name="connsiteY784" fmla="*/ 433588 h 1452453"/>
                    <a:gd name="connsiteX785" fmla="*/ 1319549 w 1653042"/>
                    <a:gd name="connsiteY785" fmla="*/ 434110 h 1452453"/>
                    <a:gd name="connsiteX786" fmla="*/ 1320290 w 1653042"/>
                    <a:gd name="connsiteY786" fmla="*/ 435033 h 1452453"/>
                    <a:gd name="connsiteX787" fmla="*/ 1321018 w 1653042"/>
                    <a:gd name="connsiteY787" fmla="*/ 437182 h 1452453"/>
                    <a:gd name="connsiteX788" fmla="*/ 1320909 w 1653042"/>
                    <a:gd name="connsiteY788" fmla="*/ 438761 h 1452453"/>
                    <a:gd name="connsiteX789" fmla="*/ 1319512 w 1653042"/>
                    <a:gd name="connsiteY789" fmla="*/ 440133 h 1452453"/>
                    <a:gd name="connsiteX790" fmla="*/ 1318031 w 1653042"/>
                    <a:gd name="connsiteY790" fmla="*/ 440922 h 1452453"/>
                    <a:gd name="connsiteX791" fmla="*/ 1317776 w 1653042"/>
                    <a:gd name="connsiteY791" fmla="*/ 440995 h 1452453"/>
                    <a:gd name="connsiteX792" fmla="*/ 1321225 w 1653042"/>
                    <a:gd name="connsiteY792" fmla="*/ 442574 h 1452453"/>
                    <a:gd name="connsiteX793" fmla="*/ 1322172 w 1653042"/>
                    <a:gd name="connsiteY793" fmla="*/ 442549 h 1452453"/>
                    <a:gd name="connsiteX794" fmla="*/ 1324151 w 1653042"/>
                    <a:gd name="connsiteY794" fmla="*/ 442392 h 1452453"/>
                    <a:gd name="connsiteX795" fmla="*/ 1326810 w 1653042"/>
                    <a:gd name="connsiteY795" fmla="*/ 442768 h 1452453"/>
                    <a:gd name="connsiteX796" fmla="*/ 1328996 w 1653042"/>
                    <a:gd name="connsiteY796" fmla="*/ 444504 h 1452453"/>
                    <a:gd name="connsiteX797" fmla="*/ 1330040 w 1653042"/>
                    <a:gd name="connsiteY797" fmla="*/ 446945 h 1452453"/>
                    <a:gd name="connsiteX798" fmla="*/ 1332032 w 1653042"/>
                    <a:gd name="connsiteY798" fmla="*/ 454826 h 1452453"/>
                    <a:gd name="connsiteX799" fmla="*/ 1332566 w 1653042"/>
                    <a:gd name="connsiteY799" fmla="*/ 455967 h 1452453"/>
                    <a:gd name="connsiteX800" fmla="*/ 1333064 w 1653042"/>
                    <a:gd name="connsiteY800" fmla="*/ 456672 h 1452453"/>
                    <a:gd name="connsiteX801" fmla="*/ 1333343 w 1653042"/>
                    <a:gd name="connsiteY801" fmla="*/ 456477 h 1452453"/>
                    <a:gd name="connsiteX802" fmla="*/ 1335772 w 1653042"/>
                    <a:gd name="connsiteY802" fmla="*/ 453126 h 1452453"/>
                    <a:gd name="connsiteX803" fmla="*/ 1336646 w 1653042"/>
                    <a:gd name="connsiteY803" fmla="*/ 452252 h 1452453"/>
                    <a:gd name="connsiteX804" fmla="*/ 1338213 w 1653042"/>
                    <a:gd name="connsiteY804" fmla="*/ 451195 h 1452453"/>
                    <a:gd name="connsiteX805" fmla="*/ 1340629 w 1653042"/>
                    <a:gd name="connsiteY805" fmla="*/ 450151 h 1452453"/>
                    <a:gd name="connsiteX806" fmla="*/ 1343118 w 1653042"/>
                    <a:gd name="connsiteY806" fmla="*/ 449410 h 1452453"/>
                    <a:gd name="connsiteX807" fmla="*/ 1347745 w 1653042"/>
                    <a:gd name="connsiteY807" fmla="*/ 448912 h 1452453"/>
                    <a:gd name="connsiteX808" fmla="*/ 1348983 w 1653042"/>
                    <a:gd name="connsiteY808" fmla="*/ 448633 h 1452453"/>
                    <a:gd name="connsiteX809" fmla="*/ 1347332 w 1653042"/>
                    <a:gd name="connsiteY809" fmla="*/ 445209 h 1452453"/>
                    <a:gd name="connsiteX810" fmla="*/ 1346555 w 1653042"/>
                    <a:gd name="connsiteY810" fmla="*/ 443096 h 1452453"/>
                    <a:gd name="connsiteX811" fmla="*/ 1346142 w 1653042"/>
                    <a:gd name="connsiteY811" fmla="*/ 440922 h 1452453"/>
                    <a:gd name="connsiteX812" fmla="*/ 1346166 w 1653042"/>
                    <a:gd name="connsiteY812" fmla="*/ 439040 h 1452453"/>
                    <a:gd name="connsiteX813" fmla="*/ 1346506 w 1653042"/>
                    <a:gd name="connsiteY813" fmla="*/ 437304 h 1452453"/>
                    <a:gd name="connsiteX814" fmla="*/ 1347198 w 1653042"/>
                    <a:gd name="connsiteY814" fmla="*/ 435604 h 1452453"/>
                    <a:gd name="connsiteX815" fmla="*/ 1348704 w 1653042"/>
                    <a:gd name="connsiteY815" fmla="*/ 433770 h 1452453"/>
                    <a:gd name="connsiteX816" fmla="*/ 1350453 w 1653042"/>
                    <a:gd name="connsiteY816" fmla="*/ 432289 h 1452453"/>
                    <a:gd name="connsiteX817" fmla="*/ 1353768 w 1653042"/>
                    <a:gd name="connsiteY817" fmla="*/ 430419 h 1452453"/>
                    <a:gd name="connsiteX818" fmla="*/ 1354848 w 1653042"/>
                    <a:gd name="connsiteY818" fmla="*/ 429471 h 1452453"/>
                    <a:gd name="connsiteX819" fmla="*/ 1356488 w 1653042"/>
                    <a:gd name="connsiteY819" fmla="*/ 427674 h 1452453"/>
                    <a:gd name="connsiteX820" fmla="*/ 1358248 w 1653042"/>
                    <a:gd name="connsiteY820" fmla="*/ 426399 h 1452453"/>
                    <a:gd name="connsiteX821" fmla="*/ 1360750 w 1653042"/>
                    <a:gd name="connsiteY821" fmla="*/ 425246 h 1452453"/>
                    <a:gd name="connsiteX822" fmla="*/ 1363664 w 1653042"/>
                    <a:gd name="connsiteY822" fmla="*/ 422951 h 1452453"/>
                    <a:gd name="connsiteX823" fmla="*/ 1364757 w 1653042"/>
                    <a:gd name="connsiteY823" fmla="*/ 421931 h 1452453"/>
                    <a:gd name="connsiteX824" fmla="*/ 1369262 w 1653042"/>
                    <a:gd name="connsiteY824" fmla="*/ 419150 h 1452453"/>
                    <a:gd name="connsiteX825" fmla="*/ 1373184 w 1653042"/>
                    <a:gd name="connsiteY825" fmla="*/ 414305 h 1452453"/>
                    <a:gd name="connsiteX826" fmla="*/ 1373913 w 1653042"/>
                    <a:gd name="connsiteY826" fmla="*/ 411961 h 1452453"/>
                    <a:gd name="connsiteX827" fmla="*/ 1375503 w 1653042"/>
                    <a:gd name="connsiteY827" fmla="*/ 409496 h 1452453"/>
                    <a:gd name="connsiteX828" fmla="*/ 1377252 w 1653042"/>
                    <a:gd name="connsiteY828" fmla="*/ 407626 h 1452453"/>
                    <a:gd name="connsiteX829" fmla="*/ 1381818 w 1653042"/>
                    <a:gd name="connsiteY829" fmla="*/ 404712 h 1452453"/>
                    <a:gd name="connsiteX830" fmla="*/ 1383979 w 1653042"/>
                    <a:gd name="connsiteY830" fmla="*/ 403911 h 1452453"/>
                    <a:gd name="connsiteX831" fmla="*/ 1386517 w 1653042"/>
                    <a:gd name="connsiteY831" fmla="*/ 403668 h 1452453"/>
                    <a:gd name="connsiteX832" fmla="*/ 1388727 w 1653042"/>
                    <a:gd name="connsiteY832" fmla="*/ 404080 h 1452453"/>
                    <a:gd name="connsiteX833" fmla="*/ 1390694 w 1653042"/>
                    <a:gd name="connsiteY833" fmla="*/ 404991 h 1452453"/>
                    <a:gd name="connsiteX834" fmla="*/ 1392734 w 1653042"/>
                    <a:gd name="connsiteY834" fmla="*/ 406703 h 1452453"/>
                    <a:gd name="connsiteX835" fmla="*/ 1393864 w 1653042"/>
                    <a:gd name="connsiteY835" fmla="*/ 408088 h 1452453"/>
                    <a:gd name="connsiteX836" fmla="*/ 1395928 w 1653042"/>
                    <a:gd name="connsiteY836" fmla="*/ 411415 h 1452453"/>
                    <a:gd name="connsiteX837" fmla="*/ 1397215 w 1653042"/>
                    <a:gd name="connsiteY837" fmla="*/ 412702 h 1452453"/>
                    <a:gd name="connsiteX838" fmla="*/ 1404052 w 1653042"/>
                    <a:gd name="connsiteY838" fmla="*/ 418008 h 1452453"/>
                    <a:gd name="connsiteX839" fmla="*/ 1406152 w 1653042"/>
                    <a:gd name="connsiteY839" fmla="*/ 420279 h 1452453"/>
                    <a:gd name="connsiteX840" fmla="*/ 1407658 w 1653042"/>
                    <a:gd name="connsiteY840" fmla="*/ 423230 h 1452453"/>
                    <a:gd name="connsiteX841" fmla="*/ 1408229 w 1653042"/>
                    <a:gd name="connsiteY841" fmla="*/ 426254 h 1452453"/>
                    <a:gd name="connsiteX842" fmla="*/ 1408083 w 1653042"/>
                    <a:gd name="connsiteY842" fmla="*/ 429447 h 1452453"/>
                    <a:gd name="connsiteX843" fmla="*/ 1404756 w 1653042"/>
                    <a:gd name="connsiteY843" fmla="*/ 441226 h 1452453"/>
                    <a:gd name="connsiteX844" fmla="*/ 1404270 w 1653042"/>
                    <a:gd name="connsiteY844" fmla="*/ 444225 h 1452453"/>
                    <a:gd name="connsiteX845" fmla="*/ 1404416 w 1653042"/>
                    <a:gd name="connsiteY845" fmla="*/ 447285 h 1452453"/>
                    <a:gd name="connsiteX846" fmla="*/ 1405096 w 1653042"/>
                    <a:gd name="connsiteY846" fmla="*/ 450272 h 1452453"/>
                    <a:gd name="connsiteX847" fmla="*/ 1406456 w 1653042"/>
                    <a:gd name="connsiteY847" fmla="*/ 453284 h 1452453"/>
                    <a:gd name="connsiteX848" fmla="*/ 1407136 w 1653042"/>
                    <a:gd name="connsiteY848" fmla="*/ 455664 h 1452453"/>
                    <a:gd name="connsiteX849" fmla="*/ 1407476 w 1653042"/>
                    <a:gd name="connsiteY849" fmla="*/ 457582 h 1452453"/>
                    <a:gd name="connsiteX850" fmla="*/ 1407221 w 1653042"/>
                    <a:gd name="connsiteY850" fmla="*/ 459950 h 1452453"/>
                    <a:gd name="connsiteX851" fmla="*/ 1406845 w 1653042"/>
                    <a:gd name="connsiteY851" fmla="*/ 461444 h 1452453"/>
                    <a:gd name="connsiteX852" fmla="*/ 1406820 w 1653042"/>
                    <a:gd name="connsiteY852" fmla="*/ 462573 h 1452453"/>
                    <a:gd name="connsiteX853" fmla="*/ 1406929 w 1653042"/>
                    <a:gd name="connsiteY853" fmla="*/ 464334 h 1452453"/>
                    <a:gd name="connsiteX854" fmla="*/ 1407913 w 1653042"/>
                    <a:gd name="connsiteY854" fmla="*/ 466677 h 1452453"/>
                    <a:gd name="connsiteX855" fmla="*/ 1408423 w 1653042"/>
                    <a:gd name="connsiteY855" fmla="*/ 469070 h 1452453"/>
                    <a:gd name="connsiteX856" fmla="*/ 1408545 w 1653042"/>
                    <a:gd name="connsiteY856" fmla="*/ 471255 h 1452453"/>
                    <a:gd name="connsiteX857" fmla="*/ 1407925 w 1653042"/>
                    <a:gd name="connsiteY857" fmla="*/ 474910 h 1452453"/>
                    <a:gd name="connsiteX858" fmla="*/ 1408654 w 1653042"/>
                    <a:gd name="connsiteY858" fmla="*/ 481225 h 1452453"/>
                    <a:gd name="connsiteX859" fmla="*/ 1408374 w 1653042"/>
                    <a:gd name="connsiteY859" fmla="*/ 483702 h 1452453"/>
                    <a:gd name="connsiteX860" fmla="*/ 1407949 w 1653042"/>
                    <a:gd name="connsiteY860" fmla="*/ 485050 h 1452453"/>
                    <a:gd name="connsiteX861" fmla="*/ 1407197 w 1653042"/>
                    <a:gd name="connsiteY861" fmla="*/ 486652 h 1452453"/>
                    <a:gd name="connsiteX862" fmla="*/ 1403493 w 1653042"/>
                    <a:gd name="connsiteY862" fmla="*/ 491874 h 1452453"/>
                    <a:gd name="connsiteX863" fmla="*/ 1403129 w 1653042"/>
                    <a:gd name="connsiteY863" fmla="*/ 492870 h 1452453"/>
                    <a:gd name="connsiteX864" fmla="*/ 1400566 w 1653042"/>
                    <a:gd name="connsiteY864" fmla="*/ 506615 h 1452453"/>
                    <a:gd name="connsiteX865" fmla="*/ 1400591 w 1653042"/>
                    <a:gd name="connsiteY865" fmla="*/ 507138 h 1452453"/>
                    <a:gd name="connsiteX866" fmla="*/ 1400979 w 1653042"/>
                    <a:gd name="connsiteY866" fmla="*/ 507830 h 1452453"/>
                    <a:gd name="connsiteX867" fmla="*/ 1401587 w 1653042"/>
                    <a:gd name="connsiteY867" fmla="*/ 508643 h 1452453"/>
                    <a:gd name="connsiteX868" fmla="*/ 1402157 w 1653042"/>
                    <a:gd name="connsiteY868" fmla="*/ 509105 h 1452453"/>
                    <a:gd name="connsiteX869" fmla="*/ 1403894 w 1653042"/>
                    <a:gd name="connsiteY869" fmla="*/ 511460 h 1452453"/>
                    <a:gd name="connsiteX870" fmla="*/ 1404149 w 1653042"/>
                    <a:gd name="connsiteY870" fmla="*/ 513525 h 1452453"/>
                    <a:gd name="connsiteX871" fmla="*/ 1403420 w 1653042"/>
                    <a:gd name="connsiteY871" fmla="*/ 515407 h 1452453"/>
                    <a:gd name="connsiteX872" fmla="*/ 1402849 w 1653042"/>
                    <a:gd name="connsiteY872" fmla="*/ 516099 h 1452453"/>
                    <a:gd name="connsiteX873" fmla="*/ 1401599 w 1653042"/>
                    <a:gd name="connsiteY873" fmla="*/ 516852 h 1452453"/>
                    <a:gd name="connsiteX874" fmla="*/ 1399255 w 1653042"/>
                    <a:gd name="connsiteY874" fmla="*/ 517593 h 1452453"/>
                    <a:gd name="connsiteX875" fmla="*/ 1399546 w 1653042"/>
                    <a:gd name="connsiteY875" fmla="*/ 517714 h 1452453"/>
                    <a:gd name="connsiteX876" fmla="*/ 1404027 w 1653042"/>
                    <a:gd name="connsiteY876" fmla="*/ 516111 h 1452453"/>
                    <a:gd name="connsiteX877" fmla="*/ 1409662 w 1653042"/>
                    <a:gd name="connsiteY877" fmla="*/ 516136 h 1452453"/>
                    <a:gd name="connsiteX878" fmla="*/ 1410293 w 1653042"/>
                    <a:gd name="connsiteY878" fmla="*/ 515322 h 1452453"/>
                    <a:gd name="connsiteX879" fmla="*/ 1412187 w 1653042"/>
                    <a:gd name="connsiteY879" fmla="*/ 510428 h 1452453"/>
                    <a:gd name="connsiteX880" fmla="*/ 1415417 w 1653042"/>
                    <a:gd name="connsiteY880" fmla="*/ 506409 h 1452453"/>
                    <a:gd name="connsiteX881" fmla="*/ 1418732 w 1653042"/>
                    <a:gd name="connsiteY881" fmla="*/ 504903 h 1452453"/>
                    <a:gd name="connsiteX882" fmla="*/ 1425095 w 1653042"/>
                    <a:gd name="connsiteY882" fmla="*/ 504151 h 1452453"/>
                    <a:gd name="connsiteX883" fmla="*/ 1421294 w 1653042"/>
                    <a:gd name="connsiteY883" fmla="*/ 502499 h 1452453"/>
                    <a:gd name="connsiteX884" fmla="*/ 1419206 w 1653042"/>
                    <a:gd name="connsiteY884" fmla="*/ 499488 h 1452453"/>
                    <a:gd name="connsiteX885" fmla="*/ 1419109 w 1653042"/>
                    <a:gd name="connsiteY885" fmla="*/ 495663 h 1452453"/>
                    <a:gd name="connsiteX886" fmla="*/ 1421683 w 1653042"/>
                    <a:gd name="connsiteY886" fmla="*/ 490805 h 1452453"/>
                    <a:gd name="connsiteX887" fmla="*/ 1425678 w 1653042"/>
                    <a:gd name="connsiteY887" fmla="*/ 489336 h 1452453"/>
                    <a:gd name="connsiteX888" fmla="*/ 1428860 w 1653042"/>
                    <a:gd name="connsiteY888" fmla="*/ 489664 h 1452453"/>
                    <a:gd name="connsiteX889" fmla="*/ 1435902 w 1653042"/>
                    <a:gd name="connsiteY889" fmla="*/ 492420 h 1452453"/>
                    <a:gd name="connsiteX890" fmla="*/ 1438950 w 1653042"/>
                    <a:gd name="connsiteY890" fmla="*/ 493185 h 1452453"/>
                    <a:gd name="connsiteX891" fmla="*/ 1440153 w 1653042"/>
                    <a:gd name="connsiteY891" fmla="*/ 493015 h 1452453"/>
                    <a:gd name="connsiteX892" fmla="*/ 1441306 w 1653042"/>
                    <a:gd name="connsiteY892" fmla="*/ 492226 h 1452453"/>
                    <a:gd name="connsiteX893" fmla="*/ 1443468 w 1653042"/>
                    <a:gd name="connsiteY893" fmla="*/ 489372 h 1452453"/>
                    <a:gd name="connsiteX894" fmla="*/ 1444293 w 1653042"/>
                    <a:gd name="connsiteY894" fmla="*/ 488377 h 1452453"/>
                    <a:gd name="connsiteX895" fmla="*/ 1448288 w 1653042"/>
                    <a:gd name="connsiteY895" fmla="*/ 488037 h 1452453"/>
                    <a:gd name="connsiteX896" fmla="*/ 1450158 w 1653042"/>
                    <a:gd name="connsiteY896" fmla="*/ 490004 h 1452453"/>
                    <a:gd name="connsiteX897" fmla="*/ 1450559 w 1653042"/>
                    <a:gd name="connsiteY897" fmla="*/ 490793 h 1452453"/>
                    <a:gd name="connsiteX898" fmla="*/ 1451348 w 1653042"/>
                    <a:gd name="connsiteY898" fmla="*/ 488802 h 1452453"/>
                    <a:gd name="connsiteX899" fmla="*/ 1455659 w 1653042"/>
                    <a:gd name="connsiteY899" fmla="*/ 487903 h 1452453"/>
                    <a:gd name="connsiteX900" fmla="*/ 1457893 w 1653042"/>
                    <a:gd name="connsiteY900" fmla="*/ 489883 h 1452453"/>
                    <a:gd name="connsiteX901" fmla="*/ 1459508 w 1653042"/>
                    <a:gd name="connsiteY901" fmla="*/ 492311 h 1452453"/>
                    <a:gd name="connsiteX902" fmla="*/ 1462350 w 1653042"/>
                    <a:gd name="connsiteY902" fmla="*/ 488571 h 1452453"/>
                    <a:gd name="connsiteX903" fmla="*/ 1471226 w 1653042"/>
                    <a:gd name="connsiteY903" fmla="*/ 490150 h 1452453"/>
                    <a:gd name="connsiteX904" fmla="*/ 1474189 w 1653042"/>
                    <a:gd name="connsiteY904" fmla="*/ 500204 h 1452453"/>
                    <a:gd name="connsiteX905" fmla="*/ 1474638 w 1653042"/>
                    <a:gd name="connsiteY905" fmla="*/ 505826 h 1452453"/>
                    <a:gd name="connsiteX906" fmla="*/ 1474444 w 1653042"/>
                    <a:gd name="connsiteY906" fmla="*/ 510003 h 1452453"/>
                    <a:gd name="connsiteX907" fmla="*/ 1474699 w 1653042"/>
                    <a:gd name="connsiteY907" fmla="*/ 510647 h 1452453"/>
                    <a:gd name="connsiteX908" fmla="*/ 1473376 w 1653042"/>
                    <a:gd name="connsiteY908" fmla="*/ 511837 h 1452453"/>
                    <a:gd name="connsiteX909" fmla="*/ 1473315 w 1653042"/>
                    <a:gd name="connsiteY909" fmla="*/ 512869 h 1452453"/>
                    <a:gd name="connsiteX910" fmla="*/ 1475112 w 1653042"/>
                    <a:gd name="connsiteY910" fmla="*/ 510234 h 1452453"/>
                    <a:gd name="connsiteX911" fmla="*/ 1477541 w 1653042"/>
                    <a:gd name="connsiteY911" fmla="*/ 511679 h 1452453"/>
                    <a:gd name="connsiteX912" fmla="*/ 1478415 w 1653042"/>
                    <a:gd name="connsiteY912" fmla="*/ 512651 h 1452453"/>
                    <a:gd name="connsiteX913" fmla="*/ 1480188 w 1653042"/>
                    <a:gd name="connsiteY913" fmla="*/ 515346 h 1452453"/>
                    <a:gd name="connsiteX914" fmla="*/ 1481548 w 1653042"/>
                    <a:gd name="connsiteY914" fmla="*/ 520094 h 1452453"/>
                    <a:gd name="connsiteX915" fmla="*/ 1482070 w 1653042"/>
                    <a:gd name="connsiteY915" fmla="*/ 524490 h 1452453"/>
                    <a:gd name="connsiteX916" fmla="*/ 1481851 w 1653042"/>
                    <a:gd name="connsiteY916" fmla="*/ 526044 h 1452453"/>
                    <a:gd name="connsiteX917" fmla="*/ 1480516 w 1653042"/>
                    <a:gd name="connsiteY917" fmla="*/ 528752 h 1452453"/>
                    <a:gd name="connsiteX918" fmla="*/ 1478937 w 1653042"/>
                    <a:gd name="connsiteY918" fmla="*/ 530428 h 1452453"/>
                    <a:gd name="connsiteX919" fmla="*/ 1480686 w 1653042"/>
                    <a:gd name="connsiteY919" fmla="*/ 531751 h 1452453"/>
                    <a:gd name="connsiteX920" fmla="*/ 1482823 w 1653042"/>
                    <a:gd name="connsiteY920" fmla="*/ 534131 h 1452453"/>
                    <a:gd name="connsiteX921" fmla="*/ 1483284 w 1653042"/>
                    <a:gd name="connsiteY921" fmla="*/ 536038 h 1452453"/>
                    <a:gd name="connsiteX922" fmla="*/ 1483175 w 1653042"/>
                    <a:gd name="connsiteY922" fmla="*/ 538466 h 1452453"/>
                    <a:gd name="connsiteX923" fmla="*/ 1482592 w 1653042"/>
                    <a:gd name="connsiteY923" fmla="*/ 540810 h 1452453"/>
                    <a:gd name="connsiteX924" fmla="*/ 1482386 w 1653042"/>
                    <a:gd name="connsiteY924" fmla="*/ 543506 h 1452453"/>
                    <a:gd name="connsiteX925" fmla="*/ 1482884 w 1653042"/>
                    <a:gd name="connsiteY925" fmla="*/ 544356 h 1452453"/>
                    <a:gd name="connsiteX926" fmla="*/ 1483636 w 1653042"/>
                    <a:gd name="connsiteY926" fmla="*/ 545449 h 1452453"/>
                    <a:gd name="connsiteX927" fmla="*/ 1491238 w 1653042"/>
                    <a:gd name="connsiteY927" fmla="*/ 554107 h 1452453"/>
                    <a:gd name="connsiteX928" fmla="*/ 1494419 w 1653042"/>
                    <a:gd name="connsiteY928" fmla="*/ 559316 h 1452453"/>
                    <a:gd name="connsiteX929" fmla="*/ 1496884 w 1653042"/>
                    <a:gd name="connsiteY929" fmla="*/ 562291 h 1452453"/>
                    <a:gd name="connsiteX930" fmla="*/ 1499337 w 1653042"/>
                    <a:gd name="connsiteY930" fmla="*/ 571350 h 1452453"/>
                    <a:gd name="connsiteX931" fmla="*/ 1500297 w 1653042"/>
                    <a:gd name="connsiteY931" fmla="*/ 573050 h 1452453"/>
                    <a:gd name="connsiteX932" fmla="*/ 1501584 w 1653042"/>
                    <a:gd name="connsiteY932" fmla="*/ 574543 h 1452453"/>
                    <a:gd name="connsiteX933" fmla="*/ 1502628 w 1653042"/>
                    <a:gd name="connsiteY933" fmla="*/ 575296 h 1452453"/>
                    <a:gd name="connsiteX934" fmla="*/ 1504024 w 1653042"/>
                    <a:gd name="connsiteY934" fmla="*/ 576110 h 1452453"/>
                    <a:gd name="connsiteX935" fmla="*/ 1504850 w 1653042"/>
                    <a:gd name="connsiteY935" fmla="*/ 576316 h 1452453"/>
                    <a:gd name="connsiteX936" fmla="*/ 1507594 w 1653042"/>
                    <a:gd name="connsiteY936" fmla="*/ 576668 h 1452453"/>
                    <a:gd name="connsiteX937" fmla="*/ 1509671 w 1653042"/>
                    <a:gd name="connsiteY937" fmla="*/ 577130 h 1452453"/>
                    <a:gd name="connsiteX938" fmla="*/ 1511699 w 1653042"/>
                    <a:gd name="connsiteY938" fmla="*/ 578040 h 1452453"/>
                    <a:gd name="connsiteX939" fmla="*/ 1522360 w 1653042"/>
                    <a:gd name="connsiteY939" fmla="*/ 585642 h 1452453"/>
                    <a:gd name="connsiteX940" fmla="*/ 1524279 w 1653042"/>
                    <a:gd name="connsiteY940" fmla="*/ 586370 h 1452453"/>
                    <a:gd name="connsiteX941" fmla="*/ 1527679 w 1653042"/>
                    <a:gd name="connsiteY941" fmla="*/ 586407 h 1452453"/>
                    <a:gd name="connsiteX942" fmla="*/ 1531115 w 1653042"/>
                    <a:gd name="connsiteY942" fmla="*/ 587378 h 1452453"/>
                    <a:gd name="connsiteX943" fmla="*/ 1532815 w 1653042"/>
                    <a:gd name="connsiteY943" fmla="*/ 590062 h 1452453"/>
                    <a:gd name="connsiteX944" fmla="*/ 1533094 w 1653042"/>
                    <a:gd name="connsiteY944" fmla="*/ 592272 h 1452453"/>
                    <a:gd name="connsiteX945" fmla="*/ 1533094 w 1653042"/>
                    <a:gd name="connsiteY945" fmla="*/ 594105 h 1452453"/>
                    <a:gd name="connsiteX946" fmla="*/ 1532791 w 1653042"/>
                    <a:gd name="connsiteY946" fmla="*/ 596631 h 1452453"/>
                    <a:gd name="connsiteX947" fmla="*/ 1533641 w 1653042"/>
                    <a:gd name="connsiteY947" fmla="*/ 599388 h 1452453"/>
                    <a:gd name="connsiteX948" fmla="*/ 1534467 w 1653042"/>
                    <a:gd name="connsiteY948" fmla="*/ 601015 h 1452453"/>
                    <a:gd name="connsiteX949" fmla="*/ 1535851 w 1653042"/>
                    <a:gd name="connsiteY949" fmla="*/ 602800 h 1452453"/>
                    <a:gd name="connsiteX950" fmla="*/ 1537041 w 1653042"/>
                    <a:gd name="connsiteY950" fmla="*/ 605653 h 1452453"/>
                    <a:gd name="connsiteX951" fmla="*/ 1538110 w 1653042"/>
                    <a:gd name="connsiteY951" fmla="*/ 609369 h 1452453"/>
                    <a:gd name="connsiteX952" fmla="*/ 1538474 w 1653042"/>
                    <a:gd name="connsiteY952" fmla="*/ 609746 h 1452453"/>
                    <a:gd name="connsiteX953" fmla="*/ 1539749 w 1653042"/>
                    <a:gd name="connsiteY953" fmla="*/ 610389 h 1452453"/>
                    <a:gd name="connsiteX954" fmla="*/ 1540927 w 1653042"/>
                    <a:gd name="connsiteY954" fmla="*/ 610887 h 1452453"/>
                    <a:gd name="connsiteX955" fmla="*/ 1542857 w 1653042"/>
                    <a:gd name="connsiteY955" fmla="*/ 615866 h 1452453"/>
                    <a:gd name="connsiteX956" fmla="*/ 1538413 w 1653042"/>
                    <a:gd name="connsiteY956" fmla="*/ 622981 h 1452453"/>
                    <a:gd name="connsiteX957" fmla="*/ 1533459 w 1653042"/>
                    <a:gd name="connsiteY957" fmla="*/ 625689 h 1452453"/>
                    <a:gd name="connsiteX958" fmla="*/ 1531820 w 1653042"/>
                    <a:gd name="connsiteY958" fmla="*/ 626357 h 1452453"/>
                    <a:gd name="connsiteX959" fmla="*/ 1531625 w 1653042"/>
                    <a:gd name="connsiteY959" fmla="*/ 626867 h 1452453"/>
                    <a:gd name="connsiteX960" fmla="*/ 1531504 w 1653042"/>
                    <a:gd name="connsiteY960" fmla="*/ 628021 h 1452453"/>
                    <a:gd name="connsiteX961" fmla="*/ 1529318 w 1653042"/>
                    <a:gd name="connsiteY961" fmla="*/ 632441 h 1452453"/>
                    <a:gd name="connsiteX962" fmla="*/ 1525214 w 1653042"/>
                    <a:gd name="connsiteY962" fmla="*/ 634262 h 1452453"/>
                    <a:gd name="connsiteX963" fmla="*/ 1513241 w 1653042"/>
                    <a:gd name="connsiteY963" fmla="*/ 637359 h 1452453"/>
                    <a:gd name="connsiteX964" fmla="*/ 1512585 w 1653042"/>
                    <a:gd name="connsiteY964" fmla="*/ 638196 h 1452453"/>
                    <a:gd name="connsiteX965" fmla="*/ 1510654 w 1653042"/>
                    <a:gd name="connsiteY965" fmla="*/ 640212 h 1452453"/>
                    <a:gd name="connsiteX966" fmla="*/ 1515232 w 1653042"/>
                    <a:gd name="connsiteY966" fmla="*/ 639083 h 1452453"/>
                    <a:gd name="connsiteX967" fmla="*/ 1515572 w 1653042"/>
                    <a:gd name="connsiteY967" fmla="*/ 639071 h 1452453"/>
                    <a:gd name="connsiteX968" fmla="*/ 1517625 w 1653042"/>
                    <a:gd name="connsiteY968" fmla="*/ 639483 h 1452453"/>
                    <a:gd name="connsiteX969" fmla="*/ 1518863 w 1653042"/>
                    <a:gd name="connsiteY969" fmla="*/ 640746 h 1452453"/>
                    <a:gd name="connsiteX970" fmla="*/ 1519798 w 1653042"/>
                    <a:gd name="connsiteY970" fmla="*/ 642325 h 1452453"/>
                    <a:gd name="connsiteX971" fmla="*/ 1520575 w 1653042"/>
                    <a:gd name="connsiteY971" fmla="*/ 645385 h 1452453"/>
                    <a:gd name="connsiteX972" fmla="*/ 1521328 w 1653042"/>
                    <a:gd name="connsiteY972" fmla="*/ 645956 h 1452453"/>
                    <a:gd name="connsiteX973" fmla="*/ 1522275 w 1653042"/>
                    <a:gd name="connsiteY973" fmla="*/ 646211 h 1452453"/>
                    <a:gd name="connsiteX974" fmla="*/ 1528177 w 1653042"/>
                    <a:gd name="connsiteY974" fmla="*/ 647194 h 1452453"/>
                    <a:gd name="connsiteX975" fmla="*/ 1532123 w 1653042"/>
                    <a:gd name="connsiteY975" fmla="*/ 647364 h 1452453"/>
                    <a:gd name="connsiteX976" fmla="*/ 1531759 w 1653042"/>
                    <a:gd name="connsiteY976" fmla="*/ 646988 h 1452453"/>
                    <a:gd name="connsiteX977" fmla="*/ 1533520 w 1653042"/>
                    <a:gd name="connsiteY977" fmla="*/ 644984 h 1452453"/>
                    <a:gd name="connsiteX978" fmla="*/ 1534212 w 1653042"/>
                    <a:gd name="connsiteY978" fmla="*/ 644559 h 1452453"/>
                    <a:gd name="connsiteX979" fmla="*/ 1535851 w 1653042"/>
                    <a:gd name="connsiteY979" fmla="*/ 644037 h 1452453"/>
                    <a:gd name="connsiteX980" fmla="*/ 1536652 w 1653042"/>
                    <a:gd name="connsiteY980" fmla="*/ 644025 h 1452453"/>
                    <a:gd name="connsiteX981" fmla="*/ 1538280 w 1653042"/>
                    <a:gd name="connsiteY981" fmla="*/ 644377 h 1452453"/>
                    <a:gd name="connsiteX982" fmla="*/ 1538765 w 1653042"/>
                    <a:gd name="connsiteY982" fmla="*/ 644644 h 1452453"/>
                    <a:gd name="connsiteX983" fmla="*/ 1539992 w 1653042"/>
                    <a:gd name="connsiteY983" fmla="*/ 645531 h 1452453"/>
                    <a:gd name="connsiteX984" fmla="*/ 1540902 w 1653042"/>
                    <a:gd name="connsiteY984" fmla="*/ 646587 h 1452453"/>
                    <a:gd name="connsiteX985" fmla="*/ 1543416 w 1653042"/>
                    <a:gd name="connsiteY985" fmla="*/ 651165 h 1452453"/>
                    <a:gd name="connsiteX986" fmla="*/ 1544485 w 1653042"/>
                    <a:gd name="connsiteY986" fmla="*/ 649963 h 1452453"/>
                    <a:gd name="connsiteX987" fmla="*/ 1546610 w 1653042"/>
                    <a:gd name="connsiteY987" fmla="*/ 648482 h 1452453"/>
                    <a:gd name="connsiteX988" fmla="*/ 1549342 w 1653042"/>
                    <a:gd name="connsiteY988" fmla="*/ 647984 h 1452453"/>
                    <a:gd name="connsiteX989" fmla="*/ 1552208 w 1653042"/>
                    <a:gd name="connsiteY989" fmla="*/ 649429 h 1452453"/>
                    <a:gd name="connsiteX990" fmla="*/ 1554114 w 1653042"/>
                    <a:gd name="connsiteY990" fmla="*/ 652391 h 1452453"/>
                    <a:gd name="connsiteX991" fmla="*/ 1554114 w 1653042"/>
                    <a:gd name="connsiteY991" fmla="*/ 656897 h 1452453"/>
                    <a:gd name="connsiteX992" fmla="*/ 1551831 w 1653042"/>
                    <a:gd name="connsiteY992" fmla="*/ 659908 h 1452453"/>
                    <a:gd name="connsiteX993" fmla="*/ 1548929 w 1653042"/>
                    <a:gd name="connsiteY993" fmla="*/ 661414 h 1452453"/>
                    <a:gd name="connsiteX994" fmla="*/ 1538656 w 1653042"/>
                    <a:gd name="connsiteY994" fmla="*/ 663636 h 1452453"/>
                    <a:gd name="connsiteX995" fmla="*/ 1534965 w 1653042"/>
                    <a:gd name="connsiteY995" fmla="*/ 664777 h 1452453"/>
                    <a:gd name="connsiteX996" fmla="*/ 1503842 w 1653042"/>
                    <a:gd name="connsiteY996" fmla="*/ 678572 h 1452453"/>
                    <a:gd name="connsiteX997" fmla="*/ 1497103 w 1653042"/>
                    <a:gd name="connsiteY997" fmla="*/ 682409 h 1452453"/>
                    <a:gd name="connsiteX998" fmla="*/ 1494832 w 1653042"/>
                    <a:gd name="connsiteY998" fmla="*/ 684437 h 1452453"/>
                    <a:gd name="connsiteX999" fmla="*/ 1494140 w 1653042"/>
                    <a:gd name="connsiteY999" fmla="*/ 685602 h 1452453"/>
                    <a:gd name="connsiteX1000" fmla="*/ 1494043 w 1653042"/>
                    <a:gd name="connsiteY1000" fmla="*/ 686465 h 1452453"/>
                    <a:gd name="connsiteX1001" fmla="*/ 1494334 w 1653042"/>
                    <a:gd name="connsiteY1001" fmla="*/ 690047 h 1452453"/>
                    <a:gd name="connsiteX1002" fmla="*/ 1494104 w 1653042"/>
                    <a:gd name="connsiteY1002" fmla="*/ 694831 h 1452453"/>
                    <a:gd name="connsiteX1003" fmla="*/ 1493472 w 1653042"/>
                    <a:gd name="connsiteY1003" fmla="*/ 698413 h 1452453"/>
                    <a:gd name="connsiteX1004" fmla="*/ 1495609 w 1653042"/>
                    <a:gd name="connsiteY1004" fmla="*/ 697855 h 1452453"/>
                    <a:gd name="connsiteX1005" fmla="*/ 1497722 w 1653042"/>
                    <a:gd name="connsiteY1005" fmla="*/ 695633 h 1452453"/>
                    <a:gd name="connsiteX1006" fmla="*/ 1498912 w 1653042"/>
                    <a:gd name="connsiteY1006" fmla="*/ 693653 h 1452453"/>
                    <a:gd name="connsiteX1007" fmla="*/ 1501256 w 1653042"/>
                    <a:gd name="connsiteY1007" fmla="*/ 687958 h 1452453"/>
                    <a:gd name="connsiteX1008" fmla="*/ 1504061 w 1653042"/>
                    <a:gd name="connsiteY1008" fmla="*/ 686307 h 1452453"/>
                    <a:gd name="connsiteX1009" fmla="*/ 1505445 w 1653042"/>
                    <a:gd name="connsiteY1009" fmla="*/ 686453 h 1452453"/>
                    <a:gd name="connsiteX1010" fmla="*/ 1506939 w 1653042"/>
                    <a:gd name="connsiteY1010" fmla="*/ 686720 h 1452453"/>
                    <a:gd name="connsiteX1011" fmla="*/ 1509586 w 1653042"/>
                    <a:gd name="connsiteY1011" fmla="*/ 687703 h 1452453"/>
                    <a:gd name="connsiteX1012" fmla="*/ 1509962 w 1653042"/>
                    <a:gd name="connsiteY1012" fmla="*/ 687448 h 1452453"/>
                    <a:gd name="connsiteX1013" fmla="*/ 1511310 w 1653042"/>
                    <a:gd name="connsiteY1013" fmla="*/ 687108 h 1452453"/>
                    <a:gd name="connsiteX1014" fmla="*/ 1535341 w 1653042"/>
                    <a:gd name="connsiteY1014" fmla="*/ 677199 h 1452453"/>
                    <a:gd name="connsiteX1015" fmla="*/ 1539324 w 1653042"/>
                    <a:gd name="connsiteY1015" fmla="*/ 674710 h 1452453"/>
                    <a:gd name="connsiteX1016" fmla="*/ 1543877 w 1653042"/>
                    <a:gd name="connsiteY1016" fmla="*/ 669999 h 1452453"/>
                    <a:gd name="connsiteX1017" fmla="*/ 1546719 w 1653042"/>
                    <a:gd name="connsiteY1017" fmla="*/ 668068 h 1452453"/>
                    <a:gd name="connsiteX1018" fmla="*/ 1550471 w 1653042"/>
                    <a:gd name="connsiteY1018" fmla="*/ 666878 h 1452453"/>
                    <a:gd name="connsiteX1019" fmla="*/ 1553920 w 1653042"/>
                    <a:gd name="connsiteY1019" fmla="*/ 666829 h 1452453"/>
                    <a:gd name="connsiteX1020" fmla="*/ 1559700 w 1653042"/>
                    <a:gd name="connsiteY1020" fmla="*/ 668323 h 1452453"/>
                    <a:gd name="connsiteX1021" fmla="*/ 1570762 w 1653042"/>
                    <a:gd name="connsiteY1021" fmla="*/ 669707 h 1452453"/>
                    <a:gd name="connsiteX1022" fmla="*/ 1573263 w 1653042"/>
                    <a:gd name="connsiteY1022" fmla="*/ 670509 h 1452453"/>
                    <a:gd name="connsiteX1023" fmla="*/ 1575158 w 1653042"/>
                    <a:gd name="connsiteY1023" fmla="*/ 671444 h 1452453"/>
                    <a:gd name="connsiteX1024" fmla="*/ 1576299 w 1653042"/>
                    <a:gd name="connsiteY1024" fmla="*/ 672342 h 1452453"/>
                    <a:gd name="connsiteX1025" fmla="*/ 1577586 w 1653042"/>
                    <a:gd name="connsiteY1025" fmla="*/ 671505 h 1452453"/>
                    <a:gd name="connsiteX1026" fmla="*/ 1580452 w 1653042"/>
                    <a:gd name="connsiteY1026" fmla="*/ 670642 h 1452453"/>
                    <a:gd name="connsiteX1027" fmla="*/ 1582893 w 1653042"/>
                    <a:gd name="connsiteY1027" fmla="*/ 670570 h 1452453"/>
                    <a:gd name="connsiteX1028" fmla="*/ 1589086 w 1653042"/>
                    <a:gd name="connsiteY1028" fmla="*/ 672148 h 1452453"/>
                    <a:gd name="connsiteX1029" fmla="*/ 1599553 w 1653042"/>
                    <a:gd name="connsiteY1029" fmla="*/ 672731 h 1452453"/>
                    <a:gd name="connsiteX1030" fmla="*/ 1603123 w 1653042"/>
                    <a:gd name="connsiteY1030" fmla="*/ 673593 h 1452453"/>
                    <a:gd name="connsiteX1031" fmla="*/ 1605041 w 1653042"/>
                    <a:gd name="connsiteY1031" fmla="*/ 675147 h 1452453"/>
                    <a:gd name="connsiteX1032" fmla="*/ 1605442 w 1653042"/>
                    <a:gd name="connsiteY1032" fmla="*/ 673751 h 1452453"/>
                    <a:gd name="connsiteX1033" fmla="*/ 1607980 w 1653042"/>
                    <a:gd name="connsiteY1033" fmla="*/ 671759 h 1452453"/>
                    <a:gd name="connsiteX1034" fmla="*/ 1610154 w 1653042"/>
                    <a:gd name="connsiteY1034" fmla="*/ 671371 h 1452453"/>
                    <a:gd name="connsiteX1035" fmla="*/ 1614440 w 1653042"/>
                    <a:gd name="connsiteY1035" fmla="*/ 671565 h 1452453"/>
                    <a:gd name="connsiteX1036" fmla="*/ 1614999 w 1653042"/>
                    <a:gd name="connsiteY1036" fmla="*/ 671031 h 1452453"/>
                    <a:gd name="connsiteX1037" fmla="*/ 1615120 w 1653042"/>
                    <a:gd name="connsiteY1037" fmla="*/ 670472 h 1452453"/>
                    <a:gd name="connsiteX1038" fmla="*/ 1616067 w 1653042"/>
                    <a:gd name="connsiteY1038" fmla="*/ 669112 h 1452453"/>
                    <a:gd name="connsiteX1039" fmla="*/ 1618642 w 1653042"/>
                    <a:gd name="connsiteY1039" fmla="*/ 667133 h 1452453"/>
                    <a:gd name="connsiteX1040" fmla="*/ 1619273 w 1653042"/>
                    <a:gd name="connsiteY1040" fmla="*/ 666417 h 1452453"/>
                    <a:gd name="connsiteX1041" fmla="*/ 1622236 w 1653042"/>
                    <a:gd name="connsiteY1041" fmla="*/ 664498 h 1452453"/>
                    <a:gd name="connsiteX1042" fmla="*/ 1626170 w 1653042"/>
                    <a:gd name="connsiteY1042" fmla="*/ 663636 h 1452453"/>
                    <a:gd name="connsiteX1043" fmla="*/ 1632108 w 1653042"/>
                    <a:gd name="connsiteY1043" fmla="*/ 663320 h 1452453"/>
                    <a:gd name="connsiteX1044" fmla="*/ 1635848 w 1653042"/>
                    <a:gd name="connsiteY1044" fmla="*/ 663782 h 1452453"/>
                    <a:gd name="connsiteX1045" fmla="*/ 1638483 w 1653042"/>
                    <a:gd name="connsiteY1045" fmla="*/ 664437 h 1452453"/>
                    <a:gd name="connsiteX1046" fmla="*/ 1640863 w 1653042"/>
                    <a:gd name="connsiteY1046" fmla="*/ 665494 h 1452453"/>
                    <a:gd name="connsiteX1047" fmla="*/ 1642175 w 1653042"/>
                    <a:gd name="connsiteY1047" fmla="*/ 665797 h 1452453"/>
                    <a:gd name="connsiteX1048" fmla="*/ 1645890 w 1653042"/>
                    <a:gd name="connsiteY1048" fmla="*/ 666137 h 1452453"/>
                    <a:gd name="connsiteX1049" fmla="*/ 1648040 w 1653042"/>
                    <a:gd name="connsiteY1049" fmla="*/ 666769 h 1452453"/>
                    <a:gd name="connsiteX1050" fmla="*/ 1649752 w 1653042"/>
                    <a:gd name="connsiteY1050" fmla="*/ 667716 h 1452453"/>
                    <a:gd name="connsiteX1051" fmla="*/ 1651464 w 1653042"/>
                    <a:gd name="connsiteY1051" fmla="*/ 669003 h 1452453"/>
                    <a:gd name="connsiteX1052" fmla="*/ 1652824 w 1653042"/>
                    <a:gd name="connsiteY1052" fmla="*/ 670873 h 1452453"/>
                    <a:gd name="connsiteX1053" fmla="*/ 1653043 w 1653042"/>
                    <a:gd name="connsiteY1053" fmla="*/ 672877 h 1452453"/>
                    <a:gd name="connsiteX1054" fmla="*/ 1652423 w 1653042"/>
                    <a:gd name="connsiteY1054" fmla="*/ 674868 h 1452453"/>
                    <a:gd name="connsiteX1055" fmla="*/ 1651452 w 1653042"/>
                    <a:gd name="connsiteY1055" fmla="*/ 676155 h 1452453"/>
                    <a:gd name="connsiteX1056" fmla="*/ 1644858 w 1653042"/>
                    <a:gd name="connsiteY1056" fmla="*/ 682421 h 1452453"/>
                    <a:gd name="connsiteX1057" fmla="*/ 1641907 w 1653042"/>
                    <a:gd name="connsiteY1057" fmla="*/ 684364 h 1452453"/>
                    <a:gd name="connsiteX1058" fmla="*/ 1640560 w 1653042"/>
                    <a:gd name="connsiteY1058" fmla="*/ 684558 h 1452453"/>
                    <a:gd name="connsiteX1059" fmla="*/ 1641082 w 1653042"/>
                    <a:gd name="connsiteY1059" fmla="*/ 685080 h 1452453"/>
                    <a:gd name="connsiteX1060" fmla="*/ 1642515 w 1653042"/>
                    <a:gd name="connsiteY1060" fmla="*/ 686950 h 1452453"/>
                    <a:gd name="connsiteX1061" fmla="*/ 1643656 w 1653042"/>
                    <a:gd name="connsiteY1061" fmla="*/ 689257 h 1452453"/>
                    <a:gd name="connsiteX1062" fmla="*/ 1644882 w 1653042"/>
                    <a:gd name="connsiteY1062" fmla="*/ 693920 h 1452453"/>
                    <a:gd name="connsiteX1063" fmla="*/ 1638009 w 1653042"/>
                    <a:gd name="connsiteY1063" fmla="*/ 696531 h 1452453"/>
                    <a:gd name="connsiteX1064" fmla="*/ 1637524 w 1653042"/>
                    <a:gd name="connsiteY1064" fmla="*/ 700150 h 1452453"/>
                    <a:gd name="connsiteX1065" fmla="*/ 1632557 w 1653042"/>
                    <a:gd name="connsiteY1065" fmla="*/ 703598 h 1452453"/>
                    <a:gd name="connsiteX1066" fmla="*/ 1625187 w 1653042"/>
                    <a:gd name="connsiteY1066" fmla="*/ 700696 h 1452453"/>
                    <a:gd name="connsiteX1067" fmla="*/ 1624664 w 1653042"/>
                    <a:gd name="connsiteY1067" fmla="*/ 700720 h 1452453"/>
                    <a:gd name="connsiteX1068" fmla="*/ 1624312 w 1653042"/>
                    <a:gd name="connsiteY1068" fmla="*/ 701413 h 1452453"/>
                    <a:gd name="connsiteX1069" fmla="*/ 1624434 w 1653042"/>
                    <a:gd name="connsiteY1069" fmla="*/ 702408 h 1452453"/>
                    <a:gd name="connsiteX1070" fmla="*/ 1625405 w 1653042"/>
                    <a:gd name="connsiteY1070" fmla="*/ 705238 h 1452453"/>
                    <a:gd name="connsiteX1071" fmla="*/ 1625600 w 1653042"/>
                    <a:gd name="connsiteY1071" fmla="*/ 708225 h 1452453"/>
                    <a:gd name="connsiteX1072" fmla="*/ 1625624 w 1653042"/>
                    <a:gd name="connsiteY1072" fmla="*/ 709415 h 1452453"/>
                    <a:gd name="connsiteX1073" fmla="*/ 1624822 w 1653042"/>
                    <a:gd name="connsiteY1073" fmla="*/ 710313 h 1452453"/>
                    <a:gd name="connsiteX1074" fmla="*/ 1623280 w 1653042"/>
                    <a:gd name="connsiteY1074" fmla="*/ 712827 h 1452453"/>
                    <a:gd name="connsiteX1075" fmla="*/ 1622989 w 1653042"/>
                    <a:gd name="connsiteY1075" fmla="*/ 713738 h 1452453"/>
                    <a:gd name="connsiteX1076" fmla="*/ 1622709 w 1653042"/>
                    <a:gd name="connsiteY1076" fmla="*/ 716968 h 1452453"/>
                    <a:gd name="connsiteX1077" fmla="*/ 1622819 w 1653042"/>
                    <a:gd name="connsiteY1077" fmla="*/ 720125 h 1452453"/>
                    <a:gd name="connsiteX1078" fmla="*/ 1620232 w 1653042"/>
                    <a:gd name="connsiteY1078" fmla="*/ 723221 h 1452453"/>
                    <a:gd name="connsiteX1079" fmla="*/ 1615314 w 1653042"/>
                    <a:gd name="connsiteY1079" fmla="*/ 723938 h 1452453"/>
                    <a:gd name="connsiteX1080" fmla="*/ 1612922 w 1653042"/>
                    <a:gd name="connsiteY1080" fmla="*/ 723962 h 1452453"/>
                    <a:gd name="connsiteX1081" fmla="*/ 1610494 w 1653042"/>
                    <a:gd name="connsiteY1081" fmla="*/ 723610 h 1452453"/>
                    <a:gd name="connsiteX1082" fmla="*/ 1608053 w 1653042"/>
                    <a:gd name="connsiteY1082" fmla="*/ 722711 h 1452453"/>
                    <a:gd name="connsiteX1083" fmla="*/ 1605734 w 1653042"/>
                    <a:gd name="connsiteY1083" fmla="*/ 720999 h 1452453"/>
                    <a:gd name="connsiteX1084" fmla="*/ 1604969 w 1653042"/>
                    <a:gd name="connsiteY1084" fmla="*/ 721145 h 1452453"/>
                    <a:gd name="connsiteX1085" fmla="*/ 1600876 w 1653042"/>
                    <a:gd name="connsiteY1085" fmla="*/ 722893 h 1452453"/>
                    <a:gd name="connsiteX1086" fmla="*/ 1595825 w 1653042"/>
                    <a:gd name="connsiteY1086" fmla="*/ 725674 h 1452453"/>
                    <a:gd name="connsiteX1087" fmla="*/ 1591636 w 1653042"/>
                    <a:gd name="connsiteY1087" fmla="*/ 726658 h 1452453"/>
                    <a:gd name="connsiteX1088" fmla="*/ 1587641 w 1653042"/>
                    <a:gd name="connsiteY1088" fmla="*/ 726828 h 1452453"/>
                    <a:gd name="connsiteX1089" fmla="*/ 1586220 w 1653042"/>
                    <a:gd name="connsiteY1089" fmla="*/ 727131 h 1452453"/>
                    <a:gd name="connsiteX1090" fmla="*/ 1585552 w 1653042"/>
                    <a:gd name="connsiteY1090" fmla="*/ 728236 h 1452453"/>
                    <a:gd name="connsiteX1091" fmla="*/ 1585370 w 1653042"/>
                    <a:gd name="connsiteY1091" fmla="*/ 730689 h 1452453"/>
                    <a:gd name="connsiteX1092" fmla="*/ 1584046 w 1653042"/>
                    <a:gd name="connsiteY1092" fmla="*/ 733409 h 1452453"/>
                    <a:gd name="connsiteX1093" fmla="*/ 1583670 w 1653042"/>
                    <a:gd name="connsiteY1093" fmla="*/ 734077 h 1452453"/>
                    <a:gd name="connsiteX1094" fmla="*/ 1581023 w 1653042"/>
                    <a:gd name="connsiteY1094" fmla="*/ 735753 h 1452453"/>
                    <a:gd name="connsiteX1095" fmla="*/ 1573858 w 1653042"/>
                    <a:gd name="connsiteY1095" fmla="*/ 737987 h 1452453"/>
                    <a:gd name="connsiteX1096" fmla="*/ 1575789 w 1653042"/>
                    <a:gd name="connsiteY1096" fmla="*/ 742929 h 1452453"/>
                    <a:gd name="connsiteX1097" fmla="*/ 1569790 w 1653042"/>
                    <a:gd name="connsiteY1097" fmla="*/ 747653 h 1452453"/>
                    <a:gd name="connsiteX1098" fmla="*/ 1562043 w 1653042"/>
                    <a:gd name="connsiteY1098" fmla="*/ 750324 h 1452453"/>
                    <a:gd name="connsiteX1099" fmla="*/ 1557672 w 1653042"/>
                    <a:gd name="connsiteY1099" fmla="*/ 752364 h 1452453"/>
                    <a:gd name="connsiteX1100" fmla="*/ 1554915 w 1653042"/>
                    <a:gd name="connsiteY1100" fmla="*/ 755934 h 1452453"/>
                    <a:gd name="connsiteX1101" fmla="*/ 1551795 w 1653042"/>
                    <a:gd name="connsiteY1101" fmla="*/ 758739 h 1452453"/>
                    <a:gd name="connsiteX1102" fmla="*/ 1548200 w 1653042"/>
                    <a:gd name="connsiteY1102" fmla="*/ 759723 h 1452453"/>
                    <a:gd name="connsiteX1103" fmla="*/ 1544266 w 1653042"/>
                    <a:gd name="connsiteY1103" fmla="*/ 760221 h 1452453"/>
                    <a:gd name="connsiteX1104" fmla="*/ 1538134 w 1653042"/>
                    <a:gd name="connsiteY1104" fmla="*/ 762030 h 1452453"/>
                    <a:gd name="connsiteX1105" fmla="*/ 1534989 w 1653042"/>
                    <a:gd name="connsiteY1105" fmla="*/ 762528 h 1452453"/>
                    <a:gd name="connsiteX1106" fmla="*/ 1533058 w 1653042"/>
                    <a:gd name="connsiteY1106" fmla="*/ 763414 h 1452453"/>
                    <a:gd name="connsiteX1107" fmla="*/ 1524060 w 1653042"/>
                    <a:gd name="connsiteY1107" fmla="*/ 770190 h 1452453"/>
                    <a:gd name="connsiteX1108" fmla="*/ 1516362 w 1653042"/>
                    <a:gd name="connsiteY1108" fmla="*/ 774659 h 1452453"/>
                    <a:gd name="connsiteX1109" fmla="*/ 1514710 w 1653042"/>
                    <a:gd name="connsiteY1109" fmla="*/ 776249 h 1452453"/>
                    <a:gd name="connsiteX1110" fmla="*/ 1510278 w 1653042"/>
                    <a:gd name="connsiteY1110" fmla="*/ 778059 h 1452453"/>
                    <a:gd name="connsiteX1111" fmla="*/ 1501984 w 1653042"/>
                    <a:gd name="connsiteY1111" fmla="*/ 776942 h 1452453"/>
                    <a:gd name="connsiteX1112" fmla="*/ 1500892 w 1653042"/>
                    <a:gd name="connsiteY1112" fmla="*/ 777257 h 1452453"/>
                    <a:gd name="connsiteX1113" fmla="*/ 1500187 w 1653042"/>
                    <a:gd name="connsiteY1113" fmla="*/ 778205 h 1452453"/>
                    <a:gd name="connsiteX1114" fmla="*/ 1500297 w 1653042"/>
                    <a:gd name="connsiteY1114" fmla="*/ 779880 h 1452453"/>
                    <a:gd name="connsiteX1115" fmla="*/ 1499993 w 1653042"/>
                    <a:gd name="connsiteY1115" fmla="*/ 784397 h 1452453"/>
                    <a:gd name="connsiteX1116" fmla="*/ 1493484 w 1653042"/>
                    <a:gd name="connsiteY1116" fmla="*/ 788234 h 1452453"/>
                    <a:gd name="connsiteX1117" fmla="*/ 1492003 w 1653042"/>
                    <a:gd name="connsiteY1117" fmla="*/ 786632 h 1452453"/>
                    <a:gd name="connsiteX1118" fmla="*/ 1491711 w 1653042"/>
                    <a:gd name="connsiteY1118" fmla="*/ 786790 h 1452453"/>
                    <a:gd name="connsiteX1119" fmla="*/ 1488032 w 1653042"/>
                    <a:gd name="connsiteY1119" fmla="*/ 787518 h 1452453"/>
                    <a:gd name="connsiteX1120" fmla="*/ 1481706 w 1653042"/>
                    <a:gd name="connsiteY1120" fmla="*/ 787409 h 1452453"/>
                    <a:gd name="connsiteX1121" fmla="*/ 1480042 w 1653042"/>
                    <a:gd name="connsiteY1121" fmla="*/ 788052 h 1452453"/>
                    <a:gd name="connsiteX1122" fmla="*/ 1478694 w 1653042"/>
                    <a:gd name="connsiteY1122" fmla="*/ 789364 h 1452453"/>
                    <a:gd name="connsiteX1123" fmla="*/ 1475780 w 1653042"/>
                    <a:gd name="connsiteY1123" fmla="*/ 793019 h 1452453"/>
                    <a:gd name="connsiteX1124" fmla="*/ 1474238 w 1653042"/>
                    <a:gd name="connsiteY1124" fmla="*/ 796905 h 1452453"/>
                    <a:gd name="connsiteX1125" fmla="*/ 1472671 w 1653042"/>
                    <a:gd name="connsiteY1125" fmla="*/ 799200 h 1452453"/>
                    <a:gd name="connsiteX1126" fmla="*/ 1470898 w 1653042"/>
                    <a:gd name="connsiteY1126" fmla="*/ 800839 h 1452453"/>
                    <a:gd name="connsiteX1127" fmla="*/ 1467923 w 1653042"/>
                    <a:gd name="connsiteY1127" fmla="*/ 802988 h 1452453"/>
                    <a:gd name="connsiteX1128" fmla="*/ 1465920 w 1653042"/>
                    <a:gd name="connsiteY1128" fmla="*/ 804773 h 1452453"/>
                    <a:gd name="connsiteX1129" fmla="*/ 1460796 w 1653042"/>
                    <a:gd name="connsiteY1129" fmla="*/ 807602 h 1452453"/>
                    <a:gd name="connsiteX1130" fmla="*/ 1457068 w 1653042"/>
                    <a:gd name="connsiteY1130" fmla="*/ 811877 h 1452453"/>
                    <a:gd name="connsiteX1131" fmla="*/ 1450693 w 1653042"/>
                    <a:gd name="connsiteY1131" fmla="*/ 812970 h 1452453"/>
                    <a:gd name="connsiteX1132" fmla="*/ 1444536 w 1653042"/>
                    <a:gd name="connsiteY1132" fmla="*/ 812545 h 1452453"/>
                    <a:gd name="connsiteX1133" fmla="*/ 1440675 w 1653042"/>
                    <a:gd name="connsiteY1133" fmla="*/ 812860 h 1452453"/>
                    <a:gd name="connsiteX1134" fmla="*/ 1437408 w 1653042"/>
                    <a:gd name="connsiteY1134" fmla="*/ 815131 h 1452453"/>
                    <a:gd name="connsiteX1135" fmla="*/ 1437238 w 1653042"/>
                    <a:gd name="connsiteY1135" fmla="*/ 815580 h 1452453"/>
                    <a:gd name="connsiteX1136" fmla="*/ 1437007 w 1653042"/>
                    <a:gd name="connsiteY1136" fmla="*/ 818143 h 1452453"/>
                    <a:gd name="connsiteX1137" fmla="*/ 1435393 w 1653042"/>
                    <a:gd name="connsiteY1137" fmla="*/ 821470 h 1452453"/>
                    <a:gd name="connsiteX1138" fmla="*/ 1432818 w 1653042"/>
                    <a:gd name="connsiteY1138" fmla="*/ 823340 h 1452453"/>
                    <a:gd name="connsiteX1139" fmla="*/ 1430851 w 1653042"/>
                    <a:gd name="connsiteY1139" fmla="*/ 823619 h 1452453"/>
                    <a:gd name="connsiteX1140" fmla="*/ 1427269 w 1653042"/>
                    <a:gd name="connsiteY1140" fmla="*/ 823133 h 1452453"/>
                    <a:gd name="connsiteX1141" fmla="*/ 1425970 w 1653042"/>
                    <a:gd name="connsiteY1141" fmla="*/ 823607 h 1452453"/>
                    <a:gd name="connsiteX1142" fmla="*/ 1421015 w 1653042"/>
                    <a:gd name="connsiteY1142" fmla="*/ 825963 h 1452453"/>
                    <a:gd name="connsiteX1143" fmla="*/ 1420396 w 1653042"/>
                    <a:gd name="connsiteY1143" fmla="*/ 826400 h 1452453"/>
                    <a:gd name="connsiteX1144" fmla="*/ 1419449 w 1653042"/>
                    <a:gd name="connsiteY1144" fmla="*/ 827893 h 1452453"/>
                    <a:gd name="connsiteX1145" fmla="*/ 1418781 w 1653042"/>
                    <a:gd name="connsiteY1145" fmla="*/ 829666 h 1452453"/>
                    <a:gd name="connsiteX1146" fmla="*/ 1416607 w 1653042"/>
                    <a:gd name="connsiteY1146" fmla="*/ 832969 h 1452453"/>
                    <a:gd name="connsiteX1147" fmla="*/ 1411325 w 1653042"/>
                    <a:gd name="connsiteY1147" fmla="*/ 834572 h 1452453"/>
                    <a:gd name="connsiteX1148" fmla="*/ 1410475 w 1653042"/>
                    <a:gd name="connsiteY1148" fmla="*/ 835422 h 1452453"/>
                    <a:gd name="connsiteX1149" fmla="*/ 1408217 w 1653042"/>
                    <a:gd name="connsiteY1149" fmla="*/ 837960 h 1452453"/>
                    <a:gd name="connsiteX1150" fmla="*/ 1405922 w 1653042"/>
                    <a:gd name="connsiteY1150" fmla="*/ 839393 h 1452453"/>
                    <a:gd name="connsiteX1151" fmla="*/ 1400457 w 1653042"/>
                    <a:gd name="connsiteY1151" fmla="*/ 840644 h 1452453"/>
                    <a:gd name="connsiteX1152" fmla="*/ 1399413 w 1653042"/>
                    <a:gd name="connsiteY1152" fmla="*/ 841639 h 1452453"/>
                    <a:gd name="connsiteX1153" fmla="*/ 1399316 w 1653042"/>
                    <a:gd name="connsiteY1153" fmla="*/ 842356 h 1452453"/>
                    <a:gd name="connsiteX1154" fmla="*/ 1399037 w 1653042"/>
                    <a:gd name="connsiteY1154" fmla="*/ 843618 h 1452453"/>
                    <a:gd name="connsiteX1155" fmla="*/ 1397846 w 1653042"/>
                    <a:gd name="connsiteY1155" fmla="*/ 846181 h 1452453"/>
                    <a:gd name="connsiteX1156" fmla="*/ 1394507 w 1653042"/>
                    <a:gd name="connsiteY1156" fmla="*/ 849471 h 1452453"/>
                    <a:gd name="connsiteX1157" fmla="*/ 1383834 w 1653042"/>
                    <a:gd name="connsiteY1157" fmla="*/ 856016 h 1452453"/>
                    <a:gd name="connsiteX1158" fmla="*/ 1382996 w 1653042"/>
                    <a:gd name="connsiteY1158" fmla="*/ 857486 h 1452453"/>
                    <a:gd name="connsiteX1159" fmla="*/ 1383093 w 1653042"/>
                    <a:gd name="connsiteY1159" fmla="*/ 858652 h 1452453"/>
                    <a:gd name="connsiteX1160" fmla="*/ 1383117 w 1653042"/>
                    <a:gd name="connsiteY1160" fmla="*/ 860570 h 1452453"/>
                    <a:gd name="connsiteX1161" fmla="*/ 1382437 w 1653042"/>
                    <a:gd name="connsiteY1161" fmla="*/ 863533 h 1452453"/>
                    <a:gd name="connsiteX1162" fmla="*/ 1379972 w 1653042"/>
                    <a:gd name="connsiteY1162" fmla="*/ 867127 h 1452453"/>
                    <a:gd name="connsiteX1163" fmla="*/ 1377835 w 1653042"/>
                    <a:gd name="connsiteY1163" fmla="*/ 868281 h 1452453"/>
                    <a:gd name="connsiteX1164" fmla="*/ 1375661 w 1653042"/>
                    <a:gd name="connsiteY1164" fmla="*/ 868997 h 1452453"/>
                    <a:gd name="connsiteX1165" fmla="*/ 1374398 w 1653042"/>
                    <a:gd name="connsiteY1165" fmla="*/ 869617 h 1452453"/>
                    <a:gd name="connsiteX1166" fmla="*/ 1373123 w 1653042"/>
                    <a:gd name="connsiteY1166" fmla="*/ 870831 h 1452453"/>
                    <a:gd name="connsiteX1167" fmla="*/ 1369796 w 1653042"/>
                    <a:gd name="connsiteY1167" fmla="*/ 874959 h 1452453"/>
                    <a:gd name="connsiteX1168" fmla="*/ 1365862 w 1653042"/>
                    <a:gd name="connsiteY1168" fmla="*/ 877461 h 1452453"/>
                    <a:gd name="connsiteX1169" fmla="*/ 1362899 w 1653042"/>
                    <a:gd name="connsiteY1169" fmla="*/ 877509 h 1452453"/>
                    <a:gd name="connsiteX1170" fmla="*/ 1359997 w 1653042"/>
                    <a:gd name="connsiteY1170" fmla="*/ 876902 h 1452453"/>
                    <a:gd name="connsiteX1171" fmla="*/ 1350756 w 1653042"/>
                    <a:gd name="connsiteY1171" fmla="*/ 876186 h 1452453"/>
                    <a:gd name="connsiteX1172" fmla="*/ 1350404 w 1653042"/>
                    <a:gd name="connsiteY1172" fmla="*/ 876660 h 1452453"/>
                    <a:gd name="connsiteX1173" fmla="*/ 1349141 w 1653042"/>
                    <a:gd name="connsiteY1173" fmla="*/ 880193 h 1452453"/>
                    <a:gd name="connsiteX1174" fmla="*/ 1346919 w 1653042"/>
                    <a:gd name="connsiteY1174" fmla="*/ 883241 h 1452453"/>
                    <a:gd name="connsiteX1175" fmla="*/ 1344235 w 1653042"/>
                    <a:gd name="connsiteY1175" fmla="*/ 884261 h 1452453"/>
                    <a:gd name="connsiteX1176" fmla="*/ 1340617 w 1653042"/>
                    <a:gd name="connsiteY1176" fmla="*/ 884552 h 1452453"/>
                    <a:gd name="connsiteX1177" fmla="*/ 1339500 w 1653042"/>
                    <a:gd name="connsiteY1177" fmla="*/ 885220 h 1452453"/>
                    <a:gd name="connsiteX1178" fmla="*/ 1335468 w 1653042"/>
                    <a:gd name="connsiteY1178" fmla="*/ 889252 h 1452453"/>
                    <a:gd name="connsiteX1179" fmla="*/ 1334339 w 1653042"/>
                    <a:gd name="connsiteY1179" fmla="*/ 889968 h 1452453"/>
                    <a:gd name="connsiteX1180" fmla="*/ 1333149 w 1653042"/>
                    <a:gd name="connsiteY1180" fmla="*/ 890466 h 1452453"/>
                    <a:gd name="connsiteX1181" fmla="*/ 1329421 w 1653042"/>
                    <a:gd name="connsiteY1181" fmla="*/ 896841 h 1452453"/>
                    <a:gd name="connsiteX1182" fmla="*/ 1328656 w 1653042"/>
                    <a:gd name="connsiteY1182" fmla="*/ 898978 h 1452453"/>
                    <a:gd name="connsiteX1183" fmla="*/ 1328595 w 1653042"/>
                    <a:gd name="connsiteY1183" fmla="*/ 900945 h 1452453"/>
                    <a:gd name="connsiteX1184" fmla="*/ 1328729 w 1653042"/>
                    <a:gd name="connsiteY1184" fmla="*/ 906215 h 1452453"/>
                    <a:gd name="connsiteX1185" fmla="*/ 1327636 w 1653042"/>
                    <a:gd name="connsiteY1185" fmla="*/ 909858 h 1452453"/>
                    <a:gd name="connsiteX1186" fmla="*/ 1327296 w 1653042"/>
                    <a:gd name="connsiteY1186" fmla="*/ 910817 h 1452453"/>
                    <a:gd name="connsiteX1187" fmla="*/ 1325183 w 1653042"/>
                    <a:gd name="connsiteY1187" fmla="*/ 912214 h 1452453"/>
                    <a:gd name="connsiteX1188" fmla="*/ 1321601 w 1653042"/>
                    <a:gd name="connsiteY1188" fmla="*/ 913100 h 1452453"/>
                    <a:gd name="connsiteX1189" fmla="*/ 1321467 w 1653042"/>
                    <a:gd name="connsiteY1189" fmla="*/ 913708 h 1452453"/>
                    <a:gd name="connsiteX1190" fmla="*/ 1321892 w 1653042"/>
                    <a:gd name="connsiteY1190" fmla="*/ 915189 h 1452453"/>
                    <a:gd name="connsiteX1191" fmla="*/ 1322803 w 1653042"/>
                    <a:gd name="connsiteY1191" fmla="*/ 916695 h 1452453"/>
                    <a:gd name="connsiteX1192" fmla="*/ 1323835 w 1653042"/>
                    <a:gd name="connsiteY1192" fmla="*/ 919378 h 1452453"/>
                    <a:gd name="connsiteX1193" fmla="*/ 1329421 w 1653042"/>
                    <a:gd name="connsiteY1193" fmla="*/ 947186 h 1452453"/>
                    <a:gd name="connsiteX1194" fmla="*/ 1333052 w 1653042"/>
                    <a:gd name="connsiteY1194" fmla="*/ 958005 h 1452453"/>
                    <a:gd name="connsiteX1195" fmla="*/ 1334230 w 1653042"/>
                    <a:gd name="connsiteY1195" fmla="*/ 962996 h 1452453"/>
                    <a:gd name="connsiteX1196" fmla="*/ 1334910 w 1653042"/>
                    <a:gd name="connsiteY1196" fmla="*/ 964720 h 1452453"/>
                    <a:gd name="connsiteX1197" fmla="*/ 1335723 w 1653042"/>
                    <a:gd name="connsiteY1197" fmla="*/ 965230 h 1452453"/>
                    <a:gd name="connsiteX1198" fmla="*/ 1336585 w 1653042"/>
                    <a:gd name="connsiteY1198" fmla="*/ 965558 h 1452453"/>
                    <a:gd name="connsiteX1199" fmla="*/ 1337411 w 1653042"/>
                    <a:gd name="connsiteY1199" fmla="*/ 965534 h 1452453"/>
                    <a:gd name="connsiteX1200" fmla="*/ 1340192 w 1653042"/>
                    <a:gd name="connsiteY1200" fmla="*/ 966092 h 1452453"/>
                    <a:gd name="connsiteX1201" fmla="*/ 1343276 w 1653042"/>
                    <a:gd name="connsiteY1201" fmla="*/ 967719 h 1452453"/>
                    <a:gd name="connsiteX1202" fmla="*/ 1345207 w 1653042"/>
                    <a:gd name="connsiteY1202" fmla="*/ 969419 h 1452453"/>
                    <a:gd name="connsiteX1203" fmla="*/ 1350101 w 1653042"/>
                    <a:gd name="connsiteY1203" fmla="*/ 977810 h 1452453"/>
                    <a:gd name="connsiteX1204" fmla="*/ 1351133 w 1653042"/>
                    <a:gd name="connsiteY1204" fmla="*/ 978721 h 1452453"/>
                    <a:gd name="connsiteX1205" fmla="*/ 1352505 w 1653042"/>
                    <a:gd name="connsiteY1205" fmla="*/ 979340 h 1452453"/>
                    <a:gd name="connsiteX1206" fmla="*/ 1356658 w 1653042"/>
                    <a:gd name="connsiteY1206" fmla="*/ 979292 h 1452453"/>
                    <a:gd name="connsiteX1207" fmla="*/ 1359147 w 1653042"/>
                    <a:gd name="connsiteY1207" fmla="*/ 979583 h 1452453"/>
                    <a:gd name="connsiteX1208" fmla="*/ 1361976 w 1653042"/>
                    <a:gd name="connsiteY1208" fmla="*/ 980409 h 1452453"/>
                    <a:gd name="connsiteX1209" fmla="*/ 1364368 w 1653042"/>
                    <a:gd name="connsiteY1209" fmla="*/ 981465 h 1452453"/>
                    <a:gd name="connsiteX1210" fmla="*/ 1372881 w 1653042"/>
                    <a:gd name="connsiteY1210" fmla="*/ 987707 h 1452453"/>
                    <a:gd name="connsiteX1211" fmla="*/ 1373876 w 1653042"/>
                    <a:gd name="connsiteY1211" fmla="*/ 988326 h 1452453"/>
                    <a:gd name="connsiteX1212" fmla="*/ 1374641 w 1653042"/>
                    <a:gd name="connsiteY1212" fmla="*/ 988508 h 1452453"/>
                    <a:gd name="connsiteX1213" fmla="*/ 1379863 w 1653042"/>
                    <a:gd name="connsiteY1213" fmla="*/ 986432 h 1452453"/>
                    <a:gd name="connsiteX1214" fmla="*/ 1381490 w 1653042"/>
                    <a:gd name="connsiteY1214" fmla="*/ 985994 h 1452453"/>
                    <a:gd name="connsiteX1215" fmla="*/ 1383870 w 1653042"/>
                    <a:gd name="connsiteY1215" fmla="*/ 985873 h 1452453"/>
                    <a:gd name="connsiteX1216" fmla="*/ 1392249 w 1653042"/>
                    <a:gd name="connsiteY1216" fmla="*/ 987245 h 1452453"/>
                    <a:gd name="connsiteX1217" fmla="*/ 1394702 w 1653042"/>
                    <a:gd name="connsiteY1217" fmla="*/ 988253 h 1452453"/>
                    <a:gd name="connsiteX1218" fmla="*/ 1401526 w 1653042"/>
                    <a:gd name="connsiteY1218" fmla="*/ 993317 h 1452453"/>
                    <a:gd name="connsiteX1219" fmla="*/ 1405399 w 1653042"/>
                    <a:gd name="connsiteY1219" fmla="*/ 991058 h 1452453"/>
                    <a:gd name="connsiteX1220" fmla="*/ 1416547 w 1653042"/>
                    <a:gd name="connsiteY1220" fmla="*/ 991264 h 1452453"/>
                    <a:gd name="connsiteX1221" fmla="*/ 1420651 w 1653042"/>
                    <a:gd name="connsiteY1221" fmla="*/ 989419 h 1452453"/>
                    <a:gd name="connsiteX1222" fmla="*/ 1425411 w 1653042"/>
                    <a:gd name="connsiteY1222" fmla="*/ 986480 h 1452453"/>
                    <a:gd name="connsiteX1223" fmla="*/ 1430074 w 1653042"/>
                    <a:gd name="connsiteY1223" fmla="*/ 984416 h 1452453"/>
                    <a:gd name="connsiteX1224" fmla="*/ 1433717 w 1653042"/>
                    <a:gd name="connsiteY1224" fmla="*/ 983760 h 1452453"/>
                    <a:gd name="connsiteX1225" fmla="*/ 1436716 w 1653042"/>
                    <a:gd name="connsiteY1225" fmla="*/ 983979 h 1452453"/>
                    <a:gd name="connsiteX1226" fmla="*/ 1441197 w 1653042"/>
                    <a:gd name="connsiteY1226" fmla="*/ 985897 h 1452453"/>
                    <a:gd name="connsiteX1227" fmla="*/ 1443540 w 1653042"/>
                    <a:gd name="connsiteY1227" fmla="*/ 986492 h 1452453"/>
                    <a:gd name="connsiteX1228" fmla="*/ 1447450 w 1653042"/>
                    <a:gd name="connsiteY1228" fmla="*/ 986869 h 1452453"/>
                    <a:gd name="connsiteX1229" fmla="*/ 1449636 w 1653042"/>
                    <a:gd name="connsiteY1229" fmla="*/ 986334 h 1452453"/>
                    <a:gd name="connsiteX1230" fmla="*/ 1451093 w 1653042"/>
                    <a:gd name="connsiteY1230" fmla="*/ 985436 h 1452453"/>
                    <a:gd name="connsiteX1231" fmla="*/ 1451980 w 1653042"/>
                    <a:gd name="connsiteY1231" fmla="*/ 984464 h 1452453"/>
                    <a:gd name="connsiteX1232" fmla="*/ 1452684 w 1653042"/>
                    <a:gd name="connsiteY1232" fmla="*/ 983214 h 1452453"/>
                    <a:gd name="connsiteX1233" fmla="*/ 1453364 w 1653042"/>
                    <a:gd name="connsiteY1233" fmla="*/ 981769 h 1452453"/>
                    <a:gd name="connsiteX1234" fmla="*/ 1455052 w 1653042"/>
                    <a:gd name="connsiteY1234" fmla="*/ 976353 h 1452453"/>
                    <a:gd name="connsiteX1235" fmla="*/ 1456339 w 1653042"/>
                    <a:gd name="connsiteY1235" fmla="*/ 973779 h 1452453"/>
                    <a:gd name="connsiteX1236" fmla="*/ 1458452 w 1653042"/>
                    <a:gd name="connsiteY1236" fmla="*/ 971326 h 1452453"/>
                    <a:gd name="connsiteX1237" fmla="*/ 1462496 w 1653042"/>
                    <a:gd name="connsiteY1237" fmla="*/ 968594 h 1452453"/>
                    <a:gd name="connsiteX1238" fmla="*/ 1467887 w 1653042"/>
                    <a:gd name="connsiteY1238" fmla="*/ 966456 h 1452453"/>
                    <a:gd name="connsiteX1239" fmla="*/ 1472404 w 1653042"/>
                    <a:gd name="connsiteY1239" fmla="*/ 965704 h 1452453"/>
                    <a:gd name="connsiteX1240" fmla="*/ 1474711 w 1653042"/>
                    <a:gd name="connsiteY1240" fmla="*/ 965667 h 1452453"/>
                    <a:gd name="connsiteX1241" fmla="*/ 1478184 w 1653042"/>
                    <a:gd name="connsiteY1241" fmla="*/ 966201 h 1452453"/>
                    <a:gd name="connsiteX1242" fmla="*/ 1480224 w 1653042"/>
                    <a:gd name="connsiteY1242" fmla="*/ 967003 h 1452453"/>
                    <a:gd name="connsiteX1243" fmla="*/ 1481888 w 1653042"/>
                    <a:gd name="connsiteY1243" fmla="*/ 968059 h 1452453"/>
                    <a:gd name="connsiteX1244" fmla="*/ 1483345 w 1653042"/>
                    <a:gd name="connsiteY1244" fmla="*/ 969432 h 1452453"/>
                    <a:gd name="connsiteX1245" fmla="*/ 1484511 w 1653042"/>
                    <a:gd name="connsiteY1245" fmla="*/ 970876 h 1452453"/>
                    <a:gd name="connsiteX1246" fmla="*/ 1485494 w 1653042"/>
                    <a:gd name="connsiteY1246" fmla="*/ 972516 h 1452453"/>
                    <a:gd name="connsiteX1247" fmla="*/ 1486466 w 1653042"/>
                    <a:gd name="connsiteY1247" fmla="*/ 974859 h 1452453"/>
                    <a:gd name="connsiteX1248" fmla="*/ 1486466 w 1653042"/>
                    <a:gd name="connsiteY1248" fmla="*/ 977264 h 1452453"/>
                    <a:gd name="connsiteX1249" fmla="*/ 1485361 w 1653042"/>
                    <a:gd name="connsiteY1249" fmla="*/ 979109 h 1452453"/>
                    <a:gd name="connsiteX1250" fmla="*/ 1484474 w 1653042"/>
                    <a:gd name="connsiteY1250" fmla="*/ 980384 h 1452453"/>
                    <a:gd name="connsiteX1251" fmla="*/ 1483806 w 1653042"/>
                    <a:gd name="connsiteY1251" fmla="*/ 981647 h 1452453"/>
                    <a:gd name="connsiteX1252" fmla="*/ 1483539 w 1653042"/>
                    <a:gd name="connsiteY1252" fmla="*/ 982837 h 1452453"/>
                    <a:gd name="connsiteX1253" fmla="*/ 1483539 w 1653042"/>
                    <a:gd name="connsiteY1253" fmla="*/ 984440 h 1452453"/>
                    <a:gd name="connsiteX1254" fmla="*/ 1483843 w 1653042"/>
                    <a:gd name="connsiteY1254" fmla="*/ 985703 h 1452453"/>
                    <a:gd name="connsiteX1255" fmla="*/ 1484474 w 1653042"/>
                    <a:gd name="connsiteY1255" fmla="*/ 986820 h 1452453"/>
                    <a:gd name="connsiteX1256" fmla="*/ 1486490 w 1653042"/>
                    <a:gd name="connsiteY1256" fmla="*/ 989637 h 1452453"/>
                    <a:gd name="connsiteX1257" fmla="*/ 1487461 w 1653042"/>
                    <a:gd name="connsiteY1257" fmla="*/ 991702 h 1452453"/>
                    <a:gd name="connsiteX1258" fmla="*/ 1487874 w 1653042"/>
                    <a:gd name="connsiteY1258" fmla="*/ 994677 h 1452453"/>
                    <a:gd name="connsiteX1259" fmla="*/ 1487546 w 1653042"/>
                    <a:gd name="connsiteY1259" fmla="*/ 996182 h 1452453"/>
                    <a:gd name="connsiteX1260" fmla="*/ 1486296 w 1653042"/>
                    <a:gd name="connsiteY1260" fmla="*/ 999534 h 1452453"/>
                    <a:gd name="connsiteX1261" fmla="*/ 1486271 w 1653042"/>
                    <a:gd name="connsiteY1261" fmla="*/ 1000275 h 1452453"/>
                    <a:gd name="connsiteX1262" fmla="*/ 1486356 w 1653042"/>
                    <a:gd name="connsiteY1262" fmla="*/ 1001732 h 1452453"/>
                    <a:gd name="connsiteX1263" fmla="*/ 1486696 w 1653042"/>
                    <a:gd name="connsiteY1263" fmla="*/ 1003286 h 1452453"/>
                    <a:gd name="connsiteX1264" fmla="*/ 1487134 w 1653042"/>
                    <a:gd name="connsiteY1264" fmla="*/ 1004306 h 1452453"/>
                    <a:gd name="connsiteX1265" fmla="*/ 1488202 w 1653042"/>
                    <a:gd name="connsiteY1265" fmla="*/ 1005921 h 1452453"/>
                    <a:gd name="connsiteX1266" fmla="*/ 1491869 w 1653042"/>
                    <a:gd name="connsiteY1266" fmla="*/ 1010062 h 1452453"/>
                    <a:gd name="connsiteX1267" fmla="*/ 1493169 w 1653042"/>
                    <a:gd name="connsiteY1267" fmla="*/ 1012053 h 1452453"/>
                    <a:gd name="connsiteX1268" fmla="*/ 1494104 w 1653042"/>
                    <a:gd name="connsiteY1268" fmla="*/ 1015295 h 1452453"/>
                    <a:gd name="connsiteX1269" fmla="*/ 1493569 w 1653042"/>
                    <a:gd name="connsiteY1269" fmla="*/ 1018088 h 1452453"/>
                    <a:gd name="connsiteX1270" fmla="*/ 1492112 w 1653042"/>
                    <a:gd name="connsiteY1270" fmla="*/ 1020019 h 1452453"/>
                    <a:gd name="connsiteX1271" fmla="*/ 1491651 w 1653042"/>
                    <a:gd name="connsiteY1271" fmla="*/ 1021015 h 1452453"/>
                    <a:gd name="connsiteX1272" fmla="*/ 1492185 w 1653042"/>
                    <a:gd name="connsiteY1272" fmla="*/ 1025083 h 1452453"/>
                    <a:gd name="connsiteX1273" fmla="*/ 1491894 w 1653042"/>
                    <a:gd name="connsiteY1273" fmla="*/ 1028446 h 1452453"/>
                    <a:gd name="connsiteX1274" fmla="*/ 1490133 w 1653042"/>
                    <a:gd name="connsiteY1274" fmla="*/ 1031445 h 1452453"/>
                    <a:gd name="connsiteX1275" fmla="*/ 1487971 w 1653042"/>
                    <a:gd name="connsiteY1275" fmla="*/ 1032733 h 1452453"/>
                    <a:gd name="connsiteX1276" fmla="*/ 1485616 w 1653042"/>
                    <a:gd name="connsiteY1276" fmla="*/ 1033413 h 1452453"/>
                    <a:gd name="connsiteX1277" fmla="*/ 1484996 w 1653042"/>
                    <a:gd name="connsiteY1277" fmla="*/ 1034008 h 1452453"/>
                    <a:gd name="connsiteX1278" fmla="*/ 1484535 w 1653042"/>
                    <a:gd name="connsiteY1278" fmla="*/ 1034833 h 1452453"/>
                    <a:gd name="connsiteX1279" fmla="*/ 1482410 w 1653042"/>
                    <a:gd name="connsiteY1279" fmla="*/ 1037104 h 1452453"/>
                    <a:gd name="connsiteX1280" fmla="*/ 1478391 w 1653042"/>
                    <a:gd name="connsiteY1280" fmla="*/ 1039132 h 1452453"/>
                    <a:gd name="connsiteX1281" fmla="*/ 1473449 w 1653042"/>
                    <a:gd name="connsiteY1281" fmla="*/ 1038780 h 1452453"/>
                    <a:gd name="connsiteX1282" fmla="*/ 1470133 w 1653042"/>
                    <a:gd name="connsiteY1282" fmla="*/ 1037019 h 1452453"/>
                    <a:gd name="connsiteX1283" fmla="*/ 1466988 w 1653042"/>
                    <a:gd name="connsiteY1283" fmla="*/ 1034931 h 1452453"/>
                    <a:gd name="connsiteX1284" fmla="*/ 1465301 w 1653042"/>
                    <a:gd name="connsiteY1284" fmla="*/ 1034615 h 1452453"/>
                    <a:gd name="connsiteX1285" fmla="*/ 1464026 w 1653042"/>
                    <a:gd name="connsiteY1285" fmla="*/ 1034809 h 1452453"/>
                    <a:gd name="connsiteX1286" fmla="*/ 1460698 w 1653042"/>
                    <a:gd name="connsiteY1286" fmla="*/ 1036363 h 1452453"/>
                    <a:gd name="connsiteX1287" fmla="*/ 1456752 w 1653042"/>
                    <a:gd name="connsiteY1287" fmla="*/ 1036011 h 1452453"/>
                    <a:gd name="connsiteX1288" fmla="*/ 1453570 w 1653042"/>
                    <a:gd name="connsiteY1288" fmla="*/ 1035028 h 1452453"/>
                    <a:gd name="connsiteX1289" fmla="*/ 1451798 w 1653042"/>
                    <a:gd name="connsiteY1289" fmla="*/ 1035295 h 1452453"/>
                    <a:gd name="connsiteX1290" fmla="*/ 1433765 w 1653042"/>
                    <a:gd name="connsiteY1290" fmla="*/ 1041888 h 1452453"/>
                    <a:gd name="connsiteX1291" fmla="*/ 1423772 w 1653042"/>
                    <a:gd name="connsiteY1291" fmla="*/ 1043285 h 1452453"/>
                    <a:gd name="connsiteX1292" fmla="*/ 1419218 w 1653042"/>
                    <a:gd name="connsiteY1292" fmla="*/ 1042981 h 1452453"/>
                    <a:gd name="connsiteX1293" fmla="*/ 1417554 w 1653042"/>
                    <a:gd name="connsiteY1293" fmla="*/ 1043018 h 1452453"/>
                    <a:gd name="connsiteX1294" fmla="*/ 1416619 w 1653042"/>
                    <a:gd name="connsiteY1294" fmla="*/ 1043224 h 1452453"/>
                    <a:gd name="connsiteX1295" fmla="*/ 1401526 w 1653042"/>
                    <a:gd name="connsiteY1295" fmla="*/ 1050000 h 1452453"/>
                    <a:gd name="connsiteX1296" fmla="*/ 1394981 w 1653042"/>
                    <a:gd name="connsiteY1296" fmla="*/ 1051408 h 1452453"/>
                    <a:gd name="connsiteX1297" fmla="*/ 1392941 w 1653042"/>
                    <a:gd name="connsiteY1297" fmla="*/ 1052477 h 1452453"/>
                    <a:gd name="connsiteX1298" fmla="*/ 1392091 w 1653042"/>
                    <a:gd name="connsiteY1298" fmla="*/ 1053327 h 1452453"/>
                    <a:gd name="connsiteX1299" fmla="*/ 1390197 w 1653042"/>
                    <a:gd name="connsiteY1299" fmla="*/ 1056751 h 1452453"/>
                    <a:gd name="connsiteX1300" fmla="*/ 1390585 w 1653042"/>
                    <a:gd name="connsiteY1300" fmla="*/ 1057735 h 1452453"/>
                    <a:gd name="connsiteX1301" fmla="*/ 1393329 w 1653042"/>
                    <a:gd name="connsiteY1301" fmla="*/ 1062884 h 1452453"/>
                    <a:gd name="connsiteX1302" fmla="*/ 1396134 w 1653042"/>
                    <a:gd name="connsiteY1302" fmla="*/ 1069477 h 1452453"/>
                    <a:gd name="connsiteX1303" fmla="*/ 1397082 w 1653042"/>
                    <a:gd name="connsiteY1303" fmla="*/ 1073059 h 1452453"/>
                    <a:gd name="connsiteX1304" fmla="*/ 1397361 w 1653042"/>
                    <a:gd name="connsiteY1304" fmla="*/ 1078208 h 1452453"/>
                    <a:gd name="connsiteX1305" fmla="*/ 1396972 w 1653042"/>
                    <a:gd name="connsiteY1305" fmla="*/ 1080296 h 1452453"/>
                    <a:gd name="connsiteX1306" fmla="*/ 1395940 w 1653042"/>
                    <a:gd name="connsiteY1306" fmla="*/ 1082543 h 1452453"/>
                    <a:gd name="connsiteX1307" fmla="*/ 1393864 w 1653042"/>
                    <a:gd name="connsiteY1307" fmla="*/ 1085093 h 1452453"/>
                    <a:gd name="connsiteX1308" fmla="*/ 1391095 w 1653042"/>
                    <a:gd name="connsiteY1308" fmla="*/ 1086975 h 1452453"/>
                    <a:gd name="connsiteX1309" fmla="*/ 1388679 w 1653042"/>
                    <a:gd name="connsiteY1309" fmla="*/ 1088019 h 1452453"/>
                    <a:gd name="connsiteX1310" fmla="*/ 1384404 w 1653042"/>
                    <a:gd name="connsiteY1310" fmla="*/ 1089088 h 1452453"/>
                    <a:gd name="connsiteX1311" fmla="*/ 1379511 w 1653042"/>
                    <a:gd name="connsiteY1311" fmla="*/ 1089513 h 1452453"/>
                    <a:gd name="connsiteX1312" fmla="*/ 1378479 w 1653042"/>
                    <a:gd name="connsiteY1312" fmla="*/ 1090436 h 1452453"/>
                    <a:gd name="connsiteX1313" fmla="*/ 1378309 w 1653042"/>
                    <a:gd name="connsiteY1313" fmla="*/ 1090727 h 1452453"/>
                    <a:gd name="connsiteX1314" fmla="*/ 1379790 w 1653042"/>
                    <a:gd name="connsiteY1314" fmla="*/ 1092039 h 1452453"/>
                    <a:gd name="connsiteX1315" fmla="*/ 1390002 w 1653042"/>
                    <a:gd name="connsiteY1315" fmla="*/ 1103684 h 1452453"/>
                    <a:gd name="connsiteX1316" fmla="*/ 1394167 w 1653042"/>
                    <a:gd name="connsiteY1316" fmla="*/ 1105870 h 1452453"/>
                    <a:gd name="connsiteX1317" fmla="*/ 1401805 w 1653042"/>
                    <a:gd name="connsiteY1317" fmla="*/ 1106659 h 1452453"/>
                    <a:gd name="connsiteX1318" fmla="*/ 1403687 w 1653042"/>
                    <a:gd name="connsiteY1318" fmla="*/ 1106088 h 1452453"/>
                    <a:gd name="connsiteX1319" fmla="*/ 1405582 w 1653042"/>
                    <a:gd name="connsiteY1319" fmla="*/ 1105772 h 1452453"/>
                    <a:gd name="connsiteX1320" fmla="*/ 1408496 w 1653042"/>
                    <a:gd name="connsiteY1320" fmla="*/ 1106088 h 1452453"/>
                    <a:gd name="connsiteX1321" fmla="*/ 1411386 w 1653042"/>
                    <a:gd name="connsiteY1321" fmla="*/ 1107387 h 1452453"/>
                    <a:gd name="connsiteX1322" fmla="*/ 1420918 w 1653042"/>
                    <a:gd name="connsiteY1322" fmla="*/ 1115438 h 1452453"/>
                    <a:gd name="connsiteX1323" fmla="*/ 1423602 w 1653042"/>
                    <a:gd name="connsiteY1323" fmla="*/ 1118340 h 1452453"/>
                    <a:gd name="connsiteX1324" fmla="*/ 1425812 w 1653042"/>
                    <a:gd name="connsiteY1324" fmla="*/ 1121971 h 1452453"/>
                    <a:gd name="connsiteX1325" fmla="*/ 1427682 w 1653042"/>
                    <a:gd name="connsiteY1325" fmla="*/ 1126512 h 1452453"/>
                    <a:gd name="connsiteX1326" fmla="*/ 1430207 w 1653042"/>
                    <a:gd name="connsiteY1326" fmla="*/ 1136275 h 1452453"/>
                    <a:gd name="connsiteX1327" fmla="*/ 1430657 w 1653042"/>
                    <a:gd name="connsiteY1327" fmla="*/ 1141691 h 1452453"/>
                    <a:gd name="connsiteX1328" fmla="*/ 1430195 w 1653042"/>
                    <a:gd name="connsiteY1328" fmla="*/ 1146293 h 1452453"/>
                    <a:gd name="connsiteX1329" fmla="*/ 1428398 w 1653042"/>
                    <a:gd name="connsiteY1329" fmla="*/ 1148734 h 1452453"/>
                    <a:gd name="connsiteX1330" fmla="*/ 1427585 w 1653042"/>
                    <a:gd name="connsiteY1330" fmla="*/ 1150106 h 1452453"/>
                    <a:gd name="connsiteX1331" fmla="*/ 1424561 w 1653042"/>
                    <a:gd name="connsiteY1331" fmla="*/ 1152256 h 1452453"/>
                    <a:gd name="connsiteX1332" fmla="*/ 1406541 w 1653042"/>
                    <a:gd name="connsiteY1332" fmla="*/ 1160234 h 1452453"/>
                    <a:gd name="connsiteX1333" fmla="*/ 1405545 w 1653042"/>
                    <a:gd name="connsiteY1333" fmla="*/ 1160525 h 1452453"/>
                    <a:gd name="connsiteX1334" fmla="*/ 1402169 w 1653042"/>
                    <a:gd name="connsiteY1334" fmla="*/ 1161168 h 1452453"/>
                    <a:gd name="connsiteX1335" fmla="*/ 1399668 w 1653042"/>
                    <a:gd name="connsiteY1335" fmla="*/ 1161193 h 1452453"/>
                    <a:gd name="connsiteX1336" fmla="*/ 1397324 w 1653042"/>
                    <a:gd name="connsiteY1336" fmla="*/ 1160828 h 1452453"/>
                    <a:gd name="connsiteX1337" fmla="*/ 1396280 w 1653042"/>
                    <a:gd name="connsiteY1337" fmla="*/ 1160355 h 1452453"/>
                    <a:gd name="connsiteX1338" fmla="*/ 1395272 w 1653042"/>
                    <a:gd name="connsiteY1338" fmla="*/ 1159699 h 1452453"/>
                    <a:gd name="connsiteX1339" fmla="*/ 1394301 w 1653042"/>
                    <a:gd name="connsiteY1339" fmla="*/ 1158121 h 1452453"/>
                    <a:gd name="connsiteX1340" fmla="*/ 1394034 w 1653042"/>
                    <a:gd name="connsiteY1340" fmla="*/ 1156469 h 1452453"/>
                    <a:gd name="connsiteX1341" fmla="*/ 1394228 w 1653042"/>
                    <a:gd name="connsiteY1341" fmla="*/ 1153166 h 1452453"/>
                    <a:gd name="connsiteX1342" fmla="*/ 1393766 w 1653042"/>
                    <a:gd name="connsiteY1342" fmla="*/ 1151345 h 1452453"/>
                    <a:gd name="connsiteX1343" fmla="*/ 1392589 w 1653042"/>
                    <a:gd name="connsiteY1343" fmla="*/ 1148613 h 1452453"/>
                    <a:gd name="connsiteX1344" fmla="*/ 1392042 w 1653042"/>
                    <a:gd name="connsiteY1344" fmla="*/ 1147738 h 1452453"/>
                    <a:gd name="connsiteX1345" fmla="*/ 1391411 w 1653042"/>
                    <a:gd name="connsiteY1345" fmla="*/ 1146986 h 1452453"/>
                    <a:gd name="connsiteX1346" fmla="*/ 1389043 w 1653042"/>
                    <a:gd name="connsiteY1346" fmla="*/ 1147034 h 1452453"/>
                    <a:gd name="connsiteX1347" fmla="*/ 1387258 w 1653042"/>
                    <a:gd name="connsiteY1347" fmla="*/ 1146718 h 1452453"/>
                    <a:gd name="connsiteX1348" fmla="*/ 1385449 w 1653042"/>
                    <a:gd name="connsiteY1348" fmla="*/ 1146051 h 1452453"/>
                    <a:gd name="connsiteX1349" fmla="*/ 1383761 w 1653042"/>
                    <a:gd name="connsiteY1349" fmla="*/ 1145128 h 1452453"/>
                    <a:gd name="connsiteX1350" fmla="*/ 1383275 w 1653042"/>
                    <a:gd name="connsiteY1350" fmla="*/ 1145103 h 1452453"/>
                    <a:gd name="connsiteX1351" fmla="*/ 1383044 w 1653042"/>
                    <a:gd name="connsiteY1351" fmla="*/ 1145200 h 1452453"/>
                    <a:gd name="connsiteX1352" fmla="*/ 1382935 w 1653042"/>
                    <a:gd name="connsiteY1352" fmla="*/ 1145358 h 1452453"/>
                    <a:gd name="connsiteX1353" fmla="*/ 1382862 w 1653042"/>
                    <a:gd name="connsiteY1353" fmla="*/ 1146500 h 1452453"/>
                    <a:gd name="connsiteX1354" fmla="*/ 1384186 w 1653042"/>
                    <a:gd name="connsiteY1354" fmla="*/ 1152608 h 1452453"/>
                    <a:gd name="connsiteX1355" fmla="*/ 1384404 w 1653042"/>
                    <a:gd name="connsiteY1355" fmla="*/ 1154490 h 1452453"/>
                    <a:gd name="connsiteX1356" fmla="*/ 1384429 w 1653042"/>
                    <a:gd name="connsiteY1356" fmla="*/ 1156688 h 1452453"/>
                    <a:gd name="connsiteX1357" fmla="*/ 1384259 w 1653042"/>
                    <a:gd name="connsiteY1357" fmla="*/ 1157854 h 1452453"/>
                    <a:gd name="connsiteX1358" fmla="*/ 1382826 w 1653042"/>
                    <a:gd name="connsiteY1358" fmla="*/ 1163014 h 1452453"/>
                    <a:gd name="connsiteX1359" fmla="*/ 1382741 w 1653042"/>
                    <a:gd name="connsiteY1359" fmla="*/ 1163949 h 1452453"/>
                    <a:gd name="connsiteX1360" fmla="*/ 1382814 w 1653042"/>
                    <a:gd name="connsiteY1360" fmla="*/ 1164848 h 1452453"/>
                    <a:gd name="connsiteX1361" fmla="*/ 1384708 w 1653042"/>
                    <a:gd name="connsiteY1361" fmla="*/ 1171296 h 1452453"/>
                    <a:gd name="connsiteX1362" fmla="*/ 1384489 w 1653042"/>
                    <a:gd name="connsiteY1362" fmla="*/ 1185345 h 1452453"/>
                    <a:gd name="connsiteX1363" fmla="*/ 1385497 w 1653042"/>
                    <a:gd name="connsiteY1363" fmla="*/ 1189073 h 1452453"/>
                    <a:gd name="connsiteX1364" fmla="*/ 1387343 w 1653042"/>
                    <a:gd name="connsiteY1364" fmla="*/ 1192643 h 1452453"/>
                    <a:gd name="connsiteX1365" fmla="*/ 1395722 w 1653042"/>
                    <a:gd name="connsiteY1365" fmla="*/ 1203062 h 1452453"/>
                    <a:gd name="connsiteX1366" fmla="*/ 1398442 w 1653042"/>
                    <a:gd name="connsiteY1366" fmla="*/ 1207360 h 1452453"/>
                    <a:gd name="connsiteX1367" fmla="*/ 1399425 w 1653042"/>
                    <a:gd name="connsiteY1367" fmla="*/ 1211246 h 1452453"/>
                    <a:gd name="connsiteX1368" fmla="*/ 1398721 w 1653042"/>
                    <a:gd name="connsiteY1368" fmla="*/ 1214415 h 1452453"/>
                    <a:gd name="connsiteX1369" fmla="*/ 1397094 w 1653042"/>
                    <a:gd name="connsiteY1369" fmla="*/ 1216479 h 1452453"/>
                    <a:gd name="connsiteX1370" fmla="*/ 1395989 w 1653042"/>
                    <a:gd name="connsiteY1370" fmla="*/ 1218180 h 1452453"/>
                    <a:gd name="connsiteX1371" fmla="*/ 1395539 w 1653042"/>
                    <a:gd name="connsiteY1371" fmla="*/ 1219952 h 1452453"/>
                    <a:gd name="connsiteX1372" fmla="*/ 1394580 w 1653042"/>
                    <a:gd name="connsiteY1372" fmla="*/ 1222053 h 1452453"/>
                    <a:gd name="connsiteX1373" fmla="*/ 1392589 w 1653042"/>
                    <a:gd name="connsiteY1373" fmla="*/ 1224251 h 1452453"/>
                    <a:gd name="connsiteX1374" fmla="*/ 1391969 w 1653042"/>
                    <a:gd name="connsiteY1374" fmla="*/ 1224846 h 1452453"/>
                    <a:gd name="connsiteX1375" fmla="*/ 1389104 w 1653042"/>
                    <a:gd name="connsiteY1375" fmla="*/ 1225478 h 1452453"/>
                    <a:gd name="connsiteX1376" fmla="*/ 1386117 w 1653042"/>
                    <a:gd name="connsiteY1376" fmla="*/ 1225502 h 1452453"/>
                    <a:gd name="connsiteX1377" fmla="*/ 1383712 w 1653042"/>
                    <a:gd name="connsiteY1377" fmla="*/ 1225150 h 1452453"/>
                    <a:gd name="connsiteX1378" fmla="*/ 1382899 w 1653042"/>
                    <a:gd name="connsiteY1378" fmla="*/ 1225222 h 1452453"/>
                    <a:gd name="connsiteX1379" fmla="*/ 1378576 w 1653042"/>
                    <a:gd name="connsiteY1379" fmla="*/ 1227772 h 1452453"/>
                    <a:gd name="connsiteX1380" fmla="*/ 1371606 w 1653042"/>
                    <a:gd name="connsiteY1380" fmla="*/ 1228088 h 1452453"/>
                    <a:gd name="connsiteX1381" fmla="*/ 1366372 w 1653042"/>
                    <a:gd name="connsiteY1381" fmla="*/ 1224676 h 1452453"/>
                    <a:gd name="connsiteX1382" fmla="*/ 1362681 w 1653042"/>
                    <a:gd name="connsiteY1382" fmla="*/ 1221652 h 1452453"/>
                    <a:gd name="connsiteX1383" fmla="*/ 1352456 w 1653042"/>
                    <a:gd name="connsiteY1383" fmla="*/ 1214962 h 1452453"/>
                    <a:gd name="connsiteX1384" fmla="*/ 1348983 w 1653042"/>
                    <a:gd name="connsiteY1384" fmla="*/ 1211865 h 1452453"/>
                    <a:gd name="connsiteX1385" fmla="*/ 1348558 w 1653042"/>
                    <a:gd name="connsiteY1385" fmla="*/ 1210420 h 1452453"/>
                    <a:gd name="connsiteX1386" fmla="*/ 1348303 w 1653042"/>
                    <a:gd name="connsiteY1386" fmla="*/ 1208599 h 1452453"/>
                    <a:gd name="connsiteX1387" fmla="*/ 1348522 w 1653042"/>
                    <a:gd name="connsiteY1387" fmla="*/ 1207069 h 1452453"/>
                    <a:gd name="connsiteX1388" fmla="*/ 1349421 w 1653042"/>
                    <a:gd name="connsiteY1388" fmla="*/ 1204664 h 1452453"/>
                    <a:gd name="connsiteX1389" fmla="*/ 1351388 w 1653042"/>
                    <a:gd name="connsiteY1389" fmla="*/ 1200985 h 1452453"/>
                    <a:gd name="connsiteX1390" fmla="*/ 1352055 w 1653042"/>
                    <a:gd name="connsiteY1390" fmla="*/ 1199285 h 1452453"/>
                    <a:gd name="connsiteX1391" fmla="*/ 1352055 w 1653042"/>
                    <a:gd name="connsiteY1391" fmla="*/ 1198860 h 1452453"/>
                    <a:gd name="connsiteX1392" fmla="*/ 1351873 w 1653042"/>
                    <a:gd name="connsiteY1392" fmla="*/ 1198362 h 1452453"/>
                    <a:gd name="connsiteX1393" fmla="*/ 1350416 w 1653042"/>
                    <a:gd name="connsiteY1393" fmla="*/ 1198374 h 1452453"/>
                    <a:gd name="connsiteX1394" fmla="*/ 1346154 w 1653042"/>
                    <a:gd name="connsiteY1394" fmla="*/ 1199892 h 1452453"/>
                    <a:gd name="connsiteX1395" fmla="*/ 1341090 w 1653042"/>
                    <a:gd name="connsiteY1395" fmla="*/ 1202114 h 1452453"/>
                    <a:gd name="connsiteX1396" fmla="*/ 1339415 w 1653042"/>
                    <a:gd name="connsiteY1396" fmla="*/ 1203256 h 1452453"/>
                    <a:gd name="connsiteX1397" fmla="*/ 1338261 w 1653042"/>
                    <a:gd name="connsiteY1397" fmla="*/ 1204628 h 1452453"/>
                    <a:gd name="connsiteX1398" fmla="*/ 1337484 w 1653042"/>
                    <a:gd name="connsiteY1398" fmla="*/ 1206231 h 1452453"/>
                    <a:gd name="connsiteX1399" fmla="*/ 1335796 w 1653042"/>
                    <a:gd name="connsiteY1399" fmla="*/ 1212399 h 1452453"/>
                    <a:gd name="connsiteX1400" fmla="*/ 1334545 w 1653042"/>
                    <a:gd name="connsiteY1400" fmla="*/ 1214913 h 1452453"/>
                    <a:gd name="connsiteX1401" fmla="*/ 1332238 w 1653042"/>
                    <a:gd name="connsiteY1401" fmla="*/ 1216565 h 1452453"/>
                    <a:gd name="connsiteX1402" fmla="*/ 1329069 w 1653042"/>
                    <a:gd name="connsiteY1402" fmla="*/ 1217767 h 1452453"/>
                    <a:gd name="connsiteX1403" fmla="*/ 1324940 w 1653042"/>
                    <a:gd name="connsiteY1403" fmla="*/ 1218313 h 1452453"/>
                    <a:gd name="connsiteX1404" fmla="*/ 1322342 w 1653042"/>
                    <a:gd name="connsiteY1404" fmla="*/ 1217997 h 1452453"/>
                    <a:gd name="connsiteX1405" fmla="*/ 1319974 w 1653042"/>
                    <a:gd name="connsiteY1405" fmla="*/ 1216892 h 1452453"/>
                    <a:gd name="connsiteX1406" fmla="*/ 1319221 w 1653042"/>
                    <a:gd name="connsiteY1406" fmla="*/ 1216467 h 1452453"/>
                    <a:gd name="connsiteX1407" fmla="*/ 1318055 w 1653042"/>
                    <a:gd name="connsiteY1407" fmla="*/ 1214379 h 1452453"/>
                    <a:gd name="connsiteX1408" fmla="*/ 1316489 w 1653042"/>
                    <a:gd name="connsiteY1408" fmla="*/ 1209570 h 1452453"/>
                    <a:gd name="connsiteX1409" fmla="*/ 1315542 w 1653042"/>
                    <a:gd name="connsiteY1409" fmla="*/ 1207907 h 1452453"/>
                    <a:gd name="connsiteX1410" fmla="*/ 1315032 w 1653042"/>
                    <a:gd name="connsiteY1410" fmla="*/ 1207567 h 1452453"/>
                    <a:gd name="connsiteX1411" fmla="*/ 1313380 w 1653042"/>
                    <a:gd name="connsiteY1411" fmla="*/ 1207093 h 1452453"/>
                    <a:gd name="connsiteX1412" fmla="*/ 1305572 w 1653042"/>
                    <a:gd name="connsiteY1412" fmla="*/ 1208295 h 1452453"/>
                    <a:gd name="connsiteX1413" fmla="*/ 1300132 w 1653042"/>
                    <a:gd name="connsiteY1413" fmla="*/ 1208198 h 1452453"/>
                    <a:gd name="connsiteX1414" fmla="*/ 1295202 w 1653042"/>
                    <a:gd name="connsiteY1414" fmla="*/ 1207117 h 1452453"/>
                    <a:gd name="connsiteX1415" fmla="*/ 1284771 w 1653042"/>
                    <a:gd name="connsiteY1415" fmla="*/ 1203426 h 1452453"/>
                    <a:gd name="connsiteX1416" fmla="*/ 1282161 w 1653042"/>
                    <a:gd name="connsiteY1416" fmla="*/ 1203244 h 1452453"/>
                    <a:gd name="connsiteX1417" fmla="*/ 1276842 w 1653042"/>
                    <a:gd name="connsiteY1417" fmla="*/ 1204410 h 1452453"/>
                    <a:gd name="connsiteX1418" fmla="*/ 1271329 w 1653042"/>
                    <a:gd name="connsiteY1418" fmla="*/ 1204701 h 1452453"/>
                    <a:gd name="connsiteX1419" fmla="*/ 1267747 w 1653042"/>
                    <a:gd name="connsiteY1419" fmla="*/ 1203280 h 1452453"/>
                    <a:gd name="connsiteX1420" fmla="*/ 1264736 w 1653042"/>
                    <a:gd name="connsiteY1420" fmla="*/ 1201107 h 1452453"/>
                    <a:gd name="connsiteX1421" fmla="*/ 1262793 w 1653042"/>
                    <a:gd name="connsiteY1421" fmla="*/ 1198666 h 1452453"/>
                    <a:gd name="connsiteX1422" fmla="*/ 1261627 w 1653042"/>
                    <a:gd name="connsiteY1422" fmla="*/ 1196517 h 1452453"/>
                    <a:gd name="connsiteX1423" fmla="*/ 1261093 w 1653042"/>
                    <a:gd name="connsiteY1423" fmla="*/ 1194343 h 1452453"/>
                    <a:gd name="connsiteX1424" fmla="*/ 1261117 w 1653042"/>
                    <a:gd name="connsiteY1424" fmla="*/ 1192400 h 1452453"/>
                    <a:gd name="connsiteX1425" fmla="*/ 1261591 w 1653042"/>
                    <a:gd name="connsiteY1425" fmla="*/ 1190056 h 1452453"/>
                    <a:gd name="connsiteX1426" fmla="*/ 1259004 w 1653042"/>
                    <a:gd name="connsiteY1426" fmla="*/ 1191368 h 1452453"/>
                    <a:gd name="connsiteX1427" fmla="*/ 1256563 w 1653042"/>
                    <a:gd name="connsiteY1427" fmla="*/ 1192825 h 1452453"/>
                    <a:gd name="connsiteX1428" fmla="*/ 1255410 w 1653042"/>
                    <a:gd name="connsiteY1428" fmla="*/ 1193772 h 1452453"/>
                    <a:gd name="connsiteX1429" fmla="*/ 1254973 w 1653042"/>
                    <a:gd name="connsiteY1429" fmla="*/ 1194622 h 1452453"/>
                    <a:gd name="connsiteX1430" fmla="*/ 1254827 w 1653042"/>
                    <a:gd name="connsiteY1430" fmla="*/ 1195679 h 1452453"/>
                    <a:gd name="connsiteX1431" fmla="*/ 1254718 w 1653042"/>
                    <a:gd name="connsiteY1431" fmla="*/ 1200827 h 1452453"/>
                    <a:gd name="connsiteX1432" fmla="*/ 1253649 w 1653042"/>
                    <a:gd name="connsiteY1432" fmla="*/ 1205551 h 1452453"/>
                    <a:gd name="connsiteX1433" fmla="*/ 1253564 w 1653042"/>
                    <a:gd name="connsiteY1433" fmla="*/ 1207105 h 1452453"/>
                    <a:gd name="connsiteX1434" fmla="*/ 1254062 w 1653042"/>
                    <a:gd name="connsiteY1434" fmla="*/ 1210396 h 1452453"/>
                    <a:gd name="connsiteX1435" fmla="*/ 1253443 w 1653042"/>
                    <a:gd name="connsiteY1435" fmla="*/ 1218155 h 1452453"/>
                    <a:gd name="connsiteX1436" fmla="*/ 1253455 w 1653042"/>
                    <a:gd name="connsiteY1436" fmla="*/ 1220402 h 1452453"/>
                    <a:gd name="connsiteX1437" fmla="*/ 1254001 w 1653042"/>
                    <a:gd name="connsiteY1437" fmla="*/ 1224688 h 1452453"/>
                    <a:gd name="connsiteX1438" fmla="*/ 1254026 w 1653042"/>
                    <a:gd name="connsiteY1438" fmla="*/ 1226971 h 1452453"/>
                    <a:gd name="connsiteX1439" fmla="*/ 1253418 w 1653042"/>
                    <a:gd name="connsiteY1439" fmla="*/ 1231537 h 1452453"/>
                    <a:gd name="connsiteX1440" fmla="*/ 1246546 w 1653042"/>
                    <a:gd name="connsiteY1440" fmla="*/ 1239345 h 1452453"/>
                    <a:gd name="connsiteX1441" fmla="*/ 1230031 w 1653042"/>
                    <a:gd name="connsiteY1441" fmla="*/ 1249314 h 1452453"/>
                    <a:gd name="connsiteX1442" fmla="*/ 1228307 w 1653042"/>
                    <a:gd name="connsiteY1442" fmla="*/ 1251245 h 1452453"/>
                    <a:gd name="connsiteX1443" fmla="*/ 1228501 w 1653042"/>
                    <a:gd name="connsiteY1443" fmla="*/ 1251512 h 1452453"/>
                    <a:gd name="connsiteX1444" fmla="*/ 1231403 w 1653042"/>
                    <a:gd name="connsiteY1444" fmla="*/ 1254438 h 1452453"/>
                    <a:gd name="connsiteX1445" fmla="*/ 1231950 w 1653042"/>
                    <a:gd name="connsiteY1445" fmla="*/ 1256357 h 1452453"/>
                    <a:gd name="connsiteX1446" fmla="*/ 1232010 w 1653042"/>
                    <a:gd name="connsiteY1446" fmla="*/ 1256867 h 1452453"/>
                    <a:gd name="connsiteX1447" fmla="*/ 1231974 w 1653042"/>
                    <a:gd name="connsiteY1447" fmla="*/ 1257887 h 1452453"/>
                    <a:gd name="connsiteX1448" fmla="*/ 1231173 w 1653042"/>
                    <a:gd name="connsiteY1448" fmla="*/ 1260862 h 1452453"/>
                    <a:gd name="connsiteX1449" fmla="*/ 1230323 w 1653042"/>
                    <a:gd name="connsiteY1449" fmla="*/ 1262805 h 1452453"/>
                    <a:gd name="connsiteX1450" fmla="*/ 1228695 w 1653042"/>
                    <a:gd name="connsiteY1450" fmla="*/ 1265440 h 1452453"/>
                    <a:gd name="connsiteX1451" fmla="*/ 1225514 w 1653042"/>
                    <a:gd name="connsiteY1451" fmla="*/ 1268123 h 1452453"/>
                    <a:gd name="connsiteX1452" fmla="*/ 1211173 w 1653042"/>
                    <a:gd name="connsiteY1452" fmla="*/ 1275749 h 1452453"/>
                    <a:gd name="connsiteX1453" fmla="*/ 1200876 w 1653042"/>
                    <a:gd name="connsiteY1453" fmla="*/ 1278676 h 1452453"/>
                    <a:gd name="connsiteX1454" fmla="*/ 1194889 w 1653042"/>
                    <a:gd name="connsiteY1454" fmla="*/ 1281954 h 1452453"/>
                    <a:gd name="connsiteX1455" fmla="*/ 1190530 w 1653042"/>
                    <a:gd name="connsiteY1455" fmla="*/ 1283217 h 1452453"/>
                    <a:gd name="connsiteX1456" fmla="*/ 1186487 w 1653042"/>
                    <a:gd name="connsiteY1456" fmla="*/ 1283059 h 1452453"/>
                    <a:gd name="connsiteX1457" fmla="*/ 1185369 w 1653042"/>
                    <a:gd name="connsiteY1457" fmla="*/ 1282962 h 1452453"/>
                    <a:gd name="connsiteX1458" fmla="*/ 1182686 w 1653042"/>
                    <a:gd name="connsiteY1458" fmla="*/ 1280254 h 1452453"/>
                    <a:gd name="connsiteX1459" fmla="*/ 1180755 w 1653042"/>
                    <a:gd name="connsiteY1459" fmla="*/ 1277886 h 1452453"/>
                    <a:gd name="connsiteX1460" fmla="*/ 1179298 w 1653042"/>
                    <a:gd name="connsiteY1460" fmla="*/ 1276417 h 1452453"/>
                    <a:gd name="connsiteX1461" fmla="*/ 1179322 w 1653042"/>
                    <a:gd name="connsiteY1461" fmla="*/ 1276672 h 1452453"/>
                    <a:gd name="connsiteX1462" fmla="*/ 1180354 w 1653042"/>
                    <a:gd name="connsiteY1462" fmla="*/ 1280315 h 1452453"/>
                    <a:gd name="connsiteX1463" fmla="*/ 1180731 w 1653042"/>
                    <a:gd name="connsiteY1463" fmla="*/ 1282731 h 1452453"/>
                    <a:gd name="connsiteX1464" fmla="*/ 1180342 w 1653042"/>
                    <a:gd name="connsiteY1464" fmla="*/ 1285512 h 1452453"/>
                    <a:gd name="connsiteX1465" fmla="*/ 1177270 w 1653042"/>
                    <a:gd name="connsiteY1465" fmla="*/ 1291766 h 1452453"/>
                    <a:gd name="connsiteX1466" fmla="*/ 1176869 w 1653042"/>
                    <a:gd name="connsiteY1466" fmla="*/ 1294413 h 1452453"/>
                    <a:gd name="connsiteX1467" fmla="*/ 1176299 w 1653042"/>
                    <a:gd name="connsiteY1467" fmla="*/ 1296635 h 1452453"/>
                    <a:gd name="connsiteX1468" fmla="*/ 1174659 w 1653042"/>
                    <a:gd name="connsiteY1468" fmla="*/ 1300023 h 1452453"/>
                    <a:gd name="connsiteX1469" fmla="*/ 1171818 w 1653042"/>
                    <a:gd name="connsiteY1469" fmla="*/ 1301820 h 1452453"/>
                    <a:gd name="connsiteX1470" fmla="*/ 1168309 w 1653042"/>
                    <a:gd name="connsiteY1470" fmla="*/ 1301492 h 1452453"/>
                    <a:gd name="connsiteX1471" fmla="*/ 1164034 w 1653042"/>
                    <a:gd name="connsiteY1471" fmla="*/ 1297983 h 1452453"/>
                    <a:gd name="connsiteX1472" fmla="*/ 1162261 w 1653042"/>
                    <a:gd name="connsiteY1472" fmla="*/ 1297194 h 1452453"/>
                    <a:gd name="connsiteX1473" fmla="*/ 1159991 w 1653042"/>
                    <a:gd name="connsiteY1473" fmla="*/ 1296757 h 1452453"/>
                    <a:gd name="connsiteX1474" fmla="*/ 1150883 w 1653042"/>
                    <a:gd name="connsiteY1474" fmla="*/ 1295797 h 1452453"/>
                    <a:gd name="connsiteX1475" fmla="*/ 1148916 w 1653042"/>
                    <a:gd name="connsiteY1475" fmla="*/ 1290454 h 1452453"/>
                    <a:gd name="connsiteX1476" fmla="*/ 1148503 w 1653042"/>
                    <a:gd name="connsiteY1476" fmla="*/ 1285731 h 1452453"/>
                    <a:gd name="connsiteX1477" fmla="*/ 1147398 w 1653042"/>
                    <a:gd name="connsiteY1477" fmla="*/ 1283812 h 1452453"/>
                    <a:gd name="connsiteX1478" fmla="*/ 1137903 w 1653042"/>
                    <a:gd name="connsiteY1478" fmla="*/ 1278336 h 1452453"/>
                    <a:gd name="connsiteX1479" fmla="*/ 1134478 w 1653042"/>
                    <a:gd name="connsiteY1479" fmla="*/ 1275859 h 1452453"/>
                    <a:gd name="connsiteX1480" fmla="*/ 1133082 w 1653042"/>
                    <a:gd name="connsiteY1480" fmla="*/ 1274620 h 1452453"/>
                    <a:gd name="connsiteX1481" fmla="*/ 1130070 w 1653042"/>
                    <a:gd name="connsiteY1481" fmla="*/ 1269702 h 1452453"/>
                    <a:gd name="connsiteX1482" fmla="*/ 1129439 w 1653042"/>
                    <a:gd name="connsiteY1482" fmla="*/ 1261117 h 1452453"/>
                    <a:gd name="connsiteX1483" fmla="*/ 1129111 w 1653042"/>
                    <a:gd name="connsiteY1483" fmla="*/ 1258348 h 1452453"/>
                    <a:gd name="connsiteX1484" fmla="*/ 1132888 w 1653042"/>
                    <a:gd name="connsiteY1484" fmla="*/ 1252374 h 1452453"/>
                    <a:gd name="connsiteX1485" fmla="*/ 1134940 w 1653042"/>
                    <a:gd name="connsiteY1485" fmla="*/ 1247505 h 1452453"/>
                    <a:gd name="connsiteX1486" fmla="*/ 1138218 w 1653042"/>
                    <a:gd name="connsiteY1486" fmla="*/ 1245793 h 1452453"/>
                    <a:gd name="connsiteX1487" fmla="*/ 1139627 w 1653042"/>
                    <a:gd name="connsiteY1487" fmla="*/ 1245428 h 1452453"/>
                    <a:gd name="connsiteX1488" fmla="*/ 1142626 w 1653042"/>
                    <a:gd name="connsiteY1488" fmla="*/ 1245635 h 1452453"/>
                    <a:gd name="connsiteX1489" fmla="*/ 1143270 w 1653042"/>
                    <a:gd name="connsiteY1489" fmla="*/ 1245732 h 1452453"/>
                    <a:gd name="connsiteX1490" fmla="*/ 1145638 w 1653042"/>
                    <a:gd name="connsiteY1490" fmla="*/ 1247250 h 1452453"/>
                    <a:gd name="connsiteX1491" fmla="*/ 1149378 w 1653042"/>
                    <a:gd name="connsiteY1491" fmla="*/ 1250395 h 1452453"/>
                    <a:gd name="connsiteX1492" fmla="*/ 1150276 w 1653042"/>
                    <a:gd name="connsiteY1492" fmla="*/ 1250832 h 1452453"/>
                    <a:gd name="connsiteX1493" fmla="*/ 1152365 w 1653042"/>
                    <a:gd name="connsiteY1493" fmla="*/ 1251293 h 1452453"/>
                    <a:gd name="connsiteX1494" fmla="*/ 1154417 w 1653042"/>
                    <a:gd name="connsiteY1494" fmla="*/ 1252313 h 1452453"/>
                    <a:gd name="connsiteX1495" fmla="*/ 1157283 w 1653042"/>
                    <a:gd name="connsiteY1495" fmla="*/ 1254633 h 1452453"/>
                    <a:gd name="connsiteX1496" fmla="*/ 1158704 w 1653042"/>
                    <a:gd name="connsiteY1496" fmla="*/ 1254936 h 1452453"/>
                    <a:gd name="connsiteX1497" fmla="*/ 1159845 w 1653042"/>
                    <a:gd name="connsiteY1497" fmla="*/ 1254693 h 1452453"/>
                    <a:gd name="connsiteX1498" fmla="*/ 1160986 w 1653042"/>
                    <a:gd name="connsiteY1498" fmla="*/ 1254086 h 1452453"/>
                    <a:gd name="connsiteX1499" fmla="*/ 1165868 w 1653042"/>
                    <a:gd name="connsiteY1499" fmla="*/ 1249581 h 1452453"/>
                    <a:gd name="connsiteX1500" fmla="*/ 1169450 w 1653042"/>
                    <a:gd name="connsiteY1500" fmla="*/ 1248816 h 1452453"/>
                    <a:gd name="connsiteX1501" fmla="*/ 1172024 w 1653042"/>
                    <a:gd name="connsiteY1501" fmla="*/ 1249678 h 1452453"/>
                    <a:gd name="connsiteX1502" fmla="*/ 1176724 w 1653042"/>
                    <a:gd name="connsiteY1502" fmla="*/ 1253443 h 1452453"/>
                    <a:gd name="connsiteX1503" fmla="*/ 1176918 w 1653042"/>
                    <a:gd name="connsiteY1503" fmla="*/ 1253515 h 1452453"/>
                    <a:gd name="connsiteX1504" fmla="*/ 1177452 w 1653042"/>
                    <a:gd name="connsiteY1504" fmla="*/ 1251815 h 1452453"/>
                    <a:gd name="connsiteX1505" fmla="*/ 1179310 w 1653042"/>
                    <a:gd name="connsiteY1505" fmla="*/ 1248330 h 1452453"/>
                    <a:gd name="connsiteX1506" fmla="*/ 1182091 w 1653042"/>
                    <a:gd name="connsiteY1506" fmla="*/ 1244166 h 1452453"/>
                    <a:gd name="connsiteX1507" fmla="*/ 1187956 w 1653042"/>
                    <a:gd name="connsiteY1507" fmla="*/ 1238640 h 1452453"/>
                    <a:gd name="connsiteX1508" fmla="*/ 1189777 w 1653042"/>
                    <a:gd name="connsiteY1508" fmla="*/ 1235750 h 1452453"/>
                    <a:gd name="connsiteX1509" fmla="*/ 1189862 w 1653042"/>
                    <a:gd name="connsiteY1509" fmla="*/ 1235532 h 1452453"/>
                    <a:gd name="connsiteX1510" fmla="*/ 1189789 w 1653042"/>
                    <a:gd name="connsiteY1510" fmla="*/ 1235374 h 1452453"/>
                    <a:gd name="connsiteX1511" fmla="*/ 1182783 w 1653042"/>
                    <a:gd name="connsiteY1511" fmla="*/ 1231476 h 1452453"/>
                    <a:gd name="connsiteX1512" fmla="*/ 1179346 w 1653042"/>
                    <a:gd name="connsiteY1512" fmla="*/ 1227858 h 1452453"/>
                    <a:gd name="connsiteX1513" fmla="*/ 1178169 w 1653042"/>
                    <a:gd name="connsiteY1513" fmla="*/ 1223486 h 1452453"/>
                    <a:gd name="connsiteX1514" fmla="*/ 1178314 w 1653042"/>
                    <a:gd name="connsiteY1514" fmla="*/ 1218884 h 1452453"/>
                    <a:gd name="connsiteX1515" fmla="*/ 1180743 w 1653042"/>
                    <a:gd name="connsiteY1515" fmla="*/ 1213456 h 1452453"/>
                    <a:gd name="connsiteX1516" fmla="*/ 1187847 w 1653042"/>
                    <a:gd name="connsiteY1516" fmla="*/ 1204871 h 1452453"/>
                    <a:gd name="connsiteX1517" fmla="*/ 1188745 w 1653042"/>
                    <a:gd name="connsiteY1517" fmla="*/ 1201738 h 1452453"/>
                    <a:gd name="connsiteX1518" fmla="*/ 1188879 w 1653042"/>
                    <a:gd name="connsiteY1518" fmla="*/ 1198484 h 1452453"/>
                    <a:gd name="connsiteX1519" fmla="*/ 1188320 w 1653042"/>
                    <a:gd name="connsiteY1519" fmla="*/ 1196662 h 1452453"/>
                    <a:gd name="connsiteX1520" fmla="*/ 1187786 w 1653042"/>
                    <a:gd name="connsiteY1520" fmla="*/ 1195739 h 1452453"/>
                    <a:gd name="connsiteX1521" fmla="*/ 1187057 w 1653042"/>
                    <a:gd name="connsiteY1521" fmla="*/ 1195314 h 1452453"/>
                    <a:gd name="connsiteX1522" fmla="*/ 1184386 w 1653042"/>
                    <a:gd name="connsiteY1522" fmla="*/ 1194404 h 1452453"/>
                    <a:gd name="connsiteX1523" fmla="*/ 1181982 w 1653042"/>
                    <a:gd name="connsiteY1523" fmla="*/ 1193117 h 1452453"/>
                    <a:gd name="connsiteX1524" fmla="*/ 1179759 w 1653042"/>
                    <a:gd name="connsiteY1524" fmla="*/ 1190773 h 1452453"/>
                    <a:gd name="connsiteX1525" fmla="*/ 1178217 w 1653042"/>
                    <a:gd name="connsiteY1525" fmla="*/ 1186790 h 1452453"/>
                    <a:gd name="connsiteX1526" fmla="*/ 1177064 w 1653042"/>
                    <a:gd name="connsiteY1526" fmla="*/ 1177756 h 1452453"/>
                    <a:gd name="connsiteX1527" fmla="*/ 1176493 w 1653042"/>
                    <a:gd name="connsiteY1527" fmla="*/ 1176141 h 1452453"/>
                    <a:gd name="connsiteX1528" fmla="*/ 1175849 w 1653042"/>
                    <a:gd name="connsiteY1528" fmla="*/ 1173178 h 1452453"/>
                    <a:gd name="connsiteX1529" fmla="*/ 1175946 w 1653042"/>
                    <a:gd name="connsiteY1529" fmla="*/ 1169207 h 1452453"/>
                    <a:gd name="connsiteX1530" fmla="*/ 1177938 w 1653042"/>
                    <a:gd name="connsiteY1530" fmla="*/ 1162699 h 1452453"/>
                    <a:gd name="connsiteX1531" fmla="*/ 1179917 w 1653042"/>
                    <a:gd name="connsiteY1531" fmla="*/ 1159153 h 1452453"/>
                    <a:gd name="connsiteX1532" fmla="*/ 1183184 w 1653042"/>
                    <a:gd name="connsiteY1532" fmla="*/ 1155983 h 1452453"/>
                    <a:gd name="connsiteX1533" fmla="*/ 1186693 w 1653042"/>
                    <a:gd name="connsiteY1533" fmla="*/ 1155061 h 1452453"/>
                    <a:gd name="connsiteX1534" fmla="*/ 1190797 w 1653042"/>
                    <a:gd name="connsiteY1534" fmla="*/ 1155680 h 1452453"/>
                    <a:gd name="connsiteX1535" fmla="*/ 1197573 w 1653042"/>
                    <a:gd name="connsiteY1535" fmla="*/ 1160246 h 1452453"/>
                    <a:gd name="connsiteX1536" fmla="*/ 1197998 w 1653042"/>
                    <a:gd name="connsiteY1536" fmla="*/ 1160318 h 1452453"/>
                    <a:gd name="connsiteX1537" fmla="*/ 1199115 w 1653042"/>
                    <a:gd name="connsiteY1537" fmla="*/ 1160051 h 1452453"/>
                    <a:gd name="connsiteX1538" fmla="*/ 1200791 w 1653042"/>
                    <a:gd name="connsiteY1538" fmla="*/ 1158825 h 1452453"/>
                    <a:gd name="connsiteX1539" fmla="*/ 1202114 w 1653042"/>
                    <a:gd name="connsiteY1539" fmla="*/ 1156445 h 1452453"/>
                    <a:gd name="connsiteX1540" fmla="*/ 1202127 w 1653042"/>
                    <a:gd name="connsiteY1540" fmla="*/ 1154393 h 1452453"/>
                    <a:gd name="connsiteX1541" fmla="*/ 1201155 w 1653042"/>
                    <a:gd name="connsiteY1541" fmla="*/ 1138801 h 1452453"/>
                    <a:gd name="connsiteX1542" fmla="*/ 1196286 w 1653042"/>
                    <a:gd name="connsiteY1542" fmla="*/ 1132912 h 1452453"/>
                    <a:gd name="connsiteX1543" fmla="*/ 1192752 w 1653042"/>
                    <a:gd name="connsiteY1543" fmla="*/ 1129451 h 1452453"/>
                    <a:gd name="connsiteX1544" fmla="*/ 1190652 w 1653042"/>
                    <a:gd name="connsiteY1544" fmla="*/ 1125456 h 1452453"/>
                    <a:gd name="connsiteX1545" fmla="*/ 1190652 w 1653042"/>
                    <a:gd name="connsiteY1545" fmla="*/ 1122542 h 1452453"/>
                    <a:gd name="connsiteX1546" fmla="*/ 1191599 w 1653042"/>
                    <a:gd name="connsiteY1546" fmla="*/ 1119458 h 1452453"/>
                    <a:gd name="connsiteX1547" fmla="*/ 1191574 w 1653042"/>
                    <a:gd name="connsiteY1547" fmla="*/ 1117891 h 1452453"/>
                    <a:gd name="connsiteX1548" fmla="*/ 1190676 w 1653042"/>
                    <a:gd name="connsiteY1548" fmla="*/ 1114770 h 1452453"/>
                    <a:gd name="connsiteX1549" fmla="*/ 1185248 w 1653042"/>
                    <a:gd name="connsiteY1549" fmla="*/ 1107557 h 1452453"/>
                    <a:gd name="connsiteX1550" fmla="*/ 1183002 w 1653042"/>
                    <a:gd name="connsiteY1550" fmla="*/ 1105554 h 1452453"/>
                    <a:gd name="connsiteX1551" fmla="*/ 1181642 w 1653042"/>
                    <a:gd name="connsiteY1551" fmla="*/ 1104619 h 1452453"/>
                    <a:gd name="connsiteX1552" fmla="*/ 1180536 w 1653042"/>
                    <a:gd name="connsiteY1552" fmla="*/ 1104582 h 1452453"/>
                    <a:gd name="connsiteX1553" fmla="*/ 1178521 w 1653042"/>
                    <a:gd name="connsiteY1553" fmla="*/ 1104777 h 1452453"/>
                    <a:gd name="connsiteX1554" fmla="*/ 1176651 w 1653042"/>
                    <a:gd name="connsiteY1554" fmla="*/ 1105566 h 1452453"/>
                    <a:gd name="connsiteX1555" fmla="*/ 1164289 w 1653042"/>
                    <a:gd name="connsiteY1555" fmla="*/ 1112572 h 1452453"/>
                    <a:gd name="connsiteX1556" fmla="*/ 1154004 w 1653042"/>
                    <a:gd name="connsiteY1556" fmla="*/ 1115062 h 1452453"/>
                    <a:gd name="connsiteX1557" fmla="*/ 1144375 w 1653042"/>
                    <a:gd name="connsiteY1557" fmla="*/ 1115487 h 1452453"/>
                    <a:gd name="connsiteX1558" fmla="*/ 1125820 w 1653042"/>
                    <a:gd name="connsiteY1558" fmla="*/ 1119919 h 1452453"/>
                    <a:gd name="connsiteX1559" fmla="*/ 1119421 w 1653042"/>
                    <a:gd name="connsiteY1559" fmla="*/ 1120429 h 1452453"/>
                    <a:gd name="connsiteX1560" fmla="*/ 1113337 w 1653042"/>
                    <a:gd name="connsiteY1560" fmla="*/ 1119652 h 1452453"/>
                    <a:gd name="connsiteX1561" fmla="*/ 1104194 w 1653042"/>
                    <a:gd name="connsiteY1561" fmla="*/ 1116519 h 1452453"/>
                    <a:gd name="connsiteX1562" fmla="*/ 1098511 w 1653042"/>
                    <a:gd name="connsiteY1562" fmla="*/ 1115645 h 1452453"/>
                    <a:gd name="connsiteX1563" fmla="*/ 1093484 w 1653042"/>
                    <a:gd name="connsiteY1563" fmla="*/ 1115803 h 1452453"/>
                    <a:gd name="connsiteX1564" fmla="*/ 1086878 w 1653042"/>
                    <a:gd name="connsiteY1564" fmla="*/ 1116567 h 1452453"/>
                    <a:gd name="connsiteX1565" fmla="*/ 1082434 w 1653042"/>
                    <a:gd name="connsiteY1565" fmla="*/ 1116470 h 1452453"/>
                    <a:gd name="connsiteX1566" fmla="*/ 1078524 w 1653042"/>
                    <a:gd name="connsiteY1566" fmla="*/ 1115523 h 1452453"/>
                    <a:gd name="connsiteX1567" fmla="*/ 1075500 w 1653042"/>
                    <a:gd name="connsiteY1567" fmla="*/ 1113787 h 1452453"/>
                    <a:gd name="connsiteX1568" fmla="*/ 1073157 w 1653042"/>
                    <a:gd name="connsiteY1568" fmla="*/ 1111662 h 1452453"/>
                    <a:gd name="connsiteX1569" fmla="*/ 1071396 w 1653042"/>
                    <a:gd name="connsiteY1569" fmla="*/ 1109209 h 1452453"/>
                    <a:gd name="connsiteX1570" fmla="*/ 1070376 w 1653042"/>
                    <a:gd name="connsiteY1570" fmla="*/ 1105833 h 1452453"/>
                    <a:gd name="connsiteX1571" fmla="*/ 1070667 w 1653042"/>
                    <a:gd name="connsiteY1571" fmla="*/ 1102263 h 1452453"/>
                    <a:gd name="connsiteX1572" fmla="*/ 1072391 w 1653042"/>
                    <a:gd name="connsiteY1572" fmla="*/ 1098899 h 1452453"/>
                    <a:gd name="connsiteX1573" fmla="*/ 1077030 w 1653042"/>
                    <a:gd name="connsiteY1573" fmla="*/ 1095038 h 1452453"/>
                    <a:gd name="connsiteX1574" fmla="*/ 1077212 w 1653042"/>
                    <a:gd name="connsiteY1574" fmla="*/ 1094722 h 1452453"/>
                    <a:gd name="connsiteX1575" fmla="*/ 1077479 w 1653042"/>
                    <a:gd name="connsiteY1575" fmla="*/ 1093459 h 1452453"/>
                    <a:gd name="connsiteX1576" fmla="*/ 1077018 w 1653042"/>
                    <a:gd name="connsiteY1576" fmla="*/ 1091322 h 1452453"/>
                    <a:gd name="connsiteX1577" fmla="*/ 1076204 w 1653042"/>
                    <a:gd name="connsiteY1577" fmla="*/ 1089732 h 1452453"/>
                    <a:gd name="connsiteX1578" fmla="*/ 1073788 w 1653042"/>
                    <a:gd name="connsiteY1578" fmla="*/ 1085858 h 1452453"/>
                    <a:gd name="connsiteX1579" fmla="*/ 1072719 w 1653042"/>
                    <a:gd name="connsiteY1579" fmla="*/ 1083174 h 1452453"/>
                    <a:gd name="connsiteX1580" fmla="*/ 1072367 w 1653042"/>
                    <a:gd name="connsiteY1580" fmla="*/ 1079835 h 1452453"/>
                    <a:gd name="connsiteX1581" fmla="*/ 1073921 w 1653042"/>
                    <a:gd name="connsiteY1581" fmla="*/ 1076799 h 1452453"/>
                    <a:gd name="connsiteX1582" fmla="*/ 1077261 w 1653042"/>
                    <a:gd name="connsiteY1582" fmla="*/ 1075269 h 1452453"/>
                    <a:gd name="connsiteX1583" fmla="*/ 1080078 w 1653042"/>
                    <a:gd name="connsiteY1583" fmla="*/ 1076253 h 1452453"/>
                    <a:gd name="connsiteX1584" fmla="*/ 1082932 w 1653042"/>
                    <a:gd name="connsiteY1584" fmla="*/ 1078414 h 1452453"/>
                    <a:gd name="connsiteX1585" fmla="*/ 1087412 w 1653042"/>
                    <a:gd name="connsiteY1585" fmla="*/ 1083320 h 1452453"/>
                    <a:gd name="connsiteX1586" fmla="*/ 1089404 w 1653042"/>
                    <a:gd name="connsiteY1586" fmla="*/ 1084947 h 1452453"/>
                    <a:gd name="connsiteX1587" fmla="*/ 1091577 w 1653042"/>
                    <a:gd name="connsiteY1587" fmla="*/ 1085870 h 1452453"/>
                    <a:gd name="connsiteX1588" fmla="*/ 1094285 w 1653042"/>
                    <a:gd name="connsiteY1588" fmla="*/ 1086562 h 1452453"/>
                    <a:gd name="connsiteX1589" fmla="*/ 1097139 w 1653042"/>
                    <a:gd name="connsiteY1589" fmla="*/ 1086769 h 1452453"/>
                    <a:gd name="connsiteX1590" fmla="*/ 1100818 w 1653042"/>
                    <a:gd name="connsiteY1590" fmla="*/ 1086647 h 1452453"/>
                    <a:gd name="connsiteX1591" fmla="*/ 1103842 w 1653042"/>
                    <a:gd name="connsiteY1591" fmla="*/ 1086198 h 1452453"/>
                    <a:gd name="connsiteX1592" fmla="*/ 1106829 w 1653042"/>
                    <a:gd name="connsiteY1592" fmla="*/ 1085312 h 1452453"/>
                    <a:gd name="connsiteX1593" fmla="*/ 1109270 w 1653042"/>
                    <a:gd name="connsiteY1593" fmla="*/ 1084000 h 1452453"/>
                    <a:gd name="connsiteX1594" fmla="*/ 1111431 w 1653042"/>
                    <a:gd name="connsiteY1594" fmla="*/ 1082434 h 1452453"/>
                    <a:gd name="connsiteX1595" fmla="*/ 1112852 w 1653042"/>
                    <a:gd name="connsiteY1595" fmla="*/ 1080904 h 1452453"/>
                    <a:gd name="connsiteX1596" fmla="*/ 1113653 w 1653042"/>
                    <a:gd name="connsiteY1596" fmla="*/ 1079835 h 1452453"/>
                    <a:gd name="connsiteX1597" fmla="*/ 1106586 w 1653042"/>
                    <a:gd name="connsiteY1597" fmla="*/ 1082264 h 1452453"/>
                    <a:gd name="connsiteX1598" fmla="*/ 1101875 w 1653042"/>
                    <a:gd name="connsiteY1598" fmla="*/ 1083041 h 1452453"/>
                    <a:gd name="connsiteX1599" fmla="*/ 1097029 w 1653042"/>
                    <a:gd name="connsiteY1599" fmla="*/ 1083211 h 1452453"/>
                    <a:gd name="connsiteX1600" fmla="*/ 1090752 w 1653042"/>
                    <a:gd name="connsiteY1600" fmla="*/ 1082021 h 1452453"/>
                    <a:gd name="connsiteX1601" fmla="*/ 1086550 w 1653042"/>
                    <a:gd name="connsiteY1601" fmla="*/ 1079811 h 1452453"/>
                    <a:gd name="connsiteX1602" fmla="*/ 1084134 w 1653042"/>
                    <a:gd name="connsiteY1602" fmla="*/ 1076581 h 1452453"/>
                    <a:gd name="connsiteX1603" fmla="*/ 1083854 w 1653042"/>
                    <a:gd name="connsiteY1603" fmla="*/ 1074164 h 1452453"/>
                    <a:gd name="connsiteX1604" fmla="*/ 1084170 w 1653042"/>
                    <a:gd name="connsiteY1604" fmla="*/ 1071456 h 1452453"/>
                    <a:gd name="connsiteX1605" fmla="*/ 1084802 w 1653042"/>
                    <a:gd name="connsiteY1605" fmla="*/ 1070048 h 1452453"/>
                    <a:gd name="connsiteX1606" fmla="*/ 1085421 w 1653042"/>
                    <a:gd name="connsiteY1606" fmla="*/ 1069259 h 1452453"/>
                    <a:gd name="connsiteX1607" fmla="*/ 1087461 w 1653042"/>
                    <a:gd name="connsiteY1607" fmla="*/ 1067486 h 1452453"/>
                    <a:gd name="connsiteX1608" fmla="*/ 1089331 w 1653042"/>
                    <a:gd name="connsiteY1608" fmla="*/ 1066976 h 1452453"/>
                    <a:gd name="connsiteX1609" fmla="*/ 1091772 w 1653042"/>
                    <a:gd name="connsiteY1609" fmla="*/ 1067328 h 1452453"/>
                    <a:gd name="connsiteX1610" fmla="*/ 1095487 w 1653042"/>
                    <a:gd name="connsiteY1610" fmla="*/ 1068858 h 1452453"/>
                    <a:gd name="connsiteX1611" fmla="*/ 1097333 w 1653042"/>
                    <a:gd name="connsiteY1611" fmla="*/ 1069429 h 1452453"/>
                    <a:gd name="connsiteX1612" fmla="*/ 1097795 w 1653042"/>
                    <a:gd name="connsiteY1612" fmla="*/ 1069453 h 1452453"/>
                    <a:gd name="connsiteX1613" fmla="*/ 1098292 w 1653042"/>
                    <a:gd name="connsiteY1613" fmla="*/ 1069246 h 1452453"/>
                    <a:gd name="connsiteX1614" fmla="*/ 1098317 w 1653042"/>
                    <a:gd name="connsiteY1614" fmla="*/ 1069113 h 1452453"/>
                    <a:gd name="connsiteX1615" fmla="*/ 1097831 w 1653042"/>
                    <a:gd name="connsiteY1615" fmla="*/ 1067631 h 1452453"/>
                    <a:gd name="connsiteX1616" fmla="*/ 1094941 w 1653042"/>
                    <a:gd name="connsiteY1616" fmla="*/ 1064511 h 1452453"/>
                    <a:gd name="connsiteX1617" fmla="*/ 1093763 w 1653042"/>
                    <a:gd name="connsiteY1617" fmla="*/ 1062653 h 1452453"/>
                    <a:gd name="connsiteX1618" fmla="*/ 1093071 w 1653042"/>
                    <a:gd name="connsiteY1618" fmla="*/ 1060856 h 1452453"/>
                    <a:gd name="connsiteX1619" fmla="*/ 1092634 w 1653042"/>
                    <a:gd name="connsiteY1619" fmla="*/ 1057966 h 1452453"/>
                    <a:gd name="connsiteX1620" fmla="*/ 1096483 w 1653042"/>
                    <a:gd name="connsiteY1620" fmla="*/ 1050437 h 1452453"/>
                    <a:gd name="connsiteX1621" fmla="*/ 1096993 w 1653042"/>
                    <a:gd name="connsiteY1621" fmla="*/ 1049721 h 1452453"/>
                    <a:gd name="connsiteX1622" fmla="*/ 1092828 w 1653042"/>
                    <a:gd name="connsiteY1622" fmla="*/ 1051020 h 1452453"/>
                    <a:gd name="connsiteX1623" fmla="*/ 1085870 w 1653042"/>
                    <a:gd name="connsiteY1623" fmla="*/ 1052683 h 1452453"/>
                    <a:gd name="connsiteX1624" fmla="*/ 1079702 w 1653042"/>
                    <a:gd name="connsiteY1624" fmla="*/ 1052659 h 1452453"/>
                    <a:gd name="connsiteX1625" fmla="*/ 1070351 w 1653042"/>
                    <a:gd name="connsiteY1625" fmla="*/ 1051627 h 1452453"/>
                    <a:gd name="connsiteX1626" fmla="*/ 1068239 w 1653042"/>
                    <a:gd name="connsiteY1626" fmla="*/ 1051955 h 1452453"/>
                    <a:gd name="connsiteX1627" fmla="*/ 1067886 w 1653042"/>
                    <a:gd name="connsiteY1627" fmla="*/ 1052186 h 1452453"/>
                    <a:gd name="connsiteX1628" fmla="*/ 1068287 w 1653042"/>
                    <a:gd name="connsiteY1628" fmla="*/ 1052283 h 1452453"/>
                    <a:gd name="connsiteX1629" fmla="*/ 1067595 w 1653042"/>
                    <a:gd name="connsiteY1629" fmla="*/ 1054918 h 1452453"/>
                    <a:gd name="connsiteX1630" fmla="*/ 1066903 w 1653042"/>
                    <a:gd name="connsiteY1630" fmla="*/ 1056521 h 1452453"/>
                    <a:gd name="connsiteX1631" fmla="*/ 1065956 w 1653042"/>
                    <a:gd name="connsiteY1631" fmla="*/ 1057990 h 1452453"/>
                    <a:gd name="connsiteX1632" fmla="*/ 1064693 w 1653042"/>
                    <a:gd name="connsiteY1632" fmla="*/ 1059447 h 1452453"/>
                    <a:gd name="connsiteX1633" fmla="*/ 1061973 w 1653042"/>
                    <a:gd name="connsiteY1633" fmla="*/ 1061791 h 1452453"/>
                    <a:gd name="connsiteX1634" fmla="*/ 1061839 w 1653042"/>
                    <a:gd name="connsiteY1634" fmla="*/ 1062264 h 1452453"/>
                    <a:gd name="connsiteX1635" fmla="*/ 1063369 w 1653042"/>
                    <a:gd name="connsiteY1635" fmla="*/ 1068967 h 1452453"/>
                    <a:gd name="connsiteX1636" fmla="*/ 1063551 w 1653042"/>
                    <a:gd name="connsiteY1636" fmla="*/ 1072112 h 1452453"/>
                    <a:gd name="connsiteX1637" fmla="*/ 1062774 w 1653042"/>
                    <a:gd name="connsiteY1637" fmla="*/ 1077176 h 1452453"/>
                    <a:gd name="connsiteX1638" fmla="*/ 1061718 w 1653042"/>
                    <a:gd name="connsiteY1638" fmla="*/ 1079677 h 1452453"/>
                    <a:gd name="connsiteX1639" fmla="*/ 1059957 w 1653042"/>
                    <a:gd name="connsiteY1639" fmla="*/ 1081875 h 1452453"/>
                    <a:gd name="connsiteX1640" fmla="*/ 1057541 w 1653042"/>
                    <a:gd name="connsiteY1640" fmla="*/ 1082956 h 1452453"/>
                    <a:gd name="connsiteX1641" fmla="*/ 1056436 w 1653042"/>
                    <a:gd name="connsiteY1641" fmla="*/ 1082956 h 1452453"/>
                    <a:gd name="connsiteX1642" fmla="*/ 1054821 w 1653042"/>
                    <a:gd name="connsiteY1642" fmla="*/ 1082822 h 1452453"/>
                    <a:gd name="connsiteX1643" fmla="*/ 1053606 w 1653042"/>
                    <a:gd name="connsiteY1643" fmla="*/ 1082446 h 1452453"/>
                    <a:gd name="connsiteX1644" fmla="*/ 1050959 w 1653042"/>
                    <a:gd name="connsiteY1644" fmla="*/ 1081232 h 1452453"/>
                    <a:gd name="connsiteX1645" fmla="*/ 1045726 w 1653042"/>
                    <a:gd name="connsiteY1645" fmla="*/ 1085445 h 1452453"/>
                    <a:gd name="connsiteX1646" fmla="*/ 1043297 w 1653042"/>
                    <a:gd name="connsiteY1646" fmla="*/ 1086999 h 1452453"/>
                    <a:gd name="connsiteX1647" fmla="*/ 1041051 w 1653042"/>
                    <a:gd name="connsiteY1647" fmla="*/ 1087776 h 1452453"/>
                    <a:gd name="connsiteX1648" fmla="*/ 1037845 w 1653042"/>
                    <a:gd name="connsiteY1648" fmla="*/ 1088092 h 1452453"/>
                    <a:gd name="connsiteX1649" fmla="*/ 1034190 w 1653042"/>
                    <a:gd name="connsiteY1649" fmla="*/ 1087388 h 1452453"/>
                    <a:gd name="connsiteX1650" fmla="*/ 1030790 w 1653042"/>
                    <a:gd name="connsiteY1650" fmla="*/ 1085858 h 1452453"/>
                    <a:gd name="connsiteX1651" fmla="*/ 1026248 w 1653042"/>
                    <a:gd name="connsiteY1651" fmla="*/ 1082762 h 1452453"/>
                    <a:gd name="connsiteX1652" fmla="*/ 1024888 w 1653042"/>
                    <a:gd name="connsiteY1652" fmla="*/ 1082252 h 1452453"/>
                    <a:gd name="connsiteX1653" fmla="*/ 1023468 w 1653042"/>
                    <a:gd name="connsiteY1653" fmla="*/ 1082009 h 1452453"/>
                    <a:gd name="connsiteX1654" fmla="*/ 1021100 w 1653042"/>
                    <a:gd name="connsiteY1654" fmla="*/ 1081049 h 1452453"/>
                    <a:gd name="connsiteX1655" fmla="*/ 1018963 w 1653042"/>
                    <a:gd name="connsiteY1655" fmla="*/ 1079519 h 1452453"/>
                    <a:gd name="connsiteX1656" fmla="*/ 1015575 w 1653042"/>
                    <a:gd name="connsiteY1656" fmla="*/ 1075901 h 1452453"/>
                    <a:gd name="connsiteX1657" fmla="*/ 1013656 w 1653042"/>
                    <a:gd name="connsiteY1657" fmla="*/ 1074954 h 1452453"/>
                    <a:gd name="connsiteX1658" fmla="*/ 1011106 w 1653042"/>
                    <a:gd name="connsiteY1658" fmla="*/ 1074116 h 1452453"/>
                    <a:gd name="connsiteX1659" fmla="*/ 1009612 w 1653042"/>
                    <a:gd name="connsiteY1659" fmla="*/ 1074201 h 1452453"/>
                    <a:gd name="connsiteX1660" fmla="*/ 1012806 w 1653042"/>
                    <a:gd name="connsiteY1660" fmla="*/ 1082300 h 1452453"/>
                    <a:gd name="connsiteX1661" fmla="*/ 1013559 w 1653042"/>
                    <a:gd name="connsiteY1661" fmla="*/ 1085020 h 1452453"/>
                    <a:gd name="connsiteX1662" fmla="*/ 1013765 w 1653042"/>
                    <a:gd name="connsiteY1662" fmla="*/ 1087874 h 1452453"/>
                    <a:gd name="connsiteX1663" fmla="*/ 1013595 w 1653042"/>
                    <a:gd name="connsiteY1663" fmla="*/ 1090594 h 1452453"/>
                    <a:gd name="connsiteX1664" fmla="*/ 1012697 w 1653042"/>
                    <a:gd name="connsiteY1664" fmla="*/ 1095402 h 1452453"/>
                    <a:gd name="connsiteX1665" fmla="*/ 1013304 w 1653042"/>
                    <a:gd name="connsiteY1665" fmla="*/ 1095572 h 1452453"/>
                    <a:gd name="connsiteX1666" fmla="*/ 1018465 w 1653042"/>
                    <a:gd name="connsiteY1666" fmla="*/ 1095475 h 1452453"/>
                    <a:gd name="connsiteX1667" fmla="*/ 1021719 w 1653042"/>
                    <a:gd name="connsiteY1667" fmla="*/ 1095767 h 1452453"/>
                    <a:gd name="connsiteX1668" fmla="*/ 1026710 w 1653042"/>
                    <a:gd name="connsiteY1668" fmla="*/ 1097199 h 1452453"/>
                    <a:gd name="connsiteX1669" fmla="*/ 1028325 w 1653042"/>
                    <a:gd name="connsiteY1669" fmla="*/ 1097503 h 1452453"/>
                    <a:gd name="connsiteX1670" fmla="*/ 1030668 w 1653042"/>
                    <a:gd name="connsiteY1670" fmla="*/ 1096811 h 1452453"/>
                    <a:gd name="connsiteX1671" fmla="*/ 1032769 w 1653042"/>
                    <a:gd name="connsiteY1671" fmla="*/ 1096459 h 1452453"/>
                    <a:gd name="connsiteX1672" fmla="*/ 1035781 w 1653042"/>
                    <a:gd name="connsiteY1672" fmla="*/ 1096641 h 1452453"/>
                    <a:gd name="connsiteX1673" fmla="*/ 1038476 w 1653042"/>
                    <a:gd name="connsiteY1673" fmla="*/ 1098292 h 1452453"/>
                    <a:gd name="connsiteX1674" fmla="*/ 1040286 w 1653042"/>
                    <a:gd name="connsiteY1674" fmla="*/ 1101401 h 1452453"/>
                    <a:gd name="connsiteX1675" fmla="*/ 1040079 w 1653042"/>
                    <a:gd name="connsiteY1675" fmla="*/ 1105104 h 1452453"/>
                    <a:gd name="connsiteX1676" fmla="*/ 1038488 w 1653042"/>
                    <a:gd name="connsiteY1676" fmla="*/ 1109124 h 1452453"/>
                    <a:gd name="connsiteX1677" fmla="*/ 1037930 w 1653042"/>
                    <a:gd name="connsiteY1677" fmla="*/ 1111018 h 1452453"/>
                    <a:gd name="connsiteX1678" fmla="*/ 1037954 w 1653042"/>
                    <a:gd name="connsiteY1678" fmla="*/ 1112657 h 1452453"/>
                    <a:gd name="connsiteX1679" fmla="*/ 1038112 w 1653042"/>
                    <a:gd name="connsiteY1679" fmla="*/ 1114928 h 1452453"/>
                    <a:gd name="connsiteX1680" fmla="*/ 1037481 w 1653042"/>
                    <a:gd name="connsiteY1680" fmla="*/ 1119931 h 1452453"/>
                    <a:gd name="connsiteX1681" fmla="*/ 1035501 w 1653042"/>
                    <a:gd name="connsiteY1681" fmla="*/ 1122712 h 1452453"/>
                    <a:gd name="connsiteX1682" fmla="*/ 1032514 w 1653042"/>
                    <a:gd name="connsiteY1682" fmla="*/ 1125092 h 1452453"/>
                    <a:gd name="connsiteX1683" fmla="*/ 1029660 w 1653042"/>
                    <a:gd name="connsiteY1683" fmla="*/ 1126488 h 1452453"/>
                    <a:gd name="connsiteX1684" fmla="*/ 1026540 w 1653042"/>
                    <a:gd name="connsiteY1684" fmla="*/ 1127229 h 1452453"/>
                    <a:gd name="connsiteX1685" fmla="*/ 1018914 w 1653042"/>
                    <a:gd name="connsiteY1685" fmla="*/ 1127605 h 1452453"/>
                    <a:gd name="connsiteX1686" fmla="*/ 1015732 w 1653042"/>
                    <a:gd name="connsiteY1686" fmla="*/ 1127435 h 1452453"/>
                    <a:gd name="connsiteX1687" fmla="*/ 1012417 w 1653042"/>
                    <a:gd name="connsiteY1687" fmla="*/ 1125432 h 1452453"/>
                    <a:gd name="connsiteX1688" fmla="*/ 1010681 w 1653042"/>
                    <a:gd name="connsiteY1688" fmla="*/ 1122991 h 1452453"/>
                    <a:gd name="connsiteX1689" fmla="*/ 1008325 w 1653042"/>
                    <a:gd name="connsiteY1689" fmla="*/ 1117976 h 1452453"/>
                    <a:gd name="connsiteX1690" fmla="*/ 1007621 w 1653042"/>
                    <a:gd name="connsiteY1690" fmla="*/ 1117466 h 1452453"/>
                    <a:gd name="connsiteX1691" fmla="*/ 1005168 w 1653042"/>
                    <a:gd name="connsiteY1691" fmla="*/ 1116130 h 1452453"/>
                    <a:gd name="connsiteX1692" fmla="*/ 1003322 w 1653042"/>
                    <a:gd name="connsiteY1692" fmla="*/ 1114358 h 1452453"/>
                    <a:gd name="connsiteX1693" fmla="*/ 1001987 w 1653042"/>
                    <a:gd name="connsiteY1693" fmla="*/ 1111528 h 1452453"/>
                    <a:gd name="connsiteX1694" fmla="*/ 1001088 w 1653042"/>
                    <a:gd name="connsiteY1694" fmla="*/ 1106137 h 1452453"/>
                    <a:gd name="connsiteX1695" fmla="*/ 1000857 w 1653042"/>
                    <a:gd name="connsiteY1695" fmla="*/ 1111613 h 1452453"/>
                    <a:gd name="connsiteX1696" fmla="*/ 1001088 w 1653042"/>
                    <a:gd name="connsiteY1696" fmla="*/ 1116507 h 1452453"/>
                    <a:gd name="connsiteX1697" fmla="*/ 1001489 w 1653042"/>
                    <a:gd name="connsiteY1697" fmla="*/ 1117745 h 1452453"/>
                    <a:gd name="connsiteX1698" fmla="*/ 1003505 w 1653042"/>
                    <a:gd name="connsiteY1698" fmla="*/ 1120878 h 1452453"/>
                    <a:gd name="connsiteX1699" fmla="*/ 1003711 w 1653042"/>
                    <a:gd name="connsiteY1699" fmla="*/ 1124485 h 1452453"/>
                    <a:gd name="connsiteX1700" fmla="*/ 996765 w 1653042"/>
                    <a:gd name="connsiteY1700" fmla="*/ 1140477 h 1452453"/>
                    <a:gd name="connsiteX1701" fmla="*/ 991058 w 1653042"/>
                    <a:gd name="connsiteY1701" fmla="*/ 1149997 h 1452453"/>
                    <a:gd name="connsiteX1702" fmla="*/ 990427 w 1653042"/>
                    <a:gd name="connsiteY1702" fmla="*/ 1151442 h 1452453"/>
                    <a:gd name="connsiteX1703" fmla="*/ 989965 w 1653042"/>
                    <a:gd name="connsiteY1703" fmla="*/ 1153434 h 1452453"/>
                    <a:gd name="connsiteX1704" fmla="*/ 990160 w 1653042"/>
                    <a:gd name="connsiteY1704" fmla="*/ 1154502 h 1452453"/>
                    <a:gd name="connsiteX1705" fmla="*/ 990317 w 1653042"/>
                    <a:gd name="connsiteY1705" fmla="*/ 1154684 h 1452453"/>
                    <a:gd name="connsiteX1706" fmla="*/ 1007609 w 1653042"/>
                    <a:gd name="connsiteY1706" fmla="*/ 1159578 h 1452453"/>
                    <a:gd name="connsiteX1707" fmla="*/ 1011276 w 1653042"/>
                    <a:gd name="connsiteY1707" fmla="*/ 1161423 h 1452453"/>
                    <a:gd name="connsiteX1708" fmla="*/ 1014931 w 1653042"/>
                    <a:gd name="connsiteY1708" fmla="*/ 1165054 h 1452453"/>
                    <a:gd name="connsiteX1709" fmla="*/ 1015453 w 1653042"/>
                    <a:gd name="connsiteY1709" fmla="*/ 1170859 h 1452453"/>
                    <a:gd name="connsiteX1710" fmla="*/ 1013438 w 1653042"/>
                    <a:gd name="connsiteY1710" fmla="*/ 1174744 h 1452453"/>
                    <a:gd name="connsiteX1711" fmla="*/ 1010329 w 1653042"/>
                    <a:gd name="connsiteY1711" fmla="*/ 1178436 h 1452453"/>
                    <a:gd name="connsiteX1712" fmla="*/ 999267 w 1653042"/>
                    <a:gd name="connsiteY1712" fmla="*/ 1187871 h 1452453"/>
                    <a:gd name="connsiteX1713" fmla="*/ 998975 w 1653042"/>
                    <a:gd name="connsiteY1713" fmla="*/ 1188964 h 1452453"/>
                    <a:gd name="connsiteX1714" fmla="*/ 999012 w 1653042"/>
                    <a:gd name="connsiteY1714" fmla="*/ 1190457 h 1452453"/>
                    <a:gd name="connsiteX1715" fmla="*/ 998902 w 1653042"/>
                    <a:gd name="connsiteY1715" fmla="*/ 1193177 h 1452453"/>
                    <a:gd name="connsiteX1716" fmla="*/ 997882 w 1653042"/>
                    <a:gd name="connsiteY1716" fmla="*/ 1197197 h 1452453"/>
                    <a:gd name="connsiteX1717" fmla="*/ 995988 w 1653042"/>
                    <a:gd name="connsiteY1717" fmla="*/ 1200524 h 1452453"/>
                    <a:gd name="connsiteX1718" fmla="*/ 994179 w 1653042"/>
                    <a:gd name="connsiteY1718" fmla="*/ 1202758 h 1452453"/>
                    <a:gd name="connsiteX1719" fmla="*/ 994337 w 1653042"/>
                    <a:gd name="connsiteY1719" fmla="*/ 1202807 h 1452453"/>
                    <a:gd name="connsiteX1720" fmla="*/ 996073 w 1653042"/>
                    <a:gd name="connsiteY1720" fmla="*/ 1202794 h 1452453"/>
                    <a:gd name="connsiteX1721" fmla="*/ 1004512 w 1653042"/>
                    <a:gd name="connsiteY1721" fmla="*/ 1201556 h 1452453"/>
                    <a:gd name="connsiteX1722" fmla="*/ 1008398 w 1653042"/>
                    <a:gd name="connsiteY1722" fmla="*/ 1201908 h 1452453"/>
                    <a:gd name="connsiteX1723" fmla="*/ 1012162 w 1653042"/>
                    <a:gd name="connsiteY1723" fmla="*/ 1203086 h 1452453"/>
                    <a:gd name="connsiteX1724" fmla="*/ 1015648 w 1653042"/>
                    <a:gd name="connsiteY1724" fmla="*/ 1205126 h 1452453"/>
                    <a:gd name="connsiteX1725" fmla="*/ 1018659 w 1653042"/>
                    <a:gd name="connsiteY1725" fmla="*/ 1207591 h 1452453"/>
                    <a:gd name="connsiteX1726" fmla="*/ 1021063 w 1653042"/>
                    <a:gd name="connsiteY1726" fmla="*/ 1211161 h 1452453"/>
                    <a:gd name="connsiteX1727" fmla="*/ 1022423 w 1653042"/>
                    <a:gd name="connsiteY1727" fmla="*/ 1215192 h 1452453"/>
                    <a:gd name="connsiteX1728" fmla="*/ 1023176 w 1653042"/>
                    <a:gd name="connsiteY1728" fmla="*/ 1225793 h 1452453"/>
                    <a:gd name="connsiteX1729" fmla="*/ 1023990 w 1653042"/>
                    <a:gd name="connsiteY1729" fmla="*/ 1229497 h 1452453"/>
                    <a:gd name="connsiteX1730" fmla="*/ 1025216 w 1653042"/>
                    <a:gd name="connsiteY1730" fmla="*/ 1232387 h 1452453"/>
                    <a:gd name="connsiteX1731" fmla="*/ 1026734 w 1653042"/>
                    <a:gd name="connsiteY1731" fmla="*/ 1235228 h 1452453"/>
                    <a:gd name="connsiteX1732" fmla="*/ 1028398 w 1653042"/>
                    <a:gd name="connsiteY1732" fmla="*/ 1237560 h 1452453"/>
                    <a:gd name="connsiteX1733" fmla="*/ 1030098 w 1653042"/>
                    <a:gd name="connsiteY1733" fmla="*/ 1239539 h 1452453"/>
                    <a:gd name="connsiteX1734" fmla="*/ 1033777 w 1653042"/>
                    <a:gd name="connsiteY1734" fmla="*/ 1242283 h 1452453"/>
                    <a:gd name="connsiteX1735" fmla="*/ 1035878 w 1653042"/>
                    <a:gd name="connsiteY1735" fmla="*/ 1244299 h 1452453"/>
                    <a:gd name="connsiteX1736" fmla="*/ 1038294 w 1653042"/>
                    <a:gd name="connsiteY1736" fmla="*/ 1247808 h 1452453"/>
                    <a:gd name="connsiteX1737" fmla="*/ 1038063 w 1653042"/>
                    <a:gd name="connsiteY1737" fmla="*/ 1251269 h 1452453"/>
                    <a:gd name="connsiteX1738" fmla="*/ 1036606 w 1653042"/>
                    <a:gd name="connsiteY1738" fmla="*/ 1253686 h 1452453"/>
                    <a:gd name="connsiteX1739" fmla="*/ 1035064 w 1653042"/>
                    <a:gd name="connsiteY1739" fmla="*/ 1255689 h 1452453"/>
                    <a:gd name="connsiteX1740" fmla="*/ 1033716 w 1653042"/>
                    <a:gd name="connsiteY1740" fmla="*/ 1257996 h 1452453"/>
                    <a:gd name="connsiteX1741" fmla="*/ 1026758 w 1653042"/>
                    <a:gd name="connsiteY1741" fmla="*/ 1278336 h 1452453"/>
                    <a:gd name="connsiteX1742" fmla="*/ 1025933 w 1653042"/>
                    <a:gd name="connsiteY1742" fmla="*/ 1285937 h 1452453"/>
                    <a:gd name="connsiteX1743" fmla="*/ 1025775 w 1653042"/>
                    <a:gd name="connsiteY1743" fmla="*/ 1291851 h 1452453"/>
                    <a:gd name="connsiteX1744" fmla="*/ 1026042 w 1653042"/>
                    <a:gd name="connsiteY1744" fmla="*/ 1295214 h 1452453"/>
                    <a:gd name="connsiteX1745" fmla="*/ 1026382 w 1653042"/>
                    <a:gd name="connsiteY1745" fmla="*/ 1296951 h 1452453"/>
                    <a:gd name="connsiteX1746" fmla="*/ 1027827 w 1653042"/>
                    <a:gd name="connsiteY1746" fmla="*/ 1298772 h 1452453"/>
                    <a:gd name="connsiteX1747" fmla="*/ 1031033 w 1653042"/>
                    <a:gd name="connsiteY1747" fmla="*/ 1304540 h 1452453"/>
                    <a:gd name="connsiteX1748" fmla="*/ 1032550 w 1653042"/>
                    <a:gd name="connsiteY1748" fmla="*/ 1311498 h 1452453"/>
                    <a:gd name="connsiteX1749" fmla="*/ 1032830 w 1653042"/>
                    <a:gd name="connsiteY1749" fmla="*/ 1315141 h 1452453"/>
                    <a:gd name="connsiteX1750" fmla="*/ 1032660 w 1653042"/>
                    <a:gd name="connsiteY1750" fmla="*/ 1319039 h 1452453"/>
                    <a:gd name="connsiteX1751" fmla="*/ 1031870 w 1653042"/>
                    <a:gd name="connsiteY1751" fmla="*/ 1323580 h 1452453"/>
                    <a:gd name="connsiteX1752" fmla="*/ 1030025 w 1653042"/>
                    <a:gd name="connsiteY1752" fmla="*/ 1327381 h 1452453"/>
                    <a:gd name="connsiteX1753" fmla="*/ 1027948 w 1653042"/>
                    <a:gd name="connsiteY1753" fmla="*/ 1330150 h 1452453"/>
                    <a:gd name="connsiteX1754" fmla="*/ 1026030 w 1653042"/>
                    <a:gd name="connsiteY1754" fmla="*/ 1332190 h 1452453"/>
                    <a:gd name="connsiteX1755" fmla="*/ 1024633 w 1653042"/>
                    <a:gd name="connsiteY1755" fmla="*/ 1334035 h 1452453"/>
                    <a:gd name="connsiteX1756" fmla="*/ 1023844 w 1653042"/>
                    <a:gd name="connsiteY1756" fmla="*/ 1335699 h 1452453"/>
                    <a:gd name="connsiteX1757" fmla="*/ 1021428 w 1653042"/>
                    <a:gd name="connsiteY1757" fmla="*/ 1343130 h 1452453"/>
                    <a:gd name="connsiteX1758" fmla="*/ 1019849 w 1653042"/>
                    <a:gd name="connsiteY1758" fmla="*/ 1346907 h 1452453"/>
                    <a:gd name="connsiteX1759" fmla="*/ 1018003 w 1653042"/>
                    <a:gd name="connsiteY1759" fmla="*/ 1350040 h 1452453"/>
                    <a:gd name="connsiteX1760" fmla="*/ 1015963 w 1653042"/>
                    <a:gd name="connsiteY1760" fmla="*/ 1352590 h 1452453"/>
                    <a:gd name="connsiteX1761" fmla="*/ 1009928 w 1653042"/>
                    <a:gd name="connsiteY1761" fmla="*/ 1358236 h 1452453"/>
                    <a:gd name="connsiteX1762" fmla="*/ 1007694 w 1653042"/>
                    <a:gd name="connsiteY1762" fmla="*/ 1359463 h 1452453"/>
                    <a:gd name="connsiteX1763" fmla="*/ 1002327 w 1653042"/>
                    <a:gd name="connsiteY1763" fmla="*/ 1360726 h 1452453"/>
                    <a:gd name="connsiteX1764" fmla="*/ 1000724 w 1653042"/>
                    <a:gd name="connsiteY1764" fmla="*/ 1361357 h 1452453"/>
                    <a:gd name="connsiteX1765" fmla="*/ 990718 w 1653042"/>
                    <a:gd name="connsiteY1765" fmla="*/ 1368048 h 1452453"/>
                    <a:gd name="connsiteX1766" fmla="*/ 985691 w 1653042"/>
                    <a:gd name="connsiteY1766" fmla="*/ 1369833 h 1452453"/>
                    <a:gd name="connsiteX1767" fmla="*/ 975940 w 1653042"/>
                    <a:gd name="connsiteY1767" fmla="*/ 1372711 h 1452453"/>
                    <a:gd name="connsiteX1768" fmla="*/ 973633 w 1653042"/>
                    <a:gd name="connsiteY1768" fmla="*/ 1374350 h 1452453"/>
                    <a:gd name="connsiteX1769" fmla="*/ 962352 w 1653042"/>
                    <a:gd name="connsiteY1769" fmla="*/ 1384465 h 1452453"/>
                    <a:gd name="connsiteX1770" fmla="*/ 960349 w 1653042"/>
                    <a:gd name="connsiteY1770" fmla="*/ 1387270 h 1452453"/>
                    <a:gd name="connsiteX1771" fmla="*/ 953974 w 1653042"/>
                    <a:gd name="connsiteY1771" fmla="*/ 1399109 h 1452453"/>
                    <a:gd name="connsiteX1772" fmla="*/ 954046 w 1653042"/>
                    <a:gd name="connsiteY1772" fmla="*/ 1400651 h 1452453"/>
                    <a:gd name="connsiteX1773" fmla="*/ 954568 w 1653042"/>
                    <a:gd name="connsiteY1773" fmla="*/ 1401599 h 1452453"/>
                    <a:gd name="connsiteX1774" fmla="*/ 955491 w 1653042"/>
                    <a:gd name="connsiteY1774" fmla="*/ 1402570 h 1452453"/>
                    <a:gd name="connsiteX1775" fmla="*/ 956171 w 1653042"/>
                    <a:gd name="connsiteY1775" fmla="*/ 1403117 h 1452453"/>
                    <a:gd name="connsiteX1776" fmla="*/ 957847 w 1653042"/>
                    <a:gd name="connsiteY1776" fmla="*/ 1403724 h 1452453"/>
                    <a:gd name="connsiteX1777" fmla="*/ 963129 w 1653042"/>
                    <a:gd name="connsiteY1777" fmla="*/ 1404683 h 1452453"/>
                    <a:gd name="connsiteX1778" fmla="*/ 969346 w 1653042"/>
                    <a:gd name="connsiteY1778" fmla="*/ 1407039 h 1452453"/>
                    <a:gd name="connsiteX1779" fmla="*/ 970646 w 1653042"/>
                    <a:gd name="connsiteY1779" fmla="*/ 1407148 h 1452453"/>
                    <a:gd name="connsiteX1780" fmla="*/ 974532 w 1653042"/>
                    <a:gd name="connsiteY1780" fmla="*/ 1406905 h 1452453"/>
                    <a:gd name="connsiteX1781" fmla="*/ 977361 w 1653042"/>
                    <a:gd name="connsiteY1781" fmla="*/ 1407172 h 1452453"/>
                    <a:gd name="connsiteX1782" fmla="*/ 980482 w 1653042"/>
                    <a:gd name="connsiteY1782" fmla="*/ 1408496 h 1452453"/>
                    <a:gd name="connsiteX1783" fmla="*/ 982522 w 1653042"/>
                    <a:gd name="connsiteY1783" fmla="*/ 1410172 h 1452453"/>
                    <a:gd name="connsiteX1784" fmla="*/ 985011 w 1653042"/>
                    <a:gd name="connsiteY1784" fmla="*/ 1413717 h 1452453"/>
                    <a:gd name="connsiteX1785" fmla="*/ 986116 w 1653042"/>
                    <a:gd name="connsiteY1785" fmla="*/ 1414713 h 1452453"/>
                    <a:gd name="connsiteX1786" fmla="*/ 990257 w 1653042"/>
                    <a:gd name="connsiteY1786" fmla="*/ 1417579 h 1452453"/>
                    <a:gd name="connsiteX1787" fmla="*/ 992114 w 1653042"/>
                    <a:gd name="connsiteY1787" fmla="*/ 1422314 h 1452453"/>
                    <a:gd name="connsiteX1788" fmla="*/ 988884 w 1653042"/>
                    <a:gd name="connsiteY1788" fmla="*/ 1425217 h 1452453"/>
                    <a:gd name="connsiteX1789" fmla="*/ 979717 w 1653042"/>
                    <a:gd name="connsiteY1789" fmla="*/ 1428726 h 1452453"/>
                    <a:gd name="connsiteX1790" fmla="*/ 969990 w 1653042"/>
                    <a:gd name="connsiteY1790" fmla="*/ 1435235 h 1452453"/>
                    <a:gd name="connsiteX1791" fmla="*/ 957410 w 1653042"/>
                    <a:gd name="connsiteY1791" fmla="*/ 1438416 h 1452453"/>
                    <a:gd name="connsiteX1792" fmla="*/ 944198 w 1653042"/>
                    <a:gd name="connsiteY1792" fmla="*/ 1445350 h 1452453"/>
                    <a:gd name="connsiteX1793" fmla="*/ 939402 w 1653042"/>
                    <a:gd name="connsiteY1793" fmla="*/ 1446078 h 1452453"/>
                    <a:gd name="connsiteX1794" fmla="*/ 935128 w 1653042"/>
                    <a:gd name="connsiteY1794" fmla="*/ 1445410 h 1452453"/>
                    <a:gd name="connsiteX1795" fmla="*/ 931716 w 1653042"/>
                    <a:gd name="connsiteY1795" fmla="*/ 1444208 h 1452453"/>
                    <a:gd name="connsiteX1796" fmla="*/ 929263 w 1653042"/>
                    <a:gd name="connsiteY1796" fmla="*/ 1443613 h 1452453"/>
                    <a:gd name="connsiteX1797" fmla="*/ 926178 w 1653042"/>
                    <a:gd name="connsiteY1797" fmla="*/ 1443650 h 1452453"/>
                    <a:gd name="connsiteX1798" fmla="*/ 924454 w 1653042"/>
                    <a:gd name="connsiteY1798" fmla="*/ 1444099 h 1452453"/>
                    <a:gd name="connsiteX1799" fmla="*/ 922948 w 1653042"/>
                    <a:gd name="connsiteY1799" fmla="*/ 1444864 h 1452453"/>
                    <a:gd name="connsiteX1800" fmla="*/ 919536 w 1653042"/>
                    <a:gd name="connsiteY1800" fmla="*/ 1447985 h 1452453"/>
                    <a:gd name="connsiteX1801" fmla="*/ 912675 w 1653042"/>
                    <a:gd name="connsiteY1801" fmla="*/ 1452453 h 1452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Lst>
                  <a:rect l="l" t="t" r="r" b="b"/>
                  <a:pathLst>
                    <a:path w="1653042" h="1452453">
                      <a:moveTo>
                        <a:pt x="909992" y="1445180"/>
                      </a:moveTo>
                      <a:lnTo>
                        <a:pt x="908608" y="1442690"/>
                      </a:lnTo>
                      <a:lnTo>
                        <a:pt x="907879" y="1442071"/>
                      </a:lnTo>
                      <a:lnTo>
                        <a:pt x="906859" y="1441549"/>
                      </a:lnTo>
                      <a:lnTo>
                        <a:pt x="905183" y="1440893"/>
                      </a:lnTo>
                      <a:lnTo>
                        <a:pt x="902706" y="1439302"/>
                      </a:lnTo>
                      <a:lnTo>
                        <a:pt x="899027" y="1433122"/>
                      </a:lnTo>
                      <a:lnTo>
                        <a:pt x="898043" y="1430535"/>
                      </a:lnTo>
                      <a:lnTo>
                        <a:pt x="896841" y="1428568"/>
                      </a:lnTo>
                      <a:lnTo>
                        <a:pt x="894850" y="1425970"/>
                      </a:lnTo>
                      <a:lnTo>
                        <a:pt x="890563" y="1423517"/>
                      </a:lnTo>
                      <a:lnTo>
                        <a:pt x="889252" y="1423007"/>
                      </a:lnTo>
                      <a:lnTo>
                        <a:pt x="887734" y="1424330"/>
                      </a:lnTo>
                      <a:lnTo>
                        <a:pt x="886131" y="1425362"/>
                      </a:lnTo>
                      <a:lnTo>
                        <a:pt x="884079" y="1426188"/>
                      </a:lnTo>
                      <a:lnTo>
                        <a:pt x="880849" y="1426820"/>
                      </a:lnTo>
                      <a:lnTo>
                        <a:pt x="877934" y="1425957"/>
                      </a:lnTo>
                      <a:lnTo>
                        <a:pt x="874073" y="1423419"/>
                      </a:lnTo>
                      <a:lnTo>
                        <a:pt x="871341" y="1418720"/>
                      </a:lnTo>
                      <a:lnTo>
                        <a:pt x="870442" y="1414470"/>
                      </a:lnTo>
                      <a:lnTo>
                        <a:pt x="870406" y="1411009"/>
                      </a:lnTo>
                      <a:lnTo>
                        <a:pt x="870661" y="1408119"/>
                      </a:lnTo>
                      <a:lnTo>
                        <a:pt x="870491" y="1407112"/>
                      </a:lnTo>
                      <a:lnTo>
                        <a:pt x="869264" y="1405181"/>
                      </a:lnTo>
                      <a:lnTo>
                        <a:pt x="867249" y="1403566"/>
                      </a:lnTo>
                      <a:lnTo>
                        <a:pt x="857753" y="1398794"/>
                      </a:lnTo>
                      <a:lnTo>
                        <a:pt x="850564" y="1391763"/>
                      </a:lnTo>
                      <a:lnTo>
                        <a:pt x="844493" y="1386748"/>
                      </a:lnTo>
                      <a:lnTo>
                        <a:pt x="843813" y="1386554"/>
                      </a:lnTo>
                      <a:lnTo>
                        <a:pt x="842939" y="1388326"/>
                      </a:lnTo>
                      <a:lnTo>
                        <a:pt x="841032" y="1390354"/>
                      </a:lnTo>
                      <a:lnTo>
                        <a:pt x="839939" y="1390961"/>
                      </a:lnTo>
                      <a:lnTo>
                        <a:pt x="837863" y="1391690"/>
                      </a:lnTo>
                      <a:lnTo>
                        <a:pt x="836102" y="1392018"/>
                      </a:lnTo>
                      <a:lnTo>
                        <a:pt x="833333" y="1391666"/>
                      </a:lnTo>
                      <a:lnTo>
                        <a:pt x="830273" y="1390427"/>
                      </a:lnTo>
                      <a:lnTo>
                        <a:pt x="824202" y="1383943"/>
                      </a:lnTo>
                      <a:lnTo>
                        <a:pt x="816855" y="1372674"/>
                      </a:lnTo>
                      <a:lnTo>
                        <a:pt x="816066" y="1371266"/>
                      </a:lnTo>
                      <a:lnTo>
                        <a:pt x="815799" y="1371132"/>
                      </a:lnTo>
                      <a:lnTo>
                        <a:pt x="813844" y="1370986"/>
                      </a:lnTo>
                      <a:lnTo>
                        <a:pt x="799588" y="1375953"/>
                      </a:lnTo>
                      <a:lnTo>
                        <a:pt x="795557" y="1375503"/>
                      </a:lnTo>
                      <a:lnTo>
                        <a:pt x="790809" y="1370756"/>
                      </a:lnTo>
                      <a:lnTo>
                        <a:pt x="790505" y="1370634"/>
                      </a:lnTo>
                      <a:lnTo>
                        <a:pt x="781945" y="1371375"/>
                      </a:lnTo>
                      <a:lnTo>
                        <a:pt x="778617" y="1365753"/>
                      </a:lnTo>
                      <a:lnTo>
                        <a:pt x="781277" y="1359839"/>
                      </a:lnTo>
                      <a:lnTo>
                        <a:pt x="781447" y="1357993"/>
                      </a:lnTo>
                      <a:lnTo>
                        <a:pt x="781058" y="1356961"/>
                      </a:lnTo>
                      <a:lnTo>
                        <a:pt x="779917" y="1354994"/>
                      </a:lnTo>
                      <a:lnTo>
                        <a:pt x="778799" y="1352165"/>
                      </a:lnTo>
                      <a:lnTo>
                        <a:pt x="778362" y="1347417"/>
                      </a:lnTo>
                      <a:lnTo>
                        <a:pt x="779115" y="1343227"/>
                      </a:lnTo>
                      <a:lnTo>
                        <a:pt x="779334" y="1339475"/>
                      </a:lnTo>
                      <a:lnTo>
                        <a:pt x="778666" y="1337290"/>
                      </a:lnTo>
                      <a:lnTo>
                        <a:pt x="775047" y="1332639"/>
                      </a:lnTo>
                      <a:lnTo>
                        <a:pt x="774161" y="1332275"/>
                      </a:lnTo>
                      <a:lnTo>
                        <a:pt x="773092" y="1332262"/>
                      </a:lnTo>
                      <a:lnTo>
                        <a:pt x="772012" y="1332979"/>
                      </a:lnTo>
                      <a:lnTo>
                        <a:pt x="768672" y="1336221"/>
                      </a:lnTo>
                      <a:lnTo>
                        <a:pt x="766098" y="1338079"/>
                      </a:lnTo>
                      <a:lnTo>
                        <a:pt x="762273" y="1339402"/>
                      </a:lnTo>
                      <a:lnTo>
                        <a:pt x="758654" y="1338261"/>
                      </a:lnTo>
                      <a:lnTo>
                        <a:pt x="757598" y="1336755"/>
                      </a:lnTo>
                      <a:lnTo>
                        <a:pt x="756894" y="1335043"/>
                      </a:lnTo>
                      <a:lnTo>
                        <a:pt x="756675" y="1332615"/>
                      </a:lnTo>
                      <a:lnTo>
                        <a:pt x="757088" y="1329008"/>
                      </a:lnTo>
                      <a:lnTo>
                        <a:pt x="757112" y="1324430"/>
                      </a:lnTo>
                      <a:lnTo>
                        <a:pt x="757647" y="1321771"/>
                      </a:lnTo>
                      <a:lnTo>
                        <a:pt x="758667" y="1319160"/>
                      </a:lnTo>
                      <a:lnTo>
                        <a:pt x="757719" y="1317691"/>
                      </a:lnTo>
                      <a:lnTo>
                        <a:pt x="757209" y="1317278"/>
                      </a:lnTo>
                      <a:lnTo>
                        <a:pt x="756323" y="1317011"/>
                      </a:lnTo>
                      <a:lnTo>
                        <a:pt x="752243" y="1316452"/>
                      </a:lnTo>
                      <a:lnTo>
                        <a:pt x="749159" y="1315250"/>
                      </a:lnTo>
                      <a:lnTo>
                        <a:pt x="746244" y="1312761"/>
                      </a:lnTo>
                      <a:lnTo>
                        <a:pt x="744144" y="1309410"/>
                      </a:lnTo>
                      <a:lnTo>
                        <a:pt x="742711" y="1305463"/>
                      </a:lnTo>
                      <a:lnTo>
                        <a:pt x="741776" y="1303702"/>
                      </a:lnTo>
                      <a:lnTo>
                        <a:pt x="740792" y="1302585"/>
                      </a:lnTo>
                      <a:lnTo>
                        <a:pt x="740027" y="1302330"/>
                      </a:lnTo>
                      <a:lnTo>
                        <a:pt x="739335" y="1302318"/>
                      </a:lnTo>
                      <a:lnTo>
                        <a:pt x="732596" y="1302779"/>
                      </a:lnTo>
                      <a:lnTo>
                        <a:pt x="730956" y="1301128"/>
                      </a:lnTo>
                      <a:lnTo>
                        <a:pt x="730179" y="1299549"/>
                      </a:lnTo>
                      <a:lnTo>
                        <a:pt x="729936" y="1298177"/>
                      </a:lnTo>
                      <a:lnTo>
                        <a:pt x="731442" y="1288184"/>
                      </a:lnTo>
                      <a:lnTo>
                        <a:pt x="731515" y="1286095"/>
                      </a:lnTo>
                      <a:lnTo>
                        <a:pt x="731114" y="1281554"/>
                      </a:lnTo>
                      <a:lnTo>
                        <a:pt x="731211" y="1278724"/>
                      </a:lnTo>
                      <a:lnTo>
                        <a:pt x="732146" y="1275737"/>
                      </a:lnTo>
                      <a:lnTo>
                        <a:pt x="733943" y="1273102"/>
                      </a:lnTo>
                      <a:lnTo>
                        <a:pt x="737635" y="1270370"/>
                      </a:lnTo>
                      <a:lnTo>
                        <a:pt x="740622" y="1268731"/>
                      </a:lnTo>
                      <a:lnTo>
                        <a:pt x="742164" y="1267541"/>
                      </a:lnTo>
                      <a:lnTo>
                        <a:pt x="741436" y="1263618"/>
                      </a:lnTo>
                      <a:lnTo>
                        <a:pt x="739651" y="1261372"/>
                      </a:lnTo>
                      <a:lnTo>
                        <a:pt x="738109" y="1258166"/>
                      </a:lnTo>
                      <a:lnTo>
                        <a:pt x="737708" y="1256454"/>
                      </a:lnTo>
                      <a:lnTo>
                        <a:pt x="737647" y="1255313"/>
                      </a:lnTo>
                      <a:lnTo>
                        <a:pt x="737708" y="1251026"/>
                      </a:lnTo>
                      <a:lnTo>
                        <a:pt x="737246" y="1249047"/>
                      </a:lnTo>
                      <a:lnTo>
                        <a:pt x="736081" y="1246703"/>
                      </a:lnTo>
                      <a:lnTo>
                        <a:pt x="730896" y="1239211"/>
                      </a:lnTo>
                      <a:lnTo>
                        <a:pt x="728734" y="1244590"/>
                      </a:lnTo>
                      <a:lnTo>
                        <a:pt x="727241" y="1247250"/>
                      </a:lnTo>
                      <a:lnTo>
                        <a:pt x="725334" y="1249715"/>
                      </a:lnTo>
                      <a:lnTo>
                        <a:pt x="723063" y="1251561"/>
                      </a:lnTo>
                      <a:lnTo>
                        <a:pt x="714733" y="1256976"/>
                      </a:lnTo>
                      <a:lnTo>
                        <a:pt x="710763" y="1256721"/>
                      </a:lnTo>
                      <a:lnTo>
                        <a:pt x="706974" y="1253200"/>
                      </a:lnTo>
                      <a:lnTo>
                        <a:pt x="702639" y="1248039"/>
                      </a:lnTo>
                      <a:lnTo>
                        <a:pt x="701437" y="1245574"/>
                      </a:lnTo>
                      <a:lnTo>
                        <a:pt x="700672" y="1241761"/>
                      </a:lnTo>
                      <a:lnTo>
                        <a:pt x="700150" y="1241033"/>
                      </a:lnTo>
                      <a:lnTo>
                        <a:pt x="699907" y="1240814"/>
                      </a:lnTo>
                      <a:lnTo>
                        <a:pt x="696543" y="1239381"/>
                      </a:lnTo>
                      <a:lnTo>
                        <a:pt x="694613" y="1238106"/>
                      </a:lnTo>
                      <a:lnTo>
                        <a:pt x="691419" y="1234354"/>
                      </a:lnTo>
                      <a:lnTo>
                        <a:pt x="690411" y="1233723"/>
                      </a:lnTo>
                      <a:lnTo>
                        <a:pt x="686659" y="1231950"/>
                      </a:lnTo>
                      <a:lnTo>
                        <a:pt x="683842" y="1229181"/>
                      </a:lnTo>
                      <a:lnTo>
                        <a:pt x="682360" y="1226582"/>
                      </a:lnTo>
                      <a:lnTo>
                        <a:pt x="680806" y="1222162"/>
                      </a:lnTo>
                      <a:lnTo>
                        <a:pt x="678220" y="1217742"/>
                      </a:lnTo>
                      <a:lnTo>
                        <a:pt x="677515" y="1214792"/>
                      </a:lnTo>
                      <a:lnTo>
                        <a:pt x="678062" y="1211137"/>
                      </a:lnTo>
                      <a:lnTo>
                        <a:pt x="683295" y="1197658"/>
                      </a:lnTo>
                      <a:lnTo>
                        <a:pt x="684935" y="1195424"/>
                      </a:lnTo>
                      <a:lnTo>
                        <a:pt x="687181" y="1193675"/>
                      </a:lnTo>
                      <a:lnTo>
                        <a:pt x="688322" y="1192424"/>
                      </a:lnTo>
                      <a:lnTo>
                        <a:pt x="688274" y="1190870"/>
                      </a:lnTo>
                      <a:lnTo>
                        <a:pt x="688310" y="1190469"/>
                      </a:lnTo>
                      <a:lnTo>
                        <a:pt x="689452" y="1187458"/>
                      </a:lnTo>
                      <a:lnTo>
                        <a:pt x="691686" y="1186984"/>
                      </a:lnTo>
                      <a:lnTo>
                        <a:pt x="693119" y="1186936"/>
                      </a:lnTo>
                      <a:lnTo>
                        <a:pt x="695074" y="1187336"/>
                      </a:lnTo>
                      <a:lnTo>
                        <a:pt x="697393" y="1187591"/>
                      </a:lnTo>
                      <a:lnTo>
                        <a:pt x="699919" y="1187567"/>
                      </a:lnTo>
                      <a:lnTo>
                        <a:pt x="701315" y="1187082"/>
                      </a:lnTo>
                      <a:lnTo>
                        <a:pt x="702250" y="1186596"/>
                      </a:lnTo>
                      <a:lnTo>
                        <a:pt x="702833" y="1185782"/>
                      </a:lnTo>
                      <a:lnTo>
                        <a:pt x="703343" y="1184592"/>
                      </a:lnTo>
                      <a:lnTo>
                        <a:pt x="703695" y="1182746"/>
                      </a:lnTo>
                      <a:lnTo>
                        <a:pt x="703598" y="1182297"/>
                      </a:lnTo>
                      <a:lnTo>
                        <a:pt x="702396" y="1182989"/>
                      </a:lnTo>
                      <a:lnTo>
                        <a:pt x="701121" y="1184034"/>
                      </a:lnTo>
                      <a:lnTo>
                        <a:pt x="698875" y="1184859"/>
                      </a:lnTo>
                      <a:lnTo>
                        <a:pt x="696738" y="1184641"/>
                      </a:lnTo>
                      <a:lnTo>
                        <a:pt x="686610" y="1181350"/>
                      </a:lnTo>
                      <a:lnTo>
                        <a:pt x="684376" y="1180306"/>
                      </a:lnTo>
                      <a:lnTo>
                        <a:pt x="682409" y="1178909"/>
                      </a:lnTo>
                      <a:lnTo>
                        <a:pt x="680454" y="1176663"/>
                      </a:lnTo>
                      <a:lnTo>
                        <a:pt x="679932" y="1175121"/>
                      </a:lnTo>
                      <a:lnTo>
                        <a:pt x="680029" y="1172121"/>
                      </a:lnTo>
                      <a:lnTo>
                        <a:pt x="681620" y="1167823"/>
                      </a:lnTo>
                      <a:lnTo>
                        <a:pt x="681911" y="1164374"/>
                      </a:lnTo>
                      <a:lnTo>
                        <a:pt x="681899" y="1160391"/>
                      </a:lnTo>
                      <a:lnTo>
                        <a:pt x="681462" y="1158788"/>
                      </a:lnTo>
                      <a:lnTo>
                        <a:pt x="680393" y="1158594"/>
                      </a:lnTo>
                      <a:lnTo>
                        <a:pt x="677880" y="1158971"/>
                      </a:lnTo>
                      <a:lnTo>
                        <a:pt x="672500" y="1160816"/>
                      </a:lnTo>
                      <a:lnTo>
                        <a:pt x="669294" y="1161436"/>
                      </a:lnTo>
                      <a:lnTo>
                        <a:pt x="667121" y="1161618"/>
                      </a:lnTo>
                      <a:lnTo>
                        <a:pt x="665251" y="1163463"/>
                      </a:lnTo>
                      <a:lnTo>
                        <a:pt x="663818" y="1166001"/>
                      </a:lnTo>
                      <a:lnTo>
                        <a:pt x="663733" y="1169499"/>
                      </a:lnTo>
                      <a:lnTo>
                        <a:pt x="663514" y="1171405"/>
                      </a:lnTo>
                      <a:lnTo>
                        <a:pt x="663235" y="1172510"/>
                      </a:lnTo>
                      <a:lnTo>
                        <a:pt x="662142" y="1174441"/>
                      </a:lnTo>
                      <a:lnTo>
                        <a:pt x="661644" y="1178448"/>
                      </a:lnTo>
                      <a:lnTo>
                        <a:pt x="661086" y="1180294"/>
                      </a:lnTo>
                      <a:lnTo>
                        <a:pt x="660090" y="1181982"/>
                      </a:lnTo>
                      <a:lnTo>
                        <a:pt x="658827" y="1183451"/>
                      </a:lnTo>
                      <a:lnTo>
                        <a:pt x="653484" y="1187130"/>
                      </a:lnTo>
                      <a:lnTo>
                        <a:pt x="650109" y="1188199"/>
                      </a:lnTo>
                      <a:lnTo>
                        <a:pt x="646636" y="1188211"/>
                      </a:lnTo>
                      <a:lnTo>
                        <a:pt x="638961" y="1185782"/>
                      </a:lnTo>
                      <a:lnTo>
                        <a:pt x="634541" y="1184908"/>
                      </a:lnTo>
                      <a:lnTo>
                        <a:pt x="627705" y="1184859"/>
                      </a:lnTo>
                      <a:lnTo>
                        <a:pt x="618343" y="1184216"/>
                      </a:lnTo>
                      <a:lnTo>
                        <a:pt x="615173" y="1183366"/>
                      </a:lnTo>
                      <a:lnTo>
                        <a:pt x="611895" y="1182091"/>
                      </a:lnTo>
                      <a:lnTo>
                        <a:pt x="608616" y="1179747"/>
                      </a:lnTo>
                      <a:lnTo>
                        <a:pt x="606795" y="1177950"/>
                      </a:lnTo>
                      <a:lnTo>
                        <a:pt x="605301" y="1175522"/>
                      </a:lnTo>
                      <a:lnTo>
                        <a:pt x="602970" y="1169596"/>
                      </a:lnTo>
                      <a:lnTo>
                        <a:pt x="602120" y="1168151"/>
                      </a:lnTo>
                      <a:lnTo>
                        <a:pt x="601221" y="1167058"/>
                      </a:lnTo>
                      <a:lnTo>
                        <a:pt x="600189" y="1166523"/>
                      </a:lnTo>
                      <a:lnTo>
                        <a:pt x="599181" y="1166329"/>
                      </a:lnTo>
                      <a:lnTo>
                        <a:pt x="596218" y="1166062"/>
                      </a:lnTo>
                      <a:lnTo>
                        <a:pt x="593231" y="1165443"/>
                      </a:lnTo>
                      <a:lnTo>
                        <a:pt x="589819" y="1164216"/>
                      </a:lnTo>
                      <a:lnTo>
                        <a:pt x="581028" y="1158655"/>
                      </a:lnTo>
                      <a:lnTo>
                        <a:pt x="579595" y="1158291"/>
                      </a:lnTo>
                      <a:lnTo>
                        <a:pt x="576692" y="1158145"/>
                      </a:lnTo>
                      <a:lnTo>
                        <a:pt x="575575" y="1158497"/>
                      </a:lnTo>
                      <a:lnTo>
                        <a:pt x="574992" y="1158861"/>
                      </a:lnTo>
                      <a:lnTo>
                        <a:pt x="574422" y="1157659"/>
                      </a:lnTo>
                      <a:lnTo>
                        <a:pt x="572843" y="1157271"/>
                      </a:lnTo>
                      <a:lnTo>
                        <a:pt x="575102" y="1159554"/>
                      </a:lnTo>
                      <a:lnTo>
                        <a:pt x="572139" y="1169814"/>
                      </a:lnTo>
                      <a:lnTo>
                        <a:pt x="571483" y="1170919"/>
                      </a:lnTo>
                      <a:lnTo>
                        <a:pt x="570487" y="1172182"/>
                      </a:lnTo>
                      <a:lnTo>
                        <a:pt x="569261" y="1173226"/>
                      </a:lnTo>
                      <a:lnTo>
                        <a:pt x="567670" y="1174004"/>
                      </a:lnTo>
                      <a:lnTo>
                        <a:pt x="566407" y="1174356"/>
                      </a:lnTo>
                      <a:lnTo>
                        <a:pt x="563760" y="1174271"/>
                      </a:lnTo>
                      <a:lnTo>
                        <a:pt x="563104" y="1174186"/>
                      </a:lnTo>
                      <a:lnTo>
                        <a:pt x="561113" y="1172996"/>
                      </a:lnTo>
                      <a:lnTo>
                        <a:pt x="558600" y="1169936"/>
                      </a:lnTo>
                      <a:lnTo>
                        <a:pt x="556681" y="1165710"/>
                      </a:lnTo>
                      <a:lnTo>
                        <a:pt x="554920" y="1162638"/>
                      </a:lnTo>
                      <a:lnTo>
                        <a:pt x="554143" y="1160816"/>
                      </a:lnTo>
                      <a:lnTo>
                        <a:pt x="553694" y="1157926"/>
                      </a:lnTo>
                      <a:lnTo>
                        <a:pt x="553779" y="1156676"/>
                      </a:lnTo>
                      <a:lnTo>
                        <a:pt x="553985" y="1155631"/>
                      </a:lnTo>
                      <a:lnTo>
                        <a:pt x="552467" y="1155401"/>
                      </a:lnTo>
                      <a:lnTo>
                        <a:pt x="550962" y="1155595"/>
                      </a:lnTo>
                      <a:lnTo>
                        <a:pt x="548970" y="1155996"/>
                      </a:lnTo>
                      <a:lnTo>
                        <a:pt x="546772" y="1156056"/>
                      </a:lnTo>
                      <a:lnTo>
                        <a:pt x="544234" y="1155388"/>
                      </a:lnTo>
                      <a:lnTo>
                        <a:pt x="543409" y="1155121"/>
                      </a:lnTo>
                      <a:lnTo>
                        <a:pt x="541575" y="1152936"/>
                      </a:lnTo>
                      <a:lnTo>
                        <a:pt x="540434" y="1150798"/>
                      </a:lnTo>
                      <a:lnTo>
                        <a:pt x="540033" y="1149596"/>
                      </a:lnTo>
                      <a:lnTo>
                        <a:pt x="539244" y="1149098"/>
                      </a:lnTo>
                      <a:lnTo>
                        <a:pt x="537106" y="1148965"/>
                      </a:lnTo>
                      <a:lnTo>
                        <a:pt x="535249" y="1148965"/>
                      </a:lnTo>
                      <a:lnTo>
                        <a:pt x="531836" y="1148175"/>
                      </a:lnTo>
                      <a:lnTo>
                        <a:pt x="528546" y="1146463"/>
                      </a:lnTo>
                      <a:lnTo>
                        <a:pt x="524369" y="1142991"/>
                      </a:lnTo>
                      <a:lnTo>
                        <a:pt x="522243" y="1140222"/>
                      </a:lnTo>
                      <a:lnTo>
                        <a:pt x="521515" y="1136870"/>
                      </a:lnTo>
                      <a:lnTo>
                        <a:pt x="522729" y="1135292"/>
                      </a:lnTo>
                      <a:lnTo>
                        <a:pt x="523846" y="1134175"/>
                      </a:lnTo>
                      <a:lnTo>
                        <a:pt x="524429" y="1133847"/>
                      </a:lnTo>
                      <a:lnTo>
                        <a:pt x="517374" y="1134539"/>
                      </a:lnTo>
                      <a:lnTo>
                        <a:pt x="510453" y="1133750"/>
                      </a:lnTo>
                      <a:lnTo>
                        <a:pt x="496100" y="1129123"/>
                      </a:lnTo>
                      <a:lnTo>
                        <a:pt x="491206" y="1125930"/>
                      </a:lnTo>
                      <a:lnTo>
                        <a:pt x="488608" y="1120927"/>
                      </a:lnTo>
                      <a:lnTo>
                        <a:pt x="487418" y="1119045"/>
                      </a:lnTo>
                      <a:lnTo>
                        <a:pt x="485232" y="1119312"/>
                      </a:lnTo>
                      <a:lnTo>
                        <a:pt x="476647" y="1121461"/>
                      </a:lnTo>
                      <a:lnTo>
                        <a:pt x="475821" y="1121983"/>
                      </a:lnTo>
                      <a:lnTo>
                        <a:pt x="475347" y="1122445"/>
                      </a:lnTo>
                      <a:lnTo>
                        <a:pt x="472700" y="1125578"/>
                      </a:lnTo>
                      <a:lnTo>
                        <a:pt x="470527" y="1127387"/>
                      </a:lnTo>
                      <a:lnTo>
                        <a:pt x="467187" y="1128783"/>
                      </a:lnTo>
                      <a:lnTo>
                        <a:pt x="463775" y="1129172"/>
                      </a:lnTo>
                      <a:lnTo>
                        <a:pt x="458566" y="1127982"/>
                      </a:lnTo>
                      <a:lnTo>
                        <a:pt x="456526" y="1126379"/>
                      </a:lnTo>
                      <a:lnTo>
                        <a:pt x="454413" y="1123477"/>
                      </a:lnTo>
                      <a:lnTo>
                        <a:pt x="454292" y="1123404"/>
                      </a:lnTo>
                      <a:lnTo>
                        <a:pt x="453199" y="1123283"/>
                      </a:lnTo>
                      <a:lnTo>
                        <a:pt x="452057" y="1123574"/>
                      </a:lnTo>
                      <a:lnTo>
                        <a:pt x="449944" y="1124630"/>
                      </a:lnTo>
                      <a:lnTo>
                        <a:pt x="449471" y="1125310"/>
                      </a:lnTo>
                      <a:lnTo>
                        <a:pt x="449422" y="1126294"/>
                      </a:lnTo>
                      <a:lnTo>
                        <a:pt x="449726" y="1129135"/>
                      </a:lnTo>
                      <a:lnTo>
                        <a:pt x="449070" y="1131115"/>
                      </a:lnTo>
                      <a:lnTo>
                        <a:pt x="447358" y="1132718"/>
                      </a:lnTo>
                      <a:lnTo>
                        <a:pt x="445986" y="1133240"/>
                      </a:lnTo>
                      <a:lnTo>
                        <a:pt x="442258" y="1133337"/>
                      </a:lnTo>
                      <a:lnTo>
                        <a:pt x="437158" y="1131831"/>
                      </a:lnTo>
                      <a:lnTo>
                        <a:pt x="434401" y="1129791"/>
                      </a:lnTo>
                      <a:lnTo>
                        <a:pt x="433794" y="1129281"/>
                      </a:lnTo>
                      <a:lnTo>
                        <a:pt x="432701" y="1126379"/>
                      </a:lnTo>
                      <a:lnTo>
                        <a:pt x="432386" y="1125080"/>
                      </a:lnTo>
                      <a:lnTo>
                        <a:pt x="431281" y="1124934"/>
                      </a:lnTo>
                      <a:lnTo>
                        <a:pt x="413746" y="1128917"/>
                      </a:lnTo>
                      <a:lnTo>
                        <a:pt x="410419" y="1129063"/>
                      </a:lnTo>
                      <a:lnTo>
                        <a:pt x="406327" y="1128079"/>
                      </a:lnTo>
                      <a:lnTo>
                        <a:pt x="403607" y="1126561"/>
                      </a:lnTo>
                      <a:lnTo>
                        <a:pt x="400365" y="1123975"/>
                      </a:lnTo>
                      <a:lnTo>
                        <a:pt x="397426" y="1123283"/>
                      </a:lnTo>
                      <a:lnTo>
                        <a:pt x="393006" y="1123003"/>
                      </a:lnTo>
                      <a:lnTo>
                        <a:pt x="378896" y="1123331"/>
                      </a:lnTo>
                      <a:lnTo>
                        <a:pt x="375945" y="1124157"/>
                      </a:lnTo>
                      <a:lnTo>
                        <a:pt x="374682" y="1124983"/>
                      </a:lnTo>
                      <a:lnTo>
                        <a:pt x="369291" y="1128941"/>
                      </a:lnTo>
                      <a:lnTo>
                        <a:pt x="365867" y="1130532"/>
                      </a:lnTo>
                      <a:lnTo>
                        <a:pt x="362309" y="1131212"/>
                      </a:lnTo>
                      <a:lnTo>
                        <a:pt x="357427" y="1130423"/>
                      </a:lnTo>
                      <a:lnTo>
                        <a:pt x="352570" y="1128310"/>
                      </a:lnTo>
                      <a:lnTo>
                        <a:pt x="350712" y="1128079"/>
                      </a:lnTo>
                      <a:lnTo>
                        <a:pt x="346875" y="1128892"/>
                      </a:lnTo>
                      <a:lnTo>
                        <a:pt x="344301" y="1129730"/>
                      </a:lnTo>
                      <a:lnTo>
                        <a:pt x="342285" y="1130787"/>
                      </a:lnTo>
                      <a:lnTo>
                        <a:pt x="339104" y="1133155"/>
                      </a:lnTo>
                      <a:lnTo>
                        <a:pt x="335097" y="1133373"/>
                      </a:lnTo>
                      <a:lnTo>
                        <a:pt x="332328" y="1133203"/>
                      </a:lnTo>
                      <a:lnTo>
                        <a:pt x="314381" y="1128298"/>
                      </a:lnTo>
                      <a:lnTo>
                        <a:pt x="305480" y="1122627"/>
                      </a:lnTo>
                      <a:lnTo>
                        <a:pt x="300890" y="1121983"/>
                      </a:lnTo>
                      <a:lnTo>
                        <a:pt x="299639" y="1121740"/>
                      </a:lnTo>
                      <a:lnTo>
                        <a:pt x="295280" y="1115147"/>
                      </a:lnTo>
                      <a:lnTo>
                        <a:pt x="288613" y="1097042"/>
                      </a:lnTo>
                      <a:lnTo>
                        <a:pt x="277624" y="1080564"/>
                      </a:lnTo>
                      <a:lnTo>
                        <a:pt x="272220" y="1069769"/>
                      </a:lnTo>
                      <a:lnTo>
                        <a:pt x="268007" y="1058439"/>
                      </a:lnTo>
                      <a:lnTo>
                        <a:pt x="261632" y="1030583"/>
                      </a:lnTo>
                      <a:lnTo>
                        <a:pt x="259701" y="1026382"/>
                      </a:lnTo>
                      <a:lnTo>
                        <a:pt x="256896" y="1023079"/>
                      </a:lnTo>
                      <a:lnTo>
                        <a:pt x="245482" y="1013510"/>
                      </a:lnTo>
                      <a:lnTo>
                        <a:pt x="238900" y="1006419"/>
                      </a:lnTo>
                      <a:lnTo>
                        <a:pt x="236277" y="1001829"/>
                      </a:lnTo>
                      <a:lnTo>
                        <a:pt x="235087" y="996207"/>
                      </a:lnTo>
                      <a:lnTo>
                        <a:pt x="233885" y="992224"/>
                      </a:lnTo>
                      <a:lnTo>
                        <a:pt x="226854" y="984792"/>
                      </a:lnTo>
                      <a:lnTo>
                        <a:pt x="223236" y="979765"/>
                      </a:lnTo>
                      <a:lnTo>
                        <a:pt x="221609" y="972176"/>
                      </a:lnTo>
                      <a:lnTo>
                        <a:pt x="222701" y="948485"/>
                      </a:lnTo>
                      <a:lnTo>
                        <a:pt x="223564" y="930914"/>
                      </a:lnTo>
                      <a:lnTo>
                        <a:pt x="223017" y="924029"/>
                      </a:lnTo>
                      <a:lnTo>
                        <a:pt x="220164" y="920265"/>
                      </a:lnTo>
                      <a:lnTo>
                        <a:pt x="214481" y="919135"/>
                      </a:lnTo>
                      <a:lnTo>
                        <a:pt x="208130" y="920945"/>
                      </a:lnTo>
                      <a:lnTo>
                        <a:pt x="201354" y="923810"/>
                      </a:lnTo>
                      <a:lnTo>
                        <a:pt x="193449" y="925510"/>
                      </a:lnTo>
                      <a:lnTo>
                        <a:pt x="170912" y="926142"/>
                      </a:lnTo>
                      <a:lnTo>
                        <a:pt x="159643" y="923835"/>
                      </a:lnTo>
                      <a:lnTo>
                        <a:pt x="151920" y="921176"/>
                      </a:lnTo>
                      <a:lnTo>
                        <a:pt x="147755" y="918322"/>
                      </a:lnTo>
                      <a:lnTo>
                        <a:pt x="144683" y="913100"/>
                      </a:lnTo>
                      <a:lnTo>
                        <a:pt x="140579" y="901480"/>
                      </a:lnTo>
                      <a:lnTo>
                        <a:pt x="137677" y="898286"/>
                      </a:lnTo>
                      <a:lnTo>
                        <a:pt x="130306" y="892190"/>
                      </a:lnTo>
                      <a:lnTo>
                        <a:pt x="122547" y="883350"/>
                      </a:lnTo>
                      <a:lnTo>
                        <a:pt x="116341" y="873284"/>
                      </a:lnTo>
                      <a:lnTo>
                        <a:pt x="112553" y="862574"/>
                      </a:lnTo>
                      <a:lnTo>
                        <a:pt x="112322" y="858591"/>
                      </a:lnTo>
                      <a:lnTo>
                        <a:pt x="113974" y="847650"/>
                      </a:lnTo>
                      <a:lnTo>
                        <a:pt x="114119" y="840886"/>
                      </a:lnTo>
                      <a:lnTo>
                        <a:pt x="115066" y="836891"/>
                      </a:lnTo>
                      <a:lnTo>
                        <a:pt x="125473" y="819806"/>
                      </a:lnTo>
                      <a:lnTo>
                        <a:pt x="128047" y="812921"/>
                      </a:lnTo>
                      <a:lnTo>
                        <a:pt x="128703" y="806279"/>
                      </a:lnTo>
                      <a:lnTo>
                        <a:pt x="127307" y="799066"/>
                      </a:lnTo>
                      <a:lnTo>
                        <a:pt x="126967" y="794877"/>
                      </a:lnTo>
                      <a:lnTo>
                        <a:pt x="128096" y="789947"/>
                      </a:lnTo>
                      <a:lnTo>
                        <a:pt x="129954" y="785405"/>
                      </a:lnTo>
                      <a:lnTo>
                        <a:pt x="130415" y="782503"/>
                      </a:lnTo>
                      <a:lnTo>
                        <a:pt x="129735" y="775339"/>
                      </a:lnTo>
                      <a:lnTo>
                        <a:pt x="130840" y="758339"/>
                      </a:lnTo>
                      <a:lnTo>
                        <a:pt x="130051" y="752389"/>
                      </a:lnTo>
                      <a:lnTo>
                        <a:pt x="125254" y="746536"/>
                      </a:lnTo>
                      <a:lnTo>
                        <a:pt x="119450" y="743706"/>
                      </a:lnTo>
                      <a:lnTo>
                        <a:pt x="113075" y="742213"/>
                      </a:lnTo>
                      <a:lnTo>
                        <a:pt x="68814" y="744058"/>
                      </a:lnTo>
                      <a:lnTo>
                        <a:pt x="59549" y="740914"/>
                      </a:lnTo>
                      <a:lnTo>
                        <a:pt x="45111" y="728710"/>
                      </a:lnTo>
                      <a:lnTo>
                        <a:pt x="37752" y="723962"/>
                      </a:lnTo>
                      <a:lnTo>
                        <a:pt x="8524" y="712414"/>
                      </a:lnTo>
                      <a:lnTo>
                        <a:pt x="1591" y="704934"/>
                      </a:lnTo>
                      <a:lnTo>
                        <a:pt x="0" y="695742"/>
                      </a:lnTo>
                      <a:lnTo>
                        <a:pt x="3898" y="670739"/>
                      </a:lnTo>
                      <a:lnTo>
                        <a:pt x="7929" y="645871"/>
                      </a:lnTo>
                      <a:lnTo>
                        <a:pt x="13090" y="630170"/>
                      </a:lnTo>
                      <a:lnTo>
                        <a:pt x="21129" y="616849"/>
                      </a:lnTo>
                      <a:lnTo>
                        <a:pt x="38542" y="599776"/>
                      </a:lnTo>
                      <a:lnTo>
                        <a:pt x="51085" y="591313"/>
                      </a:lnTo>
                      <a:lnTo>
                        <a:pt x="72712" y="571337"/>
                      </a:lnTo>
                      <a:lnTo>
                        <a:pt x="83531" y="554362"/>
                      </a:lnTo>
                      <a:lnTo>
                        <a:pt x="100034" y="538855"/>
                      </a:lnTo>
                      <a:lnTo>
                        <a:pt x="104016" y="533318"/>
                      </a:lnTo>
                      <a:lnTo>
                        <a:pt x="117447" y="495031"/>
                      </a:lnTo>
                      <a:lnTo>
                        <a:pt x="119790" y="490854"/>
                      </a:lnTo>
                      <a:lnTo>
                        <a:pt x="136584" y="473951"/>
                      </a:lnTo>
                      <a:lnTo>
                        <a:pt x="138515" y="472093"/>
                      </a:lnTo>
                      <a:lnTo>
                        <a:pt x="151762" y="462792"/>
                      </a:lnTo>
                      <a:lnTo>
                        <a:pt x="161841" y="452009"/>
                      </a:lnTo>
                      <a:lnTo>
                        <a:pt x="165763" y="449313"/>
                      </a:lnTo>
                      <a:lnTo>
                        <a:pt x="169855" y="447965"/>
                      </a:lnTo>
                      <a:lnTo>
                        <a:pt x="177566" y="446775"/>
                      </a:lnTo>
                      <a:lnTo>
                        <a:pt x="184148" y="444164"/>
                      </a:lnTo>
                      <a:lnTo>
                        <a:pt x="188131" y="443169"/>
                      </a:lnTo>
                      <a:lnTo>
                        <a:pt x="193218" y="443606"/>
                      </a:lnTo>
                      <a:lnTo>
                        <a:pt x="199205" y="445379"/>
                      </a:lnTo>
                      <a:lnTo>
                        <a:pt x="204985" y="448220"/>
                      </a:lnTo>
                      <a:lnTo>
                        <a:pt x="210121" y="452082"/>
                      </a:lnTo>
                      <a:lnTo>
                        <a:pt x="216739" y="459355"/>
                      </a:lnTo>
                      <a:lnTo>
                        <a:pt x="221681" y="463107"/>
                      </a:lnTo>
                      <a:lnTo>
                        <a:pt x="224329" y="466034"/>
                      </a:lnTo>
                      <a:lnTo>
                        <a:pt x="226757" y="471753"/>
                      </a:lnTo>
                      <a:lnTo>
                        <a:pt x="225944" y="479974"/>
                      </a:lnTo>
                      <a:lnTo>
                        <a:pt x="226502" y="483204"/>
                      </a:lnTo>
                      <a:lnTo>
                        <a:pt x="232052" y="495286"/>
                      </a:lnTo>
                      <a:lnTo>
                        <a:pt x="238997" y="504903"/>
                      </a:lnTo>
                      <a:lnTo>
                        <a:pt x="247230" y="510088"/>
                      </a:lnTo>
                      <a:lnTo>
                        <a:pt x="259652" y="511679"/>
                      </a:lnTo>
                      <a:lnTo>
                        <a:pt x="274066" y="508400"/>
                      </a:lnTo>
                      <a:lnTo>
                        <a:pt x="294697" y="498455"/>
                      </a:lnTo>
                      <a:lnTo>
                        <a:pt x="317793" y="487442"/>
                      </a:lnTo>
                      <a:lnTo>
                        <a:pt x="332340" y="482645"/>
                      </a:lnTo>
                      <a:lnTo>
                        <a:pt x="348624" y="479258"/>
                      </a:lnTo>
                      <a:lnTo>
                        <a:pt x="365175" y="477849"/>
                      </a:lnTo>
                      <a:lnTo>
                        <a:pt x="380620" y="479051"/>
                      </a:lnTo>
                      <a:lnTo>
                        <a:pt x="395811" y="477825"/>
                      </a:lnTo>
                      <a:lnTo>
                        <a:pt x="421542" y="470175"/>
                      </a:lnTo>
                      <a:lnTo>
                        <a:pt x="451462" y="461383"/>
                      </a:lnTo>
                      <a:lnTo>
                        <a:pt x="452203" y="460679"/>
                      </a:lnTo>
                      <a:lnTo>
                        <a:pt x="453065" y="458238"/>
                      </a:lnTo>
                      <a:lnTo>
                        <a:pt x="455032" y="434219"/>
                      </a:lnTo>
                      <a:lnTo>
                        <a:pt x="456162" y="429921"/>
                      </a:lnTo>
                      <a:lnTo>
                        <a:pt x="458542" y="425258"/>
                      </a:lnTo>
                      <a:lnTo>
                        <a:pt x="473817" y="405975"/>
                      </a:lnTo>
                      <a:lnTo>
                        <a:pt x="497350" y="387311"/>
                      </a:lnTo>
                      <a:lnTo>
                        <a:pt x="504357" y="380208"/>
                      </a:lnTo>
                      <a:lnTo>
                        <a:pt x="509141" y="371975"/>
                      </a:lnTo>
                      <a:lnTo>
                        <a:pt x="512699" y="362722"/>
                      </a:lnTo>
                      <a:lnTo>
                        <a:pt x="523579" y="322176"/>
                      </a:lnTo>
                      <a:lnTo>
                        <a:pt x="528303" y="313069"/>
                      </a:lnTo>
                      <a:lnTo>
                        <a:pt x="542632" y="296215"/>
                      </a:lnTo>
                      <a:lnTo>
                        <a:pt x="548436" y="292244"/>
                      </a:lnTo>
                      <a:lnTo>
                        <a:pt x="646138" y="243393"/>
                      </a:lnTo>
                      <a:lnTo>
                        <a:pt x="648967" y="241487"/>
                      </a:lnTo>
                      <a:lnTo>
                        <a:pt x="650449" y="239180"/>
                      </a:lnTo>
                      <a:lnTo>
                        <a:pt x="656253" y="225664"/>
                      </a:lnTo>
                      <a:lnTo>
                        <a:pt x="661280" y="217541"/>
                      </a:lnTo>
                      <a:lnTo>
                        <a:pt x="673107" y="202241"/>
                      </a:lnTo>
                      <a:lnTo>
                        <a:pt x="706950" y="139620"/>
                      </a:lnTo>
                      <a:lnTo>
                        <a:pt x="732717" y="59391"/>
                      </a:lnTo>
                      <a:lnTo>
                        <a:pt x="736409" y="55360"/>
                      </a:lnTo>
                      <a:lnTo>
                        <a:pt x="769377" y="40691"/>
                      </a:lnTo>
                      <a:lnTo>
                        <a:pt x="804069" y="33126"/>
                      </a:lnTo>
                      <a:lnTo>
                        <a:pt x="810517" y="29532"/>
                      </a:lnTo>
                      <a:lnTo>
                        <a:pt x="840231" y="5731"/>
                      </a:lnTo>
                      <a:lnTo>
                        <a:pt x="841032" y="0"/>
                      </a:lnTo>
                      <a:lnTo>
                        <a:pt x="850431" y="3364"/>
                      </a:lnTo>
                      <a:lnTo>
                        <a:pt x="852106" y="8549"/>
                      </a:lnTo>
                      <a:lnTo>
                        <a:pt x="852082" y="13090"/>
                      </a:lnTo>
                      <a:lnTo>
                        <a:pt x="850965" y="18093"/>
                      </a:lnTo>
                      <a:lnTo>
                        <a:pt x="850394" y="19441"/>
                      </a:lnTo>
                      <a:lnTo>
                        <a:pt x="837013" y="40509"/>
                      </a:lnTo>
                      <a:lnTo>
                        <a:pt x="835094" y="45682"/>
                      </a:lnTo>
                      <a:lnTo>
                        <a:pt x="834863" y="46605"/>
                      </a:lnTo>
                      <a:lnTo>
                        <a:pt x="838276" y="47163"/>
                      </a:lnTo>
                      <a:lnTo>
                        <a:pt x="908170" y="50721"/>
                      </a:lnTo>
                      <a:lnTo>
                        <a:pt x="925838" y="50587"/>
                      </a:lnTo>
                      <a:lnTo>
                        <a:pt x="953585" y="54230"/>
                      </a:lnTo>
                      <a:lnTo>
                        <a:pt x="953075" y="62609"/>
                      </a:lnTo>
                      <a:lnTo>
                        <a:pt x="953281" y="62913"/>
                      </a:lnTo>
                      <a:lnTo>
                        <a:pt x="954471" y="64163"/>
                      </a:lnTo>
                      <a:lnTo>
                        <a:pt x="955516" y="64698"/>
                      </a:lnTo>
                      <a:lnTo>
                        <a:pt x="958284" y="67308"/>
                      </a:lnTo>
                      <a:lnTo>
                        <a:pt x="959280" y="69737"/>
                      </a:lnTo>
                      <a:lnTo>
                        <a:pt x="959681" y="72554"/>
                      </a:lnTo>
                      <a:lnTo>
                        <a:pt x="959049" y="75468"/>
                      </a:lnTo>
                      <a:lnTo>
                        <a:pt x="957750" y="77776"/>
                      </a:lnTo>
                      <a:lnTo>
                        <a:pt x="955904" y="79718"/>
                      </a:lnTo>
                      <a:lnTo>
                        <a:pt x="953548" y="81273"/>
                      </a:lnTo>
                      <a:lnTo>
                        <a:pt x="947453" y="83944"/>
                      </a:lnTo>
                      <a:lnTo>
                        <a:pt x="946311" y="84284"/>
                      </a:lnTo>
                      <a:lnTo>
                        <a:pt x="945206" y="85535"/>
                      </a:lnTo>
                      <a:lnTo>
                        <a:pt x="943749" y="88643"/>
                      </a:lnTo>
                      <a:lnTo>
                        <a:pt x="942960" y="91570"/>
                      </a:lnTo>
                      <a:lnTo>
                        <a:pt x="942729" y="94921"/>
                      </a:lnTo>
                      <a:lnTo>
                        <a:pt x="942887" y="95577"/>
                      </a:lnTo>
                      <a:lnTo>
                        <a:pt x="943276" y="96063"/>
                      </a:lnTo>
                      <a:lnTo>
                        <a:pt x="944502" y="96670"/>
                      </a:lnTo>
                      <a:lnTo>
                        <a:pt x="946008" y="97059"/>
                      </a:lnTo>
                      <a:lnTo>
                        <a:pt x="947258" y="97107"/>
                      </a:lnTo>
                      <a:lnTo>
                        <a:pt x="948278" y="96998"/>
                      </a:lnTo>
                      <a:lnTo>
                        <a:pt x="949347" y="96646"/>
                      </a:lnTo>
                      <a:lnTo>
                        <a:pt x="950331" y="96111"/>
                      </a:lnTo>
                      <a:lnTo>
                        <a:pt x="951764" y="94861"/>
                      </a:lnTo>
                      <a:lnTo>
                        <a:pt x="953306" y="93865"/>
                      </a:lnTo>
                      <a:lnTo>
                        <a:pt x="955686" y="93173"/>
                      </a:lnTo>
                      <a:lnTo>
                        <a:pt x="958636" y="93148"/>
                      </a:lnTo>
                      <a:lnTo>
                        <a:pt x="959304" y="92141"/>
                      </a:lnTo>
                      <a:lnTo>
                        <a:pt x="960166" y="91327"/>
                      </a:lnTo>
                      <a:lnTo>
                        <a:pt x="960968" y="90999"/>
                      </a:lnTo>
                      <a:lnTo>
                        <a:pt x="963651" y="90198"/>
                      </a:lnTo>
                      <a:lnTo>
                        <a:pt x="965667" y="90538"/>
                      </a:lnTo>
                      <a:lnTo>
                        <a:pt x="967902" y="92043"/>
                      </a:lnTo>
                      <a:lnTo>
                        <a:pt x="969942" y="95298"/>
                      </a:lnTo>
                      <a:lnTo>
                        <a:pt x="970245" y="98625"/>
                      </a:lnTo>
                      <a:lnTo>
                        <a:pt x="969565" y="102766"/>
                      </a:lnTo>
                      <a:lnTo>
                        <a:pt x="966651" y="110477"/>
                      </a:lnTo>
                      <a:lnTo>
                        <a:pt x="965922" y="113549"/>
                      </a:lnTo>
                      <a:lnTo>
                        <a:pt x="964380" y="130452"/>
                      </a:lnTo>
                      <a:lnTo>
                        <a:pt x="965024" y="132977"/>
                      </a:lnTo>
                      <a:lnTo>
                        <a:pt x="965995" y="134617"/>
                      </a:lnTo>
                      <a:lnTo>
                        <a:pt x="968824" y="137531"/>
                      </a:lnTo>
                      <a:lnTo>
                        <a:pt x="971204" y="141149"/>
                      </a:lnTo>
                      <a:lnTo>
                        <a:pt x="971654" y="143894"/>
                      </a:lnTo>
                      <a:lnTo>
                        <a:pt x="970986" y="151362"/>
                      </a:lnTo>
                      <a:lnTo>
                        <a:pt x="970257" y="154009"/>
                      </a:lnTo>
                      <a:lnTo>
                        <a:pt x="968557" y="156960"/>
                      </a:lnTo>
                      <a:lnTo>
                        <a:pt x="966335" y="157955"/>
                      </a:lnTo>
                      <a:lnTo>
                        <a:pt x="964113" y="158429"/>
                      </a:lnTo>
                      <a:lnTo>
                        <a:pt x="957993" y="158210"/>
                      </a:lnTo>
                      <a:lnTo>
                        <a:pt x="957884" y="158308"/>
                      </a:lnTo>
                      <a:lnTo>
                        <a:pt x="957240" y="159886"/>
                      </a:lnTo>
                      <a:lnTo>
                        <a:pt x="957519" y="160590"/>
                      </a:lnTo>
                      <a:lnTo>
                        <a:pt x="957799" y="160578"/>
                      </a:lnTo>
                      <a:lnTo>
                        <a:pt x="960191" y="163881"/>
                      </a:lnTo>
                      <a:lnTo>
                        <a:pt x="961672" y="167172"/>
                      </a:lnTo>
                      <a:lnTo>
                        <a:pt x="962425" y="168556"/>
                      </a:lnTo>
                      <a:lnTo>
                        <a:pt x="964963" y="171556"/>
                      </a:lnTo>
                      <a:lnTo>
                        <a:pt x="966663" y="174154"/>
                      </a:lnTo>
                      <a:lnTo>
                        <a:pt x="968630" y="178683"/>
                      </a:lnTo>
                      <a:lnTo>
                        <a:pt x="969516" y="179849"/>
                      </a:lnTo>
                      <a:lnTo>
                        <a:pt x="970585" y="180031"/>
                      </a:lnTo>
                      <a:lnTo>
                        <a:pt x="971605" y="176534"/>
                      </a:lnTo>
                      <a:lnTo>
                        <a:pt x="972819" y="174640"/>
                      </a:lnTo>
                      <a:lnTo>
                        <a:pt x="973354" y="173911"/>
                      </a:lnTo>
                      <a:lnTo>
                        <a:pt x="975819" y="173013"/>
                      </a:lnTo>
                      <a:lnTo>
                        <a:pt x="977276" y="172794"/>
                      </a:lnTo>
                      <a:lnTo>
                        <a:pt x="980190" y="172758"/>
                      </a:lnTo>
                      <a:lnTo>
                        <a:pt x="985302" y="171908"/>
                      </a:lnTo>
                      <a:lnTo>
                        <a:pt x="986492" y="171871"/>
                      </a:lnTo>
                      <a:lnTo>
                        <a:pt x="993535" y="173219"/>
                      </a:lnTo>
                      <a:lnTo>
                        <a:pt x="995915" y="173268"/>
                      </a:lnTo>
                      <a:lnTo>
                        <a:pt x="996692" y="172964"/>
                      </a:lnTo>
                      <a:lnTo>
                        <a:pt x="997506" y="172187"/>
                      </a:lnTo>
                      <a:lnTo>
                        <a:pt x="998732" y="170705"/>
                      </a:lnTo>
                      <a:lnTo>
                        <a:pt x="1001258" y="168435"/>
                      </a:lnTo>
                      <a:lnTo>
                        <a:pt x="1003505" y="166856"/>
                      </a:lnTo>
                      <a:lnTo>
                        <a:pt x="1006431" y="165581"/>
                      </a:lnTo>
                      <a:lnTo>
                        <a:pt x="1009115" y="165193"/>
                      </a:lnTo>
                      <a:lnTo>
                        <a:pt x="1011737" y="165472"/>
                      </a:lnTo>
                      <a:lnTo>
                        <a:pt x="1015793" y="167609"/>
                      </a:lnTo>
                      <a:lnTo>
                        <a:pt x="1016923" y="167998"/>
                      </a:lnTo>
                      <a:lnTo>
                        <a:pt x="1020128" y="168702"/>
                      </a:lnTo>
                      <a:lnTo>
                        <a:pt x="1022933" y="169649"/>
                      </a:lnTo>
                      <a:lnTo>
                        <a:pt x="1025070" y="170730"/>
                      </a:lnTo>
                      <a:lnTo>
                        <a:pt x="1028895" y="173486"/>
                      </a:lnTo>
                      <a:lnTo>
                        <a:pt x="1030583" y="175526"/>
                      </a:lnTo>
                      <a:lnTo>
                        <a:pt x="1031482" y="177530"/>
                      </a:lnTo>
                      <a:lnTo>
                        <a:pt x="1031980" y="179740"/>
                      </a:lnTo>
                      <a:lnTo>
                        <a:pt x="1033510" y="183929"/>
                      </a:lnTo>
                      <a:lnTo>
                        <a:pt x="1035562" y="188058"/>
                      </a:lnTo>
                      <a:lnTo>
                        <a:pt x="1036643" y="189661"/>
                      </a:lnTo>
                      <a:lnTo>
                        <a:pt x="1037080" y="190073"/>
                      </a:lnTo>
                      <a:lnTo>
                        <a:pt x="1037711" y="190341"/>
                      </a:lnTo>
                      <a:lnTo>
                        <a:pt x="1039035" y="190571"/>
                      </a:lnTo>
                      <a:lnTo>
                        <a:pt x="1040043" y="190596"/>
                      </a:lnTo>
                      <a:lnTo>
                        <a:pt x="1043540" y="188483"/>
                      </a:lnTo>
                      <a:lnTo>
                        <a:pt x="1047110" y="188288"/>
                      </a:lnTo>
                      <a:lnTo>
                        <a:pt x="1050801" y="189830"/>
                      </a:lnTo>
                      <a:lnTo>
                        <a:pt x="1052586" y="191883"/>
                      </a:lnTo>
                      <a:lnTo>
                        <a:pt x="1054080" y="194396"/>
                      </a:lnTo>
                      <a:lnTo>
                        <a:pt x="1056047" y="199205"/>
                      </a:lnTo>
                      <a:lnTo>
                        <a:pt x="1056715" y="199618"/>
                      </a:lnTo>
                      <a:lnTo>
                        <a:pt x="1057383" y="199776"/>
                      </a:lnTo>
                      <a:lnTo>
                        <a:pt x="1058051" y="199606"/>
                      </a:lnTo>
                      <a:lnTo>
                        <a:pt x="1059229" y="199424"/>
                      </a:lnTo>
                      <a:lnTo>
                        <a:pt x="1060394" y="199120"/>
                      </a:lnTo>
                      <a:lnTo>
                        <a:pt x="1062264" y="197784"/>
                      </a:lnTo>
                      <a:lnTo>
                        <a:pt x="1064401" y="196922"/>
                      </a:lnTo>
                      <a:lnTo>
                        <a:pt x="1068044" y="196266"/>
                      </a:lnTo>
                      <a:lnTo>
                        <a:pt x="1069210" y="195428"/>
                      </a:lnTo>
                      <a:lnTo>
                        <a:pt x="1072294" y="192247"/>
                      </a:lnTo>
                      <a:lnTo>
                        <a:pt x="1075512" y="191810"/>
                      </a:lnTo>
                      <a:lnTo>
                        <a:pt x="1077795" y="192684"/>
                      </a:lnTo>
                      <a:lnTo>
                        <a:pt x="1080151" y="194506"/>
                      </a:lnTo>
                      <a:lnTo>
                        <a:pt x="1082264" y="195914"/>
                      </a:lnTo>
                      <a:lnTo>
                        <a:pt x="1084061" y="196024"/>
                      </a:lnTo>
                      <a:lnTo>
                        <a:pt x="1087388" y="195368"/>
                      </a:lnTo>
                      <a:lnTo>
                        <a:pt x="1088663" y="194846"/>
                      </a:lnTo>
                      <a:lnTo>
                        <a:pt x="1089307" y="193048"/>
                      </a:lnTo>
                      <a:lnTo>
                        <a:pt x="1090132" y="191664"/>
                      </a:lnTo>
                      <a:lnTo>
                        <a:pt x="1090484" y="191312"/>
                      </a:lnTo>
                      <a:lnTo>
                        <a:pt x="1091674" y="190353"/>
                      </a:lnTo>
                      <a:lnTo>
                        <a:pt x="1099155" y="186649"/>
                      </a:lnTo>
                      <a:lnTo>
                        <a:pt x="1102312" y="186540"/>
                      </a:lnTo>
                      <a:lnTo>
                        <a:pt x="1105105" y="188058"/>
                      </a:lnTo>
                      <a:lnTo>
                        <a:pt x="1106258" y="191069"/>
                      </a:lnTo>
                      <a:lnTo>
                        <a:pt x="1106100" y="193158"/>
                      </a:lnTo>
                      <a:lnTo>
                        <a:pt x="1104740" y="198306"/>
                      </a:lnTo>
                      <a:lnTo>
                        <a:pt x="1104716" y="199144"/>
                      </a:lnTo>
                      <a:lnTo>
                        <a:pt x="1104777" y="199314"/>
                      </a:lnTo>
                      <a:lnTo>
                        <a:pt x="1105590" y="198440"/>
                      </a:lnTo>
                      <a:lnTo>
                        <a:pt x="1107485" y="196886"/>
                      </a:lnTo>
                      <a:lnTo>
                        <a:pt x="1112123" y="194821"/>
                      </a:lnTo>
                      <a:lnTo>
                        <a:pt x="1115681" y="195271"/>
                      </a:lnTo>
                      <a:lnTo>
                        <a:pt x="1116774" y="197031"/>
                      </a:lnTo>
                      <a:lnTo>
                        <a:pt x="1117503" y="198658"/>
                      </a:lnTo>
                      <a:lnTo>
                        <a:pt x="1118085" y="202496"/>
                      </a:lnTo>
                      <a:lnTo>
                        <a:pt x="1120077" y="205616"/>
                      </a:lnTo>
                      <a:lnTo>
                        <a:pt x="1120720" y="207426"/>
                      </a:lnTo>
                      <a:lnTo>
                        <a:pt x="1121060" y="209478"/>
                      </a:lnTo>
                      <a:lnTo>
                        <a:pt x="1120988" y="210947"/>
                      </a:lnTo>
                      <a:lnTo>
                        <a:pt x="1120089" y="213643"/>
                      </a:lnTo>
                      <a:lnTo>
                        <a:pt x="1119591" y="214311"/>
                      </a:lnTo>
                      <a:lnTo>
                        <a:pt x="1118377" y="215234"/>
                      </a:lnTo>
                      <a:lnTo>
                        <a:pt x="1116932" y="215756"/>
                      </a:lnTo>
                      <a:lnTo>
                        <a:pt x="1114819" y="216132"/>
                      </a:lnTo>
                      <a:lnTo>
                        <a:pt x="1114673" y="216569"/>
                      </a:lnTo>
                      <a:lnTo>
                        <a:pt x="1114952" y="216934"/>
                      </a:lnTo>
                      <a:lnTo>
                        <a:pt x="1115475" y="218415"/>
                      </a:lnTo>
                      <a:lnTo>
                        <a:pt x="1116665" y="219666"/>
                      </a:lnTo>
                      <a:lnTo>
                        <a:pt x="1117843" y="221973"/>
                      </a:lnTo>
                      <a:lnTo>
                        <a:pt x="1118183" y="224219"/>
                      </a:lnTo>
                      <a:lnTo>
                        <a:pt x="1117588" y="226296"/>
                      </a:lnTo>
                      <a:lnTo>
                        <a:pt x="1117806" y="228809"/>
                      </a:lnTo>
                      <a:lnTo>
                        <a:pt x="1118547" y="230097"/>
                      </a:lnTo>
                      <a:lnTo>
                        <a:pt x="1119907" y="232088"/>
                      </a:lnTo>
                      <a:lnTo>
                        <a:pt x="1122943" y="235816"/>
                      </a:lnTo>
                      <a:lnTo>
                        <a:pt x="1128407" y="244194"/>
                      </a:lnTo>
                      <a:lnTo>
                        <a:pt x="1129330" y="244692"/>
                      </a:lnTo>
                      <a:lnTo>
                        <a:pt x="1136458" y="247048"/>
                      </a:lnTo>
                      <a:lnTo>
                        <a:pt x="1138607" y="248117"/>
                      </a:lnTo>
                      <a:lnTo>
                        <a:pt x="1139785" y="249246"/>
                      </a:lnTo>
                      <a:lnTo>
                        <a:pt x="1141157" y="251760"/>
                      </a:lnTo>
                      <a:lnTo>
                        <a:pt x="1141861" y="254565"/>
                      </a:lnTo>
                      <a:lnTo>
                        <a:pt x="1141837" y="257685"/>
                      </a:lnTo>
                      <a:lnTo>
                        <a:pt x="1140671" y="260697"/>
                      </a:lnTo>
                      <a:lnTo>
                        <a:pt x="1140368" y="261352"/>
                      </a:lnTo>
                      <a:lnTo>
                        <a:pt x="1138194" y="263052"/>
                      </a:lnTo>
                      <a:lnTo>
                        <a:pt x="1135535" y="264740"/>
                      </a:lnTo>
                      <a:lnTo>
                        <a:pt x="1135353" y="265408"/>
                      </a:lnTo>
                      <a:lnTo>
                        <a:pt x="1136409" y="268772"/>
                      </a:lnTo>
                      <a:lnTo>
                        <a:pt x="1138048" y="274831"/>
                      </a:lnTo>
                      <a:lnTo>
                        <a:pt x="1139105" y="278195"/>
                      </a:lnTo>
                      <a:lnTo>
                        <a:pt x="1142165" y="282882"/>
                      </a:lnTo>
                      <a:lnTo>
                        <a:pt x="1143100" y="286853"/>
                      </a:lnTo>
                      <a:lnTo>
                        <a:pt x="1142857" y="290872"/>
                      </a:lnTo>
                      <a:lnTo>
                        <a:pt x="1143440" y="292232"/>
                      </a:lnTo>
                      <a:lnTo>
                        <a:pt x="1146998" y="299554"/>
                      </a:lnTo>
                      <a:lnTo>
                        <a:pt x="1152766" y="317416"/>
                      </a:lnTo>
                      <a:lnTo>
                        <a:pt x="1155133" y="322237"/>
                      </a:lnTo>
                      <a:lnTo>
                        <a:pt x="1158011" y="326172"/>
                      </a:lnTo>
                      <a:lnTo>
                        <a:pt x="1160355" y="328612"/>
                      </a:lnTo>
                      <a:lnTo>
                        <a:pt x="1165321" y="335558"/>
                      </a:lnTo>
                      <a:lnTo>
                        <a:pt x="1166524" y="336906"/>
                      </a:lnTo>
                      <a:lnTo>
                        <a:pt x="1169256" y="339116"/>
                      </a:lnTo>
                      <a:lnTo>
                        <a:pt x="1174599" y="346669"/>
                      </a:lnTo>
                      <a:lnTo>
                        <a:pt x="1182431" y="352740"/>
                      </a:lnTo>
                      <a:lnTo>
                        <a:pt x="1185600" y="354234"/>
                      </a:lnTo>
                      <a:lnTo>
                        <a:pt x="1188939" y="357257"/>
                      </a:lnTo>
                      <a:lnTo>
                        <a:pt x="1189486" y="360487"/>
                      </a:lnTo>
                      <a:lnTo>
                        <a:pt x="1188502" y="362819"/>
                      </a:lnTo>
                      <a:lnTo>
                        <a:pt x="1188369" y="363523"/>
                      </a:lnTo>
                      <a:lnTo>
                        <a:pt x="1188527" y="364057"/>
                      </a:lnTo>
                      <a:lnTo>
                        <a:pt x="1189182" y="363985"/>
                      </a:lnTo>
                      <a:lnTo>
                        <a:pt x="1189692" y="363523"/>
                      </a:lnTo>
                      <a:lnTo>
                        <a:pt x="1190336" y="363195"/>
                      </a:lnTo>
                      <a:lnTo>
                        <a:pt x="1192364" y="363195"/>
                      </a:lnTo>
                      <a:lnTo>
                        <a:pt x="1195824" y="363827"/>
                      </a:lnTo>
                      <a:lnTo>
                        <a:pt x="1199394" y="366595"/>
                      </a:lnTo>
                      <a:lnTo>
                        <a:pt x="1203232" y="367858"/>
                      </a:lnTo>
                      <a:lnTo>
                        <a:pt x="1205600" y="368356"/>
                      </a:lnTo>
                      <a:lnTo>
                        <a:pt x="1208417" y="369255"/>
                      </a:lnTo>
                      <a:lnTo>
                        <a:pt x="1214075" y="373735"/>
                      </a:lnTo>
                      <a:lnTo>
                        <a:pt x="1222842" y="382260"/>
                      </a:lnTo>
                      <a:lnTo>
                        <a:pt x="1235933" y="399078"/>
                      </a:lnTo>
                      <a:lnTo>
                        <a:pt x="1238616" y="403534"/>
                      </a:lnTo>
                      <a:lnTo>
                        <a:pt x="1240438" y="408148"/>
                      </a:lnTo>
                      <a:lnTo>
                        <a:pt x="1240899" y="408403"/>
                      </a:lnTo>
                      <a:lnTo>
                        <a:pt x="1242757" y="410298"/>
                      </a:lnTo>
                      <a:lnTo>
                        <a:pt x="1244469" y="412823"/>
                      </a:lnTo>
                      <a:lnTo>
                        <a:pt x="1247019" y="418179"/>
                      </a:lnTo>
                      <a:lnTo>
                        <a:pt x="1246667" y="422550"/>
                      </a:lnTo>
                      <a:lnTo>
                        <a:pt x="1243036" y="425428"/>
                      </a:lnTo>
                      <a:lnTo>
                        <a:pt x="1239527" y="424104"/>
                      </a:lnTo>
                      <a:lnTo>
                        <a:pt x="1236928" y="422174"/>
                      </a:lnTo>
                      <a:lnTo>
                        <a:pt x="1234791" y="419757"/>
                      </a:lnTo>
                      <a:lnTo>
                        <a:pt x="1234609" y="419976"/>
                      </a:lnTo>
                      <a:lnTo>
                        <a:pt x="1232897" y="423011"/>
                      </a:lnTo>
                      <a:lnTo>
                        <a:pt x="1230857" y="425051"/>
                      </a:lnTo>
                      <a:lnTo>
                        <a:pt x="1229193" y="426132"/>
                      </a:lnTo>
                      <a:lnTo>
                        <a:pt x="1224591" y="427796"/>
                      </a:lnTo>
                      <a:lnTo>
                        <a:pt x="1222709" y="428646"/>
                      </a:lnTo>
                      <a:lnTo>
                        <a:pt x="1221434" y="429532"/>
                      </a:lnTo>
                      <a:lnTo>
                        <a:pt x="1221142" y="429848"/>
                      </a:lnTo>
                      <a:lnTo>
                        <a:pt x="1220839" y="430613"/>
                      </a:lnTo>
                      <a:lnTo>
                        <a:pt x="1221458" y="431451"/>
                      </a:lnTo>
                      <a:lnTo>
                        <a:pt x="1224628" y="433564"/>
                      </a:lnTo>
                      <a:lnTo>
                        <a:pt x="1224798" y="433454"/>
                      </a:lnTo>
                      <a:lnTo>
                        <a:pt x="1226060" y="431572"/>
                      </a:lnTo>
                      <a:lnTo>
                        <a:pt x="1226838" y="430747"/>
                      </a:lnTo>
                      <a:lnTo>
                        <a:pt x="1228598" y="429569"/>
                      </a:lnTo>
                      <a:lnTo>
                        <a:pt x="1231391" y="428621"/>
                      </a:lnTo>
                      <a:lnTo>
                        <a:pt x="1234415" y="429423"/>
                      </a:lnTo>
                      <a:lnTo>
                        <a:pt x="1237208" y="432021"/>
                      </a:lnTo>
                      <a:lnTo>
                        <a:pt x="1237548" y="435956"/>
                      </a:lnTo>
                      <a:lnTo>
                        <a:pt x="1236430" y="438530"/>
                      </a:lnTo>
                      <a:lnTo>
                        <a:pt x="1233213" y="442732"/>
                      </a:lnTo>
                      <a:lnTo>
                        <a:pt x="1229788" y="445743"/>
                      </a:lnTo>
                      <a:lnTo>
                        <a:pt x="1229302" y="446824"/>
                      </a:lnTo>
                      <a:lnTo>
                        <a:pt x="1229011" y="449131"/>
                      </a:lnTo>
                      <a:lnTo>
                        <a:pt x="1228258" y="451207"/>
                      </a:lnTo>
                      <a:lnTo>
                        <a:pt x="1226388" y="453515"/>
                      </a:lnTo>
                      <a:lnTo>
                        <a:pt x="1227372" y="454425"/>
                      </a:lnTo>
                      <a:lnTo>
                        <a:pt x="1228999" y="457424"/>
                      </a:lnTo>
                      <a:lnTo>
                        <a:pt x="1229388" y="458262"/>
                      </a:lnTo>
                      <a:lnTo>
                        <a:pt x="1228829" y="461699"/>
                      </a:lnTo>
                      <a:lnTo>
                        <a:pt x="1226242" y="463970"/>
                      </a:lnTo>
                      <a:lnTo>
                        <a:pt x="1226194" y="464310"/>
                      </a:lnTo>
                      <a:lnTo>
                        <a:pt x="1225854" y="464880"/>
                      </a:lnTo>
                      <a:lnTo>
                        <a:pt x="1224858" y="465548"/>
                      </a:lnTo>
                      <a:lnTo>
                        <a:pt x="1223352" y="466337"/>
                      </a:lnTo>
                      <a:lnTo>
                        <a:pt x="1221628" y="466762"/>
                      </a:lnTo>
                      <a:lnTo>
                        <a:pt x="1218155" y="466374"/>
                      </a:lnTo>
                      <a:lnTo>
                        <a:pt x="1217973" y="466957"/>
                      </a:lnTo>
                      <a:lnTo>
                        <a:pt x="1218422" y="468839"/>
                      </a:lnTo>
                      <a:lnTo>
                        <a:pt x="1223316" y="471717"/>
                      </a:lnTo>
                      <a:lnTo>
                        <a:pt x="1225113" y="473502"/>
                      </a:lnTo>
                      <a:lnTo>
                        <a:pt x="1226631" y="475772"/>
                      </a:lnTo>
                      <a:lnTo>
                        <a:pt x="1226801" y="478250"/>
                      </a:lnTo>
                      <a:lnTo>
                        <a:pt x="1227056" y="479986"/>
                      </a:lnTo>
                      <a:lnTo>
                        <a:pt x="1227639" y="481892"/>
                      </a:lnTo>
                      <a:lnTo>
                        <a:pt x="1228173" y="482512"/>
                      </a:lnTo>
                      <a:lnTo>
                        <a:pt x="1229120" y="482949"/>
                      </a:lnTo>
                      <a:lnTo>
                        <a:pt x="1245538" y="480715"/>
                      </a:lnTo>
                      <a:lnTo>
                        <a:pt x="1252593" y="481273"/>
                      </a:lnTo>
                      <a:lnTo>
                        <a:pt x="1257620" y="486300"/>
                      </a:lnTo>
                      <a:lnTo>
                        <a:pt x="1262210" y="489470"/>
                      </a:lnTo>
                      <a:lnTo>
                        <a:pt x="1265501" y="487126"/>
                      </a:lnTo>
                      <a:lnTo>
                        <a:pt x="1265707" y="486750"/>
                      </a:lnTo>
                      <a:lnTo>
                        <a:pt x="1264857" y="484867"/>
                      </a:lnTo>
                      <a:lnTo>
                        <a:pt x="1264226" y="482354"/>
                      </a:lnTo>
                      <a:lnTo>
                        <a:pt x="1263873" y="479221"/>
                      </a:lnTo>
                      <a:lnTo>
                        <a:pt x="1263521" y="478225"/>
                      </a:lnTo>
                      <a:lnTo>
                        <a:pt x="1261724" y="477242"/>
                      </a:lnTo>
                      <a:lnTo>
                        <a:pt x="1261105" y="476792"/>
                      </a:lnTo>
                      <a:lnTo>
                        <a:pt x="1259405" y="473247"/>
                      </a:lnTo>
                      <a:lnTo>
                        <a:pt x="1259320" y="469883"/>
                      </a:lnTo>
                      <a:lnTo>
                        <a:pt x="1259575" y="465487"/>
                      </a:lnTo>
                      <a:lnTo>
                        <a:pt x="1259235" y="463168"/>
                      </a:lnTo>
                      <a:lnTo>
                        <a:pt x="1256867" y="456939"/>
                      </a:lnTo>
                      <a:lnTo>
                        <a:pt x="1255288" y="450952"/>
                      </a:lnTo>
                      <a:lnTo>
                        <a:pt x="1255143" y="447455"/>
                      </a:lnTo>
                      <a:lnTo>
                        <a:pt x="1255580" y="444662"/>
                      </a:lnTo>
                      <a:lnTo>
                        <a:pt x="1256333" y="441687"/>
                      </a:lnTo>
                      <a:lnTo>
                        <a:pt x="1257195" y="439550"/>
                      </a:lnTo>
                      <a:lnTo>
                        <a:pt x="1258336" y="437729"/>
                      </a:lnTo>
                      <a:lnTo>
                        <a:pt x="1259381" y="437109"/>
                      </a:lnTo>
                      <a:lnTo>
                        <a:pt x="1260813" y="436429"/>
                      </a:lnTo>
                      <a:lnTo>
                        <a:pt x="1262441" y="436101"/>
                      </a:lnTo>
                      <a:lnTo>
                        <a:pt x="1262926" y="436065"/>
                      </a:lnTo>
                      <a:lnTo>
                        <a:pt x="1264468" y="436138"/>
                      </a:lnTo>
                      <a:lnTo>
                        <a:pt x="1268512" y="437231"/>
                      </a:lnTo>
                      <a:lnTo>
                        <a:pt x="1269508" y="437316"/>
                      </a:lnTo>
                      <a:lnTo>
                        <a:pt x="1270564" y="437146"/>
                      </a:lnTo>
                      <a:lnTo>
                        <a:pt x="1271196" y="436867"/>
                      </a:lnTo>
                      <a:lnTo>
                        <a:pt x="1272495" y="435786"/>
                      </a:lnTo>
                      <a:lnTo>
                        <a:pt x="1273709" y="435227"/>
                      </a:lnTo>
                      <a:lnTo>
                        <a:pt x="1276029" y="434863"/>
                      </a:lnTo>
                      <a:lnTo>
                        <a:pt x="1280036" y="435628"/>
                      </a:lnTo>
                      <a:lnTo>
                        <a:pt x="1286872" y="441226"/>
                      </a:lnTo>
                      <a:lnTo>
                        <a:pt x="1288317" y="441226"/>
                      </a:lnTo>
                      <a:lnTo>
                        <a:pt x="1289362" y="440971"/>
                      </a:lnTo>
                      <a:lnTo>
                        <a:pt x="1290260" y="439878"/>
                      </a:lnTo>
                      <a:lnTo>
                        <a:pt x="1290527" y="438785"/>
                      </a:lnTo>
                      <a:lnTo>
                        <a:pt x="1290382" y="438214"/>
                      </a:lnTo>
                      <a:lnTo>
                        <a:pt x="1289495" y="437219"/>
                      </a:lnTo>
                      <a:lnTo>
                        <a:pt x="1288718" y="437000"/>
                      </a:lnTo>
                      <a:lnTo>
                        <a:pt x="1286180" y="436041"/>
                      </a:lnTo>
                      <a:lnTo>
                        <a:pt x="1284104" y="434389"/>
                      </a:lnTo>
                      <a:lnTo>
                        <a:pt x="1283460" y="433782"/>
                      </a:lnTo>
                      <a:lnTo>
                        <a:pt x="1282404" y="429496"/>
                      </a:lnTo>
                      <a:lnTo>
                        <a:pt x="1284808" y="426776"/>
                      </a:lnTo>
                      <a:lnTo>
                        <a:pt x="1286629" y="425974"/>
                      </a:lnTo>
                      <a:lnTo>
                        <a:pt x="1288414" y="425574"/>
                      </a:lnTo>
                      <a:lnTo>
                        <a:pt x="1286131" y="424396"/>
                      </a:lnTo>
                      <a:lnTo>
                        <a:pt x="1283958" y="422538"/>
                      </a:lnTo>
                      <a:lnTo>
                        <a:pt x="1281869" y="419417"/>
                      </a:lnTo>
                      <a:lnTo>
                        <a:pt x="1281262" y="414317"/>
                      </a:lnTo>
                      <a:lnTo>
                        <a:pt x="1283496" y="411172"/>
                      </a:lnTo>
                      <a:lnTo>
                        <a:pt x="1285561" y="410504"/>
                      </a:lnTo>
                      <a:lnTo>
                        <a:pt x="1287783" y="410601"/>
                      </a:lnTo>
                      <a:lnTo>
                        <a:pt x="1289957" y="411573"/>
                      </a:lnTo>
                      <a:lnTo>
                        <a:pt x="1291899" y="412180"/>
                      </a:lnTo>
                      <a:lnTo>
                        <a:pt x="1293757" y="413236"/>
                      </a:lnTo>
                      <a:lnTo>
                        <a:pt x="1295287" y="414693"/>
                      </a:lnTo>
                      <a:lnTo>
                        <a:pt x="1296429" y="416563"/>
                      </a:lnTo>
                      <a:lnTo>
                        <a:pt x="1297121" y="418312"/>
                      </a:lnTo>
                      <a:lnTo>
                        <a:pt x="1297570" y="419041"/>
                      </a:lnTo>
                      <a:lnTo>
                        <a:pt x="1297959" y="419320"/>
                      </a:lnTo>
                      <a:lnTo>
                        <a:pt x="1305852" y="418045"/>
                      </a:lnTo>
                      <a:lnTo>
                        <a:pt x="1308887" y="417134"/>
                      </a:lnTo>
                      <a:lnTo>
                        <a:pt x="1313016" y="417122"/>
                      </a:lnTo>
                      <a:lnTo>
                        <a:pt x="1315833" y="418895"/>
                      </a:lnTo>
                      <a:lnTo>
                        <a:pt x="1320957" y="426290"/>
                      </a:lnTo>
                      <a:lnTo>
                        <a:pt x="1322135" y="428609"/>
                      </a:lnTo>
                      <a:lnTo>
                        <a:pt x="1322354" y="432009"/>
                      </a:lnTo>
                      <a:lnTo>
                        <a:pt x="1319925" y="433430"/>
                      </a:lnTo>
                      <a:lnTo>
                        <a:pt x="1319015" y="433588"/>
                      </a:lnTo>
                      <a:lnTo>
                        <a:pt x="1319549" y="434110"/>
                      </a:lnTo>
                      <a:lnTo>
                        <a:pt x="1320290" y="435033"/>
                      </a:lnTo>
                      <a:lnTo>
                        <a:pt x="1321018" y="437182"/>
                      </a:lnTo>
                      <a:lnTo>
                        <a:pt x="1320909" y="438761"/>
                      </a:lnTo>
                      <a:lnTo>
                        <a:pt x="1319512" y="440133"/>
                      </a:lnTo>
                      <a:lnTo>
                        <a:pt x="1318031" y="440922"/>
                      </a:lnTo>
                      <a:lnTo>
                        <a:pt x="1317776" y="440995"/>
                      </a:lnTo>
                      <a:lnTo>
                        <a:pt x="1321225" y="442574"/>
                      </a:lnTo>
                      <a:lnTo>
                        <a:pt x="1322172" y="442549"/>
                      </a:lnTo>
                      <a:lnTo>
                        <a:pt x="1324151" y="442392"/>
                      </a:lnTo>
                      <a:lnTo>
                        <a:pt x="1326810" y="442768"/>
                      </a:lnTo>
                      <a:lnTo>
                        <a:pt x="1328996" y="444504"/>
                      </a:lnTo>
                      <a:lnTo>
                        <a:pt x="1330040" y="446945"/>
                      </a:lnTo>
                      <a:lnTo>
                        <a:pt x="1332032" y="454826"/>
                      </a:lnTo>
                      <a:lnTo>
                        <a:pt x="1332566" y="455967"/>
                      </a:lnTo>
                      <a:lnTo>
                        <a:pt x="1333064" y="456672"/>
                      </a:lnTo>
                      <a:lnTo>
                        <a:pt x="1333343" y="456477"/>
                      </a:lnTo>
                      <a:lnTo>
                        <a:pt x="1335772" y="453126"/>
                      </a:lnTo>
                      <a:lnTo>
                        <a:pt x="1336646" y="452252"/>
                      </a:lnTo>
                      <a:lnTo>
                        <a:pt x="1338213" y="451195"/>
                      </a:lnTo>
                      <a:lnTo>
                        <a:pt x="1340629" y="450151"/>
                      </a:lnTo>
                      <a:lnTo>
                        <a:pt x="1343118" y="449410"/>
                      </a:lnTo>
                      <a:lnTo>
                        <a:pt x="1347745" y="448912"/>
                      </a:lnTo>
                      <a:lnTo>
                        <a:pt x="1348983" y="448633"/>
                      </a:lnTo>
                      <a:lnTo>
                        <a:pt x="1347332" y="445209"/>
                      </a:lnTo>
                      <a:lnTo>
                        <a:pt x="1346555" y="443096"/>
                      </a:lnTo>
                      <a:lnTo>
                        <a:pt x="1346142" y="440922"/>
                      </a:lnTo>
                      <a:lnTo>
                        <a:pt x="1346166" y="439040"/>
                      </a:lnTo>
                      <a:lnTo>
                        <a:pt x="1346506" y="437304"/>
                      </a:lnTo>
                      <a:lnTo>
                        <a:pt x="1347198" y="435604"/>
                      </a:lnTo>
                      <a:lnTo>
                        <a:pt x="1348704" y="433770"/>
                      </a:lnTo>
                      <a:lnTo>
                        <a:pt x="1350453" y="432289"/>
                      </a:lnTo>
                      <a:lnTo>
                        <a:pt x="1353768" y="430419"/>
                      </a:lnTo>
                      <a:lnTo>
                        <a:pt x="1354848" y="429471"/>
                      </a:lnTo>
                      <a:lnTo>
                        <a:pt x="1356488" y="427674"/>
                      </a:lnTo>
                      <a:lnTo>
                        <a:pt x="1358248" y="426399"/>
                      </a:lnTo>
                      <a:lnTo>
                        <a:pt x="1360750" y="425246"/>
                      </a:lnTo>
                      <a:lnTo>
                        <a:pt x="1363664" y="422951"/>
                      </a:lnTo>
                      <a:lnTo>
                        <a:pt x="1364757" y="421931"/>
                      </a:lnTo>
                      <a:lnTo>
                        <a:pt x="1369262" y="419150"/>
                      </a:lnTo>
                      <a:lnTo>
                        <a:pt x="1373184" y="414305"/>
                      </a:lnTo>
                      <a:lnTo>
                        <a:pt x="1373913" y="411961"/>
                      </a:lnTo>
                      <a:lnTo>
                        <a:pt x="1375503" y="409496"/>
                      </a:lnTo>
                      <a:lnTo>
                        <a:pt x="1377252" y="407626"/>
                      </a:lnTo>
                      <a:lnTo>
                        <a:pt x="1381818" y="404712"/>
                      </a:lnTo>
                      <a:lnTo>
                        <a:pt x="1383979" y="403911"/>
                      </a:lnTo>
                      <a:lnTo>
                        <a:pt x="1386517" y="403668"/>
                      </a:lnTo>
                      <a:lnTo>
                        <a:pt x="1388727" y="404080"/>
                      </a:lnTo>
                      <a:lnTo>
                        <a:pt x="1390694" y="404991"/>
                      </a:lnTo>
                      <a:lnTo>
                        <a:pt x="1392734" y="406703"/>
                      </a:lnTo>
                      <a:lnTo>
                        <a:pt x="1393864" y="408088"/>
                      </a:lnTo>
                      <a:lnTo>
                        <a:pt x="1395928" y="411415"/>
                      </a:lnTo>
                      <a:lnTo>
                        <a:pt x="1397215" y="412702"/>
                      </a:lnTo>
                      <a:lnTo>
                        <a:pt x="1404052" y="418008"/>
                      </a:lnTo>
                      <a:lnTo>
                        <a:pt x="1406152" y="420279"/>
                      </a:lnTo>
                      <a:lnTo>
                        <a:pt x="1407658" y="423230"/>
                      </a:lnTo>
                      <a:lnTo>
                        <a:pt x="1408229" y="426254"/>
                      </a:lnTo>
                      <a:lnTo>
                        <a:pt x="1408083" y="429447"/>
                      </a:lnTo>
                      <a:lnTo>
                        <a:pt x="1404756" y="441226"/>
                      </a:lnTo>
                      <a:lnTo>
                        <a:pt x="1404270" y="444225"/>
                      </a:lnTo>
                      <a:lnTo>
                        <a:pt x="1404416" y="447285"/>
                      </a:lnTo>
                      <a:lnTo>
                        <a:pt x="1405096" y="450272"/>
                      </a:lnTo>
                      <a:lnTo>
                        <a:pt x="1406456" y="453284"/>
                      </a:lnTo>
                      <a:lnTo>
                        <a:pt x="1407136" y="455664"/>
                      </a:lnTo>
                      <a:lnTo>
                        <a:pt x="1407476" y="457582"/>
                      </a:lnTo>
                      <a:lnTo>
                        <a:pt x="1407221" y="459950"/>
                      </a:lnTo>
                      <a:lnTo>
                        <a:pt x="1406845" y="461444"/>
                      </a:lnTo>
                      <a:lnTo>
                        <a:pt x="1406820" y="462573"/>
                      </a:lnTo>
                      <a:lnTo>
                        <a:pt x="1406929" y="464334"/>
                      </a:lnTo>
                      <a:lnTo>
                        <a:pt x="1407913" y="466677"/>
                      </a:lnTo>
                      <a:lnTo>
                        <a:pt x="1408423" y="469070"/>
                      </a:lnTo>
                      <a:lnTo>
                        <a:pt x="1408545" y="471255"/>
                      </a:lnTo>
                      <a:lnTo>
                        <a:pt x="1407925" y="474910"/>
                      </a:lnTo>
                      <a:lnTo>
                        <a:pt x="1408654" y="481225"/>
                      </a:lnTo>
                      <a:lnTo>
                        <a:pt x="1408374" y="483702"/>
                      </a:lnTo>
                      <a:lnTo>
                        <a:pt x="1407949" y="485050"/>
                      </a:lnTo>
                      <a:lnTo>
                        <a:pt x="1407197" y="486652"/>
                      </a:lnTo>
                      <a:lnTo>
                        <a:pt x="1403493" y="491874"/>
                      </a:lnTo>
                      <a:lnTo>
                        <a:pt x="1403129" y="492870"/>
                      </a:lnTo>
                      <a:lnTo>
                        <a:pt x="1400566" y="506615"/>
                      </a:lnTo>
                      <a:lnTo>
                        <a:pt x="1400591" y="507138"/>
                      </a:lnTo>
                      <a:lnTo>
                        <a:pt x="1400979" y="507830"/>
                      </a:lnTo>
                      <a:lnTo>
                        <a:pt x="1401587" y="508643"/>
                      </a:lnTo>
                      <a:lnTo>
                        <a:pt x="1402157" y="509105"/>
                      </a:lnTo>
                      <a:lnTo>
                        <a:pt x="1403894" y="511460"/>
                      </a:lnTo>
                      <a:lnTo>
                        <a:pt x="1404149" y="513525"/>
                      </a:lnTo>
                      <a:lnTo>
                        <a:pt x="1403420" y="515407"/>
                      </a:lnTo>
                      <a:lnTo>
                        <a:pt x="1402849" y="516099"/>
                      </a:lnTo>
                      <a:lnTo>
                        <a:pt x="1401599" y="516852"/>
                      </a:lnTo>
                      <a:lnTo>
                        <a:pt x="1399255" y="517593"/>
                      </a:lnTo>
                      <a:lnTo>
                        <a:pt x="1399546" y="517714"/>
                      </a:lnTo>
                      <a:lnTo>
                        <a:pt x="1404027" y="516111"/>
                      </a:lnTo>
                      <a:lnTo>
                        <a:pt x="1409662" y="516136"/>
                      </a:lnTo>
                      <a:lnTo>
                        <a:pt x="1410293" y="515322"/>
                      </a:lnTo>
                      <a:lnTo>
                        <a:pt x="1412187" y="510428"/>
                      </a:lnTo>
                      <a:lnTo>
                        <a:pt x="1415417" y="506409"/>
                      </a:lnTo>
                      <a:lnTo>
                        <a:pt x="1418732" y="504903"/>
                      </a:lnTo>
                      <a:lnTo>
                        <a:pt x="1425095" y="504151"/>
                      </a:lnTo>
                      <a:lnTo>
                        <a:pt x="1421294" y="502499"/>
                      </a:lnTo>
                      <a:lnTo>
                        <a:pt x="1419206" y="499488"/>
                      </a:lnTo>
                      <a:lnTo>
                        <a:pt x="1419109" y="495663"/>
                      </a:lnTo>
                      <a:lnTo>
                        <a:pt x="1421683" y="490805"/>
                      </a:lnTo>
                      <a:lnTo>
                        <a:pt x="1425678" y="489336"/>
                      </a:lnTo>
                      <a:lnTo>
                        <a:pt x="1428860" y="489664"/>
                      </a:lnTo>
                      <a:lnTo>
                        <a:pt x="1435902" y="492420"/>
                      </a:lnTo>
                      <a:lnTo>
                        <a:pt x="1438950" y="493185"/>
                      </a:lnTo>
                      <a:lnTo>
                        <a:pt x="1440153" y="493015"/>
                      </a:lnTo>
                      <a:lnTo>
                        <a:pt x="1441306" y="492226"/>
                      </a:lnTo>
                      <a:lnTo>
                        <a:pt x="1443468" y="489372"/>
                      </a:lnTo>
                      <a:lnTo>
                        <a:pt x="1444293" y="488377"/>
                      </a:lnTo>
                      <a:lnTo>
                        <a:pt x="1448288" y="488037"/>
                      </a:lnTo>
                      <a:lnTo>
                        <a:pt x="1450158" y="490004"/>
                      </a:lnTo>
                      <a:lnTo>
                        <a:pt x="1450559" y="490793"/>
                      </a:lnTo>
                      <a:lnTo>
                        <a:pt x="1451348" y="488802"/>
                      </a:lnTo>
                      <a:lnTo>
                        <a:pt x="1455659" y="487903"/>
                      </a:lnTo>
                      <a:lnTo>
                        <a:pt x="1457893" y="489883"/>
                      </a:lnTo>
                      <a:lnTo>
                        <a:pt x="1459508" y="492311"/>
                      </a:lnTo>
                      <a:lnTo>
                        <a:pt x="1462350" y="488571"/>
                      </a:lnTo>
                      <a:lnTo>
                        <a:pt x="1471226" y="490150"/>
                      </a:lnTo>
                      <a:lnTo>
                        <a:pt x="1474189" y="500204"/>
                      </a:lnTo>
                      <a:lnTo>
                        <a:pt x="1474638" y="505826"/>
                      </a:lnTo>
                      <a:lnTo>
                        <a:pt x="1474444" y="510003"/>
                      </a:lnTo>
                      <a:lnTo>
                        <a:pt x="1474699" y="510647"/>
                      </a:lnTo>
                      <a:lnTo>
                        <a:pt x="1473376" y="511837"/>
                      </a:lnTo>
                      <a:lnTo>
                        <a:pt x="1473315" y="512869"/>
                      </a:lnTo>
                      <a:lnTo>
                        <a:pt x="1475112" y="510234"/>
                      </a:lnTo>
                      <a:lnTo>
                        <a:pt x="1477541" y="511679"/>
                      </a:lnTo>
                      <a:lnTo>
                        <a:pt x="1478415" y="512651"/>
                      </a:lnTo>
                      <a:lnTo>
                        <a:pt x="1480188" y="515346"/>
                      </a:lnTo>
                      <a:lnTo>
                        <a:pt x="1481548" y="520094"/>
                      </a:lnTo>
                      <a:lnTo>
                        <a:pt x="1482070" y="524490"/>
                      </a:lnTo>
                      <a:lnTo>
                        <a:pt x="1481851" y="526044"/>
                      </a:lnTo>
                      <a:lnTo>
                        <a:pt x="1480516" y="528752"/>
                      </a:lnTo>
                      <a:lnTo>
                        <a:pt x="1478937" y="530428"/>
                      </a:lnTo>
                      <a:lnTo>
                        <a:pt x="1480686" y="531751"/>
                      </a:lnTo>
                      <a:lnTo>
                        <a:pt x="1482823" y="534131"/>
                      </a:lnTo>
                      <a:lnTo>
                        <a:pt x="1483284" y="536038"/>
                      </a:lnTo>
                      <a:lnTo>
                        <a:pt x="1483175" y="538466"/>
                      </a:lnTo>
                      <a:lnTo>
                        <a:pt x="1482592" y="540810"/>
                      </a:lnTo>
                      <a:lnTo>
                        <a:pt x="1482386" y="543506"/>
                      </a:lnTo>
                      <a:lnTo>
                        <a:pt x="1482884" y="544356"/>
                      </a:lnTo>
                      <a:lnTo>
                        <a:pt x="1483636" y="545449"/>
                      </a:lnTo>
                      <a:lnTo>
                        <a:pt x="1491238" y="554107"/>
                      </a:lnTo>
                      <a:lnTo>
                        <a:pt x="1494419" y="559316"/>
                      </a:lnTo>
                      <a:lnTo>
                        <a:pt x="1496884" y="562291"/>
                      </a:lnTo>
                      <a:lnTo>
                        <a:pt x="1499337" y="571350"/>
                      </a:lnTo>
                      <a:lnTo>
                        <a:pt x="1500297" y="573050"/>
                      </a:lnTo>
                      <a:lnTo>
                        <a:pt x="1501584" y="574543"/>
                      </a:lnTo>
                      <a:lnTo>
                        <a:pt x="1502628" y="575296"/>
                      </a:lnTo>
                      <a:lnTo>
                        <a:pt x="1504024" y="576110"/>
                      </a:lnTo>
                      <a:lnTo>
                        <a:pt x="1504850" y="576316"/>
                      </a:lnTo>
                      <a:lnTo>
                        <a:pt x="1507594" y="576668"/>
                      </a:lnTo>
                      <a:lnTo>
                        <a:pt x="1509671" y="577130"/>
                      </a:lnTo>
                      <a:lnTo>
                        <a:pt x="1511699" y="578040"/>
                      </a:lnTo>
                      <a:lnTo>
                        <a:pt x="1522360" y="585642"/>
                      </a:lnTo>
                      <a:lnTo>
                        <a:pt x="1524279" y="586370"/>
                      </a:lnTo>
                      <a:lnTo>
                        <a:pt x="1527679" y="586407"/>
                      </a:lnTo>
                      <a:lnTo>
                        <a:pt x="1531115" y="587378"/>
                      </a:lnTo>
                      <a:lnTo>
                        <a:pt x="1532815" y="590062"/>
                      </a:lnTo>
                      <a:lnTo>
                        <a:pt x="1533094" y="592272"/>
                      </a:lnTo>
                      <a:lnTo>
                        <a:pt x="1533094" y="594105"/>
                      </a:lnTo>
                      <a:lnTo>
                        <a:pt x="1532791" y="596631"/>
                      </a:lnTo>
                      <a:lnTo>
                        <a:pt x="1533641" y="599388"/>
                      </a:lnTo>
                      <a:lnTo>
                        <a:pt x="1534467" y="601015"/>
                      </a:lnTo>
                      <a:lnTo>
                        <a:pt x="1535851" y="602800"/>
                      </a:lnTo>
                      <a:lnTo>
                        <a:pt x="1537041" y="605653"/>
                      </a:lnTo>
                      <a:lnTo>
                        <a:pt x="1538110" y="609369"/>
                      </a:lnTo>
                      <a:lnTo>
                        <a:pt x="1538474" y="609746"/>
                      </a:lnTo>
                      <a:lnTo>
                        <a:pt x="1539749" y="610389"/>
                      </a:lnTo>
                      <a:lnTo>
                        <a:pt x="1540927" y="610887"/>
                      </a:lnTo>
                      <a:lnTo>
                        <a:pt x="1542857" y="615866"/>
                      </a:lnTo>
                      <a:lnTo>
                        <a:pt x="1538413" y="622981"/>
                      </a:lnTo>
                      <a:lnTo>
                        <a:pt x="1533459" y="625689"/>
                      </a:lnTo>
                      <a:lnTo>
                        <a:pt x="1531820" y="626357"/>
                      </a:lnTo>
                      <a:lnTo>
                        <a:pt x="1531625" y="626867"/>
                      </a:lnTo>
                      <a:lnTo>
                        <a:pt x="1531504" y="628021"/>
                      </a:lnTo>
                      <a:lnTo>
                        <a:pt x="1529318" y="632441"/>
                      </a:lnTo>
                      <a:lnTo>
                        <a:pt x="1525214" y="634262"/>
                      </a:lnTo>
                      <a:lnTo>
                        <a:pt x="1513241" y="637359"/>
                      </a:lnTo>
                      <a:lnTo>
                        <a:pt x="1512585" y="638196"/>
                      </a:lnTo>
                      <a:lnTo>
                        <a:pt x="1510654" y="640212"/>
                      </a:lnTo>
                      <a:lnTo>
                        <a:pt x="1515232" y="639083"/>
                      </a:lnTo>
                      <a:lnTo>
                        <a:pt x="1515572" y="639071"/>
                      </a:lnTo>
                      <a:lnTo>
                        <a:pt x="1517625" y="639483"/>
                      </a:lnTo>
                      <a:lnTo>
                        <a:pt x="1518863" y="640746"/>
                      </a:lnTo>
                      <a:lnTo>
                        <a:pt x="1519798" y="642325"/>
                      </a:lnTo>
                      <a:lnTo>
                        <a:pt x="1520575" y="645385"/>
                      </a:lnTo>
                      <a:lnTo>
                        <a:pt x="1521328" y="645956"/>
                      </a:lnTo>
                      <a:lnTo>
                        <a:pt x="1522275" y="646211"/>
                      </a:lnTo>
                      <a:lnTo>
                        <a:pt x="1528177" y="647194"/>
                      </a:lnTo>
                      <a:lnTo>
                        <a:pt x="1532123" y="647364"/>
                      </a:lnTo>
                      <a:lnTo>
                        <a:pt x="1531759" y="646988"/>
                      </a:lnTo>
                      <a:lnTo>
                        <a:pt x="1533520" y="644984"/>
                      </a:lnTo>
                      <a:lnTo>
                        <a:pt x="1534212" y="644559"/>
                      </a:lnTo>
                      <a:lnTo>
                        <a:pt x="1535851" y="644037"/>
                      </a:lnTo>
                      <a:lnTo>
                        <a:pt x="1536652" y="644025"/>
                      </a:lnTo>
                      <a:lnTo>
                        <a:pt x="1538280" y="644377"/>
                      </a:lnTo>
                      <a:lnTo>
                        <a:pt x="1538765" y="644644"/>
                      </a:lnTo>
                      <a:lnTo>
                        <a:pt x="1539992" y="645531"/>
                      </a:lnTo>
                      <a:lnTo>
                        <a:pt x="1540902" y="646587"/>
                      </a:lnTo>
                      <a:lnTo>
                        <a:pt x="1543416" y="651165"/>
                      </a:lnTo>
                      <a:lnTo>
                        <a:pt x="1544485" y="649963"/>
                      </a:lnTo>
                      <a:lnTo>
                        <a:pt x="1546610" y="648482"/>
                      </a:lnTo>
                      <a:lnTo>
                        <a:pt x="1549342" y="647984"/>
                      </a:lnTo>
                      <a:lnTo>
                        <a:pt x="1552208" y="649429"/>
                      </a:lnTo>
                      <a:lnTo>
                        <a:pt x="1554114" y="652391"/>
                      </a:lnTo>
                      <a:lnTo>
                        <a:pt x="1554114" y="656897"/>
                      </a:lnTo>
                      <a:lnTo>
                        <a:pt x="1551831" y="659908"/>
                      </a:lnTo>
                      <a:lnTo>
                        <a:pt x="1548929" y="661414"/>
                      </a:lnTo>
                      <a:lnTo>
                        <a:pt x="1538656" y="663636"/>
                      </a:lnTo>
                      <a:lnTo>
                        <a:pt x="1534965" y="664777"/>
                      </a:lnTo>
                      <a:lnTo>
                        <a:pt x="1503842" y="678572"/>
                      </a:lnTo>
                      <a:lnTo>
                        <a:pt x="1497103" y="682409"/>
                      </a:lnTo>
                      <a:lnTo>
                        <a:pt x="1494832" y="684437"/>
                      </a:lnTo>
                      <a:lnTo>
                        <a:pt x="1494140" y="685602"/>
                      </a:lnTo>
                      <a:lnTo>
                        <a:pt x="1494043" y="686465"/>
                      </a:lnTo>
                      <a:lnTo>
                        <a:pt x="1494334" y="690047"/>
                      </a:lnTo>
                      <a:lnTo>
                        <a:pt x="1494104" y="694831"/>
                      </a:lnTo>
                      <a:lnTo>
                        <a:pt x="1493472" y="698413"/>
                      </a:lnTo>
                      <a:lnTo>
                        <a:pt x="1495609" y="697855"/>
                      </a:lnTo>
                      <a:lnTo>
                        <a:pt x="1497722" y="695633"/>
                      </a:lnTo>
                      <a:lnTo>
                        <a:pt x="1498912" y="693653"/>
                      </a:lnTo>
                      <a:lnTo>
                        <a:pt x="1501256" y="687958"/>
                      </a:lnTo>
                      <a:lnTo>
                        <a:pt x="1504061" y="686307"/>
                      </a:lnTo>
                      <a:lnTo>
                        <a:pt x="1505445" y="686453"/>
                      </a:lnTo>
                      <a:lnTo>
                        <a:pt x="1506939" y="686720"/>
                      </a:lnTo>
                      <a:lnTo>
                        <a:pt x="1509586" y="687703"/>
                      </a:lnTo>
                      <a:lnTo>
                        <a:pt x="1509962" y="687448"/>
                      </a:lnTo>
                      <a:lnTo>
                        <a:pt x="1511310" y="687108"/>
                      </a:lnTo>
                      <a:lnTo>
                        <a:pt x="1535341" y="677199"/>
                      </a:lnTo>
                      <a:lnTo>
                        <a:pt x="1539324" y="674710"/>
                      </a:lnTo>
                      <a:lnTo>
                        <a:pt x="1543877" y="669999"/>
                      </a:lnTo>
                      <a:lnTo>
                        <a:pt x="1546719" y="668068"/>
                      </a:lnTo>
                      <a:lnTo>
                        <a:pt x="1550471" y="666878"/>
                      </a:lnTo>
                      <a:lnTo>
                        <a:pt x="1553920" y="666829"/>
                      </a:lnTo>
                      <a:lnTo>
                        <a:pt x="1559700" y="668323"/>
                      </a:lnTo>
                      <a:lnTo>
                        <a:pt x="1570762" y="669707"/>
                      </a:lnTo>
                      <a:lnTo>
                        <a:pt x="1573263" y="670509"/>
                      </a:lnTo>
                      <a:lnTo>
                        <a:pt x="1575158" y="671444"/>
                      </a:lnTo>
                      <a:lnTo>
                        <a:pt x="1576299" y="672342"/>
                      </a:lnTo>
                      <a:lnTo>
                        <a:pt x="1577586" y="671505"/>
                      </a:lnTo>
                      <a:lnTo>
                        <a:pt x="1580452" y="670642"/>
                      </a:lnTo>
                      <a:lnTo>
                        <a:pt x="1582893" y="670570"/>
                      </a:lnTo>
                      <a:lnTo>
                        <a:pt x="1589086" y="672148"/>
                      </a:lnTo>
                      <a:lnTo>
                        <a:pt x="1599553" y="672731"/>
                      </a:lnTo>
                      <a:lnTo>
                        <a:pt x="1603123" y="673593"/>
                      </a:lnTo>
                      <a:lnTo>
                        <a:pt x="1605041" y="675147"/>
                      </a:lnTo>
                      <a:lnTo>
                        <a:pt x="1605442" y="673751"/>
                      </a:lnTo>
                      <a:lnTo>
                        <a:pt x="1607980" y="671759"/>
                      </a:lnTo>
                      <a:lnTo>
                        <a:pt x="1610154" y="671371"/>
                      </a:lnTo>
                      <a:lnTo>
                        <a:pt x="1614440" y="671565"/>
                      </a:lnTo>
                      <a:lnTo>
                        <a:pt x="1614999" y="671031"/>
                      </a:lnTo>
                      <a:lnTo>
                        <a:pt x="1615120" y="670472"/>
                      </a:lnTo>
                      <a:lnTo>
                        <a:pt x="1616067" y="669112"/>
                      </a:lnTo>
                      <a:lnTo>
                        <a:pt x="1618642" y="667133"/>
                      </a:lnTo>
                      <a:lnTo>
                        <a:pt x="1619273" y="666417"/>
                      </a:lnTo>
                      <a:lnTo>
                        <a:pt x="1622236" y="664498"/>
                      </a:lnTo>
                      <a:lnTo>
                        <a:pt x="1626170" y="663636"/>
                      </a:lnTo>
                      <a:lnTo>
                        <a:pt x="1632108" y="663320"/>
                      </a:lnTo>
                      <a:lnTo>
                        <a:pt x="1635848" y="663782"/>
                      </a:lnTo>
                      <a:lnTo>
                        <a:pt x="1638483" y="664437"/>
                      </a:lnTo>
                      <a:lnTo>
                        <a:pt x="1640863" y="665494"/>
                      </a:lnTo>
                      <a:lnTo>
                        <a:pt x="1642175" y="665797"/>
                      </a:lnTo>
                      <a:lnTo>
                        <a:pt x="1645890" y="666137"/>
                      </a:lnTo>
                      <a:lnTo>
                        <a:pt x="1648040" y="666769"/>
                      </a:lnTo>
                      <a:lnTo>
                        <a:pt x="1649752" y="667716"/>
                      </a:lnTo>
                      <a:lnTo>
                        <a:pt x="1651464" y="669003"/>
                      </a:lnTo>
                      <a:lnTo>
                        <a:pt x="1652824" y="670873"/>
                      </a:lnTo>
                      <a:lnTo>
                        <a:pt x="1653043" y="672877"/>
                      </a:lnTo>
                      <a:lnTo>
                        <a:pt x="1652423" y="674868"/>
                      </a:lnTo>
                      <a:lnTo>
                        <a:pt x="1651452" y="676155"/>
                      </a:lnTo>
                      <a:lnTo>
                        <a:pt x="1644858" y="682421"/>
                      </a:lnTo>
                      <a:lnTo>
                        <a:pt x="1641907" y="684364"/>
                      </a:lnTo>
                      <a:lnTo>
                        <a:pt x="1640560" y="684558"/>
                      </a:lnTo>
                      <a:lnTo>
                        <a:pt x="1641082" y="685080"/>
                      </a:lnTo>
                      <a:lnTo>
                        <a:pt x="1642515" y="686950"/>
                      </a:lnTo>
                      <a:lnTo>
                        <a:pt x="1643656" y="689257"/>
                      </a:lnTo>
                      <a:lnTo>
                        <a:pt x="1644882" y="693920"/>
                      </a:lnTo>
                      <a:lnTo>
                        <a:pt x="1638009" y="696531"/>
                      </a:lnTo>
                      <a:lnTo>
                        <a:pt x="1637524" y="700150"/>
                      </a:lnTo>
                      <a:lnTo>
                        <a:pt x="1632557" y="703598"/>
                      </a:lnTo>
                      <a:lnTo>
                        <a:pt x="1625187" y="700696"/>
                      </a:lnTo>
                      <a:lnTo>
                        <a:pt x="1624664" y="700720"/>
                      </a:lnTo>
                      <a:lnTo>
                        <a:pt x="1624312" y="701413"/>
                      </a:lnTo>
                      <a:lnTo>
                        <a:pt x="1624434" y="702408"/>
                      </a:lnTo>
                      <a:lnTo>
                        <a:pt x="1625405" y="705238"/>
                      </a:lnTo>
                      <a:lnTo>
                        <a:pt x="1625600" y="708225"/>
                      </a:lnTo>
                      <a:lnTo>
                        <a:pt x="1625624" y="709415"/>
                      </a:lnTo>
                      <a:lnTo>
                        <a:pt x="1624822" y="710313"/>
                      </a:lnTo>
                      <a:lnTo>
                        <a:pt x="1623280" y="712827"/>
                      </a:lnTo>
                      <a:lnTo>
                        <a:pt x="1622989" y="713738"/>
                      </a:lnTo>
                      <a:lnTo>
                        <a:pt x="1622709" y="716968"/>
                      </a:lnTo>
                      <a:lnTo>
                        <a:pt x="1622819" y="720125"/>
                      </a:lnTo>
                      <a:lnTo>
                        <a:pt x="1620232" y="723221"/>
                      </a:lnTo>
                      <a:lnTo>
                        <a:pt x="1615314" y="723938"/>
                      </a:lnTo>
                      <a:lnTo>
                        <a:pt x="1612922" y="723962"/>
                      </a:lnTo>
                      <a:lnTo>
                        <a:pt x="1610494" y="723610"/>
                      </a:lnTo>
                      <a:lnTo>
                        <a:pt x="1608053" y="722711"/>
                      </a:lnTo>
                      <a:lnTo>
                        <a:pt x="1605734" y="720999"/>
                      </a:lnTo>
                      <a:lnTo>
                        <a:pt x="1604969" y="721145"/>
                      </a:lnTo>
                      <a:lnTo>
                        <a:pt x="1600876" y="722893"/>
                      </a:lnTo>
                      <a:lnTo>
                        <a:pt x="1595825" y="725674"/>
                      </a:lnTo>
                      <a:lnTo>
                        <a:pt x="1591636" y="726658"/>
                      </a:lnTo>
                      <a:lnTo>
                        <a:pt x="1587641" y="726828"/>
                      </a:lnTo>
                      <a:lnTo>
                        <a:pt x="1586220" y="727131"/>
                      </a:lnTo>
                      <a:lnTo>
                        <a:pt x="1585552" y="728236"/>
                      </a:lnTo>
                      <a:lnTo>
                        <a:pt x="1585370" y="730689"/>
                      </a:lnTo>
                      <a:lnTo>
                        <a:pt x="1584046" y="733409"/>
                      </a:lnTo>
                      <a:lnTo>
                        <a:pt x="1583670" y="734077"/>
                      </a:lnTo>
                      <a:lnTo>
                        <a:pt x="1581023" y="735753"/>
                      </a:lnTo>
                      <a:lnTo>
                        <a:pt x="1573858" y="737987"/>
                      </a:lnTo>
                      <a:lnTo>
                        <a:pt x="1575789" y="742929"/>
                      </a:lnTo>
                      <a:lnTo>
                        <a:pt x="1569790" y="747653"/>
                      </a:lnTo>
                      <a:lnTo>
                        <a:pt x="1562043" y="750324"/>
                      </a:lnTo>
                      <a:lnTo>
                        <a:pt x="1557672" y="752364"/>
                      </a:lnTo>
                      <a:lnTo>
                        <a:pt x="1554915" y="755934"/>
                      </a:lnTo>
                      <a:lnTo>
                        <a:pt x="1551795" y="758739"/>
                      </a:lnTo>
                      <a:lnTo>
                        <a:pt x="1548200" y="759723"/>
                      </a:lnTo>
                      <a:lnTo>
                        <a:pt x="1544266" y="760221"/>
                      </a:lnTo>
                      <a:lnTo>
                        <a:pt x="1538134" y="762030"/>
                      </a:lnTo>
                      <a:lnTo>
                        <a:pt x="1534989" y="762528"/>
                      </a:lnTo>
                      <a:lnTo>
                        <a:pt x="1533058" y="763414"/>
                      </a:lnTo>
                      <a:lnTo>
                        <a:pt x="1524060" y="770190"/>
                      </a:lnTo>
                      <a:lnTo>
                        <a:pt x="1516362" y="774659"/>
                      </a:lnTo>
                      <a:lnTo>
                        <a:pt x="1514710" y="776249"/>
                      </a:lnTo>
                      <a:lnTo>
                        <a:pt x="1510278" y="778059"/>
                      </a:lnTo>
                      <a:lnTo>
                        <a:pt x="1501984" y="776942"/>
                      </a:lnTo>
                      <a:lnTo>
                        <a:pt x="1500892" y="777257"/>
                      </a:lnTo>
                      <a:lnTo>
                        <a:pt x="1500187" y="778205"/>
                      </a:lnTo>
                      <a:lnTo>
                        <a:pt x="1500297" y="779880"/>
                      </a:lnTo>
                      <a:lnTo>
                        <a:pt x="1499993" y="784397"/>
                      </a:lnTo>
                      <a:lnTo>
                        <a:pt x="1493484" y="788234"/>
                      </a:lnTo>
                      <a:lnTo>
                        <a:pt x="1492003" y="786632"/>
                      </a:lnTo>
                      <a:lnTo>
                        <a:pt x="1491711" y="786790"/>
                      </a:lnTo>
                      <a:lnTo>
                        <a:pt x="1488032" y="787518"/>
                      </a:lnTo>
                      <a:lnTo>
                        <a:pt x="1481706" y="787409"/>
                      </a:lnTo>
                      <a:lnTo>
                        <a:pt x="1480042" y="788052"/>
                      </a:lnTo>
                      <a:lnTo>
                        <a:pt x="1478694" y="789364"/>
                      </a:lnTo>
                      <a:lnTo>
                        <a:pt x="1475780" y="793019"/>
                      </a:lnTo>
                      <a:lnTo>
                        <a:pt x="1474238" y="796905"/>
                      </a:lnTo>
                      <a:lnTo>
                        <a:pt x="1472671" y="799200"/>
                      </a:lnTo>
                      <a:lnTo>
                        <a:pt x="1470898" y="800839"/>
                      </a:lnTo>
                      <a:lnTo>
                        <a:pt x="1467923" y="802988"/>
                      </a:lnTo>
                      <a:lnTo>
                        <a:pt x="1465920" y="804773"/>
                      </a:lnTo>
                      <a:lnTo>
                        <a:pt x="1460796" y="807602"/>
                      </a:lnTo>
                      <a:lnTo>
                        <a:pt x="1457068" y="811877"/>
                      </a:lnTo>
                      <a:lnTo>
                        <a:pt x="1450693" y="812970"/>
                      </a:lnTo>
                      <a:lnTo>
                        <a:pt x="1444536" y="812545"/>
                      </a:lnTo>
                      <a:lnTo>
                        <a:pt x="1440675" y="812860"/>
                      </a:lnTo>
                      <a:lnTo>
                        <a:pt x="1437408" y="815131"/>
                      </a:lnTo>
                      <a:lnTo>
                        <a:pt x="1437238" y="815580"/>
                      </a:lnTo>
                      <a:lnTo>
                        <a:pt x="1437007" y="818143"/>
                      </a:lnTo>
                      <a:lnTo>
                        <a:pt x="1435393" y="821470"/>
                      </a:lnTo>
                      <a:lnTo>
                        <a:pt x="1432818" y="823340"/>
                      </a:lnTo>
                      <a:lnTo>
                        <a:pt x="1430851" y="823619"/>
                      </a:lnTo>
                      <a:lnTo>
                        <a:pt x="1427269" y="823133"/>
                      </a:lnTo>
                      <a:lnTo>
                        <a:pt x="1425970" y="823607"/>
                      </a:lnTo>
                      <a:lnTo>
                        <a:pt x="1421015" y="825963"/>
                      </a:lnTo>
                      <a:lnTo>
                        <a:pt x="1420396" y="826400"/>
                      </a:lnTo>
                      <a:lnTo>
                        <a:pt x="1419449" y="827893"/>
                      </a:lnTo>
                      <a:lnTo>
                        <a:pt x="1418781" y="829666"/>
                      </a:lnTo>
                      <a:lnTo>
                        <a:pt x="1416607" y="832969"/>
                      </a:lnTo>
                      <a:lnTo>
                        <a:pt x="1411325" y="834572"/>
                      </a:lnTo>
                      <a:lnTo>
                        <a:pt x="1410475" y="835422"/>
                      </a:lnTo>
                      <a:lnTo>
                        <a:pt x="1408217" y="837960"/>
                      </a:lnTo>
                      <a:lnTo>
                        <a:pt x="1405922" y="839393"/>
                      </a:lnTo>
                      <a:lnTo>
                        <a:pt x="1400457" y="840644"/>
                      </a:lnTo>
                      <a:lnTo>
                        <a:pt x="1399413" y="841639"/>
                      </a:lnTo>
                      <a:lnTo>
                        <a:pt x="1399316" y="842356"/>
                      </a:lnTo>
                      <a:lnTo>
                        <a:pt x="1399037" y="843618"/>
                      </a:lnTo>
                      <a:lnTo>
                        <a:pt x="1397846" y="846181"/>
                      </a:lnTo>
                      <a:lnTo>
                        <a:pt x="1394507" y="849471"/>
                      </a:lnTo>
                      <a:lnTo>
                        <a:pt x="1383834" y="856016"/>
                      </a:lnTo>
                      <a:lnTo>
                        <a:pt x="1382996" y="857486"/>
                      </a:lnTo>
                      <a:lnTo>
                        <a:pt x="1383093" y="858652"/>
                      </a:lnTo>
                      <a:lnTo>
                        <a:pt x="1383117" y="860570"/>
                      </a:lnTo>
                      <a:lnTo>
                        <a:pt x="1382437" y="863533"/>
                      </a:lnTo>
                      <a:lnTo>
                        <a:pt x="1379972" y="867127"/>
                      </a:lnTo>
                      <a:lnTo>
                        <a:pt x="1377835" y="868281"/>
                      </a:lnTo>
                      <a:lnTo>
                        <a:pt x="1375661" y="868997"/>
                      </a:lnTo>
                      <a:lnTo>
                        <a:pt x="1374398" y="869617"/>
                      </a:lnTo>
                      <a:lnTo>
                        <a:pt x="1373123" y="870831"/>
                      </a:lnTo>
                      <a:lnTo>
                        <a:pt x="1369796" y="874959"/>
                      </a:lnTo>
                      <a:lnTo>
                        <a:pt x="1365862" y="877461"/>
                      </a:lnTo>
                      <a:lnTo>
                        <a:pt x="1362899" y="877509"/>
                      </a:lnTo>
                      <a:lnTo>
                        <a:pt x="1359997" y="876902"/>
                      </a:lnTo>
                      <a:lnTo>
                        <a:pt x="1350756" y="876186"/>
                      </a:lnTo>
                      <a:lnTo>
                        <a:pt x="1350404" y="876660"/>
                      </a:lnTo>
                      <a:lnTo>
                        <a:pt x="1349141" y="880193"/>
                      </a:lnTo>
                      <a:lnTo>
                        <a:pt x="1346919" y="883241"/>
                      </a:lnTo>
                      <a:lnTo>
                        <a:pt x="1344235" y="884261"/>
                      </a:lnTo>
                      <a:lnTo>
                        <a:pt x="1340617" y="884552"/>
                      </a:lnTo>
                      <a:lnTo>
                        <a:pt x="1339500" y="885220"/>
                      </a:lnTo>
                      <a:lnTo>
                        <a:pt x="1335468" y="889252"/>
                      </a:lnTo>
                      <a:lnTo>
                        <a:pt x="1334339" y="889968"/>
                      </a:lnTo>
                      <a:lnTo>
                        <a:pt x="1333149" y="890466"/>
                      </a:lnTo>
                      <a:lnTo>
                        <a:pt x="1329421" y="896841"/>
                      </a:lnTo>
                      <a:lnTo>
                        <a:pt x="1328656" y="898978"/>
                      </a:lnTo>
                      <a:lnTo>
                        <a:pt x="1328595" y="900945"/>
                      </a:lnTo>
                      <a:lnTo>
                        <a:pt x="1328729" y="906215"/>
                      </a:lnTo>
                      <a:lnTo>
                        <a:pt x="1327636" y="909858"/>
                      </a:lnTo>
                      <a:lnTo>
                        <a:pt x="1327296" y="910817"/>
                      </a:lnTo>
                      <a:lnTo>
                        <a:pt x="1325183" y="912214"/>
                      </a:lnTo>
                      <a:lnTo>
                        <a:pt x="1321601" y="913100"/>
                      </a:lnTo>
                      <a:lnTo>
                        <a:pt x="1321467" y="913708"/>
                      </a:lnTo>
                      <a:lnTo>
                        <a:pt x="1321892" y="915189"/>
                      </a:lnTo>
                      <a:lnTo>
                        <a:pt x="1322803" y="916695"/>
                      </a:lnTo>
                      <a:lnTo>
                        <a:pt x="1323835" y="919378"/>
                      </a:lnTo>
                      <a:lnTo>
                        <a:pt x="1329421" y="947186"/>
                      </a:lnTo>
                      <a:lnTo>
                        <a:pt x="1333052" y="958005"/>
                      </a:lnTo>
                      <a:lnTo>
                        <a:pt x="1334230" y="962996"/>
                      </a:lnTo>
                      <a:lnTo>
                        <a:pt x="1334910" y="964720"/>
                      </a:lnTo>
                      <a:lnTo>
                        <a:pt x="1335723" y="965230"/>
                      </a:lnTo>
                      <a:lnTo>
                        <a:pt x="1336585" y="965558"/>
                      </a:lnTo>
                      <a:lnTo>
                        <a:pt x="1337411" y="965534"/>
                      </a:lnTo>
                      <a:lnTo>
                        <a:pt x="1340192" y="966092"/>
                      </a:lnTo>
                      <a:lnTo>
                        <a:pt x="1343276" y="967719"/>
                      </a:lnTo>
                      <a:lnTo>
                        <a:pt x="1345207" y="969419"/>
                      </a:lnTo>
                      <a:lnTo>
                        <a:pt x="1350101" y="977810"/>
                      </a:lnTo>
                      <a:lnTo>
                        <a:pt x="1351133" y="978721"/>
                      </a:lnTo>
                      <a:lnTo>
                        <a:pt x="1352505" y="979340"/>
                      </a:lnTo>
                      <a:lnTo>
                        <a:pt x="1356658" y="979292"/>
                      </a:lnTo>
                      <a:lnTo>
                        <a:pt x="1359147" y="979583"/>
                      </a:lnTo>
                      <a:lnTo>
                        <a:pt x="1361976" y="980409"/>
                      </a:lnTo>
                      <a:lnTo>
                        <a:pt x="1364368" y="981465"/>
                      </a:lnTo>
                      <a:lnTo>
                        <a:pt x="1372881" y="987707"/>
                      </a:lnTo>
                      <a:lnTo>
                        <a:pt x="1373876" y="988326"/>
                      </a:lnTo>
                      <a:lnTo>
                        <a:pt x="1374641" y="988508"/>
                      </a:lnTo>
                      <a:lnTo>
                        <a:pt x="1379863" y="986432"/>
                      </a:lnTo>
                      <a:lnTo>
                        <a:pt x="1381490" y="985994"/>
                      </a:lnTo>
                      <a:lnTo>
                        <a:pt x="1383870" y="985873"/>
                      </a:lnTo>
                      <a:lnTo>
                        <a:pt x="1392249" y="987245"/>
                      </a:lnTo>
                      <a:lnTo>
                        <a:pt x="1394702" y="988253"/>
                      </a:lnTo>
                      <a:lnTo>
                        <a:pt x="1401526" y="993317"/>
                      </a:lnTo>
                      <a:lnTo>
                        <a:pt x="1405399" y="991058"/>
                      </a:lnTo>
                      <a:lnTo>
                        <a:pt x="1416547" y="991264"/>
                      </a:lnTo>
                      <a:lnTo>
                        <a:pt x="1420651" y="989419"/>
                      </a:lnTo>
                      <a:lnTo>
                        <a:pt x="1425411" y="986480"/>
                      </a:lnTo>
                      <a:lnTo>
                        <a:pt x="1430074" y="984416"/>
                      </a:lnTo>
                      <a:lnTo>
                        <a:pt x="1433717" y="983760"/>
                      </a:lnTo>
                      <a:lnTo>
                        <a:pt x="1436716" y="983979"/>
                      </a:lnTo>
                      <a:lnTo>
                        <a:pt x="1441197" y="985897"/>
                      </a:lnTo>
                      <a:lnTo>
                        <a:pt x="1443540" y="986492"/>
                      </a:lnTo>
                      <a:lnTo>
                        <a:pt x="1447450" y="986869"/>
                      </a:lnTo>
                      <a:lnTo>
                        <a:pt x="1449636" y="986334"/>
                      </a:lnTo>
                      <a:lnTo>
                        <a:pt x="1451093" y="985436"/>
                      </a:lnTo>
                      <a:lnTo>
                        <a:pt x="1451980" y="984464"/>
                      </a:lnTo>
                      <a:lnTo>
                        <a:pt x="1452684" y="983214"/>
                      </a:lnTo>
                      <a:lnTo>
                        <a:pt x="1453364" y="981769"/>
                      </a:lnTo>
                      <a:lnTo>
                        <a:pt x="1455052" y="976353"/>
                      </a:lnTo>
                      <a:lnTo>
                        <a:pt x="1456339" y="973779"/>
                      </a:lnTo>
                      <a:lnTo>
                        <a:pt x="1458452" y="971326"/>
                      </a:lnTo>
                      <a:lnTo>
                        <a:pt x="1462496" y="968594"/>
                      </a:lnTo>
                      <a:lnTo>
                        <a:pt x="1467887" y="966456"/>
                      </a:lnTo>
                      <a:lnTo>
                        <a:pt x="1472404" y="965704"/>
                      </a:lnTo>
                      <a:lnTo>
                        <a:pt x="1474711" y="965667"/>
                      </a:lnTo>
                      <a:lnTo>
                        <a:pt x="1478184" y="966201"/>
                      </a:lnTo>
                      <a:lnTo>
                        <a:pt x="1480224" y="967003"/>
                      </a:lnTo>
                      <a:lnTo>
                        <a:pt x="1481888" y="968059"/>
                      </a:lnTo>
                      <a:lnTo>
                        <a:pt x="1483345" y="969432"/>
                      </a:lnTo>
                      <a:lnTo>
                        <a:pt x="1484511" y="970876"/>
                      </a:lnTo>
                      <a:lnTo>
                        <a:pt x="1485494" y="972516"/>
                      </a:lnTo>
                      <a:lnTo>
                        <a:pt x="1486466" y="974859"/>
                      </a:lnTo>
                      <a:lnTo>
                        <a:pt x="1486466" y="977264"/>
                      </a:lnTo>
                      <a:lnTo>
                        <a:pt x="1485361" y="979109"/>
                      </a:lnTo>
                      <a:lnTo>
                        <a:pt x="1484474" y="980384"/>
                      </a:lnTo>
                      <a:lnTo>
                        <a:pt x="1483806" y="981647"/>
                      </a:lnTo>
                      <a:lnTo>
                        <a:pt x="1483539" y="982837"/>
                      </a:lnTo>
                      <a:lnTo>
                        <a:pt x="1483539" y="984440"/>
                      </a:lnTo>
                      <a:lnTo>
                        <a:pt x="1483843" y="985703"/>
                      </a:lnTo>
                      <a:lnTo>
                        <a:pt x="1484474" y="986820"/>
                      </a:lnTo>
                      <a:lnTo>
                        <a:pt x="1486490" y="989637"/>
                      </a:lnTo>
                      <a:lnTo>
                        <a:pt x="1487461" y="991702"/>
                      </a:lnTo>
                      <a:lnTo>
                        <a:pt x="1487874" y="994677"/>
                      </a:lnTo>
                      <a:lnTo>
                        <a:pt x="1487546" y="996182"/>
                      </a:lnTo>
                      <a:lnTo>
                        <a:pt x="1486296" y="999534"/>
                      </a:lnTo>
                      <a:lnTo>
                        <a:pt x="1486271" y="1000275"/>
                      </a:lnTo>
                      <a:lnTo>
                        <a:pt x="1486356" y="1001732"/>
                      </a:lnTo>
                      <a:lnTo>
                        <a:pt x="1486696" y="1003286"/>
                      </a:lnTo>
                      <a:lnTo>
                        <a:pt x="1487134" y="1004306"/>
                      </a:lnTo>
                      <a:lnTo>
                        <a:pt x="1488202" y="1005921"/>
                      </a:lnTo>
                      <a:lnTo>
                        <a:pt x="1491869" y="1010062"/>
                      </a:lnTo>
                      <a:lnTo>
                        <a:pt x="1493169" y="1012053"/>
                      </a:lnTo>
                      <a:lnTo>
                        <a:pt x="1494104" y="1015295"/>
                      </a:lnTo>
                      <a:lnTo>
                        <a:pt x="1493569" y="1018088"/>
                      </a:lnTo>
                      <a:lnTo>
                        <a:pt x="1492112" y="1020019"/>
                      </a:lnTo>
                      <a:lnTo>
                        <a:pt x="1491651" y="1021015"/>
                      </a:lnTo>
                      <a:lnTo>
                        <a:pt x="1492185" y="1025083"/>
                      </a:lnTo>
                      <a:lnTo>
                        <a:pt x="1491894" y="1028446"/>
                      </a:lnTo>
                      <a:lnTo>
                        <a:pt x="1490133" y="1031445"/>
                      </a:lnTo>
                      <a:lnTo>
                        <a:pt x="1487971" y="1032733"/>
                      </a:lnTo>
                      <a:lnTo>
                        <a:pt x="1485616" y="1033413"/>
                      </a:lnTo>
                      <a:lnTo>
                        <a:pt x="1484996" y="1034008"/>
                      </a:lnTo>
                      <a:lnTo>
                        <a:pt x="1484535" y="1034833"/>
                      </a:lnTo>
                      <a:lnTo>
                        <a:pt x="1482410" y="1037104"/>
                      </a:lnTo>
                      <a:lnTo>
                        <a:pt x="1478391" y="1039132"/>
                      </a:lnTo>
                      <a:lnTo>
                        <a:pt x="1473449" y="1038780"/>
                      </a:lnTo>
                      <a:lnTo>
                        <a:pt x="1470133" y="1037019"/>
                      </a:lnTo>
                      <a:lnTo>
                        <a:pt x="1466988" y="1034931"/>
                      </a:lnTo>
                      <a:lnTo>
                        <a:pt x="1465301" y="1034615"/>
                      </a:lnTo>
                      <a:lnTo>
                        <a:pt x="1464026" y="1034809"/>
                      </a:lnTo>
                      <a:lnTo>
                        <a:pt x="1460698" y="1036363"/>
                      </a:lnTo>
                      <a:lnTo>
                        <a:pt x="1456752" y="1036011"/>
                      </a:lnTo>
                      <a:lnTo>
                        <a:pt x="1453570" y="1035028"/>
                      </a:lnTo>
                      <a:lnTo>
                        <a:pt x="1451798" y="1035295"/>
                      </a:lnTo>
                      <a:lnTo>
                        <a:pt x="1433765" y="1041888"/>
                      </a:lnTo>
                      <a:lnTo>
                        <a:pt x="1423772" y="1043285"/>
                      </a:lnTo>
                      <a:lnTo>
                        <a:pt x="1419218" y="1042981"/>
                      </a:lnTo>
                      <a:lnTo>
                        <a:pt x="1417554" y="1043018"/>
                      </a:lnTo>
                      <a:lnTo>
                        <a:pt x="1416619" y="1043224"/>
                      </a:lnTo>
                      <a:lnTo>
                        <a:pt x="1401526" y="1050000"/>
                      </a:lnTo>
                      <a:lnTo>
                        <a:pt x="1394981" y="1051408"/>
                      </a:lnTo>
                      <a:lnTo>
                        <a:pt x="1392941" y="1052477"/>
                      </a:lnTo>
                      <a:lnTo>
                        <a:pt x="1392091" y="1053327"/>
                      </a:lnTo>
                      <a:lnTo>
                        <a:pt x="1390197" y="1056751"/>
                      </a:lnTo>
                      <a:lnTo>
                        <a:pt x="1390585" y="1057735"/>
                      </a:lnTo>
                      <a:lnTo>
                        <a:pt x="1393329" y="1062884"/>
                      </a:lnTo>
                      <a:lnTo>
                        <a:pt x="1396134" y="1069477"/>
                      </a:lnTo>
                      <a:lnTo>
                        <a:pt x="1397082" y="1073059"/>
                      </a:lnTo>
                      <a:lnTo>
                        <a:pt x="1397361" y="1078208"/>
                      </a:lnTo>
                      <a:lnTo>
                        <a:pt x="1396972" y="1080296"/>
                      </a:lnTo>
                      <a:lnTo>
                        <a:pt x="1395940" y="1082543"/>
                      </a:lnTo>
                      <a:lnTo>
                        <a:pt x="1393864" y="1085093"/>
                      </a:lnTo>
                      <a:lnTo>
                        <a:pt x="1391095" y="1086975"/>
                      </a:lnTo>
                      <a:lnTo>
                        <a:pt x="1388679" y="1088019"/>
                      </a:lnTo>
                      <a:lnTo>
                        <a:pt x="1384404" y="1089088"/>
                      </a:lnTo>
                      <a:lnTo>
                        <a:pt x="1379511" y="1089513"/>
                      </a:lnTo>
                      <a:lnTo>
                        <a:pt x="1378479" y="1090436"/>
                      </a:lnTo>
                      <a:lnTo>
                        <a:pt x="1378309" y="1090727"/>
                      </a:lnTo>
                      <a:lnTo>
                        <a:pt x="1379790" y="1092039"/>
                      </a:lnTo>
                      <a:lnTo>
                        <a:pt x="1390002" y="1103684"/>
                      </a:lnTo>
                      <a:lnTo>
                        <a:pt x="1394167" y="1105870"/>
                      </a:lnTo>
                      <a:lnTo>
                        <a:pt x="1401805" y="1106659"/>
                      </a:lnTo>
                      <a:lnTo>
                        <a:pt x="1403687" y="1106088"/>
                      </a:lnTo>
                      <a:lnTo>
                        <a:pt x="1405582" y="1105772"/>
                      </a:lnTo>
                      <a:lnTo>
                        <a:pt x="1408496" y="1106088"/>
                      </a:lnTo>
                      <a:lnTo>
                        <a:pt x="1411386" y="1107387"/>
                      </a:lnTo>
                      <a:lnTo>
                        <a:pt x="1420918" y="1115438"/>
                      </a:lnTo>
                      <a:lnTo>
                        <a:pt x="1423602" y="1118340"/>
                      </a:lnTo>
                      <a:lnTo>
                        <a:pt x="1425812" y="1121971"/>
                      </a:lnTo>
                      <a:lnTo>
                        <a:pt x="1427682" y="1126512"/>
                      </a:lnTo>
                      <a:lnTo>
                        <a:pt x="1430207" y="1136275"/>
                      </a:lnTo>
                      <a:lnTo>
                        <a:pt x="1430657" y="1141691"/>
                      </a:lnTo>
                      <a:lnTo>
                        <a:pt x="1430195" y="1146293"/>
                      </a:lnTo>
                      <a:lnTo>
                        <a:pt x="1428398" y="1148734"/>
                      </a:lnTo>
                      <a:lnTo>
                        <a:pt x="1427585" y="1150106"/>
                      </a:lnTo>
                      <a:lnTo>
                        <a:pt x="1424561" y="1152256"/>
                      </a:lnTo>
                      <a:lnTo>
                        <a:pt x="1406541" y="1160234"/>
                      </a:lnTo>
                      <a:lnTo>
                        <a:pt x="1405545" y="1160525"/>
                      </a:lnTo>
                      <a:lnTo>
                        <a:pt x="1402169" y="1161168"/>
                      </a:lnTo>
                      <a:lnTo>
                        <a:pt x="1399668" y="1161193"/>
                      </a:lnTo>
                      <a:lnTo>
                        <a:pt x="1397324" y="1160828"/>
                      </a:lnTo>
                      <a:lnTo>
                        <a:pt x="1396280" y="1160355"/>
                      </a:lnTo>
                      <a:lnTo>
                        <a:pt x="1395272" y="1159699"/>
                      </a:lnTo>
                      <a:lnTo>
                        <a:pt x="1394301" y="1158121"/>
                      </a:lnTo>
                      <a:lnTo>
                        <a:pt x="1394034" y="1156469"/>
                      </a:lnTo>
                      <a:lnTo>
                        <a:pt x="1394228" y="1153166"/>
                      </a:lnTo>
                      <a:lnTo>
                        <a:pt x="1393766" y="1151345"/>
                      </a:lnTo>
                      <a:lnTo>
                        <a:pt x="1392589" y="1148613"/>
                      </a:lnTo>
                      <a:lnTo>
                        <a:pt x="1392042" y="1147738"/>
                      </a:lnTo>
                      <a:lnTo>
                        <a:pt x="1391411" y="1146986"/>
                      </a:lnTo>
                      <a:lnTo>
                        <a:pt x="1389043" y="1147034"/>
                      </a:lnTo>
                      <a:lnTo>
                        <a:pt x="1387258" y="1146718"/>
                      </a:lnTo>
                      <a:lnTo>
                        <a:pt x="1385449" y="1146051"/>
                      </a:lnTo>
                      <a:lnTo>
                        <a:pt x="1383761" y="1145128"/>
                      </a:lnTo>
                      <a:lnTo>
                        <a:pt x="1383275" y="1145103"/>
                      </a:lnTo>
                      <a:lnTo>
                        <a:pt x="1383044" y="1145200"/>
                      </a:lnTo>
                      <a:lnTo>
                        <a:pt x="1382935" y="1145358"/>
                      </a:lnTo>
                      <a:lnTo>
                        <a:pt x="1382862" y="1146500"/>
                      </a:lnTo>
                      <a:lnTo>
                        <a:pt x="1384186" y="1152608"/>
                      </a:lnTo>
                      <a:lnTo>
                        <a:pt x="1384404" y="1154490"/>
                      </a:lnTo>
                      <a:lnTo>
                        <a:pt x="1384429" y="1156688"/>
                      </a:lnTo>
                      <a:lnTo>
                        <a:pt x="1384259" y="1157854"/>
                      </a:lnTo>
                      <a:lnTo>
                        <a:pt x="1382826" y="1163014"/>
                      </a:lnTo>
                      <a:lnTo>
                        <a:pt x="1382741" y="1163949"/>
                      </a:lnTo>
                      <a:lnTo>
                        <a:pt x="1382814" y="1164848"/>
                      </a:lnTo>
                      <a:lnTo>
                        <a:pt x="1384708" y="1171296"/>
                      </a:lnTo>
                      <a:lnTo>
                        <a:pt x="1384489" y="1185345"/>
                      </a:lnTo>
                      <a:lnTo>
                        <a:pt x="1385497" y="1189073"/>
                      </a:lnTo>
                      <a:lnTo>
                        <a:pt x="1387343" y="1192643"/>
                      </a:lnTo>
                      <a:lnTo>
                        <a:pt x="1395722" y="1203062"/>
                      </a:lnTo>
                      <a:lnTo>
                        <a:pt x="1398442" y="1207360"/>
                      </a:lnTo>
                      <a:lnTo>
                        <a:pt x="1399425" y="1211246"/>
                      </a:lnTo>
                      <a:lnTo>
                        <a:pt x="1398721" y="1214415"/>
                      </a:lnTo>
                      <a:lnTo>
                        <a:pt x="1397094" y="1216479"/>
                      </a:lnTo>
                      <a:lnTo>
                        <a:pt x="1395989" y="1218180"/>
                      </a:lnTo>
                      <a:lnTo>
                        <a:pt x="1395539" y="1219952"/>
                      </a:lnTo>
                      <a:lnTo>
                        <a:pt x="1394580" y="1222053"/>
                      </a:lnTo>
                      <a:lnTo>
                        <a:pt x="1392589" y="1224251"/>
                      </a:lnTo>
                      <a:lnTo>
                        <a:pt x="1391969" y="1224846"/>
                      </a:lnTo>
                      <a:lnTo>
                        <a:pt x="1389104" y="1225478"/>
                      </a:lnTo>
                      <a:lnTo>
                        <a:pt x="1386117" y="1225502"/>
                      </a:lnTo>
                      <a:lnTo>
                        <a:pt x="1383712" y="1225150"/>
                      </a:lnTo>
                      <a:lnTo>
                        <a:pt x="1382899" y="1225222"/>
                      </a:lnTo>
                      <a:lnTo>
                        <a:pt x="1378576" y="1227772"/>
                      </a:lnTo>
                      <a:lnTo>
                        <a:pt x="1371606" y="1228088"/>
                      </a:lnTo>
                      <a:lnTo>
                        <a:pt x="1366372" y="1224676"/>
                      </a:lnTo>
                      <a:lnTo>
                        <a:pt x="1362681" y="1221652"/>
                      </a:lnTo>
                      <a:lnTo>
                        <a:pt x="1352456" y="1214962"/>
                      </a:lnTo>
                      <a:lnTo>
                        <a:pt x="1348983" y="1211865"/>
                      </a:lnTo>
                      <a:lnTo>
                        <a:pt x="1348558" y="1210420"/>
                      </a:lnTo>
                      <a:lnTo>
                        <a:pt x="1348303" y="1208599"/>
                      </a:lnTo>
                      <a:lnTo>
                        <a:pt x="1348522" y="1207069"/>
                      </a:lnTo>
                      <a:lnTo>
                        <a:pt x="1349421" y="1204664"/>
                      </a:lnTo>
                      <a:lnTo>
                        <a:pt x="1351388" y="1200985"/>
                      </a:lnTo>
                      <a:lnTo>
                        <a:pt x="1352055" y="1199285"/>
                      </a:lnTo>
                      <a:lnTo>
                        <a:pt x="1352055" y="1198860"/>
                      </a:lnTo>
                      <a:lnTo>
                        <a:pt x="1351873" y="1198362"/>
                      </a:lnTo>
                      <a:lnTo>
                        <a:pt x="1350416" y="1198374"/>
                      </a:lnTo>
                      <a:lnTo>
                        <a:pt x="1346154" y="1199892"/>
                      </a:lnTo>
                      <a:lnTo>
                        <a:pt x="1341090" y="1202114"/>
                      </a:lnTo>
                      <a:lnTo>
                        <a:pt x="1339415" y="1203256"/>
                      </a:lnTo>
                      <a:lnTo>
                        <a:pt x="1338261" y="1204628"/>
                      </a:lnTo>
                      <a:lnTo>
                        <a:pt x="1337484" y="1206231"/>
                      </a:lnTo>
                      <a:lnTo>
                        <a:pt x="1335796" y="1212399"/>
                      </a:lnTo>
                      <a:lnTo>
                        <a:pt x="1334545" y="1214913"/>
                      </a:lnTo>
                      <a:lnTo>
                        <a:pt x="1332238" y="1216565"/>
                      </a:lnTo>
                      <a:lnTo>
                        <a:pt x="1329069" y="1217767"/>
                      </a:lnTo>
                      <a:lnTo>
                        <a:pt x="1324940" y="1218313"/>
                      </a:lnTo>
                      <a:lnTo>
                        <a:pt x="1322342" y="1217997"/>
                      </a:lnTo>
                      <a:lnTo>
                        <a:pt x="1319974" y="1216892"/>
                      </a:lnTo>
                      <a:lnTo>
                        <a:pt x="1319221" y="1216467"/>
                      </a:lnTo>
                      <a:lnTo>
                        <a:pt x="1318055" y="1214379"/>
                      </a:lnTo>
                      <a:lnTo>
                        <a:pt x="1316489" y="1209570"/>
                      </a:lnTo>
                      <a:lnTo>
                        <a:pt x="1315542" y="1207907"/>
                      </a:lnTo>
                      <a:lnTo>
                        <a:pt x="1315032" y="1207567"/>
                      </a:lnTo>
                      <a:lnTo>
                        <a:pt x="1313380" y="1207093"/>
                      </a:lnTo>
                      <a:lnTo>
                        <a:pt x="1305572" y="1208295"/>
                      </a:lnTo>
                      <a:lnTo>
                        <a:pt x="1300132" y="1208198"/>
                      </a:lnTo>
                      <a:lnTo>
                        <a:pt x="1295202" y="1207117"/>
                      </a:lnTo>
                      <a:lnTo>
                        <a:pt x="1284771" y="1203426"/>
                      </a:lnTo>
                      <a:lnTo>
                        <a:pt x="1282161" y="1203244"/>
                      </a:lnTo>
                      <a:lnTo>
                        <a:pt x="1276842" y="1204410"/>
                      </a:lnTo>
                      <a:lnTo>
                        <a:pt x="1271329" y="1204701"/>
                      </a:lnTo>
                      <a:lnTo>
                        <a:pt x="1267747" y="1203280"/>
                      </a:lnTo>
                      <a:lnTo>
                        <a:pt x="1264736" y="1201107"/>
                      </a:lnTo>
                      <a:lnTo>
                        <a:pt x="1262793" y="1198666"/>
                      </a:lnTo>
                      <a:lnTo>
                        <a:pt x="1261627" y="1196517"/>
                      </a:lnTo>
                      <a:lnTo>
                        <a:pt x="1261093" y="1194343"/>
                      </a:lnTo>
                      <a:lnTo>
                        <a:pt x="1261117" y="1192400"/>
                      </a:lnTo>
                      <a:lnTo>
                        <a:pt x="1261591" y="1190056"/>
                      </a:lnTo>
                      <a:lnTo>
                        <a:pt x="1259004" y="1191368"/>
                      </a:lnTo>
                      <a:lnTo>
                        <a:pt x="1256563" y="1192825"/>
                      </a:lnTo>
                      <a:lnTo>
                        <a:pt x="1255410" y="1193772"/>
                      </a:lnTo>
                      <a:lnTo>
                        <a:pt x="1254973" y="1194622"/>
                      </a:lnTo>
                      <a:lnTo>
                        <a:pt x="1254827" y="1195679"/>
                      </a:lnTo>
                      <a:lnTo>
                        <a:pt x="1254718" y="1200827"/>
                      </a:lnTo>
                      <a:lnTo>
                        <a:pt x="1253649" y="1205551"/>
                      </a:lnTo>
                      <a:lnTo>
                        <a:pt x="1253564" y="1207105"/>
                      </a:lnTo>
                      <a:lnTo>
                        <a:pt x="1254062" y="1210396"/>
                      </a:lnTo>
                      <a:lnTo>
                        <a:pt x="1253443" y="1218155"/>
                      </a:lnTo>
                      <a:lnTo>
                        <a:pt x="1253455" y="1220402"/>
                      </a:lnTo>
                      <a:lnTo>
                        <a:pt x="1254001" y="1224688"/>
                      </a:lnTo>
                      <a:lnTo>
                        <a:pt x="1254026" y="1226971"/>
                      </a:lnTo>
                      <a:lnTo>
                        <a:pt x="1253418" y="1231537"/>
                      </a:lnTo>
                      <a:lnTo>
                        <a:pt x="1246546" y="1239345"/>
                      </a:lnTo>
                      <a:lnTo>
                        <a:pt x="1230031" y="1249314"/>
                      </a:lnTo>
                      <a:lnTo>
                        <a:pt x="1228307" y="1251245"/>
                      </a:lnTo>
                      <a:lnTo>
                        <a:pt x="1228501" y="1251512"/>
                      </a:lnTo>
                      <a:lnTo>
                        <a:pt x="1231403" y="1254438"/>
                      </a:lnTo>
                      <a:lnTo>
                        <a:pt x="1231950" y="1256357"/>
                      </a:lnTo>
                      <a:lnTo>
                        <a:pt x="1232010" y="1256867"/>
                      </a:lnTo>
                      <a:lnTo>
                        <a:pt x="1231974" y="1257887"/>
                      </a:lnTo>
                      <a:lnTo>
                        <a:pt x="1231173" y="1260862"/>
                      </a:lnTo>
                      <a:lnTo>
                        <a:pt x="1230323" y="1262805"/>
                      </a:lnTo>
                      <a:lnTo>
                        <a:pt x="1228695" y="1265440"/>
                      </a:lnTo>
                      <a:lnTo>
                        <a:pt x="1225514" y="1268123"/>
                      </a:lnTo>
                      <a:lnTo>
                        <a:pt x="1211173" y="1275749"/>
                      </a:lnTo>
                      <a:lnTo>
                        <a:pt x="1200876" y="1278676"/>
                      </a:lnTo>
                      <a:lnTo>
                        <a:pt x="1194889" y="1281954"/>
                      </a:lnTo>
                      <a:lnTo>
                        <a:pt x="1190530" y="1283217"/>
                      </a:lnTo>
                      <a:lnTo>
                        <a:pt x="1186487" y="1283059"/>
                      </a:lnTo>
                      <a:lnTo>
                        <a:pt x="1185369" y="1282962"/>
                      </a:lnTo>
                      <a:lnTo>
                        <a:pt x="1182686" y="1280254"/>
                      </a:lnTo>
                      <a:lnTo>
                        <a:pt x="1180755" y="1277886"/>
                      </a:lnTo>
                      <a:lnTo>
                        <a:pt x="1179298" y="1276417"/>
                      </a:lnTo>
                      <a:lnTo>
                        <a:pt x="1179322" y="1276672"/>
                      </a:lnTo>
                      <a:lnTo>
                        <a:pt x="1180354" y="1280315"/>
                      </a:lnTo>
                      <a:lnTo>
                        <a:pt x="1180731" y="1282731"/>
                      </a:lnTo>
                      <a:lnTo>
                        <a:pt x="1180342" y="1285512"/>
                      </a:lnTo>
                      <a:lnTo>
                        <a:pt x="1177270" y="1291766"/>
                      </a:lnTo>
                      <a:lnTo>
                        <a:pt x="1176869" y="1294413"/>
                      </a:lnTo>
                      <a:lnTo>
                        <a:pt x="1176299" y="1296635"/>
                      </a:lnTo>
                      <a:lnTo>
                        <a:pt x="1174659" y="1300023"/>
                      </a:lnTo>
                      <a:lnTo>
                        <a:pt x="1171818" y="1301820"/>
                      </a:lnTo>
                      <a:lnTo>
                        <a:pt x="1168309" y="1301492"/>
                      </a:lnTo>
                      <a:lnTo>
                        <a:pt x="1164034" y="1297983"/>
                      </a:lnTo>
                      <a:lnTo>
                        <a:pt x="1162261" y="1297194"/>
                      </a:lnTo>
                      <a:lnTo>
                        <a:pt x="1159991" y="1296757"/>
                      </a:lnTo>
                      <a:lnTo>
                        <a:pt x="1150883" y="1295797"/>
                      </a:lnTo>
                      <a:lnTo>
                        <a:pt x="1148916" y="1290454"/>
                      </a:lnTo>
                      <a:lnTo>
                        <a:pt x="1148503" y="1285731"/>
                      </a:lnTo>
                      <a:lnTo>
                        <a:pt x="1147398" y="1283812"/>
                      </a:lnTo>
                      <a:lnTo>
                        <a:pt x="1137903" y="1278336"/>
                      </a:lnTo>
                      <a:lnTo>
                        <a:pt x="1134478" y="1275859"/>
                      </a:lnTo>
                      <a:lnTo>
                        <a:pt x="1133082" y="1274620"/>
                      </a:lnTo>
                      <a:lnTo>
                        <a:pt x="1130070" y="1269702"/>
                      </a:lnTo>
                      <a:lnTo>
                        <a:pt x="1129439" y="1261117"/>
                      </a:lnTo>
                      <a:lnTo>
                        <a:pt x="1129111" y="1258348"/>
                      </a:lnTo>
                      <a:lnTo>
                        <a:pt x="1132888" y="1252374"/>
                      </a:lnTo>
                      <a:lnTo>
                        <a:pt x="1134940" y="1247505"/>
                      </a:lnTo>
                      <a:lnTo>
                        <a:pt x="1138218" y="1245793"/>
                      </a:lnTo>
                      <a:lnTo>
                        <a:pt x="1139627" y="1245428"/>
                      </a:lnTo>
                      <a:lnTo>
                        <a:pt x="1142626" y="1245635"/>
                      </a:lnTo>
                      <a:lnTo>
                        <a:pt x="1143270" y="1245732"/>
                      </a:lnTo>
                      <a:lnTo>
                        <a:pt x="1145638" y="1247250"/>
                      </a:lnTo>
                      <a:lnTo>
                        <a:pt x="1149378" y="1250395"/>
                      </a:lnTo>
                      <a:lnTo>
                        <a:pt x="1150276" y="1250832"/>
                      </a:lnTo>
                      <a:lnTo>
                        <a:pt x="1152365" y="1251293"/>
                      </a:lnTo>
                      <a:lnTo>
                        <a:pt x="1154417" y="1252313"/>
                      </a:lnTo>
                      <a:lnTo>
                        <a:pt x="1157283" y="1254633"/>
                      </a:lnTo>
                      <a:lnTo>
                        <a:pt x="1158704" y="1254936"/>
                      </a:lnTo>
                      <a:lnTo>
                        <a:pt x="1159845" y="1254693"/>
                      </a:lnTo>
                      <a:lnTo>
                        <a:pt x="1160986" y="1254086"/>
                      </a:lnTo>
                      <a:lnTo>
                        <a:pt x="1165868" y="1249581"/>
                      </a:lnTo>
                      <a:lnTo>
                        <a:pt x="1169450" y="1248816"/>
                      </a:lnTo>
                      <a:lnTo>
                        <a:pt x="1172024" y="1249678"/>
                      </a:lnTo>
                      <a:lnTo>
                        <a:pt x="1176724" y="1253443"/>
                      </a:lnTo>
                      <a:lnTo>
                        <a:pt x="1176918" y="1253515"/>
                      </a:lnTo>
                      <a:lnTo>
                        <a:pt x="1177452" y="1251815"/>
                      </a:lnTo>
                      <a:lnTo>
                        <a:pt x="1179310" y="1248330"/>
                      </a:lnTo>
                      <a:lnTo>
                        <a:pt x="1182091" y="1244166"/>
                      </a:lnTo>
                      <a:lnTo>
                        <a:pt x="1187956" y="1238640"/>
                      </a:lnTo>
                      <a:lnTo>
                        <a:pt x="1189777" y="1235750"/>
                      </a:lnTo>
                      <a:lnTo>
                        <a:pt x="1189862" y="1235532"/>
                      </a:lnTo>
                      <a:lnTo>
                        <a:pt x="1189789" y="1235374"/>
                      </a:lnTo>
                      <a:lnTo>
                        <a:pt x="1182783" y="1231476"/>
                      </a:lnTo>
                      <a:lnTo>
                        <a:pt x="1179346" y="1227858"/>
                      </a:lnTo>
                      <a:lnTo>
                        <a:pt x="1178169" y="1223486"/>
                      </a:lnTo>
                      <a:lnTo>
                        <a:pt x="1178314" y="1218884"/>
                      </a:lnTo>
                      <a:lnTo>
                        <a:pt x="1180743" y="1213456"/>
                      </a:lnTo>
                      <a:lnTo>
                        <a:pt x="1187847" y="1204871"/>
                      </a:lnTo>
                      <a:lnTo>
                        <a:pt x="1188745" y="1201738"/>
                      </a:lnTo>
                      <a:lnTo>
                        <a:pt x="1188879" y="1198484"/>
                      </a:lnTo>
                      <a:lnTo>
                        <a:pt x="1188320" y="1196662"/>
                      </a:lnTo>
                      <a:lnTo>
                        <a:pt x="1187786" y="1195739"/>
                      </a:lnTo>
                      <a:lnTo>
                        <a:pt x="1187057" y="1195314"/>
                      </a:lnTo>
                      <a:lnTo>
                        <a:pt x="1184386" y="1194404"/>
                      </a:lnTo>
                      <a:lnTo>
                        <a:pt x="1181982" y="1193117"/>
                      </a:lnTo>
                      <a:lnTo>
                        <a:pt x="1179759" y="1190773"/>
                      </a:lnTo>
                      <a:lnTo>
                        <a:pt x="1178217" y="1186790"/>
                      </a:lnTo>
                      <a:lnTo>
                        <a:pt x="1177064" y="1177756"/>
                      </a:lnTo>
                      <a:lnTo>
                        <a:pt x="1176493" y="1176141"/>
                      </a:lnTo>
                      <a:lnTo>
                        <a:pt x="1175849" y="1173178"/>
                      </a:lnTo>
                      <a:lnTo>
                        <a:pt x="1175946" y="1169207"/>
                      </a:lnTo>
                      <a:lnTo>
                        <a:pt x="1177938" y="1162699"/>
                      </a:lnTo>
                      <a:lnTo>
                        <a:pt x="1179917" y="1159153"/>
                      </a:lnTo>
                      <a:lnTo>
                        <a:pt x="1183184" y="1155983"/>
                      </a:lnTo>
                      <a:lnTo>
                        <a:pt x="1186693" y="1155061"/>
                      </a:lnTo>
                      <a:lnTo>
                        <a:pt x="1190797" y="1155680"/>
                      </a:lnTo>
                      <a:lnTo>
                        <a:pt x="1197573" y="1160246"/>
                      </a:lnTo>
                      <a:lnTo>
                        <a:pt x="1197998" y="1160318"/>
                      </a:lnTo>
                      <a:lnTo>
                        <a:pt x="1199115" y="1160051"/>
                      </a:lnTo>
                      <a:lnTo>
                        <a:pt x="1200791" y="1158825"/>
                      </a:lnTo>
                      <a:lnTo>
                        <a:pt x="1202114" y="1156445"/>
                      </a:lnTo>
                      <a:lnTo>
                        <a:pt x="1202127" y="1154393"/>
                      </a:lnTo>
                      <a:lnTo>
                        <a:pt x="1201155" y="1138801"/>
                      </a:lnTo>
                      <a:lnTo>
                        <a:pt x="1196286" y="1132912"/>
                      </a:lnTo>
                      <a:lnTo>
                        <a:pt x="1192752" y="1129451"/>
                      </a:lnTo>
                      <a:lnTo>
                        <a:pt x="1190652" y="1125456"/>
                      </a:lnTo>
                      <a:lnTo>
                        <a:pt x="1190652" y="1122542"/>
                      </a:lnTo>
                      <a:lnTo>
                        <a:pt x="1191599" y="1119458"/>
                      </a:lnTo>
                      <a:lnTo>
                        <a:pt x="1191574" y="1117891"/>
                      </a:lnTo>
                      <a:lnTo>
                        <a:pt x="1190676" y="1114770"/>
                      </a:lnTo>
                      <a:lnTo>
                        <a:pt x="1185248" y="1107557"/>
                      </a:lnTo>
                      <a:lnTo>
                        <a:pt x="1183002" y="1105554"/>
                      </a:lnTo>
                      <a:lnTo>
                        <a:pt x="1181642" y="1104619"/>
                      </a:lnTo>
                      <a:lnTo>
                        <a:pt x="1180536" y="1104582"/>
                      </a:lnTo>
                      <a:lnTo>
                        <a:pt x="1178521" y="1104777"/>
                      </a:lnTo>
                      <a:lnTo>
                        <a:pt x="1176651" y="1105566"/>
                      </a:lnTo>
                      <a:lnTo>
                        <a:pt x="1164289" y="1112572"/>
                      </a:lnTo>
                      <a:lnTo>
                        <a:pt x="1154004" y="1115062"/>
                      </a:lnTo>
                      <a:lnTo>
                        <a:pt x="1144375" y="1115487"/>
                      </a:lnTo>
                      <a:lnTo>
                        <a:pt x="1125820" y="1119919"/>
                      </a:lnTo>
                      <a:lnTo>
                        <a:pt x="1119421" y="1120429"/>
                      </a:lnTo>
                      <a:lnTo>
                        <a:pt x="1113337" y="1119652"/>
                      </a:lnTo>
                      <a:lnTo>
                        <a:pt x="1104194" y="1116519"/>
                      </a:lnTo>
                      <a:lnTo>
                        <a:pt x="1098511" y="1115645"/>
                      </a:lnTo>
                      <a:lnTo>
                        <a:pt x="1093484" y="1115803"/>
                      </a:lnTo>
                      <a:lnTo>
                        <a:pt x="1086878" y="1116567"/>
                      </a:lnTo>
                      <a:lnTo>
                        <a:pt x="1082434" y="1116470"/>
                      </a:lnTo>
                      <a:lnTo>
                        <a:pt x="1078524" y="1115523"/>
                      </a:lnTo>
                      <a:lnTo>
                        <a:pt x="1075500" y="1113787"/>
                      </a:lnTo>
                      <a:lnTo>
                        <a:pt x="1073157" y="1111662"/>
                      </a:lnTo>
                      <a:lnTo>
                        <a:pt x="1071396" y="1109209"/>
                      </a:lnTo>
                      <a:lnTo>
                        <a:pt x="1070376" y="1105833"/>
                      </a:lnTo>
                      <a:lnTo>
                        <a:pt x="1070667" y="1102263"/>
                      </a:lnTo>
                      <a:lnTo>
                        <a:pt x="1072391" y="1098899"/>
                      </a:lnTo>
                      <a:lnTo>
                        <a:pt x="1077030" y="1095038"/>
                      </a:lnTo>
                      <a:lnTo>
                        <a:pt x="1077212" y="1094722"/>
                      </a:lnTo>
                      <a:lnTo>
                        <a:pt x="1077479" y="1093459"/>
                      </a:lnTo>
                      <a:lnTo>
                        <a:pt x="1077018" y="1091322"/>
                      </a:lnTo>
                      <a:lnTo>
                        <a:pt x="1076204" y="1089732"/>
                      </a:lnTo>
                      <a:lnTo>
                        <a:pt x="1073788" y="1085858"/>
                      </a:lnTo>
                      <a:lnTo>
                        <a:pt x="1072719" y="1083174"/>
                      </a:lnTo>
                      <a:lnTo>
                        <a:pt x="1072367" y="1079835"/>
                      </a:lnTo>
                      <a:lnTo>
                        <a:pt x="1073921" y="1076799"/>
                      </a:lnTo>
                      <a:lnTo>
                        <a:pt x="1077261" y="1075269"/>
                      </a:lnTo>
                      <a:lnTo>
                        <a:pt x="1080078" y="1076253"/>
                      </a:lnTo>
                      <a:lnTo>
                        <a:pt x="1082932" y="1078414"/>
                      </a:lnTo>
                      <a:lnTo>
                        <a:pt x="1087412" y="1083320"/>
                      </a:lnTo>
                      <a:lnTo>
                        <a:pt x="1089404" y="1084947"/>
                      </a:lnTo>
                      <a:lnTo>
                        <a:pt x="1091577" y="1085870"/>
                      </a:lnTo>
                      <a:lnTo>
                        <a:pt x="1094285" y="1086562"/>
                      </a:lnTo>
                      <a:lnTo>
                        <a:pt x="1097139" y="1086769"/>
                      </a:lnTo>
                      <a:lnTo>
                        <a:pt x="1100818" y="1086647"/>
                      </a:lnTo>
                      <a:lnTo>
                        <a:pt x="1103842" y="1086198"/>
                      </a:lnTo>
                      <a:lnTo>
                        <a:pt x="1106829" y="1085312"/>
                      </a:lnTo>
                      <a:lnTo>
                        <a:pt x="1109270" y="1084000"/>
                      </a:lnTo>
                      <a:lnTo>
                        <a:pt x="1111431" y="1082434"/>
                      </a:lnTo>
                      <a:lnTo>
                        <a:pt x="1112852" y="1080904"/>
                      </a:lnTo>
                      <a:lnTo>
                        <a:pt x="1113653" y="1079835"/>
                      </a:lnTo>
                      <a:lnTo>
                        <a:pt x="1106586" y="1082264"/>
                      </a:lnTo>
                      <a:lnTo>
                        <a:pt x="1101875" y="1083041"/>
                      </a:lnTo>
                      <a:lnTo>
                        <a:pt x="1097029" y="1083211"/>
                      </a:lnTo>
                      <a:lnTo>
                        <a:pt x="1090752" y="1082021"/>
                      </a:lnTo>
                      <a:lnTo>
                        <a:pt x="1086550" y="1079811"/>
                      </a:lnTo>
                      <a:lnTo>
                        <a:pt x="1084134" y="1076581"/>
                      </a:lnTo>
                      <a:lnTo>
                        <a:pt x="1083854" y="1074164"/>
                      </a:lnTo>
                      <a:lnTo>
                        <a:pt x="1084170" y="1071456"/>
                      </a:lnTo>
                      <a:lnTo>
                        <a:pt x="1084802" y="1070048"/>
                      </a:lnTo>
                      <a:lnTo>
                        <a:pt x="1085421" y="1069259"/>
                      </a:lnTo>
                      <a:lnTo>
                        <a:pt x="1087461" y="1067486"/>
                      </a:lnTo>
                      <a:lnTo>
                        <a:pt x="1089331" y="1066976"/>
                      </a:lnTo>
                      <a:lnTo>
                        <a:pt x="1091772" y="1067328"/>
                      </a:lnTo>
                      <a:lnTo>
                        <a:pt x="1095487" y="1068858"/>
                      </a:lnTo>
                      <a:lnTo>
                        <a:pt x="1097333" y="1069429"/>
                      </a:lnTo>
                      <a:lnTo>
                        <a:pt x="1097795" y="1069453"/>
                      </a:lnTo>
                      <a:lnTo>
                        <a:pt x="1098292" y="1069246"/>
                      </a:lnTo>
                      <a:lnTo>
                        <a:pt x="1098317" y="1069113"/>
                      </a:lnTo>
                      <a:lnTo>
                        <a:pt x="1097831" y="1067631"/>
                      </a:lnTo>
                      <a:lnTo>
                        <a:pt x="1094941" y="1064511"/>
                      </a:lnTo>
                      <a:lnTo>
                        <a:pt x="1093763" y="1062653"/>
                      </a:lnTo>
                      <a:lnTo>
                        <a:pt x="1093071" y="1060856"/>
                      </a:lnTo>
                      <a:lnTo>
                        <a:pt x="1092634" y="1057966"/>
                      </a:lnTo>
                      <a:lnTo>
                        <a:pt x="1096483" y="1050437"/>
                      </a:lnTo>
                      <a:lnTo>
                        <a:pt x="1096993" y="1049721"/>
                      </a:lnTo>
                      <a:lnTo>
                        <a:pt x="1092828" y="1051020"/>
                      </a:lnTo>
                      <a:lnTo>
                        <a:pt x="1085870" y="1052683"/>
                      </a:lnTo>
                      <a:lnTo>
                        <a:pt x="1079702" y="1052659"/>
                      </a:lnTo>
                      <a:lnTo>
                        <a:pt x="1070351" y="1051627"/>
                      </a:lnTo>
                      <a:lnTo>
                        <a:pt x="1068239" y="1051955"/>
                      </a:lnTo>
                      <a:lnTo>
                        <a:pt x="1067886" y="1052186"/>
                      </a:lnTo>
                      <a:lnTo>
                        <a:pt x="1068287" y="1052283"/>
                      </a:lnTo>
                      <a:lnTo>
                        <a:pt x="1067595" y="1054918"/>
                      </a:lnTo>
                      <a:lnTo>
                        <a:pt x="1066903" y="1056521"/>
                      </a:lnTo>
                      <a:lnTo>
                        <a:pt x="1065956" y="1057990"/>
                      </a:lnTo>
                      <a:lnTo>
                        <a:pt x="1064693" y="1059447"/>
                      </a:lnTo>
                      <a:lnTo>
                        <a:pt x="1061973" y="1061791"/>
                      </a:lnTo>
                      <a:lnTo>
                        <a:pt x="1061839" y="1062264"/>
                      </a:lnTo>
                      <a:lnTo>
                        <a:pt x="1063369" y="1068967"/>
                      </a:lnTo>
                      <a:lnTo>
                        <a:pt x="1063551" y="1072112"/>
                      </a:lnTo>
                      <a:lnTo>
                        <a:pt x="1062774" y="1077176"/>
                      </a:lnTo>
                      <a:lnTo>
                        <a:pt x="1061718" y="1079677"/>
                      </a:lnTo>
                      <a:lnTo>
                        <a:pt x="1059957" y="1081875"/>
                      </a:lnTo>
                      <a:lnTo>
                        <a:pt x="1057541" y="1082956"/>
                      </a:lnTo>
                      <a:lnTo>
                        <a:pt x="1056436" y="1082956"/>
                      </a:lnTo>
                      <a:lnTo>
                        <a:pt x="1054821" y="1082822"/>
                      </a:lnTo>
                      <a:lnTo>
                        <a:pt x="1053606" y="1082446"/>
                      </a:lnTo>
                      <a:lnTo>
                        <a:pt x="1050959" y="1081232"/>
                      </a:lnTo>
                      <a:lnTo>
                        <a:pt x="1045726" y="1085445"/>
                      </a:lnTo>
                      <a:lnTo>
                        <a:pt x="1043297" y="1086999"/>
                      </a:lnTo>
                      <a:lnTo>
                        <a:pt x="1041051" y="1087776"/>
                      </a:lnTo>
                      <a:lnTo>
                        <a:pt x="1037845" y="1088092"/>
                      </a:lnTo>
                      <a:lnTo>
                        <a:pt x="1034190" y="1087388"/>
                      </a:lnTo>
                      <a:lnTo>
                        <a:pt x="1030790" y="1085858"/>
                      </a:lnTo>
                      <a:lnTo>
                        <a:pt x="1026248" y="1082762"/>
                      </a:lnTo>
                      <a:lnTo>
                        <a:pt x="1024888" y="1082252"/>
                      </a:lnTo>
                      <a:lnTo>
                        <a:pt x="1023468" y="1082009"/>
                      </a:lnTo>
                      <a:lnTo>
                        <a:pt x="1021100" y="1081049"/>
                      </a:lnTo>
                      <a:lnTo>
                        <a:pt x="1018963" y="1079519"/>
                      </a:lnTo>
                      <a:lnTo>
                        <a:pt x="1015575" y="1075901"/>
                      </a:lnTo>
                      <a:lnTo>
                        <a:pt x="1013656" y="1074954"/>
                      </a:lnTo>
                      <a:lnTo>
                        <a:pt x="1011106" y="1074116"/>
                      </a:lnTo>
                      <a:lnTo>
                        <a:pt x="1009612" y="1074201"/>
                      </a:lnTo>
                      <a:lnTo>
                        <a:pt x="1012806" y="1082300"/>
                      </a:lnTo>
                      <a:lnTo>
                        <a:pt x="1013559" y="1085020"/>
                      </a:lnTo>
                      <a:lnTo>
                        <a:pt x="1013765" y="1087874"/>
                      </a:lnTo>
                      <a:lnTo>
                        <a:pt x="1013595" y="1090594"/>
                      </a:lnTo>
                      <a:lnTo>
                        <a:pt x="1012697" y="1095402"/>
                      </a:lnTo>
                      <a:lnTo>
                        <a:pt x="1013304" y="1095572"/>
                      </a:lnTo>
                      <a:lnTo>
                        <a:pt x="1018465" y="1095475"/>
                      </a:lnTo>
                      <a:lnTo>
                        <a:pt x="1021719" y="1095767"/>
                      </a:lnTo>
                      <a:lnTo>
                        <a:pt x="1026710" y="1097199"/>
                      </a:lnTo>
                      <a:lnTo>
                        <a:pt x="1028325" y="1097503"/>
                      </a:lnTo>
                      <a:lnTo>
                        <a:pt x="1030668" y="1096811"/>
                      </a:lnTo>
                      <a:lnTo>
                        <a:pt x="1032769" y="1096459"/>
                      </a:lnTo>
                      <a:lnTo>
                        <a:pt x="1035781" y="1096641"/>
                      </a:lnTo>
                      <a:lnTo>
                        <a:pt x="1038476" y="1098292"/>
                      </a:lnTo>
                      <a:lnTo>
                        <a:pt x="1040286" y="1101401"/>
                      </a:lnTo>
                      <a:lnTo>
                        <a:pt x="1040079" y="1105104"/>
                      </a:lnTo>
                      <a:lnTo>
                        <a:pt x="1038488" y="1109124"/>
                      </a:lnTo>
                      <a:lnTo>
                        <a:pt x="1037930" y="1111018"/>
                      </a:lnTo>
                      <a:lnTo>
                        <a:pt x="1037954" y="1112657"/>
                      </a:lnTo>
                      <a:lnTo>
                        <a:pt x="1038112" y="1114928"/>
                      </a:lnTo>
                      <a:lnTo>
                        <a:pt x="1037481" y="1119931"/>
                      </a:lnTo>
                      <a:lnTo>
                        <a:pt x="1035501" y="1122712"/>
                      </a:lnTo>
                      <a:lnTo>
                        <a:pt x="1032514" y="1125092"/>
                      </a:lnTo>
                      <a:lnTo>
                        <a:pt x="1029660" y="1126488"/>
                      </a:lnTo>
                      <a:lnTo>
                        <a:pt x="1026540" y="1127229"/>
                      </a:lnTo>
                      <a:lnTo>
                        <a:pt x="1018914" y="1127605"/>
                      </a:lnTo>
                      <a:lnTo>
                        <a:pt x="1015732" y="1127435"/>
                      </a:lnTo>
                      <a:lnTo>
                        <a:pt x="1012417" y="1125432"/>
                      </a:lnTo>
                      <a:lnTo>
                        <a:pt x="1010681" y="1122991"/>
                      </a:lnTo>
                      <a:lnTo>
                        <a:pt x="1008325" y="1117976"/>
                      </a:lnTo>
                      <a:lnTo>
                        <a:pt x="1007621" y="1117466"/>
                      </a:lnTo>
                      <a:lnTo>
                        <a:pt x="1005168" y="1116130"/>
                      </a:lnTo>
                      <a:lnTo>
                        <a:pt x="1003322" y="1114358"/>
                      </a:lnTo>
                      <a:lnTo>
                        <a:pt x="1001987" y="1111528"/>
                      </a:lnTo>
                      <a:lnTo>
                        <a:pt x="1001088" y="1106137"/>
                      </a:lnTo>
                      <a:lnTo>
                        <a:pt x="1000857" y="1111613"/>
                      </a:lnTo>
                      <a:lnTo>
                        <a:pt x="1001088" y="1116507"/>
                      </a:lnTo>
                      <a:lnTo>
                        <a:pt x="1001489" y="1117745"/>
                      </a:lnTo>
                      <a:lnTo>
                        <a:pt x="1003505" y="1120878"/>
                      </a:lnTo>
                      <a:lnTo>
                        <a:pt x="1003711" y="1124485"/>
                      </a:lnTo>
                      <a:lnTo>
                        <a:pt x="996765" y="1140477"/>
                      </a:lnTo>
                      <a:lnTo>
                        <a:pt x="991058" y="1149997"/>
                      </a:lnTo>
                      <a:lnTo>
                        <a:pt x="990427" y="1151442"/>
                      </a:lnTo>
                      <a:lnTo>
                        <a:pt x="989965" y="1153434"/>
                      </a:lnTo>
                      <a:lnTo>
                        <a:pt x="990160" y="1154502"/>
                      </a:lnTo>
                      <a:lnTo>
                        <a:pt x="990317" y="1154684"/>
                      </a:lnTo>
                      <a:lnTo>
                        <a:pt x="1007609" y="1159578"/>
                      </a:lnTo>
                      <a:lnTo>
                        <a:pt x="1011276" y="1161423"/>
                      </a:lnTo>
                      <a:lnTo>
                        <a:pt x="1014931" y="1165054"/>
                      </a:lnTo>
                      <a:lnTo>
                        <a:pt x="1015453" y="1170859"/>
                      </a:lnTo>
                      <a:lnTo>
                        <a:pt x="1013438" y="1174744"/>
                      </a:lnTo>
                      <a:lnTo>
                        <a:pt x="1010329" y="1178436"/>
                      </a:lnTo>
                      <a:lnTo>
                        <a:pt x="999267" y="1187871"/>
                      </a:lnTo>
                      <a:lnTo>
                        <a:pt x="998975" y="1188964"/>
                      </a:lnTo>
                      <a:lnTo>
                        <a:pt x="999012" y="1190457"/>
                      </a:lnTo>
                      <a:lnTo>
                        <a:pt x="998902" y="1193177"/>
                      </a:lnTo>
                      <a:lnTo>
                        <a:pt x="997882" y="1197197"/>
                      </a:lnTo>
                      <a:lnTo>
                        <a:pt x="995988" y="1200524"/>
                      </a:lnTo>
                      <a:lnTo>
                        <a:pt x="994179" y="1202758"/>
                      </a:lnTo>
                      <a:lnTo>
                        <a:pt x="994337" y="1202807"/>
                      </a:lnTo>
                      <a:lnTo>
                        <a:pt x="996073" y="1202794"/>
                      </a:lnTo>
                      <a:lnTo>
                        <a:pt x="1004512" y="1201556"/>
                      </a:lnTo>
                      <a:lnTo>
                        <a:pt x="1008398" y="1201908"/>
                      </a:lnTo>
                      <a:lnTo>
                        <a:pt x="1012162" y="1203086"/>
                      </a:lnTo>
                      <a:lnTo>
                        <a:pt x="1015648" y="1205126"/>
                      </a:lnTo>
                      <a:lnTo>
                        <a:pt x="1018659" y="1207591"/>
                      </a:lnTo>
                      <a:lnTo>
                        <a:pt x="1021063" y="1211161"/>
                      </a:lnTo>
                      <a:lnTo>
                        <a:pt x="1022423" y="1215192"/>
                      </a:lnTo>
                      <a:lnTo>
                        <a:pt x="1023176" y="1225793"/>
                      </a:lnTo>
                      <a:lnTo>
                        <a:pt x="1023990" y="1229497"/>
                      </a:lnTo>
                      <a:lnTo>
                        <a:pt x="1025216" y="1232387"/>
                      </a:lnTo>
                      <a:lnTo>
                        <a:pt x="1026734" y="1235228"/>
                      </a:lnTo>
                      <a:lnTo>
                        <a:pt x="1028398" y="1237560"/>
                      </a:lnTo>
                      <a:lnTo>
                        <a:pt x="1030098" y="1239539"/>
                      </a:lnTo>
                      <a:lnTo>
                        <a:pt x="1033777" y="1242283"/>
                      </a:lnTo>
                      <a:lnTo>
                        <a:pt x="1035878" y="1244299"/>
                      </a:lnTo>
                      <a:lnTo>
                        <a:pt x="1038294" y="1247808"/>
                      </a:lnTo>
                      <a:lnTo>
                        <a:pt x="1038063" y="1251269"/>
                      </a:lnTo>
                      <a:lnTo>
                        <a:pt x="1036606" y="1253686"/>
                      </a:lnTo>
                      <a:lnTo>
                        <a:pt x="1035064" y="1255689"/>
                      </a:lnTo>
                      <a:lnTo>
                        <a:pt x="1033716" y="1257996"/>
                      </a:lnTo>
                      <a:lnTo>
                        <a:pt x="1026758" y="1278336"/>
                      </a:lnTo>
                      <a:lnTo>
                        <a:pt x="1025933" y="1285937"/>
                      </a:lnTo>
                      <a:lnTo>
                        <a:pt x="1025775" y="1291851"/>
                      </a:lnTo>
                      <a:lnTo>
                        <a:pt x="1026042" y="1295214"/>
                      </a:lnTo>
                      <a:lnTo>
                        <a:pt x="1026382" y="1296951"/>
                      </a:lnTo>
                      <a:lnTo>
                        <a:pt x="1027827" y="1298772"/>
                      </a:lnTo>
                      <a:lnTo>
                        <a:pt x="1031033" y="1304540"/>
                      </a:lnTo>
                      <a:lnTo>
                        <a:pt x="1032550" y="1311498"/>
                      </a:lnTo>
                      <a:lnTo>
                        <a:pt x="1032830" y="1315141"/>
                      </a:lnTo>
                      <a:lnTo>
                        <a:pt x="1032660" y="1319039"/>
                      </a:lnTo>
                      <a:lnTo>
                        <a:pt x="1031870" y="1323580"/>
                      </a:lnTo>
                      <a:lnTo>
                        <a:pt x="1030025" y="1327381"/>
                      </a:lnTo>
                      <a:lnTo>
                        <a:pt x="1027948" y="1330150"/>
                      </a:lnTo>
                      <a:lnTo>
                        <a:pt x="1026030" y="1332190"/>
                      </a:lnTo>
                      <a:lnTo>
                        <a:pt x="1024633" y="1334035"/>
                      </a:lnTo>
                      <a:lnTo>
                        <a:pt x="1023844" y="1335699"/>
                      </a:lnTo>
                      <a:lnTo>
                        <a:pt x="1021428" y="1343130"/>
                      </a:lnTo>
                      <a:lnTo>
                        <a:pt x="1019849" y="1346907"/>
                      </a:lnTo>
                      <a:lnTo>
                        <a:pt x="1018003" y="1350040"/>
                      </a:lnTo>
                      <a:lnTo>
                        <a:pt x="1015963" y="1352590"/>
                      </a:lnTo>
                      <a:lnTo>
                        <a:pt x="1009928" y="1358236"/>
                      </a:lnTo>
                      <a:lnTo>
                        <a:pt x="1007694" y="1359463"/>
                      </a:lnTo>
                      <a:lnTo>
                        <a:pt x="1002327" y="1360726"/>
                      </a:lnTo>
                      <a:lnTo>
                        <a:pt x="1000724" y="1361357"/>
                      </a:lnTo>
                      <a:lnTo>
                        <a:pt x="990718" y="1368048"/>
                      </a:lnTo>
                      <a:lnTo>
                        <a:pt x="985691" y="1369833"/>
                      </a:lnTo>
                      <a:lnTo>
                        <a:pt x="975940" y="1372711"/>
                      </a:lnTo>
                      <a:lnTo>
                        <a:pt x="973633" y="1374350"/>
                      </a:lnTo>
                      <a:lnTo>
                        <a:pt x="962352" y="1384465"/>
                      </a:lnTo>
                      <a:lnTo>
                        <a:pt x="960349" y="1387270"/>
                      </a:lnTo>
                      <a:lnTo>
                        <a:pt x="953974" y="1399109"/>
                      </a:lnTo>
                      <a:lnTo>
                        <a:pt x="954046" y="1400651"/>
                      </a:lnTo>
                      <a:lnTo>
                        <a:pt x="954568" y="1401599"/>
                      </a:lnTo>
                      <a:lnTo>
                        <a:pt x="955491" y="1402570"/>
                      </a:lnTo>
                      <a:lnTo>
                        <a:pt x="956171" y="1403117"/>
                      </a:lnTo>
                      <a:lnTo>
                        <a:pt x="957847" y="1403724"/>
                      </a:lnTo>
                      <a:lnTo>
                        <a:pt x="963129" y="1404683"/>
                      </a:lnTo>
                      <a:lnTo>
                        <a:pt x="969346" y="1407039"/>
                      </a:lnTo>
                      <a:lnTo>
                        <a:pt x="970646" y="1407148"/>
                      </a:lnTo>
                      <a:lnTo>
                        <a:pt x="974532" y="1406905"/>
                      </a:lnTo>
                      <a:lnTo>
                        <a:pt x="977361" y="1407172"/>
                      </a:lnTo>
                      <a:lnTo>
                        <a:pt x="980482" y="1408496"/>
                      </a:lnTo>
                      <a:lnTo>
                        <a:pt x="982522" y="1410172"/>
                      </a:lnTo>
                      <a:lnTo>
                        <a:pt x="985011" y="1413717"/>
                      </a:lnTo>
                      <a:lnTo>
                        <a:pt x="986116" y="1414713"/>
                      </a:lnTo>
                      <a:lnTo>
                        <a:pt x="990257" y="1417579"/>
                      </a:lnTo>
                      <a:lnTo>
                        <a:pt x="992114" y="1422314"/>
                      </a:lnTo>
                      <a:lnTo>
                        <a:pt x="988884" y="1425217"/>
                      </a:lnTo>
                      <a:lnTo>
                        <a:pt x="979717" y="1428726"/>
                      </a:lnTo>
                      <a:lnTo>
                        <a:pt x="969990" y="1435235"/>
                      </a:lnTo>
                      <a:lnTo>
                        <a:pt x="957410" y="1438416"/>
                      </a:lnTo>
                      <a:lnTo>
                        <a:pt x="944198" y="1445350"/>
                      </a:lnTo>
                      <a:lnTo>
                        <a:pt x="939402" y="1446078"/>
                      </a:lnTo>
                      <a:lnTo>
                        <a:pt x="935128" y="1445410"/>
                      </a:lnTo>
                      <a:lnTo>
                        <a:pt x="931716" y="1444208"/>
                      </a:lnTo>
                      <a:lnTo>
                        <a:pt x="929263" y="1443613"/>
                      </a:lnTo>
                      <a:lnTo>
                        <a:pt x="926178" y="1443650"/>
                      </a:lnTo>
                      <a:lnTo>
                        <a:pt x="924454" y="1444099"/>
                      </a:lnTo>
                      <a:lnTo>
                        <a:pt x="922948" y="1444864"/>
                      </a:lnTo>
                      <a:lnTo>
                        <a:pt x="919536" y="1447985"/>
                      </a:lnTo>
                      <a:lnTo>
                        <a:pt x="912675" y="1452453"/>
                      </a:lnTo>
                      <a:close/>
                    </a:path>
                  </a:pathLst>
                </a:custGeom>
                <a:solidFill>
                  <a:srgbClr val="D7D7D2"/>
                </a:solidFill>
                <a:ln w="12138" cap="flat">
                  <a:noFill/>
                  <a:prstDash val="solid"/>
                  <a:miter/>
                </a:ln>
              </p:spPr>
              <p:txBody>
                <a:bodyPr rtlCol="0" anchor="ctr"/>
                <a:lstStyle/>
                <a:p>
                  <a:endParaRPr lang="en-US"/>
                </a:p>
              </p:txBody>
            </p:sp>
            <p:sp>
              <p:nvSpPr>
                <p:cNvPr id="319" name="Freeform: Shape 318">
                  <a:extLst>
                    <a:ext uri="{FF2B5EF4-FFF2-40B4-BE49-F238E27FC236}">
                      <a16:creationId xmlns:a16="http://schemas.microsoft.com/office/drawing/2014/main" id="{14B53088-C4F1-4BB1-AD09-50B84235A25F}"/>
                    </a:ext>
                  </a:extLst>
                </p:cNvPr>
                <p:cNvSpPr/>
                <p:nvPr/>
              </p:nvSpPr>
              <p:spPr>
                <a:xfrm>
                  <a:off x="3600419" y="2091567"/>
                  <a:ext cx="1659478" cy="1461099"/>
                </a:xfrm>
                <a:custGeom>
                  <a:avLst/>
                  <a:gdLst>
                    <a:gd name="connsiteX0" fmla="*/ 846679 w 1659478"/>
                    <a:gd name="connsiteY0" fmla="*/ 8233 h 1461099"/>
                    <a:gd name="connsiteX1" fmla="*/ 851159 w 1659478"/>
                    <a:gd name="connsiteY1" fmla="*/ 9836 h 1461099"/>
                    <a:gd name="connsiteX2" fmla="*/ 852374 w 1659478"/>
                    <a:gd name="connsiteY2" fmla="*/ 13600 h 1461099"/>
                    <a:gd name="connsiteX3" fmla="*/ 852204 w 1659478"/>
                    <a:gd name="connsiteY3" fmla="*/ 17073 h 1461099"/>
                    <a:gd name="connsiteX4" fmla="*/ 851281 w 1659478"/>
                    <a:gd name="connsiteY4" fmla="*/ 21032 h 1461099"/>
                    <a:gd name="connsiteX5" fmla="*/ 850989 w 1659478"/>
                    <a:gd name="connsiteY5" fmla="*/ 21930 h 1461099"/>
                    <a:gd name="connsiteX6" fmla="*/ 837608 w 1659478"/>
                    <a:gd name="connsiteY6" fmla="*/ 42998 h 1461099"/>
                    <a:gd name="connsiteX7" fmla="*/ 835422 w 1659478"/>
                    <a:gd name="connsiteY7" fmla="*/ 48717 h 1461099"/>
                    <a:gd name="connsiteX8" fmla="*/ 835033 w 1659478"/>
                    <a:gd name="connsiteY8" fmla="*/ 50175 h 1461099"/>
                    <a:gd name="connsiteX9" fmla="*/ 835033 w 1659478"/>
                    <a:gd name="connsiteY9" fmla="*/ 50260 h 1461099"/>
                    <a:gd name="connsiteX10" fmla="*/ 835483 w 1659478"/>
                    <a:gd name="connsiteY10" fmla="*/ 53392 h 1461099"/>
                    <a:gd name="connsiteX11" fmla="*/ 840947 w 1659478"/>
                    <a:gd name="connsiteY11" fmla="*/ 54279 h 1461099"/>
                    <a:gd name="connsiteX12" fmla="*/ 911170 w 1659478"/>
                    <a:gd name="connsiteY12" fmla="*/ 57873 h 1461099"/>
                    <a:gd name="connsiteX13" fmla="*/ 929020 w 1659478"/>
                    <a:gd name="connsiteY13" fmla="*/ 57752 h 1461099"/>
                    <a:gd name="connsiteX14" fmla="*/ 953549 w 1659478"/>
                    <a:gd name="connsiteY14" fmla="*/ 60994 h 1461099"/>
                    <a:gd name="connsiteX15" fmla="*/ 953148 w 1659478"/>
                    <a:gd name="connsiteY15" fmla="*/ 67551 h 1461099"/>
                    <a:gd name="connsiteX16" fmla="*/ 953889 w 1659478"/>
                    <a:gd name="connsiteY16" fmla="*/ 68693 h 1461099"/>
                    <a:gd name="connsiteX17" fmla="*/ 955382 w 1659478"/>
                    <a:gd name="connsiteY17" fmla="*/ 70332 h 1461099"/>
                    <a:gd name="connsiteX18" fmla="*/ 957046 w 1659478"/>
                    <a:gd name="connsiteY18" fmla="*/ 71388 h 1461099"/>
                    <a:gd name="connsiteX19" fmla="*/ 958879 w 1659478"/>
                    <a:gd name="connsiteY19" fmla="*/ 73173 h 1461099"/>
                    <a:gd name="connsiteX20" fmla="*/ 959632 w 1659478"/>
                    <a:gd name="connsiteY20" fmla="*/ 75007 h 1461099"/>
                    <a:gd name="connsiteX21" fmla="*/ 959814 w 1659478"/>
                    <a:gd name="connsiteY21" fmla="*/ 76962 h 1461099"/>
                    <a:gd name="connsiteX22" fmla="*/ 959292 w 1659478"/>
                    <a:gd name="connsiteY22" fmla="*/ 78735 h 1461099"/>
                    <a:gd name="connsiteX23" fmla="*/ 958321 w 1659478"/>
                    <a:gd name="connsiteY23" fmla="*/ 80326 h 1461099"/>
                    <a:gd name="connsiteX24" fmla="*/ 956936 w 1659478"/>
                    <a:gd name="connsiteY24" fmla="*/ 81673 h 1461099"/>
                    <a:gd name="connsiteX25" fmla="*/ 955103 w 1659478"/>
                    <a:gd name="connsiteY25" fmla="*/ 82815 h 1461099"/>
                    <a:gd name="connsiteX26" fmla="*/ 949408 w 1659478"/>
                    <a:gd name="connsiteY26" fmla="*/ 85280 h 1461099"/>
                    <a:gd name="connsiteX27" fmla="*/ 947805 w 1659478"/>
                    <a:gd name="connsiteY27" fmla="*/ 85729 h 1461099"/>
                    <a:gd name="connsiteX28" fmla="*/ 947064 w 1659478"/>
                    <a:gd name="connsiteY28" fmla="*/ 86385 h 1461099"/>
                    <a:gd name="connsiteX29" fmla="*/ 945971 w 1659478"/>
                    <a:gd name="connsiteY29" fmla="*/ 87793 h 1461099"/>
                    <a:gd name="connsiteX30" fmla="*/ 944186 w 1659478"/>
                    <a:gd name="connsiteY30" fmla="*/ 91436 h 1461099"/>
                    <a:gd name="connsiteX31" fmla="*/ 943203 w 1659478"/>
                    <a:gd name="connsiteY31" fmla="*/ 94848 h 1461099"/>
                    <a:gd name="connsiteX32" fmla="*/ 942863 w 1659478"/>
                    <a:gd name="connsiteY32" fmla="*/ 98783 h 1461099"/>
                    <a:gd name="connsiteX33" fmla="*/ 943263 w 1659478"/>
                    <a:gd name="connsiteY33" fmla="*/ 101078 h 1461099"/>
                    <a:gd name="connsiteX34" fmla="*/ 944478 w 1659478"/>
                    <a:gd name="connsiteY34" fmla="*/ 102608 h 1461099"/>
                    <a:gd name="connsiteX35" fmla="*/ 946311 w 1659478"/>
                    <a:gd name="connsiteY35" fmla="*/ 103518 h 1461099"/>
                    <a:gd name="connsiteX36" fmla="*/ 948315 w 1659478"/>
                    <a:gd name="connsiteY36" fmla="*/ 104101 h 1461099"/>
                    <a:gd name="connsiteX37" fmla="*/ 950161 w 1659478"/>
                    <a:gd name="connsiteY37" fmla="*/ 104259 h 1461099"/>
                    <a:gd name="connsiteX38" fmla="*/ 951654 w 1659478"/>
                    <a:gd name="connsiteY38" fmla="*/ 104150 h 1461099"/>
                    <a:gd name="connsiteX39" fmla="*/ 953318 w 1659478"/>
                    <a:gd name="connsiteY39" fmla="*/ 103688 h 1461099"/>
                    <a:gd name="connsiteX40" fmla="*/ 954811 w 1659478"/>
                    <a:gd name="connsiteY40" fmla="*/ 102972 h 1461099"/>
                    <a:gd name="connsiteX41" fmla="*/ 956827 w 1659478"/>
                    <a:gd name="connsiteY41" fmla="*/ 101345 h 1461099"/>
                    <a:gd name="connsiteX42" fmla="*/ 958078 w 1659478"/>
                    <a:gd name="connsiteY42" fmla="*/ 100568 h 1461099"/>
                    <a:gd name="connsiteX43" fmla="*/ 959462 w 1659478"/>
                    <a:gd name="connsiteY43" fmla="*/ 100276 h 1461099"/>
                    <a:gd name="connsiteX44" fmla="*/ 961757 w 1659478"/>
                    <a:gd name="connsiteY44" fmla="*/ 100301 h 1461099"/>
                    <a:gd name="connsiteX45" fmla="*/ 962680 w 1659478"/>
                    <a:gd name="connsiteY45" fmla="*/ 100167 h 1461099"/>
                    <a:gd name="connsiteX46" fmla="*/ 963372 w 1659478"/>
                    <a:gd name="connsiteY46" fmla="*/ 99815 h 1461099"/>
                    <a:gd name="connsiteX47" fmla="*/ 964635 w 1659478"/>
                    <a:gd name="connsiteY47" fmla="*/ 98382 h 1461099"/>
                    <a:gd name="connsiteX48" fmla="*/ 965388 w 1659478"/>
                    <a:gd name="connsiteY48" fmla="*/ 97690 h 1461099"/>
                    <a:gd name="connsiteX49" fmla="*/ 966299 w 1659478"/>
                    <a:gd name="connsiteY49" fmla="*/ 97314 h 1461099"/>
                    <a:gd name="connsiteX50" fmla="*/ 967671 w 1659478"/>
                    <a:gd name="connsiteY50" fmla="*/ 97544 h 1461099"/>
                    <a:gd name="connsiteX51" fmla="*/ 968824 w 1659478"/>
                    <a:gd name="connsiteY51" fmla="*/ 98321 h 1461099"/>
                    <a:gd name="connsiteX52" fmla="*/ 970136 w 1659478"/>
                    <a:gd name="connsiteY52" fmla="*/ 100422 h 1461099"/>
                    <a:gd name="connsiteX53" fmla="*/ 970379 w 1659478"/>
                    <a:gd name="connsiteY53" fmla="*/ 103033 h 1461099"/>
                    <a:gd name="connsiteX54" fmla="*/ 969747 w 1659478"/>
                    <a:gd name="connsiteY54" fmla="*/ 106311 h 1461099"/>
                    <a:gd name="connsiteX55" fmla="*/ 966979 w 1659478"/>
                    <a:gd name="connsiteY55" fmla="*/ 113512 h 1461099"/>
                    <a:gd name="connsiteX56" fmla="*/ 966129 w 1659478"/>
                    <a:gd name="connsiteY56" fmla="*/ 116949 h 1461099"/>
                    <a:gd name="connsiteX57" fmla="*/ 964514 w 1659478"/>
                    <a:gd name="connsiteY57" fmla="*/ 134301 h 1461099"/>
                    <a:gd name="connsiteX58" fmla="*/ 965206 w 1659478"/>
                    <a:gd name="connsiteY58" fmla="*/ 137713 h 1461099"/>
                    <a:gd name="connsiteX59" fmla="*/ 966456 w 1659478"/>
                    <a:gd name="connsiteY59" fmla="*/ 140130 h 1461099"/>
                    <a:gd name="connsiteX60" fmla="*/ 969747 w 1659478"/>
                    <a:gd name="connsiteY60" fmla="*/ 143712 h 1461099"/>
                    <a:gd name="connsiteX61" fmla="*/ 971472 w 1659478"/>
                    <a:gd name="connsiteY61" fmla="*/ 146383 h 1461099"/>
                    <a:gd name="connsiteX62" fmla="*/ 971812 w 1659478"/>
                    <a:gd name="connsiteY62" fmla="*/ 148508 h 1461099"/>
                    <a:gd name="connsiteX63" fmla="*/ 971119 w 1659478"/>
                    <a:gd name="connsiteY63" fmla="*/ 155175 h 1461099"/>
                    <a:gd name="connsiteX64" fmla="*/ 970500 w 1659478"/>
                    <a:gd name="connsiteY64" fmla="*/ 157275 h 1461099"/>
                    <a:gd name="connsiteX65" fmla="*/ 969626 w 1659478"/>
                    <a:gd name="connsiteY65" fmla="*/ 158696 h 1461099"/>
                    <a:gd name="connsiteX66" fmla="*/ 968254 w 1659478"/>
                    <a:gd name="connsiteY66" fmla="*/ 159303 h 1461099"/>
                    <a:gd name="connsiteX67" fmla="*/ 966760 w 1659478"/>
                    <a:gd name="connsiteY67" fmla="*/ 159558 h 1461099"/>
                    <a:gd name="connsiteX68" fmla="*/ 961296 w 1659478"/>
                    <a:gd name="connsiteY68" fmla="*/ 159303 h 1461099"/>
                    <a:gd name="connsiteX69" fmla="*/ 959924 w 1659478"/>
                    <a:gd name="connsiteY69" fmla="*/ 159728 h 1461099"/>
                    <a:gd name="connsiteX70" fmla="*/ 958430 w 1659478"/>
                    <a:gd name="connsiteY70" fmla="*/ 160797 h 1461099"/>
                    <a:gd name="connsiteX71" fmla="*/ 957507 w 1659478"/>
                    <a:gd name="connsiteY71" fmla="*/ 163067 h 1461099"/>
                    <a:gd name="connsiteX72" fmla="*/ 957386 w 1659478"/>
                    <a:gd name="connsiteY72" fmla="*/ 164646 h 1461099"/>
                    <a:gd name="connsiteX73" fmla="*/ 957847 w 1659478"/>
                    <a:gd name="connsiteY73" fmla="*/ 165824 h 1461099"/>
                    <a:gd name="connsiteX74" fmla="*/ 958721 w 1659478"/>
                    <a:gd name="connsiteY74" fmla="*/ 166771 h 1461099"/>
                    <a:gd name="connsiteX75" fmla="*/ 960895 w 1659478"/>
                    <a:gd name="connsiteY75" fmla="*/ 169783 h 1461099"/>
                    <a:gd name="connsiteX76" fmla="*/ 962036 w 1659478"/>
                    <a:gd name="connsiteY76" fmla="*/ 172478 h 1461099"/>
                    <a:gd name="connsiteX77" fmla="*/ 962911 w 1659478"/>
                    <a:gd name="connsiteY77" fmla="*/ 174118 h 1461099"/>
                    <a:gd name="connsiteX78" fmla="*/ 965776 w 1659478"/>
                    <a:gd name="connsiteY78" fmla="*/ 177603 h 1461099"/>
                    <a:gd name="connsiteX79" fmla="*/ 967270 w 1659478"/>
                    <a:gd name="connsiteY79" fmla="*/ 179922 h 1461099"/>
                    <a:gd name="connsiteX80" fmla="*/ 968994 w 1659478"/>
                    <a:gd name="connsiteY80" fmla="*/ 183990 h 1461099"/>
                    <a:gd name="connsiteX81" fmla="*/ 970196 w 1659478"/>
                    <a:gd name="connsiteY81" fmla="*/ 185714 h 1461099"/>
                    <a:gd name="connsiteX82" fmla="*/ 971629 w 1659478"/>
                    <a:gd name="connsiteY82" fmla="*/ 186868 h 1461099"/>
                    <a:gd name="connsiteX83" fmla="*/ 973414 w 1659478"/>
                    <a:gd name="connsiteY83" fmla="*/ 187183 h 1461099"/>
                    <a:gd name="connsiteX84" fmla="*/ 975139 w 1659478"/>
                    <a:gd name="connsiteY84" fmla="*/ 187159 h 1461099"/>
                    <a:gd name="connsiteX85" fmla="*/ 976062 w 1659478"/>
                    <a:gd name="connsiteY85" fmla="*/ 186637 h 1461099"/>
                    <a:gd name="connsiteX86" fmla="*/ 976681 w 1659478"/>
                    <a:gd name="connsiteY86" fmla="*/ 185605 h 1461099"/>
                    <a:gd name="connsiteX87" fmla="*/ 977203 w 1659478"/>
                    <a:gd name="connsiteY87" fmla="*/ 182994 h 1461099"/>
                    <a:gd name="connsiteX88" fmla="*/ 977652 w 1659478"/>
                    <a:gd name="connsiteY88" fmla="*/ 181586 h 1461099"/>
                    <a:gd name="connsiteX89" fmla="*/ 978405 w 1659478"/>
                    <a:gd name="connsiteY89" fmla="*/ 180578 h 1461099"/>
                    <a:gd name="connsiteX90" fmla="*/ 979729 w 1659478"/>
                    <a:gd name="connsiteY90" fmla="*/ 180092 h 1461099"/>
                    <a:gd name="connsiteX91" fmla="*/ 980882 w 1659478"/>
                    <a:gd name="connsiteY91" fmla="*/ 179922 h 1461099"/>
                    <a:gd name="connsiteX92" fmla="*/ 983347 w 1659478"/>
                    <a:gd name="connsiteY92" fmla="*/ 179922 h 1461099"/>
                    <a:gd name="connsiteX93" fmla="*/ 988739 w 1659478"/>
                    <a:gd name="connsiteY93" fmla="*/ 179060 h 1461099"/>
                    <a:gd name="connsiteX94" fmla="*/ 989722 w 1659478"/>
                    <a:gd name="connsiteY94" fmla="*/ 179035 h 1461099"/>
                    <a:gd name="connsiteX95" fmla="*/ 996097 w 1659478"/>
                    <a:gd name="connsiteY95" fmla="*/ 180323 h 1461099"/>
                    <a:gd name="connsiteX96" fmla="*/ 998963 w 1659478"/>
                    <a:gd name="connsiteY96" fmla="*/ 180432 h 1461099"/>
                    <a:gd name="connsiteX97" fmla="*/ 1000578 w 1659478"/>
                    <a:gd name="connsiteY97" fmla="*/ 180031 h 1461099"/>
                    <a:gd name="connsiteX98" fmla="*/ 1002363 w 1659478"/>
                    <a:gd name="connsiteY98" fmla="*/ 178829 h 1461099"/>
                    <a:gd name="connsiteX99" fmla="*/ 1004136 w 1659478"/>
                    <a:gd name="connsiteY99" fmla="*/ 176874 h 1461099"/>
                    <a:gd name="connsiteX100" fmla="*/ 1006431 w 1659478"/>
                    <a:gd name="connsiteY100" fmla="*/ 174834 h 1461099"/>
                    <a:gd name="connsiteX101" fmla="*/ 1008386 w 1659478"/>
                    <a:gd name="connsiteY101" fmla="*/ 173486 h 1461099"/>
                    <a:gd name="connsiteX102" fmla="*/ 1010742 w 1659478"/>
                    <a:gd name="connsiteY102" fmla="*/ 172515 h 1461099"/>
                    <a:gd name="connsiteX103" fmla="*/ 1012575 w 1659478"/>
                    <a:gd name="connsiteY103" fmla="*/ 172333 h 1461099"/>
                    <a:gd name="connsiteX104" fmla="*/ 1014470 w 1659478"/>
                    <a:gd name="connsiteY104" fmla="*/ 172600 h 1461099"/>
                    <a:gd name="connsiteX105" fmla="*/ 1017396 w 1659478"/>
                    <a:gd name="connsiteY105" fmla="*/ 174348 h 1461099"/>
                    <a:gd name="connsiteX106" fmla="*/ 1019011 w 1659478"/>
                    <a:gd name="connsiteY106" fmla="*/ 174955 h 1461099"/>
                    <a:gd name="connsiteX107" fmla="*/ 1022618 w 1659478"/>
                    <a:gd name="connsiteY107" fmla="*/ 175781 h 1461099"/>
                    <a:gd name="connsiteX108" fmla="*/ 1025095 w 1659478"/>
                    <a:gd name="connsiteY108" fmla="*/ 176643 h 1461099"/>
                    <a:gd name="connsiteX109" fmla="*/ 1026819 w 1659478"/>
                    <a:gd name="connsiteY109" fmla="*/ 177542 h 1461099"/>
                    <a:gd name="connsiteX110" fmla="*/ 1030256 w 1659478"/>
                    <a:gd name="connsiteY110" fmla="*/ 180055 h 1461099"/>
                    <a:gd name="connsiteX111" fmla="*/ 1031300 w 1659478"/>
                    <a:gd name="connsiteY111" fmla="*/ 181464 h 1461099"/>
                    <a:gd name="connsiteX112" fmla="*/ 1031810 w 1659478"/>
                    <a:gd name="connsiteY112" fmla="*/ 182763 h 1461099"/>
                    <a:gd name="connsiteX113" fmla="*/ 1032162 w 1659478"/>
                    <a:gd name="connsiteY113" fmla="*/ 184475 h 1461099"/>
                    <a:gd name="connsiteX114" fmla="*/ 1033813 w 1659478"/>
                    <a:gd name="connsiteY114" fmla="*/ 189078 h 1461099"/>
                    <a:gd name="connsiteX115" fmla="*/ 1035999 w 1659478"/>
                    <a:gd name="connsiteY115" fmla="*/ 193522 h 1461099"/>
                    <a:gd name="connsiteX116" fmla="*/ 1037274 w 1659478"/>
                    <a:gd name="connsiteY116" fmla="*/ 195453 h 1461099"/>
                    <a:gd name="connsiteX117" fmla="*/ 1038537 w 1659478"/>
                    <a:gd name="connsiteY117" fmla="*/ 196776 h 1461099"/>
                    <a:gd name="connsiteX118" fmla="*/ 1039678 w 1659478"/>
                    <a:gd name="connsiteY118" fmla="*/ 197262 h 1461099"/>
                    <a:gd name="connsiteX119" fmla="*/ 1041573 w 1659478"/>
                    <a:gd name="connsiteY119" fmla="*/ 197663 h 1461099"/>
                    <a:gd name="connsiteX120" fmla="*/ 1043006 w 1659478"/>
                    <a:gd name="connsiteY120" fmla="*/ 197748 h 1461099"/>
                    <a:gd name="connsiteX121" fmla="*/ 1043819 w 1659478"/>
                    <a:gd name="connsiteY121" fmla="*/ 197638 h 1461099"/>
                    <a:gd name="connsiteX122" fmla="*/ 1047547 w 1659478"/>
                    <a:gd name="connsiteY122" fmla="*/ 195598 h 1461099"/>
                    <a:gd name="connsiteX123" fmla="*/ 1049733 w 1659478"/>
                    <a:gd name="connsiteY123" fmla="*/ 195477 h 1461099"/>
                    <a:gd name="connsiteX124" fmla="*/ 1052137 w 1659478"/>
                    <a:gd name="connsiteY124" fmla="*/ 196485 h 1461099"/>
                    <a:gd name="connsiteX125" fmla="*/ 1053461 w 1659478"/>
                    <a:gd name="connsiteY125" fmla="*/ 198003 h 1461099"/>
                    <a:gd name="connsiteX126" fmla="*/ 1054602 w 1659478"/>
                    <a:gd name="connsiteY126" fmla="*/ 200018 h 1461099"/>
                    <a:gd name="connsiteX127" fmla="*/ 1056387 w 1659478"/>
                    <a:gd name="connsiteY127" fmla="*/ 204463 h 1461099"/>
                    <a:gd name="connsiteX128" fmla="*/ 1057650 w 1659478"/>
                    <a:gd name="connsiteY128" fmla="*/ 205811 h 1461099"/>
                    <a:gd name="connsiteX129" fmla="*/ 1059144 w 1659478"/>
                    <a:gd name="connsiteY129" fmla="*/ 206588 h 1461099"/>
                    <a:gd name="connsiteX130" fmla="*/ 1060929 w 1659478"/>
                    <a:gd name="connsiteY130" fmla="*/ 206758 h 1461099"/>
                    <a:gd name="connsiteX131" fmla="*/ 1062701 w 1659478"/>
                    <a:gd name="connsiteY131" fmla="*/ 206563 h 1461099"/>
                    <a:gd name="connsiteX132" fmla="*/ 1064256 w 1659478"/>
                    <a:gd name="connsiteY132" fmla="*/ 206199 h 1461099"/>
                    <a:gd name="connsiteX133" fmla="*/ 1067012 w 1659478"/>
                    <a:gd name="connsiteY133" fmla="*/ 204499 h 1461099"/>
                    <a:gd name="connsiteX134" fmla="*/ 1068627 w 1659478"/>
                    <a:gd name="connsiteY134" fmla="*/ 203892 h 1461099"/>
                    <a:gd name="connsiteX135" fmla="*/ 1072416 w 1659478"/>
                    <a:gd name="connsiteY135" fmla="*/ 203261 h 1461099"/>
                    <a:gd name="connsiteX136" fmla="*/ 1074140 w 1659478"/>
                    <a:gd name="connsiteY136" fmla="*/ 202022 h 1461099"/>
                    <a:gd name="connsiteX137" fmla="*/ 1076884 w 1659478"/>
                    <a:gd name="connsiteY137" fmla="*/ 199241 h 1461099"/>
                    <a:gd name="connsiteX138" fmla="*/ 1078317 w 1659478"/>
                    <a:gd name="connsiteY138" fmla="*/ 199047 h 1461099"/>
                    <a:gd name="connsiteX139" fmla="*/ 1079872 w 1659478"/>
                    <a:gd name="connsiteY139" fmla="*/ 199642 h 1461099"/>
                    <a:gd name="connsiteX140" fmla="*/ 1081304 w 1659478"/>
                    <a:gd name="connsiteY140" fmla="*/ 200905 h 1461099"/>
                    <a:gd name="connsiteX141" fmla="*/ 1084413 w 1659478"/>
                    <a:gd name="connsiteY141" fmla="*/ 203030 h 1461099"/>
                    <a:gd name="connsiteX142" fmla="*/ 1087048 w 1659478"/>
                    <a:gd name="connsiteY142" fmla="*/ 203176 h 1461099"/>
                    <a:gd name="connsiteX143" fmla="*/ 1091067 w 1659478"/>
                    <a:gd name="connsiteY143" fmla="*/ 202483 h 1461099"/>
                    <a:gd name="connsiteX144" fmla="*/ 1093375 w 1659478"/>
                    <a:gd name="connsiteY144" fmla="*/ 201621 h 1461099"/>
                    <a:gd name="connsiteX145" fmla="*/ 1094455 w 1659478"/>
                    <a:gd name="connsiteY145" fmla="*/ 200856 h 1461099"/>
                    <a:gd name="connsiteX146" fmla="*/ 1094868 w 1659478"/>
                    <a:gd name="connsiteY146" fmla="*/ 199921 h 1461099"/>
                    <a:gd name="connsiteX147" fmla="*/ 1095026 w 1659478"/>
                    <a:gd name="connsiteY147" fmla="*/ 198901 h 1461099"/>
                    <a:gd name="connsiteX148" fmla="*/ 1095439 w 1659478"/>
                    <a:gd name="connsiteY148" fmla="*/ 197942 h 1461099"/>
                    <a:gd name="connsiteX149" fmla="*/ 1096179 w 1659478"/>
                    <a:gd name="connsiteY149" fmla="*/ 197201 h 1461099"/>
                    <a:gd name="connsiteX150" fmla="*/ 1103077 w 1659478"/>
                    <a:gd name="connsiteY150" fmla="*/ 193789 h 1461099"/>
                    <a:gd name="connsiteX151" fmla="*/ 1104740 w 1659478"/>
                    <a:gd name="connsiteY151" fmla="*/ 193728 h 1461099"/>
                    <a:gd name="connsiteX152" fmla="*/ 1105833 w 1659478"/>
                    <a:gd name="connsiteY152" fmla="*/ 194323 h 1461099"/>
                    <a:gd name="connsiteX153" fmla="*/ 1106343 w 1659478"/>
                    <a:gd name="connsiteY153" fmla="*/ 195647 h 1461099"/>
                    <a:gd name="connsiteX154" fmla="*/ 1106234 w 1659478"/>
                    <a:gd name="connsiteY154" fmla="*/ 197056 h 1461099"/>
                    <a:gd name="connsiteX155" fmla="*/ 1104971 w 1659478"/>
                    <a:gd name="connsiteY155" fmla="*/ 201621 h 1461099"/>
                    <a:gd name="connsiteX156" fmla="*/ 1104850 w 1659478"/>
                    <a:gd name="connsiteY156" fmla="*/ 203006 h 1461099"/>
                    <a:gd name="connsiteX157" fmla="*/ 1105129 w 1659478"/>
                    <a:gd name="connsiteY157" fmla="*/ 204499 h 1461099"/>
                    <a:gd name="connsiteX158" fmla="*/ 1106003 w 1659478"/>
                    <a:gd name="connsiteY158" fmla="*/ 205871 h 1461099"/>
                    <a:gd name="connsiteX159" fmla="*/ 1107667 w 1659478"/>
                    <a:gd name="connsiteY159" fmla="*/ 206940 h 1461099"/>
                    <a:gd name="connsiteX160" fmla="*/ 1108638 w 1659478"/>
                    <a:gd name="connsiteY160" fmla="*/ 206855 h 1461099"/>
                    <a:gd name="connsiteX161" fmla="*/ 1109670 w 1659478"/>
                    <a:gd name="connsiteY161" fmla="*/ 205993 h 1461099"/>
                    <a:gd name="connsiteX162" fmla="*/ 1110933 w 1659478"/>
                    <a:gd name="connsiteY162" fmla="*/ 204669 h 1461099"/>
                    <a:gd name="connsiteX163" fmla="*/ 1112548 w 1659478"/>
                    <a:gd name="connsiteY163" fmla="*/ 203370 h 1461099"/>
                    <a:gd name="connsiteX164" fmla="*/ 1115705 w 1659478"/>
                    <a:gd name="connsiteY164" fmla="*/ 202058 h 1461099"/>
                    <a:gd name="connsiteX165" fmla="*/ 1117029 w 1659478"/>
                    <a:gd name="connsiteY165" fmla="*/ 202228 h 1461099"/>
                    <a:gd name="connsiteX166" fmla="*/ 1117660 w 1659478"/>
                    <a:gd name="connsiteY166" fmla="*/ 203236 h 1461099"/>
                    <a:gd name="connsiteX167" fmla="*/ 1118243 w 1659478"/>
                    <a:gd name="connsiteY167" fmla="*/ 207074 h 1461099"/>
                    <a:gd name="connsiteX168" fmla="*/ 1120587 w 1659478"/>
                    <a:gd name="connsiteY168" fmla="*/ 211239 h 1461099"/>
                    <a:gd name="connsiteX169" fmla="*/ 1120988 w 1659478"/>
                    <a:gd name="connsiteY169" fmla="*/ 212477 h 1461099"/>
                    <a:gd name="connsiteX170" fmla="*/ 1121170 w 1659478"/>
                    <a:gd name="connsiteY170" fmla="*/ 213740 h 1461099"/>
                    <a:gd name="connsiteX171" fmla="*/ 1121109 w 1659478"/>
                    <a:gd name="connsiteY171" fmla="*/ 214918 h 1461099"/>
                    <a:gd name="connsiteX172" fmla="*/ 1120805 w 1659478"/>
                    <a:gd name="connsiteY172" fmla="*/ 215950 h 1461099"/>
                    <a:gd name="connsiteX173" fmla="*/ 1120356 w 1659478"/>
                    <a:gd name="connsiteY173" fmla="*/ 216557 h 1461099"/>
                    <a:gd name="connsiteX174" fmla="*/ 1119555 w 1659478"/>
                    <a:gd name="connsiteY174" fmla="*/ 216897 h 1461099"/>
                    <a:gd name="connsiteX175" fmla="*/ 1116798 w 1659478"/>
                    <a:gd name="connsiteY175" fmla="*/ 217383 h 1461099"/>
                    <a:gd name="connsiteX176" fmla="*/ 1115657 w 1659478"/>
                    <a:gd name="connsiteY176" fmla="*/ 217990 h 1461099"/>
                    <a:gd name="connsiteX177" fmla="*/ 1115086 w 1659478"/>
                    <a:gd name="connsiteY177" fmla="*/ 218852 h 1461099"/>
                    <a:gd name="connsiteX178" fmla="*/ 1114843 w 1659478"/>
                    <a:gd name="connsiteY178" fmla="*/ 220115 h 1461099"/>
                    <a:gd name="connsiteX179" fmla="*/ 1115135 w 1659478"/>
                    <a:gd name="connsiteY179" fmla="*/ 221633 h 1461099"/>
                    <a:gd name="connsiteX180" fmla="*/ 1115754 w 1659478"/>
                    <a:gd name="connsiteY180" fmla="*/ 223503 h 1461099"/>
                    <a:gd name="connsiteX181" fmla="*/ 1117430 w 1659478"/>
                    <a:gd name="connsiteY181" fmla="*/ 225652 h 1461099"/>
                    <a:gd name="connsiteX182" fmla="*/ 1118061 w 1659478"/>
                    <a:gd name="connsiteY182" fmla="*/ 227000 h 1461099"/>
                    <a:gd name="connsiteX183" fmla="*/ 1118243 w 1659478"/>
                    <a:gd name="connsiteY183" fmla="*/ 228154 h 1461099"/>
                    <a:gd name="connsiteX184" fmla="*/ 1117830 w 1659478"/>
                    <a:gd name="connsiteY184" fmla="*/ 229586 h 1461099"/>
                    <a:gd name="connsiteX185" fmla="*/ 1117770 w 1659478"/>
                    <a:gd name="connsiteY185" fmla="*/ 231335 h 1461099"/>
                    <a:gd name="connsiteX186" fmla="*/ 1117940 w 1659478"/>
                    <a:gd name="connsiteY186" fmla="*/ 233205 h 1461099"/>
                    <a:gd name="connsiteX187" fmla="*/ 1118923 w 1659478"/>
                    <a:gd name="connsiteY187" fmla="*/ 235439 h 1461099"/>
                    <a:gd name="connsiteX188" fmla="*/ 1120526 w 1659478"/>
                    <a:gd name="connsiteY188" fmla="*/ 237880 h 1461099"/>
                    <a:gd name="connsiteX189" fmla="*/ 1123744 w 1659478"/>
                    <a:gd name="connsiteY189" fmla="*/ 241851 h 1461099"/>
                    <a:gd name="connsiteX190" fmla="*/ 1129026 w 1659478"/>
                    <a:gd name="connsiteY190" fmla="*/ 249974 h 1461099"/>
                    <a:gd name="connsiteX191" fmla="*/ 1130629 w 1659478"/>
                    <a:gd name="connsiteY191" fmla="*/ 251213 h 1461099"/>
                    <a:gd name="connsiteX192" fmla="*/ 1138607 w 1659478"/>
                    <a:gd name="connsiteY192" fmla="*/ 254042 h 1461099"/>
                    <a:gd name="connsiteX193" fmla="*/ 1139991 w 1659478"/>
                    <a:gd name="connsiteY193" fmla="*/ 254747 h 1461099"/>
                    <a:gd name="connsiteX194" fmla="*/ 1140853 w 1659478"/>
                    <a:gd name="connsiteY194" fmla="*/ 255572 h 1461099"/>
                    <a:gd name="connsiteX195" fmla="*/ 1141545 w 1659478"/>
                    <a:gd name="connsiteY195" fmla="*/ 257127 h 1461099"/>
                    <a:gd name="connsiteX196" fmla="*/ 1142055 w 1659478"/>
                    <a:gd name="connsiteY196" fmla="*/ 259361 h 1461099"/>
                    <a:gd name="connsiteX197" fmla="*/ 1141958 w 1659478"/>
                    <a:gd name="connsiteY197" fmla="*/ 261680 h 1461099"/>
                    <a:gd name="connsiteX198" fmla="*/ 1141084 w 1659478"/>
                    <a:gd name="connsiteY198" fmla="*/ 263526 h 1461099"/>
                    <a:gd name="connsiteX199" fmla="*/ 1139481 w 1659478"/>
                    <a:gd name="connsiteY199" fmla="*/ 264789 h 1461099"/>
                    <a:gd name="connsiteX200" fmla="*/ 1137065 w 1659478"/>
                    <a:gd name="connsiteY200" fmla="*/ 266307 h 1461099"/>
                    <a:gd name="connsiteX201" fmla="*/ 1136033 w 1659478"/>
                    <a:gd name="connsiteY201" fmla="*/ 267193 h 1461099"/>
                    <a:gd name="connsiteX202" fmla="*/ 1135632 w 1659478"/>
                    <a:gd name="connsiteY202" fmla="*/ 268517 h 1461099"/>
                    <a:gd name="connsiteX203" fmla="*/ 1135413 w 1659478"/>
                    <a:gd name="connsiteY203" fmla="*/ 269780 h 1461099"/>
                    <a:gd name="connsiteX204" fmla="*/ 1136664 w 1659478"/>
                    <a:gd name="connsiteY204" fmla="*/ 273799 h 1461099"/>
                    <a:gd name="connsiteX205" fmla="*/ 1138279 w 1659478"/>
                    <a:gd name="connsiteY205" fmla="*/ 279749 h 1461099"/>
                    <a:gd name="connsiteX206" fmla="*/ 1139360 w 1659478"/>
                    <a:gd name="connsiteY206" fmla="*/ 283222 h 1461099"/>
                    <a:gd name="connsiteX207" fmla="*/ 1142748 w 1659478"/>
                    <a:gd name="connsiteY207" fmla="*/ 288613 h 1461099"/>
                    <a:gd name="connsiteX208" fmla="*/ 1143270 w 1659478"/>
                    <a:gd name="connsiteY208" fmla="*/ 291515 h 1461099"/>
                    <a:gd name="connsiteX209" fmla="*/ 1142991 w 1659478"/>
                    <a:gd name="connsiteY209" fmla="*/ 294733 h 1461099"/>
                    <a:gd name="connsiteX210" fmla="*/ 1143671 w 1659478"/>
                    <a:gd name="connsiteY210" fmla="*/ 297174 h 1461099"/>
                    <a:gd name="connsiteX211" fmla="*/ 1147411 w 1659478"/>
                    <a:gd name="connsiteY211" fmla="*/ 304982 h 1461099"/>
                    <a:gd name="connsiteX212" fmla="*/ 1153033 w 1659478"/>
                    <a:gd name="connsiteY212" fmla="*/ 322468 h 1461099"/>
                    <a:gd name="connsiteX213" fmla="*/ 1155559 w 1659478"/>
                    <a:gd name="connsiteY213" fmla="*/ 327689 h 1461099"/>
                    <a:gd name="connsiteX214" fmla="*/ 1158716 w 1659478"/>
                    <a:gd name="connsiteY214" fmla="*/ 332061 h 1461099"/>
                    <a:gd name="connsiteX215" fmla="*/ 1161290 w 1659478"/>
                    <a:gd name="connsiteY215" fmla="*/ 334817 h 1461099"/>
                    <a:gd name="connsiteX216" fmla="*/ 1166014 w 1659478"/>
                    <a:gd name="connsiteY216" fmla="*/ 341447 h 1461099"/>
                    <a:gd name="connsiteX217" fmla="*/ 1167386 w 1659478"/>
                    <a:gd name="connsiteY217" fmla="*/ 343026 h 1461099"/>
                    <a:gd name="connsiteX218" fmla="*/ 1168309 w 1659478"/>
                    <a:gd name="connsiteY218" fmla="*/ 343621 h 1461099"/>
                    <a:gd name="connsiteX219" fmla="*/ 1170373 w 1659478"/>
                    <a:gd name="connsiteY219" fmla="*/ 345491 h 1461099"/>
                    <a:gd name="connsiteX220" fmla="*/ 1175254 w 1659478"/>
                    <a:gd name="connsiteY220" fmla="*/ 352534 h 1461099"/>
                    <a:gd name="connsiteX221" fmla="*/ 1183694 w 1659478"/>
                    <a:gd name="connsiteY221" fmla="*/ 359249 h 1461099"/>
                    <a:gd name="connsiteX222" fmla="*/ 1187422 w 1659478"/>
                    <a:gd name="connsiteY222" fmla="*/ 361082 h 1461099"/>
                    <a:gd name="connsiteX223" fmla="*/ 1189267 w 1659478"/>
                    <a:gd name="connsiteY223" fmla="*/ 362867 h 1461099"/>
                    <a:gd name="connsiteX224" fmla="*/ 1189498 w 1659478"/>
                    <a:gd name="connsiteY224" fmla="*/ 364240 h 1461099"/>
                    <a:gd name="connsiteX225" fmla="*/ 1188854 w 1659478"/>
                    <a:gd name="connsiteY225" fmla="*/ 365757 h 1461099"/>
                    <a:gd name="connsiteX226" fmla="*/ 1188405 w 1659478"/>
                    <a:gd name="connsiteY226" fmla="*/ 367834 h 1461099"/>
                    <a:gd name="connsiteX227" fmla="*/ 1189207 w 1659478"/>
                    <a:gd name="connsiteY227" fmla="*/ 370445 h 1461099"/>
                    <a:gd name="connsiteX228" fmla="*/ 1190870 w 1659478"/>
                    <a:gd name="connsiteY228" fmla="*/ 371307 h 1461099"/>
                    <a:gd name="connsiteX229" fmla="*/ 1192643 w 1659478"/>
                    <a:gd name="connsiteY229" fmla="*/ 371137 h 1461099"/>
                    <a:gd name="connsiteX230" fmla="*/ 1194197 w 1659478"/>
                    <a:gd name="connsiteY230" fmla="*/ 370360 h 1461099"/>
                    <a:gd name="connsiteX231" fmla="*/ 1195521 w 1659478"/>
                    <a:gd name="connsiteY231" fmla="*/ 370360 h 1461099"/>
                    <a:gd name="connsiteX232" fmla="*/ 1197694 w 1659478"/>
                    <a:gd name="connsiteY232" fmla="*/ 370785 h 1461099"/>
                    <a:gd name="connsiteX233" fmla="*/ 1200694 w 1659478"/>
                    <a:gd name="connsiteY233" fmla="*/ 373116 h 1461099"/>
                    <a:gd name="connsiteX234" fmla="*/ 1205332 w 1659478"/>
                    <a:gd name="connsiteY234" fmla="*/ 374828 h 1461099"/>
                    <a:gd name="connsiteX235" fmla="*/ 1208101 w 1659478"/>
                    <a:gd name="connsiteY235" fmla="*/ 375447 h 1461099"/>
                    <a:gd name="connsiteX236" fmla="*/ 1210627 w 1659478"/>
                    <a:gd name="connsiteY236" fmla="*/ 376273 h 1461099"/>
                    <a:gd name="connsiteX237" fmla="*/ 1215277 w 1659478"/>
                    <a:gd name="connsiteY237" fmla="*/ 380183 h 1461099"/>
                    <a:gd name="connsiteX238" fmla="*/ 1223887 w 1659478"/>
                    <a:gd name="connsiteY238" fmla="*/ 388562 h 1461099"/>
                    <a:gd name="connsiteX239" fmla="*/ 1236685 w 1659478"/>
                    <a:gd name="connsiteY239" fmla="*/ 405064 h 1461099"/>
                    <a:gd name="connsiteX240" fmla="*/ 1239163 w 1659478"/>
                    <a:gd name="connsiteY240" fmla="*/ 409205 h 1461099"/>
                    <a:gd name="connsiteX241" fmla="*/ 1240765 w 1659478"/>
                    <a:gd name="connsiteY241" fmla="*/ 413370 h 1461099"/>
                    <a:gd name="connsiteX242" fmla="*/ 1241749 w 1659478"/>
                    <a:gd name="connsiteY242" fmla="*/ 414511 h 1461099"/>
                    <a:gd name="connsiteX243" fmla="*/ 1243753 w 1659478"/>
                    <a:gd name="connsiteY243" fmla="*/ 416551 h 1461099"/>
                    <a:gd name="connsiteX244" fmla="*/ 1245076 w 1659478"/>
                    <a:gd name="connsiteY244" fmla="*/ 418591 h 1461099"/>
                    <a:gd name="connsiteX245" fmla="*/ 1247092 w 1659478"/>
                    <a:gd name="connsiteY245" fmla="*/ 422866 h 1461099"/>
                    <a:gd name="connsiteX246" fmla="*/ 1246910 w 1659478"/>
                    <a:gd name="connsiteY246" fmla="*/ 425112 h 1461099"/>
                    <a:gd name="connsiteX247" fmla="*/ 1245659 w 1659478"/>
                    <a:gd name="connsiteY247" fmla="*/ 426108 h 1461099"/>
                    <a:gd name="connsiteX248" fmla="*/ 1243753 w 1659478"/>
                    <a:gd name="connsiteY248" fmla="*/ 425391 h 1461099"/>
                    <a:gd name="connsiteX249" fmla="*/ 1242028 w 1659478"/>
                    <a:gd name="connsiteY249" fmla="*/ 423958 h 1461099"/>
                    <a:gd name="connsiteX250" fmla="*/ 1239163 w 1659478"/>
                    <a:gd name="connsiteY250" fmla="*/ 420656 h 1461099"/>
                    <a:gd name="connsiteX251" fmla="*/ 1237900 w 1659478"/>
                    <a:gd name="connsiteY251" fmla="*/ 420170 h 1461099"/>
                    <a:gd name="connsiteX252" fmla="*/ 1236625 w 1659478"/>
                    <a:gd name="connsiteY252" fmla="*/ 420741 h 1461099"/>
                    <a:gd name="connsiteX253" fmla="*/ 1235435 w 1659478"/>
                    <a:gd name="connsiteY253" fmla="*/ 422149 h 1461099"/>
                    <a:gd name="connsiteX254" fmla="*/ 1233431 w 1659478"/>
                    <a:gd name="connsiteY254" fmla="*/ 425622 h 1461099"/>
                    <a:gd name="connsiteX255" fmla="*/ 1231986 w 1659478"/>
                    <a:gd name="connsiteY255" fmla="*/ 426921 h 1461099"/>
                    <a:gd name="connsiteX256" fmla="*/ 1230772 w 1659478"/>
                    <a:gd name="connsiteY256" fmla="*/ 427662 h 1461099"/>
                    <a:gd name="connsiteX257" fmla="*/ 1226765 w 1659478"/>
                    <a:gd name="connsiteY257" fmla="*/ 429046 h 1461099"/>
                    <a:gd name="connsiteX258" fmla="*/ 1224628 w 1659478"/>
                    <a:gd name="connsiteY258" fmla="*/ 429994 h 1461099"/>
                    <a:gd name="connsiteX259" fmla="*/ 1222915 w 1659478"/>
                    <a:gd name="connsiteY259" fmla="*/ 431135 h 1461099"/>
                    <a:gd name="connsiteX260" fmla="*/ 1221701 w 1659478"/>
                    <a:gd name="connsiteY260" fmla="*/ 432313 h 1461099"/>
                    <a:gd name="connsiteX261" fmla="*/ 1220851 w 1659478"/>
                    <a:gd name="connsiteY261" fmla="*/ 434414 h 1461099"/>
                    <a:gd name="connsiteX262" fmla="*/ 1221130 w 1659478"/>
                    <a:gd name="connsiteY262" fmla="*/ 435956 h 1461099"/>
                    <a:gd name="connsiteX263" fmla="*/ 1222162 w 1659478"/>
                    <a:gd name="connsiteY263" fmla="*/ 437364 h 1461099"/>
                    <a:gd name="connsiteX264" fmla="*/ 1226874 w 1659478"/>
                    <a:gd name="connsiteY264" fmla="*/ 440728 h 1461099"/>
                    <a:gd name="connsiteX265" fmla="*/ 1227906 w 1659478"/>
                    <a:gd name="connsiteY265" fmla="*/ 441068 h 1461099"/>
                    <a:gd name="connsiteX266" fmla="*/ 1229048 w 1659478"/>
                    <a:gd name="connsiteY266" fmla="*/ 440679 h 1461099"/>
                    <a:gd name="connsiteX267" fmla="*/ 1229983 w 1659478"/>
                    <a:gd name="connsiteY267" fmla="*/ 439841 h 1461099"/>
                    <a:gd name="connsiteX268" fmla="*/ 1231573 w 1659478"/>
                    <a:gd name="connsiteY268" fmla="*/ 437631 h 1461099"/>
                    <a:gd name="connsiteX269" fmla="*/ 1232205 w 1659478"/>
                    <a:gd name="connsiteY269" fmla="*/ 436964 h 1461099"/>
                    <a:gd name="connsiteX270" fmla="*/ 1233310 w 1659478"/>
                    <a:gd name="connsiteY270" fmla="*/ 436308 h 1461099"/>
                    <a:gd name="connsiteX271" fmla="*/ 1234621 w 1659478"/>
                    <a:gd name="connsiteY271" fmla="*/ 435907 h 1461099"/>
                    <a:gd name="connsiteX272" fmla="*/ 1236066 w 1659478"/>
                    <a:gd name="connsiteY272" fmla="*/ 436284 h 1461099"/>
                    <a:gd name="connsiteX273" fmla="*/ 1237438 w 1659478"/>
                    <a:gd name="connsiteY273" fmla="*/ 437571 h 1461099"/>
                    <a:gd name="connsiteX274" fmla="*/ 1237620 w 1659478"/>
                    <a:gd name="connsiteY274" fmla="*/ 439574 h 1461099"/>
                    <a:gd name="connsiteX275" fmla="*/ 1236807 w 1659478"/>
                    <a:gd name="connsiteY275" fmla="*/ 441457 h 1461099"/>
                    <a:gd name="connsiteX276" fmla="*/ 1234002 w 1659478"/>
                    <a:gd name="connsiteY276" fmla="*/ 444954 h 1461099"/>
                    <a:gd name="connsiteX277" fmla="*/ 1230444 w 1659478"/>
                    <a:gd name="connsiteY277" fmla="*/ 448026 h 1461099"/>
                    <a:gd name="connsiteX278" fmla="*/ 1229691 w 1659478"/>
                    <a:gd name="connsiteY278" fmla="*/ 449689 h 1461099"/>
                    <a:gd name="connsiteX279" fmla="*/ 1229169 w 1659478"/>
                    <a:gd name="connsiteY279" fmla="*/ 452749 h 1461099"/>
                    <a:gd name="connsiteX280" fmla="*/ 1228586 w 1659478"/>
                    <a:gd name="connsiteY280" fmla="*/ 454219 h 1461099"/>
                    <a:gd name="connsiteX281" fmla="*/ 1227457 w 1659478"/>
                    <a:gd name="connsiteY281" fmla="*/ 455433 h 1461099"/>
                    <a:gd name="connsiteX282" fmla="*/ 1226522 w 1659478"/>
                    <a:gd name="connsiteY282" fmla="*/ 456198 h 1461099"/>
                    <a:gd name="connsiteX283" fmla="*/ 1225720 w 1659478"/>
                    <a:gd name="connsiteY283" fmla="*/ 457522 h 1461099"/>
                    <a:gd name="connsiteX284" fmla="*/ 1225502 w 1659478"/>
                    <a:gd name="connsiteY284" fmla="*/ 458044 h 1461099"/>
                    <a:gd name="connsiteX285" fmla="*/ 1225441 w 1659478"/>
                    <a:gd name="connsiteY285" fmla="*/ 458360 h 1461099"/>
                    <a:gd name="connsiteX286" fmla="*/ 1227275 w 1659478"/>
                    <a:gd name="connsiteY286" fmla="*/ 459622 h 1461099"/>
                    <a:gd name="connsiteX287" fmla="*/ 1228428 w 1659478"/>
                    <a:gd name="connsiteY287" fmla="*/ 460740 h 1461099"/>
                    <a:gd name="connsiteX288" fmla="*/ 1229400 w 1659478"/>
                    <a:gd name="connsiteY288" fmla="*/ 462828 h 1461099"/>
                    <a:gd name="connsiteX289" fmla="*/ 1229169 w 1659478"/>
                    <a:gd name="connsiteY289" fmla="*/ 464261 h 1461099"/>
                    <a:gd name="connsiteX290" fmla="*/ 1227396 w 1659478"/>
                    <a:gd name="connsiteY290" fmla="*/ 465815 h 1461099"/>
                    <a:gd name="connsiteX291" fmla="*/ 1226765 w 1659478"/>
                    <a:gd name="connsiteY291" fmla="*/ 466860 h 1461099"/>
                    <a:gd name="connsiteX292" fmla="*/ 1225781 w 1659478"/>
                    <a:gd name="connsiteY292" fmla="*/ 467515 h 1461099"/>
                    <a:gd name="connsiteX293" fmla="*/ 1224057 w 1659478"/>
                    <a:gd name="connsiteY293" fmla="*/ 467940 h 1461099"/>
                    <a:gd name="connsiteX294" fmla="*/ 1219758 w 1659478"/>
                    <a:gd name="connsiteY294" fmla="*/ 467285 h 1461099"/>
                    <a:gd name="connsiteX295" fmla="*/ 1219005 w 1659478"/>
                    <a:gd name="connsiteY295" fmla="*/ 467746 h 1461099"/>
                    <a:gd name="connsiteX296" fmla="*/ 1217973 w 1659478"/>
                    <a:gd name="connsiteY296" fmla="*/ 470964 h 1461099"/>
                    <a:gd name="connsiteX297" fmla="*/ 1218945 w 1659478"/>
                    <a:gd name="connsiteY297" fmla="*/ 474922 h 1461099"/>
                    <a:gd name="connsiteX298" fmla="*/ 1224931 w 1659478"/>
                    <a:gd name="connsiteY298" fmla="*/ 478456 h 1461099"/>
                    <a:gd name="connsiteX299" fmla="*/ 1226012 w 1659478"/>
                    <a:gd name="connsiteY299" fmla="*/ 479658 h 1461099"/>
                    <a:gd name="connsiteX300" fmla="*/ 1226813 w 1659478"/>
                    <a:gd name="connsiteY300" fmla="*/ 480897 h 1461099"/>
                    <a:gd name="connsiteX301" fmla="*/ 1226935 w 1659478"/>
                    <a:gd name="connsiteY301" fmla="*/ 482585 h 1461099"/>
                    <a:gd name="connsiteX302" fmla="*/ 1227214 w 1659478"/>
                    <a:gd name="connsiteY302" fmla="*/ 484540 h 1461099"/>
                    <a:gd name="connsiteX303" fmla="*/ 1228076 w 1659478"/>
                    <a:gd name="connsiteY303" fmla="*/ 487502 h 1461099"/>
                    <a:gd name="connsiteX304" fmla="*/ 1229460 w 1659478"/>
                    <a:gd name="connsiteY304" fmla="*/ 489130 h 1461099"/>
                    <a:gd name="connsiteX305" fmla="*/ 1231816 w 1659478"/>
                    <a:gd name="connsiteY305" fmla="*/ 490198 h 1461099"/>
                    <a:gd name="connsiteX306" fmla="*/ 1249108 w 1659478"/>
                    <a:gd name="connsiteY306" fmla="*/ 487842 h 1461099"/>
                    <a:gd name="connsiteX307" fmla="*/ 1254378 w 1659478"/>
                    <a:gd name="connsiteY307" fmla="*/ 488328 h 1461099"/>
                    <a:gd name="connsiteX308" fmla="*/ 1258628 w 1659478"/>
                    <a:gd name="connsiteY308" fmla="*/ 492578 h 1461099"/>
                    <a:gd name="connsiteX309" fmla="*/ 1265404 w 1659478"/>
                    <a:gd name="connsiteY309" fmla="*/ 497290 h 1461099"/>
                    <a:gd name="connsiteX310" fmla="*/ 1271038 w 1659478"/>
                    <a:gd name="connsiteY310" fmla="*/ 493295 h 1461099"/>
                    <a:gd name="connsiteX311" fmla="*/ 1271779 w 1659478"/>
                    <a:gd name="connsiteY311" fmla="*/ 491825 h 1461099"/>
                    <a:gd name="connsiteX312" fmla="*/ 1272119 w 1659478"/>
                    <a:gd name="connsiteY312" fmla="*/ 490429 h 1461099"/>
                    <a:gd name="connsiteX313" fmla="*/ 1271439 w 1659478"/>
                    <a:gd name="connsiteY313" fmla="*/ 489275 h 1461099"/>
                    <a:gd name="connsiteX314" fmla="*/ 1270807 w 1659478"/>
                    <a:gd name="connsiteY314" fmla="*/ 487806 h 1461099"/>
                    <a:gd name="connsiteX315" fmla="*/ 1270346 w 1659478"/>
                    <a:gd name="connsiteY315" fmla="*/ 485802 h 1461099"/>
                    <a:gd name="connsiteX316" fmla="*/ 1270054 w 1659478"/>
                    <a:gd name="connsiteY316" fmla="*/ 483022 h 1461099"/>
                    <a:gd name="connsiteX317" fmla="*/ 1269593 w 1659478"/>
                    <a:gd name="connsiteY317" fmla="*/ 481492 h 1461099"/>
                    <a:gd name="connsiteX318" fmla="*/ 1268961 w 1659478"/>
                    <a:gd name="connsiteY318" fmla="*/ 480581 h 1461099"/>
                    <a:gd name="connsiteX319" fmla="*/ 1266666 w 1659478"/>
                    <a:gd name="connsiteY319" fmla="*/ 478917 h 1461099"/>
                    <a:gd name="connsiteX320" fmla="*/ 1265574 w 1659478"/>
                    <a:gd name="connsiteY320" fmla="*/ 476647 h 1461099"/>
                    <a:gd name="connsiteX321" fmla="*/ 1265513 w 1659478"/>
                    <a:gd name="connsiteY321" fmla="*/ 473951 h 1461099"/>
                    <a:gd name="connsiteX322" fmla="*/ 1265756 w 1659478"/>
                    <a:gd name="connsiteY322" fmla="*/ 469786 h 1461099"/>
                    <a:gd name="connsiteX323" fmla="*/ 1265404 w 1659478"/>
                    <a:gd name="connsiteY323" fmla="*/ 466920 h 1461099"/>
                    <a:gd name="connsiteX324" fmla="*/ 1262878 w 1659478"/>
                    <a:gd name="connsiteY324" fmla="*/ 460023 h 1461099"/>
                    <a:gd name="connsiteX325" fmla="*/ 1261384 w 1659478"/>
                    <a:gd name="connsiteY325" fmla="*/ 454304 h 1461099"/>
                    <a:gd name="connsiteX326" fmla="*/ 1261336 w 1659478"/>
                    <a:gd name="connsiteY326" fmla="*/ 451523 h 1461099"/>
                    <a:gd name="connsiteX327" fmla="*/ 1261724 w 1659478"/>
                    <a:gd name="connsiteY327" fmla="*/ 449313 h 1461099"/>
                    <a:gd name="connsiteX328" fmla="*/ 1262428 w 1659478"/>
                    <a:gd name="connsiteY328" fmla="*/ 446557 h 1461099"/>
                    <a:gd name="connsiteX329" fmla="*/ 1263048 w 1659478"/>
                    <a:gd name="connsiteY329" fmla="*/ 445087 h 1461099"/>
                    <a:gd name="connsiteX330" fmla="*/ 1263679 w 1659478"/>
                    <a:gd name="connsiteY330" fmla="*/ 444092 h 1461099"/>
                    <a:gd name="connsiteX331" fmla="*/ 1264651 w 1659478"/>
                    <a:gd name="connsiteY331" fmla="*/ 443509 h 1461099"/>
                    <a:gd name="connsiteX332" fmla="*/ 1265756 w 1659478"/>
                    <a:gd name="connsiteY332" fmla="*/ 443254 h 1461099"/>
                    <a:gd name="connsiteX333" fmla="*/ 1266836 w 1659478"/>
                    <a:gd name="connsiteY333" fmla="*/ 443193 h 1461099"/>
                    <a:gd name="connsiteX334" fmla="*/ 1270868 w 1659478"/>
                    <a:gd name="connsiteY334" fmla="*/ 444286 h 1461099"/>
                    <a:gd name="connsiteX335" fmla="*/ 1272301 w 1659478"/>
                    <a:gd name="connsiteY335" fmla="*/ 444456 h 1461099"/>
                    <a:gd name="connsiteX336" fmla="*/ 1274025 w 1659478"/>
                    <a:gd name="connsiteY336" fmla="*/ 444286 h 1461099"/>
                    <a:gd name="connsiteX337" fmla="*/ 1275276 w 1659478"/>
                    <a:gd name="connsiteY337" fmla="*/ 443885 h 1461099"/>
                    <a:gd name="connsiteX338" fmla="*/ 1277170 w 1659478"/>
                    <a:gd name="connsiteY338" fmla="*/ 442561 h 1461099"/>
                    <a:gd name="connsiteX339" fmla="*/ 1278141 w 1659478"/>
                    <a:gd name="connsiteY339" fmla="*/ 442112 h 1461099"/>
                    <a:gd name="connsiteX340" fmla="*/ 1279416 w 1659478"/>
                    <a:gd name="connsiteY340" fmla="*/ 442015 h 1461099"/>
                    <a:gd name="connsiteX341" fmla="*/ 1281821 w 1659478"/>
                    <a:gd name="connsiteY341" fmla="*/ 442561 h 1461099"/>
                    <a:gd name="connsiteX342" fmla="*/ 1288949 w 1659478"/>
                    <a:gd name="connsiteY342" fmla="*/ 448390 h 1461099"/>
                    <a:gd name="connsiteX343" fmla="*/ 1291474 w 1659478"/>
                    <a:gd name="connsiteY343" fmla="*/ 448390 h 1461099"/>
                    <a:gd name="connsiteX344" fmla="*/ 1294231 w 1659478"/>
                    <a:gd name="connsiteY344" fmla="*/ 447795 h 1461099"/>
                    <a:gd name="connsiteX345" fmla="*/ 1296186 w 1659478"/>
                    <a:gd name="connsiteY345" fmla="*/ 445403 h 1461099"/>
                    <a:gd name="connsiteX346" fmla="*/ 1296817 w 1659478"/>
                    <a:gd name="connsiteY346" fmla="*/ 442914 h 1461099"/>
                    <a:gd name="connsiteX347" fmla="*/ 1296307 w 1659478"/>
                    <a:gd name="connsiteY347" fmla="*/ 440874 h 1461099"/>
                    <a:gd name="connsiteX348" fmla="*/ 1294923 w 1659478"/>
                    <a:gd name="connsiteY348" fmla="*/ 439319 h 1461099"/>
                    <a:gd name="connsiteX349" fmla="*/ 1293308 w 1659478"/>
                    <a:gd name="connsiteY349" fmla="*/ 438457 h 1461099"/>
                    <a:gd name="connsiteX350" fmla="*/ 1290442 w 1659478"/>
                    <a:gd name="connsiteY350" fmla="*/ 437340 h 1461099"/>
                    <a:gd name="connsiteX351" fmla="*/ 1289349 w 1659478"/>
                    <a:gd name="connsiteY351" fmla="*/ 436308 h 1461099"/>
                    <a:gd name="connsiteX352" fmla="*/ 1288888 w 1659478"/>
                    <a:gd name="connsiteY352" fmla="*/ 434438 h 1461099"/>
                    <a:gd name="connsiteX353" fmla="*/ 1289799 w 1659478"/>
                    <a:gd name="connsiteY353" fmla="*/ 433406 h 1461099"/>
                    <a:gd name="connsiteX354" fmla="*/ 1291013 w 1659478"/>
                    <a:gd name="connsiteY354" fmla="*/ 432871 h 1461099"/>
                    <a:gd name="connsiteX355" fmla="*/ 1294449 w 1659478"/>
                    <a:gd name="connsiteY355" fmla="*/ 432167 h 1461099"/>
                    <a:gd name="connsiteX356" fmla="*/ 1295324 w 1659478"/>
                    <a:gd name="connsiteY356" fmla="*/ 431366 h 1461099"/>
                    <a:gd name="connsiteX357" fmla="*/ 1295724 w 1659478"/>
                    <a:gd name="connsiteY357" fmla="*/ 429933 h 1461099"/>
                    <a:gd name="connsiteX358" fmla="*/ 1295154 w 1659478"/>
                    <a:gd name="connsiteY358" fmla="*/ 428561 h 1461099"/>
                    <a:gd name="connsiteX359" fmla="*/ 1293939 w 1659478"/>
                    <a:gd name="connsiteY359" fmla="*/ 427577 h 1461099"/>
                    <a:gd name="connsiteX360" fmla="*/ 1290734 w 1659478"/>
                    <a:gd name="connsiteY360" fmla="*/ 425853 h 1461099"/>
                    <a:gd name="connsiteX361" fmla="*/ 1289179 w 1659478"/>
                    <a:gd name="connsiteY361" fmla="*/ 424420 h 1461099"/>
                    <a:gd name="connsiteX362" fmla="*/ 1287965 w 1659478"/>
                    <a:gd name="connsiteY362" fmla="*/ 422501 h 1461099"/>
                    <a:gd name="connsiteX363" fmla="*/ 1287576 w 1659478"/>
                    <a:gd name="connsiteY363" fmla="*/ 419247 h 1461099"/>
                    <a:gd name="connsiteX364" fmla="*/ 1288548 w 1659478"/>
                    <a:gd name="connsiteY364" fmla="*/ 417875 h 1461099"/>
                    <a:gd name="connsiteX365" fmla="*/ 1289702 w 1659478"/>
                    <a:gd name="connsiteY365" fmla="*/ 417498 h 1461099"/>
                    <a:gd name="connsiteX366" fmla="*/ 1291875 w 1659478"/>
                    <a:gd name="connsiteY366" fmla="*/ 418470 h 1461099"/>
                    <a:gd name="connsiteX367" fmla="*/ 1294122 w 1659478"/>
                    <a:gd name="connsiteY367" fmla="*/ 419198 h 1461099"/>
                    <a:gd name="connsiteX368" fmla="*/ 1295324 w 1659478"/>
                    <a:gd name="connsiteY368" fmla="*/ 419939 h 1461099"/>
                    <a:gd name="connsiteX369" fmla="*/ 1296247 w 1659478"/>
                    <a:gd name="connsiteY369" fmla="*/ 420911 h 1461099"/>
                    <a:gd name="connsiteX370" fmla="*/ 1296927 w 1659478"/>
                    <a:gd name="connsiteY370" fmla="*/ 422149 h 1461099"/>
                    <a:gd name="connsiteX371" fmla="*/ 1297437 w 1659478"/>
                    <a:gd name="connsiteY371" fmla="*/ 423509 h 1461099"/>
                    <a:gd name="connsiteX372" fmla="*/ 1298080 w 1659478"/>
                    <a:gd name="connsiteY372" fmla="*/ 424651 h 1461099"/>
                    <a:gd name="connsiteX373" fmla="*/ 1298833 w 1659478"/>
                    <a:gd name="connsiteY373" fmla="*/ 425561 h 1461099"/>
                    <a:gd name="connsiteX374" fmla="*/ 1299865 w 1659478"/>
                    <a:gd name="connsiteY374" fmla="*/ 426290 h 1461099"/>
                    <a:gd name="connsiteX375" fmla="*/ 1300837 w 1659478"/>
                    <a:gd name="connsiteY375" fmla="*/ 426569 h 1461099"/>
                    <a:gd name="connsiteX376" fmla="*/ 1309494 w 1659478"/>
                    <a:gd name="connsiteY376" fmla="*/ 425161 h 1461099"/>
                    <a:gd name="connsiteX377" fmla="*/ 1312894 w 1659478"/>
                    <a:gd name="connsiteY377" fmla="*/ 424165 h 1461099"/>
                    <a:gd name="connsiteX378" fmla="*/ 1315250 w 1659478"/>
                    <a:gd name="connsiteY378" fmla="*/ 424250 h 1461099"/>
                    <a:gd name="connsiteX379" fmla="*/ 1316853 w 1659478"/>
                    <a:gd name="connsiteY379" fmla="*/ 425258 h 1461099"/>
                    <a:gd name="connsiteX380" fmla="*/ 1321625 w 1659478"/>
                    <a:gd name="connsiteY380" fmla="*/ 432143 h 1461099"/>
                    <a:gd name="connsiteX381" fmla="*/ 1322305 w 1659478"/>
                    <a:gd name="connsiteY381" fmla="*/ 433527 h 1461099"/>
                    <a:gd name="connsiteX382" fmla="*/ 1322366 w 1659478"/>
                    <a:gd name="connsiteY382" fmla="*/ 434462 h 1461099"/>
                    <a:gd name="connsiteX383" fmla="*/ 1321795 w 1659478"/>
                    <a:gd name="connsiteY383" fmla="*/ 434790 h 1461099"/>
                    <a:gd name="connsiteX384" fmla="*/ 1320302 w 1659478"/>
                    <a:gd name="connsiteY384" fmla="*/ 434693 h 1461099"/>
                    <a:gd name="connsiteX385" fmla="*/ 1318748 w 1659478"/>
                    <a:gd name="connsiteY385" fmla="*/ 434244 h 1461099"/>
                    <a:gd name="connsiteX386" fmla="*/ 1316574 w 1659478"/>
                    <a:gd name="connsiteY386" fmla="*/ 433430 h 1461099"/>
                    <a:gd name="connsiteX387" fmla="*/ 1315360 w 1659478"/>
                    <a:gd name="connsiteY387" fmla="*/ 433260 h 1461099"/>
                    <a:gd name="connsiteX388" fmla="*/ 1314607 w 1659478"/>
                    <a:gd name="connsiteY388" fmla="*/ 433527 h 1461099"/>
                    <a:gd name="connsiteX389" fmla="*/ 1314327 w 1659478"/>
                    <a:gd name="connsiteY389" fmla="*/ 434559 h 1461099"/>
                    <a:gd name="connsiteX390" fmla="*/ 1314667 w 1659478"/>
                    <a:gd name="connsiteY390" fmla="*/ 435871 h 1461099"/>
                    <a:gd name="connsiteX391" fmla="*/ 1315542 w 1659478"/>
                    <a:gd name="connsiteY391" fmla="*/ 437170 h 1461099"/>
                    <a:gd name="connsiteX392" fmla="*/ 1319901 w 1659478"/>
                    <a:gd name="connsiteY392" fmla="*/ 439744 h 1461099"/>
                    <a:gd name="connsiteX393" fmla="*/ 1320593 w 1659478"/>
                    <a:gd name="connsiteY393" fmla="*/ 440412 h 1461099"/>
                    <a:gd name="connsiteX394" fmla="*/ 1321152 w 1659478"/>
                    <a:gd name="connsiteY394" fmla="*/ 441104 h 1461099"/>
                    <a:gd name="connsiteX395" fmla="*/ 1321115 w 1659478"/>
                    <a:gd name="connsiteY395" fmla="*/ 441651 h 1461099"/>
                    <a:gd name="connsiteX396" fmla="*/ 1320302 w 1659478"/>
                    <a:gd name="connsiteY396" fmla="*/ 442137 h 1461099"/>
                    <a:gd name="connsiteX397" fmla="*/ 1316732 w 1659478"/>
                    <a:gd name="connsiteY397" fmla="*/ 443229 h 1461099"/>
                    <a:gd name="connsiteX398" fmla="*/ 1315590 w 1659478"/>
                    <a:gd name="connsiteY398" fmla="*/ 444031 h 1461099"/>
                    <a:gd name="connsiteX399" fmla="*/ 1315360 w 1659478"/>
                    <a:gd name="connsiteY399" fmla="*/ 445172 h 1461099"/>
                    <a:gd name="connsiteX400" fmla="*/ 1316161 w 1659478"/>
                    <a:gd name="connsiteY400" fmla="*/ 446277 h 1461099"/>
                    <a:gd name="connsiteX401" fmla="*/ 1323119 w 1659478"/>
                    <a:gd name="connsiteY401" fmla="*/ 449459 h 1461099"/>
                    <a:gd name="connsiteX402" fmla="*/ 1324952 w 1659478"/>
                    <a:gd name="connsiteY402" fmla="*/ 449689 h 1461099"/>
                    <a:gd name="connsiteX403" fmla="*/ 1327478 w 1659478"/>
                    <a:gd name="connsiteY403" fmla="*/ 449544 h 1461099"/>
                    <a:gd name="connsiteX404" fmla="*/ 1328693 w 1659478"/>
                    <a:gd name="connsiteY404" fmla="*/ 449750 h 1461099"/>
                    <a:gd name="connsiteX405" fmla="*/ 1329664 w 1659478"/>
                    <a:gd name="connsiteY405" fmla="*/ 450527 h 1461099"/>
                    <a:gd name="connsiteX406" fmla="*/ 1330405 w 1659478"/>
                    <a:gd name="connsiteY406" fmla="*/ 452264 h 1461099"/>
                    <a:gd name="connsiteX407" fmla="*/ 1332250 w 1659478"/>
                    <a:gd name="connsiteY407" fmla="*/ 459683 h 1461099"/>
                    <a:gd name="connsiteX408" fmla="*/ 1332930 w 1659478"/>
                    <a:gd name="connsiteY408" fmla="*/ 461286 h 1461099"/>
                    <a:gd name="connsiteX409" fmla="*/ 1333793 w 1659478"/>
                    <a:gd name="connsiteY409" fmla="*/ 462609 h 1461099"/>
                    <a:gd name="connsiteX410" fmla="*/ 1335517 w 1659478"/>
                    <a:gd name="connsiteY410" fmla="*/ 464127 h 1461099"/>
                    <a:gd name="connsiteX411" fmla="*/ 1336731 w 1659478"/>
                    <a:gd name="connsiteY411" fmla="*/ 464127 h 1461099"/>
                    <a:gd name="connsiteX412" fmla="*/ 1338225 w 1659478"/>
                    <a:gd name="connsiteY412" fmla="*/ 463095 h 1461099"/>
                    <a:gd name="connsiteX413" fmla="*/ 1341200 w 1659478"/>
                    <a:gd name="connsiteY413" fmla="*/ 459270 h 1461099"/>
                    <a:gd name="connsiteX414" fmla="*/ 1341940 w 1659478"/>
                    <a:gd name="connsiteY414" fmla="*/ 458529 h 1461099"/>
                    <a:gd name="connsiteX415" fmla="*/ 1342572 w 1659478"/>
                    <a:gd name="connsiteY415" fmla="*/ 458104 h 1461099"/>
                    <a:gd name="connsiteX416" fmla="*/ 1344988 w 1659478"/>
                    <a:gd name="connsiteY416" fmla="*/ 457060 h 1461099"/>
                    <a:gd name="connsiteX417" fmla="*/ 1347113 w 1659478"/>
                    <a:gd name="connsiteY417" fmla="*/ 456453 h 1461099"/>
                    <a:gd name="connsiteX418" fmla="*/ 1351193 w 1659478"/>
                    <a:gd name="connsiteY418" fmla="*/ 456064 h 1461099"/>
                    <a:gd name="connsiteX419" fmla="*/ 1353598 w 1659478"/>
                    <a:gd name="connsiteY419" fmla="*/ 455542 h 1461099"/>
                    <a:gd name="connsiteX420" fmla="*/ 1355213 w 1659478"/>
                    <a:gd name="connsiteY420" fmla="*/ 454862 h 1461099"/>
                    <a:gd name="connsiteX421" fmla="*/ 1355504 w 1659478"/>
                    <a:gd name="connsiteY421" fmla="*/ 453988 h 1461099"/>
                    <a:gd name="connsiteX422" fmla="*/ 1355213 w 1659478"/>
                    <a:gd name="connsiteY422" fmla="*/ 452385 h 1461099"/>
                    <a:gd name="connsiteX423" fmla="*/ 1353258 w 1659478"/>
                    <a:gd name="connsiteY423" fmla="*/ 448074 h 1461099"/>
                    <a:gd name="connsiteX424" fmla="*/ 1352565 w 1659478"/>
                    <a:gd name="connsiteY424" fmla="*/ 446180 h 1461099"/>
                    <a:gd name="connsiteX425" fmla="*/ 1352286 w 1659478"/>
                    <a:gd name="connsiteY425" fmla="*/ 444541 h 1461099"/>
                    <a:gd name="connsiteX426" fmla="*/ 1352347 w 1659478"/>
                    <a:gd name="connsiteY426" fmla="*/ 443314 h 1461099"/>
                    <a:gd name="connsiteX427" fmla="*/ 1352626 w 1659478"/>
                    <a:gd name="connsiteY427" fmla="*/ 442112 h 1461099"/>
                    <a:gd name="connsiteX428" fmla="*/ 1353136 w 1659478"/>
                    <a:gd name="connsiteY428" fmla="*/ 440959 h 1461099"/>
                    <a:gd name="connsiteX429" fmla="*/ 1354059 w 1659478"/>
                    <a:gd name="connsiteY429" fmla="*/ 439987 h 1461099"/>
                    <a:gd name="connsiteX430" fmla="*/ 1355553 w 1659478"/>
                    <a:gd name="connsiteY430" fmla="*/ 438749 h 1461099"/>
                    <a:gd name="connsiteX431" fmla="*/ 1358370 w 1659478"/>
                    <a:gd name="connsiteY431" fmla="*/ 437219 h 1461099"/>
                    <a:gd name="connsiteX432" fmla="*/ 1359924 w 1659478"/>
                    <a:gd name="connsiteY432" fmla="*/ 435956 h 1461099"/>
                    <a:gd name="connsiteX433" fmla="*/ 1361867 w 1659478"/>
                    <a:gd name="connsiteY433" fmla="*/ 433867 h 1461099"/>
                    <a:gd name="connsiteX434" fmla="*/ 1363081 w 1659478"/>
                    <a:gd name="connsiteY434" fmla="*/ 433066 h 1461099"/>
                    <a:gd name="connsiteX435" fmla="*/ 1365146 w 1659478"/>
                    <a:gd name="connsiteY435" fmla="*/ 432143 h 1461099"/>
                    <a:gd name="connsiteX436" fmla="*/ 1368655 w 1659478"/>
                    <a:gd name="connsiteY436" fmla="*/ 429496 h 1461099"/>
                    <a:gd name="connsiteX437" fmla="*/ 1369966 w 1659478"/>
                    <a:gd name="connsiteY437" fmla="*/ 428294 h 1461099"/>
                    <a:gd name="connsiteX438" fmla="*/ 1373986 w 1659478"/>
                    <a:gd name="connsiteY438" fmla="*/ 425877 h 1461099"/>
                    <a:gd name="connsiteX439" fmla="*/ 1378649 w 1659478"/>
                    <a:gd name="connsiteY439" fmla="*/ 420401 h 1461099"/>
                    <a:gd name="connsiteX440" fmla="*/ 1379899 w 1659478"/>
                    <a:gd name="connsiteY440" fmla="*/ 417183 h 1461099"/>
                    <a:gd name="connsiteX441" fmla="*/ 1381162 w 1659478"/>
                    <a:gd name="connsiteY441" fmla="*/ 415349 h 1461099"/>
                    <a:gd name="connsiteX442" fmla="*/ 1382607 w 1659478"/>
                    <a:gd name="connsiteY442" fmla="*/ 413831 h 1461099"/>
                    <a:gd name="connsiteX443" fmla="*/ 1386554 w 1659478"/>
                    <a:gd name="connsiteY443" fmla="*/ 411439 h 1461099"/>
                    <a:gd name="connsiteX444" fmla="*/ 1388108 w 1659478"/>
                    <a:gd name="connsiteY444" fmla="*/ 410917 h 1461099"/>
                    <a:gd name="connsiteX445" fmla="*/ 1389844 w 1659478"/>
                    <a:gd name="connsiteY445" fmla="*/ 410820 h 1461099"/>
                    <a:gd name="connsiteX446" fmla="*/ 1391156 w 1659478"/>
                    <a:gd name="connsiteY446" fmla="*/ 411148 h 1461099"/>
                    <a:gd name="connsiteX447" fmla="*/ 1392467 w 1659478"/>
                    <a:gd name="connsiteY447" fmla="*/ 411816 h 1461099"/>
                    <a:gd name="connsiteX448" fmla="*/ 1393864 w 1659478"/>
                    <a:gd name="connsiteY448" fmla="*/ 413078 h 1461099"/>
                    <a:gd name="connsiteX449" fmla="*/ 1394604 w 1659478"/>
                    <a:gd name="connsiteY449" fmla="*/ 414050 h 1461099"/>
                    <a:gd name="connsiteX450" fmla="*/ 1396499 w 1659478"/>
                    <a:gd name="connsiteY450" fmla="*/ 417134 h 1461099"/>
                    <a:gd name="connsiteX451" fmla="*/ 1398162 w 1659478"/>
                    <a:gd name="connsiteY451" fmla="*/ 418907 h 1461099"/>
                    <a:gd name="connsiteX452" fmla="*/ 1405339 w 1659478"/>
                    <a:gd name="connsiteY452" fmla="*/ 424529 h 1461099"/>
                    <a:gd name="connsiteX453" fmla="*/ 1407063 w 1659478"/>
                    <a:gd name="connsiteY453" fmla="*/ 426436 h 1461099"/>
                    <a:gd name="connsiteX454" fmla="*/ 1408047 w 1659478"/>
                    <a:gd name="connsiteY454" fmla="*/ 428609 h 1461099"/>
                    <a:gd name="connsiteX455" fmla="*/ 1408387 w 1659478"/>
                    <a:gd name="connsiteY455" fmla="*/ 430831 h 1461099"/>
                    <a:gd name="connsiteX456" fmla="*/ 1408204 w 1659478"/>
                    <a:gd name="connsiteY456" fmla="*/ 433357 h 1461099"/>
                    <a:gd name="connsiteX457" fmla="*/ 1404999 w 1659478"/>
                    <a:gd name="connsiteY457" fmla="*/ 444517 h 1461099"/>
                    <a:gd name="connsiteX458" fmla="*/ 1404428 w 1659478"/>
                    <a:gd name="connsiteY458" fmla="*/ 447844 h 1461099"/>
                    <a:gd name="connsiteX459" fmla="*/ 1404537 w 1659478"/>
                    <a:gd name="connsiteY459" fmla="*/ 451499 h 1461099"/>
                    <a:gd name="connsiteX460" fmla="*/ 1405278 w 1659478"/>
                    <a:gd name="connsiteY460" fmla="*/ 455020 h 1461099"/>
                    <a:gd name="connsiteX461" fmla="*/ 1406832 w 1659478"/>
                    <a:gd name="connsiteY461" fmla="*/ 458614 h 1461099"/>
                    <a:gd name="connsiteX462" fmla="*/ 1407354 w 1659478"/>
                    <a:gd name="connsiteY462" fmla="*/ 460569 h 1461099"/>
                    <a:gd name="connsiteX463" fmla="*/ 1407646 w 1659478"/>
                    <a:gd name="connsiteY463" fmla="*/ 462233 h 1461099"/>
                    <a:gd name="connsiteX464" fmla="*/ 1407403 w 1659478"/>
                    <a:gd name="connsiteY464" fmla="*/ 463496 h 1461099"/>
                    <a:gd name="connsiteX465" fmla="*/ 1407063 w 1659478"/>
                    <a:gd name="connsiteY465" fmla="*/ 464820 h 1461099"/>
                    <a:gd name="connsiteX466" fmla="*/ 1406942 w 1659478"/>
                    <a:gd name="connsiteY466" fmla="*/ 466483 h 1461099"/>
                    <a:gd name="connsiteX467" fmla="*/ 1407063 w 1659478"/>
                    <a:gd name="connsiteY467" fmla="*/ 468632 h 1461099"/>
                    <a:gd name="connsiteX468" fmla="*/ 1408204 w 1659478"/>
                    <a:gd name="connsiteY468" fmla="*/ 471826 h 1461099"/>
                    <a:gd name="connsiteX469" fmla="*/ 1408617 w 1659478"/>
                    <a:gd name="connsiteY469" fmla="*/ 473805 h 1461099"/>
                    <a:gd name="connsiteX470" fmla="*/ 1408666 w 1659478"/>
                    <a:gd name="connsiteY470" fmla="*/ 475469 h 1461099"/>
                    <a:gd name="connsiteX471" fmla="*/ 1408107 w 1659478"/>
                    <a:gd name="connsiteY471" fmla="*/ 478480 h 1461099"/>
                    <a:gd name="connsiteX472" fmla="*/ 1408787 w 1659478"/>
                    <a:gd name="connsiteY472" fmla="*/ 485633 h 1461099"/>
                    <a:gd name="connsiteX473" fmla="*/ 1408557 w 1659478"/>
                    <a:gd name="connsiteY473" fmla="*/ 487150 h 1461099"/>
                    <a:gd name="connsiteX474" fmla="*/ 1408204 w 1659478"/>
                    <a:gd name="connsiteY474" fmla="*/ 488292 h 1461099"/>
                    <a:gd name="connsiteX475" fmla="*/ 1407646 w 1659478"/>
                    <a:gd name="connsiteY475" fmla="*/ 489421 h 1461099"/>
                    <a:gd name="connsiteX476" fmla="*/ 1404185 w 1659478"/>
                    <a:gd name="connsiteY476" fmla="*/ 494218 h 1461099"/>
                    <a:gd name="connsiteX477" fmla="*/ 1403505 w 1659478"/>
                    <a:gd name="connsiteY477" fmla="*/ 495772 h 1461099"/>
                    <a:gd name="connsiteX478" fmla="*/ 1400749 w 1659478"/>
                    <a:gd name="connsiteY478" fmla="*/ 510173 h 1461099"/>
                    <a:gd name="connsiteX479" fmla="*/ 1400749 w 1659478"/>
                    <a:gd name="connsiteY479" fmla="*/ 512128 h 1461099"/>
                    <a:gd name="connsiteX480" fmla="*/ 1401501 w 1659478"/>
                    <a:gd name="connsiteY480" fmla="*/ 513452 h 1461099"/>
                    <a:gd name="connsiteX481" fmla="*/ 1402291 w 1659478"/>
                    <a:gd name="connsiteY481" fmla="*/ 514545 h 1461099"/>
                    <a:gd name="connsiteX482" fmla="*/ 1403214 w 1659478"/>
                    <a:gd name="connsiteY482" fmla="*/ 515431 h 1461099"/>
                    <a:gd name="connsiteX483" fmla="*/ 1404137 w 1659478"/>
                    <a:gd name="connsiteY483" fmla="*/ 516718 h 1461099"/>
                    <a:gd name="connsiteX484" fmla="*/ 1404246 w 1659478"/>
                    <a:gd name="connsiteY484" fmla="*/ 517593 h 1461099"/>
                    <a:gd name="connsiteX485" fmla="*/ 1403845 w 1659478"/>
                    <a:gd name="connsiteY485" fmla="*/ 518078 h 1461099"/>
                    <a:gd name="connsiteX486" fmla="*/ 1400227 w 1659478"/>
                    <a:gd name="connsiteY486" fmla="*/ 519220 h 1461099"/>
                    <a:gd name="connsiteX487" fmla="*/ 1399425 w 1659478"/>
                    <a:gd name="connsiteY487" fmla="*/ 519864 h 1461099"/>
                    <a:gd name="connsiteX488" fmla="*/ 1398733 w 1659478"/>
                    <a:gd name="connsiteY488" fmla="*/ 521199 h 1461099"/>
                    <a:gd name="connsiteX489" fmla="*/ 1398976 w 1659478"/>
                    <a:gd name="connsiteY489" fmla="*/ 522377 h 1461099"/>
                    <a:gd name="connsiteX490" fmla="*/ 1399777 w 1659478"/>
                    <a:gd name="connsiteY490" fmla="*/ 523446 h 1461099"/>
                    <a:gd name="connsiteX491" fmla="*/ 1400567 w 1659478"/>
                    <a:gd name="connsiteY491" fmla="*/ 524077 h 1461099"/>
                    <a:gd name="connsiteX492" fmla="*/ 1402582 w 1659478"/>
                    <a:gd name="connsiteY492" fmla="*/ 525109 h 1461099"/>
                    <a:gd name="connsiteX493" fmla="*/ 1408204 w 1659478"/>
                    <a:gd name="connsiteY493" fmla="*/ 523093 h 1461099"/>
                    <a:gd name="connsiteX494" fmla="*/ 1414288 w 1659478"/>
                    <a:gd name="connsiteY494" fmla="*/ 523300 h 1461099"/>
                    <a:gd name="connsiteX495" fmla="*/ 1415842 w 1659478"/>
                    <a:gd name="connsiteY495" fmla="*/ 521321 h 1461099"/>
                    <a:gd name="connsiteX496" fmla="*/ 1418149 w 1659478"/>
                    <a:gd name="connsiteY496" fmla="*/ 515698 h 1461099"/>
                    <a:gd name="connsiteX497" fmla="*/ 1420445 w 1659478"/>
                    <a:gd name="connsiteY497" fmla="*/ 513015 h 1461099"/>
                    <a:gd name="connsiteX498" fmla="*/ 1423140 w 1659478"/>
                    <a:gd name="connsiteY498" fmla="*/ 511788 h 1461099"/>
                    <a:gd name="connsiteX499" fmla="*/ 1432794 w 1659478"/>
                    <a:gd name="connsiteY499" fmla="*/ 510793 h 1461099"/>
                    <a:gd name="connsiteX500" fmla="*/ 1433948 w 1659478"/>
                    <a:gd name="connsiteY500" fmla="*/ 509748 h 1461099"/>
                    <a:gd name="connsiteX501" fmla="*/ 1433644 w 1659478"/>
                    <a:gd name="connsiteY501" fmla="*/ 508170 h 1461099"/>
                    <a:gd name="connsiteX502" fmla="*/ 1432150 w 1659478"/>
                    <a:gd name="connsiteY502" fmla="*/ 506822 h 1461099"/>
                    <a:gd name="connsiteX503" fmla="*/ 1426467 w 1659478"/>
                    <a:gd name="connsiteY503" fmla="*/ 504211 h 1461099"/>
                    <a:gd name="connsiteX504" fmla="*/ 1425375 w 1659478"/>
                    <a:gd name="connsiteY504" fmla="*/ 502633 h 1461099"/>
                    <a:gd name="connsiteX505" fmla="*/ 1425326 w 1659478"/>
                    <a:gd name="connsiteY505" fmla="*/ 500508 h 1461099"/>
                    <a:gd name="connsiteX506" fmla="*/ 1426977 w 1659478"/>
                    <a:gd name="connsiteY506" fmla="*/ 497375 h 1461099"/>
                    <a:gd name="connsiteX507" fmla="*/ 1429224 w 1659478"/>
                    <a:gd name="connsiteY507" fmla="*/ 496549 h 1461099"/>
                    <a:gd name="connsiteX508" fmla="*/ 1431701 w 1659478"/>
                    <a:gd name="connsiteY508" fmla="*/ 496804 h 1461099"/>
                    <a:gd name="connsiteX509" fmla="*/ 1437906 w 1659478"/>
                    <a:gd name="connsiteY509" fmla="*/ 499354 h 1461099"/>
                    <a:gd name="connsiteX510" fmla="*/ 1441343 w 1659478"/>
                    <a:gd name="connsiteY510" fmla="*/ 500253 h 1461099"/>
                    <a:gd name="connsiteX511" fmla="*/ 1444451 w 1659478"/>
                    <a:gd name="connsiteY511" fmla="*/ 500022 h 1461099"/>
                    <a:gd name="connsiteX512" fmla="*/ 1446163 w 1659478"/>
                    <a:gd name="connsiteY512" fmla="*/ 498868 h 1461099"/>
                    <a:gd name="connsiteX513" fmla="*/ 1448980 w 1659478"/>
                    <a:gd name="connsiteY513" fmla="*/ 495420 h 1461099"/>
                    <a:gd name="connsiteX514" fmla="*/ 1450243 w 1659478"/>
                    <a:gd name="connsiteY514" fmla="*/ 495310 h 1461099"/>
                    <a:gd name="connsiteX515" fmla="*/ 1451105 w 1659478"/>
                    <a:gd name="connsiteY515" fmla="*/ 496221 h 1461099"/>
                    <a:gd name="connsiteX516" fmla="*/ 1451785 w 1659478"/>
                    <a:gd name="connsiteY516" fmla="*/ 497776 h 1461099"/>
                    <a:gd name="connsiteX517" fmla="*/ 1452660 w 1659478"/>
                    <a:gd name="connsiteY517" fmla="*/ 499014 h 1461099"/>
                    <a:gd name="connsiteX518" fmla="*/ 1454676 w 1659478"/>
                    <a:gd name="connsiteY518" fmla="*/ 499208 h 1461099"/>
                    <a:gd name="connsiteX519" fmla="*/ 1455647 w 1659478"/>
                    <a:gd name="connsiteY519" fmla="*/ 498298 h 1461099"/>
                    <a:gd name="connsiteX520" fmla="*/ 1456728 w 1659478"/>
                    <a:gd name="connsiteY520" fmla="*/ 495565 h 1461099"/>
                    <a:gd name="connsiteX521" fmla="*/ 1457942 w 1659478"/>
                    <a:gd name="connsiteY521" fmla="*/ 495310 h 1461099"/>
                    <a:gd name="connsiteX522" fmla="*/ 1459035 w 1659478"/>
                    <a:gd name="connsiteY522" fmla="*/ 496282 h 1461099"/>
                    <a:gd name="connsiteX523" fmla="*/ 1460237 w 1659478"/>
                    <a:gd name="connsiteY523" fmla="*/ 498261 h 1461099"/>
                    <a:gd name="connsiteX524" fmla="*/ 1461281 w 1659478"/>
                    <a:gd name="connsiteY524" fmla="*/ 499670 h 1461099"/>
                    <a:gd name="connsiteX525" fmla="*/ 1462471 w 1659478"/>
                    <a:gd name="connsiteY525" fmla="*/ 500325 h 1461099"/>
                    <a:gd name="connsiteX526" fmla="*/ 1463163 w 1659478"/>
                    <a:gd name="connsiteY526" fmla="*/ 500216 h 1461099"/>
                    <a:gd name="connsiteX527" fmla="*/ 1464025 w 1659478"/>
                    <a:gd name="connsiteY527" fmla="*/ 499548 h 1461099"/>
                    <a:gd name="connsiteX528" fmla="*/ 1466782 w 1659478"/>
                    <a:gd name="connsiteY528" fmla="*/ 496002 h 1461099"/>
                    <a:gd name="connsiteX529" fmla="*/ 1472003 w 1659478"/>
                    <a:gd name="connsiteY529" fmla="*/ 496938 h 1461099"/>
                    <a:gd name="connsiteX530" fmla="*/ 1474432 w 1659478"/>
                    <a:gd name="connsiteY530" fmla="*/ 505183 h 1461099"/>
                    <a:gd name="connsiteX531" fmla="*/ 1474760 w 1659478"/>
                    <a:gd name="connsiteY531" fmla="*/ 510149 h 1461099"/>
                    <a:gd name="connsiteX532" fmla="*/ 1474529 w 1659478"/>
                    <a:gd name="connsiteY532" fmla="*/ 514654 h 1461099"/>
                    <a:gd name="connsiteX533" fmla="*/ 1475039 w 1659478"/>
                    <a:gd name="connsiteY533" fmla="*/ 515917 h 1461099"/>
                    <a:gd name="connsiteX534" fmla="*/ 1475683 w 1659478"/>
                    <a:gd name="connsiteY534" fmla="*/ 516718 h 1461099"/>
                    <a:gd name="connsiteX535" fmla="*/ 1476472 w 1659478"/>
                    <a:gd name="connsiteY535" fmla="*/ 516986 h 1461099"/>
                    <a:gd name="connsiteX536" fmla="*/ 1477407 w 1659478"/>
                    <a:gd name="connsiteY536" fmla="*/ 517265 h 1461099"/>
                    <a:gd name="connsiteX537" fmla="*/ 1478439 w 1659478"/>
                    <a:gd name="connsiteY537" fmla="*/ 517823 h 1461099"/>
                    <a:gd name="connsiteX538" fmla="*/ 1479301 w 1659478"/>
                    <a:gd name="connsiteY538" fmla="*/ 518795 h 1461099"/>
                    <a:gd name="connsiteX539" fmla="*/ 1480795 w 1659478"/>
                    <a:gd name="connsiteY539" fmla="*/ 521114 h 1461099"/>
                    <a:gd name="connsiteX540" fmla="*/ 1481766 w 1659478"/>
                    <a:gd name="connsiteY540" fmla="*/ 524964 h 1461099"/>
                    <a:gd name="connsiteX541" fmla="*/ 1482167 w 1659478"/>
                    <a:gd name="connsiteY541" fmla="*/ 528582 h 1461099"/>
                    <a:gd name="connsiteX542" fmla="*/ 1482009 w 1659478"/>
                    <a:gd name="connsiteY542" fmla="*/ 529760 h 1461099"/>
                    <a:gd name="connsiteX543" fmla="*/ 1481487 w 1659478"/>
                    <a:gd name="connsiteY543" fmla="*/ 530768 h 1461099"/>
                    <a:gd name="connsiteX544" fmla="*/ 1479993 w 1659478"/>
                    <a:gd name="connsiteY544" fmla="*/ 532310 h 1461099"/>
                    <a:gd name="connsiteX545" fmla="*/ 1479301 w 1659478"/>
                    <a:gd name="connsiteY545" fmla="*/ 533342 h 1461099"/>
                    <a:gd name="connsiteX546" fmla="*/ 1478901 w 1659478"/>
                    <a:gd name="connsiteY546" fmla="*/ 534896 h 1461099"/>
                    <a:gd name="connsiteX547" fmla="*/ 1479071 w 1659478"/>
                    <a:gd name="connsiteY547" fmla="*/ 535929 h 1461099"/>
                    <a:gd name="connsiteX548" fmla="*/ 1479763 w 1659478"/>
                    <a:gd name="connsiteY548" fmla="*/ 536742 h 1461099"/>
                    <a:gd name="connsiteX549" fmla="*/ 1482106 w 1659478"/>
                    <a:gd name="connsiteY549" fmla="*/ 538369 h 1461099"/>
                    <a:gd name="connsiteX550" fmla="*/ 1483199 w 1659478"/>
                    <a:gd name="connsiteY550" fmla="*/ 539669 h 1461099"/>
                    <a:gd name="connsiteX551" fmla="*/ 1483491 w 1659478"/>
                    <a:gd name="connsiteY551" fmla="*/ 540871 h 1461099"/>
                    <a:gd name="connsiteX552" fmla="*/ 1483321 w 1659478"/>
                    <a:gd name="connsiteY552" fmla="*/ 542219 h 1461099"/>
                    <a:gd name="connsiteX553" fmla="*/ 1482811 w 1659478"/>
                    <a:gd name="connsiteY553" fmla="*/ 544174 h 1461099"/>
                    <a:gd name="connsiteX554" fmla="*/ 1482519 w 1659478"/>
                    <a:gd name="connsiteY554" fmla="*/ 547355 h 1461099"/>
                    <a:gd name="connsiteX555" fmla="*/ 1483139 w 1659478"/>
                    <a:gd name="connsiteY555" fmla="*/ 549371 h 1461099"/>
                    <a:gd name="connsiteX556" fmla="*/ 1484183 w 1659478"/>
                    <a:gd name="connsiteY556" fmla="*/ 551119 h 1461099"/>
                    <a:gd name="connsiteX557" fmla="*/ 1492112 w 1659478"/>
                    <a:gd name="connsiteY557" fmla="*/ 560227 h 1461099"/>
                    <a:gd name="connsiteX558" fmla="*/ 1494978 w 1659478"/>
                    <a:gd name="connsiteY558" fmla="*/ 565011 h 1461099"/>
                    <a:gd name="connsiteX559" fmla="*/ 1497273 w 1659478"/>
                    <a:gd name="connsiteY559" fmla="*/ 567828 h 1461099"/>
                    <a:gd name="connsiteX560" fmla="*/ 1499568 w 1659478"/>
                    <a:gd name="connsiteY560" fmla="*/ 576267 h 1461099"/>
                    <a:gd name="connsiteX561" fmla="*/ 1500770 w 1659478"/>
                    <a:gd name="connsiteY561" fmla="*/ 578575 h 1461099"/>
                    <a:gd name="connsiteX562" fmla="*/ 1502385 w 1659478"/>
                    <a:gd name="connsiteY562" fmla="*/ 580578 h 1461099"/>
                    <a:gd name="connsiteX563" fmla="*/ 1503879 w 1659478"/>
                    <a:gd name="connsiteY563" fmla="*/ 581780 h 1461099"/>
                    <a:gd name="connsiteX564" fmla="*/ 1505603 w 1659478"/>
                    <a:gd name="connsiteY564" fmla="*/ 582825 h 1461099"/>
                    <a:gd name="connsiteX565" fmla="*/ 1507036 w 1659478"/>
                    <a:gd name="connsiteY565" fmla="*/ 583310 h 1461099"/>
                    <a:gd name="connsiteX566" fmla="*/ 1510314 w 1659478"/>
                    <a:gd name="connsiteY566" fmla="*/ 583796 h 1461099"/>
                    <a:gd name="connsiteX567" fmla="*/ 1512148 w 1659478"/>
                    <a:gd name="connsiteY567" fmla="*/ 584221 h 1461099"/>
                    <a:gd name="connsiteX568" fmla="*/ 1513520 w 1659478"/>
                    <a:gd name="connsiteY568" fmla="*/ 584889 h 1461099"/>
                    <a:gd name="connsiteX569" fmla="*/ 1523744 w 1659478"/>
                    <a:gd name="connsiteY569" fmla="*/ 592235 h 1461099"/>
                    <a:gd name="connsiteX570" fmla="*/ 1524837 w 1659478"/>
                    <a:gd name="connsiteY570" fmla="*/ 592782 h 1461099"/>
                    <a:gd name="connsiteX571" fmla="*/ 1526392 w 1659478"/>
                    <a:gd name="connsiteY571" fmla="*/ 593352 h 1461099"/>
                    <a:gd name="connsiteX572" fmla="*/ 1530690 w 1659478"/>
                    <a:gd name="connsiteY572" fmla="*/ 593559 h 1461099"/>
                    <a:gd name="connsiteX573" fmla="*/ 1532305 w 1659478"/>
                    <a:gd name="connsiteY573" fmla="*/ 594069 h 1461099"/>
                    <a:gd name="connsiteX574" fmla="*/ 1533058 w 1659478"/>
                    <a:gd name="connsiteY574" fmla="*/ 595259 h 1461099"/>
                    <a:gd name="connsiteX575" fmla="*/ 1533216 w 1659478"/>
                    <a:gd name="connsiteY575" fmla="*/ 596400 h 1461099"/>
                    <a:gd name="connsiteX576" fmla="*/ 1533216 w 1659478"/>
                    <a:gd name="connsiteY576" fmla="*/ 598234 h 1461099"/>
                    <a:gd name="connsiteX577" fmla="*/ 1532937 w 1659478"/>
                    <a:gd name="connsiteY577" fmla="*/ 600359 h 1461099"/>
                    <a:gd name="connsiteX578" fmla="*/ 1533847 w 1659478"/>
                    <a:gd name="connsiteY578" fmla="*/ 604208 h 1461099"/>
                    <a:gd name="connsiteX579" fmla="*/ 1534880 w 1659478"/>
                    <a:gd name="connsiteY579" fmla="*/ 606418 h 1461099"/>
                    <a:gd name="connsiteX580" fmla="*/ 1536555 w 1659478"/>
                    <a:gd name="connsiteY580" fmla="*/ 608713 h 1461099"/>
                    <a:gd name="connsiteX581" fmla="*/ 1537357 w 1659478"/>
                    <a:gd name="connsiteY581" fmla="*/ 610838 h 1461099"/>
                    <a:gd name="connsiteX582" fmla="*/ 1538559 w 1659478"/>
                    <a:gd name="connsiteY582" fmla="*/ 615088 h 1461099"/>
                    <a:gd name="connsiteX583" fmla="*/ 1539482 w 1659478"/>
                    <a:gd name="connsiteY583" fmla="*/ 616011 h 1461099"/>
                    <a:gd name="connsiteX584" fmla="*/ 1540392 w 1659478"/>
                    <a:gd name="connsiteY584" fmla="*/ 616728 h 1461099"/>
                    <a:gd name="connsiteX585" fmla="*/ 1541716 w 1659478"/>
                    <a:gd name="connsiteY585" fmla="*/ 617298 h 1461099"/>
                    <a:gd name="connsiteX586" fmla="*/ 1542639 w 1659478"/>
                    <a:gd name="connsiteY586" fmla="*/ 619678 h 1461099"/>
                    <a:gd name="connsiteX587" fmla="*/ 1539421 w 1659478"/>
                    <a:gd name="connsiteY587" fmla="*/ 624827 h 1461099"/>
                    <a:gd name="connsiteX588" fmla="*/ 1535171 w 1659478"/>
                    <a:gd name="connsiteY588" fmla="*/ 627146 h 1461099"/>
                    <a:gd name="connsiteX589" fmla="*/ 1532633 w 1659478"/>
                    <a:gd name="connsiteY589" fmla="*/ 628154 h 1461099"/>
                    <a:gd name="connsiteX590" fmla="*/ 1531953 w 1659478"/>
                    <a:gd name="connsiteY590" fmla="*/ 629879 h 1461099"/>
                    <a:gd name="connsiteX591" fmla="*/ 1531662 w 1659478"/>
                    <a:gd name="connsiteY591" fmla="*/ 631651 h 1461099"/>
                    <a:gd name="connsiteX592" fmla="*/ 1530290 w 1659478"/>
                    <a:gd name="connsiteY592" fmla="*/ 634213 h 1461099"/>
                    <a:gd name="connsiteX593" fmla="*/ 1527132 w 1659478"/>
                    <a:gd name="connsiteY593" fmla="*/ 635610 h 1461099"/>
                    <a:gd name="connsiteX594" fmla="*/ 1515645 w 1659478"/>
                    <a:gd name="connsiteY594" fmla="*/ 638548 h 1461099"/>
                    <a:gd name="connsiteX595" fmla="*/ 1514091 w 1659478"/>
                    <a:gd name="connsiteY595" fmla="*/ 639435 h 1461099"/>
                    <a:gd name="connsiteX596" fmla="*/ 1513289 w 1659478"/>
                    <a:gd name="connsiteY596" fmla="*/ 640528 h 1461099"/>
                    <a:gd name="connsiteX597" fmla="*/ 1513059 w 1659478"/>
                    <a:gd name="connsiteY597" fmla="*/ 641414 h 1461099"/>
                    <a:gd name="connsiteX598" fmla="*/ 1513119 w 1659478"/>
                    <a:gd name="connsiteY598" fmla="*/ 642592 h 1461099"/>
                    <a:gd name="connsiteX599" fmla="*/ 1513289 w 1659478"/>
                    <a:gd name="connsiteY599" fmla="*/ 643309 h 1461099"/>
                    <a:gd name="connsiteX600" fmla="*/ 1513812 w 1659478"/>
                    <a:gd name="connsiteY600" fmla="*/ 644341 h 1461099"/>
                    <a:gd name="connsiteX601" fmla="*/ 1514492 w 1659478"/>
                    <a:gd name="connsiteY601" fmla="*/ 645300 h 1461099"/>
                    <a:gd name="connsiteX602" fmla="*/ 1515366 w 1659478"/>
                    <a:gd name="connsiteY602" fmla="*/ 645956 h 1461099"/>
                    <a:gd name="connsiteX603" fmla="*/ 1516507 w 1659478"/>
                    <a:gd name="connsiteY603" fmla="*/ 646271 h 1461099"/>
                    <a:gd name="connsiteX604" fmla="*/ 1518450 w 1659478"/>
                    <a:gd name="connsiteY604" fmla="*/ 646235 h 1461099"/>
                    <a:gd name="connsiteX605" fmla="*/ 1519264 w 1659478"/>
                    <a:gd name="connsiteY605" fmla="*/ 646405 h 1461099"/>
                    <a:gd name="connsiteX606" fmla="*/ 1520004 w 1659478"/>
                    <a:gd name="connsiteY606" fmla="*/ 647158 h 1461099"/>
                    <a:gd name="connsiteX607" fmla="*/ 1520697 w 1659478"/>
                    <a:gd name="connsiteY607" fmla="*/ 650024 h 1461099"/>
                    <a:gd name="connsiteX608" fmla="*/ 1521280 w 1659478"/>
                    <a:gd name="connsiteY608" fmla="*/ 651456 h 1461099"/>
                    <a:gd name="connsiteX609" fmla="*/ 1522652 w 1659478"/>
                    <a:gd name="connsiteY609" fmla="*/ 652501 h 1461099"/>
                    <a:gd name="connsiteX610" fmla="*/ 1524315 w 1659478"/>
                    <a:gd name="connsiteY610" fmla="*/ 653156 h 1461099"/>
                    <a:gd name="connsiteX611" fmla="*/ 1530812 w 1659478"/>
                    <a:gd name="connsiteY611" fmla="*/ 654310 h 1461099"/>
                    <a:gd name="connsiteX612" fmla="*/ 1535463 w 1659478"/>
                    <a:gd name="connsiteY612" fmla="*/ 654541 h 1461099"/>
                    <a:gd name="connsiteX613" fmla="*/ 1536312 w 1659478"/>
                    <a:gd name="connsiteY613" fmla="*/ 654274 h 1461099"/>
                    <a:gd name="connsiteX614" fmla="*/ 1537126 w 1659478"/>
                    <a:gd name="connsiteY614" fmla="*/ 653411 h 1461099"/>
                    <a:gd name="connsiteX615" fmla="*/ 1537587 w 1659478"/>
                    <a:gd name="connsiteY615" fmla="*/ 652561 h 1461099"/>
                    <a:gd name="connsiteX616" fmla="*/ 1538267 w 1659478"/>
                    <a:gd name="connsiteY616" fmla="*/ 651699 h 1461099"/>
                    <a:gd name="connsiteX617" fmla="*/ 1539081 w 1659478"/>
                    <a:gd name="connsiteY617" fmla="*/ 651201 h 1461099"/>
                    <a:gd name="connsiteX618" fmla="*/ 1539992 w 1659478"/>
                    <a:gd name="connsiteY618" fmla="*/ 651177 h 1461099"/>
                    <a:gd name="connsiteX619" fmla="*/ 1540854 w 1659478"/>
                    <a:gd name="connsiteY619" fmla="*/ 651639 h 1461099"/>
                    <a:gd name="connsiteX620" fmla="*/ 1541765 w 1659478"/>
                    <a:gd name="connsiteY620" fmla="*/ 652695 h 1461099"/>
                    <a:gd name="connsiteX621" fmla="*/ 1544703 w 1659478"/>
                    <a:gd name="connsiteY621" fmla="*/ 658184 h 1461099"/>
                    <a:gd name="connsiteX622" fmla="*/ 1545796 w 1659478"/>
                    <a:gd name="connsiteY622" fmla="*/ 659325 h 1461099"/>
                    <a:gd name="connsiteX623" fmla="*/ 1546658 w 1659478"/>
                    <a:gd name="connsiteY623" fmla="*/ 659556 h 1461099"/>
                    <a:gd name="connsiteX624" fmla="*/ 1547508 w 1659478"/>
                    <a:gd name="connsiteY624" fmla="*/ 659155 h 1461099"/>
                    <a:gd name="connsiteX625" fmla="*/ 1549123 w 1659478"/>
                    <a:gd name="connsiteY625" fmla="*/ 656945 h 1461099"/>
                    <a:gd name="connsiteX626" fmla="*/ 1549864 w 1659478"/>
                    <a:gd name="connsiteY626" fmla="*/ 656144 h 1461099"/>
                    <a:gd name="connsiteX627" fmla="*/ 1550896 w 1659478"/>
                    <a:gd name="connsiteY627" fmla="*/ 655488 h 1461099"/>
                    <a:gd name="connsiteX628" fmla="*/ 1552050 w 1659478"/>
                    <a:gd name="connsiteY628" fmla="*/ 655281 h 1461099"/>
                    <a:gd name="connsiteX629" fmla="*/ 1553264 w 1659478"/>
                    <a:gd name="connsiteY629" fmla="*/ 655889 h 1461099"/>
                    <a:gd name="connsiteX630" fmla="*/ 1554235 w 1659478"/>
                    <a:gd name="connsiteY630" fmla="*/ 657407 h 1461099"/>
                    <a:gd name="connsiteX631" fmla="*/ 1554235 w 1659478"/>
                    <a:gd name="connsiteY631" fmla="*/ 659993 h 1461099"/>
                    <a:gd name="connsiteX632" fmla="*/ 1552972 w 1659478"/>
                    <a:gd name="connsiteY632" fmla="*/ 661656 h 1461099"/>
                    <a:gd name="connsiteX633" fmla="*/ 1550678 w 1659478"/>
                    <a:gd name="connsiteY633" fmla="*/ 662859 h 1461099"/>
                    <a:gd name="connsiteX634" fmla="*/ 1541206 w 1659478"/>
                    <a:gd name="connsiteY634" fmla="*/ 664789 h 1461099"/>
                    <a:gd name="connsiteX635" fmla="*/ 1537235 w 1659478"/>
                    <a:gd name="connsiteY635" fmla="*/ 665992 h 1461099"/>
                    <a:gd name="connsiteX636" fmla="*/ 1505773 w 1659478"/>
                    <a:gd name="connsiteY636" fmla="*/ 679920 h 1461099"/>
                    <a:gd name="connsiteX637" fmla="*/ 1498754 w 1659478"/>
                    <a:gd name="connsiteY637" fmla="*/ 683902 h 1461099"/>
                    <a:gd name="connsiteX638" fmla="*/ 1496010 w 1659478"/>
                    <a:gd name="connsiteY638" fmla="*/ 686258 h 1461099"/>
                    <a:gd name="connsiteX639" fmla="*/ 1494808 w 1659478"/>
                    <a:gd name="connsiteY639" fmla="*/ 687982 h 1461099"/>
                    <a:gd name="connsiteX640" fmla="*/ 1494286 w 1659478"/>
                    <a:gd name="connsiteY640" fmla="*/ 689731 h 1461099"/>
                    <a:gd name="connsiteX641" fmla="*/ 1494225 w 1659478"/>
                    <a:gd name="connsiteY641" fmla="*/ 691200 h 1461099"/>
                    <a:gd name="connsiteX642" fmla="*/ 1494456 w 1659478"/>
                    <a:gd name="connsiteY642" fmla="*/ 694394 h 1461099"/>
                    <a:gd name="connsiteX643" fmla="*/ 1494225 w 1659478"/>
                    <a:gd name="connsiteY643" fmla="*/ 698802 h 1461099"/>
                    <a:gd name="connsiteX644" fmla="*/ 1493424 w 1659478"/>
                    <a:gd name="connsiteY644" fmla="*/ 703234 h 1461099"/>
                    <a:gd name="connsiteX645" fmla="*/ 1493606 w 1659478"/>
                    <a:gd name="connsiteY645" fmla="*/ 704460 h 1461099"/>
                    <a:gd name="connsiteX646" fmla="*/ 1494007 w 1659478"/>
                    <a:gd name="connsiteY646" fmla="*/ 705152 h 1461099"/>
                    <a:gd name="connsiteX647" fmla="*/ 1495670 w 1659478"/>
                    <a:gd name="connsiteY647" fmla="*/ 705930 h 1461099"/>
                    <a:gd name="connsiteX648" fmla="*/ 1500369 w 1659478"/>
                    <a:gd name="connsiteY648" fmla="*/ 704691 h 1461099"/>
                    <a:gd name="connsiteX649" fmla="*/ 1503077 w 1659478"/>
                    <a:gd name="connsiteY649" fmla="*/ 701850 h 1461099"/>
                    <a:gd name="connsiteX650" fmla="*/ 1504632 w 1659478"/>
                    <a:gd name="connsiteY650" fmla="*/ 699409 h 1461099"/>
                    <a:gd name="connsiteX651" fmla="*/ 1506817 w 1659478"/>
                    <a:gd name="connsiteY651" fmla="*/ 694187 h 1461099"/>
                    <a:gd name="connsiteX652" fmla="*/ 1507886 w 1659478"/>
                    <a:gd name="connsiteY652" fmla="*/ 693556 h 1461099"/>
                    <a:gd name="connsiteX653" fmla="*/ 1509039 w 1659478"/>
                    <a:gd name="connsiteY653" fmla="*/ 693690 h 1461099"/>
                    <a:gd name="connsiteX654" fmla="*/ 1511687 w 1659478"/>
                    <a:gd name="connsiteY654" fmla="*/ 694673 h 1461099"/>
                    <a:gd name="connsiteX655" fmla="*/ 1513241 w 1659478"/>
                    <a:gd name="connsiteY655" fmla="*/ 694612 h 1461099"/>
                    <a:gd name="connsiteX656" fmla="*/ 1515135 w 1659478"/>
                    <a:gd name="connsiteY656" fmla="*/ 694187 h 1461099"/>
                    <a:gd name="connsiteX657" fmla="*/ 1539652 w 1659478"/>
                    <a:gd name="connsiteY657" fmla="*/ 684133 h 1461099"/>
                    <a:gd name="connsiteX658" fmla="*/ 1544072 w 1659478"/>
                    <a:gd name="connsiteY658" fmla="*/ 681413 h 1461099"/>
                    <a:gd name="connsiteX659" fmla="*/ 1549184 w 1659478"/>
                    <a:gd name="connsiteY659" fmla="*/ 676264 h 1461099"/>
                    <a:gd name="connsiteX660" fmla="*/ 1551528 w 1659478"/>
                    <a:gd name="connsiteY660" fmla="*/ 674747 h 1461099"/>
                    <a:gd name="connsiteX661" fmla="*/ 1554454 w 1659478"/>
                    <a:gd name="connsiteY661" fmla="*/ 673921 h 1461099"/>
                    <a:gd name="connsiteX662" fmla="*/ 1556992 w 1659478"/>
                    <a:gd name="connsiteY662" fmla="*/ 673994 h 1461099"/>
                    <a:gd name="connsiteX663" fmla="*/ 1562043 w 1659478"/>
                    <a:gd name="connsiteY663" fmla="*/ 675378 h 1461099"/>
                    <a:gd name="connsiteX664" fmla="*/ 1573531 w 1659478"/>
                    <a:gd name="connsiteY664" fmla="*/ 676847 h 1461099"/>
                    <a:gd name="connsiteX665" fmla="*/ 1575425 w 1659478"/>
                    <a:gd name="connsiteY665" fmla="*/ 677503 h 1461099"/>
                    <a:gd name="connsiteX666" fmla="*/ 1576676 w 1659478"/>
                    <a:gd name="connsiteY666" fmla="*/ 678135 h 1461099"/>
                    <a:gd name="connsiteX667" fmla="*/ 1577611 w 1659478"/>
                    <a:gd name="connsiteY667" fmla="*/ 678875 h 1461099"/>
                    <a:gd name="connsiteX668" fmla="*/ 1578230 w 1659478"/>
                    <a:gd name="connsiteY668" fmla="*/ 679604 h 1461099"/>
                    <a:gd name="connsiteX669" fmla="*/ 1579262 w 1659478"/>
                    <a:gd name="connsiteY669" fmla="*/ 680175 h 1461099"/>
                    <a:gd name="connsiteX670" fmla="*/ 1580136 w 1659478"/>
                    <a:gd name="connsiteY670" fmla="*/ 679774 h 1461099"/>
                    <a:gd name="connsiteX671" fmla="*/ 1582492 w 1659478"/>
                    <a:gd name="connsiteY671" fmla="*/ 678110 h 1461099"/>
                    <a:gd name="connsiteX672" fmla="*/ 1584253 w 1659478"/>
                    <a:gd name="connsiteY672" fmla="*/ 677734 h 1461099"/>
                    <a:gd name="connsiteX673" fmla="*/ 1586050 w 1659478"/>
                    <a:gd name="connsiteY673" fmla="*/ 677734 h 1461099"/>
                    <a:gd name="connsiteX674" fmla="*/ 1591441 w 1659478"/>
                    <a:gd name="connsiteY674" fmla="*/ 679203 h 1461099"/>
                    <a:gd name="connsiteX675" fmla="*/ 1602528 w 1659478"/>
                    <a:gd name="connsiteY675" fmla="*/ 679883 h 1461099"/>
                    <a:gd name="connsiteX676" fmla="*/ 1604884 w 1659478"/>
                    <a:gd name="connsiteY676" fmla="*/ 680490 h 1461099"/>
                    <a:gd name="connsiteX677" fmla="*/ 1606438 w 1659478"/>
                    <a:gd name="connsiteY677" fmla="*/ 681753 h 1461099"/>
                    <a:gd name="connsiteX678" fmla="*/ 1607057 w 1659478"/>
                    <a:gd name="connsiteY678" fmla="*/ 682640 h 1461099"/>
                    <a:gd name="connsiteX679" fmla="*/ 1607628 w 1659478"/>
                    <a:gd name="connsiteY679" fmla="*/ 684655 h 1461099"/>
                    <a:gd name="connsiteX680" fmla="*/ 1608089 w 1659478"/>
                    <a:gd name="connsiteY680" fmla="*/ 685857 h 1461099"/>
                    <a:gd name="connsiteX681" fmla="*/ 1608782 w 1659478"/>
                    <a:gd name="connsiteY681" fmla="*/ 686780 h 1461099"/>
                    <a:gd name="connsiteX682" fmla="*/ 1609996 w 1659478"/>
                    <a:gd name="connsiteY682" fmla="*/ 687460 h 1461099"/>
                    <a:gd name="connsiteX683" fmla="*/ 1610506 w 1659478"/>
                    <a:gd name="connsiteY683" fmla="*/ 687120 h 1461099"/>
                    <a:gd name="connsiteX684" fmla="*/ 1610919 w 1659478"/>
                    <a:gd name="connsiteY684" fmla="*/ 685833 h 1461099"/>
                    <a:gd name="connsiteX685" fmla="*/ 1610858 w 1659478"/>
                    <a:gd name="connsiteY685" fmla="*/ 682215 h 1461099"/>
                    <a:gd name="connsiteX686" fmla="*/ 1610919 w 1659478"/>
                    <a:gd name="connsiteY686" fmla="*/ 680782 h 1461099"/>
                    <a:gd name="connsiteX687" fmla="*/ 1611247 w 1659478"/>
                    <a:gd name="connsiteY687" fmla="*/ 679652 h 1461099"/>
                    <a:gd name="connsiteX688" fmla="*/ 1612412 w 1659478"/>
                    <a:gd name="connsiteY688" fmla="*/ 678742 h 1461099"/>
                    <a:gd name="connsiteX689" fmla="*/ 1613845 w 1659478"/>
                    <a:gd name="connsiteY689" fmla="*/ 678487 h 1461099"/>
                    <a:gd name="connsiteX690" fmla="*/ 1617804 w 1659478"/>
                    <a:gd name="connsiteY690" fmla="*/ 678742 h 1461099"/>
                    <a:gd name="connsiteX691" fmla="*/ 1619297 w 1659478"/>
                    <a:gd name="connsiteY691" fmla="*/ 678280 h 1461099"/>
                    <a:gd name="connsiteX692" fmla="*/ 1620269 w 1659478"/>
                    <a:gd name="connsiteY692" fmla="*/ 677333 h 1461099"/>
                    <a:gd name="connsiteX693" fmla="*/ 1620961 w 1659478"/>
                    <a:gd name="connsiteY693" fmla="*/ 676034 h 1461099"/>
                    <a:gd name="connsiteX694" fmla="*/ 1621702 w 1659478"/>
                    <a:gd name="connsiteY694" fmla="*/ 674977 h 1461099"/>
                    <a:gd name="connsiteX695" fmla="*/ 1623487 w 1659478"/>
                    <a:gd name="connsiteY695" fmla="*/ 673775 h 1461099"/>
                    <a:gd name="connsiteX696" fmla="*/ 1624579 w 1659478"/>
                    <a:gd name="connsiteY696" fmla="*/ 672682 h 1461099"/>
                    <a:gd name="connsiteX697" fmla="*/ 1626984 w 1659478"/>
                    <a:gd name="connsiteY697" fmla="*/ 671213 h 1461099"/>
                    <a:gd name="connsiteX698" fmla="*/ 1629801 w 1659478"/>
                    <a:gd name="connsiteY698" fmla="*/ 670764 h 1461099"/>
                    <a:gd name="connsiteX699" fmla="*/ 1635423 w 1659478"/>
                    <a:gd name="connsiteY699" fmla="*/ 670472 h 1461099"/>
                    <a:gd name="connsiteX700" fmla="*/ 1638592 w 1659478"/>
                    <a:gd name="connsiteY700" fmla="*/ 670909 h 1461099"/>
                    <a:gd name="connsiteX701" fmla="*/ 1640887 w 1659478"/>
                    <a:gd name="connsiteY701" fmla="*/ 671504 h 1461099"/>
                    <a:gd name="connsiteX702" fmla="*/ 1642721 w 1659478"/>
                    <a:gd name="connsiteY702" fmla="*/ 672367 h 1461099"/>
                    <a:gd name="connsiteX703" fmla="*/ 1644555 w 1659478"/>
                    <a:gd name="connsiteY703" fmla="*/ 672852 h 1461099"/>
                    <a:gd name="connsiteX704" fmla="*/ 1648744 w 1659478"/>
                    <a:gd name="connsiteY704" fmla="*/ 673277 h 1461099"/>
                    <a:gd name="connsiteX705" fmla="*/ 1650238 w 1659478"/>
                    <a:gd name="connsiteY705" fmla="*/ 673775 h 1461099"/>
                    <a:gd name="connsiteX706" fmla="*/ 1651343 w 1659478"/>
                    <a:gd name="connsiteY706" fmla="*/ 674443 h 1461099"/>
                    <a:gd name="connsiteX707" fmla="*/ 1652423 w 1659478"/>
                    <a:gd name="connsiteY707" fmla="*/ 675269 h 1461099"/>
                    <a:gd name="connsiteX708" fmla="*/ 1653055 w 1659478"/>
                    <a:gd name="connsiteY708" fmla="*/ 676131 h 1461099"/>
                    <a:gd name="connsiteX709" fmla="*/ 1653164 w 1659478"/>
                    <a:gd name="connsiteY709" fmla="*/ 677163 h 1461099"/>
                    <a:gd name="connsiteX710" fmla="*/ 1652192 w 1659478"/>
                    <a:gd name="connsiteY710" fmla="*/ 678450 h 1461099"/>
                    <a:gd name="connsiteX711" fmla="*/ 1645939 w 1659478"/>
                    <a:gd name="connsiteY711" fmla="*/ 684340 h 1461099"/>
                    <a:gd name="connsiteX712" fmla="*/ 1643984 w 1659478"/>
                    <a:gd name="connsiteY712" fmla="*/ 685578 h 1461099"/>
                    <a:gd name="connsiteX713" fmla="*/ 1642260 w 1659478"/>
                    <a:gd name="connsiteY713" fmla="*/ 685833 h 1461099"/>
                    <a:gd name="connsiteX714" fmla="*/ 1640657 w 1659478"/>
                    <a:gd name="connsiteY714" fmla="*/ 685809 h 1461099"/>
                    <a:gd name="connsiteX715" fmla="*/ 1639795 w 1659478"/>
                    <a:gd name="connsiteY715" fmla="*/ 686088 h 1461099"/>
                    <a:gd name="connsiteX716" fmla="*/ 1639284 w 1659478"/>
                    <a:gd name="connsiteY716" fmla="*/ 687096 h 1461099"/>
                    <a:gd name="connsiteX717" fmla="*/ 1639442 w 1659478"/>
                    <a:gd name="connsiteY717" fmla="*/ 688104 h 1461099"/>
                    <a:gd name="connsiteX718" fmla="*/ 1640256 w 1659478"/>
                    <a:gd name="connsiteY718" fmla="*/ 689415 h 1461099"/>
                    <a:gd name="connsiteX719" fmla="*/ 1642029 w 1659478"/>
                    <a:gd name="connsiteY719" fmla="*/ 691285 h 1461099"/>
                    <a:gd name="connsiteX720" fmla="*/ 1643243 w 1659478"/>
                    <a:gd name="connsiteY720" fmla="*/ 692900 h 1461099"/>
                    <a:gd name="connsiteX721" fmla="*/ 1644045 w 1659478"/>
                    <a:gd name="connsiteY721" fmla="*/ 694649 h 1461099"/>
                    <a:gd name="connsiteX722" fmla="*/ 1644433 w 1659478"/>
                    <a:gd name="connsiteY722" fmla="*/ 696167 h 1461099"/>
                    <a:gd name="connsiteX723" fmla="*/ 1641106 w 1659478"/>
                    <a:gd name="connsiteY723" fmla="*/ 697430 h 1461099"/>
                    <a:gd name="connsiteX724" fmla="*/ 1638653 w 1659478"/>
                    <a:gd name="connsiteY724" fmla="*/ 696458 h 1461099"/>
                    <a:gd name="connsiteX725" fmla="*/ 1637852 w 1659478"/>
                    <a:gd name="connsiteY725" fmla="*/ 702542 h 1461099"/>
                    <a:gd name="connsiteX726" fmla="*/ 1635314 w 1659478"/>
                    <a:gd name="connsiteY726" fmla="*/ 704303 h 1461099"/>
                    <a:gd name="connsiteX727" fmla="*/ 1629449 w 1659478"/>
                    <a:gd name="connsiteY727" fmla="*/ 701995 h 1461099"/>
                    <a:gd name="connsiteX728" fmla="*/ 1625903 w 1659478"/>
                    <a:gd name="connsiteY728" fmla="*/ 701910 h 1461099"/>
                    <a:gd name="connsiteX729" fmla="*/ 1624349 w 1659478"/>
                    <a:gd name="connsiteY729" fmla="*/ 704983 h 1461099"/>
                    <a:gd name="connsiteX730" fmla="*/ 1624579 w 1659478"/>
                    <a:gd name="connsiteY730" fmla="*/ 706901 h 1461099"/>
                    <a:gd name="connsiteX731" fmla="*/ 1625672 w 1659478"/>
                    <a:gd name="connsiteY731" fmla="*/ 710289 h 1461099"/>
                    <a:gd name="connsiteX732" fmla="*/ 1625721 w 1659478"/>
                    <a:gd name="connsiteY732" fmla="*/ 712414 h 1461099"/>
                    <a:gd name="connsiteX733" fmla="*/ 1625381 w 1659478"/>
                    <a:gd name="connsiteY733" fmla="*/ 712791 h 1461099"/>
                    <a:gd name="connsiteX734" fmla="*/ 1623827 w 1659478"/>
                    <a:gd name="connsiteY734" fmla="*/ 715401 h 1461099"/>
                    <a:gd name="connsiteX735" fmla="*/ 1623304 w 1659478"/>
                    <a:gd name="connsiteY735" fmla="*/ 716810 h 1461099"/>
                    <a:gd name="connsiteX736" fmla="*/ 1622855 w 1659478"/>
                    <a:gd name="connsiteY736" fmla="*/ 720744 h 1461099"/>
                    <a:gd name="connsiteX737" fmla="*/ 1622916 w 1659478"/>
                    <a:gd name="connsiteY737" fmla="*/ 723185 h 1461099"/>
                    <a:gd name="connsiteX738" fmla="*/ 1621811 w 1659478"/>
                    <a:gd name="connsiteY738" fmla="*/ 724508 h 1461099"/>
                    <a:gd name="connsiteX739" fmla="*/ 1618034 w 1659478"/>
                    <a:gd name="connsiteY739" fmla="*/ 725055 h 1461099"/>
                    <a:gd name="connsiteX740" fmla="*/ 1616079 w 1659478"/>
                    <a:gd name="connsiteY740" fmla="*/ 725055 h 1461099"/>
                    <a:gd name="connsiteX741" fmla="*/ 1614124 w 1659478"/>
                    <a:gd name="connsiteY741" fmla="*/ 724739 h 1461099"/>
                    <a:gd name="connsiteX742" fmla="*/ 1612352 w 1659478"/>
                    <a:gd name="connsiteY742" fmla="*/ 724023 h 1461099"/>
                    <a:gd name="connsiteX743" fmla="*/ 1610979 w 1659478"/>
                    <a:gd name="connsiteY743" fmla="*/ 722869 h 1461099"/>
                    <a:gd name="connsiteX744" fmla="*/ 1609304 w 1659478"/>
                    <a:gd name="connsiteY744" fmla="*/ 721958 h 1461099"/>
                    <a:gd name="connsiteX745" fmla="*/ 1607567 w 1659478"/>
                    <a:gd name="connsiteY745" fmla="*/ 722286 h 1461099"/>
                    <a:gd name="connsiteX746" fmla="*/ 1602880 w 1659478"/>
                    <a:gd name="connsiteY746" fmla="*/ 724217 h 1461099"/>
                    <a:gd name="connsiteX747" fmla="*/ 1597525 w 1659478"/>
                    <a:gd name="connsiteY747" fmla="*/ 727143 h 1461099"/>
                    <a:gd name="connsiteX748" fmla="*/ 1594198 w 1659478"/>
                    <a:gd name="connsiteY748" fmla="*/ 727811 h 1461099"/>
                    <a:gd name="connsiteX749" fmla="*/ 1590701 w 1659478"/>
                    <a:gd name="connsiteY749" fmla="*/ 727920 h 1461099"/>
                    <a:gd name="connsiteX750" fmla="*/ 1588685 w 1659478"/>
                    <a:gd name="connsiteY750" fmla="*/ 728297 h 1461099"/>
                    <a:gd name="connsiteX751" fmla="*/ 1587082 w 1659478"/>
                    <a:gd name="connsiteY751" fmla="*/ 729183 h 1461099"/>
                    <a:gd name="connsiteX752" fmla="*/ 1586111 w 1659478"/>
                    <a:gd name="connsiteY752" fmla="*/ 730798 h 1461099"/>
                    <a:gd name="connsiteX753" fmla="*/ 1585528 w 1659478"/>
                    <a:gd name="connsiteY753" fmla="*/ 734320 h 1461099"/>
                    <a:gd name="connsiteX754" fmla="*/ 1584556 w 1659478"/>
                    <a:gd name="connsiteY754" fmla="*/ 736044 h 1461099"/>
                    <a:gd name="connsiteX755" fmla="*/ 1582553 w 1659478"/>
                    <a:gd name="connsiteY755" fmla="*/ 737307 h 1461099"/>
                    <a:gd name="connsiteX756" fmla="*/ 1573008 w 1659478"/>
                    <a:gd name="connsiteY756" fmla="*/ 740185 h 1461099"/>
                    <a:gd name="connsiteX757" fmla="*/ 1575303 w 1659478"/>
                    <a:gd name="connsiteY757" fmla="*/ 746062 h 1461099"/>
                    <a:gd name="connsiteX758" fmla="*/ 1571066 w 1659478"/>
                    <a:gd name="connsiteY758" fmla="*/ 749401 h 1461099"/>
                    <a:gd name="connsiteX759" fmla="*/ 1564278 w 1659478"/>
                    <a:gd name="connsiteY759" fmla="*/ 751551 h 1461099"/>
                    <a:gd name="connsiteX760" fmla="*/ 1558886 w 1659478"/>
                    <a:gd name="connsiteY760" fmla="*/ 754052 h 1461099"/>
                    <a:gd name="connsiteX761" fmla="*/ 1555668 w 1659478"/>
                    <a:gd name="connsiteY761" fmla="*/ 758205 h 1461099"/>
                    <a:gd name="connsiteX762" fmla="*/ 1553483 w 1659478"/>
                    <a:gd name="connsiteY762" fmla="*/ 760111 h 1461099"/>
                    <a:gd name="connsiteX763" fmla="*/ 1550556 w 1659478"/>
                    <a:gd name="connsiteY763" fmla="*/ 760913 h 1461099"/>
                    <a:gd name="connsiteX764" fmla="*/ 1547059 w 1659478"/>
                    <a:gd name="connsiteY764" fmla="*/ 761338 h 1461099"/>
                    <a:gd name="connsiteX765" fmla="*/ 1540453 w 1659478"/>
                    <a:gd name="connsiteY765" fmla="*/ 763232 h 1461099"/>
                    <a:gd name="connsiteX766" fmla="*/ 1537697 w 1659478"/>
                    <a:gd name="connsiteY766" fmla="*/ 763645 h 1461099"/>
                    <a:gd name="connsiteX767" fmla="*/ 1535062 w 1659478"/>
                    <a:gd name="connsiteY767" fmla="*/ 764726 h 1461099"/>
                    <a:gd name="connsiteX768" fmla="*/ 1525408 w 1659478"/>
                    <a:gd name="connsiteY768" fmla="*/ 771878 h 1461099"/>
                    <a:gd name="connsiteX769" fmla="*/ 1518001 w 1659478"/>
                    <a:gd name="connsiteY769" fmla="*/ 776152 h 1461099"/>
                    <a:gd name="connsiteX770" fmla="*/ 1515827 w 1659478"/>
                    <a:gd name="connsiteY770" fmla="*/ 778132 h 1461099"/>
                    <a:gd name="connsiteX771" fmla="*/ 1513119 w 1659478"/>
                    <a:gd name="connsiteY771" fmla="*/ 779079 h 1461099"/>
                    <a:gd name="connsiteX772" fmla="*/ 1505542 w 1659478"/>
                    <a:gd name="connsiteY772" fmla="*/ 778059 h 1461099"/>
                    <a:gd name="connsiteX773" fmla="*/ 1502215 w 1659478"/>
                    <a:gd name="connsiteY773" fmla="*/ 778763 h 1461099"/>
                    <a:gd name="connsiteX774" fmla="*/ 1500248 w 1659478"/>
                    <a:gd name="connsiteY774" fmla="*/ 781410 h 1461099"/>
                    <a:gd name="connsiteX775" fmla="*/ 1500430 w 1659478"/>
                    <a:gd name="connsiteY775" fmla="*/ 784203 h 1461099"/>
                    <a:gd name="connsiteX776" fmla="*/ 1500248 w 1659478"/>
                    <a:gd name="connsiteY776" fmla="*/ 786717 h 1461099"/>
                    <a:gd name="connsiteX777" fmla="*/ 1497212 w 1659478"/>
                    <a:gd name="connsiteY777" fmla="*/ 788502 h 1461099"/>
                    <a:gd name="connsiteX778" fmla="*/ 1495828 w 1659478"/>
                    <a:gd name="connsiteY778" fmla="*/ 787008 h 1461099"/>
                    <a:gd name="connsiteX779" fmla="*/ 1493484 w 1659478"/>
                    <a:gd name="connsiteY779" fmla="*/ 788210 h 1461099"/>
                    <a:gd name="connsiteX780" fmla="*/ 1490716 w 1659478"/>
                    <a:gd name="connsiteY780" fmla="*/ 788647 h 1461099"/>
                    <a:gd name="connsiteX781" fmla="*/ 1484936 w 1659478"/>
                    <a:gd name="connsiteY781" fmla="*/ 788502 h 1461099"/>
                    <a:gd name="connsiteX782" fmla="*/ 1482349 w 1659478"/>
                    <a:gd name="connsiteY782" fmla="*/ 789255 h 1461099"/>
                    <a:gd name="connsiteX783" fmla="*/ 1479993 w 1659478"/>
                    <a:gd name="connsiteY783" fmla="*/ 791088 h 1461099"/>
                    <a:gd name="connsiteX784" fmla="*/ 1476593 w 1659478"/>
                    <a:gd name="connsiteY784" fmla="*/ 795217 h 1461099"/>
                    <a:gd name="connsiteX785" fmla="*/ 1475913 w 1659478"/>
                    <a:gd name="connsiteY785" fmla="*/ 796625 h 1461099"/>
                    <a:gd name="connsiteX786" fmla="*/ 1474590 w 1659478"/>
                    <a:gd name="connsiteY786" fmla="*/ 799880 h 1461099"/>
                    <a:gd name="connsiteX787" fmla="*/ 1473388 w 1659478"/>
                    <a:gd name="connsiteY787" fmla="*/ 801531 h 1461099"/>
                    <a:gd name="connsiteX788" fmla="*/ 1472064 w 1659478"/>
                    <a:gd name="connsiteY788" fmla="*/ 802685 h 1461099"/>
                    <a:gd name="connsiteX789" fmla="*/ 1469320 w 1659478"/>
                    <a:gd name="connsiteY789" fmla="*/ 804640 h 1461099"/>
                    <a:gd name="connsiteX790" fmla="*/ 1467073 w 1659478"/>
                    <a:gd name="connsiteY790" fmla="*/ 806619 h 1461099"/>
                    <a:gd name="connsiteX791" fmla="*/ 1462532 w 1659478"/>
                    <a:gd name="connsiteY791" fmla="*/ 809047 h 1461099"/>
                    <a:gd name="connsiteX792" fmla="*/ 1458695 w 1659478"/>
                    <a:gd name="connsiteY792" fmla="*/ 813188 h 1461099"/>
                    <a:gd name="connsiteX793" fmla="*/ 1453340 w 1659478"/>
                    <a:gd name="connsiteY793" fmla="*/ 814111 h 1461099"/>
                    <a:gd name="connsiteX794" fmla="*/ 1447948 w 1659478"/>
                    <a:gd name="connsiteY794" fmla="*/ 813650 h 1461099"/>
                    <a:gd name="connsiteX795" fmla="*/ 1442775 w 1659478"/>
                    <a:gd name="connsiteY795" fmla="*/ 814026 h 1461099"/>
                    <a:gd name="connsiteX796" fmla="*/ 1438064 w 1659478"/>
                    <a:gd name="connsiteY796" fmla="*/ 817292 h 1461099"/>
                    <a:gd name="connsiteX797" fmla="*/ 1437554 w 1659478"/>
                    <a:gd name="connsiteY797" fmla="*/ 818616 h 1461099"/>
                    <a:gd name="connsiteX798" fmla="*/ 1437153 w 1659478"/>
                    <a:gd name="connsiteY798" fmla="*/ 821895 h 1461099"/>
                    <a:gd name="connsiteX799" fmla="*/ 1436230 w 1659478"/>
                    <a:gd name="connsiteY799" fmla="*/ 823522 h 1461099"/>
                    <a:gd name="connsiteX800" fmla="*/ 1434797 w 1659478"/>
                    <a:gd name="connsiteY800" fmla="*/ 824566 h 1461099"/>
                    <a:gd name="connsiteX801" fmla="*/ 1433583 w 1659478"/>
                    <a:gd name="connsiteY801" fmla="*/ 824736 h 1461099"/>
                    <a:gd name="connsiteX802" fmla="*/ 1430948 w 1659478"/>
                    <a:gd name="connsiteY802" fmla="*/ 824275 h 1461099"/>
                    <a:gd name="connsiteX803" fmla="*/ 1428532 w 1659478"/>
                    <a:gd name="connsiteY803" fmla="*/ 824760 h 1461099"/>
                    <a:gd name="connsiteX804" fmla="*/ 1422909 w 1659478"/>
                    <a:gd name="connsiteY804" fmla="*/ 827323 h 1461099"/>
                    <a:gd name="connsiteX805" fmla="*/ 1421307 w 1659478"/>
                    <a:gd name="connsiteY805" fmla="*/ 828403 h 1461099"/>
                    <a:gd name="connsiteX806" fmla="*/ 1420044 w 1659478"/>
                    <a:gd name="connsiteY806" fmla="*/ 830395 h 1461099"/>
                    <a:gd name="connsiteX807" fmla="*/ 1419121 w 1659478"/>
                    <a:gd name="connsiteY807" fmla="*/ 832653 h 1461099"/>
                    <a:gd name="connsiteX808" fmla="*/ 1417858 w 1659478"/>
                    <a:gd name="connsiteY808" fmla="*/ 834499 h 1461099"/>
                    <a:gd name="connsiteX809" fmla="*/ 1413608 w 1659478"/>
                    <a:gd name="connsiteY809" fmla="*/ 835786 h 1461099"/>
                    <a:gd name="connsiteX810" fmla="*/ 1411823 w 1659478"/>
                    <a:gd name="connsiteY810" fmla="*/ 837110 h 1461099"/>
                    <a:gd name="connsiteX811" fmla="*/ 1409140 w 1659478"/>
                    <a:gd name="connsiteY811" fmla="*/ 840036 h 1461099"/>
                    <a:gd name="connsiteX812" fmla="*/ 1407646 w 1659478"/>
                    <a:gd name="connsiteY812" fmla="*/ 840838 h 1461099"/>
                    <a:gd name="connsiteX813" fmla="*/ 1402121 w 1659478"/>
                    <a:gd name="connsiteY813" fmla="*/ 841991 h 1461099"/>
                    <a:gd name="connsiteX814" fmla="*/ 1400469 w 1659478"/>
                    <a:gd name="connsiteY814" fmla="*/ 843570 h 1461099"/>
                    <a:gd name="connsiteX815" fmla="*/ 1399717 w 1659478"/>
                    <a:gd name="connsiteY815" fmla="*/ 845209 h 1461099"/>
                    <a:gd name="connsiteX816" fmla="*/ 1399255 w 1659478"/>
                    <a:gd name="connsiteY816" fmla="*/ 846982 h 1461099"/>
                    <a:gd name="connsiteX817" fmla="*/ 1398284 w 1659478"/>
                    <a:gd name="connsiteY817" fmla="*/ 848961 h 1461099"/>
                    <a:gd name="connsiteX818" fmla="*/ 1395637 w 1659478"/>
                    <a:gd name="connsiteY818" fmla="*/ 851341 h 1461099"/>
                    <a:gd name="connsiteX819" fmla="*/ 1384732 w 1659478"/>
                    <a:gd name="connsiteY819" fmla="*/ 857971 h 1461099"/>
                    <a:gd name="connsiteX820" fmla="*/ 1383518 w 1659478"/>
                    <a:gd name="connsiteY820" fmla="*/ 860109 h 1461099"/>
                    <a:gd name="connsiteX821" fmla="*/ 1383239 w 1659478"/>
                    <a:gd name="connsiteY821" fmla="*/ 862404 h 1461099"/>
                    <a:gd name="connsiteX822" fmla="*/ 1383239 w 1659478"/>
                    <a:gd name="connsiteY822" fmla="*/ 864699 h 1461099"/>
                    <a:gd name="connsiteX823" fmla="*/ 1382656 w 1659478"/>
                    <a:gd name="connsiteY823" fmla="*/ 866884 h 1461099"/>
                    <a:gd name="connsiteX824" fmla="*/ 1381113 w 1659478"/>
                    <a:gd name="connsiteY824" fmla="*/ 868888 h 1461099"/>
                    <a:gd name="connsiteX825" fmla="*/ 1379559 w 1659478"/>
                    <a:gd name="connsiteY825" fmla="*/ 869726 h 1461099"/>
                    <a:gd name="connsiteX826" fmla="*/ 1377944 w 1659478"/>
                    <a:gd name="connsiteY826" fmla="*/ 870211 h 1461099"/>
                    <a:gd name="connsiteX827" fmla="*/ 1376281 w 1659478"/>
                    <a:gd name="connsiteY827" fmla="*/ 870989 h 1461099"/>
                    <a:gd name="connsiteX828" fmla="*/ 1374326 w 1659478"/>
                    <a:gd name="connsiteY828" fmla="*/ 872628 h 1461099"/>
                    <a:gd name="connsiteX829" fmla="*/ 1370610 w 1659478"/>
                    <a:gd name="connsiteY829" fmla="*/ 877157 h 1461099"/>
                    <a:gd name="connsiteX830" fmla="*/ 1368181 w 1659478"/>
                    <a:gd name="connsiteY830" fmla="*/ 878566 h 1461099"/>
                    <a:gd name="connsiteX831" fmla="*/ 1366008 w 1659478"/>
                    <a:gd name="connsiteY831" fmla="*/ 878602 h 1461099"/>
                    <a:gd name="connsiteX832" fmla="*/ 1363883 w 1659478"/>
                    <a:gd name="connsiteY832" fmla="*/ 878080 h 1461099"/>
                    <a:gd name="connsiteX833" fmla="*/ 1354059 w 1659478"/>
                    <a:gd name="connsiteY833" fmla="*/ 877279 h 1461099"/>
                    <a:gd name="connsiteX834" fmla="*/ 1352043 w 1659478"/>
                    <a:gd name="connsiteY834" fmla="*/ 877740 h 1461099"/>
                    <a:gd name="connsiteX835" fmla="*/ 1351133 w 1659478"/>
                    <a:gd name="connsiteY835" fmla="*/ 878967 h 1461099"/>
                    <a:gd name="connsiteX836" fmla="*/ 1349469 w 1659478"/>
                    <a:gd name="connsiteY836" fmla="*/ 883217 h 1461099"/>
                    <a:gd name="connsiteX837" fmla="*/ 1348206 w 1659478"/>
                    <a:gd name="connsiteY837" fmla="*/ 884832 h 1461099"/>
                    <a:gd name="connsiteX838" fmla="*/ 1346312 w 1659478"/>
                    <a:gd name="connsiteY838" fmla="*/ 885548 h 1461099"/>
                    <a:gd name="connsiteX839" fmla="*/ 1342815 w 1659478"/>
                    <a:gd name="connsiteY839" fmla="*/ 885706 h 1461099"/>
                    <a:gd name="connsiteX840" fmla="*/ 1341090 w 1659478"/>
                    <a:gd name="connsiteY840" fmla="*/ 886750 h 1461099"/>
                    <a:gd name="connsiteX841" fmla="*/ 1336731 w 1659478"/>
                    <a:gd name="connsiteY841" fmla="*/ 890976 h 1461099"/>
                    <a:gd name="connsiteX842" fmla="*/ 1335857 w 1659478"/>
                    <a:gd name="connsiteY842" fmla="*/ 891534 h 1461099"/>
                    <a:gd name="connsiteX843" fmla="*/ 1334193 w 1659478"/>
                    <a:gd name="connsiteY843" fmla="*/ 892178 h 1461099"/>
                    <a:gd name="connsiteX844" fmla="*/ 1329955 w 1659478"/>
                    <a:gd name="connsiteY844" fmla="*/ 899439 h 1461099"/>
                    <a:gd name="connsiteX845" fmla="*/ 1328972 w 1659478"/>
                    <a:gd name="connsiteY845" fmla="*/ 902026 h 1461099"/>
                    <a:gd name="connsiteX846" fmla="*/ 1328729 w 1659478"/>
                    <a:gd name="connsiteY846" fmla="*/ 904807 h 1461099"/>
                    <a:gd name="connsiteX847" fmla="*/ 1328850 w 1659478"/>
                    <a:gd name="connsiteY847" fmla="*/ 910405 h 1461099"/>
                    <a:gd name="connsiteX848" fmla="*/ 1327940 w 1659478"/>
                    <a:gd name="connsiteY848" fmla="*/ 912967 h 1461099"/>
                    <a:gd name="connsiteX849" fmla="*/ 1326677 w 1659478"/>
                    <a:gd name="connsiteY849" fmla="*/ 913792 h 1461099"/>
                    <a:gd name="connsiteX850" fmla="*/ 1323228 w 1659478"/>
                    <a:gd name="connsiteY850" fmla="*/ 914485 h 1461099"/>
                    <a:gd name="connsiteX851" fmla="*/ 1322026 w 1659478"/>
                    <a:gd name="connsiteY851" fmla="*/ 915456 h 1461099"/>
                    <a:gd name="connsiteX852" fmla="*/ 1321504 w 1659478"/>
                    <a:gd name="connsiteY852" fmla="*/ 917933 h 1461099"/>
                    <a:gd name="connsiteX853" fmla="*/ 1322135 w 1659478"/>
                    <a:gd name="connsiteY853" fmla="*/ 920143 h 1461099"/>
                    <a:gd name="connsiteX854" fmla="*/ 1323289 w 1659478"/>
                    <a:gd name="connsiteY854" fmla="*/ 922268 h 1461099"/>
                    <a:gd name="connsiteX855" fmla="*/ 1324151 w 1659478"/>
                    <a:gd name="connsiteY855" fmla="*/ 924563 h 1461099"/>
                    <a:gd name="connsiteX856" fmla="*/ 1329603 w 1659478"/>
                    <a:gd name="connsiteY856" fmla="*/ 951897 h 1461099"/>
                    <a:gd name="connsiteX857" fmla="*/ 1333331 w 1659478"/>
                    <a:gd name="connsiteY857" fmla="*/ 963093 h 1461099"/>
                    <a:gd name="connsiteX858" fmla="*/ 1334424 w 1659478"/>
                    <a:gd name="connsiteY858" fmla="*/ 967804 h 1461099"/>
                    <a:gd name="connsiteX859" fmla="*/ 1335237 w 1659478"/>
                    <a:gd name="connsiteY859" fmla="*/ 969929 h 1461099"/>
                    <a:gd name="connsiteX860" fmla="*/ 1336670 w 1659478"/>
                    <a:gd name="connsiteY860" fmla="*/ 971447 h 1461099"/>
                    <a:gd name="connsiteX861" fmla="*/ 1338273 w 1659478"/>
                    <a:gd name="connsiteY861" fmla="*/ 972334 h 1461099"/>
                    <a:gd name="connsiteX862" fmla="*/ 1340046 w 1659478"/>
                    <a:gd name="connsiteY862" fmla="*/ 972649 h 1461099"/>
                    <a:gd name="connsiteX863" fmla="*/ 1342754 w 1659478"/>
                    <a:gd name="connsiteY863" fmla="*/ 973196 h 1461099"/>
                    <a:gd name="connsiteX864" fmla="*/ 1344879 w 1659478"/>
                    <a:gd name="connsiteY864" fmla="*/ 974459 h 1461099"/>
                    <a:gd name="connsiteX865" fmla="*/ 1346312 w 1659478"/>
                    <a:gd name="connsiteY865" fmla="*/ 975782 h 1461099"/>
                    <a:gd name="connsiteX866" fmla="*/ 1350610 w 1659478"/>
                    <a:gd name="connsiteY866" fmla="*/ 983420 h 1461099"/>
                    <a:gd name="connsiteX867" fmla="*/ 1352104 w 1659478"/>
                    <a:gd name="connsiteY867" fmla="*/ 984962 h 1461099"/>
                    <a:gd name="connsiteX868" fmla="*/ 1354181 w 1659478"/>
                    <a:gd name="connsiteY868" fmla="*/ 986116 h 1461099"/>
                    <a:gd name="connsiteX869" fmla="*/ 1355965 w 1659478"/>
                    <a:gd name="connsiteY869" fmla="*/ 986431 h 1461099"/>
                    <a:gd name="connsiteX870" fmla="*/ 1359803 w 1659478"/>
                    <a:gd name="connsiteY870" fmla="*/ 986456 h 1461099"/>
                    <a:gd name="connsiteX871" fmla="*/ 1361928 w 1659478"/>
                    <a:gd name="connsiteY871" fmla="*/ 986723 h 1461099"/>
                    <a:gd name="connsiteX872" fmla="*/ 1364223 w 1659478"/>
                    <a:gd name="connsiteY872" fmla="*/ 987439 h 1461099"/>
                    <a:gd name="connsiteX873" fmla="*/ 1366287 w 1659478"/>
                    <a:gd name="connsiteY873" fmla="*/ 988362 h 1461099"/>
                    <a:gd name="connsiteX874" fmla="*/ 1374229 w 1659478"/>
                    <a:gd name="connsiteY874" fmla="*/ 994264 h 1461099"/>
                    <a:gd name="connsiteX875" fmla="*/ 1375419 w 1659478"/>
                    <a:gd name="connsiteY875" fmla="*/ 995017 h 1461099"/>
                    <a:gd name="connsiteX876" fmla="*/ 1376791 w 1659478"/>
                    <a:gd name="connsiteY876" fmla="*/ 995502 h 1461099"/>
                    <a:gd name="connsiteX877" fmla="*/ 1378126 w 1659478"/>
                    <a:gd name="connsiteY877" fmla="*/ 995527 h 1461099"/>
                    <a:gd name="connsiteX878" fmla="*/ 1384040 w 1659478"/>
                    <a:gd name="connsiteY878" fmla="*/ 993414 h 1461099"/>
                    <a:gd name="connsiteX879" fmla="*/ 1385412 w 1659478"/>
                    <a:gd name="connsiteY879" fmla="*/ 993062 h 1461099"/>
                    <a:gd name="connsiteX880" fmla="*/ 1387076 w 1659478"/>
                    <a:gd name="connsiteY880" fmla="*/ 993037 h 1461099"/>
                    <a:gd name="connsiteX881" fmla="*/ 1394896 w 1659478"/>
                    <a:gd name="connsiteY881" fmla="*/ 994361 h 1461099"/>
                    <a:gd name="connsiteX882" fmla="*/ 1396608 w 1659478"/>
                    <a:gd name="connsiteY882" fmla="*/ 995138 h 1461099"/>
                    <a:gd name="connsiteX883" fmla="*/ 1403153 w 1659478"/>
                    <a:gd name="connsiteY883" fmla="*/ 1000092 h 1461099"/>
                    <a:gd name="connsiteX884" fmla="*/ 1404889 w 1659478"/>
                    <a:gd name="connsiteY884" fmla="*/ 1000675 h 1461099"/>
                    <a:gd name="connsiteX885" fmla="*/ 1405970 w 1659478"/>
                    <a:gd name="connsiteY885" fmla="*/ 1000420 h 1461099"/>
                    <a:gd name="connsiteX886" fmla="*/ 1409419 w 1659478"/>
                    <a:gd name="connsiteY886" fmla="*/ 998234 h 1461099"/>
                    <a:gd name="connsiteX887" fmla="*/ 1419643 w 1659478"/>
                    <a:gd name="connsiteY887" fmla="*/ 998429 h 1461099"/>
                    <a:gd name="connsiteX888" fmla="*/ 1424913 w 1659478"/>
                    <a:gd name="connsiteY888" fmla="*/ 996365 h 1461099"/>
                    <a:gd name="connsiteX889" fmla="*/ 1430147 w 1659478"/>
                    <a:gd name="connsiteY889" fmla="*/ 993207 h 1461099"/>
                    <a:gd name="connsiteX890" fmla="*/ 1434457 w 1659478"/>
                    <a:gd name="connsiteY890" fmla="*/ 991313 h 1461099"/>
                    <a:gd name="connsiteX891" fmla="*/ 1437323 w 1659478"/>
                    <a:gd name="connsiteY891" fmla="*/ 990888 h 1461099"/>
                    <a:gd name="connsiteX892" fmla="*/ 1439557 w 1659478"/>
                    <a:gd name="connsiteY892" fmla="*/ 991119 h 1461099"/>
                    <a:gd name="connsiteX893" fmla="*/ 1443067 w 1659478"/>
                    <a:gd name="connsiteY893" fmla="*/ 992770 h 1461099"/>
                    <a:gd name="connsiteX894" fmla="*/ 1445884 w 1659478"/>
                    <a:gd name="connsiteY894" fmla="*/ 993547 h 1461099"/>
                    <a:gd name="connsiteX895" fmla="*/ 1450292 w 1659478"/>
                    <a:gd name="connsiteY895" fmla="*/ 994009 h 1461099"/>
                    <a:gd name="connsiteX896" fmla="*/ 1453340 w 1659478"/>
                    <a:gd name="connsiteY896" fmla="*/ 993450 h 1461099"/>
                    <a:gd name="connsiteX897" fmla="*/ 1455647 w 1659478"/>
                    <a:gd name="connsiteY897" fmla="*/ 992260 h 1461099"/>
                    <a:gd name="connsiteX898" fmla="*/ 1457201 w 1659478"/>
                    <a:gd name="connsiteY898" fmla="*/ 990827 h 1461099"/>
                    <a:gd name="connsiteX899" fmla="*/ 1458391 w 1659478"/>
                    <a:gd name="connsiteY899" fmla="*/ 988994 h 1461099"/>
                    <a:gd name="connsiteX900" fmla="*/ 1459253 w 1659478"/>
                    <a:gd name="connsiteY900" fmla="*/ 987209 h 1461099"/>
                    <a:gd name="connsiteX901" fmla="*/ 1461099 w 1659478"/>
                    <a:gd name="connsiteY901" fmla="*/ 981404 h 1461099"/>
                    <a:gd name="connsiteX902" fmla="*/ 1462192 w 1659478"/>
                    <a:gd name="connsiteY902" fmla="*/ 979304 h 1461099"/>
                    <a:gd name="connsiteX903" fmla="*/ 1463843 w 1659478"/>
                    <a:gd name="connsiteY903" fmla="*/ 977506 h 1461099"/>
                    <a:gd name="connsiteX904" fmla="*/ 1467304 w 1659478"/>
                    <a:gd name="connsiteY904" fmla="*/ 975260 h 1461099"/>
                    <a:gd name="connsiteX905" fmla="*/ 1472125 w 1659478"/>
                    <a:gd name="connsiteY905" fmla="*/ 973426 h 1461099"/>
                    <a:gd name="connsiteX906" fmla="*/ 1476023 w 1659478"/>
                    <a:gd name="connsiteY906" fmla="*/ 972831 h 1461099"/>
                    <a:gd name="connsiteX907" fmla="*/ 1477868 w 1659478"/>
                    <a:gd name="connsiteY907" fmla="*/ 972831 h 1461099"/>
                    <a:gd name="connsiteX908" fmla="*/ 1480856 w 1659478"/>
                    <a:gd name="connsiteY908" fmla="*/ 973317 h 1461099"/>
                    <a:gd name="connsiteX909" fmla="*/ 1482106 w 1659478"/>
                    <a:gd name="connsiteY909" fmla="*/ 973888 h 1461099"/>
                    <a:gd name="connsiteX910" fmla="*/ 1483381 w 1659478"/>
                    <a:gd name="connsiteY910" fmla="*/ 974726 h 1461099"/>
                    <a:gd name="connsiteX911" fmla="*/ 1484353 w 1659478"/>
                    <a:gd name="connsiteY911" fmla="*/ 975697 h 1461099"/>
                    <a:gd name="connsiteX912" fmla="*/ 1485276 w 1659478"/>
                    <a:gd name="connsiteY912" fmla="*/ 976875 h 1461099"/>
                    <a:gd name="connsiteX913" fmla="*/ 1486028 w 1659478"/>
                    <a:gd name="connsiteY913" fmla="*/ 978162 h 1461099"/>
                    <a:gd name="connsiteX914" fmla="*/ 1486587 w 1659478"/>
                    <a:gd name="connsiteY914" fmla="*/ 979571 h 1461099"/>
                    <a:gd name="connsiteX915" fmla="*/ 1486587 w 1659478"/>
                    <a:gd name="connsiteY915" fmla="*/ 980554 h 1461099"/>
                    <a:gd name="connsiteX916" fmla="*/ 1485907 w 1659478"/>
                    <a:gd name="connsiteY916" fmla="*/ 981696 h 1461099"/>
                    <a:gd name="connsiteX917" fmla="*/ 1485154 w 1659478"/>
                    <a:gd name="connsiteY917" fmla="*/ 982752 h 1461099"/>
                    <a:gd name="connsiteX918" fmla="*/ 1484304 w 1659478"/>
                    <a:gd name="connsiteY918" fmla="*/ 984306 h 1461099"/>
                    <a:gd name="connsiteX919" fmla="*/ 1483782 w 1659478"/>
                    <a:gd name="connsiteY919" fmla="*/ 986116 h 1461099"/>
                    <a:gd name="connsiteX920" fmla="*/ 1483661 w 1659478"/>
                    <a:gd name="connsiteY920" fmla="*/ 988411 h 1461099"/>
                    <a:gd name="connsiteX921" fmla="*/ 1484013 w 1659478"/>
                    <a:gd name="connsiteY921" fmla="*/ 990366 h 1461099"/>
                    <a:gd name="connsiteX922" fmla="*/ 1484875 w 1659478"/>
                    <a:gd name="connsiteY922" fmla="*/ 992224 h 1461099"/>
                    <a:gd name="connsiteX923" fmla="*/ 1487158 w 1659478"/>
                    <a:gd name="connsiteY923" fmla="*/ 995502 h 1461099"/>
                    <a:gd name="connsiteX924" fmla="*/ 1487850 w 1659478"/>
                    <a:gd name="connsiteY924" fmla="*/ 997057 h 1461099"/>
                    <a:gd name="connsiteX925" fmla="*/ 1487971 w 1659478"/>
                    <a:gd name="connsiteY925" fmla="*/ 998599 h 1461099"/>
                    <a:gd name="connsiteX926" fmla="*/ 1487741 w 1659478"/>
                    <a:gd name="connsiteY926" fmla="*/ 999667 h 1461099"/>
                    <a:gd name="connsiteX927" fmla="*/ 1487097 w 1659478"/>
                    <a:gd name="connsiteY927" fmla="*/ 1001197 h 1461099"/>
                    <a:gd name="connsiteX928" fmla="*/ 1486587 w 1659478"/>
                    <a:gd name="connsiteY928" fmla="*/ 1002654 h 1461099"/>
                    <a:gd name="connsiteX929" fmla="*/ 1486417 w 1659478"/>
                    <a:gd name="connsiteY929" fmla="*/ 1004039 h 1461099"/>
                    <a:gd name="connsiteX930" fmla="*/ 1486478 w 1659478"/>
                    <a:gd name="connsiteY930" fmla="*/ 1005957 h 1461099"/>
                    <a:gd name="connsiteX931" fmla="*/ 1486879 w 1659478"/>
                    <a:gd name="connsiteY931" fmla="*/ 1007997 h 1461099"/>
                    <a:gd name="connsiteX932" fmla="*/ 1487461 w 1659478"/>
                    <a:gd name="connsiteY932" fmla="*/ 1009515 h 1461099"/>
                    <a:gd name="connsiteX933" fmla="*/ 1488773 w 1659478"/>
                    <a:gd name="connsiteY933" fmla="*/ 1011640 h 1461099"/>
                    <a:gd name="connsiteX934" fmla="*/ 1492731 w 1659478"/>
                    <a:gd name="connsiteY934" fmla="*/ 1016182 h 1461099"/>
                    <a:gd name="connsiteX935" fmla="*/ 1493764 w 1659478"/>
                    <a:gd name="connsiteY935" fmla="*/ 1017809 h 1461099"/>
                    <a:gd name="connsiteX936" fmla="*/ 1494164 w 1659478"/>
                    <a:gd name="connsiteY936" fmla="*/ 1019485 h 1461099"/>
                    <a:gd name="connsiteX937" fmla="*/ 1493885 w 1659478"/>
                    <a:gd name="connsiteY937" fmla="*/ 1020942 h 1461099"/>
                    <a:gd name="connsiteX938" fmla="*/ 1492853 w 1659478"/>
                    <a:gd name="connsiteY938" fmla="*/ 1022302 h 1461099"/>
                    <a:gd name="connsiteX939" fmla="*/ 1492112 w 1659478"/>
                    <a:gd name="connsiteY939" fmla="*/ 1023759 h 1461099"/>
                    <a:gd name="connsiteX940" fmla="*/ 1491881 w 1659478"/>
                    <a:gd name="connsiteY940" fmla="*/ 1025362 h 1461099"/>
                    <a:gd name="connsiteX941" fmla="*/ 1492331 w 1659478"/>
                    <a:gd name="connsiteY941" fmla="*/ 1029527 h 1461099"/>
                    <a:gd name="connsiteX942" fmla="*/ 1492112 w 1659478"/>
                    <a:gd name="connsiteY942" fmla="*/ 1031603 h 1461099"/>
                    <a:gd name="connsiteX943" fmla="*/ 1491080 w 1659478"/>
                    <a:gd name="connsiteY943" fmla="*/ 1033352 h 1461099"/>
                    <a:gd name="connsiteX944" fmla="*/ 1489587 w 1659478"/>
                    <a:gd name="connsiteY944" fmla="*/ 1034238 h 1461099"/>
                    <a:gd name="connsiteX945" fmla="*/ 1488093 w 1659478"/>
                    <a:gd name="connsiteY945" fmla="*/ 1034578 h 1461099"/>
                    <a:gd name="connsiteX946" fmla="*/ 1487000 w 1659478"/>
                    <a:gd name="connsiteY946" fmla="*/ 1035015 h 1461099"/>
                    <a:gd name="connsiteX947" fmla="*/ 1486028 w 1659478"/>
                    <a:gd name="connsiteY947" fmla="*/ 1035963 h 1461099"/>
                    <a:gd name="connsiteX948" fmla="*/ 1485154 w 1659478"/>
                    <a:gd name="connsiteY948" fmla="*/ 1037286 h 1461099"/>
                    <a:gd name="connsiteX949" fmla="*/ 1483381 w 1659478"/>
                    <a:gd name="connsiteY949" fmla="*/ 1039120 h 1461099"/>
                    <a:gd name="connsiteX950" fmla="*/ 1481013 w 1659478"/>
                    <a:gd name="connsiteY950" fmla="*/ 1040176 h 1461099"/>
                    <a:gd name="connsiteX951" fmla="*/ 1477468 w 1659478"/>
                    <a:gd name="connsiteY951" fmla="*/ 1039921 h 1461099"/>
                    <a:gd name="connsiteX952" fmla="*/ 1474711 w 1659478"/>
                    <a:gd name="connsiteY952" fmla="*/ 1038464 h 1461099"/>
                    <a:gd name="connsiteX953" fmla="*/ 1471833 w 1659478"/>
                    <a:gd name="connsiteY953" fmla="*/ 1036533 h 1461099"/>
                    <a:gd name="connsiteX954" fmla="*/ 1469259 w 1659478"/>
                    <a:gd name="connsiteY954" fmla="*/ 1035817 h 1461099"/>
                    <a:gd name="connsiteX955" fmla="*/ 1467073 w 1659478"/>
                    <a:gd name="connsiteY955" fmla="*/ 1035902 h 1461099"/>
                    <a:gd name="connsiteX956" fmla="*/ 1463394 w 1659478"/>
                    <a:gd name="connsiteY956" fmla="*/ 1037395 h 1461099"/>
                    <a:gd name="connsiteX957" fmla="*/ 1460188 w 1659478"/>
                    <a:gd name="connsiteY957" fmla="*/ 1037104 h 1461099"/>
                    <a:gd name="connsiteX958" fmla="*/ 1456958 w 1659478"/>
                    <a:gd name="connsiteY958" fmla="*/ 1036048 h 1461099"/>
                    <a:gd name="connsiteX959" fmla="*/ 1454493 w 1659478"/>
                    <a:gd name="connsiteY959" fmla="*/ 1036424 h 1461099"/>
                    <a:gd name="connsiteX960" fmla="*/ 1435890 w 1659478"/>
                    <a:gd name="connsiteY960" fmla="*/ 1043163 h 1461099"/>
                    <a:gd name="connsiteX961" fmla="*/ 1426528 w 1659478"/>
                    <a:gd name="connsiteY961" fmla="*/ 1044402 h 1461099"/>
                    <a:gd name="connsiteX962" fmla="*/ 1422618 w 1659478"/>
                    <a:gd name="connsiteY962" fmla="*/ 1044086 h 1461099"/>
                    <a:gd name="connsiteX963" fmla="*/ 1420675 w 1659478"/>
                    <a:gd name="connsiteY963" fmla="*/ 1044110 h 1461099"/>
                    <a:gd name="connsiteX964" fmla="*/ 1419242 w 1659478"/>
                    <a:gd name="connsiteY964" fmla="*/ 1044366 h 1461099"/>
                    <a:gd name="connsiteX965" fmla="*/ 1403457 w 1659478"/>
                    <a:gd name="connsiteY965" fmla="*/ 1051348 h 1461099"/>
                    <a:gd name="connsiteX966" fmla="*/ 1397531 w 1659478"/>
                    <a:gd name="connsiteY966" fmla="*/ 1052550 h 1461099"/>
                    <a:gd name="connsiteX967" fmla="*/ 1394774 w 1659478"/>
                    <a:gd name="connsiteY967" fmla="*/ 1053873 h 1461099"/>
                    <a:gd name="connsiteX968" fmla="*/ 1393281 w 1659478"/>
                    <a:gd name="connsiteY968" fmla="*/ 1055136 h 1461099"/>
                    <a:gd name="connsiteX969" fmla="*/ 1391447 w 1659478"/>
                    <a:gd name="connsiteY969" fmla="*/ 1058038 h 1461099"/>
                    <a:gd name="connsiteX970" fmla="*/ 1390694 w 1659478"/>
                    <a:gd name="connsiteY970" fmla="*/ 1059411 h 1461099"/>
                    <a:gd name="connsiteX971" fmla="*/ 1390354 w 1659478"/>
                    <a:gd name="connsiteY971" fmla="*/ 1060564 h 1461099"/>
                    <a:gd name="connsiteX972" fmla="*/ 1390415 w 1659478"/>
                    <a:gd name="connsiteY972" fmla="*/ 1061426 h 1461099"/>
                    <a:gd name="connsiteX973" fmla="*/ 1390464 w 1659478"/>
                    <a:gd name="connsiteY973" fmla="*/ 1061851 h 1461099"/>
                    <a:gd name="connsiteX974" fmla="*/ 1390937 w 1659478"/>
                    <a:gd name="connsiteY974" fmla="*/ 1063005 h 1461099"/>
                    <a:gd name="connsiteX975" fmla="*/ 1393803 w 1659478"/>
                    <a:gd name="connsiteY975" fmla="*/ 1068433 h 1461099"/>
                    <a:gd name="connsiteX976" fmla="*/ 1396499 w 1659478"/>
                    <a:gd name="connsiteY976" fmla="*/ 1074784 h 1461099"/>
                    <a:gd name="connsiteX977" fmla="*/ 1397300 w 1659478"/>
                    <a:gd name="connsiteY977" fmla="*/ 1077941 h 1461099"/>
                    <a:gd name="connsiteX978" fmla="*/ 1397482 w 1659478"/>
                    <a:gd name="connsiteY978" fmla="*/ 1082446 h 1461099"/>
                    <a:gd name="connsiteX979" fmla="*/ 1397179 w 1659478"/>
                    <a:gd name="connsiteY979" fmla="*/ 1083733 h 1461099"/>
                    <a:gd name="connsiteX980" fmla="*/ 1396389 w 1659478"/>
                    <a:gd name="connsiteY980" fmla="*/ 1085287 h 1461099"/>
                    <a:gd name="connsiteX981" fmla="*/ 1394714 w 1659478"/>
                    <a:gd name="connsiteY981" fmla="*/ 1087242 h 1461099"/>
                    <a:gd name="connsiteX982" fmla="*/ 1392649 w 1659478"/>
                    <a:gd name="connsiteY982" fmla="*/ 1088529 h 1461099"/>
                    <a:gd name="connsiteX983" fmla="*/ 1390694 w 1659478"/>
                    <a:gd name="connsiteY983" fmla="*/ 1089331 h 1461099"/>
                    <a:gd name="connsiteX984" fmla="*/ 1386857 w 1659478"/>
                    <a:gd name="connsiteY984" fmla="*/ 1090254 h 1461099"/>
                    <a:gd name="connsiteX985" fmla="*/ 1382886 w 1659478"/>
                    <a:gd name="connsiteY985" fmla="*/ 1090533 h 1461099"/>
                    <a:gd name="connsiteX986" fmla="*/ 1381332 w 1659478"/>
                    <a:gd name="connsiteY986" fmla="*/ 1090800 h 1461099"/>
                    <a:gd name="connsiteX987" fmla="*/ 1380361 w 1659478"/>
                    <a:gd name="connsiteY987" fmla="*/ 1091456 h 1461099"/>
                    <a:gd name="connsiteX988" fmla="*/ 1379389 w 1659478"/>
                    <a:gd name="connsiteY988" fmla="*/ 1092524 h 1461099"/>
                    <a:gd name="connsiteX989" fmla="*/ 1378187 w 1659478"/>
                    <a:gd name="connsiteY989" fmla="*/ 1094358 h 1461099"/>
                    <a:gd name="connsiteX990" fmla="*/ 1378649 w 1659478"/>
                    <a:gd name="connsiteY990" fmla="*/ 1096422 h 1461099"/>
                    <a:gd name="connsiteX991" fmla="*/ 1380931 w 1659478"/>
                    <a:gd name="connsiteY991" fmla="*/ 1098438 h 1461099"/>
                    <a:gd name="connsiteX992" fmla="*/ 1390876 w 1659478"/>
                    <a:gd name="connsiteY992" fmla="*/ 1109804 h 1461099"/>
                    <a:gd name="connsiteX993" fmla="*/ 1396438 w 1659478"/>
                    <a:gd name="connsiteY993" fmla="*/ 1112961 h 1461099"/>
                    <a:gd name="connsiteX994" fmla="*/ 1404647 w 1659478"/>
                    <a:gd name="connsiteY994" fmla="*/ 1113799 h 1461099"/>
                    <a:gd name="connsiteX995" fmla="*/ 1406432 w 1659478"/>
                    <a:gd name="connsiteY995" fmla="*/ 1113507 h 1461099"/>
                    <a:gd name="connsiteX996" fmla="*/ 1407743 w 1659478"/>
                    <a:gd name="connsiteY996" fmla="*/ 1113107 h 1461099"/>
                    <a:gd name="connsiteX997" fmla="*/ 1409176 w 1659478"/>
                    <a:gd name="connsiteY997" fmla="*/ 1112900 h 1461099"/>
                    <a:gd name="connsiteX998" fmla="*/ 1411192 w 1659478"/>
                    <a:gd name="connsiteY998" fmla="*/ 1113216 h 1461099"/>
                    <a:gd name="connsiteX999" fmla="*/ 1413159 w 1659478"/>
                    <a:gd name="connsiteY999" fmla="*/ 1114224 h 1461099"/>
                    <a:gd name="connsiteX1000" fmla="*/ 1422108 w 1659478"/>
                    <a:gd name="connsiteY1000" fmla="*/ 1121862 h 1461099"/>
                    <a:gd name="connsiteX1001" fmla="*/ 1424525 w 1659478"/>
                    <a:gd name="connsiteY1001" fmla="*/ 1124509 h 1461099"/>
                    <a:gd name="connsiteX1002" fmla="*/ 1426358 w 1659478"/>
                    <a:gd name="connsiteY1002" fmla="*/ 1127630 h 1461099"/>
                    <a:gd name="connsiteX1003" fmla="*/ 1428022 w 1659478"/>
                    <a:gd name="connsiteY1003" fmla="*/ 1131770 h 1461099"/>
                    <a:gd name="connsiteX1004" fmla="*/ 1430426 w 1659478"/>
                    <a:gd name="connsiteY1004" fmla="*/ 1141157 h 1461099"/>
                    <a:gd name="connsiteX1005" fmla="*/ 1430778 w 1659478"/>
                    <a:gd name="connsiteY1005" fmla="*/ 1146038 h 1461099"/>
                    <a:gd name="connsiteX1006" fmla="*/ 1430426 w 1659478"/>
                    <a:gd name="connsiteY1006" fmla="*/ 1149281 h 1461099"/>
                    <a:gd name="connsiteX1007" fmla="*/ 1429115 w 1659478"/>
                    <a:gd name="connsiteY1007" fmla="*/ 1151065 h 1461099"/>
                    <a:gd name="connsiteX1008" fmla="*/ 1428471 w 1659478"/>
                    <a:gd name="connsiteY1008" fmla="*/ 1152122 h 1461099"/>
                    <a:gd name="connsiteX1009" fmla="*/ 1425957 w 1659478"/>
                    <a:gd name="connsiteY1009" fmla="*/ 1153907 h 1461099"/>
                    <a:gd name="connsiteX1010" fmla="*/ 1408666 w 1659478"/>
                    <a:gd name="connsiteY1010" fmla="*/ 1161508 h 1461099"/>
                    <a:gd name="connsiteX1011" fmla="*/ 1407864 w 1659478"/>
                    <a:gd name="connsiteY1011" fmla="*/ 1161739 h 1461099"/>
                    <a:gd name="connsiteX1012" fmla="*/ 1404768 w 1659478"/>
                    <a:gd name="connsiteY1012" fmla="*/ 1162310 h 1461099"/>
                    <a:gd name="connsiteX1013" fmla="*/ 1402874 w 1659478"/>
                    <a:gd name="connsiteY1013" fmla="*/ 1162286 h 1461099"/>
                    <a:gd name="connsiteX1014" fmla="*/ 1401380 w 1659478"/>
                    <a:gd name="connsiteY1014" fmla="*/ 1162031 h 1461099"/>
                    <a:gd name="connsiteX1015" fmla="*/ 1400688 w 1659478"/>
                    <a:gd name="connsiteY1015" fmla="*/ 1161715 h 1461099"/>
                    <a:gd name="connsiteX1016" fmla="*/ 1400409 w 1659478"/>
                    <a:gd name="connsiteY1016" fmla="*/ 1161533 h 1461099"/>
                    <a:gd name="connsiteX1017" fmla="*/ 1400227 w 1659478"/>
                    <a:gd name="connsiteY1017" fmla="*/ 1160768 h 1461099"/>
                    <a:gd name="connsiteX1018" fmla="*/ 1400409 w 1659478"/>
                    <a:gd name="connsiteY1018" fmla="*/ 1157465 h 1461099"/>
                    <a:gd name="connsiteX1019" fmla="*/ 1400227 w 1659478"/>
                    <a:gd name="connsiteY1019" fmla="*/ 1156287 h 1461099"/>
                    <a:gd name="connsiteX1020" fmla="*/ 1399887 w 1659478"/>
                    <a:gd name="connsiteY1020" fmla="*/ 1154793 h 1461099"/>
                    <a:gd name="connsiteX1021" fmla="*/ 1398551 w 1659478"/>
                    <a:gd name="connsiteY1021" fmla="*/ 1151576 h 1461099"/>
                    <a:gd name="connsiteX1022" fmla="*/ 1397822 w 1659478"/>
                    <a:gd name="connsiteY1022" fmla="*/ 1150337 h 1461099"/>
                    <a:gd name="connsiteX1023" fmla="*/ 1396960 w 1659478"/>
                    <a:gd name="connsiteY1023" fmla="*/ 1149232 h 1461099"/>
                    <a:gd name="connsiteX1024" fmla="*/ 1396037 w 1659478"/>
                    <a:gd name="connsiteY1024" fmla="*/ 1148540 h 1461099"/>
                    <a:gd name="connsiteX1025" fmla="*/ 1394896 w 1659478"/>
                    <a:gd name="connsiteY1025" fmla="*/ 1148163 h 1461099"/>
                    <a:gd name="connsiteX1026" fmla="*/ 1392249 w 1659478"/>
                    <a:gd name="connsiteY1026" fmla="*/ 1148127 h 1461099"/>
                    <a:gd name="connsiteX1027" fmla="*/ 1391034 w 1659478"/>
                    <a:gd name="connsiteY1027" fmla="*/ 1147872 h 1461099"/>
                    <a:gd name="connsiteX1028" fmla="*/ 1389723 w 1659478"/>
                    <a:gd name="connsiteY1028" fmla="*/ 1147350 h 1461099"/>
                    <a:gd name="connsiteX1029" fmla="*/ 1388412 w 1659478"/>
                    <a:gd name="connsiteY1029" fmla="*/ 1146609 h 1461099"/>
                    <a:gd name="connsiteX1030" fmla="*/ 1387197 w 1659478"/>
                    <a:gd name="connsiteY1030" fmla="*/ 1146293 h 1461099"/>
                    <a:gd name="connsiteX1031" fmla="*/ 1385922 w 1659478"/>
                    <a:gd name="connsiteY1031" fmla="*/ 1146354 h 1461099"/>
                    <a:gd name="connsiteX1032" fmla="*/ 1383870 w 1659478"/>
                    <a:gd name="connsiteY1032" fmla="*/ 1147325 h 1461099"/>
                    <a:gd name="connsiteX1033" fmla="*/ 1383117 w 1659478"/>
                    <a:gd name="connsiteY1033" fmla="*/ 1148540 h 1461099"/>
                    <a:gd name="connsiteX1034" fmla="*/ 1382996 w 1659478"/>
                    <a:gd name="connsiteY1034" fmla="*/ 1150434 h 1461099"/>
                    <a:gd name="connsiteX1035" fmla="*/ 1384368 w 1659478"/>
                    <a:gd name="connsiteY1035" fmla="*/ 1157319 h 1461099"/>
                    <a:gd name="connsiteX1036" fmla="*/ 1384550 w 1659478"/>
                    <a:gd name="connsiteY1036" fmla="*/ 1158958 h 1461099"/>
                    <a:gd name="connsiteX1037" fmla="*/ 1384550 w 1659478"/>
                    <a:gd name="connsiteY1037" fmla="*/ 1160391 h 1461099"/>
                    <a:gd name="connsiteX1038" fmla="*/ 1384489 w 1659478"/>
                    <a:gd name="connsiteY1038" fmla="*/ 1161168 h 1461099"/>
                    <a:gd name="connsiteX1039" fmla="*/ 1383056 w 1659478"/>
                    <a:gd name="connsiteY1039" fmla="*/ 1166329 h 1461099"/>
                    <a:gd name="connsiteX1040" fmla="*/ 1382886 w 1659478"/>
                    <a:gd name="connsiteY1040" fmla="*/ 1167713 h 1461099"/>
                    <a:gd name="connsiteX1041" fmla="*/ 1382935 w 1659478"/>
                    <a:gd name="connsiteY1041" fmla="*/ 1169086 h 1461099"/>
                    <a:gd name="connsiteX1042" fmla="*/ 1383396 w 1659478"/>
                    <a:gd name="connsiteY1042" fmla="*/ 1170895 h 1461099"/>
                    <a:gd name="connsiteX1043" fmla="*/ 1384951 w 1659478"/>
                    <a:gd name="connsiteY1043" fmla="*/ 1176262 h 1461099"/>
                    <a:gd name="connsiteX1044" fmla="*/ 1384611 w 1659478"/>
                    <a:gd name="connsiteY1044" fmla="*/ 1189389 h 1461099"/>
                    <a:gd name="connsiteX1045" fmla="*/ 1385704 w 1659478"/>
                    <a:gd name="connsiteY1045" fmla="*/ 1193918 h 1461099"/>
                    <a:gd name="connsiteX1046" fmla="*/ 1387780 w 1659478"/>
                    <a:gd name="connsiteY1046" fmla="*/ 1198119 h 1461099"/>
                    <a:gd name="connsiteX1047" fmla="*/ 1396499 w 1659478"/>
                    <a:gd name="connsiteY1047" fmla="*/ 1209084 h 1461099"/>
                    <a:gd name="connsiteX1048" fmla="*/ 1399037 w 1659478"/>
                    <a:gd name="connsiteY1048" fmla="*/ 1213104 h 1461099"/>
                    <a:gd name="connsiteX1049" fmla="*/ 1399486 w 1659478"/>
                    <a:gd name="connsiteY1049" fmla="*/ 1215338 h 1461099"/>
                    <a:gd name="connsiteX1050" fmla="*/ 1399073 w 1659478"/>
                    <a:gd name="connsiteY1050" fmla="*/ 1217208 h 1461099"/>
                    <a:gd name="connsiteX1051" fmla="*/ 1397871 w 1659478"/>
                    <a:gd name="connsiteY1051" fmla="*/ 1218726 h 1461099"/>
                    <a:gd name="connsiteX1052" fmla="*/ 1396608 w 1659478"/>
                    <a:gd name="connsiteY1052" fmla="*/ 1220632 h 1461099"/>
                    <a:gd name="connsiteX1053" fmla="*/ 1395807 w 1659478"/>
                    <a:gd name="connsiteY1053" fmla="*/ 1223158 h 1461099"/>
                    <a:gd name="connsiteX1054" fmla="*/ 1394993 w 1659478"/>
                    <a:gd name="connsiteY1054" fmla="*/ 1224882 h 1461099"/>
                    <a:gd name="connsiteX1055" fmla="*/ 1393633 w 1659478"/>
                    <a:gd name="connsiteY1055" fmla="*/ 1226194 h 1461099"/>
                    <a:gd name="connsiteX1056" fmla="*/ 1391617 w 1659478"/>
                    <a:gd name="connsiteY1056" fmla="*/ 1226631 h 1461099"/>
                    <a:gd name="connsiteX1057" fmla="*/ 1389322 w 1659478"/>
                    <a:gd name="connsiteY1057" fmla="*/ 1226595 h 1461099"/>
                    <a:gd name="connsiteX1058" fmla="*/ 1387367 w 1659478"/>
                    <a:gd name="connsiteY1058" fmla="*/ 1226279 h 1461099"/>
                    <a:gd name="connsiteX1059" fmla="*/ 1385983 w 1659478"/>
                    <a:gd name="connsiteY1059" fmla="*/ 1226315 h 1461099"/>
                    <a:gd name="connsiteX1060" fmla="*/ 1384550 w 1659478"/>
                    <a:gd name="connsiteY1060" fmla="*/ 1226801 h 1461099"/>
                    <a:gd name="connsiteX1061" fmla="*/ 1380871 w 1659478"/>
                    <a:gd name="connsiteY1061" fmla="*/ 1228890 h 1461099"/>
                    <a:gd name="connsiteX1062" fmla="*/ 1375601 w 1659478"/>
                    <a:gd name="connsiteY1062" fmla="*/ 1229132 h 1461099"/>
                    <a:gd name="connsiteX1063" fmla="*/ 1371181 w 1659478"/>
                    <a:gd name="connsiteY1063" fmla="*/ 1226255 h 1461099"/>
                    <a:gd name="connsiteX1064" fmla="*/ 1367781 w 1659478"/>
                    <a:gd name="connsiteY1064" fmla="*/ 1223437 h 1461099"/>
                    <a:gd name="connsiteX1065" fmla="*/ 1357277 w 1659478"/>
                    <a:gd name="connsiteY1065" fmla="*/ 1216552 h 1461099"/>
                    <a:gd name="connsiteX1066" fmla="*/ 1354812 w 1659478"/>
                    <a:gd name="connsiteY1066" fmla="*/ 1214318 h 1461099"/>
                    <a:gd name="connsiteX1067" fmla="*/ 1354472 w 1659478"/>
                    <a:gd name="connsiteY1067" fmla="*/ 1213164 h 1461099"/>
                    <a:gd name="connsiteX1068" fmla="*/ 1354690 w 1659478"/>
                    <a:gd name="connsiteY1068" fmla="*/ 1211635 h 1461099"/>
                    <a:gd name="connsiteX1069" fmla="*/ 1355383 w 1659478"/>
                    <a:gd name="connsiteY1069" fmla="*/ 1209947 h 1461099"/>
                    <a:gd name="connsiteX1070" fmla="*/ 1357216 w 1659478"/>
                    <a:gd name="connsiteY1070" fmla="*/ 1206559 h 1461099"/>
                    <a:gd name="connsiteX1071" fmla="*/ 1358030 w 1659478"/>
                    <a:gd name="connsiteY1071" fmla="*/ 1204543 h 1461099"/>
                    <a:gd name="connsiteX1072" fmla="*/ 1358248 w 1659478"/>
                    <a:gd name="connsiteY1072" fmla="*/ 1202406 h 1461099"/>
                    <a:gd name="connsiteX1073" fmla="*/ 1357398 w 1659478"/>
                    <a:gd name="connsiteY1073" fmla="*/ 1200184 h 1461099"/>
                    <a:gd name="connsiteX1074" fmla="*/ 1355723 w 1659478"/>
                    <a:gd name="connsiteY1074" fmla="*/ 1199443 h 1461099"/>
                    <a:gd name="connsiteX1075" fmla="*/ 1353537 w 1659478"/>
                    <a:gd name="connsiteY1075" fmla="*/ 1199467 h 1461099"/>
                    <a:gd name="connsiteX1076" fmla="*/ 1348376 w 1659478"/>
                    <a:gd name="connsiteY1076" fmla="*/ 1201131 h 1461099"/>
                    <a:gd name="connsiteX1077" fmla="*/ 1343033 w 1659478"/>
                    <a:gd name="connsiteY1077" fmla="*/ 1203450 h 1461099"/>
                    <a:gd name="connsiteX1078" fmla="*/ 1340908 w 1659478"/>
                    <a:gd name="connsiteY1078" fmla="*/ 1204834 h 1461099"/>
                    <a:gd name="connsiteX1079" fmla="*/ 1339196 w 1659478"/>
                    <a:gd name="connsiteY1079" fmla="*/ 1206680 h 1461099"/>
                    <a:gd name="connsiteX1080" fmla="*/ 1337982 w 1659478"/>
                    <a:gd name="connsiteY1080" fmla="*/ 1208878 h 1461099"/>
                    <a:gd name="connsiteX1081" fmla="*/ 1336039 w 1659478"/>
                    <a:gd name="connsiteY1081" fmla="*/ 1215690 h 1461099"/>
                    <a:gd name="connsiteX1082" fmla="*/ 1335347 w 1659478"/>
                    <a:gd name="connsiteY1082" fmla="*/ 1216977 h 1461099"/>
                    <a:gd name="connsiteX1083" fmla="*/ 1333622 w 1659478"/>
                    <a:gd name="connsiteY1083" fmla="*/ 1218216 h 1461099"/>
                    <a:gd name="connsiteX1084" fmla="*/ 1331255 w 1659478"/>
                    <a:gd name="connsiteY1084" fmla="*/ 1219017 h 1461099"/>
                    <a:gd name="connsiteX1085" fmla="*/ 1327757 w 1659478"/>
                    <a:gd name="connsiteY1085" fmla="*/ 1219418 h 1461099"/>
                    <a:gd name="connsiteX1086" fmla="*/ 1325985 w 1659478"/>
                    <a:gd name="connsiteY1086" fmla="*/ 1219127 h 1461099"/>
                    <a:gd name="connsiteX1087" fmla="*/ 1324612 w 1659478"/>
                    <a:gd name="connsiteY1087" fmla="*/ 1218362 h 1461099"/>
                    <a:gd name="connsiteX1088" fmla="*/ 1323860 w 1659478"/>
                    <a:gd name="connsiteY1088" fmla="*/ 1217014 h 1461099"/>
                    <a:gd name="connsiteX1089" fmla="*/ 1322548 w 1659478"/>
                    <a:gd name="connsiteY1089" fmla="*/ 1212788 h 1461099"/>
                    <a:gd name="connsiteX1090" fmla="*/ 1321382 w 1659478"/>
                    <a:gd name="connsiteY1090" fmla="*/ 1210602 h 1461099"/>
                    <a:gd name="connsiteX1091" fmla="*/ 1319379 w 1659478"/>
                    <a:gd name="connsiteY1091" fmla="*/ 1208878 h 1461099"/>
                    <a:gd name="connsiteX1092" fmla="*/ 1317375 w 1659478"/>
                    <a:gd name="connsiteY1092" fmla="*/ 1208307 h 1461099"/>
                    <a:gd name="connsiteX1093" fmla="*/ 1308365 w 1659478"/>
                    <a:gd name="connsiteY1093" fmla="*/ 1209400 h 1461099"/>
                    <a:gd name="connsiteX1094" fmla="*/ 1303362 w 1659478"/>
                    <a:gd name="connsiteY1094" fmla="*/ 1209291 h 1461099"/>
                    <a:gd name="connsiteX1095" fmla="*/ 1299052 w 1659478"/>
                    <a:gd name="connsiteY1095" fmla="*/ 1208283 h 1461099"/>
                    <a:gd name="connsiteX1096" fmla="*/ 1288949 w 1659478"/>
                    <a:gd name="connsiteY1096" fmla="*/ 1204689 h 1461099"/>
                    <a:gd name="connsiteX1097" fmla="*/ 1285622 w 1659478"/>
                    <a:gd name="connsiteY1097" fmla="*/ 1204349 h 1461099"/>
                    <a:gd name="connsiteX1098" fmla="*/ 1279416 w 1659478"/>
                    <a:gd name="connsiteY1098" fmla="*/ 1205551 h 1461099"/>
                    <a:gd name="connsiteX1099" fmla="*/ 1274996 w 1659478"/>
                    <a:gd name="connsiteY1099" fmla="*/ 1205757 h 1461099"/>
                    <a:gd name="connsiteX1100" fmla="*/ 1272009 w 1659478"/>
                    <a:gd name="connsiteY1100" fmla="*/ 1204580 h 1461099"/>
                    <a:gd name="connsiteX1101" fmla="*/ 1269763 w 1659478"/>
                    <a:gd name="connsiteY1101" fmla="*/ 1202831 h 1461099"/>
                    <a:gd name="connsiteX1102" fmla="*/ 1268391 w 1659478"/>
                    <a:gd name="connsiteY1102" fmla="*/ 1200985 h 1461099"/>
                    <a:gd name="connsiteX1103" fmla="*/ 1267480 w 1659478"/>
                    <a:gd name="connsiteY1103" fmla="*/ 1199237 h 1461099"/>
                    <a:gd name="connsiteX1104" fmla="*/ 1267237 w 1659478"/>
                    <a:gd name="connsiteY1104" fmla="*/ 1197913 h 1461099"/>
                    <a:gd name="connsiteX1105" fmla="*/ 1267298 w 1659478"/>
                    <a:gd name="connsiteY1105" fmla="*/ 1196687 h 1461099"/>
                    <a:gd name="connsiteX1106" fmla="*/ 1267941 w 1659478"/>
                    <a:gd name="connsiteY1106" fmla="*/ 1193699 h 1461099"/>
                    <a:gd name="connsiteX1107" fmla="*/ 1267881 w 1659478"/>
                    <a:gd name="connsiteY1107" fmla="*/ 1192291 h 1461099"/>
                    <a:gd name="connsiteX1108" fmla="*/ 1267237 w 1659478"/>
                    <a:gd name="connsiteY1108" fmla="*/ 1191004 h 1461099"/>
                    <a:gd name="connsiteX1109" fmla="*/ 1266035 w 1659478"/>
                    <a:gd name="connsiteY1109" fmla="*/ 1190821 h 1461099"/>
                    <a:gd name="connsiteX1110" fmla="*/ 1264371 w 1659478"/>
                    <a:gd name="connsiteY1110" fmla="*/ 1191113 h 1461099"/>
                    <a:gd name="connsiteX1111" fmla="*/ 1260874 w 1659478"/>
                    <a:gd name="connsiteY1111" fmla="*/ 1192752 h 1461099"/>
                    <a:gd name="connsiteX1112" fmla="*/ 1258178 w 1659478"/>
                    <a:gd name="connsiteY1112" fmla="*/ 1194331 h 1461099"/>
                    <a:gd name="connsiteX1113" fmla="*/ 1256685 w 1659478"/>
                    <a:gd name="connsiteY1113" fmla="*/ 1195509 h 1461099"/>
                    <a:gd name="connsiteX1114" fmla="*/ 1255641 w 1659478"/>
                    <a:gd name="connsiteY1114" fmla="*/ 1197002 h 1461099"/>
                    <a:gd name="connsiteX1115" fmla="*/ 1255070 w 1659478"/>
                    <a:gd name="connsiteY1115" fmla="*/ 1198945 h 1461099"/>
                    <a:gd name="connsiteX1116" fmla="*/ 1254839 w 1659478"/>
                    <a:gd name="connsiteY1116" fmla="*/ 1204834 h 1461099"/>
                    <a:gd name="connsiteX1117" fmla="*/ 1253856 w 1659478"/>
                    <a:gd name="connsiteY1117" fmla="*/ 1208975 h 1461099"/>
                    <a:gd name="connsiteX1118" fmla="*/ 1253698 w 1659478"/>
                    <a:gd name="connsiteY1118" fmla="*/ 1211003 h 1461099"/>
                    <a:gd name="connsiteX1119" fmla="*/ 1254208 w 1659478"/>
                    <a:gd name="connsiteY1119" fmla="*/ 1214913 h 1461099"/>
                    <a:gd name="connsiteX1120" fmla="*/ 1253576 w 1659478"/>
                    <a:gd name="connsiteY1120" fmla="*/ 1222005 h 1461099"/>
                    <a:gd name="connsiteX1121" fmla="*/ 1253576 w 1659478"/>
                    <a:gd name="connsiteY1121" fmla="*/ 1224530 h 1461099"/>
                    <a:gd name="connsiteX1122" fmla="*/ 1254147 w 1659478"/>
                    <a:gd name="connsiteY1122" fmla="*/ 1229181 h 1461099"/>
                    <a:gd name="connsiteX1123" fmla="*/ 1254147 w 1659478"/>
                    <a:gd name="connsiteY1123" fmla="*/ 1231100 h 1461099"/>
                    <a:gd name="connsiteX1124" fmla="*/ 1253698 w 1659478"/>
                    <a:gd name="connsiteY1124" fmla="*/ 1234342 h 1461099"/>
                    <a:gd name="connsiteX1125" fmla="*/ 1247432 w 1659478"/>
                    <a:gd name="connsiteY1125" fmla="*/ 1241470 h 1461099"/>
                    <a:gd name="connsiteX1126" fmla="*/ 1231634 w 1659478"/>
                    <a:gd name="connsiteY1126" fmla="*/ 1250832 h 1461099"/>
                    <a:gd name="connsiteX1127" fmla="*/ 1228950 w 1659478"/>
                    <a:gd name="connsiteY1127" fmla="*/ 1253637 h 1461099"/>
                    <a:gd name="connsiteX1128" fmla="*/ 1228076 w 1659478"/>
                    <a:gd name="connsiteY1128" fmla="*/ 1255823 h 1461099"/>
                    <a:gd name="connsiteX1129" fmla="*/ 1229169 w 1659478"/>
                    <a:gd name="connsiteY1129" fmla="*/ 1257377 h 1461099"/>
                    <a:gd name="connsiteX1130" fmla="*/ 1231877 w 1659478"/>
                    <a:gd name="connsiteY1130" fmla="*/ 1260158 h 1461099"/>
                    <a:gd name="connsiteX1131" fmla="*/ 1232095 w 1659478"/>
                    <a:gd name="connsiteY1131" fmla="*/ 1260850 h 1461099"/>
                    <a:gd name="connsiteX1132" fmla="*/ 1232156 w 1659478"/>
                    <a:gd name="connsiteY1132" fmla="*/ 1261372 h 1461099"/>
                    <a:gd name="connsiteX1133" fmla="*/ 1231986 w 1659478"/>
                    <a:gd name="connsiteY1133" fmla="*/ 1262173 h 1461099"/>
                    <a:gd name="connsiteX1134" fmla="*/ 1231415 w 1659478"/>
                    <a:gd name="connsiteY1134" fmla="*/ 1264153 h 1461099"/>
                    <a:gd name="connsiteX1135" fmla="*/ 1230723 w 1659478"/>
                    <a:gd name="connsiteY1135" fmla="*/ 1265671 h 1461099"/>
                    <a:gd name="connsiteX1136" fmla="*/ 1229290 w 1659478"/>
                    <a:gd name="connsiteY1136" fmla="*/ 1267941 h 1461099"/>
                    <a:gd name="connsiteX1137" fmla="*/ 1226813 w 1659478"/>
                    <a:gd name="connsiteY1137" fmla="*/ 1269836 h 1461099"/>
                    <a:gd name="connsiteX1138" fmla="*/ 1212910 w 1659478"/>
                    <a:gd name="connsiteY1138" fmla="*/ 1277182 h 1461099"/>
                    <a:gd name="connsiteX1139" fmla="*/ 1203220 w 1659478"/>
                    <a:gd name="connsiteY1139" fmla="*/ 1279878 h 1461099"/>
                    <a:gd name="connsiteX1140" fmla="*/ 1196614 w 1659478"/>
                    <a:gd name="connsiteY1140" fmla="*/ 1283411 h 1461099"/>
                    <a:gd name="connsiteX1141" fmla="*/ 1192886 w 1659478"/>
                    <a:gd name="connsiteY1141" fmla="*/ 1284419 h 1461099"/>
                    <a:gd name="connsiteX1142" fmla="*/ 1189899 w 1659478"/>
                    <a:gd name="connsiteY1142" fmla="*/ 1284164 h 1461099"/>
                    <a:gd name="connsiteX1143" fmla="*/ 1188004 w 1659478"/>
                    <a:gd name="connsiteY1143" fmla="*/ 1282246 h 1461099"/>
                    <a:gd name="connsiteX1144" fmla="*/ 1186280 w 1659478"/>
                    <a:gd name="connsiteY1144" fmla="*/ 1280108 h 1461099"/>
                    <a:gd name="connsiteX1145" fmla="*/ 1184604 w 1659478"/>
                    <a:gd name="connsiteY1145" fmla="*/ 1278384 h 1461099"/>
                    <a:gd name="connsiteX1146" fmla="*/ 1183001 w 1659478"/>
                    <a:gd name="connsiteY1146" fmla="*/ 1277473 h 1461099"/>
                    <a:gd name="connsiteX1147" fmla="*/ 1180937 w 1659478"/>
                    <a:gd name="connsiteY1147" fmla="*/ 1277583 h 1461099"/>
                    <a:gd name="connsiteX1148" fmla="*/ 1179905 w 1659478"/>
                    <a:gd name="connsiteY1148" fmla="*/ 1278384 h 1461099"/>
                    <a:gd name="connsiteX1149" fmla="*/ 1179334 w 1659478"/>
                    <a:gd name="connsiteY1149" fmla="*/ 1279550 h 1461099"/>
                    <a:gd name="connsiteX1150" fmla="*/ 1179456 w 1659478"/>
                    <a:gd name="connsiteY1150" fmla="*/ 1281044 h 1461099"/>
                    <a:gd name="connsiteX1151" fmla="*/ 1180585 w 1659478"/>
                    <a:gd name="connsiteY1151" fmla="*/ 1285233 h 1461099"/>
                    <a:gd name="connsiteX1152" fmla="*/ 1180889 w 1659478"/>
                    <a:gd name="connsiteY1152" fmla="*/ 1287297 h 1461099"/>
                    <a:gd name="connsiteX1153" fmla="*/ 1180524 w 1659478"/>
                    <a:gd name="connsiteY1153" fmla="*/ 1289009 h 1461099"/>
                    <a:gd name="connsiteX1154" fmla="*/ 1177719 w 1659478"/>
                    <a:gd name="connsiteY1154" fmla="*/ 1294510 h 1461099"/>
                    <a:gd name="connsiteX1155" fmla="*/ 1177331 w 1659478"/>
                    <a:gd name="connsiteY1155" fmla="*/ 1296198 h 1461099"/>
                    <a:gd name="connsiteX1156" fmla="*/ 1177027 w 1659478"/>
                    <a:gd name="connsiteY1156" fmla="*/ 1298056 h 1461099"/>
                    <a:gd name="connsiteX1157" fmla="*/ 1176517 w 1659478"/>
                    <a:gd name="connsiteY1157" fmla="*/ 1299987 h 1461099"/>
                    <a:gd name="connsiteX1158" fmla="*/ 1175485 w 1659478"/>
                    <a:gd name="connsiteY1158" fmla="*/ 1302027 h 1461099"/>
                    <a:gd name="connsiteX1159" fmla="*/ 1174222 w 1659478"/>
                    <a:gd name="connsiteY1159" fmla="*/ 1302828 h 1461099"/>
                    <a:gd name="connsiteX1160" fmla="*/ 1172668 w 1659478"/>
                    <a:gd name="connsiteY1160" fmla="*/ 1302682 h 1461099"/>
                    <a:gd name="connsiteX1161" fmla="*/ 1169110 w 1659478"/>
                    <a:gd name="connsiteY1161" fmla="*/ 1299756 h 1461099"/>
                    <a:gd name="connsiteX1162" fmla="*/ 1166766 w 1659478"/>
                    <a:gd name="connsiteY1162" fmla="*/ 1298602 h 1461099"/>
                    <a:gd name="connsiteX1163" fmla="*/ 1163828 w 1659478"/>
                    <a:gd name="connsiteY1163" fmla="*/ 1297922 h 1461099"/>
                    <a:gd name="connsiteX1164" fmla="*/ 1156239 w 1659478"/>
                    <a:gd name="connsiteY1164" fmla="*/ 1297109 h 1461099"/>
                    <a:gd name="connsiteX1165" fmla="*/ 1154927 w 1659478"/>
                    <a:gd name="connsiteY1165" fmla="*/ 1293527 h 1461099"/>
                    <a:gd name="connsiteX1166" fmla="*/ 1154696 w 1659478"/>
                    <a:gd name="connsiteY1166" fmla="*/ 1289677 h 1461099"/>
                    <a:gd name="connsiteX1167" fmla="*/ 1153652 w 1659478"/>
                    <a:gd name="connsiteY1167" fmla="*/ 1287200 h 1461099"/>
                    <a:gd name="connsiteX1168" fmla="*/ 1152681 w 1659478"/>
                    <a:gd name="connsiteY1168" fmla="*/ 1285658 h 1461099"/>
                    <a:gd name="connsiteX1169" fmla="*/ 1142578 w 1659478"/>
                    <a:gd name="connsiteY1169" fmla="*/ 1279829 h 1461099"/>
                    <a:gd name="connsiteX1170" fmla="*/ 1139421 w 1659478"/>
                    <a:gd name="connsiteY1170" fmla="*/ 1277534 h 1461099"/>
                    <a:gd name="connsiteX1171" fmla="*/ 1138279 w 1659478"/>
                    <a:gd name="connsiteY1171" fmla="*/ 1276502 h 1461099"/>
                    <a:gd name="connsiteX1172" fmla="*/ 1136203 w 1659478"/>
                    <a:gd name="connsiteY1172" fmla="*/ 1272908 h 1461099"/>
                    <a:gd name="connsiteX1173" fmla="*/ 1135632 w 1659478"/>
                    <a:gd name="connsiteY1173" fmla="*/ 1265015 h 1461099"/>
                    <a:gd name="connsiteX1174" fmla="*/ 1135413 w 1659478"/>
                    <a:gd name="connsiteY1174" fmla="*/ 1263181 h 1461099"/>
                    <a:gd name="connsiteX1175" fmla="*/ 1138607 w 1659478"/>
                    <a:gd name="connsiteY1175" fmla="*/ 1258118 h 1461099"/>
                    <a:gd name="connsiteX1176" fmla="*/ 1140465 w 1659478"/>
                    <a:gd name="connsiteY1176" fmla="*/ 1253819 h 1461099"/>
                    <a:gd name="connsiteX1177" fmla="*/ 1142468 w 1659478"/>
                    <a:gd name="connsiteY1177" fmla="*/ 1252775 h 1461099"/>
                    <a:gd name="connsiteX1178" fmla="*/ 1143549 w 1659478"/>
                    <a:gd name="connsiteY1178" fmla="*/ 1252496 h 1461099"/>
                    <a:gd name="connsiteX1179" fmla="*/ 1145334 w 1659478"/>
                    <a:gd name="connsiteY1179" fmla="*/ 1252763 h 1461099"/>
                    <a:gd name="connsiteX1180" fmla="*/ 1147168 w 1659478"/>
                    <a:gd name="connsiteY1180" fmla="*/ 1253928 h 1461099"/>
                    <a:gd name="connsiteX1181" fmla="*/ 1150568 w 1659478"/>
                    <a:gd name="connsiteY1181" fmla="*/ 1256831 h 1461099"/>
                    <a:gd name="connsiteX1182" fmla="*/ 1151940 w 1659478"/>
                    <a:gd name="connsiteY1182" fmla="*/ 1257608 h 1461099"/>
                    <a:gd name="connsiteX1183" fmla="*/ 1154745 w 1659478"/>
                    <a:gd name="connsiteY1183" fmla="*/ 1258348 h 1461099"/>
                    <a:gd name="connsiteX1184" fmla="*/ 1156141 w 1659478"/>
                    <a:gd name="connsiteY1184" fmla="*/ 1259101 h 1461099"/>
                    <a:gd name="connsiteX1185" fmla="*/ 1158485 w 1659478"/>
                    <a:gd name="connsiteY1185" fmla="*/ 1261081 h 1461099"/>
                    <a:gd name="connsiteX1186" fmla="*/ 1160841 w 1659478"/>
                    <a:gd name="connsiteY1186" fmla="*/ 1261918 h 1461099"/>
                    <a:gd name="connsiteX1187" fmla="*/ 1163087 w 1659478"/>
                    <a:gd name="connsiteY1187" fmla="*/ 1261858 h 1461099"/>
                    <a:gd name="connsiteX1188" fmla="*/ 1165212 w 1659478"/>
                    <a:gd name="connsiteY1188" fmla="*/ 1261056 h 1461099"/>
                    <a:gd name="connsiteX1189" fmla="*/ 1170421 w 1659478"/>
                    <a:gd name="connsiteY1189" fmla="*/ 1256515 h 1461099"/>
                    <a:gd name="connsiteX1190" fmla="*/ 1172425 w 1659478"/>
                    <a:gd name="connsiteY1190" fmla="*/ 1256090 h 1461099"/>
                    <a:gd name="connsiteX1191" fmla="*/ 1174222 w 1659478"/>
                    <a:gd name="connsiteY1191" fmla="*/ 1256685 h 1461099"/>
                    <a:gd name="connsiteX1192" fmla="*/ 1177901 w 1659478"/>
                    <a:gd name="connsiteY1192" fmla="*/ 1259866 h 1461099"/>
                    <a:gd name="connsiteX1193" fmla="*/ 1179784 w 1659478"/>
                    <a:gd name="connsiteY1193" fmla="*/ 1260765 h 1461099"/>
                    <a:gd name="connsiteX1194" fmla="*/ 1180524 w 1659478"/>
                    <a:gd name="connsiteY1194" fmla="*/ 1260971 h 1461099"/>
                    <a:gd name="connsiteX1195" fmla="*/ 1181168 w 1659478"/>
                    <a:gd name="connsiteY1195" fmla="*/ 1260825 h 1461099"/>
                    <a:gd name="connsiteX1196" fmla="*/ 1182831 w 1659478"/>
                    <a:gd name="connsiteY1196" fmla="*/ 1258992 h 1461099"/>
                    <a:gd name="connsiteX1197" fmla="*/ 1183511 w 1659478"/>
                    <a:gd name="connsiteY1197" fmla="*/ 1256855 h 1461099"/>
                    <a:gd name="connsiteX1198" fmla="*/ 1185127 w 1659478"/>
                    <a:gd name="connsiteY1198" fmla="*/ 1253928 h 1461099"/>
                    <a:gd name="connsiteX1199" fmla="*/ 1187774 w 1659478"/>
                    <a:gd name="connsiteY1199" fmla="*/ 1249970 h 1461099"/>
                    <a:gd name="connsiteX1200" fmla="*/ 1193165 w 1659478"/>
                    <a:gd name="connsiteY1200" fmla="*/ 1245003 h 1461099"/>
                    <a:gd name="connsiteX1201" fmla="*/ 1195460 w 1659478"/>
                    <a:gd name="connsiteY1201" fmla="*/ 1241555 h 1461099"/>
                    <a:gd name="connsiteX1202" fmla="*/ 1196322 w 1659478"/>
                    <a:gd name="connsiteY1202" fmla="*/ 1239454 h 1461099"/>
                    <a:gd name="connsiteX1203" fmla="*/ 1195229 w 1659478"/>
                    <a:gd name="connsiteY1203" fmla="*/ 1237305 h 1461099"/>
                    <a:gd name="connsiteX1204" fmla="*/ 1187422 w 1659478"/>
                    <a:gd name="connsiteY1204" fmla="*/ 1232945 h 1461099"/>
                    <a:gd name="connsiteX1205" fmla="*/ 1185248 w 1659478"/>
                    <a:gd name="connsiteY1205" fmla="*/ 1230505 h 1461099"/>
                    <a:gd name="connsiteX1206" fmla="*/ 1184264 w 1659478"/>
                    <a:gd name="connsiteY1206" fmla="*/ 1226825 h 1461099"/>
                    <a:gd name="connsiteX1207" fmla="*/ 1184507 w 1659478"/>
                    <a:gd name="connsiteY1207" fmla="*/ 1223207 h 1461099"/>
                    <a:gd name="connsiteX1208" fmla="*/ 1186620 w 1659478"/>
                    <a:gd name="connsiteY1208" fmla="*/ 1218932 h 1461099"/>
                    <a:gd name="connsiteX1209" fmla="*/ 1193335 w 1659478"/>
                    <a:gd name="connsiteY1209" fmla="*/ 1210954 h 1461099"/>
                    <a:gd name="connsiteX1210" fmla="*/ 1194768 w 1659478"/>
                    <a:gd name="connsiteY1210" fmla="*/ 1206874 h 1461099"/>
                    <a:gd name="connsiteX1211" fmla="*/ 1195072 w 1659478"/>
                    <a:gd name="connsiteY1211" fmla="*/ 1202831 h 1461099"/>
                    <a:gd name="connsiteX1212" fmla="*/ 1194428 w 1659478"/>
                    <a:gd name="connsiteY1212" fmla="*/ 1200099 h 1461099"/>
                    <a:gd name="connsiteX1213" fmla="*/ 1193675 w 1659478"/>
                    <a:gd name="connsiteY1213" fmla="*/ 1198544 h 1461099"/>
                    <a:gd name="connsiteX1214" fmla="*/ 1192303 w 1659478"/>
                    <a:gd name="connsiteY1214" fmla="*/ 1197233 h 1461099"/>
                    <a:gd name="connsiteX1215" fmla="*/ 1190639 w 1659478"/>
                    <a:gd name="connsiteY1215" fmla="*/ 1196419 h 1461099"/>
                    <a:gd name="connsiteX1216" fmla="*/ 1188575 w 1659478"/>
                    <a:gd name="connsiteY1216" fmla="*/ 1195679 h 1461099"/>
                    <a:gd name="connsiteX1217" fmla="*/ 1186620 w 1659478"/>
                    <a:gd name="connsiteY1217" fmla="*/ 1194586 h 1461099"/>
                    <a:gd name="connsiteX1218" fmla="*/ 1185248 w 1659478"/>
                    <a:gd name="connsiteY1218" fmla="*/ 1192947 h 1461099"/>
                    <a:gd name="connsiteX1219" fmla="*/ 1184264 w 1659478"/>
                    <a:gd name="connsiteY1219" fmla="*/ 1189959 h 1461099"/>
                    <a:gd name="connsiteX1220" fmla="*/ 1183232 w 1659478"/>
                    <a:gd name="connsiteY1220" fmla="*/ 1181520 h 1461099"/>
                    <a:gd name="connsiteX1221" fmla="*/ 1182540 w 1659478"/>
                    <a:gd name="connsiteY1221" fmla="*/ 1179346 h 1461099"/>
                    <a:gd name="connsiteX1222" fmla="*/ 1181981 w 1659478"/>
                    <a:gd name="connsiteY1222" fmla="*/ 1176675 h 1461099"/>
                    <a:gd name="connsiteX1223" fmla="*/ 1182139 w 1659478"/>
                    <a:gd name="connsiteY1223" fmla="*/ 1173481 h 1461099"/>
                    <a:gd name="connsiteX1224" fmla="*/ 1183985 w 1659478"/>
                    <a:gd name="connsiteY1224" fmla="*/ 1167750 h 1461099"/>
                    <a:gd name="connsiteX1225" fmla="*/ 1185697 w 1659478"/>
                    <a:gd name="connsiteY1225" fmla="*/ 1164811 h 1461099"/>
                    <a:gd name="connsiteX1226" fmla="*/ 1187834 w 1659478"/>
                    <a:gd name="connsiteY1226" fmla="*/ 1162856 h 1461099"/>
                    <a:gd name="connsiteX1227" fmla="*/ 1190020 w 1659478"/>
                    <a:gd name="connsiteY1227" fmla="*/ 1162286 h 1461099"/>
                    <a:gd name="connsiteX1228" fmla="*/ 1192825 w 1659478"/>
                    <a:gd name="connsiteY1228" fmla="*/ 1162711 h 1461099"/>
                    <a:gd name="connsiteX1229" fmla="*/ 1199030 w 1659478"/>
                    <a:gd name="connsiteY1229" fmla="*/ 1166888 h 1461099"/>
                    <a:gd name="connsiteX1230" fmla="*/ 1201325 w 1659478"/>
                    <a:gd name="connsiteY1230" fmla="*/ 1167519 h 1461099"/>
                    <a:gd name="connsiteX1231" fmla="*/ 1203560 w 1659478"/>
                    <a:gd name="connsiteY1231" fmla="*/ 1166997 h 1461099"/>
                    <a:gd name="connsiteX1232" fmla="*/ 1205745 w 1659478"/>
                    <a:gd name="connsiteY1232" fmla="*/ 1165394 h 1461099"/>
                    <a:gd name="connsiteX1233" fmla="*/ 1207287 w 1659478"/>
                    <a:gd name="connsiteY1233" fmla="*/ 1163184 h 1461099"/>
                    <a:gd name="connsiteX1234" fmla="*/ 1207919 w 1659478"/>
                    <a:gd name="connsiteY1234" fmla="*/ 1162055 h 1461099"/>
                    <a:gd name="connsiteX1235" fmla="*/ 1208162 w 1659478"/>
                    <a:gd name="connsiteY1235" fmla="*/ 1161338 h 1461099"/>
                    <a:gd name="connsiteX1236" fmla="*/ 1208320 w 1659478"/>
                    <a:gd name="connsiteY1236" fmla="*/ 1158691 h 1461099"/>
                    <a:gd name="connsiteX1237" fmla="*/ 1207287 w 1659478"/>
                    <a:gd name="connsiteY1237" fmla="*/ 1141752 h 1461099"/>
                    <a:gd name="connsiteX1238" fmla="*/ 1201775 w 1659478"/>
                    <a:gd name="connsiteY1238" fmla="*/ 1135098 h 1461099"/>
                    <a:gd name="connsiteX1239" fmla="*/ 1198047 w 1659478"/>
                    <a:gd name="connsiteY1239" fmla="*/ 1131418 h 1461099"/>
                    <a:gd name="connsiteX1240" fmla="*/ 1196844 w 1659478"/>
                    <a:gd name="connsiteY1240" fmla="*/ 1128893 h 1461099"/>
                    <a:gd name="connsiteX1241" fmla="*/ 1196844 w 1659478"/>
                    <a:gd name="connsiteY1241" fmla="*/ 1126658 h 1461099"/>
                    <a:gd name="connsiteX1242" fmla="*/ 1197597 w 1659478"/>
                    <a:gd name="connsiteY1242" fmla="*/ 1124642 h 1461099"/>
                    <a:gd name="connsiteX1243" fmla="*/ 1197755 w 1659478"/>
                    <a:gd name="connsiteY1243" fmla="*/ 1122214 h 1461099"/>
                    <a:gd name="connsiteX1244" fmla="*/ 1196784 w 1659478"/>
                    <a:gd name="connsiteY1244" fmla="*/ 1118182 h 1461099"/>
                    <a:gd name="connsiteX1245" fmla="*/ 1190870 w 1659478"/>
                    <a:gd name="connsiteY1245" fmla="*/ 1109913 h 1461099"/>
                    <a:gd name="connsiteX1246" fmla="*/ 1188223 w 1659478"/>
                    <a:gd name="connsiteY1246" fmla="*/ 1107448 h 1461099"/>
                    <a:gd name="connsiteX1247" fmla="*/ 1186559 w 1659478"/>
                    <a:gd name="connsiteY1247" fmla="*/ 1106270 h 1461099"/>
                    <a:gd name="connsiteX1248" fmla="*/ 1184386 w 1659478"/>
                    <a:gd name="connsiteY1248" fmla="*/ 1105760 h 1461099"/>
                    <a:gd name="connsiteX1249" fmla="*/ 1181569 w 1659478"/>
                    <a:gd name="connsiteY1249" fmla="*/ 1105869 h 1461099"/>
                    <a:gd name="connsiteX1250" fmla="*/ 1178812 w 1659478"/>
                    <a:gd name="connsiteY1250" fmla="*/ 1106817 h 1461099"/>
                    <a:gd name="connsiteX1251" fmla="*/ 1165953 w 1659478"/>
                    <a:gd name="connsiteY1251" fmla="*/ 1114054 h 1461099"/>
                    <a:gd name="connsiteX1252" fmla="*/ 1156481 w 1659478"/>
                    <a:gd name="connsiteY1252" fmla="*/ 1116228 h 1461099"/>
                    <a:gd name="connsiteX1253" fmla="*/ 1147411 w 1659478"/>
                    <a:gd name="connsiteY1253" fmla="*/ 1116580 h 1461099"/>
                    <a:gd name="connsiteX1254" fmla="*/ 1128285 w 1659478"/>
                    <a:gd name="connsiteY1254" fmla="*/ 1121085 h 1461099"/>
                    <a:gd name="connsiteX1255" fmla="*/ 1122360 w 1659478"/>
                    <a:gd name="connsiteY1255" fmla="*/ 1121522 h 1461099"/>
                    <a:gd name="connsiteX1256" fmla="*/ 1116907 w 1659478"/>
                    <a:gd name="connsiteY1256" fmla="*/ 1120769 h 1461099"/>
                    <a:gd name="connsiteX1257" fmla="*/ 1108359 w 1659478"/>
                    <a:gd name="connsiteY1257" fmla="*/ 1117782 h 1461099"/>
                    <a:gd name="connsiteX1258" fmla="*/ 1102154 w 1659478"/>
                    <a:gd name="connsiteY1258" fmla="*/ 1116774 h 1461099"/>
                    <a:gd name="connsiteX1259" fmla="*/ 1096580 w 1659478"/>
                    <a:gd name="connsiteY1259" fmla="*/ 1116895 h 1461099"/>
                    <a:gd name="connsiteX1260" fmla="*/ 1089695 w 1659478"/>
                    <a:gd name="connsiteY1260" fmla="*/ 1117672 h 1461099"/>
                    <a:gd name="connsiteX1261" fmla="*/ 1085676 w 1659478"/>
                    <a:gd name="connsiteY1261" fmla="*/ 1117551 h 1461099"/>
                    <a:gd name="connsiteX1262" fmla="*/ 1082458 w 1659478"/>
                    <a:gd name="connsiteY1262" fmla="*/ 1116713 h 1461099"/>
                    <a:gd name="connsiteX1263" fmla="*/ 1080284 w 1659478"/>
                    <a:gd name="connsiteY1263" fmla="*/ 1115341 h 1461099"/>
                    <a:gd name="connsiteX1264" fmla="*/ 1078378 w 1659478"/>
                    <a:gd name="connsiteY1264" fmla="*/ 1113568 h 1461099"/>
                    <a:gd name="connsiteX1265" fmla="*/ 1077067 w 1659478"/>
                    <a:gd name="connsiteY1265" fmla="*/ 1111637 h 1461099"/>
                    <a:gd name="connsiteX1266" fmla="*/ 1076484 w 1659478"/>
                    <a:gd name="connsiteY1266" fmla="*/ 1109233 h 1461099"/>
                    <a:gd name="connsiteX1267" fmla="*/ 1076824 w 1659478"/>
                    <a:gd name="connsiteY1267" fmla="*/ 1106817 h 1461099"/>
                    <a:gd name="connsiteX1268" fmla="*/ 1078159 w 1659478"/>
                    <a:gd name="connsiteY1268" fmla="*/ 1104582 h 1461099"/>
                    <a:gd name="connsiteX1269" fmla="*/ 1082057 w 1659478"/>
                    <a:gd name="connsiteY1269" fmla="*/ 1101559 h 1461099"/>
                    <a:gd name="connsiteX1270" fmla="*/ 1083259 w 1659478"/>
                    <a:gd name="connsiteY1270" fmla="*/ 1099871 h 1461099"/>
                    <a:gd name="connsiteX1271" fmla="*/ 1083733 w 1659478"/>
                    <a:gd name="connsiteY1271" fmla="*/ 1097576 h 1461099"/>
                    <a:gd name="connsiteX1272" fmla="*/ 1083150 w 1659478"/>
                    <a:gd name="connsiteY1272" fmla="*/ 1094819 h 1461099"/>
                    <a:gd name="connsiteX1273" fmla="*/ 1082118 w 1659478"/>
                    <a:gd name="connsiteY1273" fmla="*/ 1092585 h 1461099"/>
                    <a:gd name="connsiteX1274" fmla="*/ 1079532 w 1659478"/>
                    <a:gd name="connsiteY1274" fmla="*/ 1088384 h 1461099"/>
                    <a:gd name="connsiteX1275" fmla="*/ 1078730 w 1659478"/>
                    <a:gd name="connsiteY1275" fmla="*/ 1086234 h 1461099"/>
                    <a:gd name="connsiteX1276" fmla="*/ 1078609 w 1659478"/>
                    <a:gd name="connsiteY1276" fmla="*/ 1084595 h 1461099"/>
                    <a:gd name="connsiteX1277" fmla="*/ 1079301 w 1659478"/>
                    <a:gd name="connsiteY1277" fmla="*/ 1083247 h 1461099"/>
                    <a:gd name="connsiteX1278" fmla="*/ 1080564 w 1659478"/>
                    <a:gd name="connsiteY1278" fmla="*/ 1082664 h 1461099"/>
                    <a:gd name="connsiteX1279" fmla="*/ 1082239 w 1659478"/>
                    <a:gd name="connsiteY1279" fmla="*/ 1083247 h 1461099"/>
                    <a:gd name="connsiteX1280" fmla="*/ 1084122 w 1659478"/>
                    <a:gd name="connsiteY1280" fmla="*/ 1084850 h 1461099"/>
                    <a:gd name="connsiteX1281" fmla="*/ 1088323 w 1659478"/>
                    <a:gd name="connsiteY1281" fmla="*/ 1089477 h 1461099"/>
                    <a:gd name="connsiteX1282" fmla="*/ 1090606 w 1659478"/>
                    <a:gd name="connsiteY1282" fmla="*/ 1091395 h 1461099"/>
                    <a:gd name="connsiteX1283" fmla="*/ 1093435 w 1659478"/>
                    <a:gd name="connsiteY1283" fmla="*/ 1092743 h 1461099"/>
                    <a:gd name="connsiteX1284" fmla="*/ 1096641 w 1659478"/>
                    <a:gd name="connsiteY1284" fmla="*/ 1093617 h 1461099"/>
                    <a:gd name="connsiteX1285" fmla="*/ 1100029 w 1659478"/>
                    <a:gd name="connsiteY1285" fmla="*/ 1093921 h 1461099"/>
                    <a:gd name="connsiteX1286" fmla="*/ 1104060 w 1659478"/>
                    <a:gd name="connsiteY1286" fmla="*/ 1093812 h 1461099"/>
                    <a:gd name="connsiteX1287" fmla="*/ 1107436 w 1659478"/>
                    <a:gd name="connsiteY1287" fmla="*/ 1093326 h 1461099"/>
                    <a:gd name="connsiteX1288" fmla="*/ 1110824 w 1659478"/>
                    <a:gd name="connsiteY1288" fmla="*/ 1092354 h 1461099"/>
                    <a:gd name="connsiteX1289" fmla="*/ 1113811 w 1659478"/>
                    <a:gd name="connsiteY1289" fmla="*/ 1090824 h 1461099"/>
                    <a:gd name="connsiteX1290" fmla="*/ 1116337 w 1659478"/>
                    <a:gd name="connsiteY1290" fmla="*/ 1089039 h 1461099"/>
                    <a:gd name="connsiteX1291" fmla="*/ 1118183 w 1659478"/>
                    <a:gd name="connsiteY1291" fmla="*/ 1087145 h 1461099"/>
                    <a:gd name="connsiteX1292" fmla="*/ 1119555 w 1659478"/>
                    <a:gd name="connsiteY1292" fmla="*/ 1085372 h 1461099"/>
                    <a:gd name="connsiteX1293" fmla="*/ 1120356 w 1659478"/>
                    <a:gd name="connsiteY1293" fmla="*/ 1083794 h 1461099"/>
                    <a:gd name="connsiteX1294" fmla="*/ 1120587 w 1659478"/>
                    <a:gd name="connsiteY1294" fmla="*/ 1082664 h 1461099"/>
                    <a:gd name="connsiteX1295" fmla="*/ 1120247 w 1659478"/>
                    <a:gd name="connsiteY1295" fmla="*/ 1081438 h 1461099"/>
                    <a:gd name="connsiteX1296" fmla="*/ 1118863 w 1659478"/>
                    <a:gd name="connsiteY1296" fmla="*/ 1080916 h 1461099"/>
                    <a:gd name="connsiteX1297" fmla="*/ 1116847 w 1659478"/>
                    <a:gd name="connsiteY1297" fmla="*/ 1080916 h 1461099"/>
                    <a:gd name="connsiteX1298" fmla="*/ 1108808 w 1659478"/>
                    <a:gd name="connsiteY1298" fmla="*/ 1083502 h 1461099"/>
                    <a:gd name="connsiteX1299" fmla="*/ 1104570 w 1659478"/>
                    <a:gd name="connsiteY1299" fmla="*/ 1084158 h 1461099"/>
                    <a:gd name="connsiteX1300" fmla="*/ 1100090 w 1659478"/>
                    <a:gd name="connsiteY1300" fmla="*/ 1084304 h 1461099"/>
                    <a:gd name="connsiteX1301" fmla="*/ 1094516 w 1659478"/>
                    <a:gd name="connsiteY1301" fmla="*/ 1083162 h 1461099"/>
                    <a:gd name="connsiteX1302" fmla="*/ 1091759 w 1659478"/>
                    <a:gd name="connsiteY1302" fmla="*/ 1081608 h 1461099"/>
                    <a:gd name="connsiteX1303" fmla="*/ 1090217 w 1659478"/>
                    <a:gd name="connsiteY1303" fmla="*/ 1079544 h 1461099"/>
                    <a:gd name="connsiteX1304" fmla="*/ 1090035 w 1659478"/>
                    <a:gd name="connsiteY1304" fmla="*/ 1077941 h 1461099"/>
                    <a:gd name="connsiteX1305" fmla="*/ 1090266 w 1659478"/>
                    <a:gd name="connsiteY1305" fmla="*/ 1076447 h 1461099"/>
                    <a:gd name="connsiteX1306" fmla="*/ 1090727 w 1659478"/>
                    <a:gd name="connsiteY1306" fmla="*/ 1075415 h 1461099"/>
                    <a:gd name="connsiteX1307" fmla="*/ 1091419 w 1659478"/>
                    <a:gd name="connsiteY1307" fmla="*/ 1074541 h 1461099"/>
                    <a:gd name="connsiteX1308" fmla="*/ 1092682 w 1659478"/>
                    <a:gd name="connsiteY1308" fmla="*/ 1074201 h 1461099"/>
                    <a:gd name="connsiteX1309" fmla="*/ 1094516 w 1659478"/>
                    <a:gd name="connsiteY1309" fmla="*/ 1074456 h 1461099"/>
                    <a:gd name="connsiteX1310" fmla="*/ 1097394 w 1659478"/>
                    <a:gd name="connsiteY1310" fmla="*/ 1075755 h 1461099"/>
                    <a:gd name="connsiteX1311" fmla="*/ 1099567 w 1659478"/>
                    <a:gd name="connsiteY1311" fmla="*/ 1076447 h 1461099"/>
                    <a:gd name="connsiteX1312" fmla="*/ 1101474 w 1659478"/>
                    <a:gd name="connsiteY1312" fmla="*/ 1076641 h 1461099"/>
                    <a:gd name="connsiteX1313" fmla="*/ 1103186 w 1659478"/>
                    <a:gd name="connsiteY1313" fmla="*/ 1075949 h 1461099"/>
                    <a:gd name="connsiteX1314" fmla="*/ 1104340 w 1659478"/>
                    <a:gd name="connsiteY1314" fmla="*/ 1074808 h 1461099"/>
                    <a:gd name="connsiteX1315" fmla="*/ 1104570 w 1659478"/>
                    <a:gd name="connsiteY1315" fmla="*/ 1072938 h 1461099"/>
                    <a:gd name="connsiteX1316" fmla="*/ 1103878 w 1659478"/>
                    <a:gd name="connsiteY1316" fmla="*/ 1070813 h 1461099"/>
                    <a:gd name="connsiteX1317" fmla="*/ 1100430 w 1659478"/>
                    <a:gd name="connsiteY1317" fmla="*/ 1066684 h 1461099"/>
                    <a:gd name="connsiteX1318" fmla="*/ 1099519 w 1659478"/>
                    <a:gd name="connsiteY1318" fmla="*/ 1065191 h 1461099"/>
                    <a:gd name="connsiteX1319" fmla="*/ 1099227 w 1659478"/>
                    <a:gd name="connsiteY1319" fmla="*/ 1064523 h 1461099"/>
                    <a:gd name="connsiteX1320" fmla="*/ 1098936 w 1659478"/>
                    <a:gd name="connsiteY1320" fmla="*/ 1062604 h 1461099"/>
                    <a:gd name="connsiteX1321" fmla="*/ 1102336 w 1659478"/>
                    <a:gd name="connsiteY1321" fmla="*/ 1055938 h 1461099"/>
                    <a:gd name="connsiteX1322" fmla="*/ 1104400 w 1659478"/>
                    <a:gd name="connsiteY1322" fmla="*/ 1053133 h 1461099"/>
                    <a:gd name="connsiteX1323" fmla="*/ 1104971 w 1659478"/>
                    <a:gd name="connsiteY1323" fmla="*/ 1051153 h 1461099"/>
                    <a:gd name="connsiteX1324" fmla="*/ 1104971 w 1659478"/>
                    <a:gd name="connsiteY1324" fmla="*/ 1050291 h 1461099"/>
                    <a:gd name="connsiteX1325" fmla="*/ 1104157 w 1659478"/>
                    <a:gd name="connsiteY1325" fmla="*/ 1050000 h 1461099"/>
                    <a:gd name="connsiteX1326" fmla="*/ 1103077 w 1659478"/>
                    <a:gd name="connsiteY1326" fmla="*/ 1050000 h 1461099"/>
                    <a:gd name="connsiteX1327" fmla="*/ 1101413 w 1659478"/>
                    <a:gd name="connsiteY1327" fmla="*/ 1050291 h 1461099"/>
                    <a:gd name="connsiteX1328" fmla="*/ 1095087 w 1659478"/>
                    <a:gd name="connsiteY1328" fmla="*/ 1052246 h 1461099"/>
                    <a:gd name="connsiteX1329" fmla="*/ 1088323 w 1659478"/>
                    <a:gd name="connsiteY1329" fmla="*/ 1053849 h 1461099"/>
                    <a:gd name="connsiteX1330" fmla="*/ 1082919 w 1659478"/>
                    <a:gd name="connsiteY1330" fmla="*/ 1053752 h 1461099"/>
                    <a:gd name="connsiteX1331" fmla="*/ 1073849 w 1659478"/>
                    <a:gd name="connsiteY1331" fmla="*/ 1052732 h 1461099"/>
                    <a:gd name="connsiteX1332" fmla="*/ 1071031 w 1659478"/>
                    <a:gd name="connsiteY1332" fmla="*/ 1053072 h 1461099"/>
                    <a:gd name="connsiteX1333" fmla="*/ 1069246 w 1659478"/>
                    <a:gd name="connsiteY1333" fmla="*/ 1053873 h 1461099"/>
                    <a:gd name="connsiteX1334" fmla="*/ 1068785 w 1659478"/>
                    <a:gd name="connsiteY1334" fmla="*/ 1054796 h 1461099"/>
                    <a:gd name="connsiteX1335" fmla="*/ 1068506 w 1659478"/>
                    <a:gd name="connsiteY1335" fmla="*/ 1055634 h 1461099"/>
                    <a:gd name="connsiteX1336" fmla="*/ 1067814 w 1659478"/>
                    <a:gd name="connsiteY1336" fmla="*/ 1058269 h 1461099"/>
                    <a:gd name="connsiteX1337" fmla="*/ 1067304 w 1659478"/>
                    <a:gd name="connsiteY1337" fmla="*/ 1059386 h 1461099"/>
                    <a:gd name="connsiteX1338" fmla="*/ 1066611 w 1659478"/>
                    <a:gd name="connsiteY1338" fmla="*/ 1060394 h 1461099"/>
                    <a:gd name="connsiteX1339" fmla="*/ 1065579 w 1659478"/>
                    <a:gd name="connsiteY1339" fmla="*/ 1061560 h 1461099"/>
                    <a:gd name="connsiteX1340" fmla="*/ 1063163 w 1659478"/>
                    <a:gd name="connsiteY1340" fmla="*/ 1063600 h 1461099"/>
                    <a:gd name="connsiteX1341" fmla="*/ 1062580 w 1659478"/>
                    <a:gd name="connsiteY1341" fmla="*/ 1064316 h 1461099"/>
                    <a:gd name="connsiteX1342" fmla="*/ 1062240 w 1659478"/>
                    <a:gd name="connsiteY1342" fmla="*/ 1065009 h 1461099"/>
                    <a:gd name="connsiteX1343" fmla="*/ 1061851 w 1659478"/>
                    <a:gd name="connsiteY1343" fmla="*/ 1066308 h 1461099"/>
                    <a:gd name="connsiteX1344" fmla="*/ 1063576 w 1659478"/>
                    <a:gd name="connsiteY1344" fmla="*/ 1073776 h 1461099"/>
                    <a:gd name="connsiteX1345" fmla="*/ 1063673 w 1659478"/>
                    <a:gd name="connsiteY1345" fmla="*/ 1076350 h 1461099"/>
                    <a:gd name="connsiteX1346" fmla="*/ 1062932 w 1659478"/>
                    <a:gd name="connsiteY1346" fmla="*/ 1080806 h 1461099"/>
                    <a:gd name="connsiteX1347" fmla="*/ 1062131 w 1659478"/>
                    <a:gd name="connsiteY1347" fmla="*/ 1082506 h 1461099"/>
                    <a:gd name="connsiteX1348" fmla="*/ 1061269 w 1659478"/>
                    <a:gd name="connsiteY1348" fmla="*/ 1083502 h 1461099"/>
                    <a:gd name="connsiteX1349" fmla="*/ 1060054 w 1659478"/>
                    <a:gd name="connsiteY1349" fmla="*/ 1084049 h 1461099"/>
                    <a:gd name="connsiteX1350" fmla="*/ 1058864 w 1659478"/>
                    <a:gd name="connsiteY1350" fmla="*/ 1084049 h 1461099"/>
                    <a:gd name="connsiteX1351" fmla="*/ 1057650 w 1659478"/>
                    <a:gd name="connsiteY1351" fmla="*/ 1083672 h 1461099"/>
                    <a:gd name="connsiteX1352" fmla="*/ 1054554 w 1659478"/>
                    <a:gd name="connsiteY1352" fmla="*/ 1082215 h 1461099"/>
                    <a:gd name="connsiteX1353" fmla="*/ 1053412 w 1659478"/>
                    <a:gd name="connsiteY1353" fmla="*/ 1082130 h 1461099"/>
                    <a:gd name="connsiteX1354" fmla="*/ 1052319 w 1659478"/>
                    <a:gd name="connsiteY1354" fmla="*/ 1082640 h 1461099"/>
                    <a:gd name="connsiteX1355" fmla="*/ 1046916 w 1659478"/>
                    <a:gd name="connsiteY1355" fmla="*/ 1087266 h 1461099"/>
                    <a:gd name="connsiteX1356" fmla="*/ 1044851 w 1659478"/>
                    <a:gd name="connsiteY1356" fmla="*/ 1088554 h 1461099"/>
                    <a:gd name="connsiteX1357" fmla="*/ 1043358 w 1659478"/>
                    <a:gd name="connsiteY1357" fmla="*/ 1088991 h 1461099"/>
                    <a:gd name="connsiteX1358" fmla="*/ 1040783 w 1659478"/>
                    <a:gd name="connsiteY1358" fmla="*/ 1089185 h 1461099"/>
                    <a:gd name="connsiteX1359" fmla="*/ 1038015 w 1659478"/>
                    <a:gd name="connsiteY1359" fmla="*/ 1088554 h 1461099"/>
                    <a:gd name="connsiteX1360" fmla="*/ 1035258 w 1659478"/>
                    <a:gd name="connsiteY1360" fmla="*/ 1087242 h 1461099"/>
                    <a:gd name="connsiteX1361" fmla="*/ 1031130 w 1659478"/>
                    <a:gd name="connsiteY1361" fmla="*/ 1084389 h 1461099"/>
                    <a:gd name="connsiteX1362" fmla="*/ 1029223 w 1659478"/>
                    <a:gd name="connsiteY1362" fmla="*/ 1083587 h 1461099"/>
                    <a:gd name="connsiteX1363" fmla="*/ 1027268 w 1659478"/>
                    <a:gd name="connsiteY1363" fmla="*/ 1083162 h 1461099"/>
                    <a:gd name="connsiteX1364" fmla="*/ 1025435 w 1659478"/>
                    <a:gd name="connsiteY1364" fmla="*/ 1082385 h 1461099"/>
                    <a:gd name="connsiteX1365" fmla="*/ 1024002 w 1659478"/>
                    <a:gd name="connsiteY1365" fmla="*/ 1081256 h 1461099"/>
                    <a:gd name="connsiteX1366" fmla="*/ 1020966 w 1659478"/>
                    <a:gd name="connsiteY1366" fmla="*/ 1077965 h 1461099"/>
                    <a:gd name="connsiteX1367" fmla="*/ 1018319 w 1659478"/>
                    <a:gd name="connsiteY1367" fmla="*/ 1076447 h 1461099"/>
                    <a:gd name="connsiteX1368" fmla="*/ 1015271 w 1659478"/>
                    <a:gd name="connsiteY1368" fmla="*/ 1075378 h 1461099"/>
                    <a:gd name="connsiteX1369" fmla="*/ 1011312 w 1659478"/>
                    <a:gd name="connsiteY1369" fmla="*/ 1075354 h 1461099"/>
                    <a:gd name="connsiteX1370" fmla="*/ 1009940 w 1659478"/>
                    <a:gd name="connsiteY1370" fmla="*/ 1076350 h 1461099"/>
                    <a:gd name="connsiteX1371" fmla="*/ 1009588 w 1659478"/>
                    <a:gd name="connsiteY1371" fmla="*/ 1078536 h 1461099"/>
                    <a:gd name="connsiteX1372" fmla="*/ 1013146 w 1659478"/>
                    <a:gd name="connsiteY1372" fmla="*/ 1087534 h 1461099"/>
                    <a:gd name="connsiteX1373" fmla="*/ 1013790 w 1659478"/>
                    <a:gd name="connsiteY1373" fmla="*/ 1089938 h 1461099"/>
                    <a:gd name="connsiteX1374" fmla="*/ 1013899 w 1659478"/>
                    <a:gd name="connsiteY1374" fmla="*/ 1092148 h 1461099"/>
                    <a:gd name="connsiteX1375" fmla="*/ 1013729 w 1659478"/>
                    <a:gd name="connsiteY1375" fmla="*/ 1094504 h 1461099"/>
                    <a:gd name="connsiteX1376" fmla="*/ 1012575 w 1659478"/>
                    <a:gd name="connsiteY1376" fmla="*/ 1100502 h 1461099"/>
                    <a:gd name="connsiteX1377" fmla="*/ 1012867 w 1659478"/>
                    <a:gd name="connsiteY1377" fmla="*/ 1101680 h 1461099"/>
                    <a:gd name="connsiteX1378" fmla="*/ 1013850 w 1659478"/>
                    <a:gd name="connsiteY1378" fmla="*/ 1102336 h 1461099"/>
                    <a:gd name="connsiteX1379" fmla="*/ 1015963 w 1659478"/>
                    <a:gd name="connsiteY1379" fmla="*/ 1102688 h 1461099"/>
                    <a:gd name="connsiteX1380" fmla="*/ 1021646 w 1659478"/>
                    <a:gd name="connsiteY1380" fmla="*/ 1102627 h 1461099"/>
                    <a:gd name="connsiteX1381" fmla="*/ 1024585 w 1659478"/>
                    <a:gd name="connsiteY1381" fmla="*/ 1102919 h 1461099"/>
                    <a:gd name="connsiteX1382" fmla="*/ 1029005 w 1659478"/>
                    <a:gd name="connsiteY1382" fmla="*/ 1104230 h 1461099"/>
                    <a:gd name="connsiteX1383" fmla="*/ 1030899 w 1659478"/>
                    <a:gd name="connsiteY1383" fmla="*/ 1104607 h 1461099"/>
                    <a:gd name="connsiteX1384" fmla="*/ 1032781 w 1659478"/>
                    <a:gd name="connsiteY1384" fmla="*/ 1104376 h 1461099"/>
                    <a:gd name="connsiteX1385" fmla="*/ 1034627 w 1659478"/>
                    <a:gd name="connsiteY1385" fmla="*/ 1103866 h 1461099"/>
                    <a:gd name="connsiteX1386" fmla="*/ 1036412 w 1659478"/>
                    <a:gd name="connsiteY1386" fmla="*/ 1103574 h 1461099"/>
                    <a:gd name="connsiteX1387" fmla="*/ 1037954 w 1659478"/>
                    <a:gd name="connsiteY1387" fmla="*/ 1103720 h 1461099"/>
                    <a:gd name="connsiteX1388" fmla="*/ 1039387 w 1659478"/>
                    <a:gd name="connsiteY1388" fmla="*/ 1104607 h 1461099"/>
                    <a:gd name="connsiteX1389" fmla="*/ 1040358 w 1659478"/>
                    <a:gd name="connsiteY1389" fmla="*/ 1106270 h 1461099"/>
                    <a:gd name="connsiteX1390" fmla="*/ 1040201 w 1659478"/>
                    <a:gd name="connsiteY1390" fmla="*/ 1109063 h 1461099"/>
                    <a:gd name="connsiteX1391" fmla="*/ 1038877 w 1659478"/>
                    <a:gd name="connsiteY1391" fmla="*/ 1111990 h 1461099"/>
                    <a:gd name="connsiteX1392" fmla="*/ 1038185 w 1659478"/>
                    <a:gd name="connsiteY1392" fmla="*/ 1114248 h 1461099"/>
                    <a:gd name="connsiteX1393" fmla="*/ 1038076 w 1659478"/>
                    <a:gd name="connsiteY1393" fmla="*/ 1116640 h 1461099"/>
                    <a:gd name="connsiteX1394" fmla="*/ 1038246 w 1659478"/>
                    <a:gd name="connsiteY1394" fmla="*/ 1119251 h 1461099"/>
                    <a:gd name="connsiteX1395" fmla="*/ 1037736 w 1659478"/>
                    <a:gd name="connsiteY1395" fmla="*/ 1122894 h 1461099"/>
                    <a:gd name="connsiteX1396" fmla="*/ 1036181 w 1659478"/>
                    <a:gd name="connsiteY1396" fmla="*/ 1125080 h 1461099"/>
                    <a:gd name="connsiteX1397" fmla="*/ 1033874 w 1659478"/>
                    <a:gd name="connsiteY1397" fmla="*/ 1126768 h 1461099"/>
                    <a:gd name="connsiteX1398" fmla="*/ 1031530 w 1659478"/>
                    <a:gd name="connsiteY1398" fmla="*/ 1127860 h 1461099"/>
                    <a:gd name="connsiteX1399" fmla="*/ 1029065 w 1659478"/>
                    <a:gd name="connsiteY1399" fmla="*/ 1128382 h 1461099"/>
                    <a:gd name="connsiteX1400" fmla="*/ 1021938 w 1659478"/>
                    <a:gd name="connsiteY1400" fmla="*/ 1128686 h 1461099"/>
                    <a:gd name="connsiteX1401" fmla="*/ 1019813 w 1659478"/>
                    <a:gd name="connsiteY1401" fmla="*/ 1128577 h 1461099"/>
                    <a:gd name="connsiteX1402" fmla="*/ 1017688 w 1659478"/>
                    <a:gd name="connsiteY1402" fmla="*/ 1127290 h 1461099"/>
                    <a:gd name="connsiteX1403" fmla="*/ 1016315 w 1659478"/>
                    <a:gd name="connsiteY1403" fmla="*/ 1125359 h 1461099"/>
                    <a:gd name="connsiteX1404" fmla="*/ 1014239 w 1659478"/>
                    <a:gd name="connsiteY1404" fmla="*/ 1120830 h 1461099"/>
                    <a:gd name="connsiteX1405" fmla="*/ 1012988 w 1659478"/>
                    <a:gd name="connsiteY1405" fmla="*/ 1119506 h 1461099"/>
                    <a:gd name="connsiteX1406" fmla="*/ 1009880 w 1659478"/>
                    <a:gd name="connsiteY1406" fmla="*/ 1117648 h 1461099"/>
                    <a:gd name="connsiteX1407" fmla="*/ 1008678 w 1659478"/>
                    <a:gd name="connsiteY1407" fmla="*/ 1116385 h 1461099"/>
                    <a:gd name="connsiteX1408" fmla="*/ 1007985 w 1659478"/>
                    <a:gd name="connsiteY1408" fmla="*/ 1114576 h 1461099"/>
                    <a:gd name="connsiteX1409" fmla="*/ 1007184 w 1659478"/>
                    <a:gd name="connsiteY1409" fmla="*/ 1109464 h 1461099"/>
                    <a:gd name="connsiteX1410" fmla="*/ 1006322 w 1659478"/>
                    <a:gd name="connsiteY1410" fmla="*/ 1106841 h 1461099"/>
                    <a:gd name="connsiteX1411" fmla="*/ 1005107 w 1659478"/>
                    <a:gd name="connsiteY1411" fmla="*/ 1105432 h 1461099"/>
                    <a:gd name="connsiteX1412" fmla="*/ 1003213 w 1659478"/>
                    <a:gd name="connsiteY1412" fmla="*/ 1105408 h 1461099"/>
                    <a:gd name="connsiteX1413" fmla="*/ 1002181 w 1659478"/>
                    <a:gd name="connsiteY1413" fmla="*/ 1106671 h 1461099"/>
                    <a:gd name="connsiteX1414" fmla="*/ 1001380 w 1659478"/>
                    <a:gd name="connsiteY1414" fmla="*/ 1109027 h 1461099"/>
                    <a:gd name="connsiteX1415" fmla="*/ 1000979 w 1659478"/>
                    <a:gd name="connsiteY1415" fmla="*/ 1115548 h 1461099"/>
                    <a:gd name="connsiteX1416" fmla="*/ 1001210 w 1659478"/>
                    <a:gd name="connsiteY1416" fmla="*/ 1120769 h 1461099"/>
                    <a:gd name="connsiteX1417" fmla="*/ 1001720 w 1659478"/>
                    <a:gd name="connsiteY1417" fmla="*/ 1122663 h 1461099"/>
                    <a:gd name="connsiteX1418" fmla="*/ 1003675 w 1659478"/>
                    <a:gd name="connsiteY1418" fmla="*/ 1125917 h 1461099"/>
                    <a:gd name="connsiteX1419" fmla="*/ 1003796 w 1659478"/>
                    <a:gd name="connsiteY1419" fmla="*/ 1128055 h 1461099"/>
                    <a:gd name="connsiteX1420" fmla="*/ 997130 w 1659478"/>
                    <a:gd name="connsiteY1420" fmla="*/ 1143391 h 1461099"/>
                    <a:gd name="connsiteX1421" fmla="*/ 991617 w 1659478"/>
                    <a:gd name="connsiteY1421" fmla="*/ 1152559 h 1461099"/>
                    <a:gd name="connsiteX1422" fmla="*/ 990815 w 1659478"/>
                    <a:gd name="connsiteY1422" fmla="*/ 1154308 h 1461099"/>
                    <a:gd name="connsiteX1423" fmla="*/ 990184 w 1659478"/>
                    <a:gd name="connsiteY1423" fmla="*/ 1156809 h 1461099"/>
                    <a:gd name="connsiteX1424" fmla="*/ 990232 w 1659478"/>
                    <a:gd name="connsiteY1424" fmla="*/ 1158558 h 1461099"/>
                    <a:gd name="connsiteX1425" fmla="*/ 990706 w 1659478"/>
                    <a:gd name="connsiteY1425" fmla="*/ 1160246 h 1461099"/>
                    <a:gd name="connsiteX1426" fmla="*/ 991787 w 1659478"/>
                    <a:gd name="connsiteY1426" fmla="*/ 1161484 h 1461099"/>
                    <a:gd name="connsiteX1427" fmla="*/ 1009940 w 1659478"/>
                    <a:gd name="connsiteY1427" fmla="*/ 1166621 h 1461099"/>
                    <a:gd name="connsiteX1428" fmla="*/ 1013037 w 1659478"/>
                    <a:gd name="connsiteY1428" fmla="*/ 1168236 h 1461099"/>
                    <a:gd name="connsiteX1429" fmla="*/ 1015162 w 1659478"/>
                    <a:gd name="connsiteY1429" fmla="*/ 1170494 h 1461099"/>
                    <a:gd name="connsiteX1430" fmla="*/ 1015514 w 1659478"/>
                    <a:gd name="connsiteY1430" fmla="*/ 1174368 h 1461099"/>
                    <a:gd name="connsiteX1431" fmla="*/ 1013899 w 1659478"/>
                    <a:gd name="connsiteY1431" fmla="*/ 1177476 h 1461099"/>
                    <a:gd name="connsiteX1432" fmla="*/ 1011203 w 1659478"/>
                    <a:gd name="connsiteY1432" fmla="*/ 1180549 h 1461099"/>
                    <a:gd name="connsiteX1433" fmla="*/ 1000457 w 1659478"/>
                    <a:gd name="connsiteY1433" fmla="*/ 1189680 h 1461099"/>
                    <a:gd name="connsiteX1434" fmla="*/ 999425 w 1659478"/>
                    <a:gd name="connsiteY1434" fmla="*/ 1191720 h 1461099"/>
                    <a:gd name="connsiteX1435" fmla="*/ 999145 w 1659478"/>
                    <a:gd name="connsiteY1435" fmla="*/ 1194246 h 1461099"/>
                    <a:gd name="connsiteX1436" fmla="*/ 999024 w 1659478"/>
                    <a:gd name="connsiteY1436" fmla="*/ 1197172 h 1461099"/>
                    <a:gd name="connsiteX1437" fmla="*/ 998113 w 1659478"/>
                    <a:gd name="connsiteY1437" fmla="*/ 1200524 h 1461099"/>
                    <a:gd name="connsiteX1438" fmla="*/ 996559 w 1659478"/>
                    <a:gd name="connsiteY1438" fmla="*/ 1203062 h 1461099"/>
                    <a:gd name="connsiteX1439" fmla="*/ 994264 w 1659478"/>
                    <a:gd name="connsiteY1439" fmla="*/ 1205842 h 1461099"/>
                    <a:gd name="connsiteX1440" fmla="*/ 993802 w 1659478"/>
                    <a:gd name="connsiteY1440" fmla="*/ 1207761 h 1461099"/>
                    <a:gd name="connsiteX1441" fmla="*/ 994555 w 1659478"/>
                    <a:gd name="connsiteY1441" fmla="*/ 1209169 h 1461099"/>
                    <a:gd name="connsiteX1442" fmla="*/ 996559 w 1659478"/>
                    <a:gd name="connsiteY1442" fmla="*/ 1209825 h 1461099"/>
                    <a:gd name="connsiteX1443" fmla="*/ 999085 w 1659478"/>
                    <a:gd name="connsiteY1443" fmla="*/ 1209947 h 1461099"/>
                    <a:gd name="connsiteX1444" fmla="*/ 1008095 w 1659478"/>
                    <a:gd name="connsiteY1444" fmla="*/ 1208684 h 1461099"/>
                    <a:gd name="connsiteX1445" fmla="*/ 1011203 w 1659478"/>
                    <a:gd name="connsiteY1445" fmla="*/ 1209048 h 1461099"/>
                    <a:gd name="connsiteX1446" fmla="*/ 1014360 w 1659478"/>
                    <a:gd name="connsiteY1446" fmla="*/ 1210092 h 1461099"/>
                    <a:gd name="connsiteX1447" fmla="*/ 1017226 w 1659478"/>
                    <a:gd name="connsiteY1447" fmla="*/ 1211841 h 1461099"/>
                    <a:gd name="connsiteX1448" fmla="*/ 1019873 w 1659478"/>
                    <a:gd name="connsiteY1448" fmla="*/ 1214051 h 1461099"/>
                    <a:gd name="connsiteX1449" fmla="*/ 1021646 w 1659478"/>
                    <a:gd name="connsiteY1449" fmla="*/ 1216892 h 1461099"/>
                    <a:gd name="connsiteX1450" fmla="*/ 1022678 w 1659478"/>
                    <a:gd name="connsiteY1450" fmla="*/ 1220220 h 1461099"/>
                    <a:gd name="connsiteX1451" fmla="*/ 1023310 w 1659478"/>
                    <a:gd name="connsiteY1451" fmla="*/ 1230104 h 1461099"/>
                    <a:gd name="connsiteX1452" fmla="*/ 1024172 w 1659478"/>
                    <a:gd name="connsiteY1452" fmla="*/ 1234245 h 1461099"/>
                    <a:gd name="connsiteX1453" fmla="*/ 1025556 w 1659478"/>
                    <a:gd name="connsiteY1453" fmla="*/ 1237657 h 1461099"/>
                    <a:gd name="connsiteX1454" fmla="*/ 1027208 w 1659478"/>
                    <a:gd name="connsiteY1454" fmla="*/ 1240777 h 1461099"/>
                    <a:gd name="connsiteX1455" fmla="*/ 1029065 w 1659478"/>
                    <a:gd name="connsiteY1455" fmla="*/ 1243425 h 1461099"/>
                    <a:gd name="connsiteX1456" fmla="*/ 1030948 w 1659478"/>
                    <a:gd name="connsiteY1456" fmla="*/ 1245635 h 1461099"/>
                    <a:gd name="connsiteX1457" fmla="*/ 1035088 w 1659478"/>
                    <a:gd name="connsiteY1457" fmla="*/ 1248816 h 1461099"/>
                    <a:gd name="connsiteX1458" fmla="*/ 1036922 w 1659478"/>
                    <a:gd name="connsiteY1458" fmla="*/ 1250601 h 1461099"/>
                    <a:gd name="connsiteX1459" fmla="*/ 1038355 w 1659478"/>
                    <a:gd name="connsiteY1459" fmla="*/ 1252763 h 1461099"/>
                    <a:gd name="connsiteX1460" fmla="*/ 1038246 w 1659478"/>
                    <a:gd name="connsiteY1460" fmla="*/ 1254451 h 1461099"/>
                    <a:gd name="connsiteX1461" fmla="*/ 1037165 w 1659478"/>
                    <a:gd name="connsiteY1461" fmla="*/ 1256236 h 1461099"/>
                    <a:gd name="connsiteX1462" fmla="*/ 1035829 w 1659478"/>
                    <a:gd name="connsiteY1462" fmla="*/ 1257948 h 1461099"/>
                    <a:gd name="connsiteX1463" fmla="*/ 1034275 w 1659478"/>
                    <a:gd name="connsiteY1463" fmla="*/ 1260558 h 1461099"/>
                    <a:gd name="connsiteX1464" fmla="*/ 1027050 w 1659478"/>
                    <a:gd name="connsiteY1464" fmla="*/ 1281468 h 1461099"/>
                    <a:gd name="connsiteX1465" fmla="*/ 1026078 w 1659478"/>
                    <a:gd name="connsiteY1465" fmla="*/ 1289701 h 1461099"/>
                    <a:gd name="connsiteX1466" fmla="*/ 1025896 w 1659478"/>
                    <a:gd name="connsiteY1466" fmla="*/ 1295882 h 1461099"/>
                    <a:gd name="connsiteX1467" fmla="*/ 1026175 w 1659478"/>
                    <a:gd name="connsiteY1467" fmla="*/ 1299574 h 1461099"/>
                    <a:gd name="connsiteX1468" fmla="*/ 1026698 w 1659478"/>
                    <a:gd name="connsiteY1468" fmla="*/ 1302391 h 1461099"/>
                    <a:gd name="connsiteX1469" fmla="*/ 1028604 w 1659478"/>
                    <a:gd name="connsiteY1469" fmla="*/ 1304783 h 1461099"/>
                    <a:gd name="connsiteX1470" fmla="*/ 1031530 w 1659478"/>
                    <a:gd name="connsiteY1470" fmla="*/ 1310126 h 1461099"/>
                    <a:gd name="connsiteX1471" fmla="*/ 1032733 w 1659478"/>
                    <a:gd name="connsiteY1471" fmla="*/ 1316209 h 1461099"/>
                    <a:gd name="connsiteX1472" fmla="*/ 1032963 w 1659478"/>
                    <a:gd name="connsiteY1472" fmla="*/ 1319476 h 1461099"/>
                    <a:gd name="connsiteX1473" fmla="*/ 1032781 w 1659478"/>
                    <a:gd name="connsiteY1473" fmla="*/ 1323009 h 1461099"/>
                    <a:gd name="connsiteX1474" fmla="*/ 1032040 w 1659478"/>
                    <a:gd name="connsiteY1474" fmla="*/ 1327175 h 1461099"/>
                    <a:gd name="connsiteX1475" fmla="*/ 1030498 w 1659478"/>
                    <a:gd name="connsiteY1475" fmla="*/ 1330077 h 1461099"/>
                    <a:gd name="connsiteX1476" fmla="*/ 1028701 w 1659478"/>
                    <a:gd name="connsiteY1476" fmla="*/ 1332432 h 1461099"/>
                    <a:gd name="connsiteX1477" fmla="*/ 1026989 w 1659478"/>
                    <a:gd name="connsiteY1477" fmla="*/ 1334217 h 1461099"/>
                    <a:gd name="connsiteX1478" fmla="*/ 1025386 w 1659478"/>
                    <a:gd name="connsiteY1478" fmla="*/ 1336306 h 1461099"/>
                    <a:gd name="connsiteX1479" fmla="*/ 1024293 w 1659478"/>
                    <a:gd name="connsiteY1479" fmla="*/ 1338431 h 1461099"/>
                    <a:gd name="connsiteX1480" fmla="*/ 1021707 w 1659478"/>
                    <a:gd name="connsiteY1480" fmla="*/ 1346300 h 1461099"/>
                    <a:gd name="connsiteX1481" fmla="*/ 1020213 w 1659478"/>
                    <a:gd name="connsiteY1481" fmla="*/ 1349858 h 1461099"/>
                    <a:gd name="connsiteX1482" fmla="*/ 1018562 w 1659478"/>
                    <a:gd name="connsiteY1482" fmla="*/ 1352590 h 1461099"/>
                    <a:gd name="connsiteX1483" fmla="*/ 1016765 w 1659478"/>
                    <a:gd name="connsiteY1483" fmla="*/ 1354812 h 1461099"/>
                    <a:gd name="connsiteX1484" fmla="*/ 1011021 w 1659478"/>
                    <a:gd name="connsiteY1484" fmla="*/ 1360131 h 1461099"/>
                    <a:gd name="connsiteX1485" fmla="*/ 1009528 w 1659478"/>
                    <a:gd name="connsiteY1485" fmla="*/ 1360847 h 1461099"/>
                    <a:gd name="connsiteX1486" fmla="*/ 1004828 w 1659478"/>
                    <a:gd name="connsiteY1486" fmla="*/ 1361891 h 1461099"/>
                    <a:gd name="connsiteX1487" fmla="*/ 1002825 w 1659478"/>
                    <a:gd name="connsiteY1487" fmla="*/ 1362632 h 1461099"/>
                    <a:gd name="connsiteX1488" fmla="*/ 992200 w 1659478"/>
                    <a:gd name="connsiteY1488" fmla="*/ 1369638 h 1461099"/>
                    <a:gd name="connsiteX1489" fmla="*/ 987889 w 1659478"/>
                    <a:gd name="connsiteY1489" fmla="*/ 1371071 h 1461099"/>
                    <a:gd name="connsiteX1490" fmla="*/ 978235 w 1659478"/>
                    <a:gd name="connsiteY1490" fmla="*/ 1373925 h 1461099"/>
                    <a:gd name="connsiteX1491" fmla="*/ 975139 w 1659478"/>
                    <a:gd name="connsiteY1491" fmla="*/ 1375928 h 1461099"/>
                    <a:gd name="connsiteX1492" fmla="*/ 963481 w 1659478"/>
                    <a:gd name="connsiteY1492" fmla="*/ 1386323 h 1461099"/>
                    <a:gd name="connsiteX1493" fmla="*/ 961065 w 1659478"/>
                    <a:gd name="connsiteY1493" fmla="*/ 1389589 h 1461099"/>
                    <a:gd name="connsiteX1494" fmla="*/ 954459 w 1659478"/>
                    <a:gd name="connsiteY1494" fmla="*/ 1401793 h 1461099"/>
                    <a:gd name="connsiteX1495" fmla="*/ 954180 w 1659478"/>
                    <a:gd name="connsiteY1495" fmla="*/ 1404464 h 1461099"/>
                    <a:gd name="connsiteX1496" fmla="*/ 954811 w 1659478"/>
                    <a:gd name="connsiteY1496" fmla="*/ 1406589 h 1461099"/>
                    <a:gd name="connsiteX1497" fmla="*/ 956196 w 1659478"/>
                    <a:gd name="connsiteY1497" fmla="*/ 1408484 h 1461099"/>
                    <a:gd name="connsiteX1498" fmla="*/ 957289 w 1659478"/>
                    <a:gd name="connsiteY1498" fmla="*/ 1409479 h 1461099"/>
                    <a:gd name="connsiteX1499" fmla="*/ 958369 w 1659478"/>
                    <a:gd name="connsiteY1499" fmla="*/ 1410099 h 1461099"/>
                    <a:gd name="connsiteX1500" fmla="*/ 959924 w 1659478"/>
                    <a:gd name="connsiteY1500" fmla="*/ 1410694 h 1461099"/>
                    <a:gd name="connsiteX1501" fmla="*/ 965716 w 1659478"/>
                    <a:gd name="connsiteY1501" fmla="*/ 1411787 h 1461099"/>
                    <a:gd name="connsiteX1502" fmla="*/ 971411 w 1659478"/>
                    <a:gd name="connsiteY1502" fmla="*/ 1413996 h 1461099"/>
                    <a:gd name="connsiteX1503" fmla="*/ 973366 w 1659478"/>
                    <a:gd name="connsiteY1503" fmla="*/ 1414276 h 1461099"/>
                    <a:gd name="connsiteX1504" fmla="*/ 977834 w 1659478"/>
                    <a:gd name="connsiteY1504" fmla="*/ 1414057 h 1461099"/>
                    <a:gd name="connsiteX1505" fmla="*/ 980190 w 1659478"/>
                    <a:gd name="connsiteY1505" fmla="*/ 1414312 h 1461099"/>
                    <a:gd name="connsiteX1506" fmla="*/ 982315 w 1659478"/>
                    <a:gd name="connsiteY1506" fmla="*/ 1415344 h 1461099"/>
                    <a:gd name="connsiteX1507" fmla="*/ 983639 w 1659478"/>
                    <a:gd name="connsiteY1507" fmla="*/ 1416547 h 1461099"/>
                    <a:gd name="connsiteX1508" fmla="*/ 985654 w 1659478"/>
                    <a:gd name="connsiteY1508" fmla="*/ 1419534 h 1461099"/>
                    <a:gd name="connsiteX1509" fmla="*/ 987148 w 1659478"/>
                    <a:gd name="connsiteY1509" fmla="*/ 1421003 h 1461099"/>
                    <a:gd name="connsiteX1510" fmla="*/ 990924 w 1659478"/>
                    <a:gd name="connsiteY1510" fmla="*/ 1423662 h 1461099"/>
                    <a:gd name="connsiteX1511" fmla="*/ 991677 w 1659478"/>
                    <a:gd name="connsiteY1511" fmla="*/ 1425593 h 1461099"/>
                    <a:gd name="connsiteX1512" fmla="*/ 990014 w 1659478"/>
                    <a:gd name="connsiteY1512" fmla="*/ 1427087 h 1461099"/>
                    <a:gd name="connsiteX1513" fmla="*/ 981854 w 1659478"/>
                    <a:gd name="connsiteY1513" fmla="*/ 1429989 h 1461099"/>
                    <a:gd name="connsiteX1514" fmla="*/ 971472 w 1659478"/>
                    <a:gd name="connsiteY1514" fmla="*/ 1436825 h 1461099"/>
                    <a:gd name="connsiteX1515" fmla="*/ 959875 w 1659478"/>
                    <a:gd name="connsiteY1515" fmla="*/ 1439582 h 1461099"/>
                    <a:gd name="connsiteX1516" fmla="*/ 945971 w 1659478"/>
                    <a:gd name="connsiteY1516" fmla="*/ 1446783 h 1461099"/>
                    <a:gd name="connsiteX1517" fmla="*/ 942231 w 1659478"/>
                    <a:gd name="connsiteY1517" fmla="*/ 1447183 h 1461099"/>
                    <a:gd name="connsiteX1518" fmla="*/ 938843 w 1659478"/>
                    <a:gd name="connsiteY1518" fmla="*/ 1446552 h 1461099"/>
                    <a:gd name="connsiteX1519" fmla="*/ 935917 w 1659478"/>
                    <a:gd name="connsiteY1519" fmla="*/ 1445483 h 1461099"/>
                    <a:gd name="connsiteX1520" fmla="*/ 933161 w 1659478"/>
                    <a:gd name="connsiteY1520" fmla="*/ 1444791 h 1461099"/>
                    <a:gd name="connsiteX1521" fmla="*/ 929372 w 1659478"/>
                    <a:gd name="connsiteY1521" fmla="*/ 1444743 h 1461099"/>
                    <a:gd name="connsiteX1522" fmla="*/ 926968 w 1659478"/>
                    <a:gd name="connsiteY1522" fmla="*/ 1445265 h 1461099"/>
                    <a:gd name="connsiteX1523" fmla="*/ 924843 w 1659478"/>
                    <a:gd name="connsiteY1523" fmla="*/ 1446236 h 1461099"/>
                    <a:gd name="connsiteX1524" fmla="*/ 923349 w 1659478"/>
                    <a:gd name="connsiteY1524" fmla="*/ 1447390 h 1461099"/>
                    <a:gd name="connsiteX1525" fmla="*/ 920641 w 1659478"/>
                    <a:gd name="connsiteY1525" fmla="*/ 1449879 h 1461099"/>
                    <a:gd name="connsiteX1526" fmla="*/ 917375 w 1659478"/>
                    <a:gd name="connsiteY1526" fmla="*/ 1451980 h 1461099"/>
                    <a:gd name="connsiteX1527" fmla="*/ 915990 w 1659478"/>
                    <a:gd name="connsiteY1527" fmla="*/ 1448252 h 1461099"/>
                    <a:gd name="connsiteX1528" fmla="*/ 914436 w 1659478"/>
                    <a:gd name="connsiteY1528" fmla="*/ 1445374 h 1461099"/>
                    <a:gd name="connsiteX1529" fmla="*/ 913234 w 1659478"/>
                    <a:gd name="connsiteY1529" fmla="*/ 1444111 h 1461099"/>
                    <a:gd name="connsiteX1530" fmla="*/ 911631 w 1659478"/>
                    <a:gd name="connsiteY1530" fmla="*/ 1443103 h 1461099"/>
                    <a:gd name="connsiteX1531" fmla="*/ 909506 w 1659478"/>
                    <a:gd name="connsiteY1531" fmla="*/ 1442217 h 1461099"/>
                    <a:gd name="connsiteX1532" fmla="*/ 908122 w 1659478"/>
                    <a:gd name="connsiteY1532" fmla="*/ 1441294 h 1461099"/>
                    <a:gd name="connsiteX1533" fmla="*/ 904795 w 1659478"/>
                    <a:gd name="connsiteY1533" fmla="*/ 1435696 h 1461099"/>
                    <a:gd name="connsiteX1534" fmla="*/ 904054 w 1659478"/>
                    <a:gd name="connsiteY1534" fmla="*/ 1433632 h 1461099"/>
                    <a:gd name="connsiteX1535" fmla="*/ 902621 w 1659478"/>
                    <a:gd name="connsiteY1535" fmla="*/ 1431167 h 1461099"/>
                    <a:gd name="connsiteX1536" fmla="*/ 900435 w 1659478"/>
                    <a:gd name="connsiteY1536" fmla="*/ 1428264 h 1461099"/>
                    <a:gd name="connsiteX1537" fmla="*/ 895323 w 1659478"/>
                    <a:gd name="connsiteY1537" fmla="*/ 1425071 h 1461099"/>
                    <a:gd name="connsiteX1538" fmla="*/ 892907 w 1659478"/>
                    <a:gd name="connsiteY1538" fmla="*/ 1424075 h 1461099"/>
                    <a:gd name="connsiteX1539" fmla="*/ 891365 w 1659478"/>
                    <a:gd name="connsiteY1539" fmla="*/ 1424015 h 1461099"/>
                    <a:gd name="connsiteX1540" fmla="*/ 888899 w 1659478"/>
                    <a:gd name="connsiteY1540" fmla="*/ 1426164 h 1461099"/>
                    <a:gd name="connsiteX1541" fmla="*/ 887685 w 1659478"/>
                    <a:gd name="connsiteY1541" fmla="*/ 1426917 h 1461099"/>
                    <a:gd name="connsiteX1542" fmla="*/ 886192 w 1659478"/>
                    <a:gd name="connsiteY1542" fmla="*/ 1427463 h 1461099"/>
                    <a:gd name="connsiteX1543" fmla="*/ 884176 w 1659478"/>
                    <a:gd name="connsiteY1543" fmla="*/ 1427827 h 1461099"/>
                    <a:gd name="connsiteX1544" fmla="*/ 881954 w 1659478"/>
                    <a:gd name="connsiteY1544" fmla="*/ 1427172 h 1461099"/>
                    <a:gd name="connsiteX1545" fmla="*/ 879525 w 1659478"/>
                    <a:gd name="connsiteY1545" fmla="*/ 1425447 h 1461099"/>
                    <a:gd name="connsiteX1546" fmla="*/ 877121 w 1659478"/>
                    <a:gd name="connsiteY1546" fmla="*/ 1421319 h 1461099"/>
                    <a:gd name="connsiteX1547" fmla="*/ 876599 w 1659478"/>
                    <a:gd name="connsiteY1547" fmla="*/ 1418101 h 1461099"/>
                    <a:gd name="connsiteX1548" fmla="*/ 876599 w 1659478"/>
                    <a:gd name="connsiteY1548" fmla="*/ 1415138 h 1461099"/>
                    <a:gd name="connsiteX1549" fmla="*/ 876842 w 1659478"/>
                    <a:gd name="connsiteY1549" fmla="*/ 1412527 h 1461099"/>
                    <a:gd name="connsiteX1550" fmla="*/ 876538 w 1659478"/>
                    <a:gd name="connsiteY1550" fmla="*/ 1410123 h 1461099"/>
                    <a:gd name="connsiteX1551" fmla="*/ 874984 w 1659478"/>
                    <a:gd name="connsiteY1551" fmla="*/ 1407682 h 1461099"/>
                    <a:gd name="connsiteX1552" fmla="*/ 872409 w 1659478"/>
                    <a:gd name="connsiteY1552" fmla="*/ 1405411 h 1461099"/>
                    <a:gd name="connsiteX1553" fmla="*/ 862294 w 1659478"/>
                    <a:gd name="connsiteY1553" fmla="*/ 1400214 h 1461099"/>
                    <a:gd name="connsiteX1554" fmla="*/ 855871 w 1659478"/>
                    <a:gd name="connsiteY1554" fmla="*/ 1393754 h 1461099"/>
                    <a:gd name="connsiteX1555" fmla="*/ 849095 w 1659478"/>
                    <a:gd name="connsiteY1555" fmla="*/ 1388120 h 1461099"/>
                    <a:gd name="connsiteX1556" fmla="*/ 846618 w 1659478"/>
                    <a:gd name="connsiteY1556" fmla="*/ 1387428 h 1461099"/>
                    <a:gd name="connsiteX1557" fmla="*/ 845124 w 1659478"/>
                    <a:gd name="connsiteY1557" fmla="*/ 1387428 h 1461099"/>
                    <a:gd name="connsiteX1558" fmla="*/ 844614 w 1659478"/>
                    <a:gd name="connsiteY1558" fmla="*/ 1388363 h 1461099"/>
                    <a:gd name="connsiteX1559" fmla="*/ 843873 w 1659478"/>
                    <a:gd name="connsiteY1559" fmla="*/ 1390160 h 1461099"/>
                    <a:gd name="connsiteX1560" fmla="*/ 843412 w 1659478"/>
                    <a:gd name="connsiteY1560" fmla="*/ 1391022 h 1461099"/>
                    <a:gd name="connsiteX1561" fmla="*/ 842720 w 1659478"/>
                    <a:gd name="connsiteY1561" fmla="*/ 1391824 h 1461099"/>
                    <a:gd name="connsiteX1562" fmla="*/ 841627 w 1659478"/>
                    <a:gd name="connsiteY1562" fmla="*/ 1392431 h 1461099"/>
                    <a:gd name="connsiteX1563" fmla="*/ 840085 w 1659478"/>
                    <a:gd name="connsiteY1563" fmla="*/ 1392928 h 1461099"/>
                    <a:gd name="connsiteX1564" fmla="*/ 838761 w 1659478"/>
                    <a:gd name="connsiteY1564" fmla="*/ 1393147 h 1461099"/>
                    <a:gd name="connsiteX1565" fmla="*/ 837098 w 1659478"/>
                    <a:gd name="connsiteY1565" fmla="*/ 1392807 h 1461099"/>
                    <a:gd name="connsiteX1566" fmla="*/ 835203 w 1659478"/>
                    <a:gd name="connsiteY1566" fmla="*/ 1392006 h 1461099"/>
                    <a:gd name="connsiteX1567" fmla="*/ 829569 w 1659478"/>
                    <a:gd name="connsiteY1567" fmla="*/ 1385995 h 1461099"/>
                    <a:gd name="connsiteX1568" fmla="*/ 822563 w 1659478"/>
                    <a:gd name="connsiteY1568" fmla="*/ 1375151 h 1461099"/>
                    <a:gd name="connsiteX1569" fmla="*/ 821421 w 1659478"/>
                    <a:gd name="connsiteY1569" fmla="*/ 1373111 h 1461099"/>
                    <a:gd name="connsiteX1570" fmla="*/ 819806 w 1659478"/>
                    <a:gd name="connsiteY1570" fmla="*/ 1372273 h 1461099"/>
                    <a:gd name="connsiteX1571" fmla="*/ 817220 w 1659478"/>
                    <a:gd name="connsiteY1571" fmla="*/ 1372079 h 1461099"/>
                    <a:gd name="connsiteX1572" fmla="*/ 802418 w 1659478"/>
                    <a:gd name="connsiteY1572" fmla="*/ 1376985 h 1461099"/>
                    <a:gd name="connsiteX1573" fmla="*/ 800110 w 1659478"/>
                    <a:gd name="connsiteY1573" fmla="*/ 1376730 h 1461099"/>
                    <a:gd name="connsiteX1574" fmla="*/ 796103 w 1659478"/>
                    <a:gd name="connsiteY1574" fmla="*/ 1372735 h 1461099"/>
                    <a:gd name="connsiteX1575" fmla="*/ 794087 w 1659478"/>
                    <a:gd name="connsiteY1575" fmla="*/ 1371678 h 1461099"/>
                    <a:gd name="connsiteX1576" fmla="*/ 786741 w 1659478"/>
                    <a:gd name="connsiteY1576" fmla="*/ 1372310 h 1461099"/>
                    <a:gd name="connsiteX1577" fmla="*/ 785187 w 1659478"/>
                    <a:gd name="connsiteY1577" fmla="*/ 1369687 h 1461099"/>
                    <a:gd name="connsiteX1578" fmla="*/ 787202 w 1659478"/>
                    <a:gd name="connsiteY1578" fmla="*/ 1365218 h 1461099"/>
                    <a:gd name="connsiteX1579" fmla="*/ 787603 w 1659478"/>
                    <a:gd name="connsiteY1579" fmla="*/ 1362571 h 1461099"/>
                    <a:gd name="connsiteX1580" fmla="*/ 787202 w 1659478"/>
                    <a:gd name="connsiteY1580" fmla="*/ 1360507 h 1461099"/>
                    <a:gd name="connsiteX1581" fmla="*/ 785770 w 1659478"/>
                    <a:gd name="connsiteY1581" fmla="*/ 1357726 h 1461099"/>
                    <a:gd name="connsiteX1582" fmla="*/ 784798 w 1659478"/>
                    <a:gd name="connsiteY1582" fmla="*/ 1355200 h 1461099"/>
                    <a:gd name="connsiteX1583" fmla="*/ 784555 w 1659478"/>
                    <a:gd name="connsiteY1583" fmla="*/ 1351351 h 1461099"/>
                    <a:gd name="connsiteX1584" fmla="*/ 785247 w 1659478"/>
                    <a:gd name="connsiteY1584" fmla="*/ 1347963 h 1461099"/>
                    <a:gd name="connsiteX1585" fmla="*/ 785527 w 1659478"/>
                    <a:gd name="connsiteY1585" fmla="*/ 1343798 h 1461099"/>
                    <a:gd name="connsiteX1586" fmla="*/ 784555 w 1659478"/>
                    <a:gd name="connsiteY1586" fmla="*/ 1339973 h 1461099"/>
                    <a:gd name="connsiteX1587" fmla="*/ 780597 w 1659478"/>
                    <a:gd name="connsiteY1587" fmla="*/ 1334897 h 1461099"/>
                    <a:gd name="connsiteX1588" fmla="*/ 777889 w 1659478"/>
                    <a:gd name="connsiteY1588" fmla="*/ 1333380 h 1461099"/>
                    <a:gd name="connsiteX1589" fmla="*/ 775363 w 1659478"/>
                    <a:gd name="connsiteY1589" fmla="*/ 1333319 h 1461099"/>
                    <a:gd name="connsiteX1590" fmla="*/ 773481 w 1659478"/>
                    <a:gd name="connsiteY1590" fmla="*/ 1334582 h 1461099"/>
                    <a:gd name="connsiteX1591" fmla="*/ 769741 w 1659478"/>
                    <a:gd name="connsiteY1591" fmla="*/ 1338140 h 1461099"/>
                    <a:gd name="connsiteX1592" fmla="*/ 767507 w 1659478"/>
                    <a:gd name="connsiteY1592" fmla="*/ 1339718 h 1461099"/>
                    <a:gd name="connsiteX1593" fmla="*/ 765442 w 1659478"/>
                    <a:gd name="connsiteY1593" fmla="*/ 1340350 h 1461099"/>
                    <a:gd name="connsiteX1594" fmla="*/ 763706 w 1659478"/>
                    <a:gd name="connsiteY1594" fmla="*/ 1339803 h 1461099"/>
                    <a:gd name="connsiteX1595" fmla="*/ 763074 w 1659478"/>
                    <a:gd name="connsiteY1595" fmla="*/ 1338892 h 1461099"/>
                    <a:gd name="connsiteX1596" fmla="*/ 762856 w 1659478"/>
                    <a:gd name="connsiteY1596" fmla="*/ 1336476 h 1461099"/>
                    <a:gd name="connsiteX1597" fmla="*/ 763257 w 1659478"/>
                    <a:gd name="connsiteY1597" fmla="*/ 1333550 h 1461099"/>
                    <a:gd name="connsiteX1598" fmla="*/ 763305 w 1659478"/>
                    <a:gd name="connsiteY1598" fmla="*/ 1328583 h 1461099"/>
                    <a:gd name="connsiteX1599" fmla="*/ 763767 w 1659478"/>
                    <a:gd name="connsiteY1599" fmla="*/ 1326567 h 1461099"/>
                    <a:gd name="connsiteX1600" fmla="*/ 764519 w 1659478"/>
                    <a:gd name="connsiteY1600" fmla="*/ 1324880 h 1461099"/>
                    <a:gd name="connsiteX1601" fmla="*/ 764920 w 1659478"/>
                    <a:gd name="connsiteY1601" fmla="*/ 1323592 h 1461099"/>
                    <a:gd name="connsiteX1602" fmla="*/ 764738 w 1659478"/>
                    <a:gd name="connsiteY1602" fmla="*/ 1322208 h 1461099"/>
                    <a:gd name="connsiteX1603" fmla="*/ 763427 w 1659478"/>
                    <a:gd name="connsiteY1603" fmla="*/ 1320168 h 1461099"/>
                    <a:gd name="connsiteX1604" fmla="*/ 762516 w 1659478"/>
                    <a:gd name="connsiteY1604" fmla="*/ 1319257 h 1461099"/>
                    <a:gd name="connsiteX1605" fmla="*/ 760840 w 1659478"/>
                    <a:gd name="connsiteY1605" fmla="*/ 1318420 h 1461099"/>
                    <a:gd name="connsiteX1606" fmla="*/ 755910 w 1659478"/>
                    <a:gd name="connsiteY1606" fmla="*/ 1317582 h 1461099"/>
                    <a:gd name="connsiteX1607" fmla="*/ 753481 w 1659478"/>
                    <a:gd name="connsiteY1607" fmla="*/ 1316574 h 1461099"/>
                    <a:gd name="connsiteX1608" fmla="*/ 751478 w 1659478"/>
                    <a:gd name="connsiteY1608" fmla="*/ 1314679 h 1461099"/>
                    <a:gd name="connsiteX1609" fmla="*/ 749924 w 1659478"/>
                    <a:gd name="connsiteY1609" fmla="*/ 1312008 h 1461099"/>
                    <a:gd name="connsiteX1610" fmla="*/ 748734 w 1659478"/>
                    <a:gd name="connsiteY1610" fmla="*/ 1308596 h 1461099"/>
                    <a:gd name="connsiteX1611" fmla="*/ 747629 w 1659478"/>
                    <a:gd name="connsiteY1611" fmla="*/ 1306447 h 1461099"/>
                    <a:gd name="connsiteX1612" fmla="*/ 746317 w 1659478"/>
                    <a:gd name="connsiteY1612" fmla="*/ 1304807 h 1461099"/>
                    <a:gd name="connsiteX1613" fmla="*/ 744763 w 1659478"/>
                    <a:gd name="connsiteY1613" fmla="*/ 1303860 h 1461099"/>
                    <a:gd name="connsiteX1614" fmla="*/ 743209 w 1659478"/>
                    <a:gd name="connsiteY1614" fmla="*/ 1303484 h 1461099"/>
                    <a:gd name="connsiteX1615" fmla="*/ 736955 w 1659478"/>
                    <a:gd name="connsiteY1615" fmla="*/ 1303799 h 1461099"/>
                    <a:gd name="connsiteX1616" fmla="*/ 736324 w 1659478"/>
                    <a:gd name="connsiteY1616" fmla="*/ 1303168 h 1461099"/>
                    <a:gd name="connsiteX1617" fmla="*/ 736093 w 1659478"/>
                    <a:gd name="connsiteY1617" fmla="*/ 1301796 h 1461099"/>
                    <a:gd name="connsiteX1618" fmla="*/ 737586 w 1659478"/>
                    <a:gd name="connsiteY1618" fmla="*/ 1292810 h 1461099"/>
                    <a:gd name="connsiteX1619" fmla="*/ 737708 w 1659478"/>
                    <a:gd name="connsiteY1619" fmla="*/ 1290369 h 1461099"/>
                    <a:gd name="connsiteX1620" fmla="*/ 737295 w 1659478"/>
                    <a:gd name="connsiteY1620" fmla="*/ 1285427 h 1461099"/>
                    <a:gd name="connsiteX1621" fmla="*/ 737404 w 1659478"/>
                    <a:gd name="connsiteY1621" fmla="*/ 1282986 h 1461099"/>
                    <a:gd name="connsiteX1622" fmla="*/ 738157 w 1659478"/>
                    <a:gd name="connsiteY1622" fmla="*/ 1280886 h 1461099"/>
                    <a:gd name="connsiteX1623" fmla="*/ 739529 w 1659478"/>
                    <a:gd name="connsiteY1623" fmla="*/ 1279052 h 1461099"/>
                    <a:gd name="connsiteX1624" fmla="*/ 742516 w 1659478"/>
                    <a:gd name="connsiteY1624" fmla="*/ 1276988 h 1461099"/>
                    <a:gd name="connsiteX1625" fmla="*/ 745224 w 1659478"/>
                    <a:gd name="connsiteY1625" fmla="*/ 1275519 h 1461099"/>
                    <a:gd name="connsiteX1626" fmla="*/ 747580 w 1659478"/>
                    <a:gd name="connsiteY1626" fmla="*/ 1273770 h 1461099"/>
                    <a:gd name="connsiteX1627" fmla="*/ 748612 w 1659478"/>
                    <a:gd name="connsiteY1627" fmla="*/ 1272713 h 1461099"/>
                    <a:gd name="connsiteX1628" fmla="*/ 747580 w 1659478"/>
                    <a:gd name="connsiteY1628" fmla="*/ 1267188 h 1461099"/>
                    <a:gd name="connsiteX1629" fmla="*/ 745346 w 1659478"/>
                    <a:gd name="connsiteY1629" fmla="*/ 1263813 h 1461099"/>
                    <a:gd name="connsiteX1630" fmla="*/ 744010 w 1659478"/>
                    <a:gd name="connsiteY1630" fmla="*/ 1260996 h 1461099"/>
                    <a:gd name="connsiteX1631" fmla="*/ 743901 w 1659478"/>
                    <a:gd name="connsiteY1631" fmla="*/ 1260510 h 1461099"/>
                    <a:gd name="connsiteX1632" fmla="*/ 743840 w 1659478"/>
                    <a:gd name="connsiteY1632" fmla="*/ 1259478 h 1461099"/>
                    <a:gd name="connsiteX1633" fmla="*/ 743901 w 1659478"/>
                    <a:gd name="connsiteY1633" fmla="*/ 1255191 h 1461099"/>
                    <a:gd name="connsiteX1634" fmla="*/ 743379 w 1659478"/>
                    <a:gd name="connsiteY1634" fmla="*/ 1252580 h 1461099"/>
                    <a:gd name="connsiteX1635" fmla="*/ 742006 w 1659478"/>
                    <a:gd name="connsiteY1635" fmla="*/ 1249569 h 1461099"/>
                    <a:gd name="connsiteX1636" fmla="*/ 735522 w 1659478"/>
                    <a:gd name="connsiteY1636" fmla="*/ 1240146 h 1461099"/>
                    <a:gd name="connsiteX1637" fmla="*/ 734138 w 1659478"/>
                    <a:gd name="connsiteY1637" fmla="*/ 1239490 h 1461099"/>
                    <a:gd name="connsiteX1638" fmla="*/ 732535 w 1659478"/>
                    <a:gd name="connsiteY1638" fmla="*/ 1240498 h 1461099"/>
                    <a:gd name="connsiteX1639" fmla="*/ 731260 w 1659478"/>
                    <a:gd name="connsiteY1639" fmla="*/ 1242332 h 1461099"/>
                    <a:gd name="connsiteX1640" fmla="*/ 729086 w 1659478"/>
                    <a:gd name="connsiteY1640" fmla="*/ 1247553 h 1461099"/>
                    <a:gd name="connsiteX1641" fmla="*/ 727763 w 1659478"/>
                    <a:gd name="connsiteY1641" fmla="*/ 1249860 h 1461099"/>
                    <a:gd name="connsiteX1642" fmla="*/ 726111 w 1659478"/>
                    <a:gd name="connsiteY1642" fmla="*/ 1251949 h 1461099"/>
                    <a:gd name="connsiteX1643" fmla="*/ 724375 w 1659478"/>
                    <a:gd name="connsiteY1643" fmla="*/ 1253273 h 1461099"/>
                    <a:gd name="connsiteX1644" fmla="*/ 717077 w 1659478"/>
                    <a:gd name="connsiteY1644" fmla="*/ 1258008 h 1461099"/>
                    <a:gd name="connsiteX1645" fmla="*/ 715195 w 1659478"/>
                    <a:gd name="connsiteY1645" fmla="*/ 1257887 h 1461099"/>
                    <a:gd name="connsiteX1646" fmla="*/ 712208 w 1659478"/>
                    <a:gd name="connsiteY1646" fmla="*/ 1255106 h 1461099"/>
                    <a:gd name="connsiteX1647" fmla="*/ 708128 w 1659478"/>
                    <a:gd name="connsiteY1647" fmla="*/ 1250225 h 1461099"/>
                    <a:gd name="connsiteX1648" fmla="*/ 707387 w 1659478"/>
                    <a:gd name="connsiteY1648" fmla="*/ 1248500 h 1461099"/>
                    <a:gd name="connsiteX1649" fmla="*/ 706816 w 1659478"/>
                    <a:gd name="connsiteY1649" fmla="*/ 1245343 h 1461099"/>
                    <a:gd name="connsiteX1650" fmla="*/ 706003 w 1659478"/>
                    <a:gd name="connsiteY1650" fmla="*/ 1243765 h 1461099"/>
                    <a:gd name="connsiteX1651" fmla="*/ 704691 w 1659478"/>
                    <a:gd name="connsiteY1651" fmla="*/ 1242332 h 1461099"/>
                    <a:gd name="connsiteX1652" fmla="*/ 700890 w 1659478"/>
                    <a:gd name="connsiteY1652" fmla="*/ 1240717 h 1461099"/>
                    <a:gd name="connsiteX1653" fmla="*/ 699518 w 1659478"/>
                    <a:gd name="connsiteY1653" fmla="*/ 1239745 h 1461099"/>
                    <a:gd name="connsiteX1654" fmla="*/ 696932 w 1659478"/>
                    <a:gd name="connsiteY1654" fmla="*/ 1236564 h 1461099"/>
                    <a:gd name="connsiteX1655" fmla="*/ 695378 w 1659478"/>
                    <a:gd name="connsiteY1655" fmla="*/ 1235410 h 1461099"/>
                    <a:gd name="connsiteX1656" fmla="*/ 691140 w 1659478"/>
                    <a:gd name="connsiteY1656" fmla="*/ 1233346 h 1461099"/>
                    <a:gd name="connsiteX1657" fmla="*/ 689233 w 1659478"/>
                    <a:gd name="connsiteY1657" fmla="*/ 1231257 h 1461099"/>
                    <a:gd name="connsiteX1658" fmla="*/ 688201 w 1659478"/>
                    <a:gd name="connsiteY1658" fmla="*/ 1229290 h 1461099"/>
                    <a:gd name="connsiteX1659" fmla="*/ 686829 w 1659478"/>
                    <a:gd name="connsiteY1659" fmla="*/ 1225307 h 1461099"/>
                    <a:gd name="connsiteX1660" fmla="*/ 684012 w 1659478"/>
                    <a:gd name="connsiteY1660" fmla="*/ 1220365 h 1461099"/>
                    <a:gd name="connsiteX1661" fmla="*/ 683660 w 1659478"/>
                    <a:gd name="connsiteY1661" fmla="*/ 1218386 h 1461099"/>
                    <a:gd name="connsiteX1662" fmla="*/ 684182 w 1659478"/>
                    <a:gd name="connsiteY1662" fmla="*/ 1215885 h 1461099"/>
                    <a:gd name="connsiteX1663" fmla="*/ 689282 w 1659478"/>
                    <a:gd name="connsiteY1663" fmla="*/ 1202892 h 1461099"/>
                    <a:gd name="connsiteX1664" fmla="*/ 690448 w 1659478"/>
                    <a:gd name="connsiteY1664" fmla="*/ 1201471 h 1461099"/>
                    <a:gd name="connsiteX1665" fmla="*/ 692111 w 1659478"/>
                    <a:gd name="connsiteY1665" fmla="*/ 1200269 h 1461099"/>
                    <a:gd name="connsiteX1666" fmla="*/ 693665 w 1659478"/>
                    <a:gd name="connsiteY1666" fmla="*/ 1198666 h 1461099"/>
                    <a:gd name="connsiteX1667" fmla="*/ 694285 w 1659478"/>
                    <a:gd name="connsiteY1667" fmla="*/ 1197051 h 1461099"/>
                    <a:gd name="connsiteX1668" fmla="*/ 694455 w 1659478"/>
                    <a:gd name="connsiteY1668" fmla="*/ 1195278 h 1461099"/>
                    <a:gd name="connsiteX1669" fmla="*/ 694855 w 1659478"/>
                    <a:gd name="connsiteY1669" fmla="*/ 1194209 h 1461099"/>
                    <a:gd name="connsiteX1670" fmla="*/ 695669 w 1659478"/>
                    <a:gd name="connsiteY1670" fmla="*/ 1194039 h 1461099"/>
                    <a:gd name="connsiteX1671" fmla="*/ 697624 w 1659478"/>
                    <a:gd name="connsiteY1671" fmla="*/ 1194440 h 1461099"/>
                    <a:gd name="connsiteX1672" fmla="*/ 700210 w 1659478"/>
                    <a:gd name="connsiteY1672" fmla="*/ 1194732 h 1461099"/>
                    <a:gd name="connsiteX1673" fmla="*/ 703076 w 1659478"/>
                    <a:gd name="connsiteY1673" fmla="*/ 1194732 h 1461099"/>
                    <a:gd name="connsiteX1674" fmla="*/ 705262 w 1659478"/>
                    <a:gd name="connsiteY1674" fmla="*/ 1194149 h 1461099"/>
                    <a:gd name="connsiteX1675" fmla="*/ 706695 w 1659478"/>
                    <a:gd name="connsiteY1675" fmla="*/ 1193469 h 1461099"/>
                    <a:gd name="connsiteX1676" fmla="*/ 708128 w 1659478"/>
                    <a:gd name="connsiteY1676" fmla="*/ 1192060 h 1461099"/>
                    <a:gd name="connsiteX1677" fmla="*/ 709160 w 1659478"/>
                    <a:gd name="connsiteY1677" fmla="*/ 1190190 h 1461099"/>
                    <a:gd name="connsiteX1678" fmla="*/ 709803 w 1659478"/>
                    <a:gd name="connsiteY1678" fmla="*/ 1187604 h 1461099"/>
                    <a:gd name="connsiteX1679" fmla="*/ 709621 w 1659478"/>
                    <a:gd name="connsiteY1679" fmla="*/ 1185479 h 1461099"/>
                    <a:gd name="connsiteX1680" fmla="*/ 708880 w 1659478"/>
                    <a:gd name="connsiteY1680" fmla="*/ 1183961 h 1461099"/>
                    <a:gd name="connsiteX1681" fmla="*/ 707387 w 1659478"/>
                    <a:gd name="connsiteY1681" fmla="*/ 1183220 h 1461099"/>
                    <a:gd name="connsiteX1682" fmla="*/ 706003 w 1659478"/>
                    <a:gd name="connsiteY1682" fmla="*/ 1183354 h 1461099"/>
                    <a:gd name="connsiteX1683" fmla="*/ 704048 w 1659478"/>
                    <a:gd name="connsiteY1683" fmla="*/ 1184483 h 1461099"/>
                    <a:gd name="connsiteX1684" fmla="*/ 702785 w 1659478"/>
                    <a:gd name="connsiteY1684" fmla="*/ 1185479 h 1461099"/>
                    <a:gd name="connsiteX1685" fmla="*/ 701643 w 1659478"/>
                    <a:gd name="connsiteY1685" fmla="*/ 1185892 h 1461099"/>
                    <a:gd name="connsiteX1686" fmla="*/ 700210 w 1659478"/>
                    <a:gd name="connsiteY1686" fmla="*/ 1185746 h 1461099"/>
                    <a:gd name="connsiteX1687" fmla="*/ 690727 w 1659478"/>
                    <a:gd name="connsiteY1687" fmla="*/ 1182589 h 1461099"/>
                    <a:gd name="connsiteX1688" fmla="*/ 688832 w 1659478"/>
                    <a:gd name="connsiteY1688" fmla="*/ 1181690 h 1461099"/>
                    <a:gd name="connsiteX1689" fmla="*/ 687400 w 1659478"/>
                    <a:gd name="connsiteY1689" fmla="*/ 1180609 h 1461099"/>
                    <a:gd name="connsiteX1690" fmla="*/ 686307 w 1659478"/>
                    <a:gd name="connsiteY1690" fmla="*/ 1179286 h 1461099"/>
                    <a:gd name="connsiteX1691" fmla="*/ 685967 w 1659478"/>
                    <a:gd name="connsiteY1691" fmla="*/ 1178278 h 1461099"/>
                    <a:gd name="connsiteX1692" fmla="*/ 686027 w 1659478"/>
                    <a:gd name="connsiteY1692" fmla="*/ 1177306 h 1461099"/>
                    <a:gd name="connsiteX1693" fmla="*/ 687630 w 1659478"/>
                    <a:gd name="connsiteY1693" fmla="*/ 1172996 h 1461099"/>
                    <a:gd name="connsiteX1694" fmla="*/ 688092 w 1659478"/>
                    <a:gd name="connsiteY1694" fmla="*/ 1168831 h 1461099"/>
                    <a:gd name="connsiteX1695" fmla="*/ 688092 w 1659478"/>
                    <a:gd name="connsiteY1695" fmla="*/ 1164520 h 1461099"/>
                    <a:gd name="connsiteX1696" fmla="*/ 687800 w 1659478"/>
                    <a:gd name="connsiteY1696" fmla="*/ 1162978 h 1461099"/>
                    <a:gd name="connsiteX1697" fmla="*/ 687400 w 1659478"/>
                    <a:gd name="connsiteY1697" fmla="*/ 1161593 h 1461099"/>
                    <a:gd name="connsiteX1698" fmla="*/ 687218 w 1659478"/>
                    <a:gd name="connsiteY1698" fmla="*/ 1161302 h 1461099"/>
                    <a:gd name="connsiteX1699" fmla="*/ 686938 w 1659478"/>
                    <a:gd name="connsiteY1699" fmla="*/ 1160816 h 1461099"/>
                    <a:gd name="connsiteX1700" fmla="*/ 686185 w 1659478"/>
                    <a:gd name="connsiteY1700" fmla="*/ 1160100 h 1461099"/>
                    <a:gd name="connsiteX1701" fmla="*/ 684072 w 1659478"/>
                    <a:gd name="connsiteY1701" fmla="*/ 1159736 h 1461099"/>
                    <a:gd name="connsiteX1702" fmla="*/ 680733 w 1659478"/>
                    <a:gd name="connsiteY1702" fmla="*/ 1160076 h 1461099"/>
                    <a:gd name="connsiteX1703" fmla="*/ 674710 w 1659478"/>
                    <a:gd name="connsiteY1703" fmla="*/ 1162055 h 1461099"/>
                    <a:gd name="connsiteX1704" fmla="*/ 671893 w 1659478"/>
                    <a:gd name="connsiteY1704" fmla="*/ 1162577 h 1461099"/>
                    <a:gd name="connsiteX1705" fmla="*/ 670060 w 1659478"/>
                    <a:gd name="connsiteY1705" fmla="*/ 1162711 h 1461099"/>
                    <a:gd name="connsiteX1706" fmla="*/ 669076 w 1659478"/>
                    <a:gd name="connsiteY1706" fmla="*/ 1162893 h 1461099"/>
                    <a:gd name="connsiteX1707" fmla="*/ 668104 w 1659478"/>
                    <a:gd name="connsiteY1707" fmla="*/ 1163512 h 1461099"/>
                    <a:gd name="connsiteX1708" fmla="*/ 666210 w 1659478"/>
                    <a:gd name="connsiteY1708" fmla="*/ 1165491 h 1461099"/>
                    <a:gd name="connsiteX1709" fmla="*/ 665178 w 1659478"/>
                    <a:gd name="connsiteY1709" fmla="*/ 1167082 h 1461099"/>
                    <a:gd name="connsiteX1710" fmla="*/ 664316 w 1659478"/>
                    <a:gd name="connsiteY1710" fmla="*/ 1168661 h 1461099"/>
                    <a:gd name="connsiteX1711" fmla="*/ 664024 w 1659478"/>
                    <a:gd name="connsiteY1711" fmla="*/ 1169863 h 1461099"/>
                    <a:gd name="connsiteX1712" fmla="*/ 663903 w 1659478"/>
                    <a:gd name="connsiteY1712" fmla="*/ 1170810 h 1461099"/>
                    <a:gd name="connsiteX1713" fmla="*/ 663854 w 1659478"/>
                    <a:gd name="connsiteY1713" fmla="*/ 1173566 h 1461099"/>
                    <a:gd name="connsiteX1714" fmla="*/ 663684 w 1659478"/>
                    <a:gd name="connsiteY1714" fmla="*/ 1174975 h 1461099"/>
                    <a:gd name="connsiteX1715" fmla="*/ 663454 w 1659478"/>
                    <a:gd name="connsiteY1715" fmla="*/ 1175873 h 1461099"/>
                    <a:gd name="connsiteX1716" fmla="*/ 662932 w 1659478"/>
                    <a:gd name="connsiteY1716" fmla="*/ 1176675 h 1461099"/>
                    <a:gd name="connsiteX1717" fmla="*/ 662361 w 1659478"/>
                    <a:gd name="connsiteY1717" fmla="*/ 1177391 h 1461099"/>
                    <a:gd name="connsiteX1718" fmla="*/ 662021 w 1659478"/>
                    <a:gd name="connsiteY1718" fmla="*/ 1178375 h 1461099"/>
                    <a:gd name="connsiteX1719" fmla="*/ 661899 w 1659478"/>
                    <a:gd name="connsiteY1719" fmla="*/ 1179189 h 1461099"/>
                    <a:gd name="connsiteX1720" fmla="*/ 661899 w 1659478"/>
                    <a:gd name="connsiteY1720" fmla="*/ 1181229 h 1461099"/>
                    <a:gd name="connsiteX1721" fmla="*/ 661790 w 1659478"/>
                    <a:gd name="connsiteY1721" fmla="*/ 1182236 h 1461099"/>
                    <a:gd name="connsiteX1722" fmla="*/ 661377 w 1659478"/>
                    <a:gd name="connsiteY1722" fmla="*/ 1183414 h 1461099"/>
                    <a:gd name="connsiteX1723" fmla="*/ 660697 w 1659478"/>
                    <a:gd name="connsiteY1723" fmla="*/ 1184459 h 1461099"/>
                    <a:gd name="connsiteX1724" fmla="*/ 659726 w 1659478"/>
                    <a:gd name="connsiteY1724" fmla="*/ 1185539 h 1461099"/>
                    <a:gd name="connsiteX1725" fmla="*/ 654954 w 1659478"/>
                    <a:gd name="connsiteY1725" fmla="*/ 1188733 h 1461099"/>
                    <a:gd name="connsiteX1726" fmla="*/ 652489 w 1659478"/>
                    <a:gd name="connsiteY1726" fmla="*/ 1189389 h 1461099"/>
                    <a:gd name="connsiteX1727" fmla="*/ 649902 w 1659478"/>
                    <a:gd name="connsiteY1727" fmla="*/ 1189304 h 1461099"/>
                    <a:gd name="connsiteX1728" fmla="*/ 643078 w 1659478"/>
                    <a:gd name="connsiteY1728" fmla="*/ 1187033 h 1461099"/>
                    <a:gd name="connsiteX1729" fmla="*/ 638306 w 1659478"/>
                    <a:gd name="connsiteY1729" fmla="*/ 1186061 h 1461099"/>
                    <a:gd name="connsiteX1730" fmla="*/ 630899 w 1659478"/>
                    <a:gd name="connsiteY1730" fmla="*/ 1185952 h 1461099"/>
                    <a:gd name="connsiteX1731" fmla="*/ 621706 w 1659478"/>
                    <a:gd name="connsiteY1731" fmla="*/ 1185309 h 1461099"/>
                    <a:gd name="connsiteX1732" fmla="*/ 619181 w 1659478"/>
                    <a:gd name="connsiteY1732" fmla="*/ 1184568 h 1461099"/>
                    <a:gd name="connsiteX1733" fmla="*/ 616145 w 1659478"/>
                    <a:gd name="connsiteY1733" fmla="*/ 1183390 h 1461099"/>
                    <a:gd name="connsiteX1734" fmla="*/ 613607 w 1659478"/>
                    <a:gd name="connsiteY1734" fmla="*/ 1181459 h 1461099"/>
                    <a:gd name="connsiteX1735" fmla="*/ 612113 w 1659478"/>
                    <a:gd name="connsiteY1735" fmla="*/ 1179941 h 1461099"/>
                    <a:gd name="connsiteX1736" fmla="*/ 611093 w 1659478"/>
                    <a:gd name="connsiteY1736" fmla="*/ 1178144 h 1461099"/>
                    <a:gd name="connsiteX1737" fmla="*/ 608956 w 1659478"/>
                    <a:gd name="connsiteY1737" fmla="*/ 1172619 h 1461099"/>
                    <a:gd name="connsiteX1738" fmla="*/ 607924 w 1659478"/>
                    <a:gd name="connsiteY1738" fmla="*/ 1170786 h 1461099"/>
                    <a:gd name="connsiteX1739" fmla="*/ 606771 w 1659478"/>
                    <a:gd name="connsiteY1739" fmla="*/ 1169316 h 1461099"/>
                    <a:gd name="connsiteX1740" fmla="*/ 605058 w 1659478"/>
                    <a:gd name="connsiteY1740" fmla="*/ 1168138 h 1461099"/>
                    <a:gd name="connsiteX1741" fmla="*/ 603273 w 1659478"/>
                    <a:gd name="connsiteY1741" fmla="*/ 1167568 h 1461099"/>
                    <a:gd name="connsiteX1742" fmla="*/ 599715 w 1659478"/>
                    <a:gd name="connsiteY1742" fmla="*/ 1167167 h 1461099"/>
                    <a:gd name="connsiteX1743" fmla="*/ 597020 w 1659478"/>
                    <a:gd name="connsiteY1743" fmla="*/ 1166596 h 1461099"/>
                    <a:gd name="connsiteX1744" fmla="*/ 594033 w 1659478"/>
                    <a:gd name="connsiteY1744" fmla="*/ 1165491 h 1461099"/>
                    <a:gd name="connsiteX1745" fmla="*/ 585824 w 1659478"/>
                    <a:gd name="connsiteY1745" fmla="*/ 1160221 h 1461099"/>
                    <a:gd name="connsiteX1746" fmla="*/ 583687 w 1659478"/>
                    <a:gd name="connsiteY1746" fmla="*/ 1159529 h 1461099"/>
                    <a:gd name="connsiteX1747" fmla="*/ 580080 w 1659478"/>
                    <a:gd name="connsiteY1747" fmla="*/ 1159250 h 1461099"/>
                    <a:gd name="connsiteX1748" fmla="*/ 578125 w 1659478"/>
                    <a:gd name="connsiteY1748" fmla="*/ 1159651 h 1461099"/>
                    <a:gd name="connsiteX1749" fmla="*/ 576862 w 1659478"/>
                    <a:gd name="connsiteY1749" fmla="*/ 1160246 h 1461099"/>
                    <a:gd name="connsiteX1750" fmla="*/ 576401 w 1659478"/>
                    <a:gd name="connsiteY1750" fmla="*/ 1160792 h 1461099"/>
                    <a:gd name="connsiteX1751" fmla="*/ 576000 w 1659478"/>
                    <a:gd name="connsiteY1751" fmla="*/ 1161399 h 1461099"/>
                    <a:gd name="connsiteX1752" fmla="*/ 575539 w 1659478"/>
                    <a:gd name="connsiteY1752" fmla="*/ 1162346 h 1461099"/>
                    <a:gd name="connsiteX1753" fmla="*/ 572491 w 1659478"/>
                    <a:gd name="connsiteY1753" fmla="*/ 1172741 h 1461099"/>
                    <a:gd name="connsiteX1754" fmla="*/ 572102 w 1659478"/>
                    <a:gd name="connsiteY1754" fmla="*/ 1173421 h 1461099"/>
                    <a:gd name="connsiteX1755" fmla="*/ 571520 w 1659478"/>
                    <a:gd name="connsiteY1755" fmla="*/ 1174137 h 1461099"/>
                    <a:gd name="connsiteX1756" fmla="*/ 570949 w 1659478"/>
                    <a:gd name="connsiteY1756" fmla="*/ 1174696 h 1461099"/>
                    <a:gd name="connsiteX1757" fmla="*/ 570026 w 1659478"/>
                    <a:gd name="connsiteY1757" fmla="*/ 1175206 h 1461099"/>
                    <a:gd name="connsiteX1758" fmla="*/ 568763 w 1659478"/>
                    <a:gd name="connsiteY1758" fmla="*/ 1175546 h 1461099"/>
                    <a:gd name="connsiteX1759" fmla="*/ 567269 w 1659478"/>
                    <a:gd name="connsiteY1759" fmla="*/ 1175376 h 1461099"/>
                    <a:gd name="connsiteX1760" fmla="*/ 565837 w 1659478"/>
                    <a:gd name="connsiteY1760" fmla="*/ 1174513 h 1461099"/>
                    <a:gd name="connsiteX1761" fmla="*/ 564222 w 1659478"/>
                    <a:gd name="connsiteY1761" fmla="*/ 1172279 h 1461099"/>
                    <a:gd name="connsiteX1762" fmla="*/ 562619 w 1659478"/>
                    <a:gd name="connsiteY1762" fmla="*/ 1168624 h 1461099"/>
                    <a:gd name="connsiteX1763" fmla="*/ 560725 w 1659478"/>
                    <a:gd name="connsiteY1763" fmla="*/ 1165273 h 1461099"/>
                    <a:gd name="connsiteX1764" fmla="*/ 560105 w 1659478"/>
                    <a:gd name="connsiteY1764" fmla="*/ 1163779 h 1461099"/>
                    <a:gd name="connsiteX1765" fmla="*/ 559862 w 1659478"/>
                    <a:gd name="connsiteY1765" fmla="*/ 1161739 h 1461099"/>
                    <a:gd name="connsiteX1766" fmla="*/ 559923 w 1659478"/>
                    <a:gd name="connsiteY1766" fmla="*/ 1161375 h 1461099"/>
                    <a:gd name="connsiteX1767" fmla="*/ 560263 w 1659478"/>
                    <a:gd name="connsiteY1767" fmla="*/ 1159590 h 1461099"/>
                    <a:gd name="connsiteX1768" fmla="*/ 560105 w 1659478"/>
                    <a:gd name="connsiteY1768" fmla="*/ 1158096 h 1461099"/>
                    <a:gd name="connsiteX1769" fmla="*/ 559122 w 1659478"/>
                    <a:gd name="connsiteY1769" fmla="*/ 1156979 h 1461099"/>
                    <a:gd name="connsiteX1770" fmla="*/ 556074 w 1659478"/>
                    <a:gd name="connsiteY1770" fmla="*/ 1156518 h 1461099"/>
                    <a:gd name="connsiteX1771" fmla="*/ 553888 w 1659478"/>
                    <a:gd name="connsiteY1771" fmla="*/ 1156688 h 1461099"/>
                    <a:gd name="connsiteX1772" fmla="*/ 551544 w 1659478"/>
                    <a:gd name="connsiteY1772" fmla="*/ 1157149 h 1461099"/>
                    <a:gd name="connsiteX1773" fmla="*/ 549929 w 1659478"/>
                    <a:gd name="connsiteY1773" fmla="*/ 1157149 h 1461099"/>
                    <a:gd name="connsiteX1774" fmla="*/ 548327 w 1659478"/>
                    <a:gd name="connsiteY1774" fmla="*/ 1156627 h 1461099"/>
                    <a:gd name="connsiteX1775" fmla="*/ 547051 w 1659478"/>
                    <a:gd name="connsiteY1775" fmla="*/ 1155109 h 1461099"/>
                    <a:gd name="connsiteX1776" fmla="*/ 546311 w 1659478"/>
                    <a:gd name="connsiteY1776" fmla="*/ 1153591 h 1461099"/>
                    <a:gd name="connsiteX1777" fmla="*/ 545801 w 1659478"/>
                    <a:gd name="connsiteY1777" fmla="*/ 1151928 h 1461099"/>
                    <a:gd name="connsiteX1778" fmla="*/ 545048 w 1659478"/>
                    <a:gd name="connsiteY1778" fmla="*/ 1151065 h 1461099"/>
                    <a:gd name="connsiteX1779" fmla="*/ 543615 w 1659478"/>
                    <a:gd name="connsiteY1779" fmla="*/ 1150434 h 1461099"/>
                    <a:gd name="connsiteX1780" fmla="*/ 540628 w 1659478"/>
                    <a:gd name="connsiteY1780" fmla="*/ 1150082 h 1461099"/>
                    <a:gd name="connsiteX1781" fmla="*/ 538442 w 1659478"/>
                    <a:gd name="connsiteY1781" fmla="*/ 1150058 h 1461099"/>
                    <a:gd name="connsiteX1782" fmla="*/ 535746 w 1659478"/>
                    <a:gd name="connsiteY1782" fmla="*/ 1149365 h 1461099"/>
                    <a:gd name="connsiteX1783" fmla="*/ 533172 w 1659478"/>
                    <a:gd name="connsiteY1783" fmla="*/ 1147933 h 1461099"/>
                    <a:gd name="connsiteX1784" fmla="*/ 529493 w 1659478"/>
                    <a:gd name="connsiteY1784" fmla="*/ 1144800 h 1461099"/>
                    <a:gd name="connsiteX1785" fmla="*/ 528230 w 1659478"/>
                    <a:gd name="connsiteY1785" fmla="*/ 1143076 h 1461099"/>
                    <a:gd name="connsiteX1786" fmla="*/ 527939 w 1659478"/>
                    <a:gd name="connsiteY1786" fmla="*/ 1141728 h 1461099"/>
                    <a:gd name="connsiteX1787" fmla="*/ 528570 w 1659478"/>
                    <a:gd name="connsiteY1787" fmla="*/ 1140902 h 1461099"/>
                    <a:gd name="connsiteX1788" fmla="*/ 529541 w 1659478"/>
                    <a:gd name="connsiteY1788" fmla="*/ 1140319 h 1461099"/>
                    <a:gd name="connsiteX1789" fmla="*/ 530634 w 1659478"/>
                    <a:gd name="connsiteY1789" fmla="*/ 1139979 h 1461099"/>
                    <a:gd name="connsiteX1790" fmla="*/ 539426 w 1659478"/>
                    <a:gd name="connsiteY1790" fmla="*/ 1139348 h 1461099"/>
                    <a:gd name="connsiteX1791" fmla="*/ 541599 w 1659478"/>
                    <a:gd name="connsiteY1791" fmla="*/ 1138886 h 1461099"/>
                    <a:gd name="connsiteX1792" fmla="*/ 543154 w 1659478"/>
                    <a:gd name="connsiteY1792" fmla="*/ 1138230 h 1461099"/>
                    <a:gd name="connsiteX1793" fmla="*/ 543846 w 1659478"/>
                    <a:gd name="connsiteY1793" fmla="*/ 1137417 h 1461099"/>
                    <a:gd name="connsiteX1794" fmla="*/ 544064 w 1659478"/>
                    <a:gd name="connsiteY1794" fmla="*/ 1136251 h 1461099"/>
                    <a:gd name="connsiteX1795" fmla="*/ 543907 w 1659478"/>
                    <a:gd name="connsiteY1795" fmla="*/ 1134636 h 1461099"/>
                    <a:gd name="connsiteX1796" fmla="*/ 542984 w 1659478"/>
                    <a:gd name="connsiteY1796" fmla="*/ 1133228 h 1461099"/>
                    <a:gd name="connsiteX1797" fmla="*/ 541320 w 1659478"/>
                    <a:gd name="connsiteY1797" fmla="*/ 1132572 h 1461099"/>
                    <a:gd name="connsiteX1798" fmla="*/ 538345 w 1659478"/>
                    <a:gd name="connsiteY1798" fmla="*/ 1132948 h 1461099"/>
                    <a:gd name="connsiteX1799" fmla="*/ 531436 w 1659478"/>
                    <a:gd name="connsiteY1799" fmla="*/ 1134575 h 1461099"/>
                    <a:gd name="connsiteX1800" fmla="*/ 520240 w 1659478"/>
                    <a:gd name="connsiteY1800" fmla="*/ 1135644 h 1461099"/>
                    <a:gd name="connsiteX1801" fmla="*/ 513986 w 1659478"/>
                    <a:gd name="connsiteY1801" fmla="*/ 1134867 h 1461099"/>
                    <a:gd name="connsiteX1802" fmla="*/ 500204 w 1659478"/>
                    <a:gd name="connsiteY1802" fmla="*/ 1130362 h 1461099"/>
                    <a:gd name="connsiteX1803" fmla="*/ 496707 w 1659478"/>
                    <a:gd name="connsiteY1803" fmla="*/ 1127982 h 1461099"/>
                    <a:gd name="connsiteX1804" fmla="*/ 494460 w 1659478"/>
                    <a:gd name="connsiteY1804" fmla="*/ 1123647 h 1461099"/>
                    <a:gd name="connsiteX1805" fmla="*/ 493028 w 1659478"/>
                    <a:gd name="connsiteY1805" fmla="*/ 1121376 h 1461099"/>
                    <a:gd name="connsiteX1806" fmla="*/ 491133 w 1659478"/>
                    <a:gd name="connsiteY1806" fmla="*/ 1120052 h 1461099"/>
                    <a:gd name="connsiteX1807" fmla="*/ 488025 w 1659478"/>
                    <a:gd name="connsiteY1807" fmla="*/ 1120429 h 1461099"/>
                    <a:gd name="connsiteX1808" fmla="*/ 479075 w 1659478"/>
                    <a:gd name="connsiteY1808" fmla="*/ 1122639 h 1461099"/>
                    <a:gd name="connsiteX1809" fmla="*/ 477582 w 1659478"/>
                    <a:gd name="connsiteY1809" fmla="*/ 1123416 h 1461099"/>
                    <a:gd name="connsiteX1810" fmla="*/ 476610 w 1659478"/>
                    <a:gd name="connsiteY1810" fmla="*/ 1124193 h 1461099"/>
                    <a:gd name="connsiteX1811" fmla="*/ 473562 w 1659478"/>
                    <a:gd name="connsiteY1811" fmla="*/ 1127715 h 1461099"/>
                    <a:gd name="connsiteX1812" fmla="*/ 471777 w 1659478"/>
                    <a:gd name="connsiteY1812" fmla="*/ 1129160 h 1461099"/>
                    <a:gd name="connsiteX1813" fmla="*/ 469312 w 1659478"/>
                    <a:gd name="connsiteY1813" fmla="*/ 1130046 h 1461099"/>
                    <a:gd name="connsiteX1814" fmla="*/ 466665 w 1659478"/>
                    <a:gd name="connsiteY1814" fmla="*/ 1130277 h 1461099"/>
                    <a:gd name="connsiteX1815" fmla="*/ 463107 w 1659478"/>
                    <a:gd name="connsiteY1815" fmla="*/ 1129330 h 1461099"/>
                    <a:gd name="connsiteX1816" fmla="*/ 461553 w 1659478"/>
                    <a:gd name="connsiteY1816" fmla="*/ 1128115 h 1461099"/>
                    <a:gd name="connsiteX1817" fmla="*/ 459671 w 1659478"/>
                    <a:gd name="connsiteY1817" fmla="*/ 1125335 h 1461099"/>
                    <a:gd name="connsiteX1818" fmla="*/ 458469 w 1659478"/>
                    <a:gd name="connsiteY1818" fmla="*/ 1124582 h 1461099"/>
                    <a:gd name="connsiteX1819" fmla="*/ 456684 w 1659478"/>
                    <a:gd name="connsiteY1819" fmla="*/ 1124388 h 1461099"/>
                    <a:gd name="connsiteX1820" fmla="*/ 454729 w 1659478"/>
                    <a:gd name="connsiteY1820" fmla="*/ 1124703 h 1461099"/>
                    <a:gd name="connsiteX1821" fmla="*/ 451863 w 1659478"/>
                    <a:gd name="connsiteY1821" fmla="*/ 1125990 h 1461099"/>
                    <a:gd name="connsiteX1822" fmla="*/ 450369 w 1659478"/>
                    <a:gd name="connsiteY1822" fmla="*/ 1127460 h 1461099"/>
                    <a:gd name="connsiteX1823" fmla="*/ 449617 w 1659478"/>
                    <a:gd name="connsiteY1823" fmla="*/ 1129014 h 1461099"/>
                    <a:gd name="connsiteX1824" fmla="*/ 449556 w 1659478"/>
                    <a:gd name="connsiteY1824" fmla="*/ 1130277 h 1461099"/>
                    <a:gd name="connsiteX1825" fmla="*/ 449799 w 1659478"/>
                    <a:gd name="connsiteY1825" fmla="*/ 1132912 h 1461099"/>
                    <a:gd name="connsiteX1826" fmla="*/ 449434 w 1659478"/>
                    <a:gd name="connsiteY1826" fmla="*/ 1134005 h 1461099"/>
                    <a:gd name="connsiteX1827" fmla="*/ 448062 w 1659478"/>
                    <a:gd name="connsiteY1827" fmla="*/ 1134527 h 1461099"/>
                    <a:gd name="connsiteX1828" fmla="*/ 445537 w 1659478"/>
                    <a:gd name="connsiteY1828" fmla="*/ 1134430 h 1461099"/>
                    <a:gd name="connsiteX1829" fmla="*/ 441238 w 1659478"/>
                    <a:gd name="connsiteY1829" fmla="*/ 1133057 h 1461099"/>
                    <a:gd name="connsiteX1830" fmla="*/ 439514 w 1659478"/>
                    <a:gd name="connsiteY1830" fmla="*/ 1131600 h 1461099"/>
                    <a:gd name="connsiteX1831" fmla="*/ 438712 w 1659478"/>
                    <a:gd name="connsiteY1831" fmla="*/ 1129439 h 1461099"/>
                    <a:gd name="connsiteX1832" fmla="*/ 438239 w 1659478"/>
                    <a:gd name="connsiteY1832" fmla="*/ 1127484 h 1461099"/>
                    <a:gd name="connsiteX1833" fmla="*/ 437097 w 1659478"/>
                    <a:gd name="connsiteY1833" fmla="*/ 1126367 h 1461099"/>
                    <a:gd name="connsiteX1834" fmla="*/ 434863 w 1659478"/>
                    <a:gd name="connsiteY1834" fmla="*/ 1126051 h 1461099"/>
                    <a:gd name="connsiteX1835" fmla="*/ 416260 w 1659478"/>
                    <a:gd name="connsiteY1835" fmla="*/ 1130082 h 1461099"/>
                    <a:gd name="connsiteX1836" fmla="*/ 413491 w 1659478"/>
                    <a:gd name="connsiteY1836" fmla="*/ 1130155 h 1461099"/>
                    <a:gd name="connsiteX1837" fmla="*/ 410286 w 1659478"/>
                    <a:gd name="connsiteY1837" fmla="*/ 1129269 h 1461099"/>
                    <a:gd name="connsiteX1838" fmla="*/ 408331 w 1659478"/>
                    <a:gd name="connsiteY1838" fmla="*/ 1128091 h 1461099"/>
                    <a:gd name="connsiteX1839" fmla="*/ 404882 w 1659478"/>
                    <a:gd name="connsiteY1839" fmla="*/ 1125298 h 1461099"/>
                    <a:gd name="connsiteX1840" fmla="*/ 401276 w 1659478"/>
                    <a:gd name="connsiteY1840" fmla="*/ 1124448 h 1461099"/>
                    <a:gd name="connsiteX1841" fmla="*/ 396382 w 1659478"/>
                    <a:gd name="connsiteY1841" fmla="*/ 1124096 h 1461099"/>
                    <a:gd name="connsiteX1842" fmla="*/ 381980 w 1659478"/>
                    <a:gd name="connsiteY1842" fmla="*/ 1124424 h 1461099"/>
                    <a:gd name="connsiteX1843" fmla="*/ 378362 w 1659478"/>
                    <a:gd name="connsiteY1843" fmla="*/ 1125335 h 1461099"/>
                    <a:gd name="connsiteX1844" fmla="*/ 376346 w 1659478"/>
                    <a:gd name="connsiteY1844" fmla="*/ 1126464 h 1461099"/>
                    <a:gd name="connsiteX1845" fmla="*/ 370663 w 1659478"/>
                    <a:gd name="connsiteY1845" fmla="*/ 1130617 h 1461099"/>
                    <a:gd name="connsiteX1846" fmla="*/ 367797 w 1659478"/>
                    <a:gd name="connsiteY1846" fmla="*/ 1131880 h 1461099"/>
                    <a:gd name="connsiteX1847" fmla="*/ 364968 w 1659478"/>
                    <a:gd name="connsiteY1847" fmla="*/ 1132341 h 1461099"/>
                    <a:gd name="connsiteX1848" fmla="*/ 361192 w 1659478"/>
                    <a:gd name="connsiteY1848" fmla="*/ 1131576 h 1461099"/>
                    <a:gd name="connsiteX1849" fmla="*/ 356990 w 1659478"/>
                    <a:gd name="connsiteY1849" fmla="*/ 1129670 h 1461099"/>
                    <a:gd name="connsiteX1850" fmla="*/ 354404 w 1659478"/>
                    <a:gd name="connsiteY1850" fmla="*/ 1129208 h 1461099"/>
                    <a:gd name="connsiteX1851" fmla="*/ 349535 w 1659478"/>
                    <a:gd name="connsiteY1851" fmla="*/ 1130022 h 1461099"/>
                    <a:gd name="connsiteX1852" fmla="*/ 346547 w 1659478"/>
                    <a:gd name="connsiteY1852" fmla="*/ 1130957 h 1461099"/>
                    <a:gd name="connsiteX1853" fmla="*/ 344082 w 1659478"/>
                    <a:gd name="connsiteY1853" fmla="*/ 1132195 h 1461099"/>
                    <a:gd name="connsiteX1854" fmla="*/ 341204 w 1659478"/>
                    <a:gd name="connsiteY1854" fmla="*/ 1134296 h 1461099"/>
                    <a:gd name="connsiteX1855" fmla="*/ 338096 w 1659478"/>
                    <a:gd name="connsiteY1855" fmla="*/ 1134466 h 1461099"/>
                    <a:gd name="connsiteX1856" fmla="*/ 335692 w 1659478"/>
                    <a:gd name="connsiteY1856" fmla="*/ 1134296 h 1461099"/>
                    <a:gd name="connsiteX1857" fmla="*/ 318351 w 1659478"/>
                    <a:gd name="connsiteY1857" fmla="*/ 1129500 h 1461099"/>
                    <a:gd name="connsiteX1858" fmla="*/ 310301 w 1659478"/>
                    <a:gd name="connsiteY1858" fmla="*/ 1124217 h 1461099"/>
                    <a:gd name="connsiteX1859" fmla="*/ 304630 w 1659478"/>
                    <a:gd name="connsiteY1859" fmla="*/ 1123125 h 1461099"/>
                    <a:gd name="connsiteX1860" fmla="*/ 300963 w 1659478"/>
                    <a:gd name="connsiteY1860" fmla="*/ 1117588 h 1461099"/>
                    <a:gd name="connsiteX1861" fmla="*/ 294624 w 1659478"/>
                    <a:gd name="connsiteY1861" fmla="*/ 1100126 h 1461099"/>
                    <a:gd name="connsiteX1862" fmla="*/ 283319 w 1659478"/>
                    <a:gd name="connsiteY1862" fmla="*/ 1083017 h 1461099"/>
                    <a:gd name="connsiteX1863" fmla="*/ 278098 w 1659478"/>
                    <a:gd name="connsiteY1863" fmla="*/ 1072537 h 1461099"/>
                    <a:gd name="connsiteX1864" fmla="*/ 274018 w 1659478"/>
                    <a:gd name="connsiteY1864" fmla="*/ 1061511 h 1461099"/>
                    <a:gd name="connsiteX1865" fmla="*/ 267752 w 1659478"/>
                    <a:gd name="connsiteY1865" fmla="*/ 1034032 h 1461099"/>
                    <a:gd name="connsiteX1866" fmla="*/ 265639 w 1659478"/>
                    <a:gd name="connsiteY1866" fmla="*/ 1029272 h 1461099"/>
                    <a:gd name="connsiteX1867" fmla="*/ 262421 w 1659478"/>
                    <a:gd name="connsiteY1867" fmla="*/ 1025289 h 1461099"/>
                    <a:gd name="connsiteX1868" fmla="*/ 250594 w 1659478"/>
                    <a:gd name="connsiteY1868" fmla="*/ 1015320 h 1461099"/>
                    <a:gd name="connsiteX1869" fmla="*/ 244279 w 1659478"/>
                    <a:gd name="connsiteY1869" fmla="*/ 1008483 h 1461099"/>
                    <a:gd name="connsiteX1870" fmla="*/ 242094 w 1659478"/>
                    <a:gd name="connsiteY1870" fmla="*/ 1004488 h 1461099"/>
                    <a:gd name="connsiteX1871" fmla="*/ 241232 w 1659478"/>
                    <a:gd name="connsiteY1871" fmla="*/ 999789 h 1461099"/>
                    <a:gd name="connsiteX1872" fmla="*/ 239738 w 1659478"/>
                    <a:gd name="connsiteY1872" fmla="*/ 994786 h 1461099"/>
                    <a:gd name="connsiteX1873" fmla="*/ 232222 w 1659478"/>
                    <a:gd name="connsiteY1873" fmla="*/ 986832 h 1461099"/>
                    <a:gd name="connsiteX1874" fmla="*/ 229234 w 1659478"/>
                    <a:gd name="connsiteY1874" fmla="*/ 982643 h 1461099"/>
                    <a:gd name="connsiteX1875" fmla="*/ 227741 w 1659478"/>
                    <a:gd name="connsiteY1875" fmla="*/ 975661 h 1461099"/>
                    <a:gd name="connsiteX1876" fmla="*/ 228882 w 1659478"/>
                    <a:gd name="connsiteY1876" fmla="*/ 952759 h 1461099"/>
                    <a:gd name="connsiteX1877" fmla="*/ 229757 w 1659478"/>
                    <a:gd name="connsiteY1877" fmla="*/ 935188 h 1461099"/>
                    <a:gd name="connsiteX1878" fmla="*/ 229125 w 1659478"/>
                    <a:gd name="connsiteY1878" fmla="*/ 927028 h 1461099"/>
                    <a:gd name="connsiteX1879" fmla="*/ 225045 w 1659478"/>
                    <a:gd name="connsiteY1879" fmla="*/ 921637 h 1461099"/>
                    <a:gd name="connsiteX1880" fmla="*/ 217516 w 1659478"/>
                    <a:gd name="connsiteY1880" fmla="*/ 920143 h 1461099"/>
                    <a:gd name="connsiteX1881" fmla="*/ 210461 w 1659478"/>
                    <a:gd name="connsiteY1881" fmla="*/ 922147 h 1461099"/>
                    <a:gd name="connsiteX1882" fmla="*/ 203334 w 1659478"/>
                    <a:gd name="connsiteY1882" fmla="*/ 925134 h 1461099"/>
                    <a:gd name="connsiteX1883" fmla="*/ 195987 w 1659478"/>
                    <a:gd name="connsiteY1883" fmla="*/ 926664 h 1461099"/>
                    <a:gd name="connsiteX1884" fmla="*/ 173996 w 1659478"/>
                    <a:gd name="connsiteY1884" fmla="*/ 927235 h 1461099"/>
                    <a:gd name="connsiteX1885" fmla="*/ 163432 w 1659478"/>
                    <a:gd name="connsiteY1885" fmla="*/ 924988 h 1461099"/>
                    <a:gd name="connsiteX1886" fmla="*/ 156073 w 1659478"/>
                    <a:gd name="connsiteY1886" fmla="*/ 922438 h 1461099"/>
                    <a:gd name="connsiteX1887" fmla="*/ 153207 w 1659478"/>
                    <a:gd name="connsiteY1887" fmla="*/ 920362 h 1461099"/>
                    <a:gd name="connsiteX1888" fmla="*/ 150451 w 1659478"/>
                    <a:gd name="connsiteY1888" fmla="*/ 915675 h 1461099"/>
                    <a:gd name="connsiteX1889" fmla="*/ 146602 w 1659478"/>
                    <a:gd name="connsiteY1889" fmla="*/ 904600 h 1461099"/>
                    <a:gd name="connsiteX1890" fmla="*/ 143165 w 1659478"/>
                    <a:gd name="connsiteY1890" fmla="*/ 900459 h 1461099"/>
                    <a:gd name="connsiteX1891" fmla="*/ 135406 w 1659478"/>
                    <a:gd name="connsiteY1891" fmla="*/ 893975 h 1461099"/>
                    <a:gd name="connsiteX1892" fmla="*/ 127999 w 1659478"/>
                    <a:gd name="connsiteY1892" fmla="*/ 885475 h 1461099"/>
                    <a:gd name="connsiteX1893" fmla="*/ 122085 w 1659478"/>
                    <a:gd name="connsiteY1893" fmla="*/ 875809 h 1461099"/>
                    <a:gd name="connsiteX1894" fmla="*/ 118576 w 1659478"/>
                    <a:gd name="connsiteY1894" fmla="*/ 865694 h 1461099"/>
                    <a:gd name="connsiteX1895" fmla="*/ 118515 w 1659478"/>
                    <a:gd name="connsiteY1895" fmla="*/ 862646 h 1461099"/>
                    <a:gd name="connsiteX1896" fmla="*/ 120130 w 1659478"/>
                    <a:gd name="connsiteY1896" fmla="*/ 852228 h 1461099"/>
                    <a:gd name="connsiteX1897" fmla="*/ 120312 w 1659478"/>
                    <a:gd name="connsiteY1897" fmla="*/ 845076 h 1461099"/>
                    <a:gd name="connsiteX1898" fmla="*/ 121162 w 1659478"/>
                    <a:gd name="connsiteY1898" fmla="*/ 841748 h 1461099"/>
                    <a:gd name="connsiteX1899" fmla="*/ 131204 w 1659478"/>
                    <a:gd name="connsiteY1899" fmla="*/ 825526 h 1461099"/>
                    <a:gd name="connsiteX1900" fmla="*/ 134034 w 1659478"/>
                    <a:gd name="connsiteY1900" fmla="*/ 818118 h 1461099"/>
                    <a:gd name="connsiteX1901" fmla="*/ 134884 w 1659478"/>
                    <a:gd name="connsiteY1901" fmla="*/ 810735 h 1461099"/>
                    <a:gd name="connsiteX1902" fmla="*/ 133451 w 1659478"/>
                    <a:gd name="connsiteY1902" fmla="*/ 802648 h 1461099"/>
                    <a:gd name="connsiteX1903" fmla="*/ 133159 w 1659478"/>
                    <a:gd name="connsiteY1903" fmla="*/ 798762 h 1461099"/>
                    <a:gd name="connsiteX1904" fmla="*/ 134192 w 1659478"/>
                    <a:gd name="connsiteY1904" fmla="*/ 794840 h 1461099"/>
                    <a:gd name="connsiteX1905" fmla="*/ 135916 w 1659478"/>
                    <a:gd name="connsiteY1905" fmla="*/ 790675 h 1461099"/>
                    <a:gd name="connsiteX1906" fmla="*/ 136559 w 1659478"/>
                    <a:gd name="connsiteY1906" fmla="*/ 787166 h 1461099"/>
                    <a:gd name="connsiteX1907" fmla="*/ 135916 w 1659478"/>
                    <a:gd name="connsiteY1907" fmla="*/ 779212 h 1461099"/>
                    <a:gd name="connsiteX1908" fmla="*/ 137021 w 1659478"/>
                    <a:gd name="connsiteY1908" fmla="*/ 762649 h 1461099"/>
                    <a:gd name="connsiteX1909" fmla="*/ 136098 w 1659478"/>
                    <a:gd name="connsiteY1909" fmla="*/ 755242 h 1461099"/>
                    <a:gd name="connsiteX1910" fmla="*/ 130755 w 1659478"/>
                    <a:gd name="connsiteY1910" fmla="*/ 748721 h 1461099"/>
                    <a:gd name="connsiteX1911" fmla="*/ 124040 w 1659478"/>
                    <a:gd name="connsiteY1911" fmla="*/ 745139 h 1461099"/>
                    <a:gd name="connsiteX1912" fmla="*/ 116961 w 1659478"/>
                    <a:gd name="connsiteY1912" fmla="*/ 743379 h 1461099"/>
                    <a:gd name="connsiteX1913" fmla="*/ 71850 w 1659478"/>
                    <a:gd name="connsiteY1913" fmla="*/ 745139 h 1461099"/>
                    <a:gd name="connsiteX1914" fmla="*/ 63750 w 1659478"/>
                    <a:gd name="connsiteY1914" fmla="*/ 742176 h 1461099"/>
                    <a:gd name="connsiteX1915" fmla="*/ 50247 w 1659478"/>
                    <a:gd name="connsiteY1915" fmla="*/ 730519 h 1461099"/>
                    <a:gd name="connsiteX1916" fmla="*/ 42561 w 1659478"/>
                    <a:gd name="connsiteY1916" fmla="*/ 725528 h 1461099"/>
                    <a:gd name="connsiteX1917" fmla="*/ 13442 w 1659478"/>
                    <a:gd name="connsiteY1917" fmla="*/ 713956 h 1461099"/>
                    <a:gd name="connsiteX1918" fmla="*/ 7589 w 1659478"/>
                    <a:gd name="connsiteY1918" fmla="*/ 707642 h 1461099"/>
                    <a:gd name="connsiteX1919" fmla="*/ 6156 w 1659478"/>
                    <a:gd name="connsiteY1919" fmla="*/ 699336 h 1461099"/>
                    <a:gd name="connsiteX1920" fmla="*/ 10054 w 1659478"/>
                    <a:gd name="connsiteY1920" fmla="*/ 675342 h 1461099"/>
                    <a:gd name="connsiteX1921" fmla="*/ 14074 w 1659478"/>
                    <a:gd name="connsiteY1921" fmla="*/ 650473 h 1461099"/>
                    <a:gd name="connsiteX1922" fmla="*/ 19125 w 1659478"/>
                    <a:gd name="connsiteY1922" fmla="*/ 635233 h 1461099"/>
                    <a:gd name="connsiteX1923" fmla="*/ 26884 w 1659478"/>
                    <a:gd name="connsiteY1923" fmla="*/ 622544 h 1461099"/>
                    <a:gd name="connsiteX1924" fmla="*/ 43812 w 1659478"/>
                    <a:gd name="connsiteY1924" fmla="*/ 606066 h 1461099"/>
                    <a:gd name="connsiteX1925" fmla="*/ 55930 w 1659478"/>
                    <a:gd name="connsiteY1925" fmla="*/ 597943 h 1461099"/>
                    <a:gd name="connsiteX1926" fmla="*/ 77933 w 1659478"/>
                    <a:gd name="connsiteY1926" fmla="*/ 577688 h 1461099"/>
                    <a:gd name="connsiteX1927" fmla="*/ 89238 w 1659478"/>
                    <a:gd name="connsiteY1927" fmla="*/ 560117 h 1461099"/>
                    <a:gd name="connsiteX1928" fmla="*/ 105267 w 1659478"/>
                    <a:gd name="connsiteY1928" fmla="*/ 545194 h 1461099"/>
                    <a:gd name="connsiteX1929" fmla="*/ 109626 w 1659478"/>
                    <a:gd name="connsiteY1929" fmla="*/ 539219 h 1461099"/>
                    <a:gd name="connsiteX1930" fmla="*/ 123469 w 1659478"/>
                    <a:gd name="connsiteY1930" fmla="*/ 500156 h 1461099"/>
                    <a:gd name="connsiteX1931" fmla="*/ 125582 w 1659478"/>
                    <a:gd name="connsiteY1931" fmla="*/ 496476 h 1461099"/>
                    <a:gd name="connsiteX1932" fmla="*/ 141890 w 1659478"/>
                    <a:gd name="connsiteY1932" fmla="*/ 480217 h 1461099"/>
                    <a:gd name="connsiteX1933" fmla="*/ 143785 w 1659478"/>
                    <a:gd name="connsiteY1933" fmla="*/ 478383 h 1461099"/>
                    <a:gd name="connsiteX1934" fmla="*/ 156656 w 1659478"/>
                    <a:gd name="connsiteY1934" fmla="*/ 469397 h 1461099"/>
                    <a:gd name="connsiteX1935" fmla="*/ 167208 w 1659478"/>
                    <a:gd name="connsiteY1935" fmla="*/ 458202 h 1461099"/>
                    <a:gd name="connsiteX1936" fmla="*/ 170596 w 1659478"/>
                    <a:gd name="connsiteY1936" fmla="*/ 455955 h 1461099"/>
                    <a:gd name="connsiteX1937" fmla="*/ 173875 w 1659478"/>
                    <a:gd name="connsiteY1937" fmla="*/ 454984 h 1461099"/>
                    <a:gd name="connsiteX1938" fmla="*/ 181173 w 1659478"/>
                    <a:gd name="connsiteY1938" fmla="*/ 453891 h 1461099"/>
                    <a:gd name="connsiteX1939" fmla="*/ 188398 w 1659478"/>
                    <a:gd name="connsiteY1939" fmla="*/ 451110 h 1461099"/>
                    <a:gd name="connsiteX1940" fmla="*/ 192016 w 1659478"/>
                    <a:gd name="connsiteY1940" fmla="*/ 450224 h 1461099"/>
                    <a:gd name="connsiteX1941" fmla="*/ 195987 w 1659478"/>
                    <a:gd name="connsiteY1941" fmla="*/ 450734 h 1461099"/>
                    <a:gd name="connsiteX1942" fmla="*/ 201488 w 1659478"/>
                    <a:gd name="connsiteY1942" fmla="*/ 452397 h 1461099"/>
                    <a:gd name="connsiteX1943" fmla="*/ 206782 w 1659478"/>
                    <a:gd name="connsiteY1943" fmla="*/ 455044 h 1461099"/>
                    <a:gd name="connsiteX1944" fmla="*/ 211433 w 1659478"/>
                    <a:gd name="connsiteY1944" fmla="*/ 458602 h 1461099"/>
                    <a:gd name="connsiteX1945" fmla="*/ 217638 w 1659478"/>
                    <a:gd name="connsiteY1945" fmla="*/ 465500 h 1461099"/>
                    <a:gd name="connsiteX1946" fmla="*/ 222981 w 1659478"/>
                    <a:gd name="connsiteY1946" fmla="*/ 469628 h 1461099"/>
                    <a:gd name="connsiteX1947" fmla="*/ 225215 w 1659478"/>
                    <a:gd name="connsiteY1947" fmla="*/ 472154 h 1461099"/>
                    <a:gd name="connsiteX1948" fmla="*/ 226818 w 1659478"/>
                    <a:gd name="connsiteY1948" fmla="*/ 476282 h 1461099"/>
                    <a:gd name="connsiteX1949" fmla="*/ 226077 w 1659478"/>
                    <a:gd name="connsiteY1949" fmla="*/ 483787 h 1461099"/>
                    <a:gd name="connsiteX1950" fmla="*/ 226648 w 1659478"/>
                    <a:gd name="connsiteY1950" fmla="*/ 487745 h 1461099"/>
                    <a:gd name="connsiteX1951" fmla="*/ 232440 w 1659478"/>
                    <a:gd name="connsiteY1951" fmla="*/ 500641 h 1461099"/>
                    <a:gd name="connsiteX1952" fmla="*/ 239689 w 1659478"/>
                    <a:gd name="connsiteY1952" fmla="*/ 510781 h 1461099"/>
                    <a:gd name="connsiteX1953" fmla="*/ 249331 w 1659478"/>
                    <a:gd name="connsiteY1953" fmla="*/ 517119 h 1461099"/>
                    <a:gd name="connsiteX1954" fmla="*/ 262421 w 1659478"/>
                    <a:gd name="connsiteY1954" fmla="*/ 518807 h 1461099"/>
                    <a:gd name="connsiteX1955" fmla="*/ 277867 w 1659478"/>
                    <a:gd name="connsiteY1955" fmla="*/ 515480 h 1461099"/>
                    <a:gd name="connsiteX1956" fmla="*/ 299166 w 1659478"/>
                    <a:gd name="connsiteY1956" fmla="*/ 505316 h 1461099"/>
                    <a:gd name="connsiteX1957" fmla="*/ 322261 w 1659478"/>
                    <a:gd name="connsiteY1957" fmla="*/ 494290 h 1461099"/>
                    <a:gd name="connsiteX1958" fmla="*/ 336444 w 1659478"/>
                    <a:gd name="connsiteY1958" fmla="*/ 489640 h 1461099"/>
                    <a:gd name="connsiteX1959" fmla="*/ 352400 w 1659478"/>
                    <a:gd name="connsiteY1959" fmla="*/ 486337 h 1461099"/>
                    <a:gd name="connsiteX1960" fmla="*/ 368587 w 1659478"/>
                    <a:gd name="connsiteY1960" fmla="*/ 484989 h 1461099"/>
                    <a:gd name="connsiteX1961" fmla="*/ 383535 w 1659478"/>
                    <a:gd name="connsiteY1961" fmla="*/ 486191 h 1461099"/>
                    <a:gd name="connsiteX1962" fmla="*/ 399211 w 1659478"/>
                    <a:gd name="connsiteY1962" fmla="*/ 484965 h 1461099"/>
                    <a:gd name="connsiteX1963" fmla="*/ 425561 w 1659478"/>
                    <a:gd name="connsiteY1963" fmla="*/ 477205 h 1461099"/>
                    <a:gd name="connsiteX1964" fmla="*/ 455469 w 1659478"/>
                    <a:gd name="connsiteY1964" fmla="*/ 468402 h 1461099"/>
                    <a:gd name="connsiteX1965" fmla="*/ 457995 w 1659478"/>
                    <a:gd name="connsiteY1965" fmla="*/ 466471 h 1461099"/>
                    <a:gd name="connsiteX1966" fmla="*/ 459088 w 1659478"/>
                    <a:gd name="connsiteY1966" fmla="*/ 463362 h 1461099"/>
                    <a:gd name="connsiteX1967" fmla="*/ 461213 w 1659478"/>
                    <a:gd name="connsiteY1967" fmla="*/ 438591 h 1461099"/>
                    <a:gd name="connsiteX1968" fmla="*/ 462245 w 1659478"/>
                    <a:gd name="connsiteY1968" fmla="*/ 434838 h 1461099"/>
                    <a:gd name="connsiteX1969" fmla="*/ 464382 w 1659478"/>
                    <a:gd name="connsiteY1969" fmla="*/ 430783 h 1461099"/>
                    <a:gd name="connsiteX1970" fmla="*/ 479355 w 1659478"/>
                    <a:gd name="connsiteY1970" fmla="*/ 411973 h 1461099"/>
                    <a:gd name="connsiteX1971" fmla="*/ 502390 w 1659478"/>
                    <a:gd name="connsiteY1971" fmla="*/ 393808 h 1461099"/>
                    <a:gd name="connsiteX1972" fmla="*/ 509676 w 1659478"/>
                    <a:gd name="connsiteY1972" fmla="*/ 386449 h 1461099"/>
                    <a:gd name="connsiteX1973" fmla="*/ 514909 w 1659478"/>
                    <a:gd name="connsiteY1973" fmla="*/ 377645 h 1461099"/>
                    <a:gd name="connsiteX1974" fmla="*/ 518686 w 1659478"/>
                    <a:gd name="connsiteY1974" fmla="*/ 367931 h 1461099"/>
                    <a:gd name="connsiteX1975" fmla="*/ 529663 w 1659478"/>
                    <a:gd name="connsiteY1975" fmla="*/ 327082 h 1461099"/>
                    <a:gd name="connsiteX1976" fmla="*/ 534144 w 1659478"/>
                    <a:gd name="connsiteY1976" fmla="*/ 318606 h 1461099"/>
                    <a:gd name="connsiteX1977" fmla="*/ 548096 w 1659478"/>
                    <a:gd name="connsiteY1977" fmla="*/ 302298 h 1461099"/>
                    <a:gd name="connsiteX1978" fmla="*/ 553269 w 1659478"/>
                    <a:gd name="connsiteY1978" fmla="*/ 298886 h 1461099"/>
                    <a:gd name="connsiteX1979" fmla="*/ 580141 w 1659478"/>
                    <a:gd name="connsiteY1979" fmla="*/ 285444 h 1461099"/>
                    <a:gd name="connsiteX1980" fmla="*/ 605058 w 1659478"/>
                    <a:gd name="connsiteY1980" fmla="*/ 272985 h 1461099"/>
                    <a:gd name="connsiteX1981" fmla="*/ 626466 w 1659478"/>
                    <a:gd name="connsiteY1981" fmla="*/ 262312 h 1461099"/>
                    <a:gd name="connsiteX1982" fmla="*/ 650655 w 1659478"/>
                    <a:gd name="connsiteY1982" fmla="*/ 250217 h 1461099"/>
                    <a:gd name="connsiteX1983" fmla="*/ 653800 w 1659478"/>
                    <a:gd name="connsiteY1983" fmla="*/ 248129 h 1461099"/>
                    <a:gd name="connsiteX1984" fmla="*/ 656047 w 1659478"/>
                    <a:gd name="connsiteY1984" fmla="*/ 245105 h 1461099"/>
                    <a:gd name="connsiteX1985" fmla="*/ 662191 w 1659478"/>
                    <a:gd name="connsiteY1985" fmla="*/ 230983 h 1461099"/>
                    <a:gd name="connsiteX1986" fmla="*/ 667012 w 1659478"/>
                    <a:gd name="connsiteY1986" fmla="*/ 223260 h 1461099"/>
                    <a:gd name="connsiteX1987" fmla="*/ 678669 w 1659478"/>
                    <a:gd name="connsiteY1987" fmla="*/ 208215 h 1461099"/>
                    <a:gd name="connsiteX1988" fmla="*/ 693313 w 1659478"/>
                    <a:gd name="connsiteY1988" fmla="*/ 181233 h 1461099"/>
                    <a:gd name="connsiteX1989" fmla="*/ 702505 w 1659478"/>
                    <a:gd name="connsiteY1989" fmla="*/ 164233 h 1461099"/>
                    <a:gd name="connsiteX1990" fmla="*/ 712778 w 1659478"/>
                    <a:gd name="connsiteY1990" fmla="*/ 145169 h 1461099"/>
                    <a:gd name="connsiteX1991" fmla="*/ 722541 w 1659478"/>
                    <a:gd name="connsiteY1991" fmla="*/ 115018 h 1461099"/>
                    <a:gd name="connsiteX1992" fmla="*/ 730519 w 1659478"/>
                    <a:gd name="connsiteY1992" fmla="*/ 90125 h 1461099"/>
                    <a:gd name="connsiteX1993" fmla="*/ 738558 w 1659478"/>
                    <a:gd name="connsiteY1993" fmla="*/ 65062 h 1461099"/>
                    <a:gd name="connsiteX1994" fmla="*/ 741375 w 1659478"/>
                    <a:gd name="connsiteY1994" fmla="*/ 61990 h 1461099"/>
                    <a:gd name="connsiteX1995" fmla="*/ 773760 w 1659478"/>
                    <a:gd name="connsiteY1995" fmla="*/ 47576 h 1461099"/>
                    <a:gd name="connsiteX1996" fmla="*/ 807870 w 1659478"/>
                    <a:gd name="connsiteY1996" fmla="*/ 40205 h 1461099"/>
                    <a:gd name="connsiteX1997" fmla="*/ 815107 w 1659478"/>
                    <a:gd name="connsiteY1997" fmla="*/ 36319 h 1461099"/>
                    <a:gd name="connsiteX1998" fmla="*/ 846229 w 1659478"/>
                    <a:gd name="connsiteY1998" fmla="*/ 11463 h 1461099"/>
                    <a:gd name="connsiteX1999" fmla="*/ 846679 w 1659478"/>
                    <a:gd name="connsiteY1999" fmla="*/ 8233 h 1461099"/>
                    <a:gd name="connsiteX2000" fmla="*/ 841688 w 1659478"/>
                    <a:gd name="connsiteY2000" fmla="*/ 0 h 1461099"/>
                    <a:gd name="connsiteX2001" fmla="*/ 840668 w 1659478"/>
                    <a:gd name="connsiteY2001" fmla="*/ 7395 h 1461099"/>
                    <a:gd name="connsiteX2002" fmla="*/ 840546 w 1659478"/>
                    <a:gd name="connsiteY2002" fmla="*/ 8233 h 1461099"/>
                    <a:gd name="connsiteX2003" fmla="*/ 811743 w 1659478"/>
                    <a:gd name="connsiteY2003" fmla="*/ 31244 h 1461099"/>
                    <a:gd name="connsiteX2004" fmla="*/ 805745 w 1659478"/>
                    <a:gd name="connsiteY2004" fmla="*/ 34462 h 1461099"/>
                    <a:gd name="connsiteX2005" fmla="*/ 772473 w 1659478"/>
                    <a:gd name="connsiteY2005" fmla="*/ 41650 h 1461099"/>
                    <a:gd name="connsiteX2006" fmla="*/ 771854 w 1659478"/>
                    <a:gd name="connsiteY2006" fmla="*/ 41784 h 1461099"/>
                    <a:gd name="connsiteX2007" fmla="*/ 771283 w 1659478"/>
                    <a:gd name="connsiteY2007" fmla="*/ 42039 h 1461099"/>
                    <a:gd name="connsiteX2008" fmla="*/ 738898 w 1659478"/>
                    <a:gd name="connsiteY2008" fmla="*/ 56452 h 1461099"/>
                    <a:gd name="connsiteX2009" fmla="*/ 737744 w 1659478"/>
                    <a:gd name="connsiteY2009" fmla="*/ 56962 h 1461099"/>
                    <a:gd name="connsiteX2010" fmla="*/ 736894 w 1659478"/>
                    <a:gd name="connsiteY2010" fmla="*/ 57898 h 1461099"/>
                    <a:gd name="connsiteX2011" fmla="*/ 734077 w 1659478"/>
                    <a:gd name="connsiteY2011" fmla="*/ 60970 h 1461099"/>
                    <a:gd name="connsiteX2012" fmla="*/ 733178 w 1659478"/>
                    <a:gd name="connsiteY2012" fmla="*/ 61953 h 1461099"/>
                    <a:gd name="connsiteX2013" fmla="*/ 732766 w 1659478"/>
                    <a:gd name="connsiteY2013" fmla="*/ 63216 h 1461099"/>
                    <a:gd name="connsiteX2014" fmla="*/ 724727 w 1659478"/>
                    <a:gd name="connsiteY2014" fmla="*/ 88279 h 1461099"/>
                    <a:gd name="connsiteX2015" fmla="*/ 716749 w 1659478"/>
                    <a:gd name="connsiteY2015" fmla="*/ 113172 h 1461099"/>
                    <a:gd name="connsiteX2016" fmla="*/ 707156 w 1659478"/>
                    <a:gd name="connsiteY2016" fmla="*/ 142777 h 1461099"/>
                    <a:gd name="connsiteX2017" fmla="*/ 697150 w 1659478"/>
                    <a:gd name="connsiteY2017" fmla="*/ 161355 h 1461099"/>
                    <a:gd name="connsiteX2018" fmla="*/ 687958 w 1659478"/>
                    <a:gd name="connsiteY2018" fmla="*/ 178343 h 1461099"/>
                    <a:gd name="connsiteX2019" fmla="*/ 673557 w 1659478"/>
                    <a:gd name="connsiteY2019" fmla="*/ 204888 h 1461099"/>
                    <a:gd name="connsiteX2020" fmla="*/ 662203 w 1659478"/>
                    <a:gd name="connsiteY2020" fmla="*/ 219544 h 1461099"/>
                    <a:gd name="connsiteX2021" fmla="*/ 662009 w 1659478"/>
                    <a:gd name="connsiteY2021" fmla="*/ 219787 h 1461099"/>
                    <a:gd name="connsiteX2022" fmla="*/ 661839 w 1659478"/>
                    <a:gd name="connsiteY2022" fmla="*/ 220042 h 1461099"/>
                    <a:gd name="connsiteX2023" fmla="*/ 657018 w 1659478"/>
                    <a:gd name="connsiteY2023" fmla="*/ 227765 h 1461099"/>
                    <a:gd name="connsiteX2024" fmla="*/ 656775 w 1659478"/>
                    <a:gd name="connsiteY2024" fmla="*/ 228142 h 1461099"/>
                    <a:gd name="connsiteX2025" fmla="*/ 656593 w 1659478"/>
                    <a:gd name="connsiteY2025" fmla="*/ 228554 h 1461099"/>
                    <a:gd name="connsiteX2026" fmla="*/ 650728 w 1659478"/>
                    <a:gd name="connsiteY2026" fmla="*/ 242033 h 1461099"/>
                    <a:gd name="connsiteX2027" fmla="*/ 649526 w 1659478"/>
                    <a:gd name="connsiteY2027" fmla="*/ 243648 h 1461099"/>
                    <a:gd name="connsiteX2028" fmla="*/ 647571 w 1659478"/>
                    <a:gd name="connsiteY2028" fmla="*/ 244935 h 1461099"/>
                    <a:gd name="connsiteX2029" fmla="*/ 623710 w 1659478"/>
                    <a:gd name="connsiteY2029" fmla="*/ 256859 h 1461099"/>
                    <a:gd name="connsiteX2030" fmla="*/ 602314 w 1659478"/>
                    <a:gd name="connsiteY2030" fmla="*/ 267533 h 1461099"/>
                    <a:gd name="connsiteX2031" fmla="*/ 577385 w 1659478"/>
                    <a:gd name="connsiteY2031" fmla="*/ 279992 h 1461099"/>
                    <a:gd name="connsiteX2032" fmla="*/ 550512 w 1659478"/>
                    <a:gd name="connsiteY2032" fmla="*/ 293434 h 1461099"/>
                    <a:gd name="connsiteX2033" fmla="*/ 550184 w 1659478"/>
                    <a:gd name="connsiteY2033" fmla="*/ 293604 h 1461099"/>
                    <a:gd name="connsiteX2034" fmla="*/ 549881 w 1659478"/>
                    <a:gd name="connsiteY2034" fmla="*/ 293810 h 1461099"/>
                    <a:gd name="connsiteX2035" fmla="*/ 544708 w 1659478"/>
                    <a:gd name="connsiteY2035" fmla="*/ 297223 h 1461099"/>
                    <a:gd name="connsiteX2036" fmla="*/ 543991 w 1659478"/>
                    <a:gd name="connsiteY2036" fmla="*/ 297696 h 1461099"/>
                    <a:gd name="connsiteX2037" fmla="*/ 543445 w 1659478"/>
                    <a:gd name="connsiteY2037" fmla="*/ 298340 h 1461099"/>
                    <a:gd name="connsiteX2038" fmla="*/ 529493 w 1659478"/>
                    <a:gd name="connsiteY2038" fmla="*/ 314648 h 1461099"/>
                    <a:gd name="connsiteX2039" fmla="*/ 529056 w 1659478"/>
                    <a:gd name="connsiteY2039" fmla="*/ 315158 h 1461099"/>
                    <a:gd name="connsiteX2040" fmla="*/ 528740 w 1659478"/>
                    <a:gd name="connsiteY2040" fmla="*/ 315753 h 1461099"/>
                    <a:gd name="connsiteX2041" fmla="*/ 524259 w 1659478"/>
                    <a:gd name="connsiteY2041" fmla="*/ 324229 h 1461099"/>
                    <a:gd name="connsiteX2042" fmla="*/ 523944 w 1659478"/>
                    <a:gd name="connsiteY2042" fmla="*/ 324836 h 1461099"/>
                    <a:gd name="connsiteX2043" fmla="*/ 523761 w 1659478"/>
                    <a:gd name="connsiteY2043" fmla="*/ 325491 h 1461099"/>
                    <a:gd name="connsiteX2044" fmla="*/ 512869 w 1659478"/>
                    <a:gd name="connsiteY2044" fmla="*/ 366025 h 1461099"/>
                    <a:gd name="connsiteX2045" fmla="*/ 509396 w 1659478"/>
                    <a:gd name="connsiteY2045" fmla="*/ 374962 h 1461099"/>
                    <a:gd name="connsiteX2046" fmla="*/ 504806 w 1659478"/>
                    <a:gd name="connsiteY2046" fmla="*/ 382697 h 1461099"/>
                    <a:gd name="connsiteX2047" fmla="*/ 498310 w 1659478"/>
                    <a:gd name="connsiteY2047" fmla="*/ 389266 h 1461099"/>
                    <a:gd name="connsiteX2048" fmla="*/ 475566 w 1659478"/>
                    <a:gd name="connsiteY2048" fmla="*/ 407201 h 1461099"/>
                    <a:gd name="connsiteX2049" fmla="*/ 475020 w 1659478"/>
                    <a:gd name="connsiteY2049" fmla="*/ 407638 h 1461099"/>
                    <a:gd name="connsiteX2050" fmla="*/ 474582 w 1659478"/>
                    <a:gd name="connsiteY2050" fmla="*/ 408185 h 1461099"/>
                    <a:gd name="connsiteX2051" fmla="*/ 459610 w 1659478"/>
                    <a:gd name="connsiteY2051" fmla="*/ 426994 h 1461099"/>
                    <a:gd name="connsiteX2052" fmla="*/ 459258 w 1659478"/>
                    <a:gd name="connsiteY2052" fmla="*/ 427444 h 1461099"/>
                    <a:gd name="connsiteX2053" fmla="*/ 458991 w 1659478"/>
                    <a:gd name="connsiteY2053" fmla="*/ 427954 h 1461099"/>
                    <a:gd name="connsiteX2054" fmla="*/ 456854 w 1659478"/>
                    <a:gd name="connsiteY2054" fmla="*/ 432009 h 1461099"/>
                    <a:gd name="connsiteX2055" fmla="*/ 456550 w 1659478"/>
                    <a:gd name="connsiteY2055" fmla="*/ 432592 h 1461099"/>
                    <a:gd name="connsiteX2056" fmla="*/ 456380 w 1659478"/>
                    <a:gd name="connsiteY2056" fmla="*/ 433236 h 1461099"/>
                    <a:gd name="connsiteX2057" fmla="*/ 455348 w 1659478"/>
                    <a:gd name="connsiteY2057" fmla="*/ 436988 h 1461099"/>
                    <a:gd name="connsiteX2058" fmla="*/ 455202 w 1659478"/>
                    <a:gd name="connsiteY2058" fmla="*/ 437522 h 1461099"/>
                    <a:gd name="connsiteX2059" fmla="*/ 455154 w 1659478"/>
                    <a:gd name="connsiteY2059" fmla="*/ 438081 h 1461099"/>
                    <a:gd name="connsiteX2060" fmla="*/ 453102 w 1659478"/>
                    <a:gd name="connsiteY2060" fmla="*/ 462075 h 1461099"/>
                    <a:gd name="connsiteX2061" fmla="*/ 452859 w 1659478"/>
                    <a:gd name="connsiteY2061" fmla="*/ 462755 h 1461099"/>
                    <a:gd name="connsiteX2062" fmla="*/ 452664 w 1659478"/>
                    <a:gd name="connsiteY2062" fmla="*/ 462901 h 1461099"/>
                    <a:gd name="connsiteX2063" fmla="*/ 423837 w 1659478"/>
                    <a:gd name="connsiteY2063" fmla="*/ 471389 h 1461099"/>
                    <a:gd name="connsiteX2064" fmla="*/ 398094 w 1659478"/>
                    <a:gd name="connsiteY2064" fmla="*/ 478978 h 1461099"/>
                    <a:gd name="connsiteX2065" fmla="*/ 383535 w 1659478"/>
                    <a:gd name="connsiteY2065" fmla="*/ 480120 h 1461099"/>
                    <a:gd name="connsiteX2066" fmla="*/ 369072 w 1659478"/>
                    <a:gd name="connsiteY2066" fmla="*/ 478954 h 1461099"/>
                    <a:gd name="connsiteX2067" fmla="*/ 368575 w 1659478"/>
                    <a:gd name="connsiteY2067" fmla="*/ 478917 h 1461099"/>
                    <a:gd name="connsiteX2068" fmla="*/ 368077 w 1659478"/>
                    <a:gd name="connsiteY2068" fmla="*/ 478954 h 1461099"/>
                    <a:gd name="connsiteX2069" fmla="*/ 351890 w 1659478"/>
                    <a:gd name="connsiteY2069" fmla="*/ 480302 h 1461099"/>
                    <a:gd name="connsiteX2070" fmla="*/ 351526 w 1659478"/>
                    <a:gd name="connsiteY2070" fmla="*/ 480326 h 1461099"/>
                    <a:gd name="connsiteX2071" fmla="*/ 351162 w 1659478"/>
                    <a:gd name="connsiteY2071" fmla="*/ 480399 h 1461099"/>
                    <a:gd name="connsiteX2072" fmla="*/ 335206 w 1659478"/>
                    <a:gd name="connsiteY2072" fmla="*/ 483702 h 1461099"/>
                    <a:gd name="connsiteX2073" fmla="*/ 334878 w 1659478"/>
                    <a:gd name="connsiteY2073" fmla="*/ 483775 h 1461099"/>
                    <a:gd name="connsiteX2074" fmla="*/ 334550 w 1659478"/>
                    <a:gd name="connsiteY2074" fmla="*/ 483884 h 1461099"/>
                    <a:gd name="connsiteX2075" fmla="*/ 320367 w 1659478"/>
                    <a:gd name="connsiteY2075" fmla="*/ 488535 h 1461099"/>
                    <a:gd name="connsiteX2076" fmla="*/ 319991 w 1659478"/>
                    <a:gd name="connsiteY2076" fmla="*/ 488656 h 1461099"/>
                    <a:gd name="connsiteX2077" fmla="*/ 319639 w 1659478"/>
                    <a:gd name="connsiteY2077" fmla="*/ 488826 h 1461099"/>
                    <a:gd name="connsiteX2078" fmla="*/ 296543 w 1659478"/>
                    <a:gd name="connsiteY2078" fmla="*/ 499852 h 1461099"/>
                    <a:gd name="connsiteX2079" fmla="*/ 275875 w 1659478"/>
                    <a:gd name="connsiteY2079" fmla="*/ 509712 h 1461099"/>
                    <a:gd name="connsiteX2080" fmla="*/ 262154 w 1659478"/>
                    <a:gd name="connsiteY2080" fmla="*/ 512675 h 1461099"/>
                    <a:gd name="connsiteX2081" fmla="*/ 251492 w 1659478"/>
                    <a:gd name="connsiteY2081" fmla="*/ 511303 h 1461099"/>
                    <a:gd name="connsiteX2082" fmla="*/ 243964 w 1659478"/>
                    <a:gd name="connsiteY2082" fmla="*/ 506348 h 1461099"/>
                    <a:gd name="connsiteX2083" fmla="*/ 237722 w 1659478"/>
                    <a:gd name="connsiteY2083" fmla="*/ 497618 h 1461099"/>
                    <a:gd name="connsiteX2084" fmla="*/ 232525 w 1659478"/>
                    <a:gd name="connsiteY2084" fmla="*/ 486057 h 1461099"/>
                    <a:gd name="connsiteX2085" fmla="*/ 232185 w 1659478"/>
                    <a:gd name="connsiteY2085" fmla="*/ 483665 h 1461099"/>
                    <a:gd name="connsiteX2086" fmla="*/ 232853 w 1659478"/>
                    <a:gd name="connsiteY2086" fmla="*/ 476902 h 1461099"/>
                    <a:gd name="connsiteX2087" fmla="*/ 232999 w 1659478"/>
                    <a:gd name="connsiteY2087" fmla="*/ 475457 h 1461099"/>
                    <a:gd name="connsiteX2088" fmla="*/ 232477 w 1659478"/>
                    <a:gd name="connsiteY2088" fmla="*/ 474109 h 1461099"/>
                    <a:gd name="connsiteX2089" fmla="*/ 230874 w 1659478"/>
                    <a:gd name="connsiteY2089" fmla="*/ 469980 h 1461099"/>
                    <a:gd name="connsiteX2090" fmla="*/ 230485 w 1659478"/>
                    <a:gd name="connsiteY2090" fmla="*/ 468972 h 1461099"/>
                    <a:gd name="connsiteX2091" fmla="*/ 229769 w 1659478"/>
                    <a:gd name="connsiteY2091" fmla="*/ 468159 h 1461099"/>
                    <a:gd name="connsiteX2092" fmla="*/ 227534 w 1659478"/>
                    <a:gd name="connsiteY2092" fmla="*/ 465633 h 1461099"/>
                    <a:gd name="connsiteX2093" fmla="*/ 227146 w 1659478"/>
                    <a:gd name="connsiteY2093" fmla="*/ 465196 h 1461099"/>
                    <a:gd name="connsiteX2094" fmla="*/ 226684 w 1659478"/>
                    <a:gd name="connsiteY2094" fmla="*/ 464844 h 1461099"/>
                    <a:gd name="connsiteX2095" fmla="*/ 221766 w 1659478"/>
                    <a:gd name="connsiteY2095" fmla="*/ 461055 h 1461099"/>
                    <a:gd name="connsiteX2096" fmla="*/ 215938 w 1659478"/>
                    <a:gd name="connsiteY2096" fmla="*/ 454571 h 1461099"/>
                    <a:gd name="connsiteX2097" fmla="*/ 215561 w 1659478"/>
                    <a:gd name="connsiteY2097" fmla="*/ 454158 h 1461099"/>
                    <a:gd name="connsiteX2098" fmla="*/ 215112 w 1659478"/>
                    <a:gd name="connsiteY2098" fmla="*/ 453818 h 1461099"/>
                    <a:gd name="connsiteX2099" fmla="*/ 210461 w 1659478"/>
                    <a:gd name="connsiteY2099" fmla="*/ 450260 h 1461099"/>
                    <a:gd name="connsiteX2100" fmla="*/ 210000 w 1659478"/>
                    <a:gd name="connsiteY2100" fmla="*/ 449908 h 1461099"/>
                    <a:gd name="connsiteX2101" fmla="*/ 209490 w 1659478"/>
                    <a:gd name="connsiteY2101" fmla="*/ 449653 h 1461099"/>
                    <a:gd name="connsiteX2102" fmla="*/ 204196 w 1659478"/>
                    <a:gd name="connsiteY2102" fmla="*/ 447006 h 1461099"/>
                    <a:gd name="connsiteX2103" fmla="*/ 203734 w 1659478"/>
                    <a:gd name="connsiteY2103" fmla="*/ 446775 h 1461099"/>
                    <a:gd name="connsiteX2104" fmla="*/ 203236 w 1659478"/>
                    <a:gd name="connsiteY2104" fmla="*/ 446629 h 1461099"/>
                    <a:gd name="connsiteX2105" fmla="*/ 197736 w 1659478"/>
                    <a:gd name="connsiteY2105" fmla="*/ 444966 h 1461099"/>
                    <a:gd name="connsiteX2106" fmla="*/ 197250 w 1659478"/>
                    <a:gd name="connsiteY2106" fmla="*/ 444820 h 1461099"/>
                    <a:gd name="connsiteX2107" fmla="*/ 196740 w 1659478"/>
                    <a:gd name="connsiteY2107" fmla="*/ 444759 h 1461099"/>
                    <a:gd name="connsiteX2108" fmla="*/ 192769 w 1659478"/>
                    <a:gd name="connsiteY2108" fmla="*/ 444249 h 1461099"/>
                    <a:gd name="connsiteX2109" fmla="*/ 191652 w 1659478"/>
                    <a:gd name="connsiteY2109" fmla="*/ 444104 h 1461099"/>
                    <a:gd name="connsiteX2110" fmla="*/ 190559 w 1659478"/>
                    <a:gd name="connsiteY2110" fmla="*/ 444371 h 1461099"/>
                    <a:gd name="connsiteX2111" fmla="*/ 186941 w 1659478"/>
                    <a:gd name="connsiteY2111" fmla="*/ 445257 h 1461099"/>
                    <a:gd name="connsiteX2112" fmla="*/ 186564 w 1659478"/>
                    <a:gd name="connsiteY2112" fmla="*/ 445354 h 1461099"/>
                    <a:gd name="connsiteX2113" fmla="*/ 186200 w 1659478"/>
                    <a:gd name="connsiteY2113" fmla="*/ 445488 h 1461099"/>
                    <a:gd name="connsiteX2114" fmla="*/ 179594 w 1659478"/>
                    <a:gd name="connsiteY2114" fmla="*/ 448026 h 1461099"/>
                    <a:gd name="connsiteX2115" fmla="*/ 172952 w 1659478"/>
                    <a:gd name="connsiteY2115" fmla="*/ 449022 h 1461099"/>
                    <a:gd name="connsiteX2116" fmla="*/ 172539 w 1659478"/>
                    <a:gd name="connsiteY2116" fmla="*/ 449082 h 1461099"/>
                    <a:gd name="connsiteX2117" fmla="*/ 172138 w 1659478"/>
                    <a:gd name="connsiteY2117" fmla="*/ 449204 h 1461099"/>
                    <a:gd name="connsiteX2118" fmla="*/ 168848 w 1659478"/>
                    <a:gd name="connsiteY2118" fmla="*/ 450175 h 1461099"/>
                    <a:gd name="connsiteX2119" fmla="*/ 167973 w 1659478"/>
                    <a:gd name="connsiteY2119" fmla="*/ 450430 h 1461099"/>
                    <a:gd name="connsiteX2120" fmla="*/ 167220 w 1659478"/>
                    <a:gd name="connsiteY2120" fmla="*/ 450940 h 1461099"/>
                    <a:gd name="connsiteX2121" fmla="*/ 163833 w 1659478"/>
                    <a:gd name="connsiteY2121" fmla="*/ 453186 h 1461099"/>
                    <a:gd name="connsiteX2122" fmla="*/ 163250 w 1659478"/>
                    <a:gd name="connsiteY2122" fmla="*/ 453575 h 1461099"/>
                    <a:gd name="connsiteX2123" fmla="*/ 162764 w 1659478"/>
                    <a:gd name="connsiteY2123" fmla="*/ 454085 h 1461099"/>
                    <a:gd name="connsiteX2124" fmla="*/ 152637 w 1659478"/>
                    <a:gd name="connsiteY2124" fmla="*/ 464820 h 1461099"/>
                    <a:gd name="connsiteX2125" fmla="*/ 140275 w 1659478"/>
                    <a:gd name="connsiteY2125" fmla="*/ 473441 h 1461099"/>
                    <a:gd name="connsiteX2126" fmla="*/ 139875 w 1659478"/>
                    <a:gd name="connsiteY2126" fmla="*/ 473720 h 1461099"/>
                    <a:gd name="connsiteX2127" fmla="*/ 139535 w 1659478"/>
                    <a:gd name="connsiteY2127" fmla="*/ 474060 h 1461099"/>
                    <a:gd name="connsiteX2128" fmla="*/ 137640 w 1659478"/>
                    <a:gd name="connsiteY2128" fmla="*/ 475894 h 1461099"/>
                    <a:gd name="connsiteX2129" fmla="*/ 121272 w 1659478"/>
                    <a:gd name="connsiteY2129" fmla="*/ 492214 h 1461099"/>
                    <a:gd name="connsiteX2130" fmla="*/ 120701 w 1659478"/>
                    <a:gd name="connsiteY2130" fmla="*/ 492785 h 1461099"/>
                    <a:gd name="connsiteX2131" fmla="*/ 120300 w 1659478"/>
                    <a:gd name="connsiteY2131" fmla="*/ 493489 h 1461099"/>
                    <a:gd name="connsiteX2132" fmla="*/ 118187 w 1659478"/>
                    <a:gd name="connsiteY2132" fmla="*/ 497168 h 1461099"/>
                    <a:gd name="connsiteX2133" fmla="*/ 117908 w 1659478"/>
                    <a:gd name="connsiteY2133" fmla="*/ 497654 h 1461099"/>
                    <a:gd name="connsiteX2134" fmla="*/ 117726 w 1659478"/>
                    <a:gd name="connsiteY2134" fmla="*/ 498176 h 1461099"/>
                    <a:gd name="connsiteX2135" fmla="*/ 104174 w 1659478"/>
                    <a:gd name="connsiteY2135" fmla="*/ 536402 h 1461099"/>
                    <a:gd name="connsiteX2136" fmla="*/ 100677 w 1659478"/>
                    <a:gd name="connsiteY2136" fmla="*/ 541199 h 1461099"/>
                    <a:gd name="connsiteX2137" fmla="*/ 85073 w 1659478"/>
                    <a:gd name="connsiteY2137" fmla="*/ 555734 h 1461099"/>
                    <a:gd name="connsiteX2138" fmla="*/ 84515 w 1659478"/>
                    <a:gd name="connsiteY2138" fmla="*/ 556244 h 1461099"/>
                    <a:gd name="connsiteX2139" fmla="*/ 84102 w 1659478"/>
                    <a:gd name="connsiteY2139" fmla="*/ 556887 h 1461099"/>
                    <a:gd name="connsiteX2140" fmla="*/ 73222 w 1659478"/>
                    <a:gd name="connsiteY2140" fmla="*/ 573802 h 1461099"/>
                    <a:gd name="connsiteX2141" fmla="*/ 52130 w 1659478"/>
                    <a:gd name="connsiteY2141" fmla="*/ 593219 h 1461099"/>
                    <a:gd name="connsiteX2142" fmla="*/ 40400 w 1659478"/>
                    <a:gd name="connsiteY2142" fmla="*/ 601075 h 1461099"/>
                    <a:gd name="connsiteX2143" fmla="*/ 39938 w 1659478"/>
                    <a:gd name="connsiteY2143" fmla="*/ 601379 h 1461099"/>
                    <a:gd name="connsiteX2144" fmla="*/ 39537 w 1659478"/>
                    <a:gd name="connsiteY2144" fmla="*/ 601768 h 1461099"/>
                    <a:gd name="connsiteX2145" fmla="*/ 22610 w 1659478"/>
                    <a:gd name="connsiteY2145" fmla="*/ 618245 h 1461099"/>
                    <a:gd name="connsiteX2146" fmla="*/ 22064 w 1659478"/>
                    <a:gd name="connsiteY2146" fmla="*/ 618780 h 1461099"/>
                    <a:gd name="connsiteX2147" fmla="*/ 21699 w 1659478"/>
                    <a:gd name="connsiteY2147" fmla="*/ 619387 h 1461099"/>
                    <a:gd name="connsiteX2148" fmla="*/ 13940 w 1659478"/>
                    <a:gd name="connsiteY2148" fmla="*/ 632076 h 1461099"/>
                    <a:gd name="connsiteX2149" fmla="*/ 13576 w 1659478"/>
                    <a:gd name="connsiteY2149" fmla="*/ 632671 h 1461099"/>
                    <a:gd name="connsiteX2150" fmla="*/ 13357 w 1659478"/>
                    <a:gd name="connsiteY2150" fmla="*/ 633339 h 1461099"/>
                    <a:gd name="connsiteX2151" fmla="*/ 8306 w 1659478"/>
                    <a:gd name="connsiteY2151" fmla="*/ 648579 h 1461099"/>
                    <a:gd name="connsiteX2152" fmla="*/ 8148 w 1659478"/>
                    <a:gd name="connsiteY2152" fmla="*/ 649040 h 1461099"/>
                    <a:gd name="connsiteX2153" fmla="*/ 8075 w 1659478"/>
                    <a:gd name="connsiteY2153" fmla="*/ 649526 h 1461099"/>
                    <a:gd name="connsiteX2154" fmla="*/ 4056 w 1659478"/>
                    <a:gd name="connsiteY2154" fmla="*/ 674395 h 1461099"/>
                    <a:gd name="connsiteX2155" fmla="*/ 158 w 1659478"/>
                    <a:gd name="connsiteY2155" fmla="*/ 698377 h 1461099"/>
                    <a:gd name="connsiteX2156" fmla="*/ 0 w 1659478"/>
                    <a:gd name="connsiteY2156" fmla="*/ 699385 h 1461099"/>
                    <a:gd name="connsiteX2157" fmla="*/ 170 w 1659478"/>
                    <a:gd name="connsiteY2157" fmla="*/ 700392 h 1461099"/>
                    <a:gd name="connsiteX2158" fmla="*/ 1603 w 1659478"/>
                    <a:gd name="connsiteY2158" fmla="*/ 708698 h 1461099"/>
                    <a:gd name="connsiteX2159" fmla="*/ 1906 w 1659478"/>
                    <a:gd name="connsiteY2159" fmla="*/ 710471 h 1461099"/>
                    <a:gd name="connsiteX2160" fmla="*/ 3133 w 1659478"/>
                    <a:gd name="connsiteY2160" fmla="*/ 711795 h 1461099"/>
                    <a:gd name="connsiteX2161" fmla="*/ 8986 w 1659478"/>
                    <a:gd name="connsiteY2161" fmla="*/ 718109 h 1461099"/>
                    <a:gd name="connsiteX2162" fmla="*/ 9921 w 1659478"/>
                    <a:gd name="connsiteY2162" fmla="*/ 719117 h 1461099"/>
                    <a:gd name="connsiteX2163" fmla="*/ 11196 w 1659478"/>
                    <a:gd name="connsiteY2163" fmla="*/ 719627 h 1461099"/>
                    <a:gd name="connsiteX2164" fmla="*/ 39756 w 1659478"/>
                    <a:gd name="connsiteY2164" fmla="*/ 730980 h 1461099"/>
                    <a:gd name="connsiteX2165" fmla="*/ 46592 w 1659478"/>
                    <a:gd name="connsiteY2165" fmla="*/ 735425 h 1461099"/>
                    <a:gd name="connsiteX2166" fmla="*/ 59780 w 1659478"/>
                    <a:gd name="connsiteY2166" fmla="*/ 746815 h 1461099"/>
                    <a:gd name="connsiteX2167" fmla="*/ 60618 w 1659478"/>
                    <a:gd name="connsiteY2167" fmla="*/ 747544 h 1461099"/>
                    <a:gd name="connsiteX2168" fmla="*/ 61662 w 1659478"/>
                    <a:gd name="connsiteY2168" fmla="*/ 747920 h 1461099"/>
                    <a:gd name="connsiteX2169" fmla="*/ 69761 w 1659478"/>
                    <a:gd name="connsiteY2169" fmla="*/ 750883 h 1461099"/>
                    <a:gd name="connsiteX2170" fmla="*/ 70878 w 1659478"/>
                    <a:gd name="connsiteY2170" fmla="*/ 751296 h 1461099"/>
                    <a:gd name="connsiteX2171" fmla="*/ 72080 w 1659478"/>
                    <a:gd name="connsiteY2171" fmla="*/ 751247 h 1461099"/>
                    <a:gd name="connsiteX2172" fmla="*/ 116329 w 1659478"/>
                    <a:gd name="connsiteY2172" fmla="*/ 749523 h 1461099"/>
                    <a:gd name="connsiteX2173" fmla="*/ 121842 w 1659478"/>
                    <a:gd name="connsiteY2173" fmla="*/ 750883 h 1461099"/>
                    <a:gd name="connsiteX2174" fmla="*/ 126821 w 1659478"/>
                    <a:gd name="connsiteY2174" fmla="*/ 753542 h 1461099"/>
                    <a:gd name="connsiteX2175" fmla="*/ 130294 w 1659478"/>
                    <a:gd name="connsiteY2175" fmla="*/ 757768 h 1461099"/>
                    <a:gd name="connsiteX2176" fmla="*/ 130925 w 1659478"/>
                    <a:gd name="connsiteY2176" fmla="*/ 762856 h 1461099"/>
                    <a:gd name="connsiteX2177" fmla="*/ 129857 w 1659478"/>
                    <a:gd name="connsiteY2177" fmla="*/ 778836 h 1461099"/>
                    <a:gd name="connsiteX2178" fmla="*/ 129832 w 1659478"/>
                    <a:gd name="connsiteY2178" fmla="*/ 779285 h 1461099"/>
                    <a:gd name="connsiteX2179" fmla="*/ 129869 w 1659478"/>
                    <a:gd name="connsiteY2179" fmla="*/ 779734 h 1461099"/>
                    <a:gd name="connsiteX2180" fmla="*/ 130452 w 1659478"/>
                    <a:gd name="connsiteY2180" fmla="*/ 786887 h 1461099"/>
                    <a:gd name="connsiteX2181" fmla="*/ 130063 w 1659478"/>
                    <a:gd name="connsiteY2181" fmla="*/ 788975 h 1461099"/>
                    <a:gd name="connsiteX2182" fmla="*/ 128582 w 1659478"/>
                    <a:gd name="connsiteY2182" fmla="*/ 792545 h 1461099"/>
                    <a:gd name="connsiteX2183" fmla="*/ 128424 w 1659478"/>
                    <a:gd name="connsiteY2183" fmla="*/ 792922 h 1461099"/>
                    <a:gd name="connsiteX2184" fmla="*/ 128327 w 1659478"/>
                    <a:gd name="connsiteY2184" fmla="*/ 793310 h 1461099"/>
                    <a:gd name="connsiteX2185" fmla="*/ 127294 w 1659478"/>
                    <a:gd name="connsiteY2185" fmla="*/ 797232 h 1461099"/>
                    <a:gd name="connsiteX2186" fmla="*/ 127039 w 1659478"/>
                    <a:gd name="connsiteY2186" fmla="*/ 798228 h 1461099"/>
                    <a:gd name="connsiteX2187" fmla="*/ 127112 w 1659478"/>
                    <a:gd name="connsiteY2187" fmla="*/ 799248 h 1461099"/>
                    <a:gd name="connsiteX2188" fmla="*/ 127404 w 1659478"/>
                    <a:gd name="connsiteY2188" fmla="*/ 803134 h 1461099"/>
                    <a:gd name="connsiteX2189" fmla="*/ 128752 w 1659478"/>
                    <a:gd name="connsiteY2189" fmla="*/ 810942 h 1461099"/>
                    <a:gd name="connsiteX2190" fmla="*/ 128084 w 1659478"/>
                    <a:gd name="connsiteY2190" fmla="*/ 816698 h 1461099"/>
                    <a:gd name="connsiteX2191" fmla="*/ 125740 w 1659478"/>
                    <a:gd name="connsiteY2191" fmla="*/ 822854 h 1461099"/>
                    <a:gd name="connsiteX2192" fmla="*/ 116001 w 1659478"/>
                    <a:gd name="connsiteY2192" fmla="*/ 838579 h 1461099"/>
                    <a:gd name="connsiteX2193" fmla="*/ 115504 w 1659478"/>
                    <a:gd name="connsiteY2193" fmla="*/ 839368 h 1461099"/>
                    <a:gd name="connsiteX2194" fmla="*/ 115273 w 1659478"/>
                    <a:gd name="connsiteY2194" fmla="*/ 840279 h 1461099"/>
                    <a:gd name="connsiteX2195" fmla="*/ 114423 w 1659478"/>
                    <a:gd name="connsiteY2195" fmla="*/ 843606 h 1461099"/>
                    <a:gd name="connsiteX2196" fmla="*/ 114253 w 1659478"/>
                    <a:gd name="connsiteY2196" fmla="*/ 844262 h 1461099"/>
                    <a:gd name="connsiteX2197" fmla="*/ 114241 w 1659478"/>
                    <a:gd name="connsiteY2197" fmla="*/ 844942 h 1461099"/>
                    <a:gd name="connsiteX2198" fmla="*/ 114071 w 1659478"/>
                    <a:gd name="connsiteY2198" fmla="*/ 851706 h 1461099"/>
                    <a:gd name="connsiteX2199" fmla="*/ 112516 w 1659478"/>
                    <a:gd name="connsiteY2199" fmla="*/ 861736 h 1461099"/>
                    <a:gd name="connsiteX2200" fmla="*/ 112444 w 1659478"/>
                    <a:gd name="connsiteY2200" fmla="*/ 862258 h 1461099"/>
                    <a:gd name="connsiteX2201" fmla="*/ 112444 w 1659478"/>
                    <a:gd name="connsiteY2201" fmla="*/ 862780 h 1461099"/>
                    <a:gd name="connsiteX2202" fmla="*/ 112504 w 1659478"/>
                    <a:gd name="connsiteY2202" fmla="*/ 865828 h 1461099"/>
                    <a:gd name="connsiteX2203" fmla="*/ 112516 w 1659478"/>
                    <a:gd name="connsiteY2203" fmla="*/ 866787 h 1461099"/>
                    <a:gd name="connsiteX2204" fmla="*/ 112832 w 1659478"/>
                    <a:gd name="connsiteY2204" fmla="*/ 867698 h 1461099"/>
                    <a:gd name="connsiteX2205" fmla="*/ 116341 w 1659478"/>
                    <a:gd name="connsiteY2205" fmla="*/ 877813 h 1461099"/>
                    <a:gd name="connsiteX2206" fmla="*/ 116560 w 1659478"/>
                    <a:gd name="connsiteY2206" fmla="*/ 878432 h 1461099"/>
                    <a:gd name="connsiteX2207" fmla="*/ 116900 w 1659478"/>
                    <a:gd name="connsiteY2207" fmla="*/ 878991 h 1461099"/>
                    <a:gd name="connsiteX2208" fmla="*/ 122814 w 1659478"/>
                    <a:gd name="connsiteY2208" fmla="*/ 888657 h 1461099"/>
                    <a:gd name="connsiteX2209" fmla="*/ 123081 w 1659478"/>
                    <a:gd name="connsiteY2209" fmla="*/ 889094 h 1461099"/>
                    <a:gd name="connsiteX2210" fmla="*/ 123421 w 1659478"/>
                    <a:gd name="connsiteY2210" fmla="*/ 889482 h 1461099"/>
                    <a:gd name="connsiteX2211" fmla="*/ 130828 w 1659478"/>
                    <a:gd name="connsiteY2211" fmla="*/ 897982 h 1461099"/>
                    <a:gd name="connsiteX2212" fmla="*/ 131144 w 1659478"/>
                    <a:gd name="connsiteY2212" fmla="*/ 898347 h 1461099"/>
                    <a:gd name="connsiteX2213" fmla="*/ 131520 w 1659478"/>
                    <a:gd name="connsiteY2213" fmla="*/ 898650 h 1461099"/>
                    <a:gd name="connsiteX2214" fmla="*/ 138854 w 1659478"/>
                    <a:gd name="connsiteY2214" fmla="*/ 904770 h 1461099"/>
                    <a:gd name="connsiteX2215" fmla="*/ 141235 w 1659478"/>
                    <a:gd name="connsiteY2215" fmla="*/ 907636 h 1461099"/>
                    <a:gd name="connsiteX2216" fmla="*/ 144720 w 1659478"/>
                    <a:gd name="connsiteY2216" fmla="*/ 917678 h 1461099"/>
                    <a:gd name="connsiteX2217" fmla="*/ 144914 w 1659478"/>
                    <a:gd name="connsiteY2217" fmla="*/ 918249 h 1461099"/>
                    <a:gd name="connsiteX2218" fmla="*/ 145217 w 1659478"/>
                    <a:gd name="connsiteY2218" fmla="*/ 918759 h 1461099"/>
                    <a:gd name="connsiteX2219" fmla="*/ 147974 w 1659478"/>
                    <a:gd name="connsiteY2219" fmla="*/ 923434 h 1461099"/>
                    <a:gd name="connsiteX2220" fmla="*/ 148617 w 1659478"/>
                    <a:gd name="connsiteY2220" fmla="*/ 924527 h 1461099"/>
                    <a:gd name="connsiteX2221" fmla="*/ 149637 w 1659478"/>
                    <a:gd name="connsiteY2221" fmla="*/ 925267 h 1461099"/>
                    <a:gd name="connsiteX2222" fmla="*/ 152503 w 1659478"/>
                    <a:gd name="connsiteY2222" fmla="*/ 927344 h 1461099"/>
                    <a:gd name="connsiteX2223" fmla="*/ 153232 w 1659478"/>
                    <a:gd name="connsiteY2223" fmla="*/ 927866 h 1461099"/>
                    <a:gd name="connsiteX2224" fmla="*/ 154082 w 1659478"/>
                    <a:gd name="connsiteY2224" fmla="*/ 928158 h 1461099"/>
                    <a:gd name="connsiteX2225" fmla="*/ 161440 w 1659478"/>
                    <a:gd name="connsiteY2225" fmla="*/ 930708 h 1461099"/>
                    <a:gd name="connsiteX2226" fmla="*/ 161793 w 1659478"/>
                    <a:gd name="connsiteY2226" fmla="*/ 930829 h 1461099"/>
                    <a:gd name="connsiteX2227" fmla="*/ 162157 w 1659478"/>
                    <a:gd name="connsiteY2227" fmla="*/ 930914 h 1461099"/>
                    <a:gd name="connsiteX2228" fmla="*/ 172721 w 1659478"/>
                    <a:gd name="connsiteY2228" fmla="*/ 933160 h 1461099"/>
                    <a:gd name="connsiteX2229" fmla="*/ 173425 w 1659478"/>
                    <a:gd name="connsiteY2229" fmla="*/ 933306 h 1461099"/>
                    <a:gd name="connsiteX2230" fmla="*/ 174142 w 1659478"/>
                    <a:gd name="connsiteY2230" fmla="*/ 933294 h 1461099"/>
                    <a:gd name="connsiteX2231" fmla="*/ 196145 w 1659478"/>
                    <a:gd name="connsiteY2231" fmla="*/ 932723 h 1461099"/>
                    <a:gd name="connsiteX2232" fmla="*/ 196691 w 1659478"/>
                    <a:gd name="connsiteY2232" fmla="*/ 932711 h 1461099"/>
                    <a:gd name="connsiteX2233" fmla="*/ 197226 w 1659478"/>
                    <a:gd name="connsiteY2233" fmla="*/ 932602 h 1461099"/>
                    <a:gd name="connsiteX2234" fmla="*/ 204572 w 1659478"/>
                    <a:gd name="connsiteY2234" fmla="*/ 931084 h 1461099"/>
                    <a:gd name="connsiteX2235" fmla="*/ 205143 w 1659478"/>
                    <a:gd name="connsiteY2235" fmla="*/ 930963 h 1461099"/>
                    <a:gd name="connsiteX2236" fmla="*/ 205677 w 1659478"/>
                    <a:gd name="connsiteY2236" fmla="*/ 930732 h 1461099"/>
                    <a:gd name="connsiteX2237" fmla="*/ 212465 w 1659478"/>
                    <a:gd name="connsiteY2237" fmla="*/ 927890 h 1461099"/>
                    <a:gd name="connsiteX2238" fmla="*/ 217771 w 1659478"/>
                    <a:gd name="connsiteY2238" fmla="*/ 926385 h 1461099"/>
                    <a:gd name="connsiteX2239" fmla="*/ 221596 w 1659478"/>
                    <a:gd name="connsiteY2239" fmla="*/ 927150 h 1461099"/>
                    <a:gd name="connsiteX2240" fmla="*/ 223199 w 1659478"/>
                    <a:gd name="connsiteY2240" fmla="*/ 929275 h 1461099"/>
                    <a:gd name="connsiteX2241" fmla="*/ 223661 w 1659478"/>
                    <a:gd name="connsiteY2241" fmla="*/ 935286 h 1461099"/>
                    <a:gd name="connsiteX2242" fmla="*/ 222811 w 1659478"/>
                    <a:gd name="connsiteY2242" fmla="*/ 952468 h 1461099"/>
                    <a:gd name="connsiteX2243" fmla="*/ 221669 w 1659478"/>
                    <a:gd name="connsiteY2243" fmla="*/ 975369 h 1461099"/>
                    <a:gd name="connsiteX2244" fmla="*/ 221633 w 1659478"/>
                    <a:gd name="connsiteY2244" fmla="*/ 976159 h 1461099"/>
                    <a:gd name="connsiteX2245" fmla="*/ 221803 w 1659478"/>
                    <a:gd name="connsiteY2245" fmla="*/ 976936 h 1461099"/>
                    <a:gd name="connsiteX2246" fmla="*/ 223297 w 1659478"/>
                    <a:gd name="connsiteY2246" fmla="*/ 983918 h 1461099"/>
                    <a:gd name="connsiteX2247" fmla="*/ 223552 w 1659478"/>
                    <a:gd name="connsiteY2247" fmla="*/ 985157 h 1461099"/>
                    <a:gd name="connsiteX2248" fmla="*/ 224280 w 1659478"/>
                    <a:gd name="connsiteY2248" fmla="*/ 986177 h 1461099"/>
                    <a:gd name="connsiteX2249" fmla="*/ 227267 w 1659478"/>
                    <a:gd name="connsiteY2249" fmla="*/ 990366 h 1461099"/>
                    <a:gd name="connsiteX2250" fmla="*/ 227510 w 1659478"/>
                    <a:gd name="connsiteY2250" fmla="*/ 990706 h 1461099"/>
                    <a:gd name="connsiteX2251" fmla="*/ 227802 w 1659478"/>
                    <a:gd name="connsiteY2251" fmla="*/ 991009 h 1461099"/>
                    <a:gd name="connsiteX2252" fmla="*/ 234322 w 1659478"/>
                    <a:gd name="connsiteY2252" fmla="*/ 997907 h 1461099"/>
                    <a:gd name="connsiteX2253" fmla="*/ 235318 w 1659478"/>
                    <a:gd name="connsiteY2253" fmla="*/ 1001210 h 1461099"/>
                    <a:gd name="connsiteX2254" fmla="*/ 236119 w 1659478"/>
                    <a:gd name="connsiteY2254" fmla="*/ 1005581 h 1461099"/>
                    <a:gd name="connsiteX2255" fmla="*/ 236289 w 1659478"/>
                    <a:gd name="connsiteY2255" fmla="*/ 1006552 h 1461099"/>
                    <a:gd name="connsiteX2256" fmla="*/ 236763 w 1659478"/>
                    <a:gd name="connsiteY2256" fmla="*/ 1007414 h 1461099"/>
                    <a:gd name="connsiteX2257" fmla="*/ 238949 w 1659478"/>
                    <a:gd name="connsiteY2257" fmla="*/ 1011410 h 1461099"/>
                    <a:gd name="connsiteX2258" fmla="*/ 239301 w 1659478"/>
                    <a:gd name="connsiteY2258" fmla="*/ 1012065 h 1461099"/>
                    <a:gd name="connsiteX2259" fmla="*/ 239811 w 1659478"/>
                    <a:gd name="connsiteY2259" fmla="*/ 1012612 h 1461099"/>
                    <a:gd name="connsiteX2260" fmla="*/ 246125 w 1659478"/>
                    <a:gd name="connsiteY2260" fmla="*/ 1019448 h 1461099"/>
                    <a:gd name="connsiteX2261" fmla="*/ 246380 w 1659478"/>
                    <a:gd name="connsiteY2261" fmla="*/ 1019727 h 1461099"/>
                    <a:gd name="connsiteX2262" fmla="*/ 246672 w 1659478"/>
                    <a:gd name="connsiteY2262" fmla="*/ 1019970 h 1461099"/>
                    <a:gd name="connsiteX2263" fmla="*/ 258050 w 1659478"/>
                    <a:gd name="connsiteY2263" fmla="*/ 1029575 h 1461099"/>
                    <a:gd name="connsiteX2264" fmla="*/ 260405 w 1659478"/>
                    <a:gd name="connsiteY2264" fmla="*/ 1032490 h 1461099"/>
                    <a:gd name="connsiteX2265" fmla="*/ 261947 w 1659478"/>
                    <a:gd name="connsiteY2265" fmla="*/ 1035975 h 1461099"/>
                    <a:gd name="connsiteX2266" fmla="*/ 268080 w 1659478"/>
                    <a:gd name="connsiteY2266" fmla="*/ 1062884 h 1461099"/>
                    <a:gd name="connsiteX2267" fmla="*/ 268165 w 1659478"/>
                    <a:gd name="connsiteY2267" fmla="*/ 1063272 h 1461099"/>
                    <a:gd name="connsiteX2268" fmla="*/ 268298 w 1659478"/>
                    <a:gd name="connsiteY2268" fmla="*/ 1063636 h 1461099"/>
                    <a:gd name="connsiteX2269" fmla="*/ 272378 w 1659478"/>
                    <a:gd name="connsiteY2269" fmla="*/ 1074662 h 1461099"/>
                    <a:gd name="connsiteX2270" fmla="*/ 272488 w 1659478"/>
                    <a:gd name="connsiteY2270" fmla="*/ 1074966 h 1461099"/>
                    <a:gd name="connsiteX2271" fmla="*/ 272633 w 1659478"/>
                    <a:gd name="connsiteY2271" fmla="*/ 1075257 h 1461099"/>
                    <a:gd name="connsiteX2272" fmla="*/ 277855 w 1659478"/>
                    <a:gd name="connsiteY2272" fmla="*/ 1085737 h 1461099"/>
                    <a:gd name="connsiteX2273" fmla="*/ 278013 w 1659478"/>
                    <a:gd name="connsiteY2273" fmla="*/ 1086064 h 1461099"/>
                    <a:gd name="connsiteX2274" fmla="*/ 278219 w 1659478"/>
                    <a:gd name="connsiteY2274" fmla="*/ 1086368 h 1461099"/>
                    <a:gd name="connsiteX2275" fmla="*/ 289123 w 1659478"/>
                    <a:gd name="connsiteY2275" fmla="*/ 1102870 h 1461099"/>
                    <a:gd name="connsiteX2276" fmla="*/ 295207 w 1659478"/>
                    <a:gd name="connsiteY2276" fmla="*/ 1119652 h 1461099"/>
                    <a:gd name="connsiteX2277" fmla="*/ 295462 w 1659478"/>
                    <a:gd name="connsiteY2277" fmla="*/ 1120332 h 1461099"/>
                    <a:gd name="connsiteX2278" fmla="*/ 295863 w 1659478"/>
                    <a:gd name="connsiteY2278" fmla="*/ 1120927 h 1461099"/>
                    <a:gd name="connsiteX2279" fmla="*/ 299530 w 1659478"/>
                    <a:gd name="connsiteY2279" fmla="*/ 1126464 h 1461099"/>
                    <a:gd name="connsiteX2280" fmla="*/ 300938 w 1659478"/>
                    <a:gd name="connsiteY2280" fmla="*/ 1128589 h 1461099"/>
                    <a:gd name="connsiteX2281" fmla="*/ 303452 w 1659478"/>
                    <a:gd name="connsiteY2281" fmla="*/ 1129075 h 1461099"/>
                    <a:gd name="connsiteX2282" fmla="*/ 307945 w 1659478"/>
                    <a:gd name="connsiteY2282" fmla="*/ 1129937 h 1461099"/>
                    <a:gd name="connsiteX2283" fmla="*/ 314988 w 1659478"/>
                    <a:gd name="connsiteY2283" fmla="*/ 1134563 h 1461099"/>
                    <a:gd name="connsiteX2284" fmla="*/ 315777 w 1659478"/>
                    <a:gd name="connsiteY2284" fmla="*/ 1135085 h 1461099"/>
                    <a:gd name="connsiteX2285" fmla="*/ 316700 w 1659478"/>
                    <a:gd name="connsiteY2285" fmla="*/ 1135340 h 1461099"/>
                    <a:gd name="connsiteX2286" fmla="*/ 334040 w 1659478"/>
                    <a:gd name="connsiteY2286" fmla="*/ 1140137 h 1461099"/>
                    <a:gd name="connsiteX2287" fmla="*/ 334635 w 1659478"/>
                    <a:gd name="connsiteY2287" fmla="*/ 1140307 h 1461099"/>
                    <a:gd name="connsiteX2288" fmla="*/ 335242 w 1659478"/>
                    <a:gd name="connsiteY2288" fmla="*/ 1140343 h 1461099"/>
                    <a:gd name="connsiteX2289" fmla="*/ 337647 w 1659478"/>
                    <a:gd name="connsiteY2289" fmla="*/ 1140513 h 1461099"/>
                    <a:gd name="connsiteX2290" fmla="*/ 338011 w 1659478"/>
                    <a:gd name="connsiteY2290" fmla="*/ 1140538 h 1461099"/>
                    <a:gd name="connsiteX2291" fmla="*/ 338387 w 1659478"/>
                    <a:gd name="connsiteY2291" fmla="*/ 1140525 h 1461099"/>
                    <a:gd name="connsiteX2292" fmla="*/ 341496 w 1659478"/>
                    <a:gd name="connsiteY2292" fmla="*/ 1140356 h 1461099"/>
                    <a:gd name="connsiteX2293" fmla="*/ 343293 w 1659478"/>
                    <a:gd name="connsiteY2293" fmla="*/ 1140258 h 1461099"/>
                    <a:gd name="connsiteX2294" fmla="*/ 344750 w 1659478"/>
                    <a:gd name="connsiteY2294" fmla="*/ 1139190 h 1461099"/>
                    <a:gd name="connsiteX2295" fmla="*/ 347215 w 1659478"/>
                    <a:gd name="connsiteY2295" fmla="*/ 1137393 h 1461099"/>
                    <a:gd name="connsiteX2296" fmla="*/ 348794 w 1659478"/>
                    <a:gd name="connsiteY2296" fmla="*/ 1136616 h 1461099"/>
                    <a:gd name="connsiteX2297" fmla="*/ 350919 w 1659478"/>
                    <a:gd name="connsiteY2297" fmla="*/ 1135948 h 1461099"/>
                    <a:gd name="connsiteX2298" fmla="*/ 354343 w 1659478"/>
                    <a:gd name="connsiteY2298" fmla="*/ 1135377 h 1461099"/>
                    <a:gd name="connsiteX2299" fmla="*/ 355145 w 1659478"/>
                    <a:gd name="connsiteY2299" fmla="*/ 1135523 h 1461099"/>
                    <a:gd name="connsiteX2300" fmla="*/ 358654 w 1659478"/>
                    <a:gd name="connsiteY2300" fmla="*/ 1137113 h 1461099"/>
                    <a:gd name="connsiteX2301" fmla="*/ 359285 w 1659478"/>
                    <a:gd name="connsiteY2301" fmla="*/ 1137393 h 1461099"/>
                    <a:gd name="connsiteX2302" fmla="*/ 359965 w 1659478"/>
                    <a:gd name="connsiteY2302" fmla="*/ 1137538 h 1461099"/>
                    <a:gd name="connsiteX2303" fmla="*/ 363742 w 1659478"/>
                    <a:gd name="connsiteY2303" fmla="*/ 1138303 h 1461099"/>
                    <a:gd name="connsiteX2304" fmla="*/ 364822 w 1659478"/>
                    <a:gd name="connsiteY2304" fmla="*/ 1138522 h 1461099"/>
                    <a:gd name="connsiteX2305" fmla="*/ 365915 w 1659478"/>
                    <a:gd name="connsiteY2305" fmla="*/ 1138340 h 1461099"/>
                    <a:gd name="connsiteX2306" fmla="*/ 368745 w 1659478"/>
                    <a:gd name="connsiteY2306" fmla="*/ 1137878 h 1461099"/>
                    <a:gd name="connsiteX2307" fmla="*/ 369510 w 1659478"/>
                    <a:gd name="connsiteY2307" fmla="*/ 1137745 h 1461099"/>
                    <a:gd name="connsiteX2308" fmla="*/ 370214 w 1659478"/>
                    <a:gd name="connsiteY2308" fmla="*/ 1137441 h 1461099"/>
                    <a:gd name="connsiteX2309" fmla="*/ 373080 w 1659478"/>
                    <a:gd name="connsiteY2309" fmla="*/ 1136178 h 1461099"/>
                    <a:gd name="connsiteX2310" fmla="*/ 373675 w 1659478"/>
                    <a:gd name="connsiteY2310" fmla="*/ 1135911 h 1461099"/>
                    <a:gd name="connsiteX2311" fmla="*/ 374209 w 1659478"/>
                    <a:gd name="connsiteY2311" fmla="*/ 1135523 h 1461099"/>
                    <a:gd name="connsiteX2312" fmla="*/ 379600 w 1659478"/>
                    <a:gd name="connsiteY2312" fmla="*/ 1131588 h 1461099"/>
                    <a:gd name="connsiteX2313" fmla="*/ 380596 w 1659478"/>
                    <a:gd name="connsiteY2313" fmla="*/ 1131030 h 1461099"/>
                    <a:gd name="connsiteX2314" fmla="*/ 382770 w 1659478"/>
                    <a:gd name="connsiteY2314" fmla="*/ 1130483 h 1461099"/>
                    <a:gd name="connsiteX2315" fmla="*/ 396491 w 1659478"/>
                    <a:gd name="connsiteY2315" fmla="*/ 1130168 h 1461099"/>
                    <a:gd name="connsiteX2316" fmla="*/ 400304 w 1659478"/>
                    <a:gd name="connsiteY2316" fmla="*/ 1130471 h 1461099"/>
                    <a:gd name="connsiteX2317" fmla="*/ 402101 w 1659478"/>
                    <a:gd name="connsiteY2317" fmla="*/ 1130896 h 1461099"/>
                    <a:gd name="connsiteX2318" fmla="*/ 404469 w 1659478"/>
                    <a:gd name="connsiteY2318" fmla="*/ 1132815 h 1461099"/>
                    <a:gd name="connsiteX2319" fmla="*/ 404797 w 1659478"/>
                    <a:gd name="connsiteY2319" fmla="*/ 1133082 h 1461099"/>
                    <a:gd name="connsiteX2320" fmla="*/ 405161 w 1659478"/>
                    <a:gd name="connsiteY2320" fmla="*/ 1133300 h 1461099"/>
                    <a:gd name="connsiteX2321" fmla="*/ 407116 w 1659478"/>
                    <a:gd name="connsiteY2321" fmla="*/ 1134478 h 1461099"/>
                    <a:gd name="connsiteX2322" fmla="*/ 407833 w 1659478"/>
                    <a:gd name="connsiteY2322" fmla="*/ 1134915 h 1461099"/>
                    <a:gd name="connsiteX2323" fmla="*/ 408634 w 1659478"/>
                    <a:gd name="connsiteY2323" fmla="*/ 1135134 h 1461099"/>
                    <a:gd name="connsiteX2324" fmla="*/ 411840 w 1659478"/>
                    <a:gd name="connsiteY2324" fmla="*/ 1136020 h 1461099"/>
                    <a:gd name="connsiteX2325" fmla="*/ 412714 w 1659478"/>
                    <a:gd name="connsiteY2325" fmla="*/ 1136263 h 1461099"/>
                    <a:gd name="connsiteX2326" fmla="*/ 413613 w 1659478"/>
                    <a:gd name="connsiteY2326" fmla="*/ 1136239 h 1461099"/>
                    <a:gd name="connsiteX2327" fmla="*/ 416381 w 1659478"/>
                    <a:gd name="connsiteY2327" fmla="*/ 1136166 h 1461099"/>
                    <a:gd name="connsiteX2328" fmla="*/ 416952 w 1659478"/>
                    <a:gd name="connsiteY2328" fmla="*/ 1136154 h 1461099"/>
                    <a:gd name="connsiteX2329" fmla="*/ 417511 w 1659478"/>
                    <a:gd name="connsiteY2329" fmla="*/ 1136033 h 1461099"/>
                    <a:gd name="connsiteX2330" fmla="*/ 433369 w 1659478"/>
                    <a:gd name="connsiteY2330" fmla="*/ 1132596 h 1461099"/>
                    <a:gd name="connsiteX2331" fmla="*/ 433794 w 1659478"/>
                    <a:gd name="connsiteY2331" fmla="*/ 1133737 h 1461099"/>
                    <a:gd name="connsiteX2332" fmla="*/ 434341 w 1659478"/>
                    <a:gd name="connsiteY2332" fmla="*/ 1135219 h 1461099"/>
                    <a:gd name="connsiteX2333" fmla="*/ 435555 w 1659478"/>
                    <a:gd name="connsiteY2333" fmla="*/ 1136239 h 1461099"/>
                    <a:gd name="connsiteX2334" fmla="*/ 437279 w 1659478"/>
                    <a:gd name="connsiteY2334" fmla="*/ 1137696 h 1461099"/>
                    <a:gd name="connsiteX2335" fmla="*/ 438202 w 1659478"/>
                    <a:gd name="connsiteY2335" fmla="*/ 1138473 h 1461099"/>
                    <a:gd name="connsiteX2336" fmla="*/ 439356 w 1659478"/>
                    <a:gd name="connsiteY2336" fmla="*/ 1138850 h 1461099"/>
                    <a:gd name="connsiteX2337" fmla="*/ 443654 w 1659478"/>
                    <a:gd name="connsiteY2337" fmla="*/ 1140222 h 1461099"/>
                    <a:gd name="connsiteX2338" fmla="*/ 444432 w 1659478"/>
                    <a:gd name="connsiteY2338" fmla="*/ 1140477 h 1461099"/>
                    <a:gd name="connsiteX2339" fmla="*/ 445245 w 1659478"/>
                    <a:gd name="connsiteY2339" fmla="*/ 1140501 h 1461099"/>
                    <a:gd name="connsiteX2340" fmla="*/ 447771 w 1659478"/>
                    <a:gd name="connsiteY2340" fmla="*/ 1140598 h 1461099"/>
                    <a:gd name="connsiteX2341" fmla="*/ 449009 w 1659478"/>
                    <a:gd name="connsiteY2341" fmla="*/ 1140647 h 1461099"/>
                    <a:gd name="connsiteX2342" fmla="*/ 450163 w 1659478"/>
                    <a:gd name="connsiteY2342" fmla="*/ 1140198 h 1461099"/>
                    <a:gd name="connsiteX2343" fmla="*/ 451535 w 1659478"/>
                    <a:gd name="connsiteY2343" fmla="*/ 1139676 h 1461099"/>
                    <a:gd name="connsiteX2344" fmla="*/ 454243 w 1659478"/>
                    <a:gd name="connsiteY2344" fmla="*/ 1138656 h 1461099"/>
                    <a:gd name="connsiteX2345" fmla="*/ 455154 w 1659478"/>
                    <a:gd name="connsiteY2345" fmla="*/ 1135911 h 1461099"/>
                    <a:gd name="connsiteX2346" fmla="*/ 455506 w 1659478"/>
                    <a:gd name="connsiteY2346" fmla="*/ 1134818 h 1461099"/>
                    <a:gd name="connsiteX2347" fmla="*/ 455907 w 1659478"/>
                    <a:gd name="connsiteY2347" fmla="*/ 1133616 h 1461099"/>
                    <a:gd name="connsiteX2348" fmla="*/ 455797 w 1659478"/>
                    <a:gd name="connsiteY2348" fmla="*/ 1132353 h 1461099"/>
                    <a:gd name="connsiteX2349" fmla="*/ 455664 w 1659478"/>
                    <a:gd name="connsiteY2349" fmla="*/ 1130920 h 1461099"/>
                    <a:gd name="connsiteX2350" fmla="*/ 455979 w 1659478"/>
                    <a:gd name="connsiteY2350" fmla="*/ 1130775 h 1461099"/>
                    <a:gd name="connsiteX2351" fmla="*/ 456489 w 1659478"/>
                    <a:gd name="connsiteY2351" fmla="*/ 1131528 h 1461099"/>
                    <a:gd name="connsiteX2352" fmla="*/ 457024 w 1659478"/>
                    <a:gd name="connsiteY2352" fmla="*/ 1132317 h 1461099"/>
                    <a:gd name="connsiteX2353" fmla="*/ 457777 w 1659478"/>
                    <a:gd name="connsiteY2353" fmla="*/ 1132900 h 1461099"/>
                    <a:gd name="connsiteX2354" fmla="*/ 459331 w 1659478"/>
                    <a:gd name="connsiteY2354" fmla="*/ 1134126 h 1461099"/>
                    <a:gd name="connsiteX2355" fmla="*/ 460314 w 1659478"/>
                    <a:gd name="connsiteY2355" fmla="*/ 1134879 h 1461099"/>
                    <a:gd name="connsiteX2356" fmla="*/ 461517 w 1659478"/>
                    <a:gd name="connsiteY2356" fmla="*/ 1135195 h 1461099"/>
                    <a:gd name="connsiteX2357" fmla="*/ 465075 w 1659478"/>
                    <a:gd name="connsiteY2357" fmla="*/ 1136142 h 1461099"/>
                    <a:gd name="connsiteX2358" fmla="*/ 466107 w 1659478"/>
                    <a:gd name="connsiteY2358" fmla="*/ 1136421 h 1461099"/>
                    <a:gd name="connsiteX2359" fmla="*/ 467163 w 1659478"/>
                    <a:gd name="connsiteY2359" fmla="*/ 1136324 h 1461099"/>
                    <a:gd name="connsiteX2360" fmla="*/ 469810 w 1659478"/>
                    <a:gd name="connsiteY2360" fmla="*/ 1136093 h 1461099"/>
                    <a:gd name="connsiteX2361" fmla="*/ 470600 w 1659478"/>
                    <a:gd name="connsiteY2361" fmla="*/ 1136020 h 1461099"/>
                    <a:gd name="connsiteX2362" fmla="*/ 471340 w 1659478"/>
                    <a:gd name="connsiteY2362" fmla="*/ 1135753 h 1461099"/>
                    <a:gd name="connsiteX2363" fmla="*/ 473805 w 1659478"/>
                    <a:gd name="connsiteY2363" fmla="*/ 1134867 h 1461099"/>
                    <a:gd name="connsiteX2364" fmla="*/ 474765 w 1659478"/>
                    <a:gd name="connsiteY2364" fmla="*/ 1134527 h 1461099"/>
                    <a:gd name="connsiteX2365" fmla="*/ 475554 w 1659478"/>
                    <a:gd name="connsiteY2365" fmla="*/ 1133883 h 1461099"/>
                    <a:gd name="connsiteX2366" fmla="*/ 477339 w 1659478"/>
                    <a:gd name="connsiteY2366" fmla="*/ 1132438 h 1461099"/>
                    <a:gd name="connsiteX2367" fmla="*/ 477764 w 1659478"/>
                    <a:gd name="connsiteY2367" fmla="*/ 1132098 h 1461099"/>
                    <a:gd name="connsiteX2368" fmla="*/ 478116 w 1659478"/>
                    <a:gd name="connsiteY2368" fmla="*/ 1131685 h 1461099"/>
                    <a:gd name="connsiteX2369" fmla="*/ 480800 w 1659478"/>
                    <a:gd name="connsiteY2369" fmla="*/ 1128589 h 1461099"/>
                    <a:gd name="connsiteX2370" fmla="*/ 480873 w 1659478"/>
                    <a:gd name="connsiteY2370" fmla="*/ 1128528 h 1461099"/>
                    <a:gd name="connsiteX2371" fmla="*/ 481200 w 1659478"/>
                    <a:gd name="connsiteY2371" fmla="*/ 1128358 h 1461099"/>
                    <a:gd name="connsiteX2372" fmla="*/ 489008 w 1659478"/>
                    <a:gd name="connsiteY2372" fmla="*/ 1126428 h 1461099"/>
                    <a:gd name="connsiteX2373" fmla="*/ 489300 w 1659478"/>
                    <a:gd name="connsiteY2373" fmla="*/ 1126889 h 1461099"/>
                    <a:gd name="connsiteX2374" fmla="*/ 491291 w 1659478"/>
                    <a:gd name="connsiteY2374" fmla="*/ 1130775 h 1461099"/>
                    <a:gd name="connsiteX2375" fmla="*/ 491995 w 1659478"/>
                    <a:gd name="connsiteY2375" fmla="*/ 1132135 h 1461099"/>
                    <a:gd name="connsiteX2376" fmla="*/ 493258 w 1659478"/>
                    <a:gd name="connsiteY2376" fmla="*/ 1132997 h 1461099"/>
                    <a:gd name="connsiteX2377" fmla="*/ 496755 w 1659478"/>
                    <a:gd name="connsiteY2377" fmla="*/ 1135377 h 1461099"/>
                    <a:gd name="connsiteX2378" fmla="*/ 497472 w 1659478"/>
                    <a:gd name="connsiteY2378" fmla="*/ 1135863 h 1461099"/>
                    <a:gd name="connsiteX2379" fmla="*/ 498285 w 1659478"/>
                    <a:gd name="connsiteY2379" fmla="*/ 1136130 h 1461099"/>
                    <a:gd name="connsiteX2380" fmla="*/ 512068 w 1659478"/>
                    <a:gd name="connsiteY2380" fmla="*/ 1140635 h 1461099"/>
                    <a:gd name="connsiteX2381" fmla="*/ 512626 w 1659478"/>
                    <a:gd name="connsiteY2381" fmla="*/ 1140817 h 1461099"/>
                    <a:gd name="connsiteX2382" fmla="*/ 513209 w 1659478"/>
                    <a:gd name="connsiteY2382" fmla="*/ 1140890 h 1461099"/>
                    <a:gd name="connsiteX2383" fmla="*/ 519463 w 1659478"/>
                    <a:gd name="connsiteY2383" fmla="*/ 1141667 h 1461099"/>
                    <a:gd name="connsiteX2384" fmla="*/ 520119 w 1659478"/>
                    <a:gd name="connsiteY2384" fmla="*/ 1141752 h 1461099"/>
                    <a:gd name="connsiteX2385" fmla="*/ 520786 w 1659478"/>
                    <a:gd name="connsiteY2385" fmla="*/ 1141691 h 1461099"/>
                    <a:gd name="connsiteX2386" fmla="*/ 521673 w 1659478"/>
                    <a:gd name="connsiteY2386" fmla="*/ 1141606 h 1461099"/>
                    <a:gd name="connsiteX2387" fmla="*/ 521976 w 1659478"/>
                    <a:gd name="connsiteY2387" fmla="*/ 1143015 h 1461099"/>
                    <a:gd name="connsiteX2388" fmla="*/ 522268 w 1659478"/>
                    <a:gd name="connsiteY2388" fmla="*/ 1144363 h 1461099"/>
                    <a:gd name="connsiteX2389" fmla="*/ 522535 w 1659478"/>
                    <a:gd name="connsiteY2389" fmla="*/ 1145625 h 1461099"/>
                    <a:gd name="connsiteX2390" fmla="*/ 523300 w 1659478"/>
                    <a:gd name="connsiteY2390" fmla="*/ 1146670 h 1461099"/>
                    <a:gd name="connsiteX2391" fmla="*/ 524563 w 1659478"/>
                    <a:gd name="connsiteY2391" fmla="*/ 1148394 h 1461099"/>
                    <a:gd name="connsiteX2392" fmla="*/ 524988 w 1659478"/>
                    <a:gd name="connsiteY2392" fmla="*/ 1148965 h 1461099"/>
                    <a:gd name="connsiteX2393" fmla="*/ 525522 w 1659478"/>
                    <a:gd name="connsiteY2393" fmla="*/ 1149426 h 1461099"/>
                    <a:gd name="connsiteX2394" fmla="*/ 529201 w 1659478"/>
                    <a:gd name="connsiteY2394" fmla="*/ 1152559 h 1461099"/>
                    <a:gd name="connsiteX2395" fmla="*/ 529663 w 1659478"/>
                    <a:gd name="connsiteY2395" fmla="*/ 1152960 h 1461099"/>
                    <a:gd name="connsiteX2396" fmla="*/ 530185 w 1659478"/>
                    <a:gd name="connsiteY2396" fmla="*/ 1153251 h 1461099"/>
                    <a:gd name="connsiteX2397" fmla="*/ 532759 w 1659478"/>
                    <a:gd name="connsiteY2397" fmla="*/ 1154684 h 1461099"/>
                    <a:gd name="connsiteX2398" fmla="*/ 533439 w 1659478"/>
                    <a:gd name="connsiteY2398" fmla="*/ 1155061 h 1461099"/>
                    <a:gd name="connsiteX2399" fmla="*/ 534192 w 1659478"/>
                    <a:gd name="connsiteY2399" fmla="*/ 1155255 h 1461099"/>
                    <a:gd name="connsiteX2400" fmla="*/ 536888 w 1659478"/>
                    <a:gd name="connsiteY2400" fmla="*/ 1155947 h 1461099"/>
                    <a:gd name="connsiteX2401" fmla="*/ 537604 w 1659478"/>
                    <a:gd name="connsiteY2401" fmla="*/ 1156129 h 1461099"/>
                    <a:gd name="connsiteX2402" fmla="*/ 538345 w 1659478"/>
                    <a:gd name="connsiteY2402" fmla="*/ 1156129 h 1461099"/>
                    <a:gd name="connsiteX2403" fmla="*/ 540203 w 1659478"/>
                    <a:gd name="connsiteY2403" fmla="*/ 1156141 h 1461099"/>
                    <a:gd name="connsiteX2404" fmla="*/ 540810 w 1659478"/>
                    <a:gd name="connsiteY2404" fmla="*/ 1156214 h 1461099"/>
                    <a:gd name="connsiteX2405" fmla="*/ 540822 w 1659478"/>
                    <a:gd name="connsiteY2405" fmla="*/ 1156251 h 1461099"/>
                    <a:gd name="connsiteX2406" fmla="*/ 541563 w 1659478"/>
                    <a:gd name="connsiteY2406" fmla="*/ 1157768 h 1461099"/>
                    <a:gd name="connsiteX2407" fmla="*/ 541891 w 1659478"/>
                    <a:gd name="connsiteY2407" fmla="*/ 1158436 h 1461099"/>
                    <a:gd name="connsiteX2408" fmla="*/ 542377 w 1659478"/>
                    <a:gd name="connsiteY2408" fmla="*/ 1159007 h 1461099"/>
                    <a:gd name="connsiteX2409" fmla="*/ 543651 w 1659478"/>
                    <a:gd name="connsiteY2409" fmla="*/ 1160525 h 1461099"/>
                    <a:gd name="connsiteX2410" fmla="*/ 544769 w 1659478"/>
                    <a:gd name="connsiteY2410" fmla="*/ 1161848 h 1461099"/>
                    <a:gd name="connsiteX2411" fmla="*/ 546420 w 1659478"/>
                    <a:gd name="connsiteY2411" fmla="*/ 1162383 h 1461099"/>
                    <a:gd name="connsiteX2412" fmla="*/ 548023 w 1659478"/>
                    <a:gd name="connsiteY2412" fmla="*/ 1162905 h 1461099"/>
                    <a:gd name="connsiteX2413" fmla="*/ 548934 w 1659478"/>
                    <a:gd name="connsiteY2413" fmla="*/ 1163196 h 1461099"/>
                    <a:gd name="connsiteX2414" fmla="*/ 549905 w 1659478"/>
                    <a:gd name="connsiteY2414" fmla="*/ 1163196 h 1461099"/>
                    <a:gd name="connsiteX2415" fmla="*/ 551520 w 1659478"/>
                    <a:gd name="connsiteY2415" fmla="*/ 1163196 h 1461099"/>
                    <a:gd name="connsiteX2416" fmla="*/ 552115 w 1659478"/>
                    <a:gd name="connsiteY2416" fmla="*/ 1163196 h 1461099"/>
                    <a:gd name="connsiteX2417" fmla="*/ 552710 w 1659478"/>
                    <a:gd name="connsiteY2417" fmla="*/ 1163099 h 1461099"/>
                    <a:gd name="connsiteX2418" fmla="*/ 553876 w 1659478"/>
                    <a:gd name="connsiteY2418" fmla="*/ 1162868 h 1461099"/>
                    <a:gd name="connsiteX2419" fmla="*/ 554070 w 1659478"/>
                    <a:gd name="connsiteY2419" fmla="*/ 1164484 h 1461099"/>
                    <a:gd name="connsiteX2420" fmla="*/ 554167 w 1659478"/>
                    <a:gd name="connsiteY2420" fmla="*/ 1165321 h 1461099"/>
                    <a:gd name="connsiteX2421" fmla="*/ 554495 w 1659478"/>
                    <a:gd name="connsiteY2421" fmla="*/ 1166098 h 1461099"/>
                    <a:gd name="connsiteX2422" fmla="*/ 555114 w 1659478"/>
                    <a:gd name="connsiteY2422" fmla="*/ 1167592 h 1461099"/>
                    <a:gd name="connsiteX2423" fmla="*/ 555248 w 1659478"/>
                    <a:gd name="connsiteY2423" fmla="*/ 1167920 h 1461099"/>
                    <a:gd name="connsiteX2424" fmla="*/ 555430 w 1659478"/>
                    <a:gd name="connsiteY2424" fmla="*/ 1168236 h 1461099"/>
                    <a:gd name="connsiteX2425" fmla="*/ 557179 w 1659478"/>
                    <a:gd name="connsiteY2425" fmla="*/ 1171320 h 1461099"/>
                    <a:gd name="connsiteX2426" fmla="*/ 558660 w 1659478"/>
                    <a:gd name="connsiteY2426" fmla="*/ 1174696 h 1461099"/>
                    <a:gd name="connsiteX2427" fmla="*/ 558915 w 1659478"/>
                    <a:gd name="connsiteY2427" fmla="*/ 1175291 h 1461099"/>
                    <a:gd name="connsiteX2428" fmla="*/ 559304 w 1659478"/>
                    <a:gd name="connsiteY2428" fmla="*/ 1175825 h 1461099"/>
                    <a:gd name="connsiteX2429" fmla="*/ 560919 w 1659478"/>
                    <a:gd name="connsiteY2429" fmla="*/ 1178059 h 1461099"/>
                    <a:gd name="connsiteX2430" fmla="*/ 561647 w 1659478"/>
                    <a:gd name="connsiteY2430" fmla="*/ 1179067 h 1461099"/>
                    <a:gd name="connsiteX2431" fmla="*/ 562704 w 1659478"/>
                    <a:gd name="connsiteY2431" fmla="*/ 1179711 h 1461099"/>
                    <a:gd name="connsiteX2432" fmla="*/ 564137 w 1659478"/>
                    <a:gd name="connsiteY2432" fmla="*/ 1180561 h 1461099"/>
                    <a:gd name="connsiteX2433" fmla="*/ 565266 w 1659478"/>
                    <a:gd name="connsiteY2433" fmla="*/ 1181241 h 1461099"/>
                    <a:gd name="connsiteX2434" fmla="*/ 566577 w 1659478"/>
                    <a:gd name="connsiteY2434" fmla="*/ 1181386 h 1461099"/>
                    <a:gd name="connsiteX2435" fmla="*/ 568071 w 1659478"/>
                    <a:gd name="connsiteY2435" fmla="*/ 1181556 h 1461099"/>
                    <a:gd name="connsiteX2436" fmla="*/ 569237 w 1659478"/>
                    <a:gd name="connsiteY2436" fmla="*/ 1181690 h 1461099"/>
                    <a:gd name="connsiteX2437" fmla="*/ 570366 w 1659478"/>
                    <a:gd name="connsiteY2437" fmla="*/ 1181386 h 1461099"/>
                    <a:gd name="connsiteX2438" fmla="*/ 571629 w 1659478"/>
                    <a:gd name="connsiteY2438" fmla="*/ 1181046 h 1461099"/>
                    <a:gd name="connsiteX2439" fmla="*/ 572333 w 1659478"/>
                    <a:gd name="connsiteY2439" fmla="*/ 1180852 h 1461099"/>
                    <a:gd name="connsiteX2440" fmla="*/ 572965 w 1659478"/>
                    <a:gd name="connsiteY2440" fmla="*/ 1180500 h 1461099"/>
                    <a:gd name="connsiteX2441" fmla="*/ 573887 w 1659478"/>
                    <a:gd name="connsiteY2441" fmla="*/ 1179990 h 1461099"/>
                    <a:gd name="connsiteX2442" fmla="*/ 574616 w 1659478"/>
                    <a:gd name="connsiteY2442" fmla="*/ 1179589 h 1461099"/>
                    <a:gd name="connsiteX2443" fmla="*/ 575199 w 1659478"/>
                    <a:gd name="connsiteY2443" fmla="*/ 1179019 h 1461099"/>
                    <a:gd name="connsiteX2444" fmla="*/ 575770 w 1659478"/>
                    <a:gd name="connsiteY2444" fmla="*/ 1178460 h 1461099"/>
                    <a:gd name="connsiteX2445" fmla="*/ 576012 w 1659478"/>
                    <a:gd name="connsiteY2445" fmla="*/ 1178217 h 1461099"/>
                    <a:gd name="connsiteX2446" fmla="*/ 576231 w 1659478"/>
                    <a:gd name="connsiteY2446" fmla="*/ 1177962 h 1461099"/>
                    <a:gd name="connsiteX2447" fmla="*/ 576814 w 1659478"/>
                    <a:gd name="connsiteY2447" fmla="*/ 1177246 h 1461099"/>
                    <a:gd name="connsiteX2448" fmla="*/ 577130 w 1659478"/>
                    <a:gd name="connsiteY2448" fmla="*/ 1176857 h 1461099"/>
                    <a:gd name="connsiteX2449" fmla="*/ 577385 w 1659478"/>
                    <a:gd name="connsiteY2449" fmla="*/ 1176408 h 1461099"/>
                    <a:gd name="connsiteX2450" fmla="*/ 577773 w 1659478"/>
                    <a:gd name="connsiteY2450" fmla="*/ 1175728 h 1461099"/>
                    <a:gd name="connsiteX2451" fmla="*/ 578125 w 1659478"/>
                    <a:gd name="connsiteY2451" fmla="*/ 1175109 h 1461099"/>
                    <a:gd name="connsiteX2452" fmla="*/ 578332 w 1659478"/>
                    <a:gd name="connsiteY2452" fmla="*/ 1174429 h 1461099"/>
                    <a:gd name="connsiteX2453" fmla="*/ 580979 w 1659478"/>
                    <a:gd name="connsiteY2453" fmla="*/ 1165382 h 1461099"/>
                    <a:gd name="connsiteX2454" fmla="*/ 582509 w 1659478"/>
                    <a:gd name="connsiteY2454" fmla="*/ 1165504 h 1461099"/>
                    <a:gd name="connsiteX2455" fmla="*/ 583213 w 1659478"/>
                    <a:gd name="connsiteY2455" fmla="*/ 1165734 h 1461099"/>
                    <a:gd name="connsiteX2456" fmla="*/ 590766 w 1659478"/>
                    <a:gd name="connsiteY2456" fmla="*/ 1170579 h 1461099"/>
                    <a:gd name="connsiteX2457" fmla="*/ 591325 w 1659478"/>
                    <a:gd name="connsiteY2457" fmla="*/ 1170931 h 1461099"/>
                    <a:gd name="connsiteX2458" fmla="*/ 591944 w 1659478"/>
                    <a:gd name="connsiteY2458" fmla="*/ 1171162 h 1461099"/>
                    <a:gd name="connsiteX2459" fmla="*/ 594931 w 1659478"/>
                    <a:gd name="connsiteY2459" fmla="*/ 1172267 h 1461099"/>
                    <a:gd name="connsiteX2460" fmla="*/ 595344 w 1659478"/>
                    <a:gd name="connsiteY2460" fmla="*/ 1172413 h 1461099"/>
                    <a:gd name="connsiteX2461" fmla="*/ 595769 w 1659478"/>
                    <a:gd name="connsiteY2461" fmla="*/ 1172510 h 1461099"/>
                    <a:gd name="connsiteX2462" fmla="*/ 598477 w 1659478"/>
                    <a:gd name="connsiteY2462" fmla="*/ 1173081 h 1461099"/>
                    <a:gd name="connsiteX2463" fmla="*/ 601998 w 1659478"/>
                    <a:gd name="connsiteY2463" fmla="*/ 1173506 h 1461099"/>
                    <a:gd name="connsiteX2464" fmla="*/ 602387 w 1659478"/>
                    <a:gd name="connsiteY2464" fmla="*/ 1173627 h 1461099"/>
                    <a:gd name="connsiteX2465" fmla="*/ 602605 w 1659478"/>
                    <a:gd name="connsiteY2465" fmla="*/ 1173773 h 1461099"/>
                    <a:gd name="connsiteX2466" fmla="*/ 602897 w 1659478"/>
                    <a:gd name="connsiteY2466" fmla="*/ 1174149 h 1461099"/>
                    <a:gd name="connsiteX2467" fmla="*/ 603492 w 1659478"/>
                    <a:gd name="connsiteY2467" fmla="*/ 1175206 h 1461099"/>
                    <a:gd name="connsiteX2468" fmla="*/ 605471 w 1659478"/>
                    <a:gd name="connsiteY2468" fmla="*/ 1180318 h 1461099"/>
                    <a:gd name="connsiteX2469" fmla="*/ 605629 w 1659478"/>
                    <a:gd name="connsiteY2469" fmla="*/ 1180731 h 1461099"/>
                    <a:gd name="connsiteX2470" fmla="*/ 605860 w 1659478"/>
                    <a:gd name="connsiteY2470" fmla="*/ 1181119 h 1461099"/>
                    <a:gd name="connsiteX2471" fmla="*/ 606880 w 1659478"/>
                    <a:gd name="connsiteY2471" fmla="*/ 1182904 h 1461099"/>
                    <a:gd name="connsiteX2472" fmla="*/ 607268 w 1659478"/>
                    <a:gd name="connsiteY2472" fmla="*/ 1183609 h 1461099"/>
                    <a:gd name="connsiteX2473" fmla="*/ 607827 w 1659478"/>
                    <a:gd name="connsiteY2473" fmla="*/ 1184167 h 1461099"/>
                    <a:gd name="connsiteX2474" fmla="*/ 609321 w 1659478"/>
                    <a:gd name="connsiteY2474" fmla="*/ 1185685 h 1461099"/>
                    <a:gd name="connsiteX2475" fmla="*/ 609624 w 1659478"/>
                    <a:gd name="connsiteY2475" fmla="*/ 1185989 h 1461099"/>
                    <a:gd name="connsiteX2476" fmla="*/ 609964 w 1659478"/>
                    <a:gd name="connsiteY2476" fmla="*/ 1186256 h 1461099"/>
                    <a:gd name="connsiteX2477" fmla="*/ 612502 w 1659478"/>
                    <a:gd name="connsiteY2477" fmla="*/ 1188186 h 1461099"/>
                    <a:gd name="connsiteX2478" fmla="*/ 613182 w 1659478"/>
                    <a:gd name="connsiteY2478" fmla="*/ 1188696 h 1461099"/>
                    <a:gd name="connsiteX2479" fmla="*/ 613983 w 1659478"/>
                    <a:gd name="connsiteY2479" fmla="*/ 1189000 h 1461099"/>
                    <a:gd name="connsiteX2480" fmla="*/ 617019 w 1659478"/>
                    <a:gd name="connsiteY2480" fmla="*/ 1190178 h 1461099"/>
                    <a:gd name="connsiteX2481" fmla="*/ 620055 w 1659478"/>
                    <a:gd name="connsiteY2481" fmla="*/ 1191089 h 1461099"/>
                    <a:gd name="connsiteX2482" fmla="*/ 620674 w 1659478"/>
                    <a:gd name="connsiteY2482" fmla="*/ 1191271 h 1461099"/>
                    <a:gd name="connsiteX2483" fmla="*/ 621318 w 1659478"/>
                    <a:gd name="connsiteY2483" fmla="*/ 1191307 h 1461099"/>
                    <a:gd name="connsiteX2484" fmla="*/ 630510 w 1659478"/>
                    <a:gd name="connsiteY2484" fmla="*/ 1191951 h 1461099"/>
                    <a:gd name="connsiteX2485" fmla="*/ 637686 w 1659478"/>
                    <a:gd name="connsiteY2485" fmla="*/ 1192060 h 1461099"/>
                    <a:gd name="connsiteX2486" fmla="*/ 641548 w 1659478"/>
                    <a:gd name="connsiteY2486" fmla="*/ 1192849 h 1461099"/>
                    <a:gd name="connsiteX2487" fmla="*/ 648032 w 1659478"/>
                    <a:gd name="connsiteY2487" fmla="*/ 1195011 h 1461099"/>
                    <a:gd name="connsiteX2488" fmla="*/ 648858 w 1659478"/>
                    <a:gd name="connsiteY2488" fmla="*/ 1195278 h 1461099"/>
                    <a:gd name="connsiteX2489" fmla="*/ 649732 w 1659478"/>
                    <a:gd name="connsiteY2489" fmla="*/ 1195302 h 1461099"/>
                    <a:gd name="connsiteX2490" fmla="*/ 652319 w 1659478"/>
                    <a:gd name="connsiteY2490" fmla="*/ 1195387 h 1461099"/>
                    <a:gd name="connsiteX2491" fmla="*/ 653217 w 1659478"/>
                    <a:gd name="connsiteY2491" fmla="*/ 1195424 h 1461099"/>
                    <a:gd name="connsiteX2492" fmla="*/ 654092 w 1659478"/>
                    <a:gd name="connsiteY2492" fmla="*/ 1195181 h 1461099"/>
                    <a:gd name="connsiteX2493" fmla="*/ 656557 w 1659478"/>
                    <a:gd name="connsiteY2493" fmla="*/ 1194525 h 1461099"/>
                    <a:gd name="connsiteX2494" fmla="*/ 657528 w 1659478"/>
                    <a:gd name="connsiteY2494" fmla="*/ 1194270 h 1461099"/>
                    <a:gd name="connsiteX2495" fmla="*/ 658366 w 1659478"/>
                    <a:gd name="connsiteY2495" fmla="*/ 1193712 h 1461099"/>
                    <a:gd name="connsiteX2496" fmla="*/ 663138 w 1659478"/>
                    <a:gd name="connsiteY2496" fmla="*/ 1190518 h 1461099"/>
                    <a:gd name="connsiteX2497" fmla="*/ 663770 w 1659478"/>
                    <a:gd name="connsiteY2497" fmla="*/ 1190093 h 1461099"/>
                    <a:gd name="connsiteX2498" fmla="*/ 664280 w 1659478"/>
                    <a:gd name="connsiteY2498" fmla="*/ 1189534 h 1461099"/>
                    <a:gd name="connsiteX2499" fmla="*/ 665251 w 1659478"/>
                    <a:gd name="connsiteY2499" fmla="*/ 1188454 h 1461099"/>
                    <a:gd name="connsiteX2500" fmla="*/ 665567 w 1659478"/>
                    <a:gd name="connsiteY2500" fmla="*/ 1188101 h 1461099"/>
                    <a:gd name="connsiteX2501" fmla="*/ 665822 w 1659478"/>
                    <a:gd name="connsiteY2501" fmla="*/ 1187701 h 1461099"/>
                    <a:gd name="connsiteX2502" fmla="*/ 666502 w 1659478"/>
                    <a:gd name="connsiteY2502" fmla="*/ 1186656 h 1461099"/>
                    <a:gd name="connsiteX2503" fmla="*/ 666902 w 1659478"/>
                    <a:gd name="connsiteY2503" fmla="*/ 1186049 h 1461099"/>
                    <a:gd name="connsiteX2504" fmla="*/ 667145 w 1659478"/>
                    <a:gd name="connsiteY2504" fmla="*/ 1185369 h 1461099"/>
                    <a:gd name="connsiteX2505" fmla="*/ 667558 w 1659478"/>
                    <a:gd name="connsiteY2505" fmla="*/ 1184192 h 1461099"/>
                    <a:gd name="connsiteX2506" fmla="*/ 667789 w 1659478"/>
                    <a:gd name="connsiteY2506" fmla="*/ 1183536 h 1461099"/>
                    <a:gd name="connsiteX2507" fmla="*/ 667862 w 1659478"/>
                    <a:gd name="connsiteY2507" fmla="*/ 1182844 h 1461099"/>
                    <a:gd name="connsiteX2508" fmla="*/ 667971 w 1659478"/>
                    <a:gd name="connsiteY2508" fmla="*/ 1181836 h 1461099"/>
                    <a:gd name="connsiteX2509" fmla="*/ 668007 w 1659478"/>
                    <a:gd name="connsiteY2509" fmla="*/ 1181496 h 1461099"/>
                    <a:gd name="connsiteX2510" fmla="*/ 668007 w 1659478"/>
                    <a:gd name="connsiteY2510" fmla="*/ 1181156 h 1461099"/>
                    <a:gd name="connsiteX2511" fmla="*/ 668007 w 1659478"/>
                    <a:gd name="connsiteY2511" fmla="*/ 1179954 h 1461099"/>
                    <a:gd name="connsiteX2512" fmla="*/ 668578 w 1659478"/>
                    <a:gd name="connsiteY2512" fmla="*/ 1179116 h 1461099"/>
                    <a:gd name="connsiteX2513" fmla="*/ 669112 w 1659478"/>
                    <a:gd name="connsiteY2513" fmla="*/ 1178290 h 1461099"/>
                    <a:gd name="connsiteX2514" fmla="*/ 669367 w 1659478"/>
                    <a:gd name="connsiteY2514" fmla="*/ 1177319 h 1461099"/>
                    <a:gd name="connsiteX2515" fmla="*/ 669610 w 1659478"/>
                    <a:gd name="connsiteY2515" fmla="*/ 1176420 h 1461099"/>
                    <a:gd name="connsiteX2516" fmla="*/ 669707 w 1659478"/>
                    <a:gd name="connsiteY2516" fmla="*/ 1176019 h 1461099"/>
                    <a:gd name="connsiteX2517" fmla="*/ 669756 w 1659478"/>
                    <a:gd name="connsiteY2517" fmla="*/ 1175606 h 1461099"/>
                    <a:gd name="connsiteX2518" fmla="*/ 669926 w 1659478"/>
                    <a:gd name="connsiteY2518" fmla="*/ 1174198 h 1461099"/>
                    <a:gd name="connsiteX2519" fmla="*/ 669999 w 1659478"/>
                    <a:gd name="connsiteY2519" fmla="*/ 1171211 h 1461099"/>
                    <a:gd name="connsiteX2520" fmla="*/ 670035 w 1659478"/>
                    <a:gd name="connsiteY2520" fmla="*/ 1170895 h 1461099"/>
                    <a:gd name="connsiteX2521" fmla="*/ 670060 w 1659478"/>
                    <a:gd name="connsiteY2521" fmla="*/ 1170798 h 1461099"/>
                    <a:gd name="connsiteX2522" fmla="*/ 670545 w 1659478"/>
                    <a:gd name="connsiteY2522" fmla="*/ 1169911 h 1461099"/>
                    <a:gd name="connsiteX2523" fmla="*/ 671007 w 1659478"/>
                    <a:gd name="connsiteY2523" fmla="*/ 1169219 h 1461099"/>
                    <a:gd name="connsiteX2524" fmla="*/ 671590 w 1659478"/>
                    <a:gd name="connsiteY2524" fmla="*/ 1168612 h 1461099"/>
                    <a:gd name="connsiteX2525" fmla="*/ 672354 w 1659478"/>
                    <a:gd name="connsiteY2525" fmla="*/ 1168551 h 1461099"/>
                    <a:gd name="connsiteX2526" fmla="*/ 672694 w 1659478"/>
                    <a:gd name="connsiteY2526" fmla="*/ 1168527 h 1461099"/>
                    <a:gd name="connsiteX2527" fmla="*/ 673034 w 1659478"/>
                    <a:gd name="connsiteY2527" fmla="*/ 1168466 h 1461099"/>
                    <a:gd name="connsiteX2528" fmla="*/ 675852 w 1659478"/>
                    <a:gd name="connsiteY2528" fmla="*/ 1167932 h 1461099"/>
                    <a:gd name="connsiteX2529" fmla="*/ 676240 w 1659478"/>
                    <a:gd name="connsiteY2529" fmla="*/ 1167859 h 1461099"/>
                    <a:gd name="connsiteX2530" fmla="*/ 676617 w 1659478"/>
                    <a:gd name="connsiteY2530" fmla="*/ 1167738 h 1461099"/>
                    <a:gd name="connsiteX2531" fmla="*/ 682020 w 1659478"/>
                    <a:gd name="connsiteY2531" fmla="*/ 1165965 h 1461099"/>
                    <a:gd name="connsiteX2532" fmla="*/ 682032 w 1659478"/>
                    <a:gd name="connsiteY2532" fmla="*/ 1165965 h 1461099"/>
                    <a:gd name="connsiteX2533" fmla="*/ 682032 w 1659478"/>
                    <a:gd name="connsiteY2533" fmla="*/ 1168418 h 1461099"/>
                    <a:gd name="connsiteX2534" fmla="*/ 681692 w 1659478"/>
                    <a:gd name="connsiteY2534" fmla="*/ 1171502 h 1461099"/>
                    <a:gd name="connsiteX2535" fmla="*/ 680357 w 1659478"/>
                    <a:gd name="connsiteY2535" fmla="*/ 1175109 h 1461099"/>
                    <a:gd name="connsiteX2536" fmla="*/ 680041 w 1659478"/>
                    <a:gd name="connsiteY2536" fmla="*/ 1175959 h 1461099"/>
                    <a:gd name="connsiteX2537" fmla="*/ 679992 w 1659478"/>
                    <a:gd name="connsiteY2537" fmla="*/ 1176857 h 1461099"/>
                    <a:gd name="connsiteX2538" fmla="*/ 679932 w 1659478"/>
                    <a:gd name="connsiteY2538" fmla="*/ 1177829 h 1461099"/>
                    <a:gd name="connsiteX2539" fmla="*/ 679859 w 1659478"/>
                    <a:gd name="connsiteY2539" fmla="*/ 1179006 h 1461099"/>
                    <a:gd name="connsiteX2540" fmla="*/ 680235 w 1659478"/>
                    <a:gd name="connsiteY2540" fmla="*/ 1180124 h 1461099"/>
                    <a:gd name="connsiteX2541" fmla="*/ 680575 w 1659478"/>
                    <a:gd name="connsiteY2541" fmla="*/ 1181131 h 1461099"/>
                    <a:gd name="connsiteX2542" fmla="*/ 680927 w 1659478"/>
                    <a:gd name="connsiteY2542" fmla="*/ 1182188 h 1461099"/>
                    <a:gd name="connsiteX2543" fmla="*/ 681644 w 1659478"/>
                    <a:gd name="connsiteY2543" fmla="*/ 1183062 h 1461099"/>
                    <a:gd name="connsiteX2544" fmla="*/ 682737 w 1659478"/>
                    <a:gd name="connsiteY2544" fmla="*/ 1184386 h 1461099"/>
                    <a:gd name="connsiteX2545" fmla="*/ 683198 w 1659478"/>
                    <a:gd name="connsiteY2545" fmla="*/ 1184932 h 1461099"/>
                    <a:gd name="connsiteX2546" fmla="*/ 683781 w 1659478"/>
                    <a:gd name="connsiteY2546" fmla="*/ 1185369 h 1461099"/>
                    <a:gd name="connsiteX2547" fmla="*/ 685214 w 1659478"/>
                    <a:gd name="connsiteY2547" fmla="*/ 1186450 h 1461099"/>
                    <a:gd name="connsiteX2548" fmla="*/ 685700 w 1659478"/>
                    <a:gd name="connsiteY2548" fmla="*/ 1186814 h 1461099"/>
                    <a:gd name="connsiteX2549" fmla="*/ 686246 w 1659478"/>
                    <a:gd name="connsiteY2549" fmla="*/ 1187069 h 1461099"/>
                    <a:gd name="connsiteX2550" fmla="*/ 688140 w 1659478"/>
                    <a:gd name="connsiteY2550" fmla="*/ 1187968 h 1461099"/>
                    <a:gd name="connsiteX2551" fmla="*/ 688480 w 1659478"/>
                    <a:gd name="connsiteY2551" fmla="*/ 1188138 h 1461099"/>
                    <a:gd name="connsiteX2552" fmla="*/ 688832 w 1659478"/>
                    <a:gd name="connsiteY2552" fmla="*/ 1188259 h 1461099"/>
                    <a:gd name="connsiteX2553" fmla="*/ 690545 w 1659478"/>
                    <a:gd name="connsiteY2553" fmla="*/ 1188830 h 1461099"/>
                    <a:gd name="connsiteX2554" fmla="*/ 690375 w 1659478"/>
                    <a:gd name="connsiteY2554" fmla="*/ 1188866 h 1461099"/>
                    <a:gd name="connsiteX2555" fmla="*/ 689197 w 1659478"/>
                    <a:gd name="connsiteY2555" fmla="*/ 1191975 h 1461099"/>
                    <a:gd name="connsiteX2556" fmla="*/ 688796 w 1659478"/>
                    <a:gd name="connsiteY2556" fmla="*/ 1193044 h 1461099"/>
                    <a:gd name="connsiteX2557" fmla="*/ 688505 w 1659478"/>
                    <a:gd name="connsiteY2557" fmla="*/ 1193809 h 1461099"/>
                    <a:gd name="connsiteX2558" fmla="*/ 688432 w 1659478"/>
                    <a:gd name="connsiteY2558" fmla="*/ 1194622 h 1461099"/>
                    <a:gd name="connsiteX2559" fmla="*/ 688371 w 1659478"/>
                    <a:gd name="connsiteY2559" fmla="*/ 1195351 h 1461099"/>
                    <a:gd name="connsiteX2560" fmla="*/ 688152 w 1659478"/>
                    <a:gd name="connsiteY2560" fmla="*/ 1195569 h 1461099"/>
                    <a:gd name="connsiteX2561" fmla="*/ 686926 w 1659478"/>
                    <a:gd name="connsiteY2561" fmla="*/ 1196444 h 1461099"/>
                    <a:gd name="connsiteX2562" fmla="*/ 686282 w 1659478"/>
                    <a:gd name="connsiteY2562" fmla="*/ 1196917 h 1461099"/>
                    <a:gd name="connsiteX2563" fmla="*/ 685772 w 1659478"/>
                    <a:gd name="connsiteY2563" fmla="*/ 1197537 h 1461099"/>
                    <a:gd name="connsiteX2564" fmla="*/ 684607 w 1659478"/>
                    <a:gd name="connsiteY2564" fmla="*/ 1198957 h 1461099"/>
                    <a:gd name="connsiteX2565" fmla="*/ 684000 w 1659478"/>
                    <a:gd name="connsiteY2565" fmla="*/ 1199698 h 1461099"/>
                    <a:gd name="connsiteX2566" fmla="*/ 683660 w 1659478"/>
                    <a:gd name="connsiteY2566" fmla="*/ 1200584 h 1461099"/>
                    <a:gd name="connsiteX2567" fmla="*/ 678560 w 1659478"/>
                    <a:gd name="connsiteY2567" fmla="*/ 1213577 h 1461099"/>
                    <a:gd name="connsiteX2568" fmla="*/ 678365 w 1659478"/>
                    <a:gd name="connsiteY2568" fmla="*/ 1214051 h 1461099"/>
                    <a:gd name="connsiteX2569" fmla="*/ 678268 w 1659478"/>
                    <a:gd name="connsiteY2569" fmla="*/ 1214561 h 1461099"/>
                    <a:gd name="connsiteX2570" fmla="*/ 677746 w 1659478"/>
                    <a:gd name="connsiteY2570" fmla="*/ 1217062 h 1461099"/>
                    <a:gd name="connsiteX2571" fmla="*/ 677503 w 1659478"/>
                    <a:gd name="connsiteY2571" fmla="*/ 1218204 h 1461099"/>
                    <a:gd name="connsiteX2572" fmla="*/ 677710 w 1659478"/>
                    <a:gd name="connsiteY2572" fmla="*/ 1219357 h 1461099"/>
                    <a:gd name="connsiteX2573" fmla="*/ 678062 w 1659478"/>
                    <a:gd name="connsiteY2573" fmla="*/ 1221337 h 1461099"/>
                    <a:gd name="connsiteX2574" fmla="*/ 678244 w 1659478"/>
                    <a:gd name="connsiteY2574" fmla="*/ 1222369 h 1461099"/>
                    <a:gd name="connsiteX2575" fmla="*/ 678766 w 1659478"/>
                    <a:gd name="connsiteY2575" fmla="*/ 1223280 h 1461099"/>
                    <a:gd name="connsiteX2576" fmla="*/ 681304 w 1659478"/>
                    <a:gd name="connsiteY2576" fmla="*/ 1227724 h 1461099"/>
                    <a:gd name="connsiteX2577" fmla="*/ 682494 w 1659478"/>
                    <a:gd name="connsiteY2577" fmla="*/ 1231172 h 1461099"/>
                    <a:gd name="connsiteX2578" fmla="*/ 682640 w 1659478"/>
                    <a:gd name="connsiteY2578" fmla="*/ 1231622 h 1461099"/>
                    <a:gd name="connsiteX2579" fmla="*/ 682858 w 1659478"/>
                    <a:gd name="connsiteY2579" fmla="*/ 1232035 h 1461099"/>
                    <a:gd name="connsiteX2580" fmla="*/ 683890 w 1659478"/>
                    <a:gd name="connsiteY2580" fmla="*/ 1234002 h 1461099"/>
                    <a:gd name="connsiteX2581" fmla="*/ 684255 w 1659478"/>
                    <a:gd name="connsiteY2581" fmla="*/ 1234682 h 1461099"/>
                    <a:gd name="connsiteX2582" fmla="*/ 684777 w 1659478"/>
                    <a:gd name="connsiteY2582" fmla="*/ 1235252 h 1461099"/>
                    <a:gd name="connsiteX2583" fmla="*/ 686683 w 1659478"/>
                    <a:gd name="connsiteY2583" fmla="*/ 1237341 h 1461099"/>
                    <a:gd name="connsiteX2584" fmla="*/ 687472 w 1659478"/>
                    <a:gd name="connsiteY2584" fmla="*/ 1238203 h 1461099"/>
                    <a:gd name="connsiteX2585" fmla="*/ 688517 w 1659478"/>
                    <a:gd name="connsiteY2585" fmla="*/ 1238713 h 1461099"/>
                    <a:gd name="connsiteX2586" fmla="*/ 692245 w 1659478"/>
                    <a:gd name="connsiteY2586" fmla="*/ 1240523 h 1461099"/>
                    <a:gd name="connsiteX2587" fmla="*/ 692730 w 1659478"/>
                    <a:gd name="connsiteY2587" fmla="*/ 1240887 h 1461099"/>
                    <a:gd name="connsiteX2588" fmla="*/ 694831 w 1659478"/>
                    <a:gd name="connsiteY2588" fmla="*/ 1243473 h 1461099"/>
                    <a:gd name="connsiteX2589" fmla="*/ 695365 w 1659478"/>
                    <a:gd name="connsiteY2589" fmla="*/ 1244129 h 1461099"/>
                    <a:gd name="connsiteX2590" fmla="*/ 696058 w 1659478"/>
                    <a:gd name="connsiteY2590" fmla="*/ 1244615 h 1461099"/>
                    <a:gd name="connsiteX2591" fmla="*/ 697430 w 1659478"/>
                    <a:gd name="connsiteY2591" fmla="*/ 1245586 h 1461099"/>
                    <a:gd name="connsiteX2592" fmla="*/ 697952 w 1659478"/>
                    <a:gd name="connsiteY2592" fmla="*/ 1245950 h 1461099"/>
                    <a:gd name="connsiteX2593" fmla="*/ 698547 w 1659478"/>
                    <a:gd name="connsiteY2593" fmla="*/ 1246205 h 1461099"/>
                    <a:gd name="connsiteX2594" fmla="*/ 701048 w 1659478"/>
                    <a:gd name="connsiteY2594" fmla="*/ 1247262 h 1461099"/>
                    <a:gd name="connsiteX2595" fmla="*/ 701449 w 1659478"/>
                    <a:gd name="connsiteY2595" fmla="*/ 1249484 h 1461099"/>
                    <a:gd name="connsiteX2596" fmla="*/ 701570 w 1659478"/>
                    <a:gd name="connsiteY2596" fmla="*/ 1250164 h 1461099"/>
                    <a:gd name="connsiteX2597" fmla="*/ 701838 w 1659478"/>
                    <a:gd name="connsiteY2597" fmla="*/ 1250796 h 1461099"/>
                    <a:gd name="connsiteX2598" fmla="*/ 702578 w 1659478"/>
                    <a:gd name="connsiteY2598" fmla="*/ 1252520 h 1461099"/>
                    <a:gd name="connsiteX2599" fmla="*/ 702930 w 1659478"/>
                    <a:gd name="connsiteY2599" fmla="*/ 1253333 h 1461099"/>
                    <a:gd name="connsiteX2600" fmla="*/ 703501 w 1659478"/>
                    <a:gd name="connsiteY2600" fmla="*/ 1254013 h 1461099"/>
                    <a:gd name="connsiteX2601" fmla="*/ 707581 w 1659478"/>
                    <a:gd name="connsiteY2601" fmla="*/ 1258895 h 1461099"/>
                    <a:gd name="connsiteX2602" fmla="*/ 707824 w 1659478"/>
                    <a:gd name="connsiteY2602" fmla="*/ 1259186 h 1461099"/>
                    <a:gd name="connsiteX2603" fmla="*/ 708103 w 1659478"/>
                    <a:gd name="connsiteY2603" fmla="*/ 1259441 h 1461099"/>
                    <a:gd name="connsiteX2604" fmla="*/ 711090 w 1659478"/>
                    <a:gd name="connsiteY2604" fmla="*/ 1262222 h 1461099"/>
                    <a:gd name="connsiteX2605" fmla="*/ 712669 w 1659478"/>
                    <a:gd name="connsiteY2605" fmla="*/ 1263691 h 1461099"/>
                    <a:gd name="connsiteX2606" fmla="*/ 714830 w 1659478"/>
                    <a:gd name="connsiteY2606" fmla="*/ 1263837 h 1461099"/>
                    <a:gd name="connsiteX2607" fmla="*/ 716713 w 1659478"/>
                    <a:gd name="connsiteY2607" fmla="*/ 1263958 h 1461099"/>
                    <a:gd name="connsiteX2608" fmla="*/ 718728 w 1659478"/>
                    <a:gd name="connsiteY2608" fmla="*/ 1264092 h 1461099"/>
                    <a:gd name="connsiteX2609" fmla="*/ 720416 w 1659478"/>
                    <a:gd name="connsiteY2609" fmla="*/ 1262999 h 1461099"/>
                    <a:gd name="connsiteX2610" fmla="*/ 727726 w 1659478"/>
                    <a:gd name="connsiteY2610" fmla="*/ 1258263 h 1461099"/>
                    <a:gd name="connsiteX2611" fmla="*/ 729839 w 1659478"/>
                    <a:gd name="connsiteY2611" fmla="*/ 1256673 h 1461099"/>
                    <a:gd name="connsiteX2612" fmla="*/ 730434 w 1659478"/>
                    <a:gd name="connsiteY2612" fmla="*/ 1256211 h 1461099"/>
                    <a:gd name="connsiteX2613" fmla="*/ 730908 w 1659478"/>
                    <a:gd name="connsiteY2613" fmla="*/ 1255616 h 1461099"/>
                    <a:gd name="connsiteX2614" fmla="*/ 732571 w 1659478"/>
                    <a:gd name="connsiteY2614" fmla="*/ 1253528 h 1461099"/>
                    <a:gd name="connsiteX2615" fmla="*/ 732851 w 1659478"/>
                    <a:gd name="connsiteY2615" fmla="*/ 1253163 h 1461099"/>
                    <a:gd name="connsiteX2616" fmla="*/ 733081 w 1659478"/>
                    <a:gd name="connsiteY2616" fmla="*/ 1252763 h 1461099"/>
                    <a:gd name="connsiteX2617" fmla="*/ 734405 w 1659478"/>
                    <a:gd name="connsiteY2617" fmla="*/ 1250456 h 1461099"/>
                    <a:gd name="connsiteX2618" fmla="*/ 734599 w 1659478"/>
                    <a:gd name="connsiteY2618" fmla="*/ 1250128 h 1461099"/>
                    <a:gd name="connsiteX2619" fmla="*/ 734745 w 1659478"/>
                    <a:gd name="connsiteY2619" fmla="*/ 1249776 h 1461099"/>
                    <a:gd name="connsiteX2620" fmla="*/ 734806 w 1659478"/>
                    <a:gd name="connsiteY2620" fmla="*/ 1249630 h 1461099"/>
                    <a:gd name="connsiteX2621" fmla="*/ 736761 w 1659478"/>
                    <a:gd name="connsiteY2621" fmla="*/ 1252459 h 1461099"/>
                    <a:gd name="connsiteX2622" fmla="*/ 737623 w 1659478"/>
                    <a:gd name="connsiteY2622" fmla="*/ 1254341 h 1461099"/>
                    <a:gd name="connsiteX2623" fmla="*/ 737878 w 1659478"/>
                    <a:gd name="connsiteY2623" fmla="*/ 1255628 h 1461099"/>
                    <a:gd name="connsiteX2624" fmla="*/ 737829 w 1659478"/>
                    <a:gd name="connsiteY2624" fmla="*/ 1259271 h 1461099"/>
                    <a:gd name="connsiteX2625" fmla="*/ 737902 w 1659478"/>
                    <a:gd name="connsiteY2625" fmla="*/ 1260777 h 1461099"/>
                    <a:gd name="connsiteX2626" fmla="*/ 737926 w 1659478"/>
                    <a:gd name="connsiteY2626" fmla="*/ 1261251 h 1461099"/>
                    <a:gd name="connsiteX2627" fmla="*/ 738024 w 1659478"/>
                    <a:gd name="connsiteY2627" fmla="*/ 1261700 h 1461099"/>
                    <a:gd name="connsiteX2628" fmla="*/ 738169 w 1659478"/>
                    <a:gd name="connsiteY2628" fmla="*/ 1262380 h 1461099"/>
                    <a:gd name="connsiteX2629" fmla="*/ 738570 w 1659478"/>
                    <a:gd name="connsiteY2629" fmla="*/ 1263485 h 1461099"/>
                    <a:gd name="connsiteX2630" fmla="*/ 739906 w 1659478"/>
                    <a:gd name="connsiteY2630" fmla="*/ 1266302 h 1461099"/>
                    <a:gd name="connsiteX2631" fmla="*/ 740088 w 1659478"/>
                    <a:gd name="connsiteY2631" fmla="*/ 1266703 h 1461099"/>
                    <a:gd name="connsiteX2632" fmla="*/ 740331 w 1659478"/>
                    <a:gd name="connsiteY2632" fmla="*/ 1267067 h 1461099"/>
                    <a:gd name="connsiteX2633" fmla="*/ 741885 w 1659478"/>
                    <a:gd name="connsiteY2633" fmla="*/ 1269411 h 1461099"/>
                    <a:gd name="connsiteX2634" fmla="*/ 742043 w 1659478"/>
                    <a:gd name="connsiteY2634" fmla="*/ 1270248 h 1461099"/>
                    <a:gd name="connsiteX2635" fmla="*/ 742006 w 1659478"/>
                    <a:gd name="connsiteY2635" fmla="*/ 1270285 h 1461099"/>
                    <a:gd name="connsiteX2636" fmla="*/ 739675 w 1659478"/>
                    <a:gd name="connsiteY2636" fmla="*/ 1271548 h 1461099"/>
                    <a:gd name="connsiteX2637" fmla="*/ 739384 w 1659478"/>
                    <a:gd name="connsiteY2637" fmla="*/ 1271706 h 1461099"/>
                    <a:gd name="connsiteX2638" fmla="*/ 739116 w 1659478"/>
                    <a:gd name="connsiteY2638" fmla="*/ 1271888 h 1461099"/>
                    <a:gd name="connsiteX2639" fmla="*/ 736129 w 1659478"/>
                    <a:gd name="connsiteY2639" fmla="*/ 1273952 h 1461099"/>
                    <a:gd name="connsiteX2640" fmla="*/ 735316 w 1659478"/>
                    <a:gd name="connsiteY2640" fmla="*/ 1274523 h 1461099"/>
                    <a:gd name="connsiteX2641" fmla="*/ 734721 w 1659478"/>
                    <a:gd name="connsiteY2641" fmla="*/ 1275312 h 1461099"/>
                    <a:gd name="connsiteX2642" fmla="*/ 733348 w 1659478"/>
                    <a:gd name="connsiteY2642" fmla="*/ 1277146 h 1461099"/>
                    <a:gd name="connsiteX2643" fmla="*/ 732802 w 1659478"/>
                    <a:gd name="connsiteY2643" fmla="*/ 1277874 h 1461099"/>
                    <a:gd name="connsiteX2644" fmla="*/ 732498 w 1659478"/>
                    <a:gd name="connsiteY2644" fmla="*/ 1278724 h 1461099"/>
                    <a:gd name="connsiteX2645" fmla="*/ 731746 w 1659478"/>
                    <a:gd name="connsiteY2645" fmla="*/ 1280825 h 1461099"/>
                    <a:gd name="connsiteX2646" fmla="*/ 731442 w 1659478"/>
                    <a:gd name="connsiteY2646" fmla="*/ 1281687 h 1461099"/>
                    <a:gd name="connsiteX2647" fmla="*/ 731406 w 1659478"/>
                    <a:gd name="connsiteY2647" fmla="*/ 1282610 h 1461099"/>
                    <a:gd name="connsiteX2648" fmla="*/ 731296 w 1659478"/>
                    <a:gd name="connsiteY2648" fmla="*/ 1285051 h 1461099"/>
                    <a:gd name="connsiteX2649" fmla="*/ 731284 w 1659478"/>
                    <a:gd name="connsiteY2649" fmla="*/ 1285439 h 1461099"/>
                    <a:gd name="connsiteX2650" fmla="*/ 731308 w 1659478"/>
                    <a:gd name="connsiteY2650" fmla="*/ 1285816 h 1461099"/>
                    <a:gd name="connsiteX2651" fmla="*/ 731685 w 1659478"/>
                    <a:gd name="connsiteY2651" fmla="*/ 1290369 h 1461099"/>
                    <a:gd name="connsiteX2652" fmla="*/ 731600 w 1659478"/>
                    <a:gd name="connsiteY2652" fmla="*/ 1292057 h 1461099"/>
                    <a:gd name="connsiteX2653" fmla="*/ 730167 w 1659478"/>
                    <a:gd name="connsiteY2653" fmla="*/ 1300691 h 1461099"/>
                    <a:gd name="connsiteX2654" fmla="*/ 729997 w 1659478"/>
                    <a:gd name="connsiteY2654" fmla="*/ 1301699 h 1461099"/>
                    <a:gd name="connsiteX2655" fmla="*/ 730167 w 1659478"/>
                    <a:gd name="connsiteY2655" fmla="*/ 1302707 h 1461099"/>
                    <a:gd name="connsiteX2656" fmla="*/ 730398 w 1659478"/>
                    <a:gd name="connsiteY2656" fmla="*/ 1304079 h 1461099"/>
                    <a:gd name="connsiteX2657" fmla="*/ 730713 w 1659478"/>
                    <a:gd name="connsiteY2657" fmla="*/ 1305973 h 1461099"/>
                    <a:gd name="connsiteX2658" fmla="*/ 732061 w 1659478"/>
                    <a:gd name="connsiteY2658" fmla="*/ 1307333 h 1461099"/>
                    <a:gd name="connsiteX2659" fmla="*/ 732693 w 1659478"/>
                    <a:gd name="connsiteY2659" fmla="*/ 1307977 h 1461099"/>
                    <a:gd name="connsiteX2660" fmla="*/ 734599 w 1659478"/>
                    <a:gd name="connsiteY2660" fmla="*/ 1309907 h 1461099"/>
                    <a:gd name="connsiteX2661" fmla="*/ 737307 w 1659478"/>
                    <a:gd name="connsiteY2661" fmla="*/ 1309774 h 1461099"/>
                    <a:gd name="connsiteX2662" fmla="*/ 742431 w 1659478"/>
                    <a:gd name="connsiteY2662" fmla="*/ 1309519 h 1461099"/>
                    <a:gd name="connsiteX2663" fmla="*/ 742565 w 1659478"/>
                    <a:gd name="connsiteY2663" fmla="*/ 1309677 h 1461099"/>
                    <a:gd name="connsiteX2664" fmla="*/ 743196 w 1659478"/>
                    <a:gd name="connsiteY2664" fmla="*/ 1310903 h 1461099"/>
                    <a:gd name="connsiteX2665" fmla="*/ 744241 w 1659478"/>
                    <a:gd name="connsiteY2665" fmla="*/ 1313915 h 1461099"/>
                    <a:gd name="connsiteX2666" fmla="*/ 744435 w 1659478"/>
                    <a:gd name="connsiteY2666" fmla="*/ 1314473 h 1461099"/>
                    <a:gd name="connsiteX2667" fmla="*/ 744726 w 1659478"/>
                    <a:gd name="connsiteY2667" fmla="*/ 1314983 h 1461099"/>
                    <a:gd name="connsiteX2668" fmla="*/ 746281 w 1659478"/>
                    <a:gd name="connsiteY2668" fmla="*/ 1317655 h 1461099"/>
                    <a:gd name="connsiteX2669" fmla="*/ 746730 w 1659478"/>
                    <a:gd name="connsiteY2669" fmla="*/ 1318407 h 1461099"/>
                    <a:gd name="connsiteX2670" fmla="*/ 747361 w 1659478"/>
                    <a:gd name="connsiteY2670" fmla="*/ 1319015 h 1461099"/>
                    <a:gd name="connsiteX2671" fmla="*/ 749365 w 1659478"/>
                    <a:gd name="connsiteY2671" fmla="*/ 1320909 h 1461099"/>
                    <a:gd name="connsiteX2672" fmla="*/ 750179 w 1659478"/>
                    <a:gd name="connsiteY2672" fmla="*/ 1321674 h 1461099"/>
                    <a:gd name="connsiteX2673" fmla="*/ 751199 w 1659478"/>
                    <a:gd name="connsiteY2673" fmla="*/ 1322099 h 1461099"/>
                    <a:gd name="connsiteX2674" fmla="*/ 753627 w 1659478"/>
                    <a:gd name="connsiteY2674" fmla="*/ 1323107 h 1461099"/>
                    <a:gd name="connsiteX2675" fmla="*/ 754259 w 1659478"/>
                    <a:gd name="connsiteY2675" fmla="*/ 1323362 h 1461099"/>
                    <a:gd name="connsiteX2676" fmla="*/ 754939 w 1659478"/>
                    <a:gd name="connsiteY2676" fmla="*/ 1323471 h 1461099"/>
                    <a:gd name="connsiteX2677" fmla="*/ 758254 w 1659478"/>
                    <a:gd name="connsiteY2677" fmla="*/ 1324042 h 1461099"/>
                    <a:gd name="connsiteX2678" fmla="*/ 758023 w 1659478"/>
                    <a:gd name="connsiteY2678" fmla="*/ 1324552 h 1461099"/>
                    <a:gd name="connsiteX2679" fmla="*/ 757889 w 1659478"/>
                    <a:gd name="connsiteY2679" fmla="*/ 1325122 h 1461099"/>
                    <a:gd name="connsiteX2680" fmla="*/ 757428 w 1659478"/>
                    <a:gd name="connsiteY2680" fmla="*/ 1327138 h 1461099"/>
                    <a:gd name="connsiteX2681" fmla="*/ 757282 w 1659478"/>
                    <a:gd name="connsiteY2681" fmla="*/ 1327782 h 1461099"/>
                    <a:gd name="connsiteX2682" fmla="*/ 757282 w 1659478"/>
                    <a:gd name="connsiteY2682" fmla="*/ 1328437 h 1461099"/>
                    <a:gd name="connsiteX2683" fmla="*/ 757246 w 1659478"/>
                    <a:gd name="connsiteY2683" fmla="*/ 1333015 h 1461099"/>
                    <a:gd name="connsiteX2684" fmla="*/ 756894 w 1659478"/>
                    <a:gd name="connsiteY2684" fmla="*/ 1335565 h 1461099"/>
                    <a:gd name="connsiteX2685" fmla="*/ 756809 w 1659478"/>
                    <a:gd name="connsiteY2685" fmla="*/ 1336245 h 1461099"/>
                    <a:gd name="connsiteX2686" fmla="*/ 756869 w 1659478"/>
                    <a:gd name="connsiteY2686" fmla="*/ 1336925 h 1461099"/>
                    <a:gd name="connsiteX2687" fmla="*/ 757088 w 1659478"/>
                    <a:gd name="connsiteY2687" fmla="*/ 1339342 h 1461099"/>
                    <a:gd name="connsiteX2688" fmla="*/ 757234 w 1659478"/>
                    <a:gd name="connsiteY2688" fmla="*/ 1340957 h 1461099"/>
                    <a:gd name="connsiteX2689" fmla="*/ 758169 w 1659478"/>
                    <a:gd name="connsiteY2689" fmla="*/ 1342280 h 1461099"/>
                    <a:gd name="connsiteX2690" fmla="*/ 758800 w 1659478"/>
                    <a:gd name="connsiteY2690" fmla="*/ 1343191 h 1461099"/>
                    <a:gd name="connsiteX2691" fmla="*/ 759990 w 1659478"/>
                    <a:gd name="connsiteY2691" fmla="*/ 1344891 h 1461099"/>
                    <a:gd name="connsiteX2692" fmla="*/ 761957 w 1659478"/>
                    <a:gd name="connsiteY2692" fmla="*/ 1345510 h 1461099"/>
                    <a:gd name="connsiteX2693" fmla="*/ 763694 w 1659478"/>
                    <a:gd name="connsiteY2693" fmla="*/ 1346057 h 1461099"/>
                    <a:gd name="connsiteX2694" fmla="*/ 765479 w 1659478"/>
                    <a:gd name="connsiteY2694" fmla="*/ 1346615 h 1461099"/>
                    <a:gd name="connsiteX2695" fmla="*/ 767276 w 1659478"/>
                    <a:gd name="connsiteY2695" fmla="*/ 1346069 h 1461099"/>
                    <a:gd name="connsiteX2696" fmla="*/ 769340 w 1659478"/>
                    <a:gd name="connsiteY2696" fmla="*/ 1345437 h 1461099"/>
                    <a:gd name="connsiteX2697" fmla="*/ 770275 w 1659478"/>
                    <a:gd name="connsiteY2697" fmla="*/ 1345158 h 1461099"/>
                    <a:gd name="connsiteX2698" fmla="*/ 771064 w 1659478"/>
                    <a:gd name="connsiteY2698" fmla="*/ 1344600 h 1461099"/>
                    <a:gd name="connsiteX2699" fmla="*/ 773299 w 1659478"/>
                    <a:gd name="connsiteY2699" fmla="*/ 1343021 h 1461099"/>
                    <a:gd name="connsiteX2700" fmla="*/ 773663 w 1659478"/>
                    <a:gd name="connsiteY2700" fmla="*/ 1342766 h 1461099"/>
                    <a:gd name="connsiteX2701" fmla="*/ 773979 w 1659478"/>
                    <a:gd name="connsiteY2701" fmla="*/ 1342463 h 1461099"/>
                    <a:gd name="connsiteX2702" fmla="*/ 776808 w 1659478"/>
                    <a:gd name="connsiteY2702" fmla="*/ 1339767 h 1461099"/>
                    <a:gd name="connsiteX2703" fmla="*/ 779030 w 1659478"/>
                    <a:gd name="connsiteY2703" fmla="*/ 1342620 h 1461099"/>
                    <a:gd name="connsiteX2704" fmla="*/ 779455 w 1659478"/>
                    <a:gd name="connsiteY2704" fmla="*/ 1344272 h 1461099"/>
                    <a:gd name="connsiteX2705" fmla="*/ 779273 w 1659478"/>
                    <a:gd name="connsiteY2705" fmla="*/ 1347065 h 1461099"/>
                    <a:gd name="connsiteX2706" fmla="*/ 778666 w 1659478"/>
                    <a:gd name="connsiteY2706" fmla="*/ 1350052 h 1461099"/>
                    <a:gd name="connsiteX2707" fmla="*/ 778496 w 1659478"/>
                    <a:gd name="connsiteY2707" fmla="*/ 1350841 h 1461099"/>
                    <a:gd name="connsiteX2708" fmla="*/ 778545 w 1659478"/>
                    <a:gd name="connsiteY2708" fmla="*/ 1351655 h 1461099"/>
                    <a:gd name="connsiteX2709" fmla="*/ 778787 w 1659478"/>
                    <a:gd name="connsiteY2709" fmla="*/ 1355504 h 1461099"/>
                    <a:gd name="connsiteX2710" fmla="*/ 778848 w 1659478"/>
                    <a:gd name="connsiteY2710" fmla="*/ 1356427 h 1461099"/>
                    <a:gd name="connsiteX2711" fmla="*/ 779176 w 1659478"/>
                    <a:gd name="connsiteY2711" fmla="*/ 1357301 h 1461099"/>
                    <a:gd name="connsiteX2712" fmla="*/ 780147 w 1659478"/>
                    <a:gd name="connsiteY2712" fmla="*/ 1359827 h 1461099"/>
                    <a:gd name="connsiteX2713" fmla="*/ 780269 w 1659478"/>
                    <a:gd name="connsiteY2713" fmla="*/ 1360131 h 1461099"/>
                    <a:gd name="connsiteX2714" fmla="*/ 780427 w 1659478"/>
                    <a:gd name="connsiteY2714" fmla="*/ 1360422 h 1461099"/>
                    <a:gd name="connsiteX2715" fmla="*/ 781459 w 1659478"/>
                    <a:gd name="connsiteY2715" fmla="*/ 1362425 h 1461099"/>
                    <a:gd name="connsiteX2716" fmla="*/ 781495 w 1659478"/>
                    <a:gd name="connsiteY2716" fmla="*/ 1362620 h 1461099"/>
                    <a:gd name="connsiteX2717" fmla="*/ 781374 w 1659478"/>
                    <a:gd name="connsiteY2717" fmla="*/ 1363409 h 1461099"/>
                    <a:gd name="connsiteX2718" fmla="*/ 779710 w 1659478"/>
                    <a:gd name="connsiteY2718" fmla="*/ 1367113 h 1461099"/>
                    <a:gd name="connsiteX2719" fmla="*/ 778411 w 1659478"/>
                    <a:gd name="connsiteY2719" fmla="*/ 1369978 h 1461099"/>
                    <a:gd name="connsiteX2720" fmla="*/ 780014 w 1659478"/>
                    <a:gd name="connsiteY2720" fmla="*/ 1372698 h 1461099"/>
                    <a:gd name="connsiteX2721" fmla="*/ 781568 w 1659478"/>
                    <a:gd name="connsiteY2721" fmla="*/ 1375321 h 1461099"/>
                    <a:gd name="connsiteX2722" fmla="*/ 783511 w 1659478"/>
                    <a:gd name="connsiteY2722" fmla="*/ 1378612 h 1461099"/>
                    <a:gd name="connsiteX2723" fmla="*/ 787312 w 1659478"/>
                    <a:gd name="connsiteY2723" fmla="*/ 1378284 h 1461099"/>
                    <a:gd name="connsiteX2724" fmla="*/ 792727 w 1659478"/>
                    <a:gd name="connsiteY2724" fmla="*/ 1377811 h 1461099"/>
                    <a:gd name="connsiteX2725" fmla="*/ 795872 w 1659478"/>
                    <a:gd name="connsiteY2725" fmla="*/ 1380943 h 1461099"/>
                    <a:gd name="connsiteX2726" fmla="*/ 797378 w 1659478"/>
                    <a:gd name="connsiteY2726" fmla="*/ 1382449 h 1461099"/>
                    <a:gd name="connsiteX2727" fmla="*/ 799491 w 1659478"/>
                    <a:gd name="connsiteY2727" fmla="*/ 1382692 h 1461099"/>
                    <a:gd name="connsiteX2728" fmla="*/ 801798 w 1659478"/>
                    <a:gd name="connsiteY2728" fmla="*/ 1382947 h 1461099"/>
                    <a:gd name="connsiteX2729" fmla="*/ 803110 w 1659478"/>
                    <a:gd name="connsiteY2729" fmla="*/ 1383093 h 1461099"/>
                    <a:gd name="connsiteX2730" fmla="*/ 804373 w 1659478"/>
                    <a:gd name="connsiteY2730" fmla="*/ 1382680 h 1461099"/>
                    <a:gd name="connsiteX2731" fmla="*/ 817499 w 1659478"/>
                    <a:gd name="connsiteY2731" fmla="*/ 1378333 h 1461099"/>
                    <a:gd name="connsiteX2732" fmla="*/ 824518 w 1659478"/>
                    <a:gd name="connsiteY2732" fmla="*/ 1389225 h 1461099"/>
                    <a:gd name="connsiteX2733" fmla="*/ 824809 w 1659478"/>
                    <a:gd name="connsiteY2733" fmla="*/ 1389686 h 1461099"/>
                    <a:gd name="connsiteX2734" fmla="*/ 825186 w 1659478"/>
                    <a:gd name="connsiteY2734" fmla="*/ 1390087 h 1461099"/>
                    <a:gd name="connsiteX2735" fmla="*/ 830820 w 1659478"/>
                    <a:gd name="connsiteY2735" fmla="*/ 1396098 h 1461099"/>
                    <a:gd name="connsiteX2736" fmla="*/ 831694 w 1659478"/>
                    <a:gd name="connsiteY2736" fmla="*/ 1397033 h 1461099"/>
                    <a:gd name="connsiteX2737" fmla="*/ 832860 w 1659478"/>
                    <a:gd name="connsiteY2737" fmla="*/ 1397531 h 1461099"/>
                    <a:gd name="connsiteX2738" fmla="*/ 834754 w 1659478"/>
                    <a:gd name="connsiteY2738" fmla="*/ 1398332 h 1461099"/>
                    <a:gd name="connsiteX2739" fmla="*/ 835325 w 1659478"/>
                    <a:gd name="connsiteY2739" fmla="*/ 1398575 h 1461099"/>
                    <a:gd name="connsiteX2740" fmla="*/ 835932 w 1659478"/>
                    <a:gd name="connsiteY2740" fmla="*/ 1398696 h 1461099"/>
                    <a:gd name="connsiteX2741" fmla="*/ 837596 w 1659478"/>
                    <a:gd name="connsiteY2741" fmla="*/ 1399036 h 1461099"/>
                    <a:gd name="connsiteX2742" fmla="*/ 838701 w 1659478"/>
                    <a:gd name="connsiteY2742" fmla="*/ 1399255 h 1461099"/>
                    <a:gd name="connsiteX2743" fmla="*/ 839806 w 1659478"/>
                    <a:gd name="connsiteY2743" fmla="*/ 1399073 h 1461099"/>
                    <a:gd name="connsiteX2744" fmla="*/ 841129 w 1659478"/>
                    <a:gd name="connsiteY2744" fmla="*/ 1398854 h 1461099"/>
                    <a:gd name="connsiteX2745" fmla="*/ 841579 w 1659478"/>
                    <a:gd name="connsiteY2745" fmla="*/ 1398781 h 1461099"/>
                    <a:gd name="connsiteX2746" fmla="*/ 842003 w 1659478"/>
                    <a:gd name="connsiteY2746" fmla="*/ 1398636 h 1461099"/>
                    <a:gd name="connsiteX2747" fmla="*/ 843546 w 1659478"/>
                    <a:gd name="connsiteY2747" fmla="*/ 1398138 h 1461099"/>
                    <a:gd name="connsiteX2748" fmla="*/ 844104 w 1659478"/>
                    <a:gd name="connsiteY2748" fmla="*/ 1397956 h 1461099"/>
                    <a:gd name="connsiteX2749" fmla="*/ 844626 w 1659478"/>
                    <a:gd name="connsiteY2749" fmla="*/ 1397676 h 1461099"/>
                    <a:gd name="connsiteX2750" fmla="*/ 845719 w 1659478"/>
                    <a:gd name="connsiteY2750" fmla="*/ 1397069 h 1461099"/>
                    <a:gd name="connsiteX2751" fmla="*/ 846654 w 1659478"/>
                    <a:gd name="connsiteY2751" fmla="*/ 1396559 h 1461099"/>
                    <a:gd name="connsiteX2752" fmla="*/ 847359 w 1659478"/>
                    <a:gd name="connsiteY2752" fmla="*/ 1395746 h 1461099"/>
                    <a:gd name="connsiteX2753" fmla="*/ 848002 w 1659478"/>
                    <a:gd name="connsiteY2753" fmla="*/ 1395005 h 1461099"/>
                    <a:gd name="connsiteX2754" fmla="*/ 852046 w 1659478"/>
                    <a:gd name="connsiteY2754" fmla="*/ 1398369 h 1461099"/>
                    <a:gd name="connsiteX2755" fmla="*/ 858057 w 1659478"/>
                    <a:gd name="connsiteY2755" fmla="*/ 1404440 h 1461099"/>
                    <a:gd name="connsiteX2756" fmla="*/ 858737 w 1659478"/>
                    <a:gd name="connsiteY2756" fmla="*/ 1405120 h 1461099"/>
                    <a:gd name="connsiteX2757" fmla="*/ 859587 w 1659478"/>
                    <a:gd name="connsiteY2757" fmla="*/ 1405557 h 1461099"/>
                    <a:gd name="connsiteX2758" fmla="*/ 869022 w 1659478"/>
                    <a:gd name="connsiteY2758" fmla="*/ 1410402 h 1461099"/>
                    <a:gd name="connsiteX2759" fmla="*/ 870382 w 1659478"/>
                    <a:gd name="connsiteY2759" fmla="*/ 1411604 h 1461099"/>
                    <a:gd name="connsiteX2760" fmla="*/ 870746 w 1659478"/>
                    <a:gd name="connsiteY2760" fmla="*/ 1412175 h 1461099"/>
                    <a:gd name="connsiteX2761" fmla="*/ 870794 w 1659478"/>
                    <a:gd name="connsiteY2761" fmla="*/ 1412576 h 1461099"/>
                    <a:gd name="connsiteX2762" fmla="*/ 870612 w 1659478"/>
                    <a:gd name="connsiteY2762" fmla="*/ 1414519 h 1461099"/>
                    <a:gd name="connsiteX2763" fmla="*/ 870588 w 1659478"/>
                    <a:gd name="connsiteY2763" fmla="*/ 1418052 h 1461099"/>
                    <a:gd name="connsiteX2764" fmla="*/ 870588 w 1659478"/>
                    <a:gd name="connsiteY2764" fmla="*/ 1418550 h 1461099"/>
                    <a:gd name="connsiteX2765" fmla="*/ 870661 w 1659478"/>
                    <a:gd name="connsiteY2765" fmla="*/ 1419036 h 1461099"/>
                    <a:gd name="connsiteX2766" fmla="*/ 871183 w 1659478"/>
                    <a:gd name="connsiteY2766" fmla="*/ 1422254 h 1461099"/>
                    <a:gd name="connsiteX2767" fmla="*/ 871365 w 1659478"/>
                    <a:gd name="connsiteY2767" fmla="*/ 1423359 h 1461099"/>
                    <a:gd name="connsiteX2768" fmla="*/ 871924 w 1659478"/>
                    <a:gd name="connsiteY2768" fmla="*/ 1424330 h 1461099"/>
                    <a:gd name="connsiteX2769" fmla="*/ 874328 w 1659478"/>
                    <a:gd name="connsiteY2769" fmla="*/ 1428459 h 1461099"/>
                    <a:gd name="connsiteX2770" fmla="*/ 874996 w 1659478"/>
                    <a:gd name="connsiteY2770" fmla="*/ 1429600 h 1461099"/>
                    <a:gd name="connsiteX2771" fmla="*/ 876064 w 1659478"/>
                    <a:gd name="connsiteY2771" fmla="*/ 1430353 h 1461099"/>
                    <a:gd name="connsiteX2772" fmla="*/ 878493 w 1659478"/>
                    <a:gd name="connsiteY2772" fmla="*/ 1432077 h 1461099"/>
                    <a:gd name="connsiteX2773" fmla="*/ 879307 w 1659478"/>
                    <a:gd name="connsiteY2773" fmla="*/ 1432660 h 1461099"/>
                    <a:gd name="connsiteX2774" fmla="*/ 880278 w 1659478"/>
                    <a:gd name="connsiteY2774" fmla="*/ 1432940 h 1461099"/>
                    <a:gd name="connsiteX2775" fmla="*/ 882500 w 1659478"/>
                    <a:gd name="connsiteY2775" fmla="*/ 1433595 h 1461099"/>
                    <a:gd name="connsiteX2776" fmla="*/ 883885 w 1659478"/>
                    <a:gd name="connsiteY2776" fmla="*/ 1434008 h 1461099"/>
                    <a:gd name="connsiteX2777" fmla="*/ 885305 w 1659478"/>
                    <a:gd name="connsiteY2777" fmla="*/ 1433753 h 1461099"/>
                    <a:gd name="connsiteX2778" fmla="*/ 887321 w 1659478"/>
                    <a:gd name="connsiteY2778" fmla="*/ 1433389 h 1461099"/>
                    <a:gd name="connsiteX2779" fmla="*/ 887843 w 1659478"/>
                    <a:gd name="connsiteY2779" fmla="*/ 1433292 h 1461099"/>
                    <a:gd name="connsiteX2780" fmla="*/ 888353 w 1659478"/>
                    <a:gd name="connsiteY2780" fmla="*/ 1433110 h 1461099"/>
                    <a:gd name="connsiteX2781" fmla="*/ 889847 w 1659478"/>
                    <a:gd name="connsiteY2781" fmla="*/ 1432563 h 1461099"/>
                    <a:gd name="connsiteX2782" fmla="*/ 890417 w 1659478"/>
                    <a:gd name="connsiteY2782" fmla="*/ 1432344 h 1461099"/>
                    <a:gd name="connsiteX2783" fmla="*/ 890939 w 1659478"/>
                    <a:gd name="connsiteY2783" fmla="*/ 1432017 h 1461099"/>
                    <a:gd name="connsiteX2784" fmla="*/ 892154 w 1659478"/>
                    <a:gd name="connsiteY2784" fmla="*/ 1431264 h 1461099"/>
                    <a:gd name="connsiteX2785" fmla="*/ 892579 w 1659478"/>
                    <a:gd name="connsiteY2785" fmla="*/ 1431009 h 1461099"/>
                    <a:gd name="connsiteX2786" fmla="*/ 892943 w 1659478"/>
                    <a:gd name="connsiteY2786" fmla="*/ 1430681 h 1461099"/>
                    <a:gd name="connsiteX2787" fmla="*/ 892967 w 1659478"/>
                    <a:gd name="connsiteY2787" fmla="*/ 1430669 h 1461099"/>
                    <a:gd name="connsiteX2788" fmla="*/ 896319 w 1659478"/>
                    <a:gd name="connsiteY2788" fmla="*/ 1432770 h 1461099"/>
                    <a:gd name="connsiteX2789" fmla="*/ 897606 w 1659478"/>
                    <a:gd name="connsiteY2789" fmla="*/ 1434482 h 1461099"/>
                    <a:gd name="connsiteX2790" fmla="*/ 898577 w 1659478"/>
                    <a:gd name="connsiteY2790" fmla="*/ 1436157 h 1461099"/>
                    <a:gd name="connsiteX2791" fmla="*/ 899124 w 1659478"/>
                    <a:gd name="connsiteY2791" fmla="*/ 1437700 h 1461099"/>
                    <a:gd name="connsiteX2792" fmla="*/ 899318 w 1659478"/>
                    <a:gd name="connsiteY2792" fmla="*/ 1438246 h 1461099"/>
                    <a:gd name="connsiteX2793" fmla="*/ 899622 w 1659478"/>
                    <a:gd name="connsiteY2793" fmla="*/ 1438744 h 1461099"/>
                    <a:gd name="connsiteX2794" fmla="*/ 902949 w 1659478"/>
                    <a:gd name="connsiteY2794" fmla="*/ 1444342 h 1461099"/>
                    <a:gd name="connsiteX2795" fmla="*/ 903653 w 1659478"/>
                    <a:gd name="connsiteY2795" fmla="*/ 1445520 h 1461099"/>
                    <a:gd name="connsiteX2796" fmla="*/ 904795 w 1659478"/>
                    <a:gd name="connsiteY2796" fmla="*/ 1446285 h 1461099"/>
                    <a:gd name="connsiteX2797" fmla="*/ 906179 w 1659478"/>
                    <a:gd name="connsiteY2797" fmla="*/ 1447207 h 1461099"/>
                    <a:gd name="connsiteX2798" fmla="*/ 906677 w 1659478"/>
                    <a:gd name="connsiteY2798" fmla="*/ 1447535 h 1461099"/>
                    <a:gd name="connsiteX2799" fmla="*/ 907223 w 1659478"/>
                    <a:gd name="connsiteY2799" fmla="*/ 1447766 h 1461099"/>
                    <a:gd name="connsiteX2800" fmla="*/ 908887 w 1659478"/>
                    <a:gd name="connsiteY2800" fmla="*/ 1448458 h 1461099"/>
                    <a:gd name="connsiteX2801" fmla="*/ 909409 w 1659478"/>
                    <a:gd name="connsiteY2801" fmla="*/ 1448786 h 1461099"/>
                    <a:gd name="connsiteX2802" fmla="*/ 909530 w 1659478"/>
                    <a:gd name="connsiteY2802" fmla="*/ 1448907 h 1461099"/>
                    <a:gd name="connsiteX2803" fmla="*/ 910502 w 1659478"/>
                    <a:gd name="connsiteY2803" fmla="*/ 1450692 h 1461099"/>
                    <a:gd name="connsiteX2804" fmla="*/ 911740 w 1659478"/>
                    <a:gd name="connsiteY2804" fmla="*/ 1454020 h 1461099"/>
                    <a:gd name="connsiteX2805" fmla="*/ 914363 w 1659478"/>
                    <a:gd name="connsiteY2805" fmla="*/ 1461099 h 1461099"/>
                    <a:gd name="connsiteX2806" fmla="*/ 920714 w 1659478"/>
                    <a:gd name="connsiteY2806" fmla="*/ 1457007 h 1461099"/>
                    <a:gd name="connsiteX2807" fmla="*/ 923980 w 1659478"/>
                    <a:gd name="connsiteY2807" fmla="*/ 1454906 h 1461099"/>
                    <a:gd name="connsiteX2808" fmla="*/ 924418 w 1659478"/>
                    <a:gd name="connsiteY2808" fmla="*/ 1454627 h 1461099"/>
                    <a:gd name="connsiteX2809" fmla="*/ 924806 w 1659478"/>
                    <a:gd name="connsiteY2809" fmla="*/ 1454275 h 1461099"/>
                    <a:gd name="connsiteX2810" fmla="*/ 927514 w 1659478"/>
                    <a:gd name="connsiteY2810" fmla="*/ 1451785 h 1461099"/>
                    <a:gd name="connsiteX2811" fmla="*/ 928012 w 1659478"/>
                    <a:gd name="connsiteY2811" fmla="*/ 1451421 h 1461099"/>
                    <a:gd name="connsiteX2812" fmla="*/ 928959 w 1659478"/>
                    <a:gd name="connsiteY2812" fmla="*/ 1450984 h 1461099"/>
                    <a:gd name="connsiteX2813" fmla="*/ 930052 w 1659478"/>
                    <a:gd name="connsiteY2813" fmla="*/ 1450741 h 1461099"/>
                    <a:gd name="connsiteX2814" fmla="*/ 932444 w 1659478"/>
                    <a:gd name="connsiteY2814" fmla="*/ 1450765 h 1461099"/>
                    <a:gd name="connsiteX2815" fmla="*/ 934205 w 1659478"/>
                    <a:gd name="connsiteY2815" fmla="*/ 1451215 h 1461099"/>
                    <a:gd name="connsiteX2816" fmla="*/ 936828 w 1659478"/>
                    <a:gd name="connsiteY2816" fmla="*/ 1452174 h 1461099"/>
                    <a:gd name="connsiteX2817" fmla="*/ 937301 w 1659478"/>
                    <a:gd name="connsiteY2817" fmla="*/ 1452344 h 1461099"/>
                    <a:gd name="connsiteX2818" fmla="*/ 937799 w 1659478"/>
                    <a:gd name="connsiteY2818" fmla="*/ 1452441 h 1461099"/>
                    <a:gd name="connsiteX2819" fmla="*/ 941187 w 1659478"/>
                    <a:gd name="connsiteY2819" fmla="*/ 1453072 h 1461099"/>
                    <a:gd name="connsiteX2820" fmla="*/ 942061 w 1659478"/>
                    <a:gd name="connsiteY2820" fmla="*/ 1453230 h 1461099"/>
                    <a:gd name="connsiteX2821" fmla="*/ 942948 w 1659478"/>
                    <a:gd name="connsiteY2821" fmla="*/ 1453133 h 1461099"/>
                    <a:gd name="connsiteX2822" fmla="*/ 946688 w 1659478"/>
                    <a:gd name="connsiteY2822" fmla="*/ 1452732 h 1461099"/>
                    <a:gd name="connsiteX2823" fmla="*/ 947817 w 1659478"/>
                    <a:gd name="connsiteY2823" fmla="*/ 1452611 h 1461099"/>
                    <a:gd name="connsiteX2824" fmla="*/ 948825 w 1659478"/>
                    <a:gd name="connsiteY2824" fmla="*/ 1452089 h 1461099"/>
                    <a:gd name="connsiteX2825" fmla="*/ 962061 w 1659478"/>
                    <a:gd name="connsiteY2825" fmla="*/ 1445240 h 1461099"/>
                    <a:gd name="connsiteX2826" fmla="*/ 972941 w 1659478"/>
                    <a:gd name="connsiteY2826" fmla="*/ 1442654 h 1461099"/>
                    <a:gd name="connsiteX2827" fmla="*/ 973973 w 1659478"/>
                    <a:gd name="connsiteY2827" fmla="*/ 1442399 h 1461099"/>
                    <a:gd name="connsiteX2828" fmla="*/ 974872 w 1659478"/>
                    <a:gd name="connsiteY2828" fmla="*/ 1441816 h 1461099"/>
                    <a:gd name="connsiteX2829" fmla="*/ 984647 w 1659478"/>
                    <a:gd name="connsiteY2829" fmla="*/ 1435380 h 1461099"/>
                    <a:gd name="connsiteX2830" fmla="*/ 992114 w 1659478"/>
                    <a:gd name="connsiteY2830" fmla="*/ 1432721 h 1461099"/>
                    <a:gd name="connsiteX2831" fmla="*/ 993244 w 1659478"/>
                    <a:gd name="connsiteY2831" fmla="*/ 1432320 h 1461099"/>
                    <a:gd name="connsiteX2832" fmla="*/ 994142 w 1659478"/>
                    <a:gd name="connsiteY2832" fmla="*/ 1431519 h 1461099"/>
                    <a:gd name="connsiteX2833" fmla="*/ 995806 w 1659478"/>
                    <a:gd name="connsiteY2833" fmla="*/ 1430025 h 1461099"/>
                    <a:gd name="connsiteX2834" fmla="*/ 998927 w 1659478"/>
                    <a:gd name="connsiteY2834" fmla="*/ 1427220 h 1461099"/>
                    <a:gd name="connsiteX2835" fmla="*/ 997397 w 1659478"/>
                    <a:gd name="connsiteY2835" fmla="*/ 1423310 h 1461099"/>
                    <a:gd name="connsiteX2836" fmla="*/ 996644 w 1659478"/>
                    <a:gd name="connsiteY2836" fmla="*/ 1421379 h 1461099"/>
                    <a:gd name="connsiteX2837" fmla="*/ 995976 w 1659478"/>
                    <a:gd name="connsiteY2837" fmla="*/ 1419679 h 1461099"/>
                    <a:gd name="connsiteX2838" fmla="*/ 994482 w 1659478"/>
                    <a:gd name="connsiteY2838" fmla="*/ 1418635 h 1461099"/>
                    <a:gd name="connsiteX2839" fmla="*/ 991107 w 1659478"/>
                    <a:gd name="connsiteY2839" fmla="*/ 1416255 h 1461099"/>
                    <a:gd name="connsiteX2840" fmla="*/ 990402 w 1659478"/>
                    <a:gd name="connsiteY2840" fmla="*/ 1415563 h 1461099"/>
                    <a:gd name="connsiteX2841" fmla="*/ 988727 w 1659478"/>
                    <a:gd name="connsiteY2841" fmla="*/ 1413074 h 1461099"/>
                    <a:gd name="connsiteX2842" fmla="*/ 988314 w 1659478"/>
                    <a:gd name="connsiteY2842" fmla="*/ 1412467 h 1461099"/>
                    <a:gd name="connsiteX2843" fmla="*/ 987767 w 1659478"/>
                    <a:gd name="connsiteY2843" fmla="*/ 1411969 h 1461099"/>
                    <a:gd name="connsiteX2844" fmla="*/ 986444 w 1659478"/>
                    <a:gd name="connsiteY2844" fmla="*/ 1410767 h 1461099"/>
                    <a:gd name="connsiteX2845" fmla="*/ 985800 w 1659478"/>
                    <a:gd name="connsiteY2845" fmla="*/ 1410184 h 1461099"/>
                    <a:gd name="connsiteX2846" fmla="*/ 985023 w 1659478"/>
                    <a:gd name="connsiteY2846" fmla="*/ 1409807 h 1461099"/>
                    <a:gd name="connsiteX2847" fmla="*/ 982898 w 1659478"/>
                    <a:gd name="connsiteY2847" fmla="*/ 1408775 h 1461099"/>
                    <a:gd name="connsiteX2848" fmla="*/ 981939 w 1659478"/>
                    <a:gd name="connsiteY2848" fmla="*/ 1408314 h 1461099"/>
                    <a:gd name="connsiteX2849" fmla="*/ 980894 w 1659478"/>
                    <a:gd name="connsiteY2849" fmla="*/ 1408204 h 1461099"/>
                    <a:gd name="connsiteX2850" fmla="*/ 978539 w 1659478"/>
                    <a:gd name="connsiteY2850" fmla="*/ 1407949 h 1461099"/>
                    <a:gd name="connsiteX2851" fmla="*/ 978065 w 1659478"/>
                    <a:gd name="connsiteY2851" fmla="*/ 1407901 h 1461099"/>
                    <a:gd name="connsiteX2852" fmla="*/ 977592 w 1659478"/>
                    <a:gd name="connsiteY2852" fmla="*/ 1407925 h 1461099"/>
                    <a:gd name="connsiteX2853" fmla="*/ 973718 w 1659478"/>
                    <a:gd name="connsiteY2853" fmla="*/ 1408119 h 1461099"/>
                    <a:gd name="connsiteX2854" fmla="*/ 973026 w 1659478"/>
                    <a:gd name="connsiteY2854" fmla="*/ 1408022 h 1461099"/>
                    <a:gd name="connsiteX2855" fmla="*/ 967974 w 1659478"/>
                    <a:gd name="connsiteY2855" fmla="*/ 1406067 h 1461099"/>
                    <a:gd name="connsiteX2856" fmla="*/ 967464 w 1659478"/>
                    <a:gd name="connsiteY2856" fmla="*/ 1405861 h 1461099"/>
                    <a:gd name="connsiteX2857" fmla="*/ 966918 w 1659478"/>
                    <a:gd name="connsiteY2857" fmla="*/ 1405764 h 1461099"/>
                    <a:gd name="connsiteX2858" fmla="*/ 961648 w 1659478"/>
                    <a:gd name="connsiteY2858" fmla="*/ 1404768 h 1461099"/>
                    <a:gd name="connsiteX2859" fmla="*/ 961041 w 1659478"/>
                    <a:gd name="connsiteY2859" fmla="*/ 1404525 h 1461099"/>
                    <a:gd name="connsiteX2860" fmla="*/ 960956 w 1659478"/>
                    <a:gd name="connsiteY2860" fmla="*/ 1404476 h 1461099"/>
                    <a:gd name="connsiteX2861" fmla="*/ 960810 w 1659478"/>
                    <a:gd name="connsiteY2861" fmla="*/ 1404343 h 1461099"/>
                    <a:gd name="connsiteX2862" fmla="*/ 960421 w 1659478"/>
                    <a:gd name="connsiteY2862" fmla="*/ 1403809 h 1461099"/>
                    <a:gd name="connsiteX2863" fmla="*/ 960446 w 1659478"/>
                    <a:gd name="connsiteY2863" fmla="*/ 1403554 h 1461099"/>
                    <a:gd name="connsiteX2864" fmla="*/ 966274 w 1659478"/>
                    <a:gd name="connsiteY2864" fmla="*/ 1392795 h 1461099"/>
                    <a:gd name="connsiteX2865" fmla="*/ 968059 w 1659478"/>
                    <a:gd name="connsiteY2865" fmla="*/ 1390379 h 1461099"/>
                    <a:gd name="connsiteX2866" fmla="*/ 978903 w 1659478"/>
                    <a:gd name="connsiteY2866" fmla="*/ 1380713 h 1461099"/>
                    <a:gd name="connsiteX2867" fmla="*/ 980870 w 1659478"/>
                    <a:gd name="connsiteY2867" fmla="*/ 1379438 h 1461099"/>
                    <a:gd name="connsiteX2868" fmla="*/ 989686 w 1659478"/>
                    <a:gd name="connsiteY2868" fmla="*/ 1376839 h 1461099"/>
                    <a:gd name="connsiteX2869" fmla="*/ 994191 w 1659478"/>
                    <a:gd name="connsiteY2869" fmla="*/ 1375346 h 1461099"/>
                    <a:gd name="connsiteX2870" fmla="*/ 994944 w 1659478"/>
                    <a:gd name="connsiteY2870" fmla="*/ 1375091 h 1461099"/>
                    <a:gd name="connsiteX2871" fmla="*/ 995612 w 1659478"/>
                    <a:gd name="connsiteY2871" fmla="*/ 1374653 h 1461099"/>
                    <a:gd name="connsiteX2872" fmla="*/ 1005654 w 1659478"/>
                    <a:gd name="connsiteY2872" fmla="*/ 1368036 h 1461099"/>
                    <a:gd name="connsiteX2873" fmla="*/ 1006613 w 1659478"/>
                    <a:gd name="connsiteY2873" fmla="*/ 1367683 h 1461099"/>
                    <a:gd name="connsiteX2874" fmla="*/ 1010912 w 1659478"/>
                    <a:gd name="connsiteY2874" fmla="*/ 1366724 h 1461099"/>
                    <a:gd name="connsiteX2875" fmla="*/ 1011592 w 1659478"/>
                    <a:gd name="connsiteY2875" fmla="*/ 1366566 h 1461099"/>
                    <a:gd name="connsiteX2876" fmla="*/ 1012223 w 1659478"/>
                    <a:gd name="connsiteY2876" fmla="*/ 1366263 h 1461099"/>
                    <a:gd name="connsiteX2877" fmla="*/ 1013717 w 1659478"/>
                    <a:gd name="connsiteY2877" fmla="*/ 1365546 h 1461099"/>
                    <a:gd name="connsiteX2878" fmla="*/ 1014542 w 1659478"/>
                    <a:gd name="connsiteY2878" fmla="*/ 1365145 h 1461099"/>
                    <a:gd name="connsiteX2879" fmla="*/ 1015210 w 1659478"/>
                    <a:gd name="connsiteY2879" fmla="*/ 1364526 h 1461099"/>
                    <a:gd name="connsiteX2880" fmla="*/ 1020954 w 1659478"/>
                    <a:gd name="connsiteY2880" fmla="*/ 1359208 h 1461099"/>
                    <a:gd name="connsiteX2881" fmla="*/ 1021270 w 1659478"/>
                    <a:gd name="connsiteY2881" fmla="*/ 1358916 h 1461099"/>
                    <a:gd name="connsiteX2882" fmla="*/ 1021537 w 1659478"/>
                    <a:gd name="connsiteY2882" fmla="*/ 1358588 h 1461099"/>
                    <a:gd name="connsiteX2883" fmla="*/ 1023334 w 1659478"/>
                    <a:gd name="connsiteY2883" fmla="*/ 1356366 h 1461099"/>
                    <a:gd name="connsiteX2884" fmla="*/ 1023589 w 1659478"/>
                    <a:gd name="connsiteY2884" fmla="*/ 1356038 h 1461099"/>
                    <a:gd name="connsiteX2885" fmla="*/ 1023808 w 1659478"/>
                    <a:gd name="connsiteY2885" fmla="*/ 1355686 h 1461099"/>
                    <a:gd name="connsiteX2886" fmla="*/ 1025459 w 1659478"/>
                    <a:gd name="connsiteY2886" fmla="*/ 1352954 h 1461099"/>
                    <a:gd name="connsiteX2887" fmla="*/ 1025690 w 1659478"/>
                    <a:gd name="connsiteY2887" fmla="*/ 1352578 h 1461099"/>
                    <a:gd name="connsiteX2888" fmla="*/ 1025860 w 1659478"/>
                    <a:gd name="connsiteY2888" fmla="*/ 1352165 h 1461099"/>
                    <a:gd name="connsiteX2889" fmla="*/ 1027353 w 1659478"/>
                    <a:gd name="connsiteY2889" fmla="*/ 1348607 h 1461099"/>
                    <a:gd name="connsiteX2890" fmla="*/ 1029952 w 1659478"/>
                    <a:gd name="connsiteY2890" fmla="*/ 1340738 h 1461099"/>
                    <a:gd name="connsiteX2891" fmla="*/ 1030583 w 1659478"/>
                    <a:gd name="connsiteY2891" fmla="*/ 1339524 h 1461099"/>
                    <a:gd name="connsiteX2892" fmla="*/ 1031652 w 1659478"/>
                    <a:gd name="connsiteY2892" fmla="*/ 1338127 h 1461099"/>
                    <a:gd name="connsiteX2893" fmla="*/ 1033133 w 1659478"/>
                    <a:gd name="connsiteY2893" fmla="*/ 1336585 h 1461099"/>
                    <a:gd name="connsiteX2894" fmla="*/ 1033364 w 1659478"/>
                    <a:gd name="connsiteY2894" fmla="*/ 1336343 h 1461099"/>
                    <a:gd name="connsiteX2895" fmla="*/ 1033570 w 1659478"/>
                    <a:gd name="connsiteY2895" fmla="*/ 1336087 h 1461099"/>
                    <a:gd name="connsiteX2896" fmla="*/ 1035368 w 1659478"/>
                    <a:gd name="connsiteY2896" fmla="*/ 1333732 h 1461099"/>
                    <a:gd name="connsiteX2897" fmla="*/ 1035671 w 1659478"/>
                    <a:gd name="connsiteY2897" fmla="*/ 1333331 h 1461099"/>
                    <a:gd name="connsiteX2898" fmla="*/ 1035914 w 1659478"/>
                    <a:gd name="connsiteY2898" fmla="*/ 1332882 h 1461099"/>
                    <a:gd name="connsiteX2899" fmla="*/ 1037456 w 1659478"/>
                    <a:gd name="connsiteY2899" fmla="*/ 1329980 h 1461099"/>
                    <a:gd name="connsiteX2900" fmla="*/ 1037906 w 1659478"/>
                    <a:gd name="connsiteY2900" fmla="*/ 1329142 h 1461099"/>
                    <a:gd name="connsiteX2901" fmla="*/ 1038076 w 1659478"/>
                    <a:gd name="connsiteY2901" fmla="*/ 1328195 h 1461099"/>
                    <a:gd name="connsiteX2902" fmla="*/ 1038816 w 1659478"/>
                    <a:gd name="connsiteY2902" fmla="*/ 1324029 h 1461099"/>
                    <a:gd name="connsiteX2903" fmla="*/ 1038877 w 1659478"/>
                    <a:gd name="connsiteY2903" fmla="*/ 1323653 h 1461099"/>
                    <a:gd name="connsiteX2904" fmla="*/ 1038901 w 1659478"/>
                    <a:gd name="connsiteY2904" fmla="*/ 1323264 h 1461099"/>
                    <a:gd name="connsiteX2905" fmla="*/ 1039083 w 1659478"/>
                    <a:gd name="connsiteY2905" fmla="*/ 1319731 h 1461099"/>
                    <a:gd name="connsiteX2906" fmla="*/ 1039096 w 1659478"/>
                    <a:gd name="connsiteY2906" fmla="*/ 1319367 h 1461099"/>
                    <a:gd name="connsiteX2907" fmla="*/ 1039071 w 1659478"/>
                    <a:gd name="connsiteY2907" fmla="*/ 1319002 h 1461099"/>
                    <a:gd name="connsiteX2908" fmla="*/ 1038840 w 1659478"/>
                    <a:gd name="connsiteY2908" fmla="*/ 1315736 h 1461099"/>
                    <a:gd name="connsiteX2909" fmla="*/ 1038816 w 1659478"/>
                    <a:gd name="connsiteY2909" fmla="*/ 1315359 h 1461099"/>
                    <a:gd name="connsiteX2910" fmla="*/ 1038743 w 1659478"/>
                    <a:gd name="connsiteY2910" fmla="*/ 1314995 h 1461099"/>
                    <a:gd name="connsiteX2911" fmla="*/ 1037541 w 1659478"/>
                    <a:gd name="connsiteY2911" fmla="*/ 1308912 h 1461099"/>
                    <a:gd name="connsiteX2912" fmla="*/ 1037359 w 1659478"/>
                    <a:gd name="connsiteY2912" fmla="*/ 1307989 h 1461099"/>
                    <a:gd name="connsiteX2913" fmla="*/ 1036910 w 1659478"/>
                    <a:gd name="connsiteY2913" fmla="*/ 1307163 h 1461099"/>
                    <a:gd name="connsiteX2914" fmla="*/ 1033983 w 1659478"/>
                    <a:gd name="connsiteY2914" fmla="*/ 1301820 h 1461099"/>
                    <a:gd name="connsiteX2915" fmla="*/ 1033728 w 1659478"/>
                    <a:gd name="connsiteY2915" fmla="*/ 1301359 h 1461099"/>
                    <a:gd name="connsiteX2916" fmla="*/ 1033413 w 1659478"/>
                    <a:gd name="connsiteY2916" fmla="*/ 1300958 h 1461099"/>
                    <a:gd name="connsiteX2917" fmla="*/ 1032441 w 1659478"/>
                    <a:gd name="connsiteY2917" fmla="*/ 1299744 h 1461099"/>
                    <a:gd name="connsiteX2918" fmla="*/ 1032247 w 1659478"/>
                    <a:gd name="connsiteY2918" fmla="*/ 1298736 h 1461099"/>
                    <a:gd name="connsiteX2919" fmla="*/ 1032016 w 1659478"/>
                    <a:gd name="connsiteY2919" fmla="*/ 1295700 h 1461099"/>
                    <a:gd name="connsiteX2920" fmla="*/ 1032198 w 1659478"/>
                    <a:gd name="connsiteY2920" fmla="*/ 1289835 h 1461099"/>
                    <a:gd name="connsiteX2921" fmla="*/ 1033048 w 1659478"/>
                    <a:gd name="connsiteY2921" fmla="*/ 1282792 h 1461099"/>
                    <a:gd name="connsiteX2922" fmla="*/ 1039860 w 1659478"/>
                    <a:gd name="connsiteY2922" fmla="*/ 1263084 h 1461099"/>
                    <a:gd name="connsiteX2923" fmla="*/ 1040905 w 1659478"/>
                    <a:gd name="connsiteY2923" fmla="*/ 1261336 h 1461099"/>
                    <a:gd name="connsiteX2924" fmla="*/ 1042010 w 1659478"/>
                    <a:gd name="connsiteY2924" fmla="*/ 1259915 h 1461099"/>
                    <a:gd name="connsiteX2925" fmla="*/ 1042228 w 1659478"/>
                    <a:gd name="connsiteY2925" fmla="*/ 1259636 h 1461099"/>
                    <a:gd name="connsiteX2926" fmla="*/ 1042411 w 1659478"/>
                    <a:gd name="connsiteY2926" fmla="*/ 1259332 h 1461099"/>
                    <a:gd name="connsiteX2927" fmla="*/ 1043491 w 1659478"/>
                    <a:gd name="connsiteY2927" fmla="*/ 1257547 h 1461099"/>
                    <a:gd name="connsiteX2928" fmla="*/ 1044256 w 1659478"/>
                    <a:gd name="connsiteY2928" fmla="*/ 1256284 h 1461099"/>
                    <a:gd name="connsiteX2929" fmla="*/ 1044353 w 1659478"/>
                    <a:gd name="connsiteY2929" fmla="*/ 1254803 h 1461099"/>
                    <a:gd name="connsiteX2930" fmla="*/ 1044463 w 1659478"/>
                    <a:gd name="connsiteY2930" fmla="*/ 1253115 h 1461099"/>
                    <a:gd name="connsiteX2931" fmla="*/ 1044596 w 1659478"/>
                    <a:gd name="connsiteY2931" fmla="*/ 1251075 h 1461099"/>
                    <a:gd name="connsiteX2932" fmla="*/ 1043455 w 1659478"/>
                    <a:gd name="connsiteY2932" fmla="*/ 1249363 h 1461099"/>
                    <a:gd name="connsiteX2933" fmla="*/ 1042022 w 1659478"/>
                    <a:gd name="connsiteY2933" fmla="*/ 1247201 h 1461099"/>
                    <a:gd name="connsiteX2934" fmla="*/ 1041670 w 1659478"/>
                    <a:gd name="connsiteY2934" fmla="*/ 1246667 h 1461099"/>
                    <a:gd name="connsiteX2935" fmla="*/ 1041208 w 1659478"/>
                    <a:gd name="connsiteY2935" fmla="*/ 1246205 h 1461099"/>
                    <a:gd name="connsiteX2936" fmla="*/ 1039375 w 1659478"/>
                    <a:gd name="connsiteY2936" fmla="*/ 1244433 h 1461099"/>
                    <a:gd name="connsiteX2937" fmla="*/ 1039120 w 1659478"/>
                    <a:gd name="connsiteY2937" fmla="*/ 1244177 h 1461099"/>
                    <a:gd name="connsiteX2938" fmla="*/ 1038840 w 1659478"/>
                    <a:gd name="connsiteY2938" fmla="*/ 1243959 h 1461099"/>
                    <a:gd name="connsiteX2939" fmla="*/ 1035210 w 1659478"/>
                    <a:gd name="connsiteY2939" fmla="*/ 1241178 h 1461099"/>
                    <a:gd name="connsiteX2940" fmla="*/ 1033740 w 1659478"/>
                    <a:gd name="connsiteY2940" fmla="*/ 1239454 h 1461099"/>
                    <a:gd name="connsiteX2941" fmla="*/ 1032466 w 1659478"/>
                    <a:gd name="connsiteY2941" fmla="*/ 1237596 h 1461099"/>
                    <a:gd name="connsiteX2942" fmla="*/ 1031118 w 1659478"/>
                    <a:gd name="connsiteY2942" fmla="*/ 1235058 h 1461099"/>
                    <a:gd name="connsiteX2943" fmla="*/ 1030061 w 1659478"/>
                    <a:gd name="connsiteY2943" fmla="*/ 1232435 h 1461099"/>
                    <a:gd name="connsiteX2944" fmla="*/ 1029393 w 1659478"/>
                    <a:gd name="connsiteY2944" fmla="*/ 1229254 h 1461099"/>
                    <a:gd name="connsiteX2945" fmla="*/ 1028798 w 1659478"/>
                    <a:gd name="connsiteY2945" fmla="*/ 1219795 h 1461099"/>
                    <a:gd name="connsiteX2946" fmla="*/ 1028750 w 1659478"/>
                    <a:gd name="connsiteY2946" fmla="*/ 1219066 h 1461099"/>
                    <a:gd name="connsiteX2947" fmla="*/ 1028531 w 1659478"/>
                    <a:gd name="connsiteY2947" fmla="*/ 1218374 h 1461099"/>
                    <a:gd name="connsiteX2948" fmla="*/ 1027499 w 1659478"/>
                    <a:gd name="connsiteY2948" fmla="*/ 1215047 h 1461099"/>
                    <a:gd name="connsiteX2949" fmla="*/ 1027268 w 1659478"/>
                    <a:gd name="connsiteY2949" fmla="*/ 1214294 h 1461099"/>
                    <a:gd name="connsiteX2950" fmla="*/ 1026855 w 1659478"/>
                    <a:gd name="connsiteY2950" fmla="*/ 1213626 h 1461099"/>
                    <a:gd name="connsiteX2951" fmla="*/ 1025083 w 1659478"/>
                    <a:gd name="connsiteY2951" fmla="*/ 1210784 h 1461099"/>
                    <a:gd name="connsiteX2952" fmla="*/ 1024573 w 1659478"/>
                    <a:gd name="connsiteY2952" fmla="*/ 1209959 h 1461099"/>
                    <a:gd name="connsiteX2953" fmla="*/ 1023820 w 1659478"/>
                    <a:gd name="connsiteY2953" fmla="*/ 1209340 h 1461099"/>
                    <a:gd name="connsiteX2954" fmla="*/ 1021173 w 1659478"/>
                    <a:gd name="connsiteY2954" fmla="*/ 1207129 h 1461099"/>
                    <a:gd name="connsiteX2955" fmla="*/ 1020833 w 1659478"/>
                    <a:gd name="connsiteY2955" fmla="*/ 1206838 h 1461099"/>
                    <a:gd name="connsiteX2956" fmla="*/ 1020456 w 1659478"/>
                    <a:gd name="connsiteY2956" fmla="*/ 1206607 h 1461099"/>
                    <a:gd name="connsiteX2957" fmla="*/ 1017590 w 1659478"/>
                    <a:gd name="connsiteY2957" fmla="*/ 1204859 h 1461099"/>
                    <a:gd name="connsiteX2958" fmla="*/ 1016995 w 1659478"/>
                    <a:gd name="connsiteY2958" fmla="*/ 1204494 h 1461099"/>
                    <a:gd name="connsiteX2959" fmla="*/ 1016328 w 1659478"/>
                    <a:gd name="connsiteY2959" fmla="*/ 1204276 h 1461099"/>
                    <a:gd name="connsiteX2960" fmla="*/ 1013170 w 1659478"/>
                    <a:gd name="connsiteY2960" fmla="*/ 1203232 h 1461099"/>
                    <a:gd name="connsiteX2961" fmla="*/ 1012588 w 1659478"/>
                    <a:gd name="connsiteY2961" fmla="*/ 1203037 h 1461099"/>
                    <a:gd name="connsiteX2962" fmla="*/ 1011968 w 1659478"/>
                    <a:gd name="connsiteY2962" fmla="*/ 1202964 h 1461099"/>
                    <a:gd name="connsiteX2963" fmla="*/ 1008860 w 1659478"/>
                    <a:gd name="connsiteY2963" fmla="*/ 1202600 h 1461099"/>
                    <a:gd name="connsiteX2964" fmla="*/ 1008095 w 1659478"/>
                    <a:gd name="connsiteY2964" fmla="*/ 1202515 h 1461099"/>
                    <a:gd name="connsiteX2965" fmla="*/ 1007330 w 1659478"/>
                    <a:gd name="connsiteY2965" fmla="*/ 1202624 h 1461099"/>
                    <a:gd name="connsiteX2966" fmla="*/ 1003687 w 1659478"/>
                    <a:gd name="connsiteY2966" fmla="*/ 1203134 h 1461099"/>
                    <a:gd name="connsiteX2967" fmla="*/ 1003820 w 1659478"/>
                    <a:gd name="connsiteY2967" fmla="*/ 1202904 h 1461099"/>
                    <a:gd name="connsiteX2968" fmla="*/ 1004051 w 1659478"/>
                    <a:gd name="connsiteY2968" fmla="*/ 1202054 h 1461099"/>
                    <a:gd name="connsiteX2969" fmla="*/ 1004962 w 1659478"/>
                    <a:gd name="connsiteY2969" fmla="*/ 1198702 h 1461099"/>
                    <a:gd name="connsiteX2970" fmla="*/ 1005132 w 1659478"/>
                    <a:gd name="connsiteY2970" fmla="*/ 1198047 h 1461099"/>
                    <a:gd name="connsiteX2971" fmla="*/ 1005156 w 1659478"/>
                    <a:gd name="connsiteY2971" fmla="*/ 1197379 h 1461099"/>
                    <a:gd name="connsiteX2972" fmla="*/ 1005277 w 1659478"/>
                    <a:gd name="connsiteY2972" fmla="*/ 1194452 h 1461099"/>
                    <a:gd name="connsiteX2973" fmla="*/ 1005399 w 1659478"/>
                    <a:gd name="connsiteY2973" fmla="*/ 1193457 h 1461099"/>
                    <a:gd name="connsiteX2974" fmla="*/ 1015198 w 1659478"/>
                    <a:gd name="connsiteY2974" fmla="*/ 1185114 h 1461099"/>
                    <a:gd name="connsiteX2975" fmla="*/ 1015538 w 1659478"/>
                    <a:gd name="connsiteY2975" fmla="*/ 1184835 h 1461099"/>
                    <a:gd name="connsiteX2976" fmla="*/ 1015830 w 1659478"/>
                    <a:gd name="connsiteY2976" fmla="*/ 1184495 h 1461099"/>
                    <a:gd name="connsiteX2977" fmla="*/ 1018525 w 1659478"/>
                    <a:gd name="connsiteY2977" fmla="*/ 1181423 h 1461099"/>
                    <a:gd name="connsiteX2978" fmla="*/ 1019011 w 1659478"/>
                    <a:gd name="connsiteY2978" fmla="*/ 1180876 h 1461099"/>
                    <a:gd name="connsiteX2979" fmla="*/ 1019351 w 1659478"/>
                    <a:gd name="connsiteY2979" fmla="*/ 1180221 h 1461099"/>
                    <a:gd name="connsiteX2980" fmla="*/ 1020966 w 1659478"/>
                    <a:gd name="connsiteY2980" fmla="*/ 1177112 h 1461099"/>
                    <a:gd name="connsiteX2981" fmla="*/ 1021780 w 1659478"/>
                    <a:gd name="connsiteY2981" fmla="*/ 1175533 h 1461099"/>
                    <a:gd name="connsiteX2982" fmla="*/ 1021622 w 1659478"/>
                    <a:gd name="connsiteY2982" fmla="*/ 1173761 h 1461099"/>
                    <a:gd name="connsiteX2983" fmla="*/ 1021270 w 1659478"/>
                    <a:gd name="connsiteY2983" fmla="*/ 1169887 h 1461099"/>
                    <a:gd name="connsiteX2984" fmla="*/ 1021075 w 1659478"/>
                    <a:gd name="connsiteY2984" fmla="*/ 1167798 h 1461099"/>
                    <a:gd name="connsiteX2985" fmla="*/ 1019643 w 1659478"/>
                    <a:gd name="connsiteY2985" fmla="*/ 1166281 h 1461099"/>
                    <a:gd name="connsiteX2986" fmla="*/ 1017518 w 1659478"/>
                    <a:gd name="connsiteY2986" fmla="*/ 1164022 h 1461099"/>
                    <a:gd name="connsiteX2987" fmla="*/ 1016813 w 1659478"/>
                    <a:gd name="connsiteY2987" fmla="*/ 1163269 h 1461099"/>
                    <a:gd name="connsiteX2988" fmla="*/ 1015902 w 1659478"/>
                    <a:gd name="connsiteY2988" fmla="*/ 1162796 h 1461099"/>
                    <a:gd name="connsiteX2989" fmla="*/ 1012794 w 1659478"/>
                    <a:gd name="connsiteY2989" fmla="*/ 1161181 h 1461099"/>
                    <a:gd name="connsiteX2990" fmla="*/ 1012248 w 1659478"/>
                    <a:gd name="connsiteY2990" fmla="*/ 1160889 h 1461099"/>
                    <a:gd name="connsiteX2991" fmla="*/ 1011652 w 1659478"/>
                    <a:gd name="connsiteY2991" fmla="*/ 1160719 h 1461099"/>
                    <a:gd name="connsiteX2992" fmla="*/ 996583 w 1659478"/>
                    <a:gd name="connsiteY2992" fmla="*/ 1156445 h 1461099"/>
                    <a:gd name="connsiteX2993" fmla="*/ 996632 w 1659478"/>
                    <a:gd name="connsiteY2993" fmla="*/ 1156263 h 1461099"/>
                    <a:gd name="connsiteX2994" fmla="*/ 997057 w 1659478"/>
                    <a:gd name="connsiteY2994" fmla="*/ 1155328 h 1461099"/>
                    <a:gd name="connsiteX2995" fmla="*/ 1002400 w 1659478"/>
                    <a:gd name="connsiteY2995" fmla="*/ 1146451 h 1461099"/>
                    <a:gd name="connsiteX2996" fmla="*/ 1002606 w 1659478"/>
                    <a:gd name="connsiteY2996" fmla="*/ 1146111 h 1461099"/>
                    <a:gd name="connsiteX2997" fmla="*/ 1002764 w 1659478"/>
                    <a:gd name="connsiteY2997" fmla="*/ 1145747 h 1461099"/>
                    <a:gd name="connsiteX2998" fmla="*/ 1009430 w 1659478"/>
                    <a:gd name="connsiteY2998" fmla="*/ 1130410 h 1461099"/>
                    <a:gd name="connsiteX2999" fmla="*/ 1010001 w 1659478"/>
                    <a:gd name="connsiteY2999" fmla="*/ 1129099 h 1461099"/>
                    <a:gd name="connsiteX3000" fmla="*/ 1009916 w 1659478"/>
                    <a:gd name="connsiteY3000" fmla="*/ 1127654 h 1461099"/>
                    <a:gd name="connsiteX3001" fmla="*/ 1009795 w 1659478"/>
                    <a:gd name="connsiteY3001" fmla="*/ 1125517 h 1461099"/>
                    <a:gd name="connsiteX3002" fmla="*/ 1010863 w 1659478"/>
                    <a:gd name="connsiteY3002" fmla="*/ 1127824 h 1461099"/>
                    <a:gd name="connsiteX3003" fmla="*/ 1011106 w 1659478"/>
                    <a:gd name="connsiteY3003" fmla="*/ 1128334 h 1461099"/>
                    <a:gd name="connsiteX3004" fmla="*/ 1011422 w 1659478"/>
                    <a:gd name="connsiteY3004" fmla="*/ 1128795 h 1461099"/>
                    <a:gd name="connsiteX3005" fmla="*/ 1012794 w 1659478"/>
                    <a:gd name="connsiteY3005" fmla="*/ 1130726 h 1461099"/>
                    <a:gd name="connsiteX3006" fmla="*/ 1013522 w 1659478"/>
                    <a:gd name="connsiteY3006" fmla="*/ 1131746 h 1461099"/>
                    <a:gd name="connsiteX3007" fmla="*/ 1014603 w 1659478"/>
                    <a:gd name="connsiteY3007" fmla="*/ 1132402 h 1461099"/>
                    <a:gd name="connsiteX3008" fmla="*/ 1016728 w 1659478"/>
                    <a:gd name="connsiteY3008" fmla="*/ 1133689 h 1461099"/>
                    <a:gd name="connsiteX3009" fmla="*/ 1018028 w 1659478"/>
                    <a:gd name="connsiteY3009" fmla="*/ 1134478 h 1461099"/>
                    <a:gd name="connsiteX3010" fmla="*/ 1019545 w 1659478"/>
                    <a:gd name="connsiteY3010" fmla="*/ 1134563 h 1461099"/>
                    <a:gd name="connsiteX3011" fmla="*/ 1021670 w 1659478"/>
                    <a:gd name="connsiteY3011" fmla="*/ 1134673 h 1461099"/>
                    <a:gd name="connsiteX3012" fmla="*/ 1029381 w 1659478"/>
                    <a:gd name="connsiteY3012" fmla="*/ 1134369 h 1461099"/>
                    <a:gd name="connsiteX3013" fmla="*/ 1029891 w 1659478"/>
                    <a:gd name="connsiteY3013" fmla="*/ 1134345 h 1461099"/>
                    <a:gd name="connsiteX3014" fmla="*/ 1030389 w 1659478"/>
                    <a:gd name="connsiteY3014" fmla="*/ 1134248 h 1461099"/>
                    <a:gd name="connsiteX3015" fmla="*/ 1032854 w 1659478"/>
                    <a:gd name="connsiteY3015" fmla="*/ 1133725 h 1461099"/>
                    <a:gd name="connsiteX3016" fmla="*/ 1033534 w 1659478"/>
                    <a:gd name="connsiteY3016" fmla="*/ 1133580 h 1461099"/>
                    <a:gd name="connsiteX3017" fmla="*/ 1034166 w 1659478"/>
                    <a:gd name="connsiteY3017" fmla="*/ 1133288 h 1461099"/>
                    <a:gd name="connsiteX3018" fmla="*/ 1036509 w 1659478"/>
                    <a:gd name="connsiteY3018" fmla="*/ 1132195 h 1461099"/>
                    <a:gd name="connsiteX3019" fmla="*/ 1037056 w 1659478"/>
                    <a:gd name="connsiteY3019" fmla="*/ 1131940 h 1461099"/>
                    <a:gd name="connsiteX3020" fmla="*/ 1037541 w 1659478"/>
                    <a:gd name="connsiteY3020" fmla="*/ 1131588 h 1461099"/>
                    <a:gd name="connsiteX3021" fmla="*/ 1039848 w 1659478"/>
                    <a:gd name="connsiteY3021" fmla="*/ 1129900 h 1461099"/>
                    <a:gd name="connsiteX3022" fmla="*/ 1040638 w 1659478"/>
                    <a:gd name="connsiteY3022" fmla="*/ 1129317 h 1461099"/>
                    <a:gd name="connsiteX3023" fmla="*/ 1041208 w 1659478"/>
                    <a:gd name="connsiteY3023" fmla="*/ 1128528 h 1461099"/>
                    <a:gd name="connsiteX3024" fmla="*/ 1042763 w 1659478"/>
                    <a:gd name="connsiteY3024" fmla="*/ 1126342 h 1461099"/>
                    <a:gd name="connsiteX3025" fmla="*/ 1043625 w 1659478"/>
                    <a:gd name="connsiteY3025" fmla="*/ 1125128 h 1461099"/>
                    <a:gd name="connsiteX3026" fmla="*/ 1043831 w 1659478"/>
                    <a:gd name="connsiteY3026" fmla="*/ 1123659 h 1461099"/>
                    <a:gd name="connsiteX3027" fmla="*/ 1044341 w 1659478"/>
                    <a:gd name="connsiteY3027" fmla="*/ 1120016 h 1461099"/>
                    <a:gd name="connsiteX3028" fmla="*/ 1044426 w 1659478"/>
                    <a:gd name="connsiteY3028" fmla="*/ 1119409 h 1461099"/>
                    <a:gd name="connsiteX3029" fmla="*/ 1044390 w 1659478"/>
                    <a:gd name="connsiteY3029" fmla="*/ 1118790 h 1461099"/>
                    <a:gd name="connsiteX3030" fmla="*/ 1044244 w 1659478"/>
                    <a:gd name="connsiteY3030" fmla="*/ 1116507 h 1461099"/>
                    <a:gd name="connsiteX3031" fmla="*/ 1044305 w 1659478"/>
                    <a:gd name="connsiteY3031" fmla="*/ 1115220 h 1461099"/>
                    <a:gd name="connsiteX3032" fmla="*/ 1044657 w 1659478"/>
                    <a:gd name="connsiteY3032" fmla="*/ 1114066 h 1461099"/>
                    <a:gd name="connsiteX3033" fmla="*/ 1045823 w 1659478"/>
                    <a:gd name="connsiteY3033" fmla="*/ 1111492 h 1461099"/>
                    <a:gd name="connsiteX3034" fmla="*/ 1046284 w 1659478"/>
                    <a:gd name="connsiteY3034" fmla="*/ 1110472 h 1461099"/>
                    <a:gd name="connsiteX3035" fmla="*/ 1046345 w 1659478"/>
                    <a:gd name="connsiteY3035" fmla="*/ 1109354 h 1461099"/>
                    <a:gd name="connsiteX3036" fmla="*/ 1046503 w 1659478"/>
                    <a:gd name="connsiteY3036" fmla="*/ 1106562 h 1461099"/>
                    <a:gd name="connsiteX3037" fmla="*/ 1046612 w 1659478"/>
                    <a:gd name="connsiteY3037" fmla="*/ 1104728 h 1461099"/>
                    <a:gd name="connsiteX3038" fmla="*/ 1045689 w 1659478"/>
                    <a:gd name="connsiteY3038" fmla="*/ 1103149 h 1461099"/>
                    <a:gd name="connsiteX3039" fmla="*/ 1044718 w 1659478"/>
                    <a:gd name="connsiteY3039" fmla="*/ 1101486 h 1461099"/>
                    <a:gd name="connsiteX3040" fmla="*/ 1043953 w 1659478"/>
                    <a:gd name="connsiteY3040" fmla="*/ 1100174 h 1461099"/>
                    <a:gd name="connsiteX3041" fmla="*/ 1042666 w 1659478"/>
                    <a:gd name="connsiteY3041" fmla="*/ 1099373 h 1461099"/>
                    <a:gd name="connsiteX3042" fmla="*/ 1041233 w 1659478"/>
                    <a:gd name="connsiteY3042" fmla="*/ 1098487 h 1461099"/>
                    <a:gd name="connsiteX3043" fmla="*/ 1040031 w 1659478"/>
                    <a:gd name="connsiteY3043" fmla="*/ 1097746 h 1461099"/>
                    <a:gd name="connsiteX3044" fmla="*/ 1038622 w 1659478"/>
                    <a:gd name="connsiteY3044" fmla="*/ 1097612 h 1461099"/>
                    <a:gd name="connsiteX3045" fmla="*/ 1037080 w 1659478"/>
                    <a:gd name="connsiteY3045" fmla="*/ 1097467 h 1461099"/>
                    <a:gd name="connsiteX3046" fmla="*/ 1036303 w 1659478"/>
                    <a:gd name="connsiteY3046" fmla="*/ 1097394 h 1461099"/>
                    <a:gd name="connsiteX3047" fmla="*/ 1035526 w 1659478"/>
                    <a:gd name="connsiteY3047" fmla="*/ 1097515 h 1461099"/>
                    <a:gd name="connsiteX3048" fmla="*/ 1033740 w 1659478"/>
                    <a:gd name="connsiteY3048" fmla="*/ 1097807 h 1461099"/>
                    <a:gd name="connsiteX3049" fmla="*/ 1033425 w 1659478"/>
                    <a:gd name="connsiteY3049" fmla="*/ 1097855 h 1461099"/>
                    <a:gd name="connsiteX3050" fmla="*/ 1033109 w 1659478"/>
                    <a:gd name="connsiteY3050" fmla="*/ 1097940 h 1461099"/>
                    <a:gd name="connsiteX3051" fmla="*/ 1031700 w 1659478"/>
                    <a:gd name="connsiteY3051" fmla="*/ 1098329 h 1461099"/>
                    <a:gd name="connsiteX3052" fmla="*/ 1031227 w 1659478"/>
                    <a:gd name="connsiteY3052" fmla="*/ 1098389 h 1461099"/>
                    <a:gd name="connsiteX3053" fmla="*/ 1030280 w 1659478"/>
                    <a:gd name="connsiteY3053" fmla="*/ 1098195 h 1461099"/>
                    <a:gd name="connsiteX3054" fmla="*/ 1026406 w 1659478"/>
                    <a:gd name="connsiteY3054" fmla="*/ 1097017 h 1461099"/>
                    <a:gd name="connsiteX3055" fmla="*/ 1025860 w 1659478"/>
                    <a:gd name="connsiteY3055" fmla="*/ 1096860 h 1461099"/>
                    <a:gd name="connsiteX3056" fmla="*/ 1025289 w 1659478"/>
                    <a:gd name="connsiteY3056" fmla="*/ 1096799 h 1461099"/>
                    <a:gd name="connsiteX3057" fmla="*/ 1022350 w 1659478"/>
                    <a:gd name="connsiteY3057" fmla="*/ 1096507 h 1461099"/>
                    <a:gd name="connsiteX3058" fmla="*/ 1022023 w 1659478"/>
                    <a:gd name="connsiteY3058" fmla="*/ 1096483 h 1461099"/>
                    <a:gd name="connsiteX3059" fmla="*/ 1021695 w 1659478"/>
                    <a:gd name="connsiteY3059" fmla="*/ 1096483 h 1461099"/>
                    <a:gd name="connsiteX3060" fmla="*/ 1019618 w 1659478"/>
                    <a:gd name="connsiteY3060" fmla="*/ 1096507 h 1461099"/>
                    <a:gd name="connsiteX3061" fmla="*/ 1019800 w 1659478"/>
                    <a:gd name="connsiteY3061" fmla="*/ 1095572 h 1461099"/>
                    <a:gd name="connsiteX3062" fmla="*/ 1019861 w 1659478"/>
                    <a:gd name="connsiteY3062" fmla="*/ 1095220 h 1461099"/>
                    <a:gd name="connsiteX3063" fmla="*/ 1019885 w 1659478"/>
                    <a:gd name="connsiteY3063" fmla="*/ 1094868 h 1461099"/>
                    <a:gd name="connsiteX3064" fmla="*/ 1020055 w 1659478"/>
                    <a:gd name="connsiteY3064" fmla="*/ 1092512 h 1461099"/>
                    <a:gd name="connsiteX3065" fmla="*/ 1020080 w 1659478"/>
                    <a:gd name="connsiteY3065" fmla="*/ 1092148 h 1461099"/>
                    <a:gd name="connsiteX3066" fmla="*/ 1020068 w 1659478"/>
                    <a:gd name="connsiteY3066" fmla="*/ 1091784 h 1461099"/>
                    <a:gd name="connsiteX3067" fmla="*/ 1019958 w 1659478"/>
                    <a:gd name="connsiteY3067" fmla="*/ 1089574 h 1461099"/>
                    <a:gd name="connsiteX3068" fmla="*/ 1019934 w 1659478"/>
                    <a:gd name="connsiteY3068" fmla="*/ 1088918 h 1461099"/>
                    <a:gd name="connsiteX3069" fmla="*/ 1019764 w 1659478"/>
                    <a:gd name="connsiteY3069" fmla="*/ 1088286 h 1461099"/>
                    <a:gd name="connsiteX3070" fmla="*/ 1019120 w 1659478"/>
                    <a:gd name="connsiteY3070" fmla="*/ 1085882 h 1461099"/>
                    <a:gd name="connsiteX3071" fmla="*/ 1019035 w 1659478"/>
                    <a:gd name="connsiteY3071" fmla="*/ 1085554 h 1461099"/>
                    <a:gd name="connsiteX3072" fmla="*/ 1018902 w 1659478"/>
                    <a:gd name="connsiteY3072" fmla="*/ 1085239 h 1461099"/>
                    <a:gd name="connsiteX3073" fmla="*/ 1018392 w 1659478"/>
                    <a:gd name="connsiteY3073" fmla="*/ 1083939 h 1461099"/>
                    <a:gd name="connsiteX3074" fmla="*/ 1019655 w 1659478"/>
                    <a:gd name="connsiteY3074" fmla="*/ 1085299 h 1461099"/>
                    <a:gd name="connsiteX3075" fmla="*/ 1019983 w 1659478"/>
                    <a:gd name="connsiteY3075" fmla="*/ 1085652 h 1461099"/>
                    <a:gd name="connsiteX3076" fmla="*/ 1020359 w 1659478"/>
                    <a:gd name="connsiteY3076" fmla="*/ 1085943 h 1461099"/>
                    <a:gd name="connsiteX3077" fmla="*/ 1021792 w 1659478"/>
                    <a:gd name="connsiteY3077" fmla="*/ 1087072 h 1461099"/>
                    <a:gd name="connsiteX3078" fmla="*/ 1022435 w 1659478"/>
                    <a:gd name="connsiteY3078" fmla="*/ 1087582 h 1461099"/>
                    <a:gd name="connsiteX3079" fmla="*/ 1023188 w 1659478"/>
                    <a:gd name="connsiteY3079" fmla="*/ 1087898 h 1461099"/>
                    <a:gd name="connsiteX3080" fmla="*/ 1025022 w 1659478"/>
                    <a:gd name="connsiteY3080" fmla="*/ 1088675 h 1461099"/>
                    <a:gd name="connsiteX3081" fmla="*/ 1025556 w 1659478"/>
                    <a:gd name="connsiteY3081" fmla="*/ 1088906 h 1461099"/>
                    <a:gd name="connsiteX3082" fmla="*/ 1026115 w 1659478"/>
                    <a:gd name="connsiteY3082" fmla="*/ 1089027 h 1461099"/>
                    <a:gd name="connsiteX3083" fmla="*/ 1027511 w 1659478"/>
                    <a:gd name="connsiteY3083" fmla="*/ 1089331 h 1461099"/>
                    <a:gd name="connsiteX3084" fmla="*/ 1028313 w 1659478"/>
                    <a:gd name="connsiteY3084" fmla="*/ 1089671 h 1461099"/>
                    <a:gd name="connsiteX3085" fmla="*/ 1031931 w 1659478"/>
                    <a:gd name="connsiteY3085" fmla="*/ 1092172 h 1461099"/>
                    <a:gd name="connsiteX3086" fmla="*/ 1032332 w 1659478"/>
                    <a:gd name="connsiteY3086" fmla="*/ 1092452 h 1461099"/>
                    <a:gd name="connsiteX3087" fmla="*/ 1032769 w 1659478"/>
                    <a:gd name="connsiteY3087" fmla="*/ 1092670 h 1461099"/>
                    <a:gd name="connsiteX3088" fmla="*/ 1035538 w 1659478"/>
                    <a:gd name="connsiteY3088" fmla="*/ 1093982 h 1461099"/>
                    <a:gd name="connsiteX3089" fmla="*/ 1036145 w 1659478"/>
                    <a:gd name="connsiteY3089" fmla="*/ 1094273 h 1461099"/>
                    <a:gd name="connsiteX3090" fmla="*/ 1036800 w 1659478"/>
                    <a:gd name="connsiteY3090" fmla="*/ 1094419 h 1461099"/>
                    <a:gd name="connsiteX3091" fmla="*/ 1039569 w 1659478"/>
                    <a:gd name="connsiteY3091" fmla="*/ 1095050 h 1461099"/>
                    <a:gd name="connsiteX3092" fmla="*/ 1040456 w 1659478"/>
                    <a:gd name="connsiteY3092" fmla="*/ 1095244 h 1461099"/>
                    <a:gd name="connsiteX3093" fmla="*/ 1041354 w 1659478"/>
                    <a:gd name="connsiteY3093" fmla="*/ 1095184 h 1461099"/>
                    <a:gd name="connsiteX3094" fmla="*/ 1043928 w 1659478"/>
                    <a:gd name="connsiteY3094" fmla="*/ 1094989 h 1461099"/>
                    <a:gd name="connsiteX3095" fmla="*/ 1044572 w 1659478"/>
                    <a:gd name="connsiteY3095" fmla="*/ 1094941 h 1461099"/>
                    <a:gd name="connsiteX3096" fmla="*/ 1045191 w 1659478"/>
                    <a:gd name="connsiteY3096" fmla="*/ 1094759 h 1461099"/>
                    <a:gd name="connsiteX3097" fmla="*/ 1046685 w 1659478"/>
                    <a:gd name="connsiteY3097" fmla="*/ 1094322 h 1461099"/>
                    <a:gd name="connsiteX3098" fmla="*/ 1047486 w 1659478"/>
                    <a:gd name="connsiteY3098" fmla="*/ 1094091 h 1461099"/>
                    <a:gd name="connsiteX3099" fmla="*/ 1048191 w 1659478"/>
                    <a:gd name="connsiteY3099" fmla="*/ 1093654 h 1461099"/>
                    <a:gd name="connsiteX3100" fmla="*/ 1050255 w 1659478"/>
                    <a:gd name="connsiteY3100" fmla="*/ 1092366 h 1461099"/>
                    <a:gd name="connsiteX3101" fmla="*/ 1050643 w 1659478"/>
                    <a:gd name="connsiteY3101" fmla="*/ 1092124 h 1461099"/>
                    <a:gd name="connsiteX3102" fmla="*/ 1050996 w 1659478"/>
                    <a:gd name="connsiteY3102" fmla="*/ 1091832 h 1461099"/>
                    <a:gd name="connsiteX3103" fmla="*/ 1054541 w 1659478"/>
                    <a:gd name="connsiteY3103" fmla="*/ 1088809 h 1461099"/>
                    <a:gd name="connsiteX3104" fmla="*/ 1055197 w 1659478"/>
                    <a:gd name="connsiteY3104" fmla="*/ 1089112 h 1461099"/>
                    <a:gd name="connsiteX3105" fmla="*/ 1055586 w 1659478"/>
                    <a:gd name="connsiteY3105" fmla="*/ 1089294 h 1461099"/>
                    <a:gd name="connsiteX3106" fmla="*/ 1055999 w 1659478"/>
                    <a:gd name="connsiteY3106" fmla="*/ 1089428 h 1461099"/>
                    <a:gd name="connsiteX3107" fmla="*/ 1057213 w 1659478"/>
                    <a:gd name="connsiteY3107" fmla="*/ 1089804 h 1461099"/>
                    <a:gd name="connsiteX3108" fmla="*/ 1058087 w 1659478"/>
                    <a:gd name="connsiteY3108" fmla="*/ 1090072 h 1461099"/>
                    <a:gd name="connsiteX3109" fmla="*/ 1058998 w 1659478"/>
                    <a:gd name="connsiteY3109" fmla="*/ 1090072 h 1461099"/>
                    <a:gd name="connsiteX3110" fmla="*/ 1060188 w 1659478"/>
                    <a:gd name="connsiteY3110" fmla="*/ 1090072 h 1461099"/>
                    <a:gd name="connsiteX3111" fmla="*/ 1061487 w 1659478"/>
                    <a:gd name="connsiteY3111" fmla="*/ 1090072 h 1461099"/>
                    <a:gd name="connsiteX3112" fmla="*/ 1062677 w 1659478"/>
                    <a:gd name="connsiteY3112" fmla="*/ 1089537 h 1461099"/>
                    <a:gd name="connsiteX3113" fmla="*/ 1063891 w 1659478"/>
                    <a:gd name="connsiteY3113" fmla="*/ 1088991 h 1461099"/>
                    <a:gd name="connsiteX3114" fmla="*/ 1065118 w 1659478"/>
                    <a:gd name="connsiteY3114" fmla="*/ 1088444 h 1461099"/>
                    <a:gd name="connsiteX3115" fmla="*/ 1065992 w 1659478"/>
                    <a:gd name="connsiteY3115" fmla="*/ 1087437 h 1461099"/>
                    <a:gd name="connsiteX3116" fmla="*/ 1066854 w 1659478"/>
                    <a:gd name="connsiteY3116" fmla="*/ 1086441 h 1461099"/>
                    <a:gd name="connsiteX3117" fmla="*/ 1067401 w 1659478"/>
                    <a:gd name="connsiteY3117" fmla="*/ 1085797 h 1461099"/>
                    <a:gd name="connsiteX3118" fmla="*/ 1067765 w 1659478"/>
                    <a:gd name="connsiteY3118" fmla="*/ 1085044 h 1461099"/>
                    <a:gd name="connsiteX3119" fmla="*/ 1068566 w 1659478"/>
                    <a:gd name="connsiteY3119" fmla="*/ 1083344 h 1461099"/>
                    <a:gd name="connsiteX3120" fmla="*/ 1068919 w 1659478"/>
                    <a:gd name="connsiteY3120" fmla="*/ 1082592 h 1461099"/>
                    <a:gd name="connsiteX3121" fmla="*/ 1069052 w 1659478"/>
                    <a:gd name="connsiteY3121" fmla="*/ 1081766 h 1461099"/>
                    <a:gd name="connsiteX3122" fmla="*/ 1069793 w 1659478"/>
                    <a:gd name="connsiteY3122" fmla="*/ 1077309 h 1461099"/>
                    <a:gd name="connsiteX3123" fmla="*/ 1069890 w 1659478"/>
                    <a:gd name="connsiteY3123" fmla="*/ 1076702 h 1461099"/>
                    <a:gd name="connsiteX3124" fmla="*/ 1069866 w 1659478"/>
                    <a:gd name="connsiteY3124" fmla="*/ 1076083 h 1461099"/>
                    <a:gd name="connsiteX3125" fmla="*/ 1069635 w 1659478"/>
                    <a:gd name="connsiteY3125" fmla="*/ 1073533 h 1461099"/>
                    <a:gd name="connsiteX3126" fmla="*/ 1069623 w 1659478"/>
                    <a:gd name="connsiteY3126" fmla="*/ 1072962 h 1461099"/>
                    <a:gd name="connsiteX3127" fmla="*/ 1069489 w 1659478"/>
                    <a:gd name="connsiteY3127" fmla="*/ 1072404 h 1461099"/>
                    <a:gd name="connsiteX3128" fmla="*/ 1068287 w 1659478"/>
                    <a:gd name="connsiteY3128" fmla="*/ 1067206 h 1461099"/>
                    <a:gd name="connsiteX3129" fmla="*/ 1069489 w 1659478"/>
                    <a:gd name="connsiteY3129" fmla="*/ 1066186 h 1461099"/>
                    <a:gd name="connsiteX3130" fmla="*/ 1069817 w 1659478"/>
                    <a:gd name="connsiteY3130" fmla="*/ 1065907 h 1461099"/>
                    <a:gd name="connsiteX3131" fmla="*/ 1070109 w 1659478"/>
                    <a:gd name="connsiteY3131" fmla="*/ 1065579 h 1461099"/>
                    <a:gd name="connsiteX3132" fmla="*/ 1071141 w 1659478"/>
                    <a:gd name="connsiteY3132" fmla="*/ 1064413 h 1461099"/>
                    <a:gd name="connsiteX3133" fmla="*/ 1071396 w 1659478"/>
                    <a:gd name="connsiteY3133" fmla="*/ 1064134 h 1461099"/>
                    <a:gd name="connsiteX3134" fmla="*/ 1071614 w 1659478"/>
                    <a:gd name="connsiteY3134" fmla="*/ 1063831 h 1461099"/>
                    <a:gd name="connsiteX3135" fmla="*/ 1072307 w 1659478"/>
                    <a:gd name="connsiteY3135" fmla="*/ 1062823 h 1461099"/>
                    <a:gd name="connsiteX3136" fmla="*/ 1072610 w 1659478"/>
                    <a:gd name="connsiteY3136" fmla="*/ 1062373 h 1461099"/>
                    <a:gd name="connsiteX3137" fmla="*/ 1072829 w 1659478"/>
                    <a:gd name="connsiteY3137" fmla="*/ 1061888 h 1461099"/>
                    <a:gd name="connsiteX3138" fmla="*/ 1073339 w 1659478"/>
                    <a:gd name="connsiteY3138" fmla="*/ 1060771 h 1461099"/>
                    <a:gd name="connsiteX3139" fmla="*/ 1073557 w 1659478"/>
                    <a:gd name="connsiteY3139" fmla="*/ 1060297 h 1461099"/>
                    <a:gd name="connsiteX3140" fmla="*/ 1073691 w 1659478"/>
                    <a:gd name="connsiteY3140" fmla="*/ 1059799 h 1461099"/>
                    <a:gd name="connsiteX3141" fmla="*/ 1073946 w 1659478"/>
                    <a:gd name="connsiteY3141" fmla="*/ 1058828 h 1461099"/>
                    <a:gd name="connsiteX3142" fmla="*/ 1082252 w 1659478"/>
                    <a:gd name="connsiteY3142" fmla="*/ 1059763 h 1461099"/>
                    <a:gd name="connsiteX3143" fmla="*/ 1088214 w 1659478"/>
                    <a:gd name="connsiteY3143" fmla="*/ 1059896 h 1461099"/>
                    <a:gd name="connsiteX3144" fmla="*/ 1088979 w 1659478"/>
                    <a:gd name="connsiteY3144" fmla="*/ 1059909 h 1461099"/>
                    <a:gd name="connsiteX3145" fmla="*/ 1089732 w 1659478"/>
                    <a:gd name="connsiteY3145" fmla="*/ 1059726 h 1461099"/>
                    <a:gd name="connsiteX3146" fmla="*/ 1094103 w 1659478"/>
                    <a:gd name="connsiteY3146" fmla="*/ 1058694 h 1461099"/>
                    <a:gd name="connsiteX3147" fmla="*/ 1093532 w 1659478"/>
                    <a:gd name="connsiteY3147" fmla="*/ 1059811 h 1461099"/>
                    <a:gd name="connsiteX3148" fmla="*/ 1092646 w 1659478"/>
                    <a:gd name="connsiteY3148" fmla="*/ 1061548 h 1461099"/>
                    <a:gd name="connsiteX3149" fmla="*/ 1092937 w 1659478"/>
                    <a:gd name="connsiteY3149" fmla="*/ 1063478 h 1461099"/>
                    <a:gd name="connsiteX3150" fmla="*/ 1093217 w 1659478"/>
                    <a:gd name="connsiteY3150" fmla="*/ 1065397 h 1461099"/>
                    <a:gd name="connsiteX3151" fmla="*/ 1093338 w 1659478"/>
                    <a:gd name="connsiteY3151" fmla="*/ 1066174 h 1461099"/>
                    <a:gd name="connsiteX3152" fmla="*/ 1093654 w 1659478"/>
                    <a:gd name="connsiteY3152" fmla="*/ 1066903 h 1461099"/>
                    <a:gd name="connsiteX3153" fmla="*/ 1093945 w 1659478"/>
                    <a:gd name="connsiteY3153" fmla="*/ 1067571 h 1461099"/>
                    <a:gd name="connsiteX3154" fmla="*/ 1094115 w 1659478"/>
                    <a:gd name="connsiteY3154" fmla="*/ 1067959 h 1461099"/>
                    <a:gd name="connsiteX3155" fmla="*/ 1094297 w 1659478"/>
                    <a:gd name="connsiteY3155" fmla="*/ 1068251 h 1461099"/>
                    <a:gd name="connsiteX3156" fmla="*/ 1093520 w 1659478"/>
                    <a:gd name="connsiteY3156" fmla="*/ 1068141 h 1461099"/>
                    <a:gd name="connsiteX3157" fmla="*/ 1092282 w 1659478"/>
                    <a:gd name="connsiteY3157" fmla="*/ 1067971 h 1461099"/>
                    <a:gd name="connsiteX3158" fmla="*/ 1091079 w 1659478"/>
                    <a:gd name="connsiteY3158" fmla="*/ 1068299 h 1461099"/>
                    <a:gd name="connsiteX3159" fmla="*/ 1089817 w 1659478"/>
                    <a:gd name="connsiteY3159" fmla="*/ 1068639 h 1461099"/>
                    <a:gd name="connsiteX3160" fmla="*/ 1087886 w 1659478"/>
                    <a:gd name="connsiteY3160" fmla="*/ 1069161 h 1461099"/>
                    <a:gd name="connsiteX3161" fmla="*/ 1086647 w 1659478"/>
                    <a:gd name="connsiteY3161" fmla="*/ 1070728 h 1461099"/>
                    <a:gd name="connsiteX3162" fmla="*/ 1085955 w 1659478"/>
                    <a:gd name="connsiteY3162" fmla="*/ 1071602 h 1461099"/>
                    <a:gd name="connsiteX3163" fmla="*/ 1085494 w 1659478"/>
                    <a:gd name="connsiteY3163" fmla="*/ 1072185 h 1461099"/>
                    <a:gd name="connsiteX3164" fmla="*/ 1085190 w 1659478"/>
                    <a:gd name="connsiteY3164" fmla="*/ 1072877 h 1461099"/>
                    <a:gd name="connsiteX3165" fmla="*/ 1084729 w 1659478"/>
                    <a:gd name="connsiteY3165" fmla="*/ 1073909 h 1461099"/>
                    <a:gd name="connsiteX3166" fmla="*/ 1084389 w 1659478"/>
                    <a:gd name="connsiteY3166" fmla="*/ 1074662 h 1461099"/>
                    <a:gd name="connsiteX3167" fmla="*/ 1084267 w 1659478"/>
                    <a:gd name="connsiteY3167" fmla="*/ 1075464 h 1461099"/>
                    <a:gd name="connsiteX3168" fmla="*/ 1084037 w 1659478"/>
                    <a:gd name="connsiteY3168" fmla="*/ 1076957 h 1461099"/>
                    <a:gd name="connsiteX3169" fmla="*/ 1083976 w 1659478"/>
                    <a:gd name="connsiteY3169" fmla="*/ 1077370 h 1461099"/>
                    <a:gd name="connsiteX3170" fmla="*/ 1082567 w 1659478"/>
                    <a:gd name="connsiteY3170" fmla="*/ 1076884 h 1461099"/>
                    <a:gd name="connsiteX3171" fmla="*/ 1080272 w 1659478"/>
                    <a:gd name="connsiteY3171" fmla="*/ 1076083 h 1461099"/>
                    <a:gd name="connsiteX3172" fmla="*/ 1078050 w 1659478"/>
                    <a:gd name="connsiteY3172" fmla="*/ 1077091 h 1461099"/>
                    <a:gd name="connsiteX3173" fmla="*/ 1076787 w 1659478"/>
                    <a:gd name="connsiteY3173" fmla="*/ 1077674 h 1461099"/>
                    <a:gd name="connsiteX3174" fmla="*/ 1074857 w 1659478"/>
                    <a:gd name="connsiteY3174" fmla="*/ 1078597 h 1461099"/>
                    <a:gd name="connsiteX3175" fmla="*/ 1073897 w 1659478"/>
                    <a:gd name="connsiteY3175" fmla="*/ 1080479 h 1461099"/>
                    <a:gd name="connsiteX3176" fmla="*/ 1073205 w 1659478"/>
                    <a:gd name="connsiteY3176" fmla="*/ 1081826 h 1461099"/>
                    <a:gd name="connsiteX3177" fmla="*/ 1072440 w 1659478"/>
                    <a:gd name="connsiteY3177" fmla="*/ 1083344 h 1461099"/>
                    <a:gd name="connsiteX3178" fmla="*/ 1072561 w 1659478"/>
                    <a:gd name="connsiteY3178" fmla="*/ 1085032 h 1461099"/>
                    <a:gd name="connsiteX3179" fmla="*/ 1072683 w 1659478"/>
                    <a:gd name="connsiteY3179" fmla="*/ 1086672 h 1461099"/>
                    <a:gd name="connsiteX3180" fmla="*/ 1072744 w 1659478"/>
                    <a:gd name="connsiteY3180" fmla="*/ 1087534 h 1461099"/>
                    <a:gd name="connsiteX3181" fmla="*/ 1073047 w 1659478"/>
                    <a:gd name="connsiteY3181" fmla="*/ 1088347 h 1461099"/>
                    <a:gd name="connsiteX3182" fmla="*/ 1073849 w 1659478"/>
                    <a:gd name="connsiteY3182" fmla="*/ 1090497 h 1461099"/>
                    <a:gd name="connsiteX3183" fmla="*/ 1074055 w 1659478"/>
                    <a:gd name="connsiteY3183" fmla="*/ 1091055 h 1461099"/>
                    <a:gd name="connsiteX3184" fmla="*/ 1074359 w 1659478"/>
                    <a:gd name="connsiteY3184" fmla="*/ 1091565 h 1461099"/>
                    <a:gd name="connsiteX3185" fmla="*/ 1076763 w 1659478"/>
                    <a:gd name="connsiteY3185" fmla="*/ 1095463 h 1461099"/>
                    <a:gd name="connsiteX3186" fmla="*/ 1077358 w 1659478"/>
                    <a:gd name="connsiteY3186" fmla="*/ 1096738 h 1461099"/>
                    <a:gd name="connsiteX3187" fmla="*/ 1077504 w 1659478"/>
                    <a:gd name="connsiteY3187" fmla="*/ 1097406 h 1461099"/>
                    <a:gd name="connsiteX3188" fmla="*/ 1074444 w 1659478"/>
                    <a:gd name="connsiteY3188" fmla="*/ 1099774 h 1461099"/>
                    <a:gd name="connsiteX3189" fmla="*/ 1073545 w 1659478"/>
                    <a:gd name="connsiteY3189" fmla="*/ 1100478 h 1461099"/>
                    <a:gd name="connsiteX3190" fmla="*/ 1072962 w 1659478"/>
                    <a:gd name="connsiteY3190" fmla="*/ 1101462 h 1461099"/>
                    <a:gd name="connsiteX3191" fmla="*/ 1071627 w 1659478"/>
                    <a:gd name="connsiteY3191" fmla="*/ 1103696 h 1461099"/>
                    <a:gd name="connsiteX3192" fmla="*/ 1070995 w 1659478"/>
                    <a:gd name="connsiteY3192" fmla="*/ 1104740 h 1461099"/>
                    <a:gd name="connsiteX3193" fmla="*/ 1070825 w 1659478"/>
                    <a:gd name="connsiteY3193" fmla="*/ 1105954 h 1461099"/>
                    <a:gd name="connsiteX3194" fmla="*/ 1070485 w 1659478"/>
                    <a:gd name="connsiteY3194" fmla="*/ 1108371 h 1461099"/>
                    <a:gd name="connsiteX3195" fmla="*/ 1070315 w 1659478"/>
                    <a:gd name="connsiteY3195" fmla="*/ 1109525 h 1461099"/>
                    <a:gd name="connsiteX3196" fmla="*/ 1070594 w 1659478"/>
                    <a:gd name="connsiteY3196" fmla="*/ 1110666 h 1461099"/>
                    <a:gd name="connsiteX3197" fmla="*/ 1071177 w 1659478"/>
                    <a:gd name="connsiteY3197" fmla="*/ 1113070 h 1461099"/>
                    <a:gd name="connsiteX3198" fmla="*/ 1071432 w 1659478"/>
                    <a:gd name="connsiteY3198" fmla="*/ 1114127 h 1461099"/>
                    <a:gd name="connsiteX3199" fmla="*/ 1072039 w 1659478"/>
                    <a:gd name="connsiteY3199" fmla="*/ 1115037 h 1461099"/>
                    <a:gd name="connsiteX3200" fmla="*/ 1073351 w 1659478"/>
                    <a:gd name="connsiteY3200" fmla="*/ 1116968 h 1461099"/>
                    <a:gd name="connsiteX3201" fmla="*/ 1073739 w 1659478"/>
                    <a:gd name="connsiteY3201" fmla="*/ 1117527 h 1461099"/>
                    <a:gd name="connsiteX3202" fmla="*/ 1074249 w 1659478"/>
                    <a:gd name="connsiteY3202" fmla="*/ 1118000 h 1461099"/>
                    <a:gd name="connsiteX3203" fmla="*/ 1076156 w 1659478"/>
                    <a:gd name="connsiteY3203" fmla="*/ 1119773 h 1461099"/>
                    <a:gd name="connsiteX3204" fmla="*/ 1076581 w 1659478"/>
                    <a:gd name="connsiteY3204" fmla="*/ 1120162 h 1461099"/>
                    <a:gd name="connsiteX3205" fmla="*/ 1077067 w 1659478"/>
                    <a:gd name="connsiteY3205" fmla="*/ 1120465 h 1461099"/>
                    <a:gd name="connsiteX3206" fmla="*/ 1079252 w 1659478"/>
                    <a:gd name="connsiteY3206" fmla="*/ 1121837 h 1461099"/>
                    <a:gd name="connsiteX3207" fmla="*/ 1080042 w 1659478"/>
                    <a:gd name="connsiteY3207" fmla="*/ 1122335 h 1461099"/>
                    <a:gd name="connsiteX3208" fmla="*/ 1080952 w 1659478"/>
                    <a:gd name="connsiteY3208" fmla="*/ 1122578 h 1461099"/>
                    <a:gd name="connsiteX3209" fmla="*/ 1084170 w 1659478"/>
                    <a:gd name="connsiteY3209" fmla="*/ 1123416 h 1461099"/>
                    <a:gd name="connsiteX3210" fmla="*/ 1084838 w 1659478"/>
                    <a:gd name="connsiteY3210" fmla="*/ 1123586 h 1461099"/>
                    <a:gd name="connsiteX3211" fmla="*/ 1085530 w 1659478"/>
                    <a:gd name="connsiteY3211" fmla="*/ 1123610 h 1461099"/>
                    <a:gd name="connsiteX3212" fmla="*/ 1089549 w 1659478"/>
                    <a:gd name="connsiteY3212" fmla="*/ 1123732 h 1461099"/>
                    <a:gd name="connsiteX3213" fmla="*/ 1089987 w 1659478"/>
                    <a:gd name="connsiteY3213" fmla="*/ 1123744 h 1461099"/>
                    <a:gd name="connsiteX3214" fmla="*/ 1090412 w 1659478"/>
                    <a:gd name="connsiteY3214" fmla="*/ 1123695 h 1461099"/>
                    <a:gd name="connsiteX3215" fmla="*/ 1097297 w 1659478"/>
                    <a:gd name="connsiteY3215" fmla="*/ 1122918 h 1461099"/>
                    <a:gd name="connsiteX3216" fmla="*/ 1101753 w 1659478"/>
                    <a:gd name="connsiteY3216" fmla="*/ 1122845 h 1461099"/>
                    <a:gd name="connsiteX3217" fmla="*/ 1106890 w 1659478"/>
                    <a:gd name="connsiteY3217" fmla="*/ 1123683 h 1461099"/>
                    <a:gd name="connsiteX3218" fmla="*/ 1114940 w 1659478"/>
                    <a:gd name="connsiteY3218" fmla="*/ 1126488 h 1461099"/>
                    <a:gd name="connsiteX3219" fmla="*/ 1115511 w 1659478"/>
                    <a:gd name="connsiteY3219" fmla="*/ 1126682 h 1461099"/>
                    <a:gd name="connsiteX3220" fmla="*/ 1116106 w 1659478"/>
                    <a:gd name="connsiteY3220" fmla="*/ 1126768 h 1461099"/>
                    <a:gd name="connsiteX3221" fmla="*/ 1121558 w 1659478"/>
                    <a:gd name="connsiteY3221" fmla="*/ 1127520 h 1461099"/>
                    <a:gd name="connsiteX3222" fmla="*/ 1122190 w 1659478"/>
                    <a:gd name="connsiteY3222" fmla="*/ 1127605 h 1461099"/>
                    <a:gd name="connsiteX3223" fmla="*/ 1122833 w 1659478"/>
                    <a:gd name="connsiteY3223" fmla="*/ 1127557 h 1461099"/>
                    <a:gd name="connsiteX3224" fmla="*/ 1128759 w 1659478"/>
                    <a:gd name="connsiteY3224" fmla="*/ 1127120 h 1461099"/>
                    <a:gd name="connsiteX3225" fmla="*/ 1129245 w 1659478"/>
                    <a:gd name="connsiteY3225" fmla="*/ 1127083 h 1461099"/>
                    <a:gd name="connsiteX3226" fmla="*/ 1129718 w 1659478"/>
                    <a:gd name="connsiteY3226" fmla="*/ 1126974 h 1461099"/>
                    <a:gd name="connsiteX3227" fmla="*/ 1148273 w 1659478"/>
                    <a:gd name="connsiteY3227" fmla="*/ 1122602 h 1461099"/>
                    <a:gd name="connsiteX3228" fmla="*/ 1156761 w 1659478"/>
                    <a:gd name="connsiteY3228" fmla="*/ 1122275 h 1461099"/>
                    <a:gd name="connsiteX3229" fmla="*/ 1157331 w 1659478"/>
                    <a:gd name="connsiteY3229" fmla="*/ 1122250 h 1461099"/>
                    <a:gd name="connsiteX3230" fmla="*/ 1157878 w 1659478"/>
                    <a:gd name="connsiteY3230" fmla="*/ 1122129 h 1461099"/>
                    <a:gd name="connsiteX3231" fmla="*/ 1167349 w 1659478"/>
                    <a:gd name="connsiteY3231" fmla="*/ 1119955 h 1461099"/>
                    <a:gd name="connsiteX3232" fmla="*/ 1168199 w 1659478"/>
                    <a:gd name="connsiteY3232" fmla="*/ 1119761 h 1461099"/>
                    <a:gd name="connsiteX3233" fmla="*/ 1168964 w 1659478"/>
                    <a:gd name="connsiteY3233" fmla="*/ 1119324 h 1461099"/>
                    <a:gd name="connsiteX3234" fmla="*/ 1181350 w 1659478"/>
                    <a:gd name="connsiteY3234" fmla="*/ 1112354 h 1461099"/>
                    <a:gd name="connsiteX3235" fmla="*/ 1182734 w 1659478"/>
                    <a:gd name="connsiteY3235" fmla="*/ 1111880 h 1461099"/>
                    <a:gd name="connsiteX3236" fmla="*/ 1183827 w 1659478"/>
                    <a:gd name="connsiteY3236" fmla="*/ 1111832 h 1461099"/>
                    <a:gd name="connsiteX3237" fmla="*/ 1184046 w 1659478"/>
                    <a:gd name="connsiteY3237" fmla="*/ 1111880 h 1461099"/>
                    <a:gd name="connsiteX3238" fmla="*/ 1184422 w 1659478"/>
                    <a:gd name="connsiteY3238" fmla="*/ 1112135 h 1461099"/>
                    <a:gd name="connsiteX3239" fmla="*/ 1186329 w 1659478"/>
                    <a:gd name="connsiteY3239" fmla="*/ 1113908 h 1461099"/>
                    <a:gd name="connsiteX3240" fmla="*/ 1191198 w 1659478"/>
                    <a:gd name="connsiteY3240" fmla="*/ 1120720 h 1461099"/>
                    <a:gd name="connsiteX3241" fmla="*/ 1191684 w 1659478"/>
                    <a:gd name="connsiteY3241" fmla="*/ 1122712 h 1461099"/>
                    <a:gd name="connsiteX3242" fmla="*/ 1191647 w 1659478"/>
                    <a:gd name="connsiteY3242" fmla="*/ 1123331 h 1461099"/>
                    <a:gd name="connsiteX3243" fmla="*/ 1191210 w 1659478"/>
                    <a:gd name="connsiteY3243" fmla="*/ 1124509 h 1461099"/>
                    <a:gd name="connsiteX3244" fmla="*/ 1190822 w 1659478"/>
                    <a:gd name="connsiteY3244" fmla="*/ 1125529 h 1461099"/>
                    <a:gd name="connsiteX3245" fmla="*/ 1190822 w 1659478"/>
                    <a:gd name="connsiteY3245" fmla="*/ 1126622 h 1461099"/>
                    <a:gd name="connsiteX3246" fmla="*/ 1190822 w 1659478"/>
                    <a:gd name="connsiteY3246" fmla="*/ 1128856 h 1461099"/>
                    <a:gd name="connsiteX3247" fmla="*/ 1190822 w 1659478"/>
                    <a:gd name="connsiteY3247" fmla="*/ 1130228 h 1461099"/>
                    <a:gd name="connsiteX3248" fmla="*/ 1191417 w 1659478"/>
                    <a:gd name="connsiteY3248" fmla="*/ 1131467 h 1461099"/>
                    <a:gd name="connsiteX3249" fmla="*/ 1192619 w 1659478"/>
                    <a:gd name="connsiteY3249" fmla="*/ 1133993 h 1461099"/>
                    <a:gd name="connsiteX3250" fmla="*/ 1193080 w 1659478"/>
                    <a:gd name="connsiteY3250" fmla="*/ 1134952 h 1461099"/>
                    <a:gd name="connsiteX3251" fmla="*/ 1193833 w 1659478"/>
                    <a:gd name="connsiteY3251" fmla="*/ 1135705 h 1461099"/>
                    <a:gd name="connsiteX3252" fmla="*/ 1197342 w 1659478"/>
                    <a:gd name="connsiteY3252" fmla="*/ 1139178 h 1461099"/>
                    <a:gd name="connsiteX3253" fmla="*/ 1201386 w 1659478"/>
                    <a:gd name="connsiteY3253" fmla="*/ 1144071 h 1461099"/>
                    <a:gd name="connsiteX3254" fmla="*/ 1202272 w 1659478"/>
                    <a:gd name="connsiteY3254" fmla="*/ 1158667 h 1461099"/>
                    <a:gd name="connsiteX3255" fmla="*/ 1202199 w 1659478"/>
                    <a:gd name="connsiteY3255" fmla="*/ 1159869 h 1461099"/>
                    <a:gd name="connsiteX3256" fmla="*/ 1202029 w 1659478"/>
                    <a:gd name="connsiteY3256" fmla="*/ 1160185 h 1461099"/>
                    <a:gd name="connsiteX3257" fmla="*/ 1201410 w 1659478"/>
                    <a:gd name="connsiteY3257" fmla="*/ 1161035 h 1461099"/>
                    <a:gd name="connsiteX3258" fmla="*/ 1201362 w 1659478"/>
                    <a:gd name="connsiteY3258" fmla="*/ 1161071 h 1461099"/>
                    <a:gd name="connsiteX3259" fmla="*/ 1196262 w 1659478"/>
                    <a:gd name="connsiteY3259" fmla="*/ 1157635 h 1461099"/>
                    <a:gd name="connsiteX3260" fmla="*/ 1195132 w 1659478"/>
                    <a:gd name="connsiteY3260" fmla="*/ 1156870 h 1461099"/>
                    <a:gd name="connsiteX3261" fmla="*/ 1193784 w 1659478"/>
                    <a:gd name="connsiteY3261" fmla="*/ 1156663 h 1461099"/>
                    <a:gd name="connsiteX3262" fmla="*/ 1190979 w 1659478"/>
                    <a:gd name="connsiteY3262" fmla="*/ 1156238 h 1461099"/>
                    <a:gd name="connsiteX3263" fmla="*/ 1189729 w 1659478"/>
                    <a:gd name="connsiteY3263" fmla="*/ 1156044 h 1461099"/>
                    <a:gd name="connsiteX3264" fmla="*/ 1188514 w 1659478"/>
                    <a:gd name="connsiteY3264" fmla="*/ 1156360 h 1461099"/>
                    <a:gd name="connsiteX3265" fmla="*/ 1186329 w 1659478"/>
                    <a:gd name="connsiteY3265" fmla="*/ 1156931 h 1461099"/>
                    <a:gd name="connsiteX3266" fmla="*/ 1184884 w 1659478"/>
                    <a:gd name="connsiteY3266" fmla="*/ 1157307 h 1461099"/>
                    <a:gd name="connsiteX3267" fmla="*/ 1183779 w 1659478"/>
                    <a:gd name="connsiteY3267" fmla="*/ 1158315 h 1461099"/>
                    <a:gd name="connsiteX3268" fmla="*/ 1181641 w 1659478"/>
                    <a:gd name="connsiteY3268" fmla="*/ 1160270 h 1461099"/>
                    <a:gd name="connsiteX3269" fmla="*/ 1180949 w 1659478"/>
                    <a:gd name="connsiteY3269" fmla="*/ 1160901 h 1461099"/>
                    <a:gd name="connsiteX3270" fmla="*/ 1180476 w 1659478"/>
                    <a:gd name="connsiteY3270" fmla="*/ 1161703 h 1461099"/>
                    <a:gd name="connsiteX3271" fmla="*/ 1178764 w 1659478"/>
                    <a:gd name="connsiteY3271" fmla="*/ 1164641 h 1461099"/>
                    <a:gd name="connsiteX3272" fmla="*/ 1178436 w 1659478"/>
                    <a:gd name="connsiteY3272" fmla="*/ 1165212 h 1461099"/>
                    <a:gd name="connsiteX3273" fmla="*/ 1178229 w 1659478"/>
                    <a:gd name="connsiteY3273" fmla="*/ 1165844 h 1461099"/>
                    <a:gd name="connsiteX3274" fmla="*/ 1176384 w 1659478"/>
                    <a:gd name="connsiteY3274" fmla="*/ 1171575 h 1461099"/>
                    <a:gd name="connsiteX3275" fmla="*/ 1176141 w 1659478"/>
                    <a:gd name="connsiteY3275" fmla="*/ 1172328 h 1461099"/>
                    <a:gd name="connsiteX3276" fmla="*/ 1176104 w 1659478"/>
                    <a:gd name="connsiteY3276" fmla="*/ 1173129 h 1461099"/>
                    <a:gd name="connsiteX3277" fmla="*/ 1175946 w 1659478"/>
                    <a:gd name="connsiteY3277" fmla="*/ 1176323 h 1461099"/>
                    <a:gd name="connsiteX3278" fmla="*/ 1175910 w 1659478"/>
                    <a:gd name="connsiteY3278" fmla="*/ 1177100 h 1461099"/>
                    <a:gd name="connsiteX3279" fmla="*/ 1176068 w 1659478"/>
                    <a:gd name="connsiteY3279" fmla="*/ 1177865 h 1461099"/>
                    <a:gd name="connsiteX3280" fmla="*/ 1176626 w 1659478"/>
                    <a:gd name="connsiteY3280" fmla="*/ 1180536 h 1461099"/>
                    <a:gd name="connsiteX3281" fmla="*/ 1177294 w 1659478"/>
                    <a:gd name="connsiteY3281" fmla="*/ 1182722 h 1461099"/>
                    <a:gd name="connsiteX3282" fmla="*/ 1178266 w 1659478"/>
                    <a:gd name="connsiteY3282" fmla="*/ 1190639 h 1461099"/>
                    <a:gd name="connsiteX3283" fmla="*/ 1178339 w 1659478"/>
                    <a:gd name="connsiteY3283" fmla="*/ 1191234 h 1461099"/>
                    <a:gd name="connsiteX3284" fmla="*/ 1178521 w 1659478"/>
                    <a:gd name="connsiteY3284" fmla="*/ 1191805 h 1461099"/>
                    <a:gd name="connsiteX3285" fmla="*/ 1179504 w 1659478"/>
                    <a:gd name="connsiteY3285" fmla="*/ 1194792 h 1461099"/>
                    <a:gd name="connsiteX3286" fmla="*/ 1179869 w 1659478"/>
                    <a:gd name="connsiteY3286" fmla="*/ 1195909 h 1461099"/>
                    <a:gd name="connsiteX3287" fmla="*/ 1180621 w 1659478"/>
                    <a:gd name="connsiteY3287" fmla="*/ 1196808 h 1461099"/>
                    <a:gd name="connsiteX3288" fmla="*/ 1181994 w 1659478"/>
                    <a:gd name="connsiteY3288" fmla="*/ 1198447 h 1461099"/>
                    <a:gd name="connsiteX3289" fmla="*/ 1182710 w 1659478"/>
                    <a:gd name="connsiteY3289" fmla="*/ 1199297 h 1461099"/>
                    <a:gd name="connsiteX3290" fmla="*/ 1183681 w 1659478"/>
                    <a:gd name="connsiteY3290" fmla="*/ 1199844 h 1461099"/>
                    <a:gd name="connsiteX3291" fmla="*/ 1185637 w 1659478"/>
                    <a:gd name="connsiteY3291" fmla="*/ 1200937 h 1461099"/>
                    <a:gd name="connsiteX3292" fmla="*/ 1186074 w 1659478"/>
                    <a:gd name="connsiteY3292" fmla="*/ 1201179 h 1461099"/>
                    <a:gd name="connsiteX3293" fmla="*/ 1186559 w 1659478"/>
                    <a:gd name="connsiteY3293" fmla="*/ 1201349 h 1461099"/>
                    <a:gd name="connsiteX3294" fmla="*/ 1188308 w 1659478"/>
                    <a:gd name="connsiteY3294" fmla="*/ 1201969 h 1461099"/>
                    <a:gd name="connsiteX3295" fmla="*/ 1188733 w 1659478"/>
                    <a:gd name="connsiteY3295" fmla="*/ 1202187 h 1461099"/>
                    <a:gd name="connsiteX3296" fmla="*/ 1188988 w 1659478"/>
                    <a:gd name="connsiteY3296" fmla="*/ 1203268 h 1461099"/>
                    <a:gd name="connsiteX3297" fmla="*/ 1188818 w 1659478"/>
                    <a:gd name="connsiteY3297" fmla="*/ 1205575 h 1461099"/>
                    <a:gd name="connsiteX3298" fmla="*/ 1188017 w 1659478"/>
                    <a:gd name="connsiteY3298" fmla="*/ 1207858 h 1461099"/>
                    <a:gd name="connsiteX3299" fmla="*/ 1182018 w 1659478"/>
                    <a:gd name="connsiteY3299" fmla="*/ 1214986 h 1461099"/>
                    <a:gd name="connsiteX3300" fmla="*/ 1181544 w 1659478"/>
                    <a:gd name="connsiteY3300" fmla="*/ 1215545 h 1461099"/>
                    <a:gd name="connsiteX3301" fmla="*/ 1181217 w 1659478"/>
                    <a:gd name="connsiteY3301" fmla="*/ 1216200 h 1461099"/>
                    <a:gd name="connsiteX3302" fmla="*/ 1179104 w 1659478"/>
                    <a:gd name="connsiteY3302" fmla="*/ 1220475 h 1461099"/>
                    <a:gd name="connsiteX3303" fmla="*/ 1178569 w 1659478"/>
                    <a:gd name="connsiteY3303" fmla="*/ 1221555 h 1461099"/>
                    <a:gd name="connsiteX3304" fmla="*/ 1178484 w 1659478"/>
                    <a:gd name="connsiteY3304" fmla="*/ 1222757 h 1461099"/>
                    <a:gd name="connsiteX3305" fmla="*/ 1178241 w 1659478"/>
                    <a:gd name="connsiteY3305" fmla="*/ 1226376 h 1461099"/>
                    <a:gd name="connsiteX3306" fmla="*/ 1178181 w 1659478"/>
                    <a:gd name="connsiteY3306" fmla="*/ 1227384 h 1461099"/>
                    <a:gd name="connsiteX3307" fmla="*/ 1178436 w 1659478"/>
                    <a:gd name="connsiteY3307" fmla="*/ 1228355 h 1461099"/>
                    <a:gd name="connsiteX3308" fmla="*/ 1179419 w 1659478"/>
                    <a:gd name="connsiteY3308" fmla="*/ 1232035 h 1461099"/>
                    <a:gd name="connsiteX3309" fmla="*/ 1179796 w 1659478"/>
                    <a:gd name="connsiteY3309" fmla="*/ 1233431 h 1461099"/>
                    <a:gd name="connsiteX3310" fmla="*/ 1180755 w 1659478"/>
                    <a:gd name="connsiteY3310" fmla="*/ 1234512 h 1461099"/>
                    <a:gd name="connsiteX3311" fmla="*/ 1182929 w 1659478"/>
                    <a:gd name="connsiteY3311" fmla="*/ 1236952 h 1461099"/>
                    <a:gd name="connsiteX3312" fmla="*/ 1183609 w 1659478"/>
                    <a:gd name="connsiteY3312" fmla="*/ 1237717 h 1461099"/>
                    <a:gd name="connsiteX3313" fmla="*/ 1184507 w 1659478"/>
                    <a:gd name="connsiteY3313" fmla="*/ 1238215 h 1461099"/>
                    <a:gd name="connsiteX3314" fmla="*/ 1188806 w 1659478"/>
                    <a:gd name="connsiteY3314" fmla="*/ 1240620 h 1461099"/>
                    <a:gd name="connsiteX3315" fmla="*/ 1188551 w 1659478"/>
                    <a:gd name="connsiteY3315" fmla="*/ 1240996 h 1461099"/>
                    <a:gd name="connsiteX3316" fmla="*/ 1183694 w 1659478"/>
                    <a:gd name="connsiteY3316" fmla="*/ 1245477 h 1461099"/>
                    <a:gd name="connsiteX3317" fmla="*/ 1183159 w 1659478"/>
                    <a:gd name="connsiteY3317" fmla="*/ 1245975 h 1461099"/>
                    <a:gd name="connsiteX3318" fmla="*/ 1182759 w 1659478"/>
                    <a:gd name="connsiteY3318" fmla="*/ 1246570 h 1461099"/>
                    <a:gd name="connsiteX3319" fmla="*/ 1180111 w 1659478"/>
                    <a:gd name="connsiteY3319" fmla="*/ 1250528 h 1461099"/>
                    <a:gd name="connsiteX3320" fmla="*/ 1178921 w 1659478"/>
                    <a:gd name="connsiteY3320" fmla="*/ 1252665 h 1461099"/>
                    <a:gd name="connsiteX3321" fmla="*/ 1178229 w 1659478"/>
                    <a:gd name="connsiteY3321" fmla="*/ 1252071 h 1461099"/>
                    <a:gd name="connsiteX3322" fmla="*/ 1177319 w 1659478"/>
                    <a:gd name="connsiteY3322" fmla="*/ 1251293 h 1461099"/>
                    <a:gd name="connsiteX3323" fmla="*/ 1176177 w 1659478"/>
                    <a:gd name="connsiteY3323" fmla="*/ 1250917 h 1461099"/>
                    <a:gd name="connsiteX3324" fmla="*/ 1174380 w 1659478"/>
                    <a:gd name="connsiteY3324" fmla="*/ 1250322 h 1461099"/>
                    <a:gd name="connsiteX3325" fmla="*/ 1172814 w 1659478"/>
                    <a:gd name="connsiteY3325" fmla="*/ 1249800 h 1461099"/>
                    <a:gd name="connsiteX3326" fmla="*/ 1171199 w 1659478"/>
                    <a:gd name="connsiteY3326" fmla="*/ 1250140 h 1461099"/>
                    <a:gd name="connsiteX3327" fmla="*/ 1169195 w 1659478"/>
                    <a:gd name="connsiteY3327" fmla="*/ 1250565 h 1461099"/>
                    <a:gd name="connsiteX3328" fmla="*/ 1167653 w 1659478"/>
                    <a:gd name="connsiteY3328" fmla="*/ 1250893 h 1461099"/>
                    <a:gd name="connsiteX3329" fmla="*/ 1166463 w 1659478"/>
                    <a:gd name="connsiteY3329" fmla="*/ 1251925 h 1461099"/>
                    <a:gd name="connsiteX3330" fmla="*/ 1162079 w 1659478"/>
                    <a:gd name="connsiteY3330" fmla="*/ 1255750 h 1461099"/>
                    <a:gd name="connsiteX3331" fmla="*/ 1161933 w 1659478"/>
                    <a:gd name="connsiteY3331" fmla="*/ 1255798 h 1461099"/>
                    <a:gd name="connsiteX3332" fmla="*/ 1161836 w 1659478"/>
                    <a:gd name="connsiteY3332" fmla="*/ 1255798 h 1461099"/>
                    <a:gd name="connsiteX3333" fmla="*/ 1161581 w 1659478"/>
                    <a:gd name="connsiteY3333" fmla="*/ 1255713 h 1461099"/>
                    <a:gd name="connsiteX3334" fmla="*/ 1160076 w 1659478"/>
                    <a:gd name="connsiteY3334" fmla="*/ 1254451 h 1461099"/>
                    <a:gd name="connsiteX3335" fmla="*/ 1159602 w 1659478"/>
                    <a:gd name="connsiteY3335" fmla="*/ 1254050 h 1461099"/>
                    <a:gd name="connsiteX3336" fmla="*/ 1159056 w 1659478"/>
                    <a:gd name="connsiteY3336" fmla="*/ 1253758 h 1461099"/>
                    <a:gd name="connsiteX3337" fmla="*/ 1157659 w 1659478"/>
                    <a:gd name="connsiteY3337" fmla="*/ 1253005 h 1461099"/>
                    <a:gd name="connsiteX3338" fmla="*/ 1157028 w 1659478"/>
                    <a:gd name="connsiteY3338" fmla="*/ 1252665 h 1461099"/>
                    <a:gd name="connsiteX3339" fmla="*/ 1156323 w 1659478"/>
                    <a:gd name="connsiteY3339" fmla="*/ 1252483 h 1461099"/>
                    <a:gd name="connsiteX3340" fmla="*/ 1154271 w 1659478"/>
                    <a:gd name="connsiteY3340" fmla="*/ 1251949 h 1461099"/>
                    <a:gd name="connsiteX3341" fmla="*/ 1154077 w 1659478"/>
                    <a:gd name="connsiteY3341" fmla="*/ 1251840 h 1461099"/>
                    <a:gd name="connsiteX3342" fmla="*/ 1151126 w 1659478"/>
                    <a:gd name="connsiteY3342" fmla="*/ 1249314 h 1461099"/>
                    <a:gd name="connsiteX3343" fmla="*/ 1150811 w 1659478"/>
                    <a:gd name="connsiteY3343" fmla="*/ 1249047 h 1461099"/>
                    <a:gd name="connsiteX3344" fmla="*/ 1150458 w 1659478"/>
                    <a:gd name="connsiteY3344" fmla="*/ 1248816 h 1461099"/>
                    <a:gd name="connsiteX3345" fmla="*/ 1148625 w 1659478"/>
                    <a:gd name="connsiteY3345" fmla="*/ 1247650 h 1461099"/>
                    <a:gd name="connsiteX3346" fmla="*/ 1147544 w 1659478"/>
                    <a:gd name="connsiteY3346" fmla="*/ 1246946 h 1461099"/>
                    <a:gd name="connsiteX3347" fmla="*/ 1146269 w 1659478"/>
                    <a:gd name="connsiteY3347" fmla="*/ 1246752 h 1461099"/>
                    <a:gd name="connsiteX3348" fmla="*/ 1144484 w 1659478"/>
                    <a:gd name="connsiteY3348" fmla="*/ 1246485 h 1461099"/>
                    <a:gd name="connsiteX3349" fmla="*/ 1143258 w 1659478"/>
                    <a:gd name="connsiteY3349" fmla="*/ 1246303 h 1461099"/>
                    <a:gd name="connsiteX3350" fmla="*/ 1142068 w 1659478"/>
                    <a:gd name="connsiteY3350" fmla="*/ 1246606 h 1461099"/>
                    <a:gd name="connsiteX3351" fmla="*/ 1140987 w 1659478"/>
                    <a:gd name="connsiteY3351" fmla="*/ 1246885 h 1461099"/>
                    <a:gd name="connsiteX3352" fmla="*/ 1140319 w 1659478"/>
                    <a:gd name="connsiteY3352" fmla="*/ 1247055 h 1461099"/>
                    <a:gd name="connsiteX3353" fmla="*/ 1139700 w 1659478"/>
                    <a:gd name="connsiteY3353" fmla="*/ 1247371 h 1461099"/>
                    <a:gd name="connsiteX3354" fmla="*/ 1137696 w 1659478"/>
                    <a:gd name="connsiteY3354" fmla="*/ 1248415 h 1461099"/>
                    <a:gd name="connsiteX3355" fmla="*/ 1135778 w 1659478"/>
                    <a:gd name="connsiteY3355" fmla="*/ 1249411 h 1461099"/>
                    <a:gd name="connsiteX3356" fmla="*/ 1134928 w 1659478"/>
                    <a:gd name="connsiteY3356" fmla="*/ 1251391 h 1461099"/>
                    <a:gd name="connsiteX3357" fmla="*/ 1133252 w 1659478"/>
                    <a:gd name="connsiteY3357" fmla="*/ 1255252 h 1461099"/>
                    <a:gd name="connsiteX3358" fmla="*/ 1130313 w 1659478"/>
                    <a:gd name="connsiteY3358" fmla="*/ 1259915 h 1461099"/>
                    <a:gd name="connsiteX3359" fmla="*/ 1129160 w 1659478"/>
                    <a:gd name="connsiteY3359" fmla="*/ 1261736 h 1461099"/>
                    <a:gd name="connsiteX3360" fmla="*/ 1129415 w 1659478"/>
                    <a:gd name="connsiteY3360" fmla="*/ 1263873 h 1461099"/>
                    <a:gd name="connsiteX3361" fmla="*/ 1129633 w 1659478"/>
                    <a:gd name="connsiteY3361" fmla="*/ 1265707 h 1461099"/>
                    <a:gd name="connsiteX3362" fmla="*/ 1130180 w 1659478"/>
                    <a:gd name="connsiteY3362" fmla="*/ 1273321 h 1461099"/>
                    <a:gd name="connsiteX3363" fmla="*/ 1130277 w 1659478"/>
                    <a:gd name="connsiteY3363" fmla="*/ 1274717 h 1461099"/>
                    <a:gd name="connsiteX3364" fmla="*/ 1130981 w 1659478"/>
                    <a:gd name="connsiteY3364" fmla="*/ 1275931 h 1461099"/>
                    <a:gd name="connsiteX3365" fmla="*/ 1133058 w 1659478"/>
                    <a:gd name="connsiteY3365" fmla="*/ 1279526 h 1461099"/>
                    <a:gd name="connsiteX3366" fmla="*/ 1133531 w 1659478"/>
                    <a:gd name="connsiteY3366" fmla="*/ 1280339 h 1461099"/>
                    <a:gd name="connsiteX3367" fmla="*/ 1134235 w 1659478"/>
                    <a:gd name="connsiteY3367" fmla="*/ 1280983 h 1461099"/>
                    <a:gd name="connsiteX3368" fmla="*/ 1135377 w 1659478"/>
                    <a:gd name="connsiteY3368" fmla="*/ 1282015 h 1461099"/>
                    <a:gd name="connsiteX3369" fmla="*/ 1135632 w 1659478"/>
                    <a:gd name="connsiteY3369" fmla="*/ 1282233 h 1461099"/>
                    <a:gd name="connsiteX3370" fmla="*/ 1135887 w 1659478"/>
                    <a:gd name="connsiteY3370" fmla="*/ 1282428 h 1461099"/>
                    <a:gd name="connsiteX3371" fmla="*/ 1139044 w 1659478"/>
                    <a:gd name="connsiteY3371" fmla="*/ 1284723 h 1461099"/>
                    <a:gd name="connsiteX3372" fmla="*/ 1139299 w 1659478"/>
                    <a:gd name="connsiteY3372" fmla="*/ 1284905 h 1461099"/>
                    <a:gd name="connsiteX3373" fmla="*/ 1139566 w 1659478"/>
                    <a:gd name="connsiteY3373" fmla="*/ 1285063 h 1461099"/>
                    <a:gd name="connsiteX3374" fmla="*/ 1148321 w 1659478"/>
                    <a:gd name="connsiteY3374" fmla="*/ 1290114 h 1461099"/>
                    <a:gd name="connsiteX3375" fmla="*/ 1148710 w 1659478"/>
                    <a:gd name="connsiteY3375" fmla="*/ 1291049 h 1461099"/>
                    <a:gd name="connsiteX3376" fmla="*/ 1148880 w 1659478"/>
                    <a:gd name="connsiteY3376" fmla="*/ 1293854 h 1461099"/>
                    <a:gd name="connsiteX3377" fmla="*/ 1148928 w 1659478"/>
                    <a:gd name="connsiteY3377" fmla="*/ 1294753 h 1461099"/>
                    <a:gd name="connsiteX3378" fmla="*/ 1149232 w 1659478"/>
                    <a:gd name="connsiteY3378" fmla="*/ 1295591 h 1461099"/>
                    <a:gd name="connsiteX3379" fmla="*/ 1150543 w 1659478"/>
                    <a:gd name="connsiteY3379" fmla="*/ 1299173 h 1461099"/>
                    <a:gd name="connsiteX3380" fmla="*/ 1151843 w 1659478"/>
                    <a:gd name="connsiteY3380" fmla="*/ 1302719 h 1461099"/>
                    <a:gd name="connsiteX3381" fmla="*/ 1155595 w 1659478"/>
                    <a:gd name="connsiteY3381" fmla="*/ 1303119 h 1461099"/>
                    <a:gd name="connsiteX3382" fmla="*/ 1162832 w 1659478"/>
                    <a:gd name="connsiteY3382" fmla="*/ 1303896 h 1461099"/>
                    <a:gd name="connsiteX3383" fmla="*/ 1164726 w 1659478"/>
                    <a:gd name="connsiteY3383" fmla="*/ 1304334 h 1461099"/>
                    <a:gd name="connsiteX3384" fmla="*/ 1165807 w 1659478"/>
                    <a:gd name="connsiteY3384" fmla="*/ 1304868 h 1461099"/>
                    <a:gd name="connsiteX3385" fmla="*/ 1168831 w 1659478"/>
                    <a:gd name="connsiteY3385" fmla="*/ 1307345 h 1461099"/>
                    <a:gd name="connsiteX3386" fmla="*/ 1170264 w 1659478"/>
                    <a:gd name="connsiteY3386" fmla="*/ 1308523 h 1461099"/>
                    <a:gd name="connsiteX3387" fmla="*/ 1172109 w 1659478"/>
                    <a:gd name="connsiteY3387" fmla="*/ 1308693 h 1461099"/>
                    <a:gd name="connsiteX3388" fmla="*/ 1173664 w 1659478"/>
                    <a:gd name="connsiteY3388" fmla="*/ 1308839 h 1461099"/>
                    <a:gd name="connsiteX3389" fmla="*/ 1175728 w 1659478"/>
                    <a:gd name="connsiteY3389" fmla="*/ 1309045 h 1461099"/>
                    <a:gd name="connsiteX3390" fmla="*/ 1177489 w 1659478"/>
                    <a:gd name="connsiteY3390" fmla="*/ 1307928 h 1461099"/>
                    <a:gd name="connsiteX3391" fmla="*/ 1178751 w 1659478"/>
                    <a:gd name="connsiteY3391" fmla="*/ 1307127 h 1461099"/>
                    <a:gd name="connsiteX3392" fmla="*/ 1180160 w 1659478"/>
                    <a:gd name="connsiteY3392" fmla="*/ 1306228 h 1461099"/>
                    <a:gd name="connsiteX3393" fmla="*/ 1180913 w 1659478"/>
                    <a:gd name="connsiteY3393" fmla="*/ 1304734 h 1461099"/>
                    <a:gd name="connsiteX3394" fmla="*/ 1181945 w 1659478"/>
                    <a:gd name="connsiteY3394" fmla="*/ 1302694 h 1461099"/>
                    <a:gd name="connsiteX3395" fmla="*/ 1182237 w 1659478"/>
                    <a:gd name="connsiteY3395" fmla="*/ 1302124 h 1461099"/>
                    <a:gd name="connsiteX3396" fmla="*/ 1182394 w 1659478"/>
                    <a:gd name="connsiteY3396" fmla="*/ 1301504 h 1461099"/>
                    <a:gd name="connsiteX3397" fmla="*/ 1182904 w 1659478"/>
                    <a:gd name="connsiteY3397" fmla="*/ 1299574 h 1461099"/>
                    <a:gd name="connsiteX3398" fmla="*/ 1183329 w 1659478"/>
                    <a:gd name="connsiteY3398" fmla="*/ 1297145 h 1461099"/>
                    <a:gd name="connsiteX3399" fmla="*/ 1183463 w 1659478"/>
                    <a:gd name="connsiteY3399" fmla="*/ 1296599 h 1461099"/>
                    <a:gd name="connsiteX3400" fmla="*/ 1185940 w 1659478"/>
                    <a:gd name="connsiteY3400" fmla="*/ 1291729 h 1461099"/>
                    <a:gd name="connsiteX3401" fmla="*/ 1186304 w 1659478"/>
                    <a:gd name="connsiteY3401" fmla="*/ 1291013 h 1461099"/>
                    <a:gd name="connsiteX3402" fmla="*/ 1186474 w 1659478"/>
                    <a:gd name="connsiteY3402" fmla="*/ 1290236 h 1461099"/>
                    <a:gd name="connsiteX3403" fmla="*/ 1186632 w 1659478"/>
                    <a:gd name="connsiteY3403" fmla="*/ 1289459 h 1461099"/>
                    <a:gd name="connsiteX3404" fmla="*/ 1187167 w 1659478"/>
                    <a:gd name="connsiteY3404" fmla="*/ 1289993 h 1461099"/>
                    <a:gd name="connsiteX3405" fmla="*/ 1189389 w 1659478"/>
                    <a:gd name="connsiteY3405" fmla="*/ 1290187 h 1461099"/>
                    <a:gd name="connsiteX3406" fmla="*/ 1192376 w 1659478"/>
                    <a:gd name="connsiteY3406" fmla="*/ 1290442 h 1461099"/>
                    <a:gd name="connsiteX3407" fmla="*/ 1193444 w 1659478"/>
                    <a:gd name="connsiteY3407" fmla="*/ 1290539 h 1461099"/>
                    <a:gd name="connsiteX3408" fmla="*/ 1194477 w 1659478"/>
                    <a:gd name="connsiteY3408" fmla="*/ 1290260 h 1461099"/>
                    <a:gd name="connsiteX3409" fmla="*/ 1198204 w 1659478"/>
                    <a:gd name="connsiteY3409" fmla="*/ 1289252 h 1461099"/>
                    <a:gd name="connsiteX3410" fmla="*/ 1198872 w 1659478"/>
                    <a:gd name="connsiteY3410" fmla="*/ 1289070 h 1461099"/>
                    <a:gd name="connsiteX3411" fmla="*/ 1199479 w 1659478"/>
                    <a:gd name="connsiteY3411" fmla="*/ 1288742 h 1461099"/>
                    <a:gd name="connsiteX3412" fmla="*/ 1205490 w 1659478"/>
                    <a:gd name="connsiteY3412" fmla="*/ 1285524 h 1461099"/>
                    <a:gd name="connsiteX3413" fmla="*/ 1214537 w 1659478"/>
                    <a:gd name="connsiteY3413" fmla="*/ 1283011 h 1461099"/>
                    <a:gd name="connsiteX3414" fmla="*/ 1215168 w 1659478"/>
                    <a:gd name="connsiteY3414" fmla="*/ 1282828 h 1461099"/>
                    <a:gd name="connsiteX3415" fmla="*/ 1215739 w 1659478"/>
                    <a:gd name="connsiteY3415" fmla="*/ 1282525 h 1461099"/>
                    <a:gd name="connsiteX3416" fmla="*/ 1229643 w 1659478"/>
                    <a:gd name="connsiteY3416" fmla="*/ 1275179 h 1461099"/>
                    <a:gd name="connsiteX3417" fmla="*/ 1230104 w 1659478"/>
                    <a:gd name="connsiteY3417" fmla="*/ 1274936 h 1461099"/>
                    <a:gd name="connsiteX3418" fmla="*/ 1230505 w 1659478"/>
                    <a:gd name="connsiteY3418" fmla="*/ 1274620 h 1461099"/>
                    <a:gd name="connsiteX3419" fmla="*/ 1232982 w 1659478"/>
                    <a:gd name="connsiteY3419" fmla="*/ 1272726 h 1461099"/>
                    <a:gd name="connsiteX3420" fmla="*/ 1233844 w 1659478"/>
                    <a:gd name="connsiteY3420" fmla="*/ 1272070 h 1461099"/>
                    <a:gd name="connsiteX3421" fmla="*/ 1234427 w 1659478"/>
                    <a:gd name="connsiteY3421" fmla="*/ 1271159 h 1461099"/>
                    <a:gd name="connsiteX3422" fmla="*/ 1235860 w 1659478"/>
                    <a:gd name="connsiteY3422" fmla="*/ 1268888 h 1461099"/>
                    <a:gd name="connsiteX3423" fmla="*/ 1236078 w 1659478"/>
                    <a:gd name="connsiteY3423" fmla="*/ 1268536 h 1461099"/>
                    <a:gd name="connsiteX3424" fmla="*/ 1236248 w 1659478"/>
                    <a:gd name="connsiteY3424" fmla="*/ 1268172 h 1461099"/>
                    <a:gd name="connsiteX3425" fmla="*/ 1236940 w 1659478"/>
                    <a:gd name="connsiteY3425" fmla="*/ 1266654 h 1461099"/>
                    <a:gd name="connsiteX3426" fmla="*/ 1237135 w 1659478"/>
                    <a:gd name="connsiteY3426" fmla="*/ 1266241 h 1461099"/>
                    <a:gd name="connsiteX3427" fmla="*/ 1237256 w 1659478"/>
                    <a:gd name="connsiteY3427" fmla="*/ 1265804 h 1461099"/>
                    <a:gd name="connsiteX3428" fmla="*/ 1237827 w 1659478"/>
                    <a:gd name="connsiteY3428" fmla="*/ 1263825 h 1461099"/>
                    <a:gd name="connsiteX3429" fmla="*/ 1238094 w 1659478"/>
                    <a:gd name="connsiteY3429" fmla="*/ 1262623 h 1461099"/>
                    <a:gd name="connsiteX3430" fmla="*/ 1238313 w 1659478"/>
                    <a:gd name="connsiteY3430" fmla="*/ 1261615 h 1461099"/>
                    <a:gd name="connsiteX3431" fmla="*/ 1238179 w 1659478"/>
                    <a:gd name="connsiteY3431" fmla="*/ 1260595 h 1461099"/>
                    <a:gd name="connsiteX3432" fmla="*/ 1238118 w 1659478"/>
                    <a:gd name="connsiteY3432" fmla="*/ 1260073 h 1461099"/>
                    <a:gd name="connsiteX3433" fmla="*/ 1237900 w 1659478"/>
                    <a:gd name="connsiteY3433" fmla="*/ 1259053 h 1461099"/>
                    <a:gd name="connsiteX3434" fmla="*/ 1237681 w 1659478"/>
                    <a:gd name="connsiteY3434" fmla="*/ 1258360 h 1461099"/>
                    <a:gd name="connsiteX3435" fmla="*/ 1237244 w 1659478"/>
                    <a:gd name="connsiteY3435" fmla="*/ 1256952 h 1461099"/>
                    <a:gd name="connsiteX3436" fmla="*/ 1236224 w 1659478"/>
                    <a:gd name="connsiteY3436" fmla="*/ 1255908 h 1461099"/>
                    <a:gd name="connsiteX3437" fmla="*/ 1235763 w 1659478"/>
                    <a:gd name="connsiteY3437" fmla="*/ 1255434 h 1461099"/>
                    <a:gd name="connsiteX3438" fmla="*/ 1250528 w 1659478"/>
                    <a:gd name="connsiteY3438" fmla="*/ 1246679 h 1461099"/>
                    <a:gd name="connsiteX3439" fmla="*/ 1251354 w 1659478"/>
                    <a:gd name="connsiteY3439" fmla="*/ 1246181 h 1461099"/>
                    <a:gd name="connsiteX3440" fmla="*/ 1251986 w 1659478"/>
                    <a:gd name="connsiteY3440" fmla="*/ 1245453 h 1461099"/>
                    <a:gd name="connsiteX3441" fmla="*/ 1258251 w 1659478"/>
                    <a:gd name="connsiteY3441" fmla="*/ 1238325 h 1461099"/>
                    <a:gd name="connsiteX3442" fmla="*/ 1259453 w 1659478"/>
                    <a:gd name="connsiteY3442" fmla="*/ 1236952 h 1461099"/>
                    <a:gd name="connsiteX3443" fmla="*/ 1259708 w 1659478"/>
                    <a:gd name="connsiteY3443" fmla="*/ 1235155 h 1461099"/>
                    <a:gd name="connsiteX3444" fmla="*/ 1260158 w 1659478"/>
                    <a:gd name="connsiteY3444" fmla="*/ 1231913 h 1461099"/>
                    <a:gd name="connsiteX3445" fmla="*/ 1260218 w 1659478"/>
                    <a:gd name="connsiteY3445" fmla="*/ 1231500 h 1461099"/>
                    <a:gd name="connsiteX3446" fmla="*/ 1260218 w 1659478"/>
                    <a:gd name="connsiteY3446" fmla="*/ 1231075 h 1461099"/>
                    <a:gd name="connsiteX3447" fmla="*/ 1260218 w 1659478"/>
                    <a:gd name="connsiteY3447" fmla="*/ 1229157 h 1461099"/>
                    <a:gd name="connsiteX3448" fmla="*/ 1260218 w 1659478"/>
                    <a:gd name="connsiteY3448" fmla="*/ 1228780 h 1461099"/>
                    <a:gd name="connsiteX3449" fmla="*/ 1260170 w 1659478"/>
                    <a:gd name="connsiteY3449" fmla="*/ 1228404 h 1461099"/>
                    <a:gd name="connsiteX3450" fmla="*/ 1259648 w 1659478"/>
                    <a:gd name="connsiteY3450" fmla="*/ 1224117 h 1461099"/>
                    <a:gd name="connsiteX3451" fmla="*/ 1259648 w 1659478"/>
                    <a:gd name="connsiteY3451" fmla="*/ 1221968 h 1461099"/>
                    <a:gd name="connsiteX3452" fmla="*/ 1260255 w 1659478"/>
                    <a:gd name="connsiteY3452" fmla="*/ 1215411 h 1461099"/>
                    <a:gd name="connsiteX3453" fmla="*/ 1260316 w 1659478"/>
                    <a:gd name="connsiteY3453" fmla="*/ 1214743 h 1461099"/>
                    <a:gd name="connsiteX3454" fmla="*/ 1260231 w 1659478"/>
                    <a:gd name="connsiteY3454" fmla="*/ 1214075 h 1461099"/>
                    <a:gd name="connsiteX3455" fmla="*/ 1259806 w 1659478"/>
                    <a:gd name="connsiteY3455" fmla="*/ 1210784 h 1461099"/>
                    <a:gd name="connsiteX3456" fmla="*/ 1259878 w 1659478"/>
                    <a:gd name="connsiteY3456" fmla="*/ 1209862 h 1461099"/>
                    <a:gd name="connsiteX3457" fmla="*/ 1260753 w 1659478"/>
                    <a:gd name="connsiteY3457" fmla="*/ 1206194 h 1461099"/>
                    <a:gd name="connsiteX3458" fmla="*/ 1260886 w 1659478"/>
                    <a:gd name="connsiteY3458" fmla="*/ 1205624 h 1461099"/>
                    <a:gd name="connsiteX3459" fmla="*/ 1260911 w 1659478"/>
                    <a:gd name="connsiteY3459" fmla="*/ 1205029 h 1461099"/>
                    <a:gd name="connsiteX3460" fmla="*/ 1261117 w 1659478"/>
                    <a:gd name="connsiteY3460" fmla="*/ 1199892 h 1461099"/>
                    <a:gd name="connsiteX3461" fmla="*/ 1261190 w 1659478"/>
                    <a:gd name="connsiteY3461" fmla="*/ 1199649 h 1461099"/>
                    <a:gd name="connsiteX3462" fmla="*/ 1261384 w 1659478"/>
                    <a:gd name="connsiteY3462" fmla="*/ 1199504 h 1461099"/>
                    <a:gd name="connsiteX3463" fmla="*/ 1261530 w 1659478"/>
                    <a:gd name="connsiteY3463" fmla="*/ 1200281 h 1461099"/>
                    <a:gd name="connsiteX3464" fmla="*/ 1261700 w 1659478"/>
                    <a:gd name="connsiteY3464" fmla="*/ 1201179 h 1461099"/>
                    <a:gd name="connsiteX3465" fmla="*/ 1262125 w 1659478"/>
                    <a:gd name="connsiteY3465" fmla="*/ 1201993 h 1461099"/>
                    <a:gd name="connsiteX3466" fmla="*/ 1263036 w 1659478"/>
                    <a:gd name="connsiteY3466" fmla="*/ 1203742 h 1461099"/>
                    <a:gd name="connsiteX3467" fmla="*/ 1263254 w 1659478"/>
                    <a:gd name="connsiteY3467" fmla="*/ 1204167 h 1461099"/>
                    <a:gd name="connsiteX3468" fmla="*/ 1263534 w 1659478"/>
                    <a:gd name="connsiteY3468" fmla="*/ 1204543 h 1461099"/>
                    <a:gd name="connsiteX3469" fmla="*/ 1264906 w 1659478"/>
                    <a:gd name="connsiteY3469" fmla="*/ 1206389 h 1461099"/>
                    <a:gd name="connsiteX3470" fmla="*/ 1265404 w 1659478"/>
                    <a:gd name="connsiteY3470" fmla="*/ 1207057 h 1461099"/>
                    <a:gd name="connsiteX3471" fmla="*/ 1266059 w 1659478"/>
                    <a:gd name="connsiteY3471" fmla="*/ 1207567 h 1461099"/>
                    <a:gd name="connsiteX3472" fmla="*/ 1268306 w 1659478"/>
                    <a:gd name="connsiteY3472" fmla="*/ 1209315 h 1461099"/>
                    <a:gd name="connsiteX3473" fmla="*/ 1268998 w 1659478"/>
                    <a:gd name="connsiteY3473" fmla="*/ 1209849 h 1461099"/>
                    <a:gd name="connsiteX3474" fmla="*/ 1269811 w 1659478"/>
                    <a:gd name="connsiteY3474" fmla="*/ 1210165 h 1461099"/>
                    <a:gd name="connsiteX3475" fmla="*/ 1272799 w 1659478"/>
                    <a:gd name="connsiteY3475" fmla="*/ 1211343 h 1461099"/>
                    <a:gd name="connsiteX3476" fmla="*/ 1274001 w 1659478"/>
                    <a:gd name="connsiteY3476" fmla="*/ 1211817 h 1461099"/>
                    <a:gd name="connsiteX3477" fmla="*/ 1275300 w 1659478"/>
                    <a:gd name="connsiteY3477" fmla="*/ 1211756 h 1461099"/>
                    <a:gd name="connsiteX3478" fmla="*/ 1279720 w 1659478"/>
                    <a:gd name="connsiteY3478" fmla="*/ 1211549 h 1461099"/>
                    <a:gd name="connsiteX3479" fmla="*/ 1280157 w 1659478"/>
                    <a:gd name="connsiteY3479" fmla="*/ 1211525 h 1461099"/>
                    <a:gd name="connsiteX3480" fmla="*/ 1280582 w 1659478"/>
                    <a:gd name="connsiteY3480" fmla="*/ 1211440 h 1461099"/>
                    <a:gd name="connsiteX3481" fmla="*/ 1285901 w 1659478"/>
                    <a:gd name="connsiteY3481" fmla="*/ 1210420 h 1461099"/>
                    <a:gd name="connsiteX3482" fmla="*/ 1287613 w 1659478"/>
                    <a:gd name="connsiteY3482" fmla="*/ 1210590 h 1461099"/>
                    <a:gd name="connsiteX3483" fmla="*/ 1297024 w 1659478"/>
                    <a:gd name="connsiteY3483" fmla="*/ 1213942 h 1461099"/>
                    <a:gd name="connsiteX3484" fmla="*/ 1297339 w 1659478"/>
                    <a:gd name="connsiteY3484" fmla="*/ 1214051 h 1461099"/>
                    <a:gd name="connsiteX3485" fmla="*/ 1297667 w 1659478"/>
                    <a:gd name="connsiteY3485" fmla="*/ 1214124 h 1461099"/>
                    <a:gd name="connsiteX3486" fmla="*/ 1301978 w 1659478"/>
                    <a:gd name="connsiteY3486" fmla="*/ 1215132 h 1461099"/>
                    <a:gd name="connsiteX3487" fmla="*/ 1302585 w 1659478"/>
                    <a:gd name="connsiteY3487" fmla="*/ 1215277 h 1461099"/>
                    <a:gd name="connsiteX3488" fmla="*/ 1303217 w 1659478"/>
                    <a:gd name="connsiteY3488" fmla="*/ 1215289 h 1461099"/>
                    <a:gd name="connsiteX3489" fmla="*/ 1308220 w 1659478"/>
                    <a:gd name="connsiteY3489" fmla="*/ 1215399 h 1461099"/>
                    <a:gd name="connsiteX3490" fmla="*/ 1308657 w 1659478"/>
                    <a:gd name="connsiteY3490" fmla="*/ 1215399 h 1461099"/>
                    <a:gd name="connsiteX3491" fmla="*/ 1309094 w 1659478"/>
                    <a:gd name="connsiteY3491" fmla="*/ 1215350 h 1461099"/>
                    <a:gd name="connsiteX3492" fmla="*/ 1316586 w 1659478"/>
                    <a:gd name="connsiteY3492" fmla="*/ 1214440 h 1461099"/>
                    <a:gd name="connsiteX3493" fmla="*/ 1316914 w 1659478"/>
                    <a:gd name="connsiteY3493" fmla="*/ 1215059 h 1461099"/>
                    <a:gd name="connsiteX3494" fmla="*/ 1318055 w 1659478"/>
                    <a:gd name="connsiteY3494" fmla="*/ 1218738 h 1461099"/>
                    <a:gd name="connsiteX3495" fmla="*/ 1318250 w 1659478"/>
                    <a:gd name="connsiteY3495" fmla="*/ 1219345 h 1461099"/>
                    <a:gd name="connsiteX3496" fmla="*/ 1318553 w 1659478"/>
                    <a:gd name="connsiteY3496" fmla="*/ 1219904 h 1461099"/>
                    <a:gd name="connsiteX3497" fmla="*/ 1319306 w 1659478"/>
                    <a:gd name="connsiteY3497" fmla="*/ 1221252 h 1461099"/>
                    <a:gd name="connsiteX3498" fmla="*/ 1320144 w 1659478"/>
                    <a:gd name="connsiteY3498" fmla="*/ 1222757 h 1461099"/>
                    <a:gd name="connsiteX3499" fmla="*/ 1321650 w 1659478"/>
                    <a:gd name="connsiteY3499" fmla="*/ 1223595 h 1461099"/>
                    <a:gd name="connsiteX3500" fmla="*/ 1323022 w 1659478"/>
                    <a:gd name="connsiteY3500" fmla="*/ 1224360 h 1461099"/>
                    <a:gd name="connsiteX3501" fmla="*/ 1323945 w 1659478"/>
                    <a:gd name="connsiteY3501" fmla="*/ 1224870 h 1461099"/>
                    <a:gd name="connsiteX3502" fmla="*/ 1324989 w 1659478"/>
                    <a:gd name="connsiteY3502" fmla="*/ 1225040 h 1461099"/>
                    <a:gd name="connsiteX3503" fmla="*/ 1326762 w 1659478"/>
                    <a:gd name="connsiteY3503" fmla="*/ 1225332 h 1461099"/>
                    <a:gd name="connsiteX3504" fmla="*/ 1327600 w 1659478"/>
                    <a:gd name="connsiteY3504" fmla="*/ 1225465 h 1461099"/>
                    <a:gd name="connsiteX3505" fmla="*/ 1328437 w 1659478"/>
                    <a:gd name="connsiteY3505" fmla="*/ 1225368 h 1461099"/>
                    <a:gd name="connsiteX3506" fmla="*/ 1331935 w 1659478"/>
                    <a:gd name="connsiteY3506" fmla="*/ 1224967 h 1461099"/>
                    <a:gd name="connsiteX3507" fmla="*/ 1332578 w 1659478"/>
                    <a:gd name="connsiteY3507" fmla="*/ 1224895 h 1461099"/>
                    <a:gd name="connsiteX3508" fmla="*/ 1333197 w 1659478"/>
                    <a:gd name="connsiteY3508" fmla="*/ 1224688 h 1461099"/>
                    <a:gd name="connsiteX3509" fmla="*/ 1335565 w 1659478"/>
                    <a:gd name="connsiteY3509" fmla="*/ 1223887 h 1461099"/>
                    <a:gd name="connsiteX3510" fmla="*/ 1336415 w 1659478"/>
                    <a:gd name="connsiteY3510" fmla="*/ 1223595 h 1461099"/>
                    <a:gd name="connsiteX3511" fmla="*/ 1337144 w 1659478"/>
                    <a:gd name="connsiteY3511" fmla="*/ 1223073 h 1461099"/>
                    <a:gd name="connsiteX3512" fmla="*/ 1338868 w 1659478"/>
                    <a:gd name="connsiteY3512" fmla="*/ 1221835 h 1461099"/>
                    <a:gd name="connsiteX3513" fmla="*/ 1340034 w 1659478"/>
                    <a:gd name="connsiteY3513" fmla="*/ 1221009 h 1461099"/>
                    <a:gd name="connsiteX3514" fmla="*/ 1340702 w 1659478"/>
                    <a:gd name="connsiteY3514" fmla="*/ 1219746 h 1461099"/>
                    <a:gd name="connsiteX3515" fmla="*/ 1341394 w 1659478"/>
                    <a:gd name="connsiteY3515" fmla="*/ 1218459 h 1461099"/>
                    <a:gd name="connsiteX3516" fmla="*/ 1341698 w 1659478"/>
                    <a:gd name="connsiteY3516" fmla="*/ 1217888 h 1461099"/>
                    <a:gd name="connsiteX3517" fmla="*/ 1341880 w 1659478"/>
                    <a:gd name="connsiteY3517" fmla="*/ 1217269 h 1461099"/>
                    <a:gd name="connsiteX3518" fmla="*/ 1343640 w 1659478"/>
                    <a:gd name="connsiteY3518" fmla="*/ 1211124 h 1461099"/>
                    <a:gd name="connsiteX3519" fmla="*/ 1344163 w 1659478"/>
                    <a:gd name="connsiteY3519" fmla="*/ 1210177 h 1461099"/>
                    <a:gd name="connsiteX3520" fmla="*/ 1344867 w 1659478"/>
                    <a:gd name="connsiteY3520" fmla="*/ 1209424 h 1461099"/>
                    <a:gd name="connsiteX3521" fmla="*/ 1345936 w 1659478"/>
                    <a:gd name="connsiteY3521" fmla="*/ 1208720 h 1461099"/>
                    <a:gd name="connsiteX3522" fmla="*/ 1350076 w 1659478"/>
                    <a:gd name="connsiteY3522" fmla="*/ 1206923 h 1461099"/>
                    <a:gd name="connsiteX3523" fmla="*/ 1350052 w 1659478"/>
                    <a:gd name="connsiteY3523" fmla="*/ 1206972 h 1461099"/>
                    <a:gd name="connsiteX3524" fmla="*/ 1349906 w 1659478"/>
                    <a:gd name="connsiteY3524" fmla="*/ 1207251 h 1461099"/>
                    <a:gd name="connsiteX3525" fmla="*/ 1349785 w 1659478"/>
                    <a:gd name="connsiteY3525" fmla="*/ 1207542 h 1461099"/>
                    <a:gd name="connsiteX3526" fmla="*/ 1349093 w 1659478"/>
                    <a:gd name="connsiteY3526" fmla="*/ 1209230 h 1461099"/>
                    <a:gd name="connsiteX3527" fmla="*/ 1348813 w 1659478"/>
                    <a:gd name="connsiteY3527" fmla="*/ 1209934 h 1461099"/>
                    <a:gd name="connsiteX3528" fmla="*/ 1348704 w 1659478"/>
                    <a:gd name="connsiteY3528" fmla="*/ 1210687 h 1461099"/>
                    <a:gd name="connsiteX3529" fmla="*/ 1348485 w 1659478"/>
                    <a:gd name="connsiteY3529" fmla="*/ 1212217 h 1461099"/>
                    <a:gd name="connsiteX3530" fmla="*/ 1348303 w 1659478"/>
                    <a:gd name="connsiteY3530" fmla="*/ 1213529 h 1461099"/>
                    <a:gd name="connsiteX3531" fmla="*/ 1348680 w 1659478"/>
                    <a:gd name="connsiteY3531" fmla="*/ 1214804 h 1461099"/>
                    <a:gd name="connsiteX3532" fmla="*/ 1349020 w 1659478"/>
                    <a:gd name="connsiteY3532" fmla="*/ 1215957 h 1461099"/>
                    <a:gd name="connsiteX3533" fmla="*/ 1349505 w 1659478"/>
                    <a:gd name="connsiteY3533" fmla="*/ 1217585 h 1461099"/>
                    <a:gd name="connsiteX3534" fmla="*/ 1350756 w 1659478"/>
                    <a:gd name="connsiteY3534" fmla="*/ 1218726 h 1461099"/>
                    <a:gd name="connsiteX3535" fmla="*/ 1353221 w 1659478"/>
                    <a:gd name="connsiteY3535" fmla="*/ 1220960 h 1461099"/>
                    <a:gd name="connsiteX3536" fmla="*/ 1353573 w 1659478"/>
                    <a:gd name="connsiteY3536" fmla="*/ 1221276 h 1461099"/>
                    <a:gd name="connsiteX3537" fmla="*/ 1353974 w 1659478"/>
                    <a:gd name="connsiteY3537" fmla="*/ 1221543 h 1461099"/>
                    <a:gd name="connsiteX3538" fmla="*/ 1364198 w 1659478"/>
                    <a:gd name="connsiteY3538" fmla="*/ 1228234 h 1461099"/>
                    <a:gd name="connsiteX3539" fmla="*/ 1367331 w 1659478"/>
                    <a:gd name="connsiteY3539" fmla="*/ 1230832 h 1461099"/>
                    <a:gd name="connsiteX3540" fmla="*/ 1367598 w 1659478"/>
                    <a:gd name="connsiteY3540" fmla="*/ 1231063 h 1461099"/>
                    <a:gd name="connsiteX3541" fmla="*/ 1367890 w 1659478"/>
                    <a:gd name="connsiteY3541" fmla="*/ 1231257 h 1461099"/>
                    <a:gd name="connsiteX3542" fmla="*/ 1372310 w 1659478"/>
                    <a:gd name="connsiteY3542" fmla="*/ 1234135 h 1461099"/>
                    <a:gd name="connsiteX3543" fmla="*/ 1373949 w 1659478"/>
                    <a:gd name="connsiteY3543" fmla="*/ 1235204 h 1461099"/>
                    <a:gd name="connsiteX3544" fmla="*/ 1375904 w 1659478"/>
                    <a:gd name="connsiteY3544" fmla="*/ 1235119 h 1461099"/>
                    <a:gd name="connsiteX3545" fmla="*/ 1381174 w 1659478"/>
                    <a:gd name="connsiteY3545" fmla="*/ 1234876 h 1461099"/>
                    <a:gd name="connsiteX3546" fmla="*/ 1382631 w 1659478"/>
                    <a:gd name="connsiteY3546" fmla="*/ 1234815 h 1461099"/>
                    <a:gd name="connsiteX3547" fmla="*/ 1383894 w 1659478"/>
                    <a:gd name="connsiteY3547" fmla="*/ 1234087 h 1461099"/>
                    <a:gd name="connsiteX3548" fmla="*/ 1387039 w 1659478"/>
                    <a:gd name="connsiteY3548" fmla="*/ 1232290 h 1461099"/>
                    <a:gd name="connsiteX3549" fmla="*/ 1388351 w 1659478"/>
                    <a:gd name="connsiteY3549" fmla="*/ 1232508 h 1461099"/>
                    <a:gd name="connsiteX3550" fmla="*/ 1388788 w 1659478"/>
                    <a:gd name="connsiteY3550" fmla="*/ 1232581 h 1461099"/>
                    <a:gd name="connsiteX3551" fmla="*/ 1389237 w 1659478"/>
                    <a:gd name="connsiteY3551" fmla="*/ 1232581 h 1461099"/>
                    <a:gd name="connsiteX3552" fmla="*/ 1391532 w 1659478"/>
                    <a:gd name="connsiteY3552" fmla="*/ 1232617 h 1461099"/>
                    <a:gd name="connsiteX3553" fmla="*/ 1392236 w 1659478"/>
                    <a:gd name="connsiteY3553" fmla="*/ 1232630 h 1461099"/>
                    <a:gd name="connsiteX3554" fmla="*/ 1392929 w 1659478"/>
                    <a:gd name="connsiteY3554" fmla="*/ 1232484 h 1461099"/>
                    <a:gd name="connsiteX3555" fmla="*/ 1394944 w 1659478"/>
                    <a:gd name="connsiteY3555" fmla="*/ 1232047 h 1461099"/>
                    <a:gd name="connsiteX3556" fmla="*/ 1396632 w 1659478"/>
                    <a:gd name="connsiteY3556" fmla="*/ 1231683 h 1461099"/>
                    <a:gd name="connsiteX3557" fmla="*/ 1397871 w 1659478"/>
                    <a:gd name="connsiteY3557" fmla="*/ 1230480 h 1461099"/>
                    <a:gd name="connsiteX3558" fmla="*/ 1399231 w 1659478"/>
                    <a:gd name="connsiteY3558" fmla="*/ 1229169 h 1461099"/>
                    <a:gd name="connsiteX3559" fmla="*/ 1400020 w 1659478"/>
                    <a:gd name="connsiteY3559" fmla="*/ 1228404 h 1461099"/>
                    <a:gd name="connsiteX3560" fmla="*/ 1400494 w 1659478"/>
                    <a:gd name="connsiteY3560" fmla="*/ 1227408 h 1461099"/>
                    <a:gd name="connsiteX3561" fmla="*/ 1401307 w 1659478"/>
                    <a:gd name="connsiteY3561" fmla="*/ 1225684 h 1461099"/>
                    <a:gd name="connsiteX3562" fmla="*/ 1401489 w 1659478"/>
                    <a:gd name="connsiteY3562" fmla="*/ 1225307 h 1461099"/>
                    <a:gd name="connsiteX3563" fmla="*/ 1401611 w 1659478"/>
                    <a:gd name="connsiteY3563" fmla="*/ 1224907 h 1461099"/>
                    <a:gd name="connsiteX3564" fmla="*/ 1402157 w 1659478"/>
                    <a:gd name="connsiteY3564" fmla="*/ 1223195 h 1461099"/>
                    <a:gd name="connsiteX3565" fmla="*/ 1402947 w 1659478"/>
                    <a:gd name="connsiteY3565" fmla="*/ 1221992 h 1461099"/>
                    <a:gd name="connsiteX3566" fmla="*/ 1403845 w 1659478"/>
                    <a:gd name="connsiteY3566" fmla="*/ 1220887 h 1461099"/>
                    <a:gd name="connsiteX3567" fmla="*/ 1404707 w 1659478"/>
                    <a:gd name="connsiteY3567" fmla="*/ 1219807 h 1461099"/>
                    <a:gd name="connsiteX3568" fmla="*/ 1405011 w 1659478"/>
                    <a:gd name="connsiteY3568" fmla="*/ 1218447 h 1461099"/>
                    <a:gd name="connsiteX3569" fmla="*/ 1405424 w 1659478"/>
                    <a:gd name="connsiteY3569" fmla="*/ 1216577 h 1461099"/>
                    <a:gd name="connsiteX3570" fmla="*/ 1405703 w 1659478"/>
                    <a:gd name="connsiteY3570" fmla="*/ 1215314 h 1461099"/>
                    <a:gd name="connsiteX3571" fmla="*/ 1405448 w 1659478"/>
                    <a:gd name="connsiteY3571" fmla="*/ 1214051 h 1461099"/>
                    <a:gd name="connsiteX3572" fmla="*/ 1404999 w 1659478"/>
                    <a:gd name="connsiteY3572" fmla="*/ 1211817 h 1461099"/>
                    <a:gd name="connsiteX3573" fmla="*/ 1404780 w 1659478"/>
                    <a:gd name="connsiteY3573" fmla="*/ 1210724 h 1461099"/>
                    <a:gd name="connsiteX3574" fmla="*/ 1404185 w 1659478"/>
                    <a:gd name="connsiteY3574" fmla="*/ 1209777 h 1461099"/>
                    <a:gd name="connsiteX3575" fmla="*/ 1401647 w 1659478"/>
                    <a:gd name="connsiteY3575" fmla="*/ 1205757 h 1461099"/>
                    <a:gd name="connsiteX3576" fmla="*/ 1401465 w 1659478"/>
                    <a:gd name="connsiteY3576" fmla="*/ 1205478 h 1461099"/>
                    <a:gd name="connsiteX3577" fmla="*/ 1401259 w 1659478"/>
                    <a:gd name="connsiteY3577" fmla="*/ 1205223 h 1461099"/>
                    <a:gd name="connsiteX3578" fmla="*/ 1392941 w 1659478"/>
                    <a:gd name="connsiteY3578" fmla="*/ 1194768 h 1461099"/>
                    <a:gd name="connsiteX3579" fmla="*/ 1391447 w 1659478"/>
                    <a:gd name="connsiteY3579" fmla="*/ 1191744 h 1461099"/>
                    <a:gd name="connsiteX3580" fmla="*/ 1390694 w 1659478"/>
                    <a:gd name="connsiteY3580" fmla="*/ 1188660 h 1461099"/>
                    <a:gd name="connsiteX3581" fmla="*/ 1391022 w 1659478"/>
                    <a:gd name="connsiteY3581" fmla="*/ 1176335 h 1461099"/>
                    <a:gd name="connsiteX3582" fmla="*/ 1391046 w 1659478"/>
                    <a:gd name="connsiteY3582" fmla="*/ 1175388 h 1461099"/>
                    <a:gd name="connsiteX3583" fmla="*/ 1390792 w 1659478"/>
                    <a:gd name="connsiteY3583" fmla="*/ 1174489 h 1461099"/>
                    <a:gd name="connsiteX3584" fmla="*/ 1389237 w 1659478"/>
                    <a:gd name="connsiteY3584" fmla="*/ 1169122 h 1461099"/>
                    <a:gd name="connsiteX3585" fmla="*/ 1388982 w 1659478"/>
                    <a:gd name="connsiteY3585" fmla="*/ 1168138 h 1461099"/>
                    <a:gd name="connsiteX3586" fmla="*/ 1388970 w 1659478"/>
                    <a:gd name="connsiteY3586" fmla="*/ 1167884 h 1461099"/>
                    <a:gd name="connsiteX3587" fmla="*/ 1389019 w 1659478"/>
                    <a:gd name="connsiteY3587" fmla="*/ 1167422 h 1461099"/>
                    <a:gd name="connsiteX3588" fmla="*/ 1390330 w 1659478"/>
                    <a:gd name="connsiteY3588" fmla="*/ 1162711 h 1461099"/>
                    <a:gd name="connsiteX3589" fmla="*/ 1390488 w 1659478"/>
                    <a:gd name="connsiteY3589" fmla="*/ 1162140 h 1461099"/>
                    <a:gd name="connsiteX3590" fmla="*/ 1390536 w 1659478"/>
                    <a:gd name="connsiteY3590" fmla="*/ 1161545 h 1461099"/>
                    <a:gd name="connsiteX3591" fmla="*/ 1390597 w 1659478"/>
                    <a:gd name="connsiteY3591" fmla="*/ 1160768 h 1461099"/>
                    <a:gd name="connsiteX3592" fmla="*/ 1390609 w 1659478"/>
                    <a:gd name="connsiteY3592" fmla="*/ 1158873 h 1461099"/>
                    <a:gd name="connsiteX3593" fmla="*/ 1390609 w 1659478"/>
                    <a:gd name="connsiteY3593" fmla="*/ 1158533 h 1461099"/>
                    <a:gd name="connsiteX3594" fmla="*/ 1390573 w 1659478"/>
                    <a:gd name="connsiteY3594" fmla="*/ 1158193 h 1461099"/>
                    <a:gd name="connsiteX3595" fmla="*/ 1390391 w 1659478"/>
                    <a:gd name="connsiteY3595" fmla="*/ 1156554 h 1461099"/>
                    <a:gd name="connsiteX3596" fmla="*/ 1389832 w 1659478"/>
                    <a:gd name="connsiteY3596" fmla="*/ 1153737 h 1461099"/>
                    <a:gd name="connsiteX3597" fmla="*/ 1390998 w 1659478"/>
                    <a:gd name="connsiteY3597" fmla="*/ 1153980 h 1461099"/>
                    <a:gd name="connsiteX3598" fmla="*/ 1391569 w 1659478"/>
                    <a:gd name="connsiteY3598" fmla="*/ 1154101 h 1461099"/>
                    <a:gd name="connsiteX3599" fmla="*/ 1392152 w 1659478"/>
                    <a:gd name="connsiteY3599" fmla="*/ 1154113 h 1461099"/>
                    <a:gd name="connsiteX3600" fmla="*/ 1393050 w 1659478"/>
                    <a:gd name="connsiteY3600" fmla="*/ 1154125 h 1461099"/>
                    <a:gd name="connsiteX3601" fmla="*/ 1393086 w 1659478"/>
                    <a:gd name="connsiteY3601" fmla="*/ 1154198 h 1461099"/>
                    <a:gd name="connsiteX3602" fmla="*/ 1394070 w 1659478"/>
                    <a:gd name="connsiteY3602" fmla="*/ 1156554 h 1461099"/>
                    <a:gd name="connsiteX3603" fmla="*/ 1394289 w 1659478"/>
                    <a:gd name="connsiteY3603" fmla="*/ 1157538 h 1461099"/>
                    <a:gd name="connsiteX3604" fmla="*/ 1394301 w 1659478"/>
                    <a:gd name="connsiteY3604" fmla="*/ 1157623 h 1461099"/>
                    <a:gd name="connsiteX3605" fmla="*/ 1394155 w 1659478"/>
                    <a:gd name="connsiteY3605" fmla="*/ 1160343 h 1461099"/>
                    <a:gd name="connsiteX3606" fmla="*/ 1394107 w 1659478"/>
                    <a:gd name="connsiteY3606" fmla="*/ 1161229 h 1461099"/>
                    <a:gd name="connsiteX3607" fmla="*/ 1394313 w 1659478"/>
                    <a:gd name="connsiteY3607" fmla="*/ 1162091 h 1461099"/>
                    <a:gd name="connsiteX3608" fmla="*/ 1394495 w 1659478"/>
                    <a:gd name="connsiteY3608" fmla="*/ 1162856 h 1461099"/>
                    <a:gd name="connsiteX3609" fmla="*/ 1395054 w 1659478"/>
                    <a:gd name="connsiteY3609" fmla="*/ 1165188 h 1461099"/>
                    <a:gd name="connsiteX3610" fmla="*/ 1397057 w 1659478"/>
                    <a:gd name="connsiteY3610" fmla="*/ 1166511 h 1461099"/>
                    <a:gd name="connsiteX3611" fmla="*/ 1397458 w 1659478"/>
                    <a:gd name="connsiteY3611" fmla="*/ 1166766 h 1461099"/>
                    <a:gd name="connsiteX3612" fmla="*/ 1398174 w 1659478"/>
                    <a:gd name="connsiteY3612" fmla="*/ 1167155 h 1461099"/>
                    <a:gd name="connsiteX3613" fmla="*/ 1398867 w 1659478"/>
                    <a:gd name="connsiteY3613" fmla="*/ 1167471 h 1461099"/>
                    <a:gd name="connsiteX3614" fmla="*/ 1399583 w 1659478"/>
                    <a:gd name="connsiteY3614" fmla="*/ 1167786 h 1461099"/>
                    <a:gd name="connsiteX3615" fmla="*/ 1400348 w 1659478"/>
                    <a:gd name="connsiteY3615" fmla="*/ 1167920 h 1461099"/>
                    <a:gd name="connsiteX3616" fmla="*/ 1401841 w 1659478"/>
                    <a:gd name="connsiteY3616" fmla="*/ 1168175 h 1461099"/>
                    <a:gd name="connsiteX3617" fmla="*/ 1402303 w 1659478"/>
                    <a:gd name="connsiteY3617" fmla="*/ 1168260 h 1461099"/>
                    <a:gd name="connsiteX3618" fmla="*/ 1402777 w 1659478"/>
                    <a:gd name="connsiteY3618" fmla="*/ 1168260 h 1461099"/>
                    <a:gd name="connsiteX3619" fmla="*/ 1404671 w 1659478"/>
                    <a:gd name="connsiteY3619" fmla="*/ 1168284 h 1461099"/>
                    <a:gd name="connsiteX3620" fmla="*/ 1405278 w 1659478"/>
                    <a:gd name="connsiteY3620" fmla="*/ 1168296 h 1461099"/>
                    <a:gd name="connsiteX3621" fmla="*/ 1405873 w 1659478"/>
                    <a:gd name="connsiteY3621" fmla="*/ 1168187 h 1461099"/>
                    <a:gd name="connsiteX3622" fmla="*/ 1408969 w 1659478"/>
                    <a:gd name="connsiteY3622" fmla="*/ 1167616 h 1461099"/>
                    <a:gd name="connsiteX3623" fmla="*/ 1410342 w 1659478"/>
                    <a:gd name="connsiteY3623" fmla="*/ 1167252 h 1461099"/>
                    <a:gd name="connsiteX3624" fmla="*/ 1410730 w 1659478"/>
                    <a:gd name="connsiteY3624" fmla="*/ 1167143 h 1461099"/>
                    <a:gd name="connsiteX3625" fmla="*/ 1411094 w 1659478"/>
                    <a:gd name="connsiteY3625" fmla="*/ 1166985 h 1461099"/>
                    <a:gd name="connsiteX3626" fmla="*/ 1428386 w 1659478"/>
                    <a:gd name="connsiteY3626" fmla="*/ 1159384 h 1461099"/>
                    <a:gd name="connsiteX3627" fmla="*/ 1428957 w 1659478"/>
                    <a:gd name="connsiteY3627" fmla="*/ 1159128 h 1461099"/>
                    <a:gd name="connsiteX3628" fmla="*/ 1429467 w 1659478"/>
                    <a:gd name="connsiteY3628" fmla="*/ 1158776 h 1461099"/>
                    <a:gd name="connsiteX3629" fmla="*/ 1431980 w 1659478"/>
                    <a:gd name="connsiteY3629" fmla="*/ 1156991 h 1461099"/>
                    <a:gd name="connsiteX3630" fmla="*/ 1433000 w 1659478"/>
                    <a:gd name="connsiteY3630" fmla="*/ 1156263 h 1461099"/>
                    <a:gd name="connsiteX3631" fmla="*/ 1433644 w 1659478"/>
                    <a:gd name="connsiteY3631" fmla="*/ 1155194 h 1461099"/>
                    <a:gd name="connsiteX3632" fmla="*/ 1434288 w 1659478"/>
                    <a:gd name="connsiteY3632" fmla="*/ 1154138 h 1461099"/>
                    <a:gd name="connsiteX3633" fmla="*/ 1435295 w 1659478"/>
                    <a:gd name="connsiteY3633" fmla="*/ 1152802 h 1461099"/>
                    <a:gd name="connsiteX3634" fmla="*/ 1436267 w 1659478"/>
                    <a:gd name="connsiteY3634" fmla="*/ 1151490 h 1461099"/>
                    <a:gd name="connsiteX3635" fmla="*/ 1436449 w 1659478"/>
                    <a:gd name="connsiteY3635" fmla="*/ 1149876 h 1461099"/>
                    <a:gd name="connsiteX3636" fmla="*/ 1436801 w 1659478"/>
                    <a:gd name="connsiteY3636" fmla="*/ 1146633 h 1461099"/>
                    <a:gd name="connsiteX3637" fmla="*/ 1436862 w 1659478"/>
                    <a:gd name="connsiteY3637" fmla="*/ 1146087 h 1461099"/>
                    <a:gd name="connsiteX3638" fmla="*/ 1436825 w 1659478"/>
                    <a:gd name="connsiteY3638" fmla="*/ 1145540 h 1461099"/>
                    <a:gd name="connsiteX3639" fmla="*/ 1436473 w 1659478"/>
                    <a:gd name="connsiteY3639" fmla="*/ 1140659 h 1461099"/>
                    <a:gd name="connsiteX3640" fmla="*/ 1436437 w 1659478"/>
                    <a:gd name="connsiteY3640" fmla="*/ 1140125 h 1461099"/>
                    <a:gd name="connsiteX3641" fmla="*/ 1436303 w 1659478"/>
                    <a:gd name="connsiteY3641" fmla="*/ 1139603 h 1461099"/>
                    <a:gd name="connsiteX3642" fmla="*/ 1433899 w 1659478"/>
                    <a:gd name="connsiteY3642" fmla="*/ 1130216 h 1461099"/>
                    <a:gd name="connsiteX3643" fmla="*/ 1433802 w 1659478"/>
                    <a:gd name="connsiteY3643" fmla="*/ 1129828 h 1461099"/>
                    <a:gd name="connsiteX3644" fmla="*/ 1433656 w 1659478"/>
                    <a:gd name="connsiteY3644" fmla="*/ 1129451 h 1461099"/>
                    <a:gd name="connsiteX3645" fmla="*/ 1431992 w 1659478"/>
                    <a:gd name="connsiteY3645" fmla="*/ 1125310 h 1461099"/>
                    <a:gd name="connsiteX3646" fmla="*/ 1431823 w 1659478"/>
                    <a:gd name="connsiteY3646" fmla="*/ 1124885 h 1461099"/>
                    <a:gd name="connsiteX3647" fmla="*/ 1431592 w 1659478"/>
                    <a:gd name="connsiteY3647" fmla="*/ 1124497 h 1461099"/>
                    <a:gd name="connsiteX3648" fmla="*/ 1429758 w 1659478"/>
                    <a:gd name="connsiteY3648" fmla="*/ 1121376 h 1461099"/>
                    <a:gd name="connsiteX3649" fmla="*/ 1429442 w 1659478"/>
                    <a:gd name="connsiteY3649" fmla="*/ 1120830 h 1461099"/>
                    <a:gd name="connsiteX3650" fmla="*/ 1429005 w 1659478"/>
                    <a:gd name="connsiteY3650" fmla="*/ 1120356 h 1461099"/>
                    <a:gd name="connsiteX3651" fmla="*/ 1426589 w 1659478"/>
                    <a:gd name="connsiteY3651" fmla="*/ 1117709 h 1461099"/>
                    <a:gd name="connsiteX3652" fmla="*/ 1426334 w 1659478"/>
                    <a:gd name="connsiteY3652" fmla="*/ 1117430 h 1461099"/>
                    <a:gd name="connsiteX3653" fmla="*/ 1426055 w 1659478"/>
                    <a:gd name="connsiteY3653" fmla="*/ 1117175 h 1461099"/>
                    <a:gd name="connsiteX3654" fmla="*/ 1417105 w 1659478"/>
                    <a:gd name="connsiteY3654" fmla="*/ 1109537 h 1461099"/>
                    <a:gd name="connsiteX3655" fmla="*/ 1416571 w 1659478"/>
                    <a:gd name="connsiteY3655" fmla="*/ 1109075 h 1461099"/>
                    <a:gd name="connsiteX3656" fmla="*/ 1415940 w 1659478"/>
                    <a:gd name="connsiteY3656" fmla="*/ 1108760 h 1461099"/>
                    <a:gd name="connsiteX3657" fmla="*/ 1413972 w 1659478"/>
                    <a:gd name="connsiteY3657" fmla="*/ 1107752 h 1461099"/>
                    <a:gd name="connsiteX3658" fmla="*/ 1413098 w 1659478"/>
                    <a:gd name="connsiteY3658" fmla="*/ 1107302 h 1461099"/>
                    <a:gd name="connsiteX3659" fmla="*/ 1412139 w 1659478"/>
                    <a:gd name="connsiteY3659" fmla="*/ 1107145 h 1461099"/>
                    <a:gd name="connsiteX3660" fmla="*/ 1410123 w 1659478"/>
                    <a:gd name="connsiteY3660" fmla="*/ 1106829 h 1461099"/>
                    <a:gd name="connsiteX3661" fmla="*/ 1409212 w 1659478"/>
                    <a:gd name="connsiteY3661" fmla="*/ 1106683 h 1461099"/>
                    <a:gd name="connsiteX3662" fmla="*/ 1408314 w 1659478"/>
                    <a:gd name="connsiteY3662" fmla="*/ 1106817 h 1461099"/>
                    <a:gd name="connsiteX3663" fmla="*/ 1406881 w 1659478"/>
                    <a:gd name="connsiteY3663" fmla="*/ 1107023 h 1461099"/>
                    <a:gd name="connsiteX3664" fmla="*/ 1406407 w 1659478"/>
                    <a:gd name="connsiteY3664" fmla="*/ 1107084 h 1461099"/>
                    <a:gd name="connsiteX3665" fmla="*/ 1405958 w 1659478"/>
                    <a:gd name="connsiteY3665" fmla="*/ 1107217 h 1461099"/>
                    <a:gd name="connsiteX3666" fmla="*/ 1405047 w 1659478"/>
                    <a:gd name="connsiteY3666" fmla="*/ 1107497 h 1461099"/>
                    <a:gd name="connsiteX3667" fmla="*/ 1404464 w 1659478"/>
                    <a:gd name="connsiteY3667" fmla="*/ 1107594 h 1461099"/>
                    <a:gd name="connsiteX3668" fmla="*/ 1398320 w 1659478"/>
                    <a:gd name="connsiteY3668" fmla="*/ 1106962 h 1461099"/>
                    <a:gd name="connsiteX3669" fmla="*/ 1394762 w 1659478"/>
                    <a:gd name="connsiteY3669" fmla="*/ 1104947 h 1461099"/>
                    <a:gd name="connsiteX3670" fmla="*/ 1387149 w 1659478"/>
                    <a:gd name="connsiteY3670" fmla="*/ 1096240 h 1461099"/>
                    <a:gd name="connsiteX3671" fmla="*/ 1387282 w 1659478"/>
                    <a:gd name="connsiteY3671" fmla="*/ 1096228 h 1461099"/>
                    <a:gd name="connsiteX3672" fmla="*/ 1387792 w 1659478"/>
                    <a:gd name="connsiteY3672" fmla="*/ 1096192 h 1461099"/>
                    <a:gd name="connsiteX3673" fmla="*/ 1388290 w 1659478"/>
                    <a:gd name="connsiteY3673" fmla="*/ 1096070 h 1461099"/>
                    <a:gd name="connsiteX3674" fmla="*/ 1392127 w 1659478"/>
                    <a:gd name="connsiteY3674" fmla="*/ 1095147 h 1461099"/>
                    <a:gd name="connsiteX3675" fmla="*/ 1392576 w 1659478"/>
                    <a:gd name="connsiteY3675" fmla="*/ 1095038 h 1461099"/>
                    <a:gd name="connsiteX3676" fmla="*/ 1393001 w 1659478"/>
                    <a:gd name="connsiteY3676" fmla="*/ 1094868 h 1461099"/>
                    <a:gd name="connsiteX3677" fmla="*/ 1394956 w 1659478"/>
                    <a:gd name="connsiteY3677" fmla="*/ 1094066 h 1461099"/>
                    <a:gd name="connsiteX3678" fmla="*/ 1395430 w 1659478"/>
                    <a:gd name="connsiteY3678" fmla="*/ 1093872 h 1461099"/>
                    <a:gd name="connsiteX3679" fmla="*/ 1395867 w 1659478"/>
                    <a:gd name="connsiteY3679" fmla="*/ 1093605 h 1461099"/>
                    <a:gd name="connsiteX3680" fmla="*/ 1397932 w 1659478"/>
                    <a:gd name="connsiteY3680" fmla="*/ 1092318 h 1461099"/>
                    <a:gd name="connsiteX3681" fmla="*/ 1398721 w 1659478"/>
                    <a:gd name="connsiteY3681" fmla="*/ 1091820 h 1461099"/>
                    <a:gd name="connsiteX3682" fmla="*/ 1399328 w 1659478"/>
                    <a:gd name="connsiteY3682" fmla="*/ 1091116 h 1461099"/>
                    <a:gd name="connsiteX3683" fmla="*/ 1401004 w 1659478"/>
                    <a:gd name="connsiteY3683" fmla="*/ 1089161 h 1461099"/>
                    <a:gd name="connsiteX3684" fmla="*/ 1401477 w 1659478"/>
                    <a:gd name="connsiteY3684" fmla="*/ 1088602 h 1461099"/>
                    <a:gd name="connsiteX3685" fmla="*/ 1401805 w 1659478"/>
                    <a:gd name="connsiteY3685" fmla="*/ 1087946 h 1461099"/>
                    <a:gd name="connsiteX3686" fmla="*/ 1402594 w 1659478"/>
                    <a:gd name="connsiteY3686" fmla="*/ 1086392 h 1461099"/>
                    <a:gd name="connsiteX3687" fmla="*/ 1402922 w 1659478"/>
                    <a:gd name="connsiteY3687" fmla="*/ 1085749 h 1461099"/>
                    <a:gd name="connsiteX3688" fmla="*/ 1403092 w 1659478"/>
                    <a:gd name="connsiteY3688" fmla="*/ 1085032 h 1461099"/>
                    <a:gd name="connsiteX3689" fmla="*/ 1403396 w 1659478"/>
                    <a:gd name="connsiteY3689" fmla="*/ 1083745 h 1461099"/>
                    <a:gd name="connsiteX3690" fmla="*/ 1403590 w 1659478"/>
                    <a:gd name="connsiteY3690" fmla="*/ 1082944 h 1461099"/>
                    <a:gd name="connsiteX3691" fmla="*/ 1403554 w 1659478"/>
                    <a:gd name="connsiteY3691" fmla="*/ 1082118 h 1461099"/>
                    <a:gd name="connsiteX3692" fmla="*/ 1403372 w 1659478"/>
                    <a:gd name="connsiteY3692" fmla="*/ 1077613 h 1461099"/>
                    <a:gd name="connsiteX3693" fmla="*/ 1403347 w 1659478"/>
                    <a:gd name="connsiteY3693" fmla="*/ 1076969 h 1461099"/>
                    <a:gd name="connsiteX3694" fmla="*/ 1403189 w 1659478"/>
                    <a:gd name="connsiteY3694" fmla="*/ 1076350 h 1461099"/>
                    <a:gd name="connsiteX3695" fmla="*/ 1402388 w 1659478"/>
                    <a:gd name="connsiteY3695" fmla="*/ 1073193 h 1461099"/>
                    <a:gd name="connsiteX3696" fmla="*/ 1402279 w 1659478"/>
                    <a:gd name="connsiteY3696" fmla="*/ 1072756 h 1461099"/>
                    <a:gd name="connsiteX3697" fmla="*/ 1402097 w 1659478"/>
                    <a:gd name="connsiteY3697" fmla="*/ 1072331 h 1461099"/>
                    <a:gd name="connsiteX3698" fmla="*/ 1399401 w 1659478"/>
                    <a:gd name="connsiteY3698" fmla="*/ 1065980 h 1461099"/>
                    <a:gd name="connsiteX3699" fmla="*/ 1396741 w 1659478"/>
                    <a:gd name="connsiteY3699" fmla="*/ 1060916 h 1461099"/>
                    <a:gd name="connsiteX3700" fmla="*/ 1396766 w 1659478"/>
                    <a:gd name="connsiteY3700" fmla="*/ 1060868 h 1461099"/>
                    <a:gd name="connsiteX3701" fmla="*/ 1397895 w 1659478"/>
                    <a:gd name="connsiteY3701" fmla="*/ 1059095 h 1461099"/>
                    <a:gd name="connsiteX3702" fmla="*/ 1398101 w 1659478"/>
                    <a:gd name="connsiteY3702" fmla="*/ 1058925 h 1461099"/>
                    <a:gd name="connsiteX3703" fmla="*/ 1399474 w 1659478"/>
                    <a:gd name="connsiteY3703" fmla="*/ 1058269 h 1461099"/>
                    <a:gd name="connsiteX3704" fmla="*/ 1404659 w 1659478"/>
                    <a:gd name="connsiteY3704" fmla="*/ 1057213 h 1461099"/>
                    <a:gd name="connsiteX3705" fmla="*/ 1405302 w 1659478"/>
                    <a:gd name="connsiteY3705" fmla="*/ 1057079 h 1461099"/>
                    <a:gd name="connsiteX3706" fmla="*/ 1405897 w 1659478"/>
                    <a:gd name="connsiteY3706" fmla="*/ 1056812 h 1461099"/>
                    <a:gd name="connsiteX3707" fmla="*/ 1421015 w 1659478"/>
                    <a:gd name="connsiteY3707" fmla="*/ 1050133 h 1461099"/>
                    <a:gd name="connsiteX3708" fmla="*/ 1421234 w 1659478"/>
                    <a:gd name="connsiteY3708" fmla="*/ 1050097 h 1461099"/>
                    <a:gd name="connsiteX3709" fmla="*/ 1422679 w 1659478"/>
                    <a:gd name="connsiteY3709" fmla="*/ 1050085 h 1461099"/>
                    <a:gd name="connsiteX3710" fmla="*/ 1426030 w 1659478"/>
                    <a:gd name="connsiteY3710" fmla="*/ 1050376 h 1461099"/>
                    <a:gd name="connsiteX3711" fmla="*/ 1426674 w 1659478"/>
                    <a:gd name="connsiteY3711" fmla="*/ 1050425 h 1461099"/>
                    <a:gd name="connsiteX3712" fmla="*/ 1427317 w 1659478"/>
                    <a:gd name="connsiteY3712" fmla="*/ 1050340 h 1461099"/>
                    <a:gd name="connsiteX3713" fmla="*/ 1436680 w 1659478"/>
                    <a:gd name="connsiteY3713" fmla="*/ 1049101 h 1461099"/>
                    <a:gd name="connsiteX3714" fmla="*/ 1437335 w 1659478"/>
                    <a:gd name="connsiteY3714" fmla="*/ 1049016 h 1461099"/>
                    <a:gd name="connsiteX3715" fmla="*/ 1437955 w 1659478"/>
                    <a:gd name="connsiteY3715" fmla="*/ 1048786 h 1461099"/>
                    <a:gd name="connsiteX3716" fmla="*/ 1455999 w 1659478"/>
                    <a:gd name="connsiteY3716" fmla="*/ 1042253 h 1461099"/>
                    <a:gd name="connsiteX3717" fmla="*/ 1456436 w 1659478"/>
                    <a:gd name="connsiteY3717" fmla="*/ 1042180 h 1461099"/>
                    <a:gd name="connsiteX3718" fmla="*/ 1458282 w 1659478"/>
                    <a:gd name="connsiteY3718" fmla="*/ 1042787 h 1461099"/>
                    <a:gd name="connsiteX3719" fmla="*/ 1458938 w 1659478"/>
                    <a:gd name="connsiteY3719" fmla="*/ 1043005 h 1461099"/>
                    <a:gd name="connsiteX3720" fmla="*/ 1459630 w 1659478"/>
                    <a:gd name="connsiteY3720" fmla="*/ 1043066 h 1461099"/>
                    <a:gd name="connsiteX3721" fmla="*/ 1462836 w 1659478"/>
                    <a:gd name="connsiteY3721" fmla="*/ 1043358 h 1461099"/>
                    <a:gd name="connsiteX3722" fmla="*/ 1464305 w 1659478"/>
                    <a:gd name="connsiteY3722" fmla="*/ 1043491 h 1461099"/>
                    <a:gd name="connsiteX3723" fmla="*/ 1465677 w 1659478"/>
                    <a:gd name="connsiteY3723" fmla="*/ 1042945 h 1461099"/>
                    <a:gd name="connsiteX3724" fmla="*/ 1468361 w 1659478"/>
                    <a:gd name="connsiteY3724" fmla="*/ 1041852 h 1461099"/>
                    <a:gd name="connsiteX3725" fmla="*/ 1468543 w 1659478"/>
                    <a:gd name="connsiteY3725" fmla="*/ 1041852 h 1461099"/>
                    <a:gd name="connsiteX3726" fmla="*/ 1469259 w 1659478"/>
                    <a:gd name="connsiteY3726" fmla="*/ 1042058 h 1461099"/>
                    <a:gd name="connsiteX3727" fmla="*/ 1471323 w 1659478"/>
                    <a:gd name="connsiteY3727" fmla="*/ 1043443 h 1461099"/>
                    <a:gd name="connsiteX3728" fmla="*/ 1471579 w 1659478"/>
                    <a:gd name="connsiteY3728" fmla="*/ 1043625 h 1461099"/>
                    <a:gd name="connsiteX3729" fmla="*/ 1471846 w 1659478"/>
                    <a:gd name="connsiteY3729" fmla="*/ 1043770 h 1461099"/>
                    <a:gd name="connsiteX3730" fmla="*/ 1474602 w 1659478"/>
                    <a:gd name="connsiteY3730" fmla="*/ 1045228 h 1461099"/>
                    <a:gd name="connsiteX3731" fmla="*/ 1475731 w 1659478"/>
                    <a:gd name="connsiteY3731" fmla="*/ 1045823 h 1461099"/>
                    <a:gd name="connsiteX3732" fmla="*/ 1477006 w 1659478"/>
                    <a:gd name="connsiteY3732" fmla="*/ 1045908 h 1461099"/>
                    <a:gd name="connsiteX3733" fmla="*/ 1480552 w 1659478"/>
                    <a:gd name="connsiteY3733" fmla="*/ 1046163 h 1461099"/>
                    <a:gd name="connsiteX3734" fmla="*/ 1482070 w 1659478"/>
                    <a:gd name="connsiteY3734" fmla="*/ 1046272 h 1461099"/>
                    <a:gd name="connsiteX3735" fmla="*/ 1483454 w 1659478"/>
                    <a:gd name="connsiteY3735" fmla="*/ 1045653 h 1461099"/>
                    <a:gd name="connsiteX3736" fmla="*/ 1485822 w 1659478"/>
                    <a:gd name="connsiteY3736" fmla="*/ 1044596 h 1461099"/>
                    <a:gd name="connsiteX3737" fmla="*/ 1486903 w 1659478"/>
                    <a:gd name="connsiteY3737" fmla="*/ 1044110 h 1461099"/>
                    <a:gd name="connsiteX3738" fmla="*/ 1487716 w 1659478"/>
                    <a:gd name="connsiteY3738" fmla="*/ 1043261 h 1461099"/>
                    <a:gd name="connsiteX3739" fmla="*/ 1489489 w 1659478"/>
                    <a:gd name="connsiteY3739" fmla="*/ 1041427 h 1461099"/>
                    <a:gd name="connsiteX3740" fmla="*/ 1489878 w 1659478"/>
                    <a:gd name="connsiteY3740" fmla="*/ 1041026 h 1461099"/>
                    <a:gd name="connsiteX3741" fmla="*/ 1490181 w 1659478"/>
                    <a:gd name="connsiteY3741" fmla="*/ 1040553 h 1461099"/>
                    <a:gd name="connsiteX3742" fmla="*/ 1490424 w 1659478"/>
                    <a:gd name="connsiteY3742" fmla="*/ 1040188 h 1461099"/>
                    <a:gd name="connsiteX3743" fmla="*/ 1490910 w 1659478"/>
                    <a:gd name="connsiteY3743" fmla="*/ 1040079 h 1461099"/>
                    <a:gd name="connsiteX3744" fmla="*/ 1491821 w 1659478"/>
                    <a:gd name="connsiteY3744" fmla="*/ 1039861 h 1461099"/>
                    <a:gd name="connsiteX3745" fmla="*/ 1492634 w 1659478"/>
                    <a:gd name="connsiteY3745" fmla="*/ 1039375 h 1461099"/>
                    <a:gd name="connsiteX3746" fmla="*/ 1494128 w 1659478"/>
                    <a:gd name="connsiteY3746" fmla="*/ 1038501 h 1461099"/>
                    <a:gd name="connsiteX3747" fmla="*/ 1495476 w 1659478"/>
                    <a:gd name="connsiteY3747" fmla="*/ 1037699 h 1461099"/>
                    <a:gd name="connsiteX3748" fmla="*/ 1496265 w 1659478"/>
                    <a:gd name="connsiteY3748" fmla="*/ 1036351 h 1461099"/>
                    <a:gd name="connsiteX3749" fmla="*/ 1497297 w 1659478"/>
                    <a:gd name="connsiteY3749" fmla="*/ 1034603 h 1461099"/>
                    <a:gd name="connsiteX3750" fmla="*/ 1497965 w 1659478"/>
                    <a:gd name="connsiteY3750" fmla="*/ 1033473 h 1461099"/>
                    <a:gd name="connsiteX3751" fmla="*/ 1498099 w 1659478"/>
                    <a:gd name="connsiteY3751" fmla="*/ 1032162 h 1461099"/>
                    <a:gd name="connsiteX3752" fmla="*/ 1498317 w 1659478"/>
                    <a:gd name="connsiteY3752" fmla="*/ 1030085 h 1461099"/>
                    <a:gd name="connsiteX3753" fmla="*/ 1498390 w 1659478"/>
                    <a:gd name="connsiteY3753" fmla="*/ 1029442 h 1461099"/>
                    <a:gd name="connsiteX3754" fmla="*/ 1498317 w 1659478"/>
                    <a:gd name="connsiteY3754" fmla="*/ 1028798 h 1461099"/>
                    <a:gd name="connsiteX3755" fmla="*/ 1497965 w 1659478"/>
                    <a:gd name="connsiteY3755" fmla="*/ 1025483 h 1461099"/>
                    <a:gd name="connsiteX3756" fmla="*/ 1497965 w 1659478"/>
                    <a:gd name="connsiteY3756" fmla="*/ 1025471 h 1461099"/>
                    <a:gd name="connsiteX3757" fmla="*/ 1498669 w 1659478"/>
                    <a:gd name="connsiteY3757" fmla="*/ 1024548 h 1461099"/>
                    <a:gd name="connsiteX3758" fmla="*/ 1499532 w 1659478"/>
                    <a:gd name="connsiteY3758" fmla="*/ 1023407 h 1461099"/>
                    <a:gd name="connsiteX3759" fmla="*/ 1499799 w 1659478"/>
                    <a:gd name="connsiteY3759" fmla="*/ 1022010 h 1461099"/>
                    <a:gd name="connsiteX3760" fmla="*/ 1500078 w 1659478"/>
                    <a:gd name="connsiteY3760" fmla="*/ 1020553 h 1461099"/>
                    <a:gd name="connsiteX3761" fmla="*/ 1500321 w 1659478"/>
                    <a:gd name="connsiteY3761" fmla="*/ 1019278 h 1461099"/>
                    <a:gd name="connsiteX3762" fmla="*/ 1500017 w 1659478"/>
                    <a:gd name="connsiteY3762" fmla="*/ 1018015 h 1461099"/>
                    <a:gd name="connsiteX3763" fmla="*/ 1499629 w 1659478"/>
                    <a:gd name="connsiteY3763" fmla="*/ 1016340 h 1461099"/>
                    <a:gd name="connsiteX3764" fmla="*/ 1499386 w 1659478"/>
                    <a:gd name="connsiteY3764" fmla="*/ 1015344 h 1461099"/>
                    <a:gd name="connsiteX3765" fmla="*/ 1498839 w 1659478"/>
                    <a:gd name="connsiteY3765" fmla="*/ 1014482 h 1461099"/>
                    <a:gd name="connsiteX3766" fmla="*/ 1497807 w 1659478"/>
                    <a:gd name="connsiteY3766" fmla="*/ 1012855 h 1461099"/>
                    <a:gd name="connsiteX3767" fmla="*/ 1497564 w 1659478"/>
                    <a:gd name="connsiteY3767" fmla="*/ 1012466 h 1461099"/>
                    <a:gd name="connsiteX3768" fmla="*/ 1497261 w 1659478"/>
                    <a:gd name="connsiteY3768" fmla="*/ 1012114 h 1461099"/>
                    <a:gd name="connsiteX3769" fmla="*/ 1493630 w 1659478"/>
                    <a:gd name="connsiteY3769" fmla="*/ 1007949 h 1461099"/>
                    <a:gd name="connsiteX3770" fmla="*/ 1492877 w 1659478"/>
                    <a:gd name="connsiteY3770" fmla="*/ 1006734 h 1461099"/>
                    <a:gd name="connsiteX3771" fmla="*/ 1492683 w 1659478"/>
                    <a:gd name="connsiteY3771" fmla="*/ 1006237 h 1461099"/>
                    <a:gd name="connsiteX3772" fmla="*/ 1492476 w 1659478"/>
                    <a:gd name="connsiteY3772" fmla="*/ 1005192 h 1461099"/>
                    <a:gd name="connsiteX3773" fmla="*/ 1492452 w 1659478"/>
                    <a:gd name="connsiteY3773" fmla="*/ 1004233 h 1461099"/>
                    <a:gd name="connsiteX3774" fmla="*/ 1492476 w 1659478"/>
                    <a:gd name="connsiteY3774" fmla="*/ 1003966 h 1461099"/>
                    <a:gd name="connsiteX3775" fmla="*/ 1492768 w 1659478"/>
                    <a:gd name="connsiteY3775" fmla="*/ 1003140 h 1461099"/>
                    <a:gd name="connsiteX3776" fmla="*/ 1493278 w 1659478"/>
                    <a:gd name="connsiteY3776" fmla="*/ 1001962 h 1461099"/>
                    <a:gd name="connsiteX3777" fmla="*/ 1493509 w 1659478"/>
                    <a:gd name="connsiteY3777" fmla="*/ 1001440 h 1461099"/>
                    <a:gd name="connsiteX3778" fmla="*/ 1493630 w 1659478"/>
                    <a:gd name="connsiteY3778" fmla="*/ 1000882 h 1461099"/>
                    <a:gd name="connsiteX3779" fmla="*/ 1493861 w 1659478"/>
                    <a:gd name="connsiteY3779" fmla="*/ 999813 h 1461099"/>
                    <a:gd name="connsiteX3780" fmla="*/ 1494055 w 1659478"/>
                    <a:gd name="connsiteY3780" fmla="*/ 998939 h 1461099"/>
                    <a:gd name="connsiteX3781" fmla="*/ 1493982 w 1659478"/>
                    <a:gd name="connsiteY3781" fmla="*/ 998052 h 1461099"/>
                    <a:gd name="connsiteX3782" fmla="*/ 1493861 w 1659478"/>
                    <a:gd name="connsiteY3782" fmla="*/ 996510 h 1461099"/>
                    <a:gd name="connsiteX3783" fmla="*/ 1493776 w 1659478"/>
                    <a:gd name="connsiteY3783" fmla="*/ 995478 h 1461099"/>
                    <a:gd name="connsiteX3784" fmla="*/ 1493351 w 1659478"/>
                    <a:gd name="connsiteY3784" fmla="*/ 994531 h 1461099"/>
                    <a:gd name="connsiteX3785" fmla="*/ 1492659 w 1659478"/>
                    <a:gd name="connsiteY3785" fmla="*/ 992977 h 1461099"/>
                    <a:gd name="connsiteX3786" fmla="*/ 1492428 w 1659478"/>
                    <a:gd name="connsiteY3786" fmla="*/ 992454 h 1461099"/>
                    <a:gd name="connsiteX3787" fmla="*/ 1492088 w 1659478"/>
                    <a:gd name="connsiteY3787" fmla="*/ 991969 h 1461099"/>
                    <a:gd name="connsiteX3788" fmla="*/ 1490109 w 1659478"/>
                    <a:gd name="connsiteY3788" fmla="*/ 989115 h 1461099"/>
                    <a:gd name="connsiteX3789" fmla="*/ 1489793 w 1659478"/>
                    <a:gd name="connsiteY3789" fmla="*/ 988447 h 1461099"/>
                    <a:gd name="connsiteX3790" fmla="*/ 1489708 w 1659478"/>
                    <a:gd name="connsiteY3790" fmla="*/ 987949 h 1461099"/>
                    <a:gd name="connsiteX3791" fmla="*/ 1489756 w 1659478"/>
                    <a:gd name="connsiteY3791" fmla="*/ 987051 h 1461099"/>
                    <a:gd name="connsiteX3792" fmla="*/ 1489890 w 1659478"/>
                    <a:gd name="connsiteY3792" fmla="*/ 986553 h 1461099"/>
                    <a:gd name="connsiteX3793" fmla="*/ 1490242 w 1659478"/>
                    <a:gd name="connsiteY3793" fmla="*/ 985909 h 1461099"/>
                    <a:gd name="connsiteX3794" fmla="*/ 1490789 w 1659478"/>
                    <a:gd name="connsiteY3794" fmla="*/ 985144 h 1461099"/>
                    <a:gd name="connsiteX3795" fmla="*/ 1491748 w 1659478"/>
                    <a:gd name="connsiteY3795" fmla="*/ 983566 h 1461099"/>
                    <a:gd name="connsiteX3796" fmla="*/ 1492586 w 1659478"/>
                    <a:gd name="connsiteY3796" fmla="*/ 982133 h 1461099"/>
                    <a:gd name="connsiteX3797" fmla="*/ 1492586 w 1659478"/>
                    <a:gd name="connsiteY3797" fmla="*/ 980469 h 1461099"/>
                    <a:gd name="connsiteX3798" fmla="*/ 1492586 w 1659478"/>
                    <a:gd name="connsiteY3798" fmla="*/ 979486 h 1461099"/>
                    <a:gd name="connsiteX3799" fmla="*/ 1492586 w 1659478"/>
                    <a:gd name="connsiteY3799" fmla="*/ 978320 h 1461099"/>
                    <a:gd name="connsiteX3800" fmla="*/ 1492161 w 1659478"/>
                    <a:gd name="connsiteY3800" fmla="*/ 977251 h 1461099"/>
                    <a:gd name="connsiteX3801" fmla="*/ 1491602 w 1659478"/>
                    <a:gd name="connsiteY3801" fmla="*/ 975843 h 1461099"/>
                    <a:gd name="connsiteX3802" fmla="*/ 1491432 w 1659478"/>
                    <a:gd name="connsiteY3802" fmla="*/ 975418 h 1461099"/>
                    <a:gd name="connsiteX3803" fmla="*/ 1491201 w 1659478"/>
                    <a:gd name="connsiteY3803" fmla="*/ 975029 h 1461099"/>
                    <a:gd name="connsiteX3804" fmla="*/ 1490449 w 1659478"/>
                    <a:gd name="connsiteY3804" fmla="*/ 973730 h 1461099"/>
                    <a:gd name="connsiteX3805" fmla="*/ 1490230 w 1659478"/>
                    <a:gd name="connsiteY3805" fmla="*/ 973378 h 1461099"/>
                    <a:gd name="connsiteX3806" fmla="*/ 1489975 w 1659478"/>
                    <a:gd name="connsiteY3806" fmla="*/ 973050 h 1461099"/>
                    <a:gd name="connsiteX3807" fmla="*/ 1489052 w 1659478"/>
                    <a:gd name="connsiteY3807" fmla="*/ 971872 h 1461099"/>
                    <a:gd name="connsiteX3808" fmla="*/ 1488821 w 1659478"/>
                    <a:gd name="connsiteY3808" fmla="*/ 971581 h 1461099"/>
                    <a:gd name="connsiteX3809" fmla="*/ 1488567 w 1659478"/>
                    <a:gd name="connsiteY3809" fmla="*/ 971326 h 1461099"/>
                    <a:gd name="connsiteX3810" fmla="*/ 1487595 w 1659478"/>
                    <a:gd name="connsiteY3810" fmla="*/ 970354 h 1461099"/>
                    <a:gd name="connsiteX3811" fmla="*/ 1487158 w 1659478"/>
                    <a:gd name="connsiteY3811" fmla="*/ 969917 h 1461099"/>
                    <a:gd name="connsiteX3812" fmla="*/ 1486636 w 1659478"/>
                    <a:gd name="connsiteY3812" fmla="*/ 969577 h 1461099"/>
                    <a:gd name="connsiteX3813" fmla="*/ 1485361 w 1659478"/>
                    <a:gd name="connsiteY3813" fmla="*/ 968739 h 1461099"/>
                    <a:gd name="connsiteX3814" fmla="*/ 1484972 w 1659478"/>
                    <a:gd name="connsiteY3814" fmla="*/ 968484 h 1461099"/>
                    <a:gd name="connsiteX3815" fmla="*/ 1484559 w 1659478"/>
                    <a:gd name="connsiteY3815" fmla="*/ 968290 h 1461099"/>
                    <a:gd name="connsiteX3816" fmla="*/ 1483308 w 1659478"/>
                    <a:gd name="connsiteY3816" fmla="*/ 967719 h 1461099"/>
                    <a:gd name="connsiteX3817" fmla="*/ 1482556 w 1659478"/>
                    <a:gd name="connsiteY3817" fmla="*/ 967379 h 1461099"/>
                    <a:gd name="connsiteX3818" fmla="*/ 1481742 w 1659478"/>
                    <a:gd name="connsiteY3818" fmla="*/ 967246 h 1461099"/>
                    <a:gd name="connsiteX3819" fmla="*/ 1478755 w 1659478"/>
                    <a:gd name="connsiteY3819" fmla="*/ 966760 h 1461099"/>
                    <a:gd name="connsiteX3820" fmla="*/ 1478269 w 1659478"/>
                    <a:gd name="connsiteY3820" fmla="*/ 966687 h 1461099"/>
                    <a:gd name="connsiteX3821" fmla="*/ 1477771 w 1659478"/>
                    <a:gd name="connsiteY3821" fmla="*/ 966687 h 1461099"/>
                    <a:gd name="connsiteX3822" fmla="*/ 1475926 w 1659478"/>
                    <a:gd name="connsiteY3822" fmla="*/ 966687 h 1461099"/>
                    <a:gd name="connsiteX3823" fmla="*/ 1475464 w 1659478"/>
                    <a:gd name="connsiteY3823" fmla="*/ 966687 h 1461099"/>
                    <a:gd name="connsiteX3824" fmla="*/ 1475003 w 1659478"/>
                    <a:gd name="connsiteY3824" fmla="*/ 966760 h 1461099"/>
                    <a:gd name="connsiteX3825" fmla="*/ 1471105 w 1659478"/>
                    <a:gd name="connsiteY3825" fmla="*/ 967355 h 1461099"/>
                    <a:gd name="connsiteX3826" fmla="*/ 1470473 w 1659478"/>
                    <a:gd name="connsiteY3826" fmla="*/ 967452 h 1461099"/>
                    <a:gd name="connsiteX3827" fmla="*/ 1469866 w 1659478"/>
                    <a:gd name="connsiteY3827" fmla="*/ 967683 h 1461099"/>
                    <a:gd name="connsiteX3828" fmla="*/ 1465045 w 1659478"/>
                    <a:gd name="connsiteY3828" fmla="*/ 969516 h 1461099"/>
                    <a:gd name="connsiteX3829" fmla="*/ 1464438 w 1659478"/>
                    <a:gd name="connsiteY3829" fmla="*/ 969747 h 1461099"/>
                    <a:gd name="connsiteX3830" fmla="*/ 1463892 w 1659478"/>
                    <a:gd name="connsiteY3830" fmla="*/ 970099 h 1461099"/>
                    <a:gd name="connsiteX3831" fmla="*/ 1460431 w 1659478"/>
                    <a:gd name="connsiteY3831" fmla="*/ 972346 h 1461099"/>
                    <a:gd name="connsiteX3832" fmla="*/ 1459788 w 1659478"/>
                    <a:gd name="connsiteY3832" fmla="*/ 972771 h 1461099"/>
                    <a:gd name="connsiteX3833" fmla="*/ 1459278 w 1659478"/>
                    <a:gd name="connsiteY3833" fmla="*/ 973329 h 1461099"/>
                    <a:gd name="connsiteX3834" fmla="*/ 1457626 w 1659478"/>
                    <a:gd name="connsiteY3834" fmla="*/ 975126 h 1461099"/>
                    <a:gd name="connsiteX3835" fmla="*/ 1457080 w 1659478"/>
                    <a:gd name="connsiteY3835" fmla="*/ 975722 h 1461099"/>
                    <a:gd name="connsiteX3836" fmla="*/ 1456703 w 1659478"/>
                    <a:gd name="connsiteY3836" fmla="*/ 976438 h 1461099"/>
                    <a:gd name="connsiteX3837" fmla="*/ 1455611 w 1659478"/>
                    <a:gd name="connsiteY3837" fmla="*/ 978539 h 1461099"/>
                    <a:gd name="connsiteX3838" fmla="*/ 1455368 w 1659478"/>
                    <a:gd name="connsiteY3838" fmla="*/ 979000 h 1461099"/>
                    <a:gd name="connsiteX3839" fmla="*/ 1455210 w 1659478"/>
                    <a:gd name="connsiteY3839" fmla="*/ 979498 h 1461099"/>
                    <a:gd name="connsiteX3840" fmla="*/ 1453485 w 1659478"/>
                    <a:gd name="connsiteY3840" fmla="*/ 984889 h 1461099"/>
                    <a:gd name="connsiteX3841" fmla="*/ 1452976 w 1659478"/>
                    <a:gd name="connsiteY3841" fmla="*/ 985946 h 1461099"/>
                    <a:gd name="connsiteX3842" fmla="*/ 1452417 w 1659478"/>
                    <a:gd name="connsiteY3842" fmla="*/ 986820 h 1461099"/>
                    <a:gd name="connsiteX3843" fmla="*/ 1452028 w 1659478"/>
                    <a:gd name="connsiteY3843" fmla="*/ 987172 h 1461099"/>
                    <a:gd name="connsiteX3844" fmla="*/ 1451251 w 1659478"/>
                    <a:gd name="connsiteY3844" fmla="*/ 987573 h 1461099"/>
                    <a:gd name="connsiteX3845" fmla="*/ 1449952 w 1659478"/>
                    <a:gd name="connsiteY3845" fmla="*/ 987816 h 1461099"/>
                    <a:gd name="connsiteX3846" fmla="*/ 1446904 w 1659478"/>
                    <a:gd name="connsiteY3846" fmla="*/ 987500 h 1461099"/>
                    <a:gd name="connsiteX3847" fmla="*/ 1445070 w 1659478"/>
                    <a:gd name="connsiteY3847" fmla="*/ 986990 h 1461099"/>
                    <a:gd name="connsiteX3848" fmla="*/ 1442035 w 1659478"/>
                    <a:gd name="connsiteY3848" fmla="*/ 985557 h 1461099"/>
                    <a:gd name="connsiteX3849" fmla="*/ 1441100 w 1659478"/>
                    <a:gd name="connsiteY3849" fmla="*/ 985120 h 1461099"/>
                    <a:gd name="connsiteX3850" fmla="*/ 1440080 w 1659478"/>
                    <a:gd name="connsiteY3850" fmla="*/ 985011 h 1461099"/>
                    <a:gd name="connsiteX3851" fmla="*/ 1437845 w 1659478"/>
                    <a:gd name="connsiteY3851" fmla="*/ 984780 h 1461099"/>
                    <a:gd name="connsiteX3852" fmla="*/ 1437092 w 1659478"/>
                    <a:gd name="connsiteY3852" fmla="*/ 984707 h 1461099"/>
                    <a:gd name="connsiteX3853" fmla="*/ 1436340 w 1659478"/>
                    <a:gd name="connsiteY3853" fmla="*/ 984817 h 1461099"/>
                    <a:gd name="connsiteX3854" fmla="*/ 1433474 w 1659478"/>
                    <a:gd name="connsiteY3854" fmla="*/ 985242 h 1461099"/>
                    <a:gd name="connsiteX3855" fmla="*/ 1432672 w 1659478"/>
                    <a:gd name="connsiteY3855" fmla="*/ 985363 h 1461099"/>
                    <a:gd name="connsiteX3856" fmla="*/ 1431932 w 1659478"/>
                    <a:gd name="connsiteY3856" fmla="*/ 985691 h 1461099"/>
                    <a:gd name="connsiteX3857" fmla="*/ 1427621 w 1659478"/>
                    <a:gd name="connsiteY3857" fmla="*/ 987585 h 1461099"/>
                    <a:gd name="connsiteX3858" fmla="*/ 1427257 w 1659478"/>
                    <a:gd name="connsiteY3858" fmla="*/ 987743 h 1461099"/>
                    <a:gd name="connsiteX3859" fmla="*/ 1427002 w 1659478"/>
                    <a:gd name="connsiteY3859" fmla="*/ 988010 h 1461099"/>
                    <a:gd name="connsiteX3860" fmla="*/ 1422217 w 1659478"/>
                    <a:gd name="connsiteY3860" fmla="*/ 990900 h 1461099"/>
                    <a:gd name="connsiteX3861" fmla="*/ 1418550 w 1659478"/>
                    <a:gd name="connsiteY3861" fmla="*/ 992333 h 1461099"/>
                    <a:gd name="connsiteX3862" fmla="*/ 1409528 w 1659478"/>
                    <a:gd name="connsiteY3862" fmla="*/ 992163 h 1461099"/>
                    <a:gd name="connsiteX3863" fmla="*/ 1407694 w 1659478"/>
                    <a:gd name="connsiteY3863" fmla="*/ 992127 h 1461099"/>
                    <a:gd name="connsiteX3864" fmla="*/ 1406152 w 1659478"/>
                    <a:gd name="connsiteY3864" fmla="*/ 993110 h 1461099"/>
                    <a:gd name="connsiteX3865" fmla="*/ 1404974 w 1659478"/>
                    <a:gd name="connsiteY3865" fmla="*/ 993863 h 1461099"/>
                    <a:gd name="connsiteX3866" fmla="*/ 1400263 w 1659478"/>
                    <a:gd name="connsiteY3866" fmla="*/ 990305 h 1461099"/>
                    <a:gd name="connsiteX3867" fmla="*/ 1399729 w 1659478"/>
                    <a:gd name="connsiteY3867" fmla="*/ 989892 h 1461099"/>
                    <a:gd name="connsiteX3868" fmla="*/ 1399109 w 1659478"/>
                    <a:gd name="connsiteY3868" fmla="*/ 989613 h 1461099"/>
                    <a:gd name="connsiteX3869" fmla="*/ 1397397 w 1659478"/>
                    <a:gd name="connsiteY3869" fmla="*/ 988836 h 1461099"/>
                    <a:gd name="connsiteX3870" fmla="*/ 1396681 w 1659478"/>
                    <a:gd name="connsiteY3870" fmla="*/ 988520 h 1461099"/>
                    <a:gd name="connsiteX3871" fmla="*/ 1395916 w 1659478"/>
                    <a:gd name="connsiteY3871" fmla="*/ 988387 h 1461099"/>
                    <a:gd name="connsiteX3872" fmla="*/ 1388084 w 1659478"/>
                    <a:gd name="connsiteY3872" fmla="*/ 987063 h 1461099"/>
                    <a:gd name="connsiteX3873" fmla="*/ 1387537 w 1659478"/>
                    <a:gd name="connsiteY3873" fmla="*/ 986978 h 1461099"/>
                    <a:gd name="connsiteX3874" fmla="*/ 1386979 w 1659478"/>
                    <a:gd name="connsiteY3874" fmla="*/ 986978 h 1461099"/>
                    <a:gd name="connsiteX3875" fmla="*/ 1385315 w 1659478"/>
                    <a:gd name="connsiteY3875" fmla="*/ 987002 h 1461099"/>
                    <a:gd name="connsiteX3876" fmla="*/ 1384586 w 1659478"/>
                    <a:gd name="connsiteY3876" fmla="*/ 987014 h 1461099"/>
                    <a:gd name="connsiteX3877" fmla="*/ 1383882 w 1659478"/>
                    <a:gd name="connsiteY3877" fmla="*/ 987197 h 1461099"/>
                    <a:gd name="connsiteX3878" fmla="*/ 1382510 w 1659478"/>
                    <a:gd name="connsiteY3878" fmla="*/ 987549 h 1461099"/>
                    <a:gd name="connsiteX3879" fmla="*/ 1377653 w 1659478"/>
                    <a:gd name="connsiteY3879" fmla="*/ 989261 h 1461099"/>
                    <a:gd name="connsiteX3880" fmla="*/ 1377459 w 1659478"/>
                    <a:gd name="connsiteY3880" fmla="*/ 989139 h 1461099"/>
                    <a:gd name="connsiteX3881" fmla="*/ 1369893 w 1659478"/>
                    <a:gd name="connsiteY3881" fmla="*/ 983505 h 1461099"/>
                    <a:gd name="connsiteX3882" fmla="*/ 1369359 w 1659478"/>
                    <a:gd name="connsiteY3882" fmla="*/ 983104 h 1461099"/>
                    <a:gd name="connsiteX3883" fmla="*/ 1368752 w 1659478"/>
                    <a:gd name="connsiteY3883" fmla="*/ 982837 h 1461099"/>
                    <a:gd name="connsiteX3884" fmla="*/ 1366688 w 1659478"/>
                    <a:gd name="connsiteY3884" fmla="*/ 981914 h 1461099"/>
                    <a:gd name="connsiteX3885" fmla="*/ 1366360 w 1659478"/>
                    <a:gd name="connsiteY3885" fmla="*/ 981769 h 1461099"/>
                    <a:gd name="connsiteX3886" fmla="*/ 1366020 w 1659478"/>
                    <a:gd name="connsiteY3886" fmla="*/ 981659 h 1461099"/>
                    <a:gd name="connsiteX3887" fmla="*/ 1363725 w 1659478"/>
                    <a:gd name="connsiteY3887" fmla="*/ 980943 h 1461099"/>
                    <a:gd name="connsiteX3888" fmla="*/ 1363203 w 1659478"/>
                    <a:gd name="connsiteY3888" fmla="*/ 980773 h 1461099"/>
                    <a:gd name="connsiteX3889" fmla="*/ 1362668 w 1659478"/>
                    <a:gd name="connsiteY3889" fmla="*/ 980712 h 1461099"/>
                    <a:gd name="connsiteX3890" fmla="*/ 1360543 w 1659478"/>
                    <a:gd name="connsiteY3890" fmla="*/ 980445 h 1461099"/>
                    <a:gd name="connsiteX3891" fmla="*/ 1360191 w 1659478"/>
                    <a:gd name="connsiteY3891" fmla="*/ 980397 h 1461099"/>
                    <a:gd name="connsiteX3892" fmla="*/ 1359827 w 1659478"/>
                    <a:gd name="connsiteY3892" fmla="*/ 980397 h 1461099"/>
                    <a:gd name="connsiteX3893" fmla="*/ 1356512 w 1659478"/>
                    <a:gd name="connsiteY3893" fmla="*/ 980384 h 1461099"/>
                    <a:gd name="connsiteX3894" fmla="*/ 1356233 w 1659478"/>
                    <a:gd name="connsiteY3894" fmla="*/ 980336 h 1461099"/>
                    <a:gd name="connsiteX3895" fmla="*/ 1355832 w 1659478"/>
                    <a:gd name="connsiteY3895" fmla="*/ 980117 h 1461099"/>
                    <a:gd name="connsiteX3896" fmla="*/ 1355504 w 1659478"/>
                    <a:gd name="connsiteY3896" fmla="*/ 979777 h 1461099"/>
                    <a:gd name="connsiteX3897" fmla="*/ 1351594 w 1659478"/>
                    <a:gd name="connsiteY3897" fmla="*/ 972831 h 1461099"/>
                    <a:gd name="connsiteX3898" fmla="*/ 1351121 w 1659478"/>
                    <a:gd name="connsiteY3898" fmla="*/ 971994 h 1461099"/>
                    <a:gd name="connsiteX3899" fmla="*/ 1350416 w 1659478"/>
                    <a:gd name="connsiteY3899" fmla="*/ 971338 h 1461099"/>
                    <a:gd name="connsiteX3900" fmla="*/ 1348983 w 1659478"/>
                    <a:gd name="connsiteY3900" fmla="*/ 970014 h 1461099"/>
                    <a:gd name="connsiteX3901" fmla="*/ 1348510 w 1659478"/>
                    <a:gd name="connsiteY3901" fmla="*/ 969589 h 1461099"/>
                    <a:gd name="connsiteX3902" fmla="*/ 1347976 w 1659478"/>
                    <a:gd name="connsiteY3902" fmla="*/ 969261 h 1461099"/>
                    <a:gd name="connsiteX3903" fmla="*/ 1345850 w 1659478"/>
                    <a:gd name="connsiteY3903" fmla="*/ 967999 h 1461099"/>
                    <a:gd name="connsiteX3904" fmla="*/ 1344952 w 1659478"/>
                    <a:gd name="connsiteY3904" fmla="*/ 967476 h 1461099"/>
                    <a:gd name="connsiteX3905" fmla="*/ 1343944 w 1659478"/>
                    <a:gd name="connsiteY3905" fmla="*/ 967270 h 1461099"/>
                    <a:gd name="connsiteX3906" fmla="*/ 1341236 w 1659478"/>
                    <a:gd name="connsiteY3906" fmla="*/ 966723 h 1461099"/>
                    <a:gd name="connsiteX3907" fmla="*/ 1340447 w 1659478"/>
                    <a:gd name="connsiteY3907" fmla="*/ 966578 h 1461099"/>
                    <a:gd name="connsiteX3908" fmla="*/ 1340240 w 1659478"/>
                    <a:gd name="connsiteY3908" fmla="*/ 966056 h 1461099"/>
                    <a:gd name="connsiteX3909" fmla="*/ 1339245 w 1659478"/>
                    <a:gd name="connsiteY3909" fmla="*/ 961757 h 1461099"/>
                    <a:gd name="connsiteX3910" fmla="*/ 1335480 w 1659478"/>
                    <a:gd name="connsiteY3910" fmla="*/ 950379 h 1461099"/>
                    <a:gd name="connsiteX3911" fmla="*/ 1330101 w 1659478"/>
                    <a:gd name="connsiteY3911" fmla="*/ 923410 h 1461099"/>
                    <a:gd name="connsiteX3912" fmla="*/ 1330004 w 1659478"/>
                    <a:gd name="connsiteY3912" fmla="*/ 922924 h 1461099"/>
                    <a:gd name="connsiteX3913" fmla="*/ 1329834 w 1659478"/>
                    <a:gd name="connsiteY3913" fmla="*/ 922463 h 1461099"/>
                    <a:gd name="connsiteX3914" fmla="*/ 1328972 w 1659478"/>
                    <a:gd name="connsiteY3914" fmla="*/ 920167 h 1461099"/>
                    <a:gd name="connsiteX3915" fmla="*/ 1328826 w 1659478"/>
                    <a:gd name="connsiteY3915" fmla="*/ 919767 h 1461099"/>
                    <a:gd name="connsiteX3916" fmla="*/ 1328729 w 1659478"/>
                    <a:gd name="connsiteY3916" fmla="*/ 919597 h 1461099"/>
                    <a:gd name="connsiteX3917" fmla="*/ 1329008 w 1659478"/>
                    <a:gd name="connsiteY3917" fmla="*/ 919536 h 1461099"/>
                    <a:gd name="connsiteX3918" fmla="*/ 1329992 w 1659478"/>
                    <a:gd name="connsiteY3918" fmla="*/ 918905 h 1461099"/>
                    <a:gd name="connsiteX3919" fmla="*/ 1331255 w 1659478"/>
                    <a:gd name="connsiteY3919" fmla="*/ 918079 h 1461099"/>
                    <a:gd name="connsiteX3920" fmla="*/ 1332967 w 1659478"/>
                    <a:gd name="connsiteY3920" fmla="*/ 916962 h 1461099"/>
                    <a:gd name="connsiteX3921" fmla="*/ 1333659 w 1659478"/>
                    <a:gd name="connsiteY3921" fmla="*/ 915031 h 1461099"/>
                    <a:gd name="connsiteX3922" fmla="*/ 1334570 w 1659478"/>
                    <a:gd name="connsiteY3922" fmla="*/ 912469 h 1461099"/>
                    <a:gd name="connsiteX3923" fmla="*/ 1334946 w 1659478"/>
                    <a:gd name="connsiteY3923" fmla="*/ 911412 h 1461099"/>
                    <a:gd name="connsiteX3924" fmla="*/ 1334922 w 1659478"/>
                    <a:gd name="connsiteY3924" fmla="*/ 910295 h 1461099"/>
                    <a:gd name="connsiteX3925" fmla="*/ 1334800 w 1659478"/>
                    <a:gd name="connsiteY3925" fmla="*/ 905037 h 1461099"/>
                    <a:gd name="connsiteX3926" fmla="*/ 1334946 w 1659478"/>
                    <a:gd name="connsiteY3926" fmla="*/ 903422 h 1461099"/>
                    <a:gd name="connsiteX3927" fmla="*/ 1335456 w 1659478"/>
                    <a:gd name="connsiteY3927" fmla="*/ 902087 h 1461099"/>
                    <a:gd name="connsiteX3928" fmla="*/ 1338370 w 1659478"/>
                    <a:gd name="connsiteY3928" fmla="*/ 897096 h 1461099"/>
                    <a:gd name="connsiteX3929" fmla="*/ 1338625 w 1659478"/>
                    <a:gd name="connsiteY3929" fmla="*/ 896999 h 1461099"/>
                    <a:gd name="connsiteX3930" fmla="*/ 1339136 w 1659478"/>
                    <a:gd name="connsiteY3930" fmla="*/ 896671 h 1461099"/>
                    <a:gd name="connsiteX3931" fmla="*/ 1340010 w 1659478"/>
                    <a:gd name="connsiteY3931" fmla="*/ 896112 h 1461099"/>
                    <a:gd name="connsiteX3932" fmla="*/ 1340520 w 1659478"/>
                    <a:gd name="connsiteY3932" fmla="*/ 895784 h 1461099"/>
                    <a:gd name="connsiteX3933" fmla="*/ 1340957 w 1659478"/>
                    <a:gd name="connsiteY3933" fmla="*/ 895359 h 1461099"/>
                    <a:gd name="connsiteX3934" fmla="*/ 1344709 w 1659478"/>
                    <a:gd name="connsiteY3934" fmla="*/ 891729 h 1461099"/>
                    <a:gd name="connsiteX3935" fmla="*/ 1346579 w 1659478"/>
                    <a:gd name="connsiteY3935" fmla="*/ 891644 h 1461099"/>
                    <a:gd name="connsiteX3936" fmla="*/ 1347550 w 1659478"/>
                    <a:gd name="connsiteY3936" fmla="*/ 891607 h 1461099"/>
                    <a:gd name="connsiteX3937" fmla="*/ 1348461 w 1659478"/>
                    <a:gd name="connsiteY3937" fmla="*/ 891255 h 1461099"/>
                    <a:gd name="connsiteX3938" fmla="*/ 1350356 w 1659478"/>
                    <a:gd name="connsiteY3938" fmla="*/ 890539 h 1461099"/>
                    <a:gd name="connsiteX3939" fmla="*/ 1351946 w 1659478"/>
                    <a:gd name="connsiteY3939" fmla="*/ 889944 h 1461099"/>
                    <a:gd name="connsiteX3940" fmla="*/ 1352990 w 1659478"/>
                    <a:gd name="connsiteY3940" fmla="*/ 888608 h 1461099"/>
                    <a:gd name="connsiteX3941" fmla="*/ 1354253 w 1659478"/>
                    <a:gd name="connsiteY3941" fmla="*/ 886993 h 1461099"/>
                    <a:gd name="connsiteX3942" fmla="*/ 1354800 w 1659478"/>
                    <a:gd name="connsiteY3942" fmla="*/ 886289 h 1461099"/>
                    <a:gd name="connsiteX3943" fmla="*/ 1355116 w 1659478"/>
                    <a:gd name="connsiteY3943" fmla="*/ 885475 h 1461099"/>
                    <a:gd name="connsiteX3944" fmla="*/ 1355868 w 1659478"/>
                    <a:gd name="connsiteY3944" fmla="*/ 883557 h 1461099"/>
                    <a:gd name="connsiteX3945" fmla="*/ 1362911 w 1659478"/>
                    <a:gd name="connsiteY3945" fmla="*/ 884127 h 1461099"/>
                    <a:gd name="connsiteX3946" fmla="*/ 1364563 w 1659478"/>
                    <a:gd name="connsiteY3946" fmla="*/ 884540 h 1461099"/>
                    <a:gd name="connsiteX3947" fmla="*/ 1365328 w 1659478"/>
                    <a:gd name="connsiteY3947" fmla="*/ 884722 h 1461099"/>
                    <a:gd name="connsiteX3948" fmla="*/ 1366105 w 1659478"/>
                    <a:gd name="connsiteY3948" fmla="*/ 884710 h 1461099"/>
                    <a:gd name="connsiteX3949" fmla="*/ 1368278 w 1659478"/>
                    <a:gd name="connsiteY3949" fmla="*/ 884674 h 1461099"/>
                    <a:gd name="connsiteX3950" fmla="*/ 1369857 w 1659478"/>
                    <a:gd name="connsiteY3950" fmla="*/ 884650 h 1461099"/>
                    <a:gd name="connsiteX3951" fmla="*/ 1371229 w 1659478"/>
                    <a:gd name="connsiteY3951" fmla="*/ 883860 h 1461099"/>
                    <a:gd name="connsiteX3952" fmla="*/ 1373658 w 1659478"/>
                    <a:gd name="connsiteY3952" fmla="*/ 882452 h 1461099"/>
                    <a:gd name="connsiteX3953" fmla="*/ 1374605 w 1659478"/>
                    <a:gd name="connsiteY3953" fmla="*/ 881905 h 1461099"/>
                    <a:gd name="connsiteX3954" fmla="*/ 1375309 w 1659478"/>
                    <a:gd name="connsiteY3954" fmla="*/ 881055 h 1461099"/>
                    <a:gd name="connsiteX3955" fmla="*/ 1378661 w 1659478"/>
                    <a:gd name="connsiteY3955" fmla="*/ 876963 h 1461099"/>
                    <a:gd name="connsiteX3956" fmla="*/ 1379571 w 1659478"/>
                    <a:gd name="connsiteY3956" fmla="*/ 876210 h 1461099"/>
                    <a:gd name="connsiteX3957" fmla="*/ 1380118 w 1659478"/>
                    <a:gd name="connsiteY3957" fmla="*/ 875955 h 1461099"/>
                    <a:gd name="connsiteX3958" fmla="*/ 1381320 w 1659478"/>
                    <a:gd name="connsiteY3958" fmla="*/ 875591 h 1461099"/>
                    <a:gd name="connsiteX3959" fmla="*/ 1381903 w 1659478"/>
                    <a:gd name="connsiteY3959" fmla="*/ 875421 h 1461099"/>
                    <a:gd name="connsiteX3960" fmla="*/ 1382437 w 1659478"/>
                    <a:gd name="connsiteY3960" fmla="*/ 875142 h 1461099"/>
                    <a:gd name="connsiteX3961" fmla="*/ 1383991 w 1659478"/>
                    <a:gd name="connsiteY3961" fmla="*/ 874304 h 1461099"/>
                    <a:gd name="connsiteX3962" fmla="*/ 1385145 w 1659478"/>
                    <a:gd name="connsiteY3962" fmla="*/ 873696 h 1461099"/>
                    <a:gd name="connsiteX3963" fmla="*/ 1385934 w 1659478"/>
                    <a:gd name="connsiteY3963" fmla="*/ 872664 h 1461099"/>
                    <a:gd name="connsiteX3964" fmla="*/ 1387476 w 1659478"/>
                    <a:gd name="connsiteY3964" fmla="*/ 870661 h 1461099"/>
                    <a:gd name="connsiteX3965" fmla="*/ 1388217 w 1659478"/>
                    <a:gd name="connsiteY3965" fmla="*/ 869689 h 1461099"/>
                    <a:gd name="connsiteX3966" fmla="*/ 1388533 w 1659478"/>
                    <a:gd name="connsiteY3966" fmla="*/ 868511 h 1461099"/>
                    <a:gd name="connsiteX3967" fmla="*/ 1389116 w 1659478"/>
                    <a:gd name="connsiteY3967" fmla="*/ 866326 h 1461099"/>
                    <a:gd name="connsiteX3968" fmla="*/ 1389322 w 1659478"/>
                    <a:gd name="connsiteY3968" fmla="*/ 865561 h 1461099"/>
                    <a:gd name="connsiteX3969" fmla="*/ 1389322 w 1659478"/>
                    <a:gd name="connsiteY3969" fmla="*/ 864771 h 1461099"/>
                    <a:gd name="connsiteX3970" fmla="*/ 1389322 w 1659478"/>
                    <a:gd name="connsiteY3970" fmla="*/ 862841 h 1461099"/>
                    <a:gd name="connsiteX3971" fmla="*/ 1389383 w 1659478"/>
                    <a:gd name="connsiteY3971" fmla="*/ 862331 h 1461099"/>
                    <a:gd name="connsiteX3972" fmla="*/ 1398794 w 1659478"/>
                    <a:gd name="connsiteY3972" fmla="*/ 856599 h 1461099"/>
                    <a:gd name="connsiteX3973" fmla="*/ 1399279 w 1659478"/>
                    <a:gd name="connsiteY3973" fmla="*/ 856308 h 1461099"/>
                    <a:gd name="connsiteX3974" fmla="*/ 1399704 w 1659478"/>
                    <a:gd name="connsiteY3974" fmla="*/ 855931 h 1461099"/>
                    <a:gd name="connsiteX3975" fmla="*/ 1402352 w 1659478"/>
                    <a:gd name="connsiteY3975" fmla="*/ 853551 h 1461099"/>
                    <a:gd name="connsiteX3976" fmla="*/ 1403226 w 1659478"/>
                    <a:gd name="connsiteY3976" fmla="*/ 852774 h 1461099"/>
                    <a:gd name="connsiteX3977" fmla="*/ 1403736 w 1659478"/>
                    <a:gd name="connsiteY3977" fmla="*/ 851718 h 1461099"/>
                    <a:gd name="connsiteX3978" fmla="*/ 1404707 w 1659478"/>
                    <a:gd name="connsiteY3978" fmla="*/ 849739 h 1461099"/>
                    <a:gd name="connsiteX3979" fmla="*/ 1404974 w 1659478"/>
                    <a:gd name="connsiteY3979" fmla="*/ 849192 h 1461099"/>
                    <a:gd name="connsiteX3980" fmla="*/ 1405132 w 1659478"/>
                    <a:gd name="connsiteY3980" fmla="*/ 848597 h 1461099"/>
                    <a:gd name="connsiteX3981" fmla="*/ 1405387 w 1659478"/>
                    <a:gd name="connsiteY3981" fmla="*/ 847589 h 1461099"/>
                    <a:gd name="connsiteX3982" fmla="*/ 1408884 w 1659478"/>
                    <a:gd name="connsiteY3982" fmla="*/ 846861 h 1461099"/>
                    <a:gd name="connsiteX3983" fmla="*/ 1409734 w 1659478"/>
                    <a:gd name="connsiteY3983" fmla="*/ 846678 h 1461099"/>
                    <a:gd name="connsiteX3984" fmla="*/ 1410500 w 1659478"/>
                    <a:gd name="connsiteY3984" fmla="*/ 846266 h 1461099"/>
                    <a:gd name="connsiteX3985" fmla="*/ 1412005 w 1659478"/>
                    <a:gd name="connsiteY3985" fmla="*/ 845464 h 1461099"/>
                    <a:gd name="connsiteX3986" fmla="*/ 1412916 w 1659478"/>
                    <a:gd name="connsiteY3986" fmla="*/ 844966 h 1461099"/>
                    <a:gd name="connsiteX3987" fmla="*/ 1413620 w 1659478"/>
                    <a:gd name="connsiteY3987" fmla="*/ 844214 h 1461099"/>
                    <a:gd name="connsiteX3988" fmla="*/ 1415903 w 1659478"/>
                    <a:gd name="connsiteY3988" fmla="*/ 841712 h 1461099"/>
                    <a:gd name="connsiteX3989" fmla="*/ 1416377 w 1659478"/>
                    <a:gd name="connsiteY3989" fmla="*/ 841372 h 1461099"/>
                    <a:gd name="connsiteX3990" fmla="*/ 1419619 w 1659478"/>
                    <a:gd name="connsiteY3990" fmla="*/ 840388 h 1461099"/>
                    <a:gd name="connsiteX3991" fmla="*/ 1421659 w 1659478"/>
                    <a:gd name="connsiteY3991" fmla="*/ 839769 h 1461099"/>
                    <a:gd name="connsiteX3992" fmla="*/ 1422873 w 1659478"/>
                    <a:gd name="connsiteY3992" fmla="*/ 837996 h 1461099"/>
                    <a:gd name="connsiteX3993" fmla="*/ 1424136 w 1659478"/>
                    <a:gd name="connsiteY3993" fmla="*/ 836151 h 1461099"/>
                    <a:gd name="connsiteX3994" fmla="*/ 1424500 w 1659478"/>
                    <a:gd name="connsiteY3994" fmla="*/ 835616 h 1461099"/>
                    <a:gd name="connsiteX3995" fmla="*/ 1424755 w 1659478"/>
                    <a:gd name="connsiteY3995" fmla="*/ 835021 h 1461099"/>
                    <a:gd name="connsiteX3996" fmla="*/ 1425472 w 1659478"/>
                    <a:gd name="connsiteY3996" fmla="*/ 833260 h 1461099"/>
                    <a:gd name="connsiteX3997" fmla="*/ 1425763 w 1659478"/>
                    <a:gd name="connsiteY3997" fmla="*/ 832799 h 1461099"/>
                    <a:gd name="connsiteX3998" fmla="*/ 1425897 w 1659478"/>
                    <a:gd name="connsiteY3998" fmla="*/ 832714 h 1461099"/>
                    <a:gd name="connsiteX3999" fmla="*/ 1430426 w 1659478"/>
                    <a:gd name="connsiteY3999" fmla="*/ 830650 h 1461099"/>
                    <a:gd name="connsiteX4000" fmla="*/ 1431033 w 1659478"/>
                    <a:gd name="connsiteY4000" fmla="*/ 830528 h 1461099"/>
                    <a:gd name="connsiteX4001" fmla="*/ 1432551 w 1659478"/>
                    <a:gd name="connsiteY4001" fmla="*/ 830795 h 1461099"/>
                    <a:gd name="connsiteX4002" fmla="*/ 1433498 w 1659478"/>
                    <a:gd name="connsiteY4002" fmla="*/ 830966 h 1461099"/>
                    <a:gd name="connsiteX4003" fmla="*/ 1434445 w 1659478"/>
                    <a:gd name="connsiteY4003" fmla="*/ 830832 h 1461099"/>
                    <a:gd name="connsiteX4004" fmla="*/ 1435660 w 1659478"/>
                    <a:gd name="connsiteY4004" fmla="*/ 830662 h 1461099"/>
                    <a:gd name="connsiteX4005" fmla="*/ 1437165 w 1659478"/>
                    <a:gd name="connsiteY4005" fmla="*/ 830443 h 1461099"/>
                    <a:gd name="connsiteX4006" fmla="*/ 1438392 w 1659478"/>
                    <a:gd name="connsiteY4006" fmla="*/ 829545 h 1461099"/>
                    <a:gd name="connsiteX4007" fmla="*/ 1439825 w 1659478"/>
                    <a:gd name="connsiteY4007" fmla="*/ 828500 h 1461099"/>
                    <a:gd name="connsiteX4008" fmla="*/ 1440869 w 1659478"/>
                    <a:gd name="connsiteY4008" fmla="*/ 827735 h 1461099"/>
                    <a:gd name="connsiteX4009" fmla="*/ 1441513 w 1659478"/>
                    <a:gd name="connsiteY4009" fmla="*/ 826606 h 1461099"/>
                    <a:gd name="connsiteX4010" fmla="*/ 1442435 w 1659478"/>
                    <a:gd name="connsiteY4010" fmla="*/ 824979 h 1461099"/>
                    <a:gd name="connsiteX4011" fmla="*/ 1443030 w 1659478"/>
                    <a:gd name="connsiteY4011" fmla="*/ 823923 h 1461099"/>
                    <a:gd name="connsiteX4012" fmla="*/ 1443176 w 1659478"/>
                    <a:gd name="connsiteY4012" fmla="*/ 822720 h 1461099"/>
                    <a:gd name="connsiteX4013" fmla="*/ 1443383 w 1659478"/>
                    <a:gd name="connsiteY4013" fmla="*/ 821081 h 1461099"/>
                    <a:gd name="connsiteX4014" fmla="*/ 1444876 w 1659478"/>
                    <a:gd name="connsiteY4014" fmla="*/ 820049 h 1461099"/>
                    <a:gd name="connsiteX4015" fmla="*/ 1447912 w 1659478"/>
                    <a:gd name="connsiteY4015" fmla="*/ 819818 h 1461099"/>
                    <a:gd name="connsiteX4016" fmla="*/ 1452818 w 1659478"/>
                    <a:gd name="connsiteY4016" fmla="*/ 820243 h 1461099"/>
                    <a:gd name="connsiteX4017" fmla="*/ 1453595 w 1659478"/>
                    <a:gd name="connsiteY4017" fmla="*/ 820316 h 1461099"/>
                    <a:gd name="connsiteX4018" fmla="*/ 1454360 w 1659478"/>
                    <a:gd name="connsiteY4018" fmla="*/ 820183 h 1461099"/>
                    <a:gd name="connsiteX4019" fmla="*/ 1459715 w 1659478"/>
                    <a:gd name="connsiteY4019" fmla="*/ 819260 h 1461099"/>
                    <a:gd name="connsiteX4020" fmla="*/ 1461743 w 1659478"/>
                    <a:gd name="connsiteY4020" fmla="*/ 818908 h 1461099"/>
                    <a:gd name="connsiteX4021" fmla="*/ 1463139 w 1659478"/>
                    <a:gd name="connsiteY4021" fmla="*/ 817402 h 1461099"/>
                    <a:gd name="connsiteX4022" fmla="*/ 1466284 w 1659478"/>
                    <a:gd name="connsiteY4022" fmla="*/ 814014 h 1461099"/>
                    <a:gd name="connsiteX4023" fmla="*/ 1469927 w 1659478"/>
                    <a:gd name="connsiteY4023" fmla="*/ 812071 h 1461099"/>
                    <a:gd name="connsiteX4024" fmla="*/ 1470546 w 1659478"/>
                    <a:gd name="connsiteY4024" fmla="*/ 811743 h 1461099"/>
                    <a:gd name="connsiteX4025" fmla="*/ 1471081 w 1659478"/>
                    <a:gd name="connsiteY4025" fmla="*/ 811270 h 1461099"/>
                    <a:gd name="connsiteX4026" fmla="*/ 1473096 w 1659478"/>
                    <a:gd name="connsiteY4026" fmla="*/ 809497 h 1461099"/>
                    <a:gd name="connsiteX4027" fmla="*/ 1475586 w 1659478"/>
                    <a:gd name="connsiteY4027" fmla="*/ 807724 h 1461099"/>
                    <a:gd name="connsiteX4028" fmla="*/ 1477383 w 1659478"/>
                    <a:gd name="connsiteY4028" fmla="*/ 806194 h 1461099"/>
                    <a:gd name="connsiteX4029" fmla="*/ 1477893 w 1659478"/>
                    <a:gd name="connsiteY4029" fmla="*/ 805745 h 1461099"/>
                    <a:gd name="connsiteX4030" fmla="*/ 1478293 w 1659478"/>
                    <a:gd name="connsiteY4030" fmla="*/ 805198 h 1461099"/>
                    <a:gd name="connsiteX4031" fmla="*/ 1479496 w 1659478"/>
                    <a:gd name="connsiteY4031" fmla="*/ 803547 h 1461099"/>
                    <a:gd name="connsiteX4032" fmla="*/ 1479933 w 1659478"/>
                    <a:gd name="connsiteY4032" fmla="*/ 802940 h 1461099"/>
                    <a:gd name="connsiteX4033" fmla="*/ 1480212 w 1659478"/>
                    <a:gd name="connsiteY4033" fmla="*/ 802247 h 1461099"/>
                    <a:gd name="connsiteX4034" fmla="*/ 1481536 w 1659478"/>
                    <a:gd name="connsiteY4034" fmla="*/ 798993 h 1461099"/>
                    <a:gd name="connsiteX4035" fmla="*/ 1481718 w 1659478"/>
                    <a:gd name="connsiteY4035" fmla="*/ 798629 h 1461099"/>
                    <a:gd name="connsiteX4036" fmla="*/ 1484244 w 1659478"/>
                    <a:gd name="connsiteY4036" fmla="*/ 795557 h 1461099"/>
                    <a:gd name="connsiteX4037" fmla="*/ 1485154 w 1659478"/>
                    <a:gd name="connsiteY4037" fmla="*/ 794852 h 1461099"/>
                    <a:gd name="connsiteX4038" fmla="*/ 1485725 w 1659478"/>
                    <a:gd name="connsiteY4038" fmla="*/ 794682 h 1461099"/>
                    <a:gd name="connsiteX4039" fmla="*/ 1490558 w 1659478"/>
                    <a:gd name="connsiteY4039" fmla="*/ 794804 h 1461099"/>
                    <a:gd name="connsiteX4040" fmla="*/ 1491104 w 1659478"/>
                    <a:gd name="connsiteY4040" fmla="*/ 794816 h 1461099"/>
                    <a:gd name="connsiteX4041" fmla="*/ 1491639 w 1659478"/>
                    <a:gd name="connsiteY4041" fmla="*/ 794731 h 1461099"/>
                    <a:gd name="connsiteX4042" fmla="*/ 1494225 w 1659478"/>
                    <a:gd name="connsiteY4042" fmla="*/ 794318 h 1461099"/>
                    <a:gd name="connsiteX4043" fmla="*/ 1496047 w 1659478"/>
                    <a:gd name="connsiteY4043" fmla="*/ 796297 h 1461099"/>
                    <a:gd name="connsiteX4044" fmla="*/ 1500260 w 1659478"/>
                    <a:gd name="connsiteY4044" fmla="*/ 793820 h 1461099"/>
                    <a:gd name="connsiteX4045" fmla="*/ 1503296 w 1659478"/>
                    <a:gd name="connsiteY4045" fmla="*/ 792035 h 1461099"/>
                    <a:gd name="connsiteX4046" fmla="*/ 1506040 w 1659478"/>
                    <a:gd name="connsiteY4046" fmla="*/ 790420 h 1461099"/>
                    <a:gd name="connsiteX4047" fmla="*/ 1506271 w 1659478"/>
                    <a:gd name="connsiteY4047" fmla="*/ 787239 h 1461099"/>
                    <a:gd name="connsiteX4048" fmla="*/ 1506453 w 1659478"/>
                    <a:gd name="connsiteY4048" fmla="*/ 784725 h 1461099"/>
                    <a:gd name="connsiteX4049" fmla="*/ 1506477 w 1659478"/>
                    <a:gd name="connsiteY4049" fmla="*/ 784397 h 1461099"/>
                    <a:gd name="connsiteX4050" fmla="*/ 1512282 w 1659478"/>
                    <a:gd name="connsiteY4050" fmla="*/ 785175 h 1461099"/>
                    <a:gd name="connsiteX4051" fmla="*/ 1513727 w 1659478"/>
                    <a:gd name="connsiteY4051" fmla="*/ 785369 h 1461099"/>
                    <a:gd name="connsiteX4052" fmla="*/ 1515099 w 1659478"/>
                    <a:gd name="connsiteY4052" fmla="*/ 784883 h 1461099"/>
                    <a:gd name="connsiteX4053" fmla="*/ 1517807 w 1659478"/>
                    <a:gd name="connsiteY4053" fmla="*/ 783936 h 1461099"/>
                    <a:gd name="connsiteX4054" fmla="*/ 1518972 w 1659478"/>
                    <a:gd name="connsiteY4054" fmla="*/ 783523 h 1461099"/>
                    <a:gd name="connsiteX4055" fmla="*/ 1519883 w 1659478"/>
                    <a:gd name="connsiteY4055" fmla="*/ 782685 h 1461099"/>
                    <a:gd name="connsiteX4056" fmla="*/ 1521583 w 1659478"/>
                    <a:gd name="connsiteY4056" fmla="*/ 781155 h 1461099"/>
                    <a:gd name="connsiteX4057" fmla="*/ 1528420 w 1659478"/>
                    <a:gd name="connsiteY4057" fmla="*/ 777209 h 1461099"/>
                    <a:gd name="connsiteX4058" fmla="*/ 1528723 w 1659478"/>
                    <a:gd name="connsiteY4058" fmla="*/ 777039 h 1461099"/>
                    <a:gd name="connsiteX4059" fmla="*/ 1529002 w 1659478"/>
                    <a:gd name="connsiteY4059" fmla="*/ 776832 h 1461099"/>
                    <a:gd name="connsiteX4060" fmla="*/ 1538049 w 1659478"/>
                    <a:gd name="connsiteY4060" fmla="*/ 770129 h 1461099"/>
                    <a:gd name="connsiteX4061" fmla="*/ 1539300 w 1659478"/>
                    <a:gd name="connsiteY4061" fmla="*/ 769619 h 1461099"/>
                    <a:gd name="connsiteX4062" fmla="*/ 1541327 w 1659478"/>
                    <a:gd name="connsiteY4062" fmla="*/ 769316 h 1461099"/>
                    <a:gd name="connsiteX4063" fmla="*/ 1541716 w 1659478"/>
                    <a:gd name="connsiteY4063" fmla="*/ 769255 h 1461099"/>
                    <a:gd name="connsiteX4064" fmla="*/ 1542105 w 1659478"/>
                    <a:gd name="connsiteY4064" fmla="*/ 769146 h 1461099"/>
                    <a:gd name="connsiteX4065" fmla="*/ 1548249 w 1659478"/>
                    <a:gd name="connsiteY4065" fmla="*/ 767385 h 1461099"/>
                    <a:gd name="connsiteX4066" fmla="*/ 1551260 w 1659478"/>
                    <a:gd name="connsiteY4066" fmla="*/ 767021 h 1461099"/>
                    <a:gd name="connsiteX4067" fmla="*/ 1551698 w 1659478"/>
                    <a:gd name="connsiteY4067" fmla="*/ 766972 h 1461099"/>
                    <a:gd name="connsiteX4068" fmla="*/ 1552135 w 1659478"/>
                    <a:gd name="connsiteY4068" fmla="*/ 766851 h 1461099"/>
                    <a:gd name="connsiteX4069" fmla="*/ 1555061 w 1659478"/>
                    <a:gd name="connsiteY4069" fmla="*/ 766049 h 1461099"/>
                    <a:gd name="connsiteX4070" fmla="*/ 1556397 w 1659478"/>
                    <a:gd name="connsiteY4070" fmla="*/ 765685 h 1461099"/>
                    <a:gd name="connsiteX4071" fmla="*/ 1557441 w 1659478"/>
                    <a:gd name="connsiteY4071" fmla="*/ 764774 h 1461099"/>
                    <a:gd name="connsiteX4072" fmla="*/ 1559627 w 1659478"/>
                    <a:gd name="connsiteY4072" fmla="*/ 762868 h 1461099"/>
                    <a:gd name="connsiteX4073" fmla="*/ 1560076 w 1659478"/>
                    <a:gd name="connsiteY4073" fmla="*/ 762479 h 1461099"/>
                    <a:gd name="connsiteX4074" fmla="*/ 1560440 w 1659478"/>
                    <a:gd name="connsiteY4074" fmla="*/ 762006 h 1461099"/>
                    <a:gd name="connsiteX4075" fmla="*/ 1562748 w 1659478"/>
                    <a:gd name="connsiteY4075" fmla="*/ 759019 h 1461099"/>
                    <a:gd name="connsiteX4076" fmla="*/ 1566451 w 1659478"/>
                    <a:gd name="connsiteY4076" fmla="*/ 757294 h 1461099"/>
                    <a:gd name="connsiteX4077" fmla="*/ 1572863 w 1659478"/>
                    <a:gd name="connsiteY4077" fmla="*/ 755266 h 1461099"/>
                    <a:gd name="connsiteX4078" fmla="*/ 1573907 w 1659478"/>
                    <a:gd name="connsiteY4078" fmla="*/ 754939 h 1461099"/>
                    <a:gd name="connsiteX4079" fmla="*/ 1574781 w 1659478"/>
                    <a:gd name="connsiteY4079" fmla="*/ 754259 h 1461099"/>
                    <a:gd name="connsiteX4080" fmla="*/ 1579019 w 1659478"/>
                    <a:gd name="connsiteY4080" fmla="*/ 750919 h 1461099"/>
                    <a:gd name="connsiteX4081" fmla="*/ 1582565 w 1659478"/>
                    <a:gd name="connsiteY4081" fmla="*/ 748139 h 1461099"/>
                    <a:gd name="connsiteX4082" fmla="*/ 1581023 w 1659478"/>
                    <a:gd name="connsiteY4082" fmla="*/ 744192 h 1461099"/>
                    <a:gd name="connsiteX4083" fmla="*/ 1584277 w 1659478"/>
                    <a:gd name="connsiteY4083" fmla="*/ 743208 h 1461099"/>
                    <a:gd name="connsiteX4084" fmla="*/ 1585066 w 1659478"/>
                    <a:gd name="connsiteY4084" fmla="*/ 742966 h 1461099"/>
                    <a:gd name="connsiteX4085" fmla="*/ 1585771 w 1659478"/>
                    <a:gd name="connsiteY4085" fmla="*/ 742516 h 1461099"/>
                    <a:gd name="connsiteX4086" fmla="*/ 1587774 w 1659478"/>
                    <a:gd name="connsiteY4086" fmla="*/ 741254 h 1461099"/>
                    <a:gd name="connsiteX4087" fmla="*/ 1589061 w 1659478"/>
                    <a:gd name="connsiteY4087" fmla="*/ 740440 h 1461099"/>
                    <a:gd name="connsiteX4088" fmla="*/ 1589814 w 1659478"/>
                    <a:gd name="connsiteY4088" fmla="*/ 739116 h 1461099"/>
                    <a:gd name="connsiteX4089" fmla="*/ 1590786 w 1659478"/>
                    <a:gd name="connsiteY4089" fmla="*/ 737392 h 1461099"/>
                    <a:gd name="connsiteX4090" fmla="*/ 1591320 w 1659478"/>
                    <a:gd name="connsiteY4090" fmla="*/ 736457 h 1461099"/>
                    <a:gd name="connsiteX4091" fmla="*/ 1591490 w 1659478"/>
                    <a:gd name="connsiteY4091" fmla="*/ 735401 h 1461099"/>
                    <a:gd name="connsiteX4092" fmla="*/ 1591721 w 1659478"/>
                    <a:gd name="connsiteY4092" fmla="*/ 734053 h 1461099"/>
                    <a:gd name="connsiteX4093" fmla="*/ 1594356 w 1659478"/>
                    <a:gd name="connsiteY4093" fmla="*/ 733980 h 1461099"/>
                    <a:gd name="connsiteX4094" fmla="*/ 1594866 w 1659478"/>
                    <a:gd name="connsiteY4094" fmla="*/ 733968 h 1461099"/>
                    <a:gd name="connsiteX4095" fmla="*/ 1595364 w 1659478"/>
                    <a:gd name="connsiteY4095" fmla="*/ 733871 h 1461099"/>
                    <a:gd name="connsiteX4096" fmla="*/ 1598691 w 1659478"/>
                    <a:gd name="connsiteY4096" fmla="*/ 733203 h 1461099"/>
                    <a:gd name="connsiteX4097" fmla="*/ 1599589 w 1659478"/>
                    <a:gd name="connsiteY4097" fmla="*/ 733020 h 1461099"/>
                    <a:gd name="connsiteX4098" fmla="*/ 1600403 w 1659478"/>
                    <a:gd name="connsiteY4098" fmla="*/ 732583 h 1461099"/>
                    <a:gd name="connsiteX4099" fmla="*/ 1605467 w 1659478"/>
                    <a:gd name="connsiteY4099" fmla="*/ 729815 h 1461099"/>
                    <a:gd name="connsiteX4100" fmla="*/ 1608271 w 1659478"/>
                    <a:gd name="connsiteY4100" fmla="*/ 728661 h 1461099"/>
                    <a:gd name="connsiteX4101" fmla="*/ 1608417 w 1659478"/>
                    <a:gd name="connsiteY4101" fmla="*/ 728783 h 1461099"/>
                    <a:gd name="connsiteX4102" fmla="*/ 1609158 w 1659478"/>
                    <a:gd name="connsiteY4102" fmla="*/ 729402 h 1461099"/>
                    <a:gd name="connsiteX4103" fmla="*/ 1610056 w 1659478"/>
                    <a:gd name="connsiteY4103" fmla="*/ 729766 h 1461099"/>
                    <a:gd name="connsiteX4104" fmla="*/ 1611829 w 1659478"/>
                    <a:gd name="connsiteY4104" fmla="*/ 730483 h 1461099"/>
                    <a:gd name="connsiteX4105" fmla="*/ 1612461 w 1659478"/>
                    <a:gd name="connsiteY4105" fmla="*/ 730738 h 1461099"/>
                    <a:gd name="connsiteX4106" fmla="*/ 1613141 w 1659478"/>
                    <a:gd name="connsiteY4106" fmla="*/ 730847 h 1461099"/>
                    <a:gd name="connsiteX4107" fmla="*/ 1615096 w 1659478"/>
                    <a:gd name="connsiteY4107" fmla="*/ 731163 h 1461099"/>
                    <a:gd name="connsiteX4108" fmla="*/ 1615582 w 1659478"/>
                    <a:gd name="connsiteY4108" fmla="*/ 731236 h 1461099"/>
                    <a:gd name="connsiteX4109" fmla="*/ 1616067 w 1659478"/>
                    <a:gd name="connsiteY4109" fmla="*/ 731236 h 1461099"/>
                    <a:gd name="connsiteX4110" fmla="*/ 1618022 w 1659478"/>
                    <a:gd name="connsiteY4110" fmla="*/ 731236 h 1461099"/>
                    <a:gd name="connsiteX4111" fmla="*/ 1618459 w 1659478"/>
                    <a:gd name="connsiteY4111" fmla="*/ 731236 h 1461099"/>
                    <a:gd name="connsiteX4112" fmla="*/ 1618884 w 1659478"/>
                    <a:gd name="connsiteY4112" fmla="*/ 731175 h 1461099"/>
                    <a:gd name="connsiteX4113" fmla="*/ 1622661 w 1659478"/>
                    <a:gd name="connsiteY4113" fmla="*/ 730628 h 1461099"/>
                    <a:gd name="connsiteX4114" fmla="*/ 1624968 w 1659478"/>
                    <a:gd name="connsiteY4114" fmla="*/ 730300 h 1461099"/>
                    <a:gd name="connsiteX4115" fmla="*/ 1626462 w 1659478"/>
                    <a:gd name="connsiteY4115" fmla="*/ 728516 h 1461099"/>
                    <a:gd name="connsiteX4116" fmla="*/ 1627567 w 1659478"/>
                    <a:gd name="connsiteY4116" fmla="*/ 727192 h 1461099"/>
                    <a:gd name="connsiteX4117" fmla="*/ 1629036 w 1659478"/>
                    <a:gd name="connsiteY4117" fmla="*/ 725431 h 1461099"/>
                    <a:gd name="connsiteX4118" fmla="*/ 1628987 w 1659478"/>
                    <a:gd name="connsiteY4118" fmla="*/ 723148 h 1461099"/>
                    <a:gd name="connsiteX4119" fmla="*/ 1628939 w 1659478"/>
                    <a:gd name="connsiteY4119" fmla="*/ 721120 h 1461099"/>
                    <a:gd name="connsiteX4120" fmla="*/ 1629255 w 1659478"/>
                    <a:gd name="connsiteY4120" fmla="*/ 718340 h 1461099"/>
                    <a:gd name="connsiteX4121" fmla="*/ 1629327 w 1659478"/>
                    <a:gd name="connsiteY4121" fmla="*/ 718145 h 1461099"/>
                    <a:gd name="connsiteX4122" fmla="*/ 1630311 w 1659478"/>
                    <a:gd name="connsiteY4122" fmla="*/ 716506 h 1461099"/>
                    <a:gd name="connsiteX4123" fmla="*/ 1631513 w 1659478"/>
                    <a:gd name="connsiteY4123" fmla="*/ 715158 h 1461099"/>
                    <a:gd name="connsiteX4124" fmla="*/ 1631792 w 1659478"/>
                    <a:gd name="connsiteY4124" fmla="*/ 712390 h 1461099"/>
                    <a:gd name="connsiteX4125" fmla="*/ 1631744 w 1659478"/>
                    <a:gd name="connsiteY4125" fmla="*/ 710265 h 1461099"/>
                    <a:gd name="connsiteX4126" fmla="*/ 1631732 w 1659478"/>
                    <a:gd name="connsiteY4126" fmla="*/ 709524 h 1461099"/>
                    <a:gd name="connsiteX4127" fmla="*/ 1633092 w 1659478"/>
                    <a:gd name="connsiteY4127" fmla="*/ 710058 h 1461099"/>
                    <a:gd name="connsiteX4128" fmla="*/ 1636115 w 1659478"/>
                    <a:gd name="connsiteY4128" fmla="*/ 711248 h 1461099"/>
                    <a:gd name="connsiteX4129" fmla="*/ 1638787 w 1659478"/>
                    <a:gd name="connsiteY4129" fmla="*/ 709403 h 1461099"/>
                    <a:gd name="connsiteX4130" fmla="*/ 1641324 w 1659478"/>
                    <a:gd name="connsiteY4130" fmla="*/ 707642 h 1461099"/>
                    <a:gd name="connsiteX4131" fmla="*/ 1643535 w 1659478"/>
                    <a:gd name="connsiteY4131" fmla="*/ 706112 h 1461099"/>
                    <a:gd name="connsiteX4132" fmla="*/ 1643887 w 1659478"/>
                    <a:gd name="connsiteY4132" fmla="*/ 703452 h 1461099"/>
                    <a:gd name="connsiteX4133" fmla="*/ 1643947 w 1659478"/>
                    <a:gd name="connsiteY4133" fmla="*/ 702967 h 1461099"/>
                    <a:gd name="connsiteX4134" fmla="*/ 1646595 w 1659478"/>
                    <a:gd name="connsiteY4134" fmla="*/ 701959 h 1461099"/>
                    <a:gd name="connsiteX4135" fmla="*/ 1651658 w 1659478"/>
                    <a:gd name="connsiteY4135" fmla="*/ 700040 h 1461099"/>
                    <a:gd name="connsiteX4136" fmla="*/ 1650323 w 1659478"/>
                    <a:gd name="connsiteY4136" fmla="*/ 694795 h 1461099"/>
                    <a:gd name="connsiteX4137" fmla="*/ 1649946 w 1659478"/>
                    <a:gd name="connsiteY4137" fmla="*/ 693277 h 1461099"/>
                    <a:gd name="connsiteX4138" fmla="*/ 1649812 w 1659478"/>
                    <a:gd name="connsiteY4138" fmla="*/ 692743 h 1461099"/>
                    <a:gd name="connsiteX4139" fmla="*/ 1649582 w 1659478"/>
                    <a:gd name="connsiteY4139" fmla="*/ 692245 h 1461099"/>
                    <a:gd name="connsiteX4140" fmla="*/ 1648780 w 1659478"/>
                    <a:gd name="connsiteY4140" fmla="*/ 690496 h 1461099"/>
                    <a:gd name="connsiteX4141" fmla="*/ 1648550 w 1659478"/>
                    <a:gd name="connsiteY4141" fmla="*/ 689998 h 1461099"/>
                    <a:gd name="connsiteX4142" fmla="*/ 1649205 w 1659478"/>
                    <a:gd name="connsiteY4142" fmla="*/ 689585 h 1461099"/>
                    <a:gd name="connsiteX4143" fmla="*/ 1649691 w 1659478"/>
                    <a:gd name="connsiteY4143" fmla="*/ 689282 h 1461099"/>
                    <a:gd name="connsiteX4144" fmla="*/ 1650116 w 1659478"/>
                    <a:gd name="connsiteY4144" fmla="*/ 688893 h 1461099"/>
                    <a:gd name="connsiteX4145" fmla="*/ 1656370 w 1659478"/>
                    <a:gd name="connsiteY4145" fmla="*/ 683004 h 1461099"/>
                    <a:gd name="connsiteX4146" fmla="*/ 1656746 w 1659478"/>
                    <a:gd name="connsiteY4146" fmla="*/ 682652 h 1461099"/>
                    <a:gd name="connsiteX4147" fmla="*/ 1657050 w 1659478"/>
                    <a:gd name="connsiteY4147" fmla="*/ 682239 h 1461099"/>
                    <a:gd name="connsiteX4148" fmla="*/ 1658021 w 1659478"/>
                    <a:gd name="connsiteY4148" fmla="*/ 680952 h 1461099"/>
                    <a:gd name="connsiteX4149" fmla="*/ 1659478 w 1659478"/>
                    <a:gd name="connsiteY4149" fmla="*/ 679033 h 1461099"/>
                    <a:gd name="connsiteX4150" fmla="*/ 1659223 w 1659478"/>
                    <a:gd name="connsiteY4150" fmla="*/ 676641 h 1461099"/>
                    <a:gd name="connsiteX4151" fmla="*/ 1659114 w 1659478"/>
                    <a:gd name="connsiteY4151" fmla="*/ 675609 h 1461099"/>
                    <a:gd name="connsiteX4152" fmla="*/ 1658932 w 1659478"/>
                    <a:gd name="connsiteY4152" fmla="*/ 674006 h 1461099"/>
                    <a:gd name="connsiteX4153" fmla="*/ 1657985 w 1659478"/>
                    <a:gd name="connsiteY4153" fmla="*/ 672695 h 1461099"/>
                    <a:gd name="connsiteX4154" fmla="*/ 1657353 w 1659478"/>
                    <a:gd name="connsiteY4154" fmla="*/ 671832 h 1461099"/>
                    <a:gd name="connsiteX4155" fmla="*/ 1656831 w 1659478"/>
                    <a:gd name="connsiteY4155" fmla="*/ 671116 h 1461099"/>
                    <a:gd name="connsiteX4156" fmla="*/ 1656127 w 1659478"/>
                    <a:gd name="connsiteY4156" fmla="*/ 670582 h 1461099"/>
                    <a:gd name="connsiteX4157" fmla="*/ 1655046 w 1659478"/>
                    <a:gd name="connsiteY4157" fmla="*/ 669756 h 1461099"/>
                    <a:gd name="connsiteX4158" fmla="*/ 1654779 w 1659478"/>
                    <a:gd name="connsiteY4158" fmla="*/ 669549 h 1461099"/>
                    <a:gd name="connsiteX4159" fmla="*/ 1654500 w 1659478"/>
                    <a:gd name="connsiteY4159" fmla="*/ 669379 h 1461099"/>
                    <a:gd name="connsiteX4160" fmla="*/ 1653383 w 1659478"/>
                    <a:gd name="connsiteY4160" fmla="*/ 668712 h 1461099"/>
                    <a:gd name="connsiteX4161" fmla="*/ 1652812 w 1659478"/>
                    <a:gd name="connsiteY4161" fmla="*/ 668359 h 1461099"/>
                    <a:gd name="connsiteX4162" fmla="*/ 1652168 w 1659478"/>
                    <a:gd name="connsiteY4162" fmla="*/ 668141 h 1461099"/>
                    <a:gd name="connsiteX4163" fmla="*/ 1650675 w 1659478"/>
                    <a:gd name="connsiteY4163" fmla="*/ 667643 h 1461099"/>
                    <a:gd name="connsiteX4164" fmla="*/ 1650031 w 1659478"/>
                    <a:gd name="connsiteY4164" fmla="*/ 667424 h 1461099"/>
                    <a:gd name="connsiteX4165" fmla="*/ 1649351 w 1659478"/>
                    <a:gd name="connsiteY4165" fmla="*/ 667352 h 1461099"/>
                    <a:gd name="connsiteX4166" fmla="*/ 1645647 w 1659478"/>
                    <a:gd name="connsiteY4166" fmla="*/ 666975 h 1461099"/>
                    <a:gd name="connsiteX4167" fmla="*/ 1644810 w 1659478"/>
                    <a:gd name="connsiteY4167" fmla="*/ 666757 h 1461099"/>
                    <a:gd name="connsiteX4168" fmla="*/ 1643474 w 1659478"/>
                    <a:gd name="connsiteY4168" fmla="*/ 666125 h 1461099"/>
                    <a:gd name="connsiteX4169" fmla="*/ 1642964 w 1659478"/>
                    <a:gd name="connsiteY4169" fmla="*/ 665882 h 1461099"/>
                    <a:gd name="connsiteX4170" fmla="*/ 1642418 w 1659478"/>
                    <a:gd name="connsiteY4170" fmla="*/ 665737 h 1461099"/>
                    <a:gd name="connsiteX4171" fmla="*/ 1640122 w 1659478"/>
                    <a:gd name="connsiteY4171" fmla="*/ 665142 h 1461099"/>
                    <a:gd name="connsiteX4172" fmla="*/ 1639782 w 1659478"/>
                    <a:gd name="connsiteY4172" fmla="*/ 665056 h 1461099"/>
                    <a:gd name="connsiteX4173" fmla="*/ 1639442 w 1659478"/>
                    <a:gd name="connsiteY4173" fmla="*/ 665008 h 1461099"/>
                    <a:gd name="connsiteX4174" fmla="*/ 1636273 w 1659478"/>
                    <a:gd name="connsiteY4174" fmla="*/ 664571 h 1461099"/>
                    <a:gd name="connsiteX4175" fmla="*/ 1635702 w 1659478"/>
                    <a:gd name="connsiteY4175" fmla="*/ 664486 h 1461099"/>
                    <a:gd name="connsiteX4176" fmla="*/ 1635132 w 1659478"/>
                    <a:gd name="connsiteY4176" fmla="*/ 664510 h 1461099"/>
                    <a:gd name="connsiteX4177" fmla="*/ 1629510 w 1659478"/>
                    <a:gd name="connsiteY4177" fmla="*/ 664802 h 1461099"/>
                    <a:gd name="connsiteX4178" fmla="*/ 1629194 w 1659478"/>
                    <a:gd name="connsiteY4178" fmla="*/ 664814 h 1461099"/>
                    <a:gd name="connsiteX4179" fmla="*/ 1628878 w 1659478"/>
                    <a:gd name="connsiteY4179" fmla="*/ 664862 h 1461099"/>
                    <a:gd name="connsiteX4180" fmla="*/ 1626061 w 1659478"/>
                    <a:gd name="connsiteY4180" fmla="*/ 665312 h 1461099"/>
                    <a:gd name="connsiteX4181" fmla="*/ 1624871 w 1659478"/>
                    <a:gd name="connsiteY4181" fmla="*/ 665506 h 1461099"/>
                    <a:gd name="connsiteX4182" fmla="*/ 1623851 w 1659478"/>
                    <a:gd name="connsiteY4182" fmla="*/ 666137 h 1461099"/>
                    <a:gd name="connsiteX4183" fmla="*/ 1621447 w 1659478"/>
                    <a:gd name="connsiteY4183" fmla="*/ 667607 h 1461099"/>
                    <a:gd name="connsiteX4184" fmla="*/ 1620839 w 1659478"/>
                    <a:gd name="connsiteY4184" fmla="*/ 667983 h 1461099"/>
                    <a:gd name="connsiteX4185" fmla="*/ 1620329 w 1659478"/>
                    <a:gd name="connsiteY4185" fmla="*/ 668493 h 1461099"/>
                    <a:gd name="connsiteX4186" fmla="*/ 1619649 w 1659478"/>
                    <a:gd name="connsiteY4186" fmla="*/ 669173 h 1461099"/>
                    <a:gd name="connsiteX4187" fmla="*/ 1618350 w 1659478"/>
                    <a:gd name="connsiteY4187" fmla="*/ 670047 h 1461099"/>
                    <a:gd name="connsiteX4188" fmla="*/ 1617427 w 1659478"/>
                    <a:gd name="connsiteY4188" fmla="*/ 670679 h 1461099"/>
                    <a:gd name="connsiteX4189" fmla="*/ 1616784 w 1659478"/>
                    <a:gd name="connsiteY4189" fmla="*/ 671602 h 1461099"/>
                    <a:gd name="connsiteX4190" fmla="*/ 1616043 w 1659478"/>
                    <a:gd name="connsiteY4190" fmla="*/ 672646 h 1461099"/>
                    <a:gd name="connsiteX4191" fmla="*/ 1614282 w 1659478"/>
                    <a:gd name="connsiteY4191" fmla="*/ 672537 h 1461099"/>
                    <a:gd name="connsiteX4192" fmla="*/ 1613554 w 1659478"/>
                    <a:gd name="connsiteY4192" fmla="*/ 672488 h 1461099"/>
                    <a:gd name="connsiteX4193" fmla="*/ 1612825 w 1659478"/>
                    <a:gd name="connsiteY4193" fmla="*/ 672622 h 1461099"/>
                    <a:gd name="connsiteX4194" fmla="*/ 1611392 w 1659478"/>
                    <a:gd name="connsiteY4194" fmla="*/ 672877 h 1461099"/>
                    <a:gd name="connsiteX4195" fmla="*/ 1609899 w 1659478"/>
                    <a:gd name="connsiteY4195" fmla="*/ 673132 h 1461099"/>
                    <a:gd name="connsiteX4196" fmla="*/ 1608709 w 1659478"/>
                    <a:gd name="connsiteY4196" fmla="*/ 674067 h 1461099"/>
                    <a:gd name="connsiteX4197" fmla="*/ 1607543 w 1659478"/>
                    <a:gd name="connsiteY4197" fmla="*/ 674977 h 1461099"/>
                    <a:gd name="connsiteX4198" fmla="*/ 1607519 w 1659478"/>
                    <a:gd name="connsiteY4198" fmla="*/ 675002 h 1461099"/>
                    <a:gd name="connsiteX4199" fmla="*/ 1606450 w 1659478"/>
                    <a:gd name="connsiteY4199" fmla="*/ 674722 h 1461099"/>
                    <a:gd name="connsiteX4200" fmla="*/ 1604094 w 1659478"/>
                    <a:gd name="connsiteY4200" fmla="*/ 674115 h 1461099"/>
                    <a:gd name="connsiteX4201" fmla="*/ 1603524 w 1659478"/>
                    <a:gd name="connsiteY4201" fmla="*/ 673969 h 1461099"/>
                    <a:gd name="connsiteX4202" fmla="*/ 1602941 w 1659478"/>
                    <a:gd name="connsiteY4202" fmla="*/ 673933 h 1461099"/>
                    <a:gd name="connsiteX4203" fmla="*/ 1592486 w 1659478"/>
                    <a:gd name="connsiteY4203" fmla="*/ 673289 h 1461099"/>
                    <a:gd name="connsiteX4204" fmla="*/ 1587701 w 1659478"/>
                    <a:gd name="connsiteY4204" fmla="*/ 671990 h 1461099"/>
                    <a:gd name="connsiteX4205" fmla="*/ 1586912 w 1659478"/>
                    <a:gd name="connsiteY4205" fmla="*/ 671772 h 1461099"/>
                    <a:gd name="connsiteX4206" fmla="*/ 1586099 w 1659478"/>
                    <a:gd name="connsiteY4206" fmla="*/ 671772 h 1461099"/>
                    <a:gd name="connsiteX4207" fmla="*/ 1584301 w 1659478"/>
                    <a:gd name="connsiteY4207" fmla="*/ 671772 h 1461099"/>
                    <a:gd name="connsiteX4208" fmla="*/ 1583646 w 1659478"/>
                    <a:gd name="connsiteY4208" fmla="*/ 671772 h 1461099"/>
                    <a:gd name="connsiteX4209" fmla="*/ 1583014 w 1659478"/>
                    <a:gd name="connsiteY4209" fmla="*/ 671905 h 1461099"/>
                    <a:gd name="connsiteX4210" fmla="*/ 1581253 w 1659478"/>
                    <a:gd name="connsiteY4210" fmla="*/ 672282 h 1461099"/>
                    <a:gd name="connsiteX4211" fmla="*/ 1580051 w 1659478"/>
                    <a:gd name="connsiteY4211" fmla="*/ 672537 h 1461099"/>
                    <a:gd name="connsiteX4212" fmla="*/ 1579566 w 1659478"/>
                    <a:gd name="connsiteY4212" fmla="*/ 672877 h 1461099"/>
                    <a:gd name="connsiteX4213" fmla="*/ 1579456 w 1659478"/>
                    <a:gd name="connsiteY4213" fmla="*/ 672828 h 1461099"/>
                    <a:gd name="connsiteX4214" fmla="*/ 1578206 w 1659478"/>
                    <a:gd name="connsiteY4214" fmla="*/ 672197 h 1461099"/>
                    <a:gd name="connsiteX4215" fmla="*/ 1577841 w 1659478"/>
                    <a:gd name="connsiteY4215" fmla="*/ 672002 h 1461099"/>
                    <a:gd name="connsiteX4216" fmla="*/ 1577453 w 1659478"/>
                    <a:gd name="connsiteY4216" fmla="*/ 671869 h 1461099"/>
                    <a:gd name="connsiteX4217" fmla="*/ 1575558 w 1659478"/>
                    <a:gd name="connsiteY4217" fmla="*/ 671213 h 1461099"/>
                    <a:gd name="connsiteX4218" fmla="*/ 1574963 w 1659478"/>
                    <a:gd name="connsiteY4218" fmla="*/ 671007 h 1461099"/>
                    <a:gd name="connsiteX4219" fmla="*/ 1574344 w 1659478"/>
                    <a:gd name="connsiteY4219" fmla="*/ 670922 h 1461099"/>
                    <a:gd name="connsiteX4220" fmla="*/ 1563282 w 1659478"/>
                    <a:gd name="connsiteY4220" fmla="*/ 669513 h 1461099"/>
                    <a:gd name="connsiteX4221" fmla="*/ 1558643 w 1659478"/>
                    <a:gd name="connsiteY4221" fmla="*/ 668250 h 1461099"/>
                    <a:gd name="connsiteX4222" fmla="*/ 1557939 w 1659478"/>
                    <a:gd name="connsiteY4222" fmla="*/ 668056 h 1461099"/>
                    <a:gd name="connsiteX4223" fmla="*/ 1557211 w 1659478"/>
                    <a:gd name="connsiteY4223" fmla="*/ 668032 h 1461099"/>
                    <a:gd name="connsiteX4224" fmla="*/ 1554673 w 1659478"/>
                    <a:gd name="connsiteY4224" fmla="*/ 667959 h 1461099"/>
                    <a:gd name="connsiteX4225" fmla="*/ 1554296 w 1659478"/>
                    <a:gd name="connsiteY4225" fmla="*/ 667959 h 1461099"/>
                    <a:gd name="connsiteX4226" fmla="*/ 1555838 w 1659478"/>
                    <a:gd name="connsiteY4226" fmla="*/ 667145 h 1461099"/>
                    <a:gd name="connsiteX4227" fmla="*/ 1557028 w 1659478"/>
                    <a:gd name="connsiteY4227" fmla="*/ 666514 h 1461099"/>
                    <a:gd name="connsiteX4228" fmla="*/ 1557842 w 1659478"/>
                    <a:gd name="connsiteY4228" fmla="*/ 665445 h 1461099"/>
                    <a:gd name="connsiteX4229" fmla="*/ 1559105 w 1659478"/>
                    <a:gd name="connsiteY4229" fmla="*/ 663781 h 1461099"/>
                    <a:gd name="connsiteX4230" fmla="*/ 1560343 w 1659478"/>
                    <a:gd name="connsiteY4230" fmla="*/ 662154 h 1461099"/>
                    <a:gd name="connsiteX4231" fmla="*/ 1560343 w 1659478"/>
                    <a:gd name="connsiteY4231" fmla="*/ 660114 h 1461099"/>
                    <a:gd name="connsiteX4232" fmla="*/ 1560343 w 1659478"/>
                    <a:gd name="connsiteY4232" fmla="*/ 657528 h 1461099"/>
                    <a:gd name="connsiteX4233" fmla="*/ 1560343 w 1659478"/>
                    <a:gd name="connsiteY4233" fmla="*/ 655755 h 1461099"/>
                    <a:gd name="connsiteX4234" fmla="*/ 1559384 w 1659478"/>
                    <a:gd name="connsiteY4234" fmla="*/ 654261 h 1461099"/>
                    <a:gd name="connsiteX4235" fmla="*/ 1558413 w 1659478"/>
                    <a:gd name="connsiteY4235" fmla="*/ 652744 h 1461099"/>
                    <a:gd name="connsiteX4236" fmla="*/ 1557514 w 1659478"/>
                    <a:gd name="connsiteY4236" fmla="*/ 651335 h 1461099"/>
                    <a:gd name="connsiteX4237" fmla="*/ 1556020 w 1659478"/>
                    <a:gd name="connsiteY4237" fmla="*/ 650582 h 1461099"/>
                    <a:gd name="connsiteX4238" fmla="*/ 1554806 w 1659478"/>
                    <a:gd name="connsiteY4238" fmla="*/ 649975 h 1461099"/>
                    <a:gd name="connsiteX4239" fmla="*/ 1552997 w 1659478"/>
                    <a:gd name="connsiteY4239" fmla="*/ 649064 h 1461099"/>
                    <a:gd name="connsiteX4240" fmla="*/ 1550993 w 1659478"/>
                    <a:gd name="connsiteY4240" fmla="*/ 649416 h 1461099"/>
                    <a:gd name="connsiteX4241" fmla="*/ 1549840 w 1659478"/>
                    <a:gd name="connsiteY4241" fmla="*/ 649623 h 1461099"/>
                    <a:gd name="connsiteX4242" fmla="*/ 1548662 w 1659478"/>
                    <a:gd name="connsiteY4242" fmla="*/ 649841 h 1461099"/>
                    <a:gd name="connsiteX4243" fmla="*/ 1547654 w 1659478"/>
                    <a:gd name="connsiteY4243" fmla="*/ 650485 h 1461099"/>
                    <a:gd name="connsiteX4244" fmla="*/ 1547484 w 1659478"/>
                    <a:gd name="connsiteY4244" fmla="*/ 650594 h 1461099"/>
                    <a:gd name="connsiteX4245" fmla="*/ 1547144 w 1659478"/>
                    <a:gd name="connsiteY4245" fmla="*/ 649951 h 1461099"/>
                    <a:gd name="connsiteX4246" fmla="*/ 1546828 w 1659478"/>
                    <a:gd name="connsiteY4246" fmla="*/ 649356 h 1461099"/>
                    <a:gd name="connsiteX4247" fmla="*/ 1546379 w 1659478"/>
                    <a:gd name="connsiteY4247" fmla="*/ 648846 h 1461099"/>
                    <a:gd name="connsiteX4248" fmla="*/ 1545468 w 1659478"/>
                    <a:gd name="connsiteY4248" fmla="*/ 647789 h 1461099"/>
                    <a:gd name="connsiteX4249" fmla="*/ 1544740 w 1659478"/>
                    <a:gd name="connsiteY4249" fmla="*/ 646939 h 1461099"/>
                    <a:gd name="connsiteX4250" fmla="*/ 1543756 w 1659478"/>
                    <a:gd name="connsiteY4250" fmla="*/ 646417 h 1461099"/>
                    <a:gd name="connsiteX4251" fmla="*/ 1542894 w 1659478"/>
                    <a:gd name="connsiteY4251" fmla="*/ 645956 h 1461099"/>
                    <a:gd name="connsiteX4252" fmla="*/ 1541473 w 1659478"/>
                    <a:gd name="connsiteY4252" fmla="*/ 645191 h 1461099"/>
                    <a:gd name="connsiteX4253" fmla="*/ 1539870 w 1659478"/>
                    <a:gd name="connsiteY4253" fmla="*/ 645227 h 1461099"/>
                    <a:gd name="connsiteX4254" fmla="*/ 1538960 w 1659478"/>
                    <a:gd name="connsiteY4254" fmla="*/ 645251 h 1461099"/>
                    <a:gd name="connsiteX4255" fmla="*/ 1537332 w 1659478"/>
                    <a:gd name="connsiteY4255" fmla="*/ 645288 h 1461099"/>
                    <a:gd name="connsiteX4256" fmla="*/ 1535948 w 1659478"/>
                    <a:gd name="connsiteY4256" fmla="*/ 646138 h 1461099"/>
                    <a:gd name="connsiteX4257" fmla="*/ 1535135 w 1659478"/>
                    <a:gd name="connsiteY4257" fmla="*/ 646636 h 1461099"/>
                    <a:gd name="connsiteX4258" fmla="*/ 1534212 w 1659478"/>
                    <a:gd name="connsiteY4258" fmla="*/ 647194 h 1461099"/>
                    <a:gd name="connsiteX4259" fmla="*/ 1533544 w 1659478"/>
                    <a:gd name="connsiteY4259" fmla="*/ 648032 h 1461099"/>
                    <a:gd name="connsiteX4260" fmla="*/ 1533204 w 1659478"/>
                    <a:gd name="connsiteY4260" fmla="*/ 648457 h 1461099"/>
                    <a:gd name="connsiteX4261" fmla="*/ 1531516 w 1659478"/>
                    <a:gd name="connsiteY4261" fmla="*/ 648372 h 1461099"/>
                    <a:gd name="connsiteX4262" fmla="*/ 1526319 w 1659478"/>
                    <a:gd name="connsiteY4262" fmla="*/ 647449 h 1461099"/>
                    <a:gd name="connsiteX4263" fmla="*/ 1525930 w 1659478"/>
                    <a:gd name="connsiteY4263" fmla="*/ 645847 h 1461099"/>
                    <a:gd name="connsiteX4264" fmla="*/ 1525529 w 1659478"/>
                    <a:gd name="connsiteY4264" fmla="*/ 644207 h 1461099"/>
                    <a:gd name="connsiteX4265" fmla="*/ 1524352 w 1659478"/>
                    <a:gd name="connsiteY4265" fmla="*/ 643005 h 1461099"/>
                    <a:gd name="connsiteX4266" fmla="*/ 1524109 w 1659478"/>
                    <a:gd name="connsiteY4266" fmla="*/ 642762 h 1461099"/>
                    <a:gd name="connsiteX4267" fmla="*/ 1528650 w 1659478"/>
                    <a:gd name="connsiteY4267" fmla="*/ 641596 h 1461099"/>
                    <a:gd name="connsiteX4268" fmla="*/ 1529148 w 1659478"/>
                    <a:gd name="connsiteY4268" fmla="*/ 641475 h 1461099"/>
                    <a:gd name="connsiteX4269" fmla="*/ 1529610 w 1659478"/>
                    <a:gd name="connsiteY4269" fmla="*/ 641268 h 1461099"/>
                    <a:gd name="connsiteX4270" fmla="*/ 1532767 w 1659478"/>
                    <a:gd name="connsiteY4270" fmla="*/ 639872 h 1461099"/>
                    <a:gd name="connsiteX4271" fmla="*/ 1534673 w 1659478"/>
                    <a:gd name="connsiteY4271" fmla="*/ 639034 h 1461099"/>
                    <a:gd name="connsiteX4272" fmla="*/ 1535657 w 1659478"/>
                    <a:gd name="connsiteY4272" fmla="*/ 637201 h 1461099"/>
                    <a:gd name="connsiteX4273" fmla="*/ 1537029 w 1659478"/>
                    <a:gd name="connsiteY4273" fmla="*/ 634639 h 1461099"/>
                    <a:gd name="connsiteX4274" fmla="*/ 1537515 w 1659478"/>
                    <a:gd name="connsiteY4274" fmla="*/ 633752 h 1461099"/>
                    <a:gd name="connsiteX4275" fmla="*/ 1537672 w 1659478"/>
                    <a:gd name="connsiteY4275" fmla="*/ 632817 h 1461099"/>
                    <a:gd name="connsiteX4276" fmla="*/ 1537782 w 1659478"/>
                    <a:gd name="connsiteY4276" fmla="*/ 632781 h 1461099"/>
                    <a:gd name="connsiteX4277" fmla="*/ 1538097 w 1659478"/>
                    <a:gd name="connsiteY4277" fmla="*/ 632599 h 1461099"/>
                    <a:gd name="connsiteX4278" fmla="*/ 1542347 w 1659478"/>
                    <a:gd name="connsiteY4278" fmla="*/ 630279 h 1461099"/>
                    <a:gd name="connsiteX4279" fmla="*/ 1543744 w 1659478"/>
                    <a:gd name="connsiteY4279" fmla="*/ 629514 h 1461099"/>
                    <a:gd name="connsiteX4280" fmla="*/ 1544582 w 1659478"/>
                    <a:gd name="connsiteY4280" fmla="*/ 628166 h 1461099"/>
                    <a:gd name="connsiteX4281" fmla="*/ 1547800 w 1659478"/>
                    <a:gd name="connsiteY4281" fmla="*/ 623018 h 1461099"/>
                    <a:gd name="connsiteX4282" fmla="*/ 1549415 w 1659478"/>
                    <a:gd name="connsiteY4282" fmla="*/ 620431 h 1461099"/>
                    <a:gd name="connsiteX4283" fmla="*/ 1548310 w 1659478"/>
                    <a:gd name="connsiteY4283" fmla="*/ 617602 h 1461099"/>
                    <a:gd name="connsiteX4284" fmla="*/ 1547387 w 1659478"/>
                    <a:gd name="connsiteY4284" fmla="*/ 615222 h 1461099"/>
                    <a:gd name="connsiteX4285" fmla="*/ 1546464 w 1659478"/>
                    <a:gd name="connsiteY4285" fmla="*/ 612854 h 1461099"/>
                    <a:gd name="connsiteX4286" fmla="*/ 1544132 w 1659478"/>
                    <a:gd name="connsiteY4286" fmla="*/ 611846 h 1461099"/>
                    <a:gd name="connsiteX4287" fmla="*/ 1543902 w 1659478"/>
                    <a:gd name="connsiteY4287" fmla="*/ 611749 h 1461099"/>
                    <a:gd name="connsiteX4288" fmla="*/ 1543210 w 1659478"/>
                    <a:gd name="connsiteY4288" fmla="*/ 609308 h 1461099"/>
                    <a:gd name="connsiteX4289" fmla="*/ 1542250 w 1659478"/>
                    <a:gd name="connsiteY4289" fmla="*/ 606698 h 1461099"/>
                    <a:gd name="connsiteX4290" fmla="*/ 1541959 w 1659478"/>
                    <a:gd name="connsiteY4290" fmla="*/ 605920 h 1461099"/>
                    <a:gd name="connsiteX4291" fmla="*/ 1541473 w 1659478"/>
                    <a:gd name="connsiteY4291" fmla="*/ 605253 h 1461099"/>
                    <a:gd name="connsiteX4292" fmla="*/ 1540150 w 1659478"/>
                    <a:gd name="connsiteY4292" fmla="*/ 603431 h 1461099"/>
                    <a:gd name="connsiteX4293" fmla="*/ 1539640 w 1659478"/>
                    <a:gd name="connsiteY4293" fmla="*/ 602326 h 1461099"/>
                    <a:gd name="connsiteX4294" fmla="*/ 1539130 w 1659478"/>
                    <a:gd name="connsiteY4294" fmla="*/ 600165 h 1461099"/>
                    <a:gd name="connsiteX4295" fmla="*/ 1539263 w 1659478"/>
                    <a:gd name="connsiteY4295" fmla="*/ 599145 h 1461099"/>
                    <a:gd name="connsiteX4296" fmla="*/ 1539312 w 1659478"/>
                    <a:gd name="connsiteY4296" fmla="*/ 598756 h 1461099"/>
                    <a:gd name="connsiteX4297" fmla="*/ 1539312 w 1659478"/>
                    <a:gd name="connsiteY4297" fmla="*/ 598355 h 1461099"/>
                    <a:gd name="connsiteX4298" fmla="*/ 1539312 w 1659478"/>
                    <a:gd name="connsiteY4298" fmla="*/ 596522 h 1461099"/>
                    <a:gd name="connsiteX4299" fmla="*/ 1539312 w 1659478"/>
                    <a:gd name="connsiteY4299" fmla="*/ 596097 h 1461099"/>
                    <a:gd name="connsiteX4300" fmla="*/ 1539251 w 1659478"/>
                    <a:gd name="connsiteY4300" fmla="*/ 595672 h 1461099"/>
                    <a:gd name="connsiteX4301" fmla="*/ 1539093 w 1659478"/>
                    <a:gd name="connsiteY4301" fmla="*/ 594530 h 1461099"/>
                    <a:gd name="connsiteX4302" fmla="*/ 1538911 w 1659478"/>
                    <a:gd name="connsiteY4302" fmla="*/ 593243 h 1461099"/>
                    <a:gd name="connsiteX4303" fmla="*/ 1538219 w 1659478"/>
                    <a:gd name="connsiteY4303" fmla="*/ 592138 h 1461099"/>
                    <a:gd name="connsiteX4304" fmla="*/ 1537466 w 1659478"/>
                    <a:gd name="connsiteY4304" fmla="*/ 590948 h 1461099"/>
                    <a:gd name="connsiteX4305" fmla="*/ 1536276 w 1659478"/>
                    <a:gd name="connsiteY4305" fmla="*/ 589078 h 1461099"/>
                    <a:gd name="connsiteX4306" fmla="*/ 1534163 w 1659478"/>
                    <a:gd name="connsiteY4306" fmla="*/ 588410 h 1461099"/>
                    <a:gd name="connsiteX4307" fmla="*/ 1532548 w 1659478"/>
                    <a:gd name="connsiteY4307" fmla="*/ 587900 h 1461099"/>
                    <a:gd name="connsiteX4308" fmla="*/ 1531795 w 1659478"/>
                    <a:gd name="connsiteY4308" fmla="*/ 587657 h 1461099"/>
                    <a:gd name="connsiteX4309" fmla="*/ 1531006 w 1659478"/>
                    <a:gd name="connsiteY4309" fmla="*/ 587621 h 1461099"/>
                    <a:gd name="connsiteX4310" fmla="*/ 1527642 w 1659478"/>
                    <a:gd name="connsiteY4310" fmla="*/ 587463 h 1461099"/>
                    <a:gd name="connsiteX4311" fmla="*/ 1527266 w 1659478"/>
                    <a:gd name="connsiteY4311" fmla="*/ 587330 h 1461099"/>
                    <a:gd name="connsiteX4312" fmla="*/ 1526914 w 1659478"/>
                    <a:gd name="connsiteY4312" fmla="*/ 587148 h 1461099"/>
                    <a:gd name="connsiteX4313" fmla="*/ 1517090 w 1659478"/>
                    <a:gd name="connsiteY4313" fmla="*/ 580080 h 1461099"/>
                    <a:gd name="connsiteX4314" fmla="*/ 1516665 w 1659478"/>
                    <a:gd name="connsiteY4314" fmla="*/ 579789 h 1461099"/>
                    <a:gd name="connsiteX4315" fmla="*/ 1516204 w 1659478"/>
                    <a:gd name="connsiteY4315" fmla="*/ 579558 h 1461099"/>
                    <a:gd name="connsiteX4316" fmla="*/ 1514832 w 1659478"/>
                    <a:gd name="connsiteY4316" fmla="*/ 578890 h 1461099"/>
                    <a:gd name="connsiteX4317" fmla="*/ 1514200 w 1659478"/>
                    <a:gd name="connsiteY4317" fmla="*/ 578587 h 1461099"/>
                    <a:gd name="connsiteX4318" fmla="*/ 1513520 w 1659478"/>
                    <a:gd name="connsiteY4318" fmla="*/ 578429 h 1461099"/>
                    <a:gd name="connsiteX4319" fmla="*/ 1511687 w 1659478"/>
                    <a:gd name="connsiteY4319" fmla="*/ 578004 h 1461099"/>
                    <a:gd name="connsiteX4320" fmla="*/ 1508493 w 1659478"/>
                    <a:gd name="connsiteY4320" fmla="*/ 577506 h 1461099"/>
                    <a:gd name="connsiteX4321" fmla="*/ 1508201 w 1659478"/>
                    <a:gd name="connsiteY4321" fmla="*/ 577409 h 1461099"/>
                    <a:gd name="connsiteX4322" fmla="*/ 1507388 w 1659478"/>
                    <a:gd name="connsiteY4322" fmla="*/ 576911 h 1461099"/>
                    <a:gd name="connsiteX4323" fmla="*/ 1506720 w 1659478"/>
                    <a:gd name="connsiteY4323" fmla="*/ 576377 h 1461099"/>
                    <a:gd name="connsiteX4324" fmla="*/ 1505894 w 1659478"/>
                    <a:gd name="connsiteY4324" fmla="*/ 575357 h 1461099"/>
                    <a:gd name="connsiteX4325" fmla="*/ 1505275 w 1659478"/>
                    <a:gd name="connsiteY4325" fmla="*/ 574167 h 1461099"/>
                    <a:gd name="connsiteX4326" fmla="*/ 1503150 w 1659478"/>
                    <a:gd name="connsiteY4326" fmla="*/ 566359 h 1461099"/>
                    <a:gd name="connsiteX4327" fmla="*/ 1502810 w 1659478"/>
                    <a:gd name="connsiteY4327" fmla="*/ 565120 h 1461099"/>
                    <a:gd name="connsiteX4328" fmla="*/ 1502009 w 1659478"/>
                    <a:gd name="connsiteY4328" fmla="*/ 564124 h 1461099"/>
                    <a:gd name="connsiteX4329" fmla="*/ 1499981 w 1659478"/>
                    <a:gd name="connsiteY4329" fmla="*/ 561635 h 1461099"/>
                    <a:gd name="connsiteX4330" fmla="*/ 1497334 w 1659478"/>
                    <a:gd name="connsiteY4330" fmla="*/ 557227 h 1461099"/>
                    <a:gd name="connsiteX4331" fmla="*/ 1497067 w 1659478"/>
                    <a:gd name="connsiteY4331" fmla="*/ 556766 h 1461099"/>
                    <a:gd name="connsiteX4332" fmla="*/ 1496714 w 1659478"/>
                    <a:gd name="connsiteY4332" fmla="*/ 556365 h 1461099"/>
                    <a:gd name="connsiteX4333" fmla="*/ 1489149 w 1659478"/>
                    <a:gd name="connsiteY4333" fmla="*/ 547671 h 1461099"/>
                    <a:gd name="connsiteX4334" fmla="*/ 1488749 w 1659478"/>
                    <a:gd name="connsiteY4334" fmla="*/ 547015 h 1461099"/>
                    <a:gd name="connsiteX4335" fmla="*/ 1488700 w 1659478"/>
                    <a:gd name="connsiteY4335" fmla="*/ 546845 h 1461099"/>
                    <a:gd name="connsiteX4336" fmla="*/ 1488846 w 1659478"/>
                    <a:gd name="connsiteY4336" fmla="*/ 545352 h 1461099"/>
                    <a:gd name="connsiteX4337" fmla="*/ 1489234 w 1659478"/>
                    <a:gd name="connsiteY4337" fmla="*/ 543870 h 1461099"/>
                    <a:gd name="connsiteX4338" fmla="*/ 1489331 w 1659478"/>
                    <a:gd name="connsiteY4338" fmla="*/ 543481 h 1461099"/>
                    <a:gd name="connsiteX4339" fmla="*/ 1489380 w 1659478"/>
                    <a:gd name="connsiteY4339" fmla="*/ 543081 h 1461099"/>
                    <a:gd name="connsiteX4340" fmla="*/ 1489550 w 1659478"/>
                    <a:gd name="connsiteY4340" fmla="*/ 541733 h 1461099"/>
                    <a:gd name="connsiteX4341" fmla="*/ 1489684 w 1659478"/>
                    <a:gd name="connsiteY4341" fmla="*/ 540640 h 1461099"/>
                    <a:gd name="connsiteX4342" fmla="*/ 1489429 w 1659478"/>
                    <a:gd name="connsiteY4342" fmla="*/ 539571 h 1461099"/>
                    <a:gd name="connsiteX4343" fmla="*/ 1489137 w 1659478"/>
                    <a:gd name="connsiteY4343" fmla="*/ 538369 h 1461099"/>
                    <a:gd name="connsiteX4344" fmla="*/ 1488809 w 1659478"/>
                    <a:gd name="connsiteY4344" fmla="*/ 536985 h 1461099"/>
                    <a:gd name="connsiteX4345" fmla="*/ 1487886 w 1659478"/>
                    <a:gd name="connsiteY4345" fmla="*/ 535892 h 1461099"/>
                    <a:gd name="connsiteX4346" fmla="*/ 1486793 w 1659478"/>
                    <a:gd name="connsiteY4346" fmla="*/ 534593 h 1461099"/>
                    <a:gd name="connsiteX4347" fmla="*/ 1486575 w 1659478"/>
                    <a:gd name="connsiteY4347" fmla="*/ 534338 h 1461099"/>
                    <a:gd name="connsiteX4348" fmla="*/ 1486903 w 1659478"/>
                    <a:gd name="connsiteY4348" fmla="*/ 533694 h 1461099"/>
                    <a:gd name="connsiteX4349" fmla="*/ 1487425 w 1659478"/>
                    <a:gd name="connsiteY4349" fmla="*/ 532686 h 1461099"/>
                    <a:gd name="connsiteX4350" fmla="*/ 1487911 w 1659478"/>
                    <a:gd name="connsiteY4350" fmla="*/ 531751 h 1461099"/>
                    <a:gd name="connsiteX4351" fmla="*/ 1488056 w 1659478"/>
                    <a:gd name="connsiteY4351" fmla="*/ 530719 h 1461099"/>
                    <a:gd name="connsiteX4352" fmla="*/ 1488214 w 1659478"/>
                    <a:gd name="connsiteY4352" fmla="*/ 529541 h 1461099"/>
                    <a:gd name="connsiteX4353" fmla="*/ 1488311 w 1659478"/>
                    <a:gd name="connsiteY4353" fmla="*/ 528789 h 1461099"/>
                    <a:gd name="connsiteX4354" fmla="*/ 1488227 w 1659478"/>
                    <a:gd name="connsiteY4354" fmla="*/ 528048 h 1461099"/>
                    <a:gd name="connsiteX4355" fmla="*/ 1487826 w 1659478"/>
                    <a:gd name="connsiteY4355" fmla="*/ 524429 h 1461099"/>
                    <a:gd name="connsiteX4356" fmla="*/ 1487777 w 1659478"/>
                    <a:gd name="connsiteY4356" fmla="*/ 524016 h 1461099"/>
                    <a:gd name="connsiteX4357" fmla="*/ 1487680 w 1659478"/>
                    <a:gd name="connsiteY4357" fmla="*/ 523616 h 1461099"/>
                    <a:gd name="connsiteX4358" fmla="*/ 1486709 w 1659478"/>
                    <a:gd name="connsiteY4358" fmla="*/ 519778 h 1461099"/>
                    <a:gd name="connsiteX4359" fmla="*/ 1486466 w 1659478"/>
                    <a:gd name="connsiteY4359" fmla="*/ 518807 h 1461099"/>
                    <a:gd name="connsiteX4360" fmla="*/ 1485931 w 1659478"/>
                    <a:gd name="connsiteY4360" fmla="*/ 517969 h 1461099"/>
                    <a:gd name="connsiteX4361" fmla="*/ 1484438 w 1659478"/>
                    <a:gd name="connsiteY4361" fmla="*/ 515650 h 1461099"/>
                    <a:gd name="connsiteX4362" fmla="*/ 1484183 w 1659478"/>
                    <a:gd name="connsiteY4362" fmla="*/ 515249 h 1461099"/>
                    <a:gd name="connsiteX4363" fmla="*/ 1483867 w 1659478"/>
                    <a:gd name="connsiteY4363" fmla="*/ 514897 h 1461099"/>
                    <a:gd name="connsiteX4364" fmla="*/ 1483005 w 1659478"/>
                    <a:gd name="connsiteY4364" fmla="*/ 513925 h 1461099"/>
                    <a:gd name="connsiteX4365" fmla="*/ 1482288 w 1659478"/>
                    <a:gd name="connsiteY4365" fmla="*/ 513136 h 1461099"/>
                    <a:gd name="connsiteX4366" fmla="*/ 1481353 w 1659478"/>
                    <a:gd name="connsiteY4366" fmla="*/ 512626 h 1461099"/>
                    <a:gd name="connsiteX4367" fmla="*/ 1480771 w 1659478"/>
                    <a:gd name="connsiteY4367" fmla="*/ 512310 h 1461099"/>
                    <a:gd name="connsiteX4368" fmla="*/ 1480856 w 1659478"/>
                    <a:gd name="connsiteY4368" fmla="*/ 510610 h 1461099"/>
                    <a:gd name="connsiteX4369" fmla="*/ 1480868 w 1659478"/>
                    <a:gd name="connsiteY4369" fmla="*/ 510246 h 1461099"/>
                    <a:gd name="connsiteX4370" fmla="*/ 1480844 w 1659478"/>
                    <a:gd name="connsiteY4370" fmla="*/ 509894 h 1461099"/>
                    <a:gd name="connsiteX4371" fmla="*/ 1480516 w 1659478"/>
                    <a:gd name="connsiteY4371" fmla="*/ 504928 h 1461099"/>
                    <a:gd name="connsiteX4372" fmla="*/ 1480467 w 1659478"/>
                    <a:gd name="connsiteY4372" fmla="*/ 504260 h 1461099"/>
                    <a:gd name="connsiteX4373" fmla="*/ 1480273 w 1659478"/>
                    <a:gd name="connsiteY4373" fmla="*/ 503616 h 1461099"/>
                    <a:gd name="connsiteX4374" fmla="*/ 1477844 w 1659478"/>
                    <a:gd name="connsiteY4374" fmla="*/ 495371 h 1461099"/>
                    <a:gd name="connsiteX4375" fmla="*/ 1476788 w 1659478"/>
                    <a:gd name="connsiteY4375" fmla="*/ 491765 h 1461099"/>
                    <a:gd name="connsiteX4376" fmla="*/ 1473084 w 1659478"/>
                    <a:gd name="connsiteY4376" fmla="*/ 491109 h 1461099"/>
                    <a:gd name="connsiteX4377" fmla="*/ 1467863 w 1659478"/>
                    <a:gd name="connsiteY4377" fmla="*/ 490174 h 1461099"/>
                    <a:gd name="connsiteX4378" fmla="*/ 1464256 w 1659478"/>
                    <a:gd name="connsiteY4378" fmla="*/ 489530 h 1461099"/>
                    <a:gd name="connsiteX4379" fmla="*/ 1462702 w 1659478"/>
                    <a:gd name="connsiteY4379" fmla="*/ 491546 h 1461099"/>
                    <a:gd name="connsiteX4380" fmla="*/ 1461985 w 1659478"/>
                    <a:gd name="connsiteY4380" fmla="*/ 490927 h 1461099"/>
                    <a:gd name="connsiteX4381" fmla="*/ 1459703 w 1659478"/>
                    <a:gd name="connsiteY4381" fmla="*/ 488899 h 1461099"/>
                    <a:gd name="connsiteX4382" fmla="*/ 1456716 w 1659478"/>
                    <a:gd name="connsiteY4382" fmla="*/ 489530 h 1461099"/>
                    <a:gd name="connsiteX4383" fmla="*/ 1455501 w 1659478"/>
                    <a:gd name="connsiteY4383" fmla="*/ 489785 h 1461099"/>
                    <a:gd name="connsiteX4384" fmla="*/ 1453619 w 1659478"/>
                    <a:gd name="connsiteY4384" fmla="*/ 490174 h 1461099"/>
                    <a:gd name="connsiteX4385" fmla="*/ 1452672 w 1659478"/>
                    <a:gd name="connsiteY4385" fmla="*/ 489166 h 1461099"/>
                    <a:gd name="connsiteX4386" fmla="*/ 1449757 w 1659478"/>
                    <a:gd name="connsiteY4386" fmla="*/ 489421 h 1461099"/>
                    <a:gd name="connsiteX4387" fmla="*/ 1448495 w 1659478"/>
                    <a:gd name="connsiteY4387" fmla="*/ 489530 h 1461099"/>
                    <a:gd name="connsiteX4388" fmla="*/ 1445933 w 1659478"/>
                    <a:gd name="connsiteY4388" fmla="*/ 489749 h 1461099"/>
                    <a:gd name="connsiteX4389" fmla="*/ 1444305 w 1659478"/>
                    <a:gd name="connsiteY4389" fmla="*/ 491753 h 1461099"/>
                    <a:gd name="connsiteX4390" fmla="*/ 1442253 w 1659478"/>
                    <a:gd name="connsiteY4390" fmla="*/ 494278 h 1461099"/>
                    <a:gd name="connsiteX4391" fmla="*/ 1441937 w 1659478"/>
                    <a:gd name="connsiteY4391" fmla="*/ 494290 h 1461099"/>
                    <a:gd name="connsiteX4392" fmla="*/ 1439873 w 1659478"/>
                    <a:gd name="connsiteY4392" fmla="*/ 493756 h 1461099"/>
                    <a:gd name="connsiteX4393" fmla="*/ 1434057 w 1659478"/>
                    <a:gd name="connsiteY4393" fmla="*/ 491364 h 1461099"/>
                    <a:gd name="connsiteX4394" fmla="*/ 1433243 w 1659478"/>
                    <a:gd name="connsiteY4394" fmla="*/ 491036 h 1461099"/>
                    <a:gd name="connsiteX4395" fmla="*/ 1432369 w 1659478"/>
                    <a:gd name="connsiteY4395" fmla="*/ 490939 h 1461099"/>
                    <a:gd name="connsiteX4396" fmla="*/ 1429892 w 1659478"/>
                    <a:gd name="connsiteY4396" fmla="*/ 490684 h 1461099"/>
                    <a:gd name="connsiteX4397" fmla="*/ 1428495 w 1659478"/>
                    <a:gd name="connsiteY4397" fmla="*/ 490538 h 1461099"/>
                    <a:gd name="connsiteX4398" fmla="*/ 1427172 w 1659478"/>
                    <a:gd name="connsiteY4398" fmla="*/ 491024 h 1461099"/>
                    <a:gd name="connsiteX4399" fmla="*/ 1424925 w 1659478"/>
                    <a:gd name="connsiteY4399" fmla="*/ 491850 h 1461099"/>
                    <a:gd name="connsiteX4400" fmla="*/ 1422740 w 1659478"/>
                    <a:gd name="connsiteY4400" fmla="*/ 492651 h 1461099"/>
                    <a:gd name="connsiteX4401" fmla="*/ 1421659 w 1659478"/>
                    <a:gd name="connsiteY4401" fmla="*/ 494715 h 1461099"/>
                    <a:gd name="connsiteX4402" fmla="*/ 1420007 w 1659478"/>
                    <a:gd name="connsiteY4402" fmla="*/ 497848 h 1461099"/>
                    <a:gd name="connsiteX4403" fmla="*/ 1419267 w 1659478"/>
                    <a:gd name="connsiteY4403" fmla="*/ 499245 h 1461099"/>
                    <a:gd name="connsiteX4404" fmla="*/ 1419303 w 1659478"/>
                    <a:gd name="connsiteY4404" fmla="*/ 500823 h 1461099"/>
                    <a:gd name="connsiteX4405" fmla="*/ 1419352 w 1659478"/>
                    <a:gd name="connsiteY4405" fmla="*/ 502948 h 1461099"/>
                    <a:gd name="connsiteX4406" fmla="*/ 1419388 w 1659478"/>
                    <a:gd name="connsiteY4406" fmla="*/ 504770 h 1461099"/>
                    <a:gd name="connsiteX4407" fmla="*/ 1420432 w 1659478"/>
                    <a:gd name="connsiteY4407" fmla="*/ 506276 h 1461099"/>
                    <a:gd name="connsiteX4408" fmla="*/ 1420578 w 1659478"/>
                    <a:gd name="connsiteY4408" fmla="*/ 506482 h 1461099"/>
                    <a:gd name="connsiteX4409" fmla="*/ 1417980 w 1659478"/>
                    <a:gd name="connsiteY4409" fmla="*/ 507672 h 1461099"/>
                    <a:gd name="connsiteX4410" fmla="*/ 1416753 w 1659478"/>
                    <a:gd name="connsiteY4410" fmla="*/ 508230 h 1461099"/>
                    <a:gd name="connsiteX4411" fmla="*/ 1415879 w 1659478"/>
                    <a:gd name="connsiteY4411" fmla="*/ 509250 h 1461099"/>
                    <a:gd name="connsiteX4412" fmla="*/ 1413584 w 1659478"/>
                    <a:gd name="connsiteY4412" fmla="*/ 511934 h 1461099"/>
                    <a:gd name="connsiteX4413" fmla="*/ 1412952 w 1659478"/>
                    <a:gd name="connsiteY4413" fmla="*/ 512675 h 1461099"/>
                    <a:gd name="connsiteX4414" fmla="*/ 1412588 w 1659478"/>
                    <a:gd name="connsiteY4414" fmla="*/ 513573 h 1461099"/>
                    <a:gd name="connsiteX4415" fmla="*/ 1411058 w 1659478"/>
                    <a:gd name="connsiteY4415" fmla="*/ 517289 h 1461099"/>
                    <a:gd name="connsiteX4416" fmla="*/ 1410354 w 1659478"/>
                    <a:gd name="connsiteY4416" fmla="*/ 517265 h 1461099"/>
                    <a:gd name="connsiteX4417" fmla="*/ 1410329 w 1659478"/>
                    <a:gd name="connsiteY4417" fmla="*/ 517034 h 1461099"/>
                    <a:gd name="connsiteX4418" fmla="*/ 1410220 w 1659478"/>
                    <a:gd name="connsiteY4418" fmla="*/ 516160 h 1461099"/>
                    <a:gd name="connsiteX4419" fmla="*/ 1410038 w 1659478"/>
                    <a:gd name="connsiteY4419" fmla="*/ 514618 h 1461099"/>
                    <a:gd name="connsiteX4420" fmla="*/ 1409140 w 1659478"/>
                    <a:gd name="connsiteY4420" fmla="*/ 513355 h 1461099"/>
                    <a:gd name="connsiteX4421" fmla="*/ 1408217 w 1659478"/>
                    <a:gd name="connsiteY4421" fmla="*/ 512068 h 1461099"/>
                    <a:gd name="connsiteX4422" fmla="*/ 1407889 w 1659478"/>
                    <a:gd name="connsiteY4422" fmla="*/ 511606 h 1461099"/>
                    <a:gd name="connsiteX4423" fmla="*/ 1407476 w 1659478"/>
                    <a:gd name="connsiteY4423" fmla="*/ 511218 h 1461099"/>
                    <a:gd name="connsiteX4424" fmla="*/ 1406954 w 1659478"/>
                    <a:gd name="connsiteY4424" fmla="*/ 510708 h 1461099"/>
                    <a:gd name="connsiteX4425" fmla="*/ 1406942 w 1659478"/>
                    <a:gd name="connsiteY4425" fmla="*/ 510683 h 1461099"/>
                    <a:gd name="connsiteX4426" fmla="*/ 1409419 w 1659478"/>
                    <a:gd name="connsiteY4426" fmla="*/ 497763 h 1461099"/>
                    <a:gd name="connsiteX4427" fmla="*/ 1409564 w 1659478"/>
                    <a:gd name="connsiteY4427" fmla="*/ 497423 h 1461099"/>
                    <a:gd name="connsiteX4428" fmla="*/ 1412649 w 1659478"/>
                    <a:gd name="connsiteY4428" fmla="*/ 493149 h 1461099"/>
                    <a:gd name="connsiteX4429" fmla="*/ 1412940 w 1659478"/>
                    <a:gd name="connsiteY4429" fmla="*/ 492748 h 1461099"/>
                    <a:gd name="connsiteX4430" fmla="*/ 1413159 w 1659478"/>
                    <a:gd name="connsiteY4430" fmla="*/ 492299 h 1461099"/>
                    <a:gd name="connsiteX4431" fmla="*/ 1413717 w 1659478"/>
                    <a:gd name="connsiteY4431" fmla="*/ 491170 h 1461099"/>
                    <a:gd name="connsiteX4432" fmla="*/ 1413936 w 1659478"/>
                    <a:gd name="connsiteY4432" fmla="*/ 490720 h 1461099"/>
                    <a:gd name="connsiteX4433" fmla="*/ 1414082 w 1659478"/>
                    <a:gd name="connsiteY4433" fmla="*/ 490247 h 1461099"/>
                    <a:gd name="connsiteX4434" fmla="*/ 1414434 w 1659478"/>
                    <a:gd name="connsiteY4434" fmla="*/ 489105 h 1461099"/>
                    <a:gd name="connsiteX4435" fmla="*/ 1414567 w 1659478"/>
                    <a:gd name="connsiteY4435" fmla="*/ 488680 h 1461099"/>
                    <a:gd name="connsiteX4436" fmla="*/ 1414628 w 1659478"/>
                    <a:gd name="connsiteY4436" fmla="*/ 488231 h 1461099"/>
                    <a:gd name="connsiteX4437" fmla="*/ 1414859 w 1659478"/>
                    <a:gd name="connsiteY4437" fmla="*/ 486713 h 1461099"/>
                    <a:gd name="connsiteX4438" fmla="*/ 1414968 w 1659478"/>
                    <a:gd name="connsiteY4438" fmla="*/ 485973 h 1461099"/>
                    <a:gd name="connsiteX4439" fmla="*/ 1414895 w 1659478"/>
                    <a:gd name="connsiteY4439" fmla="*/ 485220 h 1461099"/>
                    <a:gd name="connsiteX4440" fmla="*/ 1414300 w 1659478"/>
                    <a:gd name="connsiteY4440" fmla="*/ 478905 h 1461099"/>
                    <a:gd name="connsiteX4441" fmla="*/ 1414701 w 1659478"/>
                    <a:gd name="connsiteY4441" fmla="*/ 476720 h 1461099"/>
                    <a:gd name="connsiteX4442" fmla="*/ 1414822 w 1659478"/>
                    <a:gd name="connsiteY4442" fmla="*/ 476088 h 1461099"/>
                    <a:gd name="connsiteX4443" fmla="*/ 1414810 w 1659478"/>
                    <a:gd name="connsiteY4443" fmla="*/ 475445 h 1461099"/>
                    <a:gd name="connsiteX4444" fmla="*/ 1414762 w 1659478"/>
                    <a:gd name="connsiteY4444" fmla="*/ 473781 h 1461099"/>
                    <a:gd name="connsiteX4445" fmla="*/ 1414749 w 1659478"/>
                    <a:gd name="connsiteY4445" fmla="*/ 473247 h 1461099"/>
                    <a:gd name="connsiteX4446" fmla="*/ 1414640 w 1659478"/>
                    <a:gd name="connsiteY4446" fmla="*/ 472725 h 1461099"/>
                    <a:gd name="connsiteX4447" fmla="*/ 1414227 w 1659478"/>
                    <a:gd name="connsiteY4447" fmla="*/ 470745 h 1461099"/>
                    <a:gd name="connsiteX4448" fmla="*/ 1414142 w 1659478"/>
                    <a:gd name="connsiteY4448" fmla="*/ 470320 h 1461099"/>
                    <a:gd name="connsiteX4449" fmla="*/ 1413997 w 1659478"/>
                    <a:gd name="connsiteY4449" fmla="*/ 469920 h 1461099"/>
                    <a:gd name="connsiteX4450" fmla="*/ 1413147 w 1659478"/>
                    <a:gd name="connsiteY4450" fmla="*/ 467552 h 1461099"/>
                    <a:gd name="connsiteX4451" fmla="*/ 1413098 w 1659478"/>
                    <a:gd name="connsiteY4451" fmla="*/ 466665 h 1461099"/>
                    <a:gd name="connsiteX4452" fmla="*/ 1413147 w 1659478"/>
                    <a:gd name="connsiteY4452" fmla="*/ 465925 h 1461099"/>
                    <a:gd name="connsiteX4453" fmla="*/ 1413353 w 1659478"/>
                    <a:gd name="connsiteY4453" fmla="*/ 465123 h 1461099"/>
                    <a:gd name="connsiteX4454" fmla="*/ 1413681 w 1659478"/>
                    <a:gd name="connsiteY4454" fmla="*/ 463508 h 1461099"/>
                    <a:gd name="connsiteX4455" fmla="*/ 1413887 w 1659478"/>
                    <a:gd name="connsiteY4455" fmla="*/ 462415 h 1461099"/>
                    <a:gd name="connsiteX4456" fmla="*/ 1413693 w 1659478"/>
                    <a:gd name="connsiteY4456" fmla="*/ 461310 h 1461099"/>
                    <a:gd name="connsiteX4457" fmla="*/ 1413402 w 1659478"/>
                    <a:gd name="connsiteY4457" fmla="*/ 459659 h 1461099"/>
                    <a:gd name="connsiteX4458" fmla="*/ 1412758 w 1659478"/>
                    <a:gd name="connsiteY4458" fmla="*/ 457182 h 1461099"/>
                    <a:gd name="connsiteX4459" fmla="*/ 1412649 w 1659478"/>
                    <a:gd name="connsiteY4459" fmla="*/ 456744 h 1461099"/>
                    <a:gd name="connsiteX4460" fmla="*/ 1412467 w 1659478"/>
                    <a:gd name="connsiteY4460" fmla="*/ 456332 h 1461099"/>
                    <a:gd name="connsiteX4461" fmla="*/ 1411155 w 1659478"/>
                    <a:gd name="connsiteY4461" fmla="*/ 453296 h 1461099"/>
                    <a:gd name="connsiteX4462" fmla="*/ 1410645 w 1659478"/>
                    <a:gd name="connsiteY4462" fmla="*/ 450904 h 1461099"/>
                    <a:gd name="connsiteX4463" fmla="*/ 1410572 w 1659478"/>
                    <a:gd name="connsiteY4463" fmla="*/ 448390 h 1461099"/>
                    <a:gd name="connsiteX4464" fmla="*/ 1410985 w 1659478"/>
                    <a:gd name="connsiteY4464" fmla="*/ 445998 h 1461099"/>
                    <a:gd name="connsiteX4465" fmla="*/ 1414094 w 1659478"/>
                    <a:gd name="connsiteY4465" fmla="*/ 435154 h 1461099"/>
                    <a:gd name="connsiteX4466" fmla="*/ 1414276 w 1659478"/>
                    <a:gd name="connsiteY4466" fmla="*/ 434535 h 1461099"/>
                    <a:gd name="connsiteX4467" fmla="*/ 1414312 w 1659478"/>
                    <a:gd name="connsiteY4467" fmla="*/ 433904 h 1461099"/>
                    <a:gd name="connsiteX4468" fmla="*/ 1414495 w 1659478"/>
                    <a:gd name="connsiteY4468" fmla="*/ 431378 h 1461099"/>
                    <a:gd name="connsiteX4469" fmla="*/ 1414543 w 1659478"/>
                    <a:gd name="connsiteY4469" fmla="*/ 430698 h 1461099"/>
                    <a:gd name="connsiteX4470" fmla="*/ 1414446 w 1659478"/>
                    <a:gd name="connsiteY4470" fmla="*/ 430030 h 1461099"/>
                    <a:gd name="connsiteX4471" fmla="*/ 1414106 w 1659478"/>
                    <a:gd name="connsiteY4471" fmla="*/ 427808 h 1461099"/>
                    <a:gd name="connsiteX4472" fmla="*/ 1413984 w 1659478"/>
                    <a:gd name="connsiteY4472" fmla="*/ 426982 h 1461099"/>
                    <a:gd name="connsiteX4473" fmla="*/ 1413644 w 1659478"/>
                    <a:gd name="connsiteY4473" fmla="*/ 426217 h 1461099"/>
                    <a:gd name="connsiteX4474" fmla="*/ 1412661 w 1659478"/>
                    <a:gd name="connsiteY4474" fmla="*/ 424044 h 1461099"/>
                    <a:gd name="connsiteX4475" fmla="*/ 1412272 w 1659478"/>
                    <a:gd name="connsiteY4475" fmla="*/ 423181 h 1461099"/>
                    <a:gd name="connsiteX4476" fmla="*/ 1411641 w 1659478"/>
                    <a:gd name="connsiteY4476" fmla="*/ 422477 h 1461099"/>
                    <a:gd name="connsiteX4477" fmla="*/ 1409917 w 1659478"/>
                    <a:gd name="connsiteY4477" fmla="*/ 420571 h 1461099"/>
                    <a:gd name="connsiteX4478" fmla="*/ 1409564 w 1659478"/>
                    <a:gd name="connsiteY4478" fmla="*/ 420182 h 1461099"/>
                    <a:gd name="connsiteX4479" fmla="*/ 1409152 w 1659478"/>
                    <a:gd name="connsiteY4479" fmla="*/ 419866 h 1461099"/>
                    <a:gd name="connsiteX4480" fmla="*/ 1402339 w 1659478"/>
                    <a:gd name="connsiteY4480" fmla="*/ 414536 h 1461099"/>
                    <a:gd name="connsiteX4481" fmla="*/ 1401417 w 1659478"/>
                    <a:gd name="connsiteY4481" fmla="*/ 413552 h 1461099"/>
                    <a:gd name="connsiteX4482" fmla="*/ 1399850 w 1659478"/>
                    <a:gd name="connsiteY4482" fmla="*/ 411002 h 1461099"/>
                    <a:gd name="connsiteX4483" fmla="*/ 1399692 w 1659478"/>
                    <a:gd name="connsiteY4483" fmla="*/ 410735 h 1461099"/>
                    <a:gd name="connsiteX4484" fmla="*/ 1399498 w 1659478"/>
                    <a:gd name="connsiteY4484" fmla="*/ 410492 h 1461099"/>
                    <a:gd name="connsiteX4485" fmla="*/ 1398757 w 1659478"/>
                    <a:gd name="connsiteY4485" fmla="*/ 409521 h 1461099"/>
                    <a:gd name="connsiteX4486" fmla="*/ 1398417 w 1659478"/>
                    <a:gd name="connsiteY4486" fmla="*/ 409071 h 1461099"/>
                    <a:gd name="connsiteX4487" fmla="*/ 1397992 w 1659478"/>
                    <a:gd name="connsiteY4487" fmla="*/ 408695 h 1461099"/>
                    <a:gd name="connsiteX4488" fmla="*/ 1396596 w 1659478"/>
                    <a:gd name="connsiteY4488" fmla="*/ 407432 h 1461099"/>
                    <a:gd name="connsiteX4489" fmla="*/ 1396001 w 1659478"/>
                    <a:gd name="connsiteY4489" fmla="*/ 406898 h 1461099"/>
                    <a:gd name="connsiteX4490" fmla="*/ 1395284 w 1659478"/>
                    <a:gd name="connsiteY4490" fmla="*/ 406533 h 1461099"/>
                    <a:gd name="connsiteX4491" fmla="*/ 1393973 w 1659478"/>
                    <a:gd name="connsiteY4491" fmla="*/ 405866 h 1461099"/>
                    <a:gd name="connsiteX4492" fmla="*/ 1393354 w 1659478"/>
                    <a:gd name="connsiteY4492" fmla="*/ 405550 h 1461099"/>
                    <a:gd name="connsiteX4493" fmla="*/ 1392674 w 1659478"/>
                    <a:gd name="connsiteY4493" fmla="*/ 405380 h 1461099"/>
                    <a:gd name="connsiteX4494" fmla="*/ 1391362 w 1659478"/>
                    <a:gd name="connsiteY4494" fmla="*/ 405052 h 1461099"/>
                    <a:gd name="connsiteX4495" fmla="*/ 1390476 w 1659478"/>
                    <a:gd name="connsiteY4495" fmla="*/ 404833 h 1461099"/>
                    <a:gd name="connsiteX4496" fmla="*/ 1389565 w 1659478"/>
                    <a:gd name="connsiteY4496" fmla="*/ 404882 h 1461099"/>
                    <a:gd name="connsiteX4497" fmla="*/ 1387829 w 1659478"/>
                    <a:gd name="connsiteY4497" fmla="*/ 404967 h 1461099"/>
                    <a:gd name="connsiteX4498" fmla="*/ 1387015 w 1659478"/>
                    <a:gd name="connsiteY4498" fmla="*/ 405016 h 1461099"/>
                    <a:gd name="connsiteX4499" fmla="*/ 1386238 w 1659478"/>
                    <a:gd name="connsiteY4499" fmla="*/ 405270 h 1461099"/>
                    <a:gd name="connsiteX4500" fmla="*/ 1384623 w 1659478"/>
                    <a:gd name="connsiteY4500" fmla="*/ 405671 h 1461099"/>
                    <a:gd name="connsiteX4501" fmla="*/ 1383979 w 1659478"/>
                    <a:gd name="connsiteY4501" fmla="*/ 405890 h 1461099"/>
                    <a:gd name="connsiteX4502" fmla="*/ 1383409 w 1659478"/>
                    <a:gd name="connsiteY4502" fmla="*/ 406242 h 1461099"/>
                    <a:gd name="connsiteX4503" fmla="*/ 1379462 w 1659478"/>
                    <a:gd name="connsiteY4503" fmla="*/ 408634 h 1461099"/>
                    <a:gd name="connsiteX4504" fmla="*/ 1378770 w 1659478"/>
                    <a:gd name="connsiteY4504" fmla="*/ 409059 h 1461099"/>
                    <a:gd name="connsiteX4505" fmla="*/ 1378211 w 1659478"/>
                    <a:gd name="connsiteY4505" fmla="*/ 409642 h 1461099"/>
                    <a:gd name="connsiteX4506" fmla="*/ 1376766 w 1659478"/>
                    <a:gd name="connsiteY4506" fmla="*/ 411160 h 1461099"/>
                    <a:gd name="connsiteX4507" fmla="*/ 1376439 w 1659478"/>
                    <a:gd name="connsiteY4507" fmla="*/ 411500 h 1461099"/>
                    <a:gd name="connsiteX4508" fmla="*/ 1376171 w 1659478"/>
                    <a:gd name="connsiteY4508" fmla="*/ 411888 h 1461099"/>
                    <a:gd name="connsiteX4509" fmla="*/ 1374909 w 1659478"/>
                    <a:gd name="connsiteY4509" fmla="*/ 413722 h 1461099"/>
                    <a:gd name="connsiteX4510" fmla="*/ 1374508 w 1659478"/>
                    <a:gd name="connsiteY4510" fmla="*/ 414305 h 1461099"/>
                    <a:gd name="connsiteX4511" fmla="*/ 1374253 w 1659478"/>
                    <a:gd name="connsiteY4511" fmla="*/ 414973 h 1461099"/>
                    <a:gd name="connsiteX4512" fmla="*/ 1373366 w 1659478"/>
                    <a:gd name="connsiteY4512" fmla="*/ 417243 h 1461099"/>
                    <a:gd name="connsiteX4513" fmla="*/ 1370015 w 1659478"/>
                    <a:gd name="connsiteY4513" fmla="*/ 421178 h 1461099"/>
                    <a:gd name="connsiteX4514" fmla="*/ 1366846 w 1659478"/>
                    <a:gd name="connsiteY4514" fmla="*/ 423084 h 1461099"/>
                    <a:gd name="connsiteX4515" fmla="*/ 1366336 w 1659478"/>
                    <a:gd name="connsiteY4515" fmla="*/ 423400 h 1461099"/>
                    <a:gd name="connsiteX4516" fmla="*/ 1365886 w 1659478"/>
                    <a:gd name="connsiteY4516" fmla="*/ 423801 h 1461099"/>
                    <a:gd name="connsiteX4517" fmla="*/ 1364575 w 1659478"/>
                    <a:gd name="connsiteY4517" fmla="*/ 425003 h 1461099"/>
                    <a:gd name="connsiteX4518" fmla="*/ 1362073 w 1659478"/>
                    <a:gd name="connsiteY4518" fmla="*/ 426861 h 1461099"/>
                    <a:gd name="connsiteX4519" fmla="*/ 1360604 w 1659478"/>
                    <a:gd name="connsiteY4519" fmla="*/ 427516 h 1461099"/>
                    <a:gd name="connsiteX4520" fmla="*/ 1360155 w 1659478"/>
                    <a:gd name="connsiteY4520" fmla="*/ 427711 h 1461099"/>
                    <a:gd name="connsiteX4521" fmla="*/ 1359742 w 1659478"/>
                    <a:gd name="connsiteY4521" fmla="*/ 427978 h 1461099"/>
                    <a:gd name="connsiteX4522" fmla="*/ 1358528 w 1659478"/>
                    <a:gd name="connsiteY4522" fmla="*/ 428779 h 1461099"/>
                    <a:gd name="connsiteX4523" fmla="*/ 1357921 w 1659478"/>
                    <a:gd name="connsiteY4523" fmla="*/ 429180 h 1461099"/>
                    <a:gd name="connsiteX4524" fmla="*/ 1357423 w 1659478"/>
                    <a:gd name="connsiteY4524" fmla="*/ 429714 h 1461099"/>
                    <a:gd name="connsiteX4525" fmla="*/ 1355771 w 1659478"/>
                    <a:gd name="connsiteY4525" fmla="*/ 431487 h 1461099"/>
                    <a:gd name="connsiteX4526" fmla="*/ 1354982 w 1659478"/>
                    <a:gd name="connsiteY4526" fmla="*/ 432131 h 1461099"/>
                    <a:gd name="connsiteX4527" fmla="*/ 1352663 w 1659478"/>
                    <a:gd name="connsiteY4527" fmla="*/ 433394 h 1461099"/>
                    <a:gd name="connsiteX4528" fmla="*/ 1352141 w 1659478"/>
                    <a:gd name="connsiteY4528" fmla="*/ 433673 h 1461099"/>
                    <a:gd name="connsiteX4529" fmla="*/ 1351679 w 1659478"/>
                    <a:gd name="connsiteY4529" fmla="*/ 434061 h 1461099"/>
                    <a:gd name="connsiteX4530" fmla="*/ 1350185 w 1659478"/>
                    <a:gd name="connsiteY4530" fmla="*/ 435300 h 1461099"/>
                    <a:gd name="connsiteX4531" fmla="*/ 1349918 w 1659478"/>
                    <a:gd name="connsiteY4531" fmla="*/ 435531 h 1461099"/>
                    <a:gd name="connsiteX4532" fmla="*/ 1349676 w 1659478"/>
                    <a:gd name="connsiteY4532" fmla="*/ 435786 h 1461099"/>
                    <a:gd name="connsiteX4533" fmla="*/ 1348753 w 1659478"/>
                    <a:gd name="connsiteY4533" fmla="*/ 436757 h 1461099"/>
                    <a:gd name="connsiteX4534" fmla="*/ 1348024 w 1659478"/>
                    <a:gd name="connsiteY4534" fmla="*/ 437522 h 1461099"/>
                    <a:gd name="connsiteX4535" fmla="*/ 1347599 w 1659478"/>
                    <a:gd name="connsiteY4535" fmla="*/ 438494 h 1461099"/>
                    <a:gd name="connsiteX4536" fmla="*/ 1347089 w 1659478"/>
                    <a:gd name="connsiteY4536" fmla="*/ 439647 h 1461099"/>
                    <a:gd name="connsiteX4537" fmla="*/ 1346858 w 1659478"/>
                    <a:gd name="connsiteY4537" fmla="*/ 440169 h 1461099"/>
                    <a:gd name="connsiteX4538" fmla="*/ 1346737 w 1659478"/>
                    <a:gd name="connsiteY4538" fmla="*/ 440716 h 1461099"/>
                    <a:gd name="connsiteX4539" fmla="*/ 1346458 w 1659478"/>
                    <a:gd name="connsiteY4539" fmla="*/ 441918 h 1461099"/>
                    <a:gd name="connsiteX4540" fmla="*/ 1346336 w 1659478"/>
                    <a:gd name="connsiteY4540" fmla="*/ 442452 h 1461099"/>
                    <a:gd name="connsiteX4541" fmla="*/ 1346312 w 1659478"/>
                    <a:gd name="connsiteY4541" fmla="*/ 442999 h 1461099"/>
                    <a:gd name="connsiteX4542" fmla="*/ 1346251 w 1659478"/>
                    <a:gd name="connsiteY4542" fmla="*/ 444225 h 1461099"/>
                    <a:gd name="connsiteX4543" fmla="*/ 1346227 w 1659478"/>
                    <a:gd name="connsiteY4543" fmla="*/ 444881 h 1461099"/>
                    <a:gd name="connsiteX4544" fmla="*/ 1346336 w 1659478"/>
                    <a:gd name="connsiteY4544" fmla="*/ 445524 h 1461099"/>
                    <a:gd name="connsiteX4545" fmla="*/ 1346616 w 1659478"/>
                    <a:gd name="connsiteY4545" fmla="*/ 447164 h 1461099"/>
                    <a:gd name="connsiteX4546" fmla="*/ 1346713 w 1659478"/>
                    <a:gd name="connsiteY4546" fmla="*/ 447710 h 1461099"/>
                    <a:gd name="connsiteX4547" fmla="*/ 1346907 w 1659478"/>
                    <a:gd name="connsiteY4547" fmla="*/ 448220 h 1461099"/>
                    <a:gd name="connsiteX4548" fmla="*/ 1347599 w 1659478"/>
                    <a:gd name="connsiteY4548" fmla="*/ 450114 h 1461099"/>
                    <a:gd name="connsiteX4549" fmla="*/ 1347672 w 1659478"/>
                    <a:gd name="connsiteY4549" fmla="*/ 450272 h 1461099"/>
                    <a:gd name="connsiteX4550" fmla="*/ 1346591 w 1659478"/>
                    <a:gd name="connsiteY4550" fmla="*/ 450382 h 1461099"/>
                    <a:gd name="connsiteX4551" fmla="*/ 1346033 w 1659478"/>
                    <a:gd name="connsiteY4551" fmla="*/ 450430 h 1461099"/>
                    <a:gd name="connsiteX4552" fmla="*/ 1345486 w 1659478"/>
                    <a:gd name="connsiteY4552" fmla="*/ 450588 h 1461099"/>
                    <a:gd name="connsiteX4553" fmla="*/ 1343361 w 1659478"/>
                    <a:gd name="connsiteY4553" fmla="*/ 451195 h 1461099"/>
                    <a:gd name="connsiteX4554" fmla="*/ 1342985 w 1659478"/>
                    <a:gd name="connsiteY4554" fmla="*/ 451304 h 1461099"/>
                    <a:gd name="connsiteX4555" fmla="*/ 1342633 w 1659478"/>
                    <a:gd name="connsiteY4555" fmla="*/ 451462 h 1461099"/>
                    <a:gd name="connsiteX4556" fmla="*/ 1340216 w 1659478"/>
                    <a:gd name="connsiteY4556" fmla="*/ 452506 h 1461099"/>
                    <a:gd name="connsiteX4557" fmla="*/ 1339694 w 1659478"/>
                    <a:gd name="connsiteY4557" fmla="*/ 452737 h 1461099"/>
                    <a:gd name="connsiteX4558" fmla="*/ 1339220 w 1659478"/>
                    <a:gd name="connsiteY4558" fmla="*/ 453065 h 1461099"/>
                    <a:gd name="connsiteX4559" fmla="*/ 1338589 w 1659478"/>
                    <a:gd name="connsiteY4559" fmla="*/ 453490 h 1461099"/>
                    <a:gd name="connsiteX4560" fmla="*/ 1338115 w 1659478"/>
                    <a:gd name="connsiteY4560" fmla="*/ 453806 h 1461099"/>
                    <a:gd name="connsiteX4561" fmla="*/ 1337715 w 1659478"/>
                    <a:gd name="connsiteY4561" fmla="*/ 454206 h 1461099"/>
                    <a:gd name="connsiteX4562" fmla="*/ 1337302 w 1659478"/>
                    <a:gd name="connsiteY4562" fmla="*/ 454619 h 1461099"/>
                    <a:gd name="connsiteX4563" fmla="*/ 1336342 w 1659478"/>
                    <a:gd name="connsiteY4563" fmla="*/ 450782 h 1461099"/>
                    <a:gd name="connsiteX4564" fmla="*/ 1336221 w 1659478"/>
                    <a:gd name="connsiteY4564" fmla="*/ 450309 h 1461099"/>
                    <a:gd name="connsiteX4565" fmla="*/ 1336027 w 1659478"/>
                    <a:gd name="connsiteY4565" fmla="*/ 449859 h 1461099"/>
                    <a:gd name="connsiteX4566" fmla="*/ 1335286 w 1659478"/>
                    <a:gd name="connsiteY4566" fmla="*/ 448123 h 1461099"/>
                    <a:gd name="connsiteX4567" fmla="*/ 1334691 w 1659478"/>
                    <a:gd name="connsiteY4567" fmla="*/ 446714 h 1461099"/>
                    <a:gd name="connsiteX4568" fmla="*/ 1333489 w 1659478"/>
                    <a:gd name="connsiteY4568" fmla="*/ 445755 h 1461099"/>
                    <a:gd name="connsiteX4569" fmla="*/ 1332517 w 1659478"/>
                    <a:gd name="connsiteY4569" fmla="*/ 444978 h 1461099"/>
                    <a:gd name="connsiteX4570" fmla="*/ 1331291 w 1659478"/>
                    <a:gd name="connsiteY4570" fmla="*/ 443994 h 1461099"/>
                    <a:gd name="connsiteX4571" fmla="*/ 1329749 w 1659478"/>
                    <a:gd name="connsiteY4571" fmla="*/ 443739 h 1461099"/>
                    <a:gd name="connsiteX4572" fmla="*/ 1328535 w 1659478"/>
                    <a:gd name="connsiteY4572" fmla="*/ 443533 h 1461099"/>
                    <a:gd name="connsiteX4573" fmla="*/ 1327842 w 1659478"/>
                    <a:gd name="connsiteY4573" fmla="*/ 443412 h 1461099"/>
                    <a:gd name="connsiteX4574" fmla="*/ 1327150 w 1659478"/>
                    <a:gd name="connsiteY4574" fmla="*/ 443448 h 1461099"/>
                    <a:gd name="connsiteX4575" fmla="*/ 1327102 w 1659478"/>
                    <a:gd name="connsiteY4575" fmla="*/ 443448 h 1461099"/>
                    <a:gd name="connsiteX4576" fmla="*/ 1327199 w 1659478"/>
                    <a:gd name="connsiteY4576" fmla="*/ 442015 h 1461099"/>
                    <a:gd name="connsiteX4577" fmla="*/ 1327357 w 1659478"/>
                    <a:gd name="connsiteY4577" fmla="*/ 439659 h 1461099"/>
                    <a:gd name="connsiteX4578" fmla="*/ 1326859 w 1659478"/>
                    <a:gd name="connsiteY4578" fmla="*/ 438858 h 1461099"/>
                    <a:gd name="connsiteX4579" fmla="*/ 1328680 w 1659478"/>
                    <a:gd name="connsiteY4579" fmla="*/ 437789 h 1461099"/>
                    <a:gd name="connsiteX4580" fmla="*/ 1328437 w 1659478"/>
                    <a:gd name="connsiteY4580" fmla="*/ 434049 h 1461099"/>
                    <a:gd name="connsiteX4581" fmla="*/ 1328377 w 1659478"/>
                    <a:gd name="connsiteY4581" fmla="*/ 433114 h 1461099"/>
                    <a:gd name="connsiteX4582" fmla="*/ 1328304 w 1659478"/>
                    <a:gd name="connsiteY4582" fmla="*/ 431900 h 1461099"/>
                    <a:gd name="connsiteX4583" fmla="*/ 1327770 w 1659478"/>
                    <a:gd name="connsiteY4583" fmla="*/ 430819 h 1461099"/>
                    <a:gd name="connsiteX4584" fmla="*/ 1327090 w 1659478"/>
                    <a:gd name="connsiteY4584" fmla="*/ 429435 h 1461099"/>
                    <a:gd name="connsiteX4585" fmla="*/ 1326883 w 1659478"/>
                    <a:gd name="connsiteY4585" fmla="*/ 429034 h 1461099"/>
                    <a:gd name="connsiteX4586" fmla="*/ 1326628 w 1659478"/>
                    <a:gd name="connsiteY4586" fmla="*/ 428658 h 1461099"/>
                    <a:gd name="connsiteX4587" fmla="*/ 1321856 w 1659478"/>
                    <a:gd name="connsiteY4587" fmla="*/ 421773 h 1461099"/>
                    <a:gd name="connsiteX4588" fmla="*/ 1321140 w 1659478"/>
                    <a:gd name="connsiteY4588" fmla="*/ 420753 h 1461099"/>
                    <a:gd name="connsiteX4589" fmla="*/ 1320083 w 1659478"/>
                    <a:gd name="connsiteY4589" fmla="*/ 420097 h 1461099"/>
                    <a:gd name="connsiteX4590" fmla="*/ 1318480 w 1659478"/>
                    <a:gd name="connsiteY4590" fmla="*/ 419089 h 1461099"/>
                    <a:gd name="connsiteX4591" fmla="*/ 1317096 w 1659478"/>
                    <a:gd name="connsiteY4591" fmla="*/ 418215 h 1461099"/>
                    <a:gd name="connsiteX4592" fmla="*/ 1315469 w 1659478"/>
                    <a:gd name="connsiteY4592" fmla="*/ 418166 h 1461099"/>
                    <a:gd name="connsiteX4593" fmla="*/ 1313113 w 1659478"/>
                    <a:gd name="connsiteY4593" fmla="*/ 418081 h 1461099"/>
                    <a:gd name="connsiteX4594" fmla="*/ 1312129 w 1659478"/>
                    <a:gd name="connsiteY4594" fmla="*/ 418045 h 1461099"/>
                    <a:gd name="connsiteX4595" fmla="*/ 1311182 w 1659478"/>
                    <a:gd name="connsiteY4595" fmla="*/ 418312 h 1461099"/>
                    <a:gd name="connsiteX4596" fmla="*/ 1308147 w 1659478"/>
                    <a:gd name="connsiteY4596" fmla="*/ 419198 h 1461099"/>
                    <a:gd name="connsiteX4597" fmla="*/ 1302646 w 1659478"/>
                    <a:gd name="connsiteY4597" fmla="*/ 420097 h 1461099"/>
                    <a:gd name="connsiteX4598" fmla="*/ 1302609 w 1659478"/>
                    <a:gd name="connsiteY4598" fmla="*/ 419988 h 1461099"/>
                    <a:gd name="connsiteX4599" fmla="*/ 1302452 w 1659478"/>
                    <a:gd name="connsiteY4599" fmla="*/ 419575 h 1461099"/>
                    <a:gd name="connsiteX4600" fmla="*/ 1302233 w 1659478"/>
                    <a:gd name="connsiteY4600" fmla="*/ 419186 h 1461099"/>
                    <a:gd name="connsiteX4601" fmla="*/ 1301553 w 1659478"/>
                    <a:gd name="connsiteY4601" fmla="*/ 417948 h 1461099"/>
                    <a:gd name="connsiteX4602" fmla="*/ 1301177 w 1659478"/>
                    <a:gd name="connsiteY4602" fmla="*/ 417256 h 1461099"/>
                    <a:gd name="connsiteX4603" fmla="*/ 1300642 w 1659478"/>
                    <a:gd name="connsiteY4603" fmla="*/ 416685 h 1461099"/>
                    <a:gd name="connsiteX4604" fmla="*/ 1299719 w 1659478"/>
                    <a:gd name="connsiteY4604" fmla="*/ 415713 h 1461099"/>
                    <a:gd name="connsiteX4605" fmla="*/ 1299185 w 1659478"/>
                    <a:gd name="connsiteY4605" fmla="*/ 415155 h 1461099"/>
                    <a:gd name="connsiteX4606" fmla="*/ 1298517 w 1659478"/>
                    <a:gd name="connsiteY4606" fmla="*/ 414742 h 1461099"/>
                    <a:gd name="connsiteX4607" fmla="*/ 1297315 w 1659478"/>
                    <a:gd name="connsiteY4607" fmla="*/ 414001 h 1461099"/>
                    <a:gd name="connsiteX4608" fmla="*/ 1296696 w 1659478"/>
                    <a:gd name="connsiteY4608" fmla="*/ 413613 h 1461099"/>
                    <a:gd name="connsiteX4609" fmla="*/ 1295992 w 1659478"/>
                    <a:gd name="connsiteY4609" fmla="*/ 413382 h 1461099"/>
                    <a:gd name="connsiteX4610" fmla="*/ 1294049 w 1659478"/>
                    <a:gd name="connsiteY4610" fmla="*/ 412750 h 1461099"/>
                    <a:gd name="connsiteX4611" fmla="*/ 1292167 w 1659478"/>
                    <a:gd name="connsiteY4611" fmla="*/ 411913 h 1461099"/>
                    <a:gd name="connsiteX4612" fmla="*/ 1290017 w 1659478"/>
                    <a:gd name="connsiteY4612" fmla="*/ 410953 h 1461099"/>
                    <a:gd name="connsiteX4613" fmla="*/ 1287783 w 1659478"/>
                    <a:gd name="connsiteY4613" fmla="*/ 411694 h 1461099"/>
                    <a:gd name="connsiteX4614" fmla="*/ 1286629 w 1659478"/>
                    <a:gd name="connsiteY4614" fmla="*/ 412070 h 1461099"/>
                    <a:gd name="connsiteX4615" fmla="*/ 1284735 w 1659478"/>
                    <a:gd name="connsiteY4615" fmla="*/ 412690 h 1461099"/>
                    <a:gd name="connsiteX4616" fmla="*/ 1283582 w 1659478"/>
                    <a:gd name="connsiteY4616" fmla="*/ 414317 h 1461099"/>
                    <a:gd name="connsiteX4617" fmla="*/ 1282610 w 1659478"/>
                    <a:gd name="connsiteY4617" fmla="*/ 415689 h 1461099"/>
                    <a:gd name="connsiteX4618" fmla="*/ 1281262 w 1659478"/>
                    <a:gd name="connsiteY4618" fmla="*/ 417596 h 1461099"/>
                    <a:gd name="connsiteX4619" fmla="*/ 1281529 w 1659478"/>
                    <a:gd name="connsiteY4619" fmla="*/ 419915 h 1461099"/>
                    <a:gd name="connsiteX4620" fmla="*/ 1281918 w 1659478"/>
                    <a:gd name="connsiteY4620" fmla="*/ 423169 h 1461099"/>
                    <a:gd name="connsiteX4621" fmla="*/ 1282076 w 1659478"/>
                    <a:gd name="connsiteY4621" fmla="*/ 424541 h 1461099"/>
                    <a:gd name="connsiteX4622" fmla="*/ 1282816 w 1659478"/>
                    <a:gd name="connsiteY4622" fmla="*/ 425707 h 1461099"/>
                    <a:gd name="connsiteX4623" fmla="*/ 1284031 w 1659478"/>
                    <a:gd name="connsiteY4623" fmla="*/ 427626 h 1461099"/>
                    <a:gd name="connsiteX4624" fmla="*/ 1284456 w 1659478"/>
                    <a:gd name="connsiteY4624" fmla="*/ 428306 h 1461099"/>
                    <a:gd name="connsiteX4625" fmla="*/ 1285051 w 1659478"/>
                    <a:gd name="connsiteY4625" fmla="*/ 428852 h 1461099"/>
                    <a:gd name="connsiteX4626" fmla="*/ 1285391 w 1659478"/>
                    <a:gd name="connsiteY4626" fmla="*/ 429168 h 1461099"/>
                    <a:gd name="connsiteX4627" fmla="*/ 1285233 w 1659478"/>
                    <a:gd name="connsiteY4627" fmla="*/ 429338 h 1461099"/>
                    <a:gd name="connsiteX4628" fmla="*/ 1284322 w 1659478"/>
                    <a:gd name="connsiteY4628" fmla="*/ 430370 h 1461099"/>
                    <a:gd name="connsiteX4629" fmla="*/ 1282209 w 1659478"/>
                    <a:gd name="connsiteY4629" fmla="*/ 432762 h 1461099"/>
                    <a:gd name="connsiteX4630" fmla="*/ 1282974 w 1659478"/>
                    <a:gd name="connsiteY4630" fmla="*/ 435846 h 1461099"/>
                    <a:gd name="connsiteX4631" fmla="*/ 1283156 w 1659478"/>
                    <a:gd name="connsiteY4631" fmla="*/ 436599 h 1461099"/>
                    <a:gd name="connsiteX4632" fmla="*/ 1283144 w 1659478"/>
                    <a:gd name="connsiteY4632" fmla="*/ 436599 h 1461099"/>
                    <a:gd name="connsiteX4633" fmla="*/ 1280740 w 1659478"/>
                    <a:gd name="connsiteY4633" fmla="*/ 436053 h 1461099"/>
                    <a:gd name="connsiteX4634" fmla="*/ 1279841 w 1659478"/>
                    <a:gd name="connsiteY4634" fmla="*/ 435846 h 1461099"/>
                    <a:gd name="connsiteX4635" fmla="*/ 1278919 w 1659478"/>
                    <a:gd name="connsiteY4635" fmla="*/ 435919 h 1461099"/>
                    <a:gd name="connsiteX4636" fmla="*/ 1277644 w 1659478"/>
                    <a:gd name="connsiteY4636" fmla="*/ 436016 h 1461099"/>
                    <a:gd name="connsiteX4637" fmla="*/ 1276563 w 1659478"/>
                    <a:gd name="connsiteY4637" fmla="*/ 436101 h 1461099"/>
                    <a:gd name="connsiteX4638" fmla="*/ 1275579 w 1659478"/>
                    <a:gd name="connsiteY4638" fmla="*/ 436563 h 1461099"/>
                    <a:gd name="connsiteX4639" fmla="*/ 1274608 w 1659478"/>
                    <a:gd name="connsiteY4639" fmla="*/ 437012 h 1461099"/>
                    <a:gd name="connsiteX4640" fmla="*/ 1274110 w 1659478"/>
                    <a:gd name="connsiteY4640" fmla="*/ 437243 h 1461099"/>
                    <a:gd name="connsiteX4641" fmla="*/ 1273661 w 1659478"/>
                    <a:gd name="connsiteY4641" fmla="*/ 437559 h 1461099"/>
                    <a:gd name="connsiteX4642" fmla="*/ 1272604 w 1659478"/>
                    <a:gd name="connsiteY4642" fmla="*/ 438299 h 1461099"/>
                    <a:gd name="connsiteX4643" fmla="*/ 1272337 w 1659478"/>
                    <a:gd name="connsiteY4643" fmla="*/ 438324 h 1461099"/>
                    <a:gd name="connsiteX4644" fmla="*/ 1272009 w 1659478"/>
                    <a:gd name="connsiteY4644" fmla="*/ 438287 h 1461099"/>
                    <a:gd name="connsiteX4645" fmla="*/ 1268403 w 1659478"/>
                    <a:gd name="connsiteY4645" fmla="*/ 437316 h 1461099"/>
                    <a:gd name="connsiteX4646" fmla="*/ 1267456 w 1659478"/>
                    <a:gd name="connsiteY4646" fmla="*/ 437061 h 1461099"/>
                    <a:gd name="connsiteX4647" fmla="*/ 1266484 w 1659478"/>
                    <a:gd name="connsiteY4647" fmla="*/ 437121 h 1461099"/>
                    <a:gd name="connsiteX4648" fmla="*/ 1265404 w 1659478"/>
                    <a:gd name="connsiteY4648" fmla="*/ 437182 h 1461099"/>
                    <a:gd name="connsiteX4649" fmla="*/ 1264881 w 1659478"/>
                    <a:gd name="connsiteY4649" fmla="*/ 437206 h 1461099"/>
                    <a:gd name="connsiteX4650" fmla="*/ 1264371 w 1659478"/>
                    <a:gd name="connsiteY4650" fmla="*/ 437328 h 1461099"/>
                    <a:gd name="connsiteX4651" fmla="*/ 1263266 w 1659478"/>
                    <a:gd name="connsiteY4651" fmla="*/ 437583 h 1461099"/>
                    <a:gd name="connsiteX4652" fmla="*/ 1262331 w 1659478"/>
                    <a:gd name="connsiteY4652" fmla="*/ 437801 h 1461099"/>
                    <a:gd name="connsiteX4653" fmla="*/ 1261518 w 1659478"/>
                    <a:gd name="connsiteY4653" fmla="*/ 438299 h 1461099"/>
                    <a:gd name="connsiteX4654" fmla="*/ 1260546 w 1659478"/>
                    <a:gd name="connsiteY4654" fmla="*/ 438882 h 1461099"/>
                    <a:gd name="connsiteX4655" fmla="*/ 1259296 w 1659478"/>
                    <a:gd name="connsiteY4655" fmla="*/ 439635 h 1461099"/>
                    <a:gd name="connsiteX4656" fmla="*/ 1258518 w 1659478"/>
                    <a:gd name="connsiteY4656" fmla="*/ 440861 h 1461099"/>
                    <a:gd name="connsiteX4657" fmla="*/ 1257887 w 1659478"/>
                    <a:gd name="connsiteY4657" fmla="*/ 441857 h 1461099"/>
                    <a:gd name="connsiteX4658" fmla="*/ 1257632 w 1659478"/>
                    <a:gd name="connsiteY4658" fmla="*/ 442270 h 1461099"/>
                    <a:gd name="connsiteX4659" fmla="*/ 1257438 w 1659478"/>
                    <a:gd name="connsiteY4659" fmla="*/ 442732 h 1461099"/>
                    <a:gd name="connsiteX4660" fmla="*/ 1256818 w 1659478"/>
                    <a:gd name="connsiteY4660" fmla="*/ 444201 h 1461099"/>
                    <a:gd name="connsiteX4661" fmla="*/ 1256636 w 1659478"/>
                    <a:gd name="connsiteY4661" fmla="*/ 444626 h 1461099"/>
                    <a:gd name="connsiteX4662" fmla="*/ 1256515 w 1659478"/>
                    <a:gd name="connsiteY4662" fmla="*/ 445075 h 1461099"/>
                    <a:gd name="connsiteX4663" fmla="*/ 1255811 w 1659478"/>
                    <a:gd name="connsiteY4663" fmla="*/ 447832 h 1461099"/>
                    <a:gd name="connsiteX4664" fmla="*/ 1255325 w 1659478"/>
                    <a:gd name="connsiteY4664" fmla="*/ 450479 h 1461099"/>
                    <a:gd name="connsiteX4665" fmla="*/ 1255216 w 1659478"/>
                    <a:gd name="connsiteY4665" fmla="*/ 451049 h 1461099"/>
                    <a:gd name="connsiteX4666" fmla="*/ 1255228 w 1659478"/>
                    <a:gd name="connsiteY4666" fmla="*/ 451632 h 1461099"/>
                    <a:gd name="connsiteX4667" fmla="*/ 1255276 w 1659478"/>
                    <a:gd name="connsiteY4667" fmla="*/ 454413 h 1461099"/>
                    <a:gd name="connsiteX4668" fmla="*/ 1255288 w 1659478"/>
                    <a:gd name="connsiteY4668" fmla="*/ 455142 h 1461099"/>
                    <a:gd name="connsiteX4669" fmla="*/ 1255471 w 1659478"/>
                    <a:gd name="connsiteY4669" fmla="*/ 455846 h 1461099"/>
                    <a:gd name="connsiteX4670" fmla="*/ 1256964 w 1659478"/>
                    <a:gd name="connsiteY4670" fmla="*/ 461565 h 1461099"/>
                    <a:gd name="connsiteX4671" fmla="*/ 1259429 w 1659478"/>
                    <a:gd name="connsiteY4671" fmla="*/ 468365 h 1461099"/>
                    <a:gd name="connsiteX4672" fmla="*/ 1259636 w 1659478"/>
                    <a:gd name="connsiteY4672" fmla="*/ 470005 h 1461099"/>
                    <a:gd name="connsiteX4673" fmla="*/ 1259429 w 1659478"/>
                    <a:gd name="connsiteY4673" fmla="*/ 473611 h 1461099"/>
                    <a:gd name="connsiteX4674" fmla="*/ 1259478 w 1659478"/>
                    <a:gd name="connsiteY4674" fmla="*/ 476792 h 1461099"/>
                    <a:gd name="connsiteX4675" fmla="*/ 1259502 w 1659478"/>
                    <a:gd name="connsiteY4675" fmla="*/ 478104 h 1461099"/>
                    <a:gd name="connsiteX4676" fmla="*/ 1260073 w 1659478"/>
                    <a:gd name="connsiteY4676" fmla="*/ 479282 h 1461099"/>
                    <a:gd name="connsiteX4677" fmla="*/ 1261166 w 1659478"/>
                    <a:gd name="connsiteY4677" fmla="*/ 481552 h 1461099"/>
                    <a:gd name="connsiteX4678" fmla="*/ 1261834 w 1659478"/>
                    <a:gd name="connsiteY4678" fmla="*/ 482937 h 1461099"/>
                    <a:gd name="connsiteX4679" fmla="*/ 1263072 w 1659478"/>
                    <a:gd name="connsiteY4679" fmla="*/ 483835 h 1461099"/>
                    <a:gd name="connsiteX4680" fmla="*/ 1264080 w 1659478"/>
                    <a:gd name="connsiteY4680" fmla="*/ 484564 h 1461099"/>
                    <a:gd name="connsiteX4681" fmla="*/ 1264286 w 1659478"/>
                    <a:gd name="connsiteY4681" fmla="*/ 486446 h 1461099"/>
                    <a:gd name="connsiteX4682" fmla="*/ 1264323 w 1659478"/>
                    <a:gd name="connsiteY4682" fmla="*/ 486810 h 1461099"/>
                    <a:gd name="connsiteX4683" fmla="*/ 1264408 w 1659478"/>
                    <a:gd name="connsiteY4683" fmla="*/ 487162 h 1461099"/>
                    <a:gd name="connsiteX4684" fmla="*/ 1264869 w 1659478"/>
                    <a:gd name="connsiteY4684" fmla="*/ 489166 h 1461099"/>
                    <a:gd name="connsiteX4685" fmla="*/ 1264978 w 1659478"/>
                    <a:gd name="connsiteY4685" fmla="*/ 489615 h 1461099"/>
                    <a:gd name="connsiteX4686" fmla="*/ 1262514 w 1659478"/>
                    <a:gd name="connsiteY4686" fmla="*/ 487903 h 1461099"/>
                    <a:gd name="connsiteX4687" fmla="*/ 1258652 w 1659478"/>
                    <a:gd name="connsiteY4687" fmla="*/ 484030 h 1461099"/>
                    <a:gd name="connsiteX4688" fmla="*/ 1257098 w 1659478"/>
                    <a:gd name="connsiteY4688" fmla="*/ 482475 h 1461099"/>
                    <a:gd name="connsiteX4689" fmla="*/ 1254912 w 1659478"/>
                    <a:gd name="connsiteY4689" fmla="*/ 482269 h 1461099"/>
                    <a:gd name="connsiteX4690" fmla="*/ 1249642 w 1659478"/>
                    <a:gd name="connsiteY4690" fmla="*/ 481783 h 1461099"/>
                    <a:gd name="connsiteX4691" fmla="*/ 1248950 w 1659478"/>
                    <a:gd name="connsiteY4691" fmla="*/ 481722 h 1461099"/>
                    <a:gd name="connsiteX4692" fmla="*/ 1248258 w 1659478"/>
                    <a:gd name="connsiteY4692" fmla="*/ 481808 h 1461099"/>
                    <a:gd name="connsiteX4693" fmla="*/ 1233310 w 1659478"/>
                    <a:gd name="connsiteY4693" fmla="*/ 483848 h 1461099"/>
                    <a:gd name="connsiteX4694" fmla="*/ 1233128 w 1659478"/>
                    <a:gd name="connsiteY4694" fmla="*/ 483240 h 1461099"/>
                    <a:gd name="connsiteX4695" fmla="*/ 1232909 w 1659478"/>
                    <a:gd name="connsiteY4695" fmla="*/ 481722 h 1461099"/>
                    <a:gd name="connsiteX4696" fmla="*/ 1232836 w 1659478"/>
                    <a:gd name="connsiteY4696" fmla="*/ 480460 h 1461099"/>
                    <a:gd name="connsiteX4697" fmla="*/ 1232727 w 1659478"/>
                    <a:gd name="connsiteY4697" fmla="*/ 478893 h 1461099"/>
                    <a:gd name="connsiteX4698" fmla="*/ 1231865 w 1659478"/>
                    <a:gd name="connsiteY4698" fmla="*/ 477582 h 1461099"/>
                    <a:gd name="connsiteX4699" fmla="*/ 1231063 w 1659478"/>
                    <a:gd name="connsiteY4699" fmla="*/ 476331 h 1461099"/>
                    <a:gd name="connsiteX4700" fmla="*/ 1230808 w 1659478"/>
                    <a:gd name="connsiteY4700" fmla="*/ 475942 h 1461099"/>
                    <a:gd name="connsiteX4701" fmla="*/ 1230493 w 1659478"/>
                    <a:gd name="connsiteY4701" fmla="*/ 475590 h 1461099"/>
                    <a:gd name="connsiteX4702" fmla="*/ 1229412 w 1659478"/>
                    <a:gd name="connsiteY4702" fmla="*/ 474388 h 1461099"/>
                    <a:gd name="connsiteX4703" fmla="*/ 1228793 w 1659478"/>
                    <a:gd name="connsiteY4703" fmla="*/ 473696 h 1461099"/>
                    <a:gd name="connsiteX4704" fmla="*/ 1227979 w 1659478"/>
                    <a:gd name="connsiteY4704" fmla="*/ 473210 h 1461099"/>
                    <a:gd name="connsiteX4705" fmla="*/ 1227979 w 1659478"/>
                    <a:gd name="connsiteY4705" fmla="*/ 473210 h 1461099"/>
                    <a:gd name="connsiteX4706" fmla="*/ 1228246 w 1659478"/>
                    <a:gd name="connsiteY4706" fmla="*/ 473150 h 1461099"/>
                    <a:gd name="connsiteX4707" fmla="*/ 1229145 w 1659478"/>
                    <a:gd name="connsiteY4707" fmla="*/ 472554 h 1461099"/>
                    <a:gd name="connsiteX4708" fmla="*/ 1230116 w 1659478"/>
                    <a:gd name="connsiteY4708" fmla="*/ 471899 h 1461099"/>
                    <a:gd name="connsiteX4709" fmla="*/ 1231221 w 1659478"/>
                    <a:gd name="connsiteY4709" fmla="*/ 471146 h 1461099"/>
                    <a:gd name="connsiteX4710" fmla="*/ 1231913 w 1659478"/>
                    <a:gd name="connsiteY4710" fmla="*/ 470005 h 1461099"/>
                    <a:gd name="connsiteX4711" fmla="*/ 1232059 w 1659478"/>
                    <a:gd name="connsiteY4711" fmla="*/ 469749 h 1461099"/>
                    <a:gd name="connsiteX4712" fmla="*/ 1233128 w 1659478"/>
                    <a:gd name="connsiteY4712" fmla="*/ 468814 h 1461099"/>
                    <a:gd name="connsiteX4713" fmla="*/ 1234767 w 1659478"/>
                    <a:gd name="connsiteY4713" fmla="*/ 467369 h 1461099"/>
                    <a:gd name="connsiteX4714" fmla="*/ 1235119 w 1659478"/>
                    <a:gd name="connsiteY4714" fmla="*/ 465208 h 1461099"/>
                    <a:gd name="connsiteX4715" fmla="*/ 1235350 w 1659478"/>
                    <a:gd name="connsiteY4715" fmla="*/ 463775 h 1461099"/>
                    <a:gd name="connsiteX4716" fmla="*/ 1235641 w 1659478"/>
                    <a:gd name="connsiteY4716" fmla="*/ 461929 h 1461099"/>
                    <a:gd name="connsiteX4717" fmla="*/ 1234852 w 1659478"/>
                    <a:gd name="connsiteY4717" fmla="*/ 460242 h 1461099"/>
                    <a:gd name="connsiteX4718" fmla="*/ 1233880 w 1659478"/>
                    <a:gd name="connsiteY4718" fmla="*/ 458153 h 1461099"/>
                    <a:gd name="connsiteX4719" fmla="*/ 1233638 w 1659478"/>
                    <a:gd name="connsiteY4719" fmla="*/ 457631 h 1461099"/>
                    <a:gd name="connsiteX4720" fmla="*/ 1233759 w 1659478"/>
                    <a:gd name="connsiteY4720" fmla="*/ 457497 h 1461099"/>
                    <a:gd name="connsiteX4721" fmla="*/ 1234184 w 1659478"/>
                    <a:gd name="connsiteY4721" fmla="*/ 456441 h 1461099"/>
                    <a:gd name="connsiteX4722" fmla="*/ 1234767 w 1659478"/>
                    <a:gd name="connsiteY4722" fmla="*/ 454972 h 1461099"/>
                    <a:gd name="connsiteX4723" fmla="*/ 1234998 w 1659478"/>
                    <a:gd name="connsiteY4723" fmla="*/ 454377 h 1461099"/>
                    <a:gd name="connsiteX4724" fmla="*/ 1235107 w 1659478"/>
                    <a:gd name="connsiteY4724" fmla="*/ 453745 h 1461099"/>
                    <a:gd name="connsiteX4725" fmla="*/ 1235471 w 1659478"/>
                    <a:gd name="connsiteY4725" fmla="*/ 451644 h 1461099"/>
                    <a:gd name="connsiteX4726" fmla="*/ 1237924 w 1659478"/>
                    <a:gd name="connsiteY4726" fmla="*/ 449519 h 1461099"/>
                    <a:gd name="connsiteX4727" fmla="*/ 1238349 w 1659478"/>
                    <a:gd name="connsiteY4727" fmla="*/ 449155 h 1461099"/>
                    <a:gd name="connsiteX4728" fmla="*/ 1238701 w 1659478"/>
                    <a:gd name="connsiteY4728" fmla="*/ 448718 h 1461099"/>
                    <a:gd name="connsiteX4729" fmla="*/ 1241506 w 1659478"/>
                    <a:gd name="connsiteY4729" fmla="*/ 445221 h 1461099"/>
                    <a:gd name="connsiteX4730" fmla="*/ 1242016 w 1659478"/>
                    <a:gd name="connsiteY4730" fmla="*/ 444589 h 1461099"/>
                    <a:gd name="connsiteX4731" fmla="*/ 1242344 w 1659478"/>
                    <a:gd name="connsiteY4731" fmla="*/ 443837 h 1461099"/>
                    <a:gd name="connsiteX4732" fmla="*/ 1243158 w 1659478"/>
                    <a:gd name="connsiteY4732" fmla="*/ 441954 h 1461099"/>
                    <a:gd name="connsiteX4733" fmla="*/ 1243765 w 1659478"/>
                    <a:gd name="connsiteY4733" fmla="*/ 440546 h 1461099"/>
                    <a:gd name="connsiteX4734" fmla="*/ 1243631 w 1659478"/>
                    <a:gd name="connsiteY4734" fmla="*/ 439016 h 1461099"/>
                    <a:gd name="connsiteX4735" fmla="*/ 1243449 w 1659478"/>
                    <a:gd name="connsiteY4735" fmla="*/ 437012 h 1461099"/>
                    <a:gd name="connsiteX4736" fmla="*/ 1243243 w 1659478"/>
                    <a:gd name="connsiteY4736" fmla="*/ 434705 h 1461099"/>
                    <a:gd name="connsiteX4737" fmla="*/ 1241555 w 1659478"/>
                    <a:gd name="connsiteY4737" fmla="*/ 433126 h 1461099"/>
                    <a:gd name="connsiteX4738" fmla="*/ 1240183 w 1659478"/>
                    <a:gd name="connsiteY4738" fmla="*/ 431839 h 1461099"/>
                    <a:gd name="connsiteX4739" fmla="*/ 1239053 w 1659478"/>
                    <a:gd name="connsiteY4739" fmla="*/ 430795 h 1461099"/>
                    <a:gd name="connsiteX4740" fmla="*/ 1237572 w 1659478"/>
                    <a:gd name="connsiteY4740" fmla="*/ 430406 h 1461099"/>
                    <a:gd name="connsiteX4741" fmla="*/ 1237244 w 1659478"/>
                    <a:gd name="connsiteY4741" fmla="*/ 430321 h 1461099"/>
                    <a:gd name="connsiteX4742" fmla="*/ 1237463 w 1659478"/>
                    <a:gd name="connsiteY4742" fmla="*/ 430127 h 1461099"/>
                    <a:gd name="connsiteX4743" fmla="*/ 1238179 w 1659478"/>
                    <a:gd name="connsiteY4743" fmla="*/ 429484 h 1461099"/>
                    <a:gd name="connsiteX4744" fmla="*/ 1238495 w 1659478"/>
                    <a:gd name="connsiteY4744" fmla="*/ 428937 h 1461099"/>
                    <a:gd name="connsiteX4745" fmla="*/ 1239855 w 1659478"/>
                    <a:gd name="connsiteY4745" fmla="*/ 430066 h 1461099"/>
                    <a:gd name="connsiteX4746" fmla="*/ 1240632 w 1659478"/>
                    <a:gd name="connsiteY4746" fmla="*/ 430710 h 1461099"/>
                    <a:gd name="connsiteX4747" fmla="*/ 1241579 w 1659478"/>
                    <a:gd name="connsiteY4747" fmla="*/ 431062 h 1461099"/>
                    <a:gd name="connsiteX4748" fmla="*/ 1243486 w 1659478"/>
                    <a:gd name="connsiteY4748" fmla="*/ 431778 h 1461099"/>
                    <a:gd name="connsiteX4749" fmla="*/ 1246716 w 1659478"/>
                    <a:gd name="connsiteY4749" fmla="*/ 432993 h 1461099"/>
                    <a:gd name="connsiteX4750" fmla="*/ 1249411 w 1659478"/>
                    <a:gd name="connsiteY4750" fmla="*/ 430844 h 1461099"/>
                    <a:gd name="connsiteX4751" fmla="*/ 1250662 w 1659478"/>
                    <a:gd name="connsiteY4751" fmla="*/ 429848 h 1461099"/>
                    <a:gd name="connsiteX4752" fmla="*/ 1252714 w 1659478"/>
                    <a:gd name="connsiteY4752" fmla="*/ 428209 h 1461099"/>
                    <a:gd name="connsiteX4753" fmla="*/ 1252933 w 1659478"/>
                    <a:gd name="connsiteY4753" fmla="*/ 425598 h 1461099"/>
                    <a:gd name="connsiteX4754" fmla="*/ 1253115 w 1659478"/>
                    <a:gd name="connsiteY4754" fmla="*/ 423351 h 1461099"/>
                    <a:gd name="connsiteX4755" fmla="*/ 1253248 w 1659478"/>
                    <a:gd name="connsiteY4755" fmla="*/ 421736 h 1461099"/>
                    <a:gd name="connsiteX4756" fmla="*/ 1252556 w 1659478"/>
                    <a:gd name="connsiteY4756" fmla="*/ 420267 h 1461099"/>
                    <a:gd name="connsiteX4757" fmla="*/ 1250541 w 1659478"/>
                    <a:gd name="connsiteY4757" fmla="*/ 415993 h 1461099"/>
                    <a:gd name="connsiteX4758" fmla="*/ 1250371 w 1659478"/>
                    <a:gd name="connsiteY4758" fmla="*/ 415629 h 1461099"/>
                    <a:gd name="connsiteX4759" fmla="*/ 1250140 w 1659478"/>
                    <a:gd name="connsiteY4759" fmla="*/ 415289 h 1461099"/>
                    <a:gd name="connsiteX4760" fmla="*/ 1248816 w 1659478"/>
                    <a:gd name="connsiteY4760" fmla="*/ 413248 h 1461099"/>
                    <a:gd name="connsiteX4761" fmla="*/ 1248488 w 1659478"/>
                    <a:gd name="connsiteY4761" fmla="*/ 412738 h 1461099"/>
                    <a:gd name="connsiteX4762" fmla="*/ 1248051 w 1659478"/>
                    <a:gd name="connsiteY4762" fmla="*/ 412301 h 1461099"/>
                    <a:gd name="connsiteX4763" fmla="*/ 1246048 w 1659478"/>
                    <a:gd name="connsiteY4763" fmla="*/ 410261 h 1461099"/>
                    <a:gd name="connsiteX4764" fmla="*/ 1246036 w 1659478"/>
                    <a:gd name="connsiteY4764" fmla="*/ 410249 h 1461099"/>
                    <a:gd name="connsiteX4765" fmla="*/ 1244785 w 1659478"/>
                    <a:gd name="connsiteY4765" fmla="*/ 407031 h 1461099"/>
                    <a:gd name="connsiteX4766" fmla="*/ 1244603 w 1659478"/>
                    <a:gd name="connsiteY4766" fmla="*/ 406546 h 1461099"/>
                    <a:gd name="connsiteX4767" fmla="*/ 1244336 w 1659478"/>
                    <a:gd name="connsiteY4767" fmla="*/ 406096 h 1461099"/>
                    <a:gd name="connsiteX4768" fmla="*/ 1241858 w 1659478"/>
                    <a:gd name="connsiteY4768" fmla="*/ 401956 h 1461099"/>
                    <a:gd name="connsiteX4769" fmla="*/ 1241664 w 1659478"/>
                    <a:gd name="connsiteY4769" fmla="*/ 401640 h 1461099"/>
                    <a:gd name="connsiteX4770" fmla="*/ 1241433 w 1659478"/>
                    <a:gd name="connsiteY4770" fmla="*/ 401348 h 1461099"/>
                    <a:gd name="connsiteX4771" fmla="*/ 1228635 w 1659478"/>
                    <a:gd name="connsiteY4771" fmla="*/ 384846 h 1461099"/>
                    <a:gd name="connsiteX4772" fmla="*/ 1228380 w 1659478"/>
                    <a:gd name="connsiteY4772" fmla="*/ 384518 h 1461099"/>
                    <a:gd name="connsiteX4773" fmla="*/ 1228076 w 1659478"/>
                    <a:gd name="connsiteY4773" fmla="*/ 384227 h 1461099"/>
                    <a:gd name="connsiteX4774" fmla="*/ 1219467 w 1659478"/>
                    <a:gd name="connsiteY4774" fmla="*/ 375848 h 1461099"/>
                    <a:gd name="connsiteX4775" fmla="*/ 1214488 w 1659478"/>
                    <a:gd name="connsiteY4775" fmla="*/ 371647 h 1461099"/>
                    <a:gd name="connsiteX4776" fmla="*/ 1213590 w 1659478"/>
                    <a:gd name="connsiteY4776" fmla="*/ 370882 h 1461099"/>
                    <a:gd name="connsiteX4777" fmla="*/ 1212472 w 1659478"/>
                    <a:gd name="connsiteY4777" fmla="*/ 370517 h 1461099"/>
                    <a:gd name="connsiteX4778" fmla="*/ 1209947 w 1659478"/>
                    <a:gd name="connsiteY4778" fmla="*/ 369704 h 1461099"/>
                    <a:gd name="connsiteX4779" fmla="*/ 1207032 w 1659478"/>
                    <a:gd name="connsiteY4779" fmla="*/ 369024 h 1461099"/>
                    <a:gd name="connsiteX4780" fmla="*/ 1203632 w 1659478"/>
                    <a:gd name="connsiteY4780" fmla="*/ 367761 h 1461099"/>
                    <a:gd name="connsiteX4781" fmla="*/ 1201374 w 1659478"/>
                    <a:gd name="connsiteY4781" fmla="*/ 366000 h 1461099"/>
                    <a:gd name="connsiteX4782" fmla="*/ 1200232 w 1659478"/>
                    <a:gd name="connsiteY4782" fmla="*/ 365114 h 1461099"/>
                    <a:gd name="connsiteX4783" fmla="*/ 1198824 w 1659478"/>
                    <a:gd name="connsiteY4783" fmla="*/ 364834 h 1461099"/>
                    <a:gd name="connsiteX4784" fmla="*/ 1196650 w 1659478"/>
                    <a:gd name="connsiteY4784" fmla="*/ 364410 h 1461099"/>
                    <a:gd name="connsiteX4785" fmla="*/ 1196067 w 1659478"/>
                    <a:gd name="connsiteY4785" fmla="*/ 364300 h 1461099"/>
                    <a:gd name="connsiteX4786" fmla="*/ 1195618 w 1659478"/>
                    <a:gd name="connsiteY4786" fmla="*/ 364300 h 1461099"/>
                    <a:gd name="connsiteX4787" fmla="*/ 1195436 w 1659478"/>
                    <a:gd name="connsiteY4787" fmla="*/ 363244 h 1461099"/>
                    <a:gd name="connsiteX4788" fmla="*/ 1195205 w 1659478"/>
                    <a:gd name="connsiteY4788" fmla="*/ 361872 h 1461099"/>
                    <a:gd name="connsiteX4789" fmla="*/ 1194877 w 1659478"/>
                    <a:gd name="connsiteY4789" fmla="*/ 359905 h 1461099"/>
                    <a:gd name="connsiteX4790" fmla="*/ 1193444 w 1659478"/>
                    <a:gd name="connsiteY4790" fmla="*/ 358520 h 1461099"/>
                    <a:gd name="connsiteX4791" fmla="*/ 1191599 w 1659478"/>
                    <a:gd name="connsiteY4791" fmla="*/ 356735 h 1461099"/>
                    <a:gd name="connsiteX4792" fmla="*/ 1190907 w 1659478"/>
                    <a:gd name="connsiteY4792" fmla="*/ 356067 h 1461099"/>
                    <a:gd name="connsiteX4793" fmla="*/ 1190057 w 1659478"/>
                    <a:gd name="connsiteY4793" fmla="*/ 355642 h 1461099"/>
                    <a:gd name="connsiteX4794" fmla="*/ 1186912 w 1659478"/>
                    <a:gd name="connsiteY4794" fmla="*/ 354100 h 1461099"/>
                    <a:gd name="connsiteX4795" fmla="*/ 1179687 w 1659478"/>
                    <a:gd name="connsiteY4795" fmla="*/ 348345 h 1461099"/>
                    <a:gd name="connsiteX4796" fmla="*/ 1175315 w 1659478"/>
                    <a:gd name="connsiteY4796" fmla="*/ 342042 h 1461099"/>
                    <a:gd name="connsiteX4797" fmla="*/ 1174926 w 1659478"/>
                    <a:gd name="connsiteY4797" fmla="*/ 341471 h 1461099"/>
                    <a:gd name="connsiteX4798" fmla="*/ 1174416 w 1659478"/>
                    <a:gd name="connsiteY4798" fmla="*/ 341010 h 1461099"/>
                    <a:gd name="connsiteX4799" fmla="*/ 1172352 w 1659478"/>
                    <a:gd name="connsiteY4799" fmla="*/ 339140 h 1461099"/>
                    <a:gd name="connsiteX4800" fmla="*/ 1171988 w 1659478"/>
                    <a:gd name="connsiteY4800" fmla="*/ 338800 h 1461099"/>
                    <a:gd name="connsiteX4801" fmla="*/ 1171563 w 1659478"/>
                    <a:gd name="connsiteY4801" fmla="*/ 338533 h 1461099"/>
                    <a:gd name="connsiteX4802" fmla="*/ 1171369 w 1659478"/>
                    <a:gd name="connsiteY4802" fmla="*/ 338399 h 1461099"/>
                    <a:gd name="connsiteX4803" fmla="*/ 1170555 w 1659478"/>
                    <a:gd name="connsiteY4803" fmla="*/ 337464 h 1461099"/>
                    <a:gd name="connsiteX4804" fmla="*/ 1166208 w 1659478"/>
                    <a:gd name="connsiteY4804" fmla="*/ 331296 h 1461099"/>
                    <a:gd name="connsiteX4805" fmla="*/ 1165965 w 1659478"/>
                    <a:gd name="connsiteY4805" fmla="*/ 330968 h 1461099"/>
                    <a:gd name="connsiteX4806" fmla="*/ 1165686 w 1659478"/>
                    <a:gd name="connsiteY4806" fmla="*/ 330677 h 1461099"/>
                    <a:gd name="connsiteX4807" fmla="*/ 1163379 w 1659478"/>
                    <a:gd name="connsiteY4807" fmla="*/ 328211 h 1461099"/>
                    <a:gd name="connsiteX4808" fmla="*/ 1160768 w 1659478"/>
                    <a:gd name="connsiteY4808" fmla="*/ 324581 h 1461099"/>
                    <a:gd name="connsiteX4809" fmla="*/ 1158655 w 1659478"/>
                    <a:gd name="connsiteY4809" fmla="*/ 320221 h 1461099"/>
                    <a:gd name="connsiteX4810" fmla="*/ 1153166 w 1659478"/>
                    <a:gd name="connsiteY4810" fmla="*/ 303136 h 1461099"/>
                    <a:gd name="connsiteX4811" fmla="*/ 1153045 w 1659478"/>
                    <a:gd name="connsiteY4811" fmla="*/ 302735 h 1461099"/>
                    <a:gd name="connsiteX4812" fmla="*/ 1152863 w 1659478"/>
                    <a:gd name="connsiteY4812" fmla="*/ 302359 h 1461099"/>
                    <a:gd name="connsiteX4813" fmla="*/ 1149353 w 1659478"/>
                    <a:gd name="connsiteY4813" fmla="*/ 295025 h 1461099"/>
                    <a:gd name="connsiteX4814" fmla="*/ 1149111 w 1659478"/>
                    <a:gd name="connsiteY4814" fmla="*/ 294150 h 1461099"/>
                    <a:gd name="connsiteX4815" fmla="*/ 1149293 w 1659478"/>
                    <a:gd name="connsiteY4815" fmla="*/ 292026 h 1461099"/>
                    <a:gd name="connsiteX4816" fmla="*/ 1149366 w 1659478"/>
                    <a:gd name="connsiteY4816" fmla="*/ 291224 h 1461099"/>
                    <a:gd name="connsiteX4817" fmla="*/ 1149220 w 1659478"/>
                    <a:gd name="connsiteY4817" fmla="*/ 290435 h 1461099"/>
                    <a:gd name="connsiteX4818" fmla="*/ 1148698 w 1659478"/>
                    <a:gd name="connsiteY4818" fmla="*/ 287533 h 1461099"/>
                    <a:gd name="connsiteX4819" fmla="*/ 1148491 w 1659478"/>
                    <a:gd name="connsiteY4819" fmla="*/ 286367 h 1461099"/>
                    <a:gd name="connsiteX4820" fmla="*/ 1147860 w 1659478"/>
                    <a:gd name="connsiteY4820" fmla="*/ 285371 h 1461099"/>
                    <a:gd name="connsiteX4821" fmla="*/ 1144897 w 1659478"/>
                    <a:gd name="connsiteY4821" fmla="*/ 280660 h 1461099"/>
                    <a:gd name="connsiteX4822" fmla="*/ 1144059 w 1659478"/>
                    <a:gd name="connsiteY4822" fmla="*/ 277940 h 1461099"/>
                    <a:gd name="connsiteX4823" fmla="*/ 1142505 w 1659478"/>
                    <a:gd name="connsiteY4823" fmla="*/ 272196 h 1461099"/>
                    <a:gd name="connsiteX4824" fmla="*/ 1141946 w 1659478"/>
                    <a:gd name="connsiteY4824" fmla="*/ 270399 h 1461099"/>
                    <a:gd name="connsiteX4825" fmla="*/ 1142699 w 1659478"/>
                    <a:gd name="connsiteY4825" fmla="*/ 269925 h 1461099"/>
                    <a:gd name="connsiteX4826" fmla="*/ 1142966 w 1659478"/>
                    <a:gd name="connsiteY4826" fmla="*/ 269755 h 1461099"/>
                    <a:gd name="connsiteX4827" fmla="*/ 1143221 w 1659478"/>
                    <a:gd name="connsiteY4827" fmla="*/ 269561 h 1461099"/>
                    <a:gd name="connsiteX4828" fmla="*/ 1144824 w 1659478"/>
                    <a:gd name="connsiteY4828" fmla="*/ 268298 h 1461099"/>
                    <a:gd name="connsiteX4829" fmla="*/ 1145953 w 1659478"/>
                    <a:gd name="connsiteY4829" fmla="*/ 267412 h 1461099"/>
                    <a:gd name="connsiteX4830" fmla="*/ 1146561 w 1659478"/>
                    <a:gd name="connsiteY4830" fmla="*/ 266113 h 1461099"/>
                    <a:gd name="connsiteX4831" fmla="*/ 1147435 w 1659478"/>
                    <a:gd name="connsiteY4831" fmla="*/ 264267 h 1461099"/>
                    <a:gd name="connsiteX4832" fmla="*/ 1147957 w 1659478"/>
                    <a:gd name="connsiteY4832" fmla="*/ 263162 h 1461099"/>
                    <a:gd name="connsiteX4833" fmla="*/ 1148006 w 1659478"/>
                    <a:gd name="connsiteY4833" fmla="*/ 261935 h 1461099"/>
                    <a:gd name="connsiteX4834" fmla="*/ 1148103 w 1659478"/>
                    <a:gd name="connsiteY4834" fmla="*/ 259616 h 1461099"/>
                    <a:gd name="connsiteX4835" fmla="*/ 1148139 w 1659478"/>
                    <a:gd name="connsiteY4835" fmla="*/ 258802 h 1461099"/>
                    <a:gd name="connsiteX4836" fmla="*/ 1147957 w 1659478"/>
                    <a:gd name="connsiteY4836" fmla="*/ 258001 h 1461099"/>
                    <a:gd name="connsiteX4837" fmla="*/ 1147447 w 1659478"/>
                    <a:gd name="connsiteY4837" fmla="*/ 255767 h 1461099"/>
                    <a:gd name="connsiteX4838" fmla="*/ 1147313 w 1659478"/>
                    <a:gd name="connsiteY4838" fmla="*/ 255184 h 1461099"/>
                    <a:gd name="connsiteX4839" fmla="*/ 1147071 w 1659478"/>
                    <a:gd name="connsiteY4839" fmla="*/ 254637 h 1461099"/>
                    <a:gd name="connsiteX4840" fmla="*/ 1146378 w 1659478"/>
                    <a:gd name="connsiteY4840" fmla="*/ 253095 h 1461099"/>
                    <a:gd name="connsiteX4841" fmla="*/ 1145893 w 1659478"/>
                    <a:gd name="connsiteY4841" fmla="*/ 252002 h 1461099"/>
                    <a:gd name="connsiteX4842" fmla="*/ 1145018 w 1659478"/>
                    <a:gd name="connsiteY4842" fmla="*/ 251177 h 1461099"/>
                    <a:gd name="connsiteX4843" fmla="*/ 1144156 w 1659478"/>
                    <a:gd name="connsiteY4843" fmla="*/ 250351 h 1461099"/>
                    <a:gd name="connsiteX4844" fmla="*/ 1143513 w 1659478"/>
                    <a:gd name="connsiteY4844" fmla="*/ 249744 h 1461099"/>
                    <a:gd name="connsiteX4845" fmla="*/ 1142735 w 1659478"/>
                    <a:gd name="connsiteY4845" fmla="*/ 249343 h 1461099"/>
                    <a:gd name="connsiteX4846" fmla="*/ 1141351 w 1659478"/>
                    <a:gd name="connsiteY4846" fmla="*/ 248639 h 1461099"/>
                    <a:gd name="connsiteX4847" fmla="*/ 1140999 w 1659478"/>
                    <a:gd name="connsiteY4847" fmla="*/ 248457 h 1461099"/>
                    <a:gd name="connsiteX4848" fmla="*/ 1140623 w 1659478"/>
                    <a:gd name="connsiteY4848" fmla="*/ 248323 h 1461099"/>
                    <a:gd name="connsiteX4849" fmla="*/ 1133555 w 1659478"/>
                    <a:gd name="connsiteY4849" fmla="*/ 245822 h 1461099"/>
                    <a:gd name="connsiteX4850" fmla="*/ 1133543 w 1659478"/>
                    <a:gd name="connsiteY4850" fmla="*/ 245810 h 1461099"/>
                    <a:gd name="connsiteX4851" fmla="*/ 1128820 w 1659478"/>
                    <a:gd name="connsiteY4851" fmla="*/ 238548 h 1461099"/>
                    <a:gd name="connsiteX4852" fmla="*/ 1128650 w 1659478"/>
                    <a:gd name="connsiteY4852" fmla="*/ 238281 h 1461099"/>
                    <a:gd name="connsiteX4853" fmla="*/ 1128455 w 1659478"/>
                    <a:gd name="connsiteY4853" fmla="*/ 238026 h 1461099"/>
                    <a:gd name="connsiteX4854" fmla="*/ 1125225 w 1659478"/>
                    <a:gd name="connsiteY4854" fmla="*/ 234055 h 1461099"/>
                    <a:gd name="connsiteX4855" fmla="*/ 1124278 w 1659478"/>
                    <a:gd name="connsiteY4855" fmla="*/ 232574 h 1461099"/>
                    <a:gd name="connsiteX4856" fmla="*/ 1123878 w 1659478"/>
                    <a:gd name="connsiteY4856" fmla="*/ 231675 h 1461099"/>
                    <a:gd name="connsiteX4857" fmla="*/ 1123829 w 1659478"/>
                    <a:gd name="connsiteY4857" fmla="*/ 231165 h 1461099"/>
                    <a:gd name="connsiteX4858" fmla="*/ 1123853 w 1659478"/>
                    <a:gd name="connsiteY4858" fmla="*/ 230534 h 1461099"/>
                    <a:gd name="connsiteX4859" fmla="*/ 1124060 w 1659478"/>
                    <a:gd name="connsiteY4859" fmla="*/ 229817 h 1461099"/>
                    <a:gd name="connsiteX4860" fmla="*/ 1124424 w 1659478"/>
                    <a:gd name="connsiteY4860" fmla="*/ 228542 h 1461099"/>
                    <a:gd name="connsiteX4861" fmla="*/ 1124218 w 1659478"/>
                    <a:gd name="connsiteY4861" fmla="*/ 227231 h 1461099"/>
                    <a:gd name="connsiteX4862" fmla="*/ 1124035 w 1659478"/>
                    <a:gd name="connsiteY4862" fmla="*/ 226077 h 1461099"/>
                    <a:gd name="connsiteX4863" fmla="*/ 1123902 w 1659478"/>
                    <a:gd name="connsiteY4863" fmla="*/ 225215 h 1461099"/>
                    <a:gd name="connsiteX4864" fmla="*/ 1123525 w 1659478"/>
                    <a:gd name="connsiteY4864" fmla="*/ 224414 h 1461099"/>
                    <a:gd name="connsiteX4865" fmla="*/ 1122894 w 1659478"/>
                    <a:gd name="connsiteY4865" fmla="*/ 223066 h 1461099"/>
                    <a:gd name="connsiteX4866" fmla="*/ 1122615 w 1659478"/>
                    <a:gd name="connsiteY4866" fmla="*/ 222459 h 1461099"/>
                    <a:gd name="connsiteX4867" fmla="*/ 1122457 w 1659478"/>
                    <a:gd name="connsiteY4867" fmla="*/ 222252 h 1461099"/>
                    <a:gd name="connsiteX4868" fmla="*/ 1122700 w 1659478"/>
                    <a:gd name="connsiteY4868" fmla="*/ 222143 h 1461099"/>
                    <a:gd name="connsiteX4869" fmla="*/ 1124218 w 1659478"/>
                    <a:gd name="connsiteY4869" fmla="*/ 221499 h 1461099"/>
                    <a:gd name="connsiteX4870" fmla="*/ 1125201 w 1659478"/>
                    <a:gd name="connsiteY4870" fmla="*/ 220176 h 1461099"/>
                    <a:gd name="connsiteX4871" fmla="*/ 1125650 w 1659478"/>
                    <a:gd name="connsiteY4871" fmla="*/ 219569 h 1461099"/>
                    <a:gd name="connsiteX4872" fmla="*/ 1126306 w 1659478"/>
                    <a:gd name="connsiteY4872" fmla="*/ 218694 h 1461099"/>
                    <a:gd name="connsiteX4873" fmla="*/ 1126610 w 1659478"/>
                    <a:gd name="connsiteY4873" fmla="*/ 217650 h 1461099"/>
                    <a:gd name="connsiteX4874" fmla="*/ 1126913 w 1659478"/>
                    <a:gd name="connsiteY4874" fmla="*/ 216618 h 1461099"/>
                    <a:gd name="connsiteX4875" fmla="*/ 1127120 w 1659478"/>
                    <a:gd name="connsiteY4875" fmla="*/ 215926 h 1461099"/>
                    <a:gd name="connsiteX4876" fmla="*/ 1127156 w 1659478"/>
                    <a:gd name="connsiteY4876" fmla="*/ 215209 h 1461099"/>
                    <a:gd name="connsiteX4877" fmla="*/ 1127217 w 1659478"/>
                    <a:gd name="connsiteY4877" fmla="*/ 214031 h 1461099"/>
                    <a:gd name="connsiteX4878" fmla="*/ 1127241 w 1659478"/>
                    <a:gd name="connsiteY4878" fmla="*/ 213436 h 1461099"/>
                    <a:gd name="connsiteX4879" fmla="*/ 1127156 w 1659478"/>
                    <a:gd name="connsiteY4879" fmla="*/ 212841 h 1461099"/>
                    <a:gd name="connsiteX4880" fmla="*/ 1126974 w 1659478"/>
                    <a:gd name="connsiteY4880" fmla="*/ 211579 h 1461099"/>
                    <a:gd name="connsiteX4881" fmla="*/ 1126901 w 1659478"/>
                    <a:gd name="connsiteY4881" fmla="*/ 211081 h 1461099"/>
                    <a:gd name="connsiteX4882" fmla="*/ 1126743 w 1659478"/>
                    <a:gd name="connsiteY4882" fmla="*/ 210595 h 1461099"/>
                    <a:gd name="connsiteX4883" fmla="*/ 1126343 w 1659478"/>
                    <a:gd name="connsiteY4883" fmla="*/ 209356 h 1461099"/>
                    <a:gd name="connsiteX4884" fmla="*/ 1126148 w 1659478"/>
                    <a:gd name="connsiteY4884" fmla="*/ 208774 h 1461099"/>
                    <a:gd name="connsiteX4885" fmla="*/ 1125845 w 1659478"/>
                    <a:gd name="connsiteY4885" fmla="*/ 208239 h 1461099"/>
                    <a:gd name="connsiteX4886" fmla="*/ 1124048 w 1659478"/>
                    <a:gd name="connsiteY4886" fmla="*/ 205046 h 1461099"/>
                    <a:gd name="connsiteX4887" fmla="*/ 1123635 w 1659478"/>
                    <a:gd name="connsiteY4887" fmla="*/ 202301 h 1461099"/>
                    <a:gd name="connsiteX4888" fmla="*/ 1123453 w 1659478"/>
                    <a:gd name="connsiteY4888" fmla="*/ 201063 h 1461099"/>
                    <a:gd name="connsiteX4889" fmla="*/ 1122785 w 1659478"/>
                    <a:gd name="connsiteY4889" fmla="*/ 199994 h 1461099"/>
                    <a:gd name="connsiteX4890" fmla="*/ 1122153 w 1659478"/>
                    <a:gd name="connsiteY4890" fmla="*/ 198986 h 1461099"/>
                    <a:gd name="connsiteX4891" fmla="*/ 1120623 w 1659478"/>
                    <a:gd name="connsiteY4891" fmla="*/ 196533 h 1461099"/>
                    <a:gd name="connsiteX4892" fmla="*/ 1117757 w 1659478"/>
                    <a:gd name="connsiteY4892" fmla="*/ 196181 h 1461099"/>
                    <a:gd name="connsiteX4893" fmla="*/ 1116434 w 1659478"/>
                    <a:gd name="connsiteY4893" fmla="*/ 196011 h 1461099"/>
                    <a:gd name="connsiteX4894" fmla="*/ 1114843 w 1659478"/>
                    <a:gd name="connsiteY4894" fmla="*/ 195805 h 1461099"/>
                    <a:gd name="connsiteX4895" fmla="*/ 1113350 w 1659478"/>
                    <a:gd name="connsiteY4895" fmla="*/ 196424 h 1461099"/>
                    <a:gd name="connsiteX4896" fmla="*/ 1112317 w 1659478"/>
                    <a:gd name="connsiteY4896" fmla="*/ 196861 h 1461099"/>
                    <a:gd name="connsiteX4897" fmla="*/ 1112378 w 1659478"/>
                    <a:gd name="connsiteY4897" fmla="*/ 196084 h 1461099"/>
                    <a:gd name="connsiteX4898" fmla="*/ 1112487 w 1659478"/>
                    <a:gd name="connsiteY4898" fmla="*/ 194724 h 1461099"/>
                    <a:gd name="connsiteX4899" fmla="*/ 1111990 w 1659478"/>
                    <a:gd name="connsiteY4899" fmla="*/ 193449 h 1461099"/>
                    <a:gd name="connsiteX4900" fmla="*/ 1111480 w 1659478"/>
                    <a:gd name="connsiteY4900" fmla="*/ 192126 h 1461099"/>
                    <a:gd name="connsiteX4901" fmla="*/ 1110678 w 1659478"/>
                    <a:gd name="connsiteY4901" fmla="*/ 190049 h 1461099"/>
                    <a:gd name="connsiteX4902" fmla="*/ 1108711 w 1659478"/>
                    <a:gd name="connsiteY4902" fmla="*/ 188980 h 1461099"/>
                    <a:gd name="connsiteX4903" fmla="*/ 1107618 w 1659478"/>
                    <a:gd name="connsiteY4903" fmla="*/ 188386 h 1461099"/>
                    <a:gd name="connsiteX4904" fmla="*/ 1106161 w 1659478"/>
                    <a:gd name="connsiteY4904" fmla="*/ 187596 h 1461099"/>
                    <a:gd name="connsiteX4905" fmla="*/ 1104497 w 1659478"/>
                    <a:gd name="connsiteY4905" fmla="*/ 187657 h 1461099"/>
                    <a:gd name="connsiteX4906" fmla="*/ 1102834 w 1659478"/>
                    <a:gd name="connsiteY4906" fmla="*/ 187718 h 1461099"/>
                    <a:gd name="connsiteX4907" fmla="*/ 1101535 w 1659478"/>
                    <a:gd name="connsiteY4907" fmla="*/ 187766 h 1461099"/>
                    <a:gd name="connsiteX4908" fmla="*/ 1100357 w 1659478"/>
                    <a:gd name="connsiteY4908" fmla="*/ 188337 h 1461099"/>
                    <a:gd name="connsiteX4909" fmla="*/ 1093459 w 1659478"/>
                    <a:gd name="connsiteY4909" fmla="*/ 191749 h 1461099"/>
                    <a:gd name="connsiteX4910" fmla="*/ 1092561 w 1659478"/>
                    <a:gd name="connsiteY4910" fmla="*/ 192198 h 1461099"/>
                    <a:gd name="connsiteX4911" fmla="*/ 1091857 w 1659478"/>
                    <a:gd name="connsiteY4911" fmla="*/ 192903 h 1461099"/>
                    <a:gd name="connsiteX4912" fmla="*/ 1091116 w 1659478"/>
                    <a:gd name="connsiteY4912" fmla="*/ 193643 h 1461099"/>
                    <a:gd name="connsiteX4913" fmla="*/ 1090290 w 1659478"/>
                    <a:gd name="connsiteY4913" fmla="*/ 194469 h 1461099"/>
                    <a:gd name="connsiteX4914" fmla="*/ 1089829 w 1659478"/>
                    <a:gd name="connsiteY4914" fmla="*/ 195550 h 1461099"/>
                    <a:gd name="connsiteX4915" fmla="*/ 1089416 w 1659478"/>
                    <a:gd name="connsiteY4915" fmla="*/ 196509 h 1461099"/>
                    <a:gd name="connsiteX4916" fmla="*/ 1089379 w 1659478"/>
                    <a:gd name="connsiteY4916" fmla="*/ 196594 h 1461099"/>
                    <a:gd name="connsiteX4917" fmla="*/ 1086659 w 1659478"/>
                    <a:gd name="connsiteY4917" fmla="*/ 197068 h 1461099"/>
                    <a:gd name="connsiteX4918" fmla="*/ 1086404 w 1659478"/>
                    <a:gd name="connsiteY4918" fmla="*/ 197056 h 1461099"/>
                    <a:gd name="connsiteX4919" fmla="*/ 1085008 w 1659478"/>
                    <a:gd name="connsiteY4919" fmla="*/ 196096 h 1461099"/>
                    <a:gd name="connsiteX4920" fmla="*/ 1083867 w 1659478"/>
                    <a:gd name="connsiteY4920" fmla="*/ 195088 h 1461099"/>
                    <a:gd name="connsiteX4921" fmla="*/ 1083041 w 1659478"/>
                    <a:gd name="connsiteY4921" fmla="*/ 194360 h 1461099"/>
                    <a:gd name="connsiteX4922" fmla="*/ 1082009 w 1659478"/>
                    <a:gd name="connsiteY4922" fmla="*/ 193959 h 1461099"/>
                    <a:gd name="connsiteX4923" fmla="*/ 1080454 w 1659478"/>
                    <a:gd name="connsiteY4923" fmla="*/ 193364 h 1461099"/>
                    <a:gd name="connsiteX4924" fmla="*/ 1079009 w 1659478"/>
                    <a:gd name="connsiteY4924" fmla="*/ 192818 h 1461099"/>
                    <a:gd name="connsiteX4925" fmla="*/ 1077479 w 1659478"/>
                    <a:gd name="connsiteY4925" fmla="*/ 193024 h 1461099"/>
                    <a:gd name="connsiteX4926" fmla="*/ 1076047 w 1659478"/>
                    <a:gd name="connsiteY4926" fmla="*/ 193218 h 1461099"/>
                    <a:gd name="connsiteX4927" fmla="*/ 1073994 w 1659478"/>
                    <a:gd name="connsiteY4927" fmla="*/ 193498 h 1461099"/>
                    <a:gd name="connsiteX4928" fmla="*/ 1072537 w 1659478"/>
                    <a:gd name="connsiteY4928" fmla="*/ 194967 h 1461099"/>
                    <a:gd name="connsiteX4929" fmla="*/ 1070157 w 1659478"/>
                    <a:gd name="connsiteY4929" fmla="*/ 197371 h 1461099"/>
                    <a:gd name="connsiteX4930" fmla="*/ 1069999 w 1659478"/>
                    <a:gd name="connsiteY4930" fmla="*/ 197481 h 1461099"/>
                    <a:gd name="connsiteX4931" fmla="*/ 1067595 w 1659478"/>
                    <a:gd name="connsiteY4931" fmla="*/ 197881 h 1461099"/>
                    <a:gd name="connsiteX4932" fmla="*/ 1067012 w 1659478"/>
                    <a:gd name="connsiteY4932" fmla="*/ 197978 h 1461099"/>
                    <a:gd name="connsiteX4933" fmla="*/ 1066466 w 1659478"/>
                    <a:gd name="connsiteY4933" fmla="*/ 198185 h 1461099"/>
                    <a:gd name="connsiteX4934" fmla="*/ 1064851 w 1659478"/>
                    <a:gd name="connsiteY4934" fmla="*/ 198792 h 1461099"/>
                    <a:gd name="connsiteX4935" fmla="*/ 1064304 w 1659478"/>
                    <a:gd name="connsiteY4935" fmla="*/ 198998 h 1461099"/>
                    <a:gd name="connsiteX4936" fmla="*/ 1063794 w 1659478"/>
                    <a:gd name="connsiteY4936" fmla="*/ 199314 h 1461099"/>
                    <a:gd name="connsiteX4937" fmla="*/ 1061876 w 1659478"/>
                    <a:gd name="connsiteY4937" fmla="*/ 200504 h 1461099"/>
                    <a:gd name="connsiteX4938" fmla="*/ 1061645 w 1659478"/>
                    <a:gd name="connsiteY4938" fmla="*/ 200553 h 1461099"/>
                    <a:gd name="connsiteX4939" fmla="*/ 1061354 w 1659478"/>
                    <a:gd name="connsiteY4939" fmla="*/ 200577 h 1461099"/>
                    <a:gd name="connsiteX4940" fmla="*/ 1060212 w 1659478"/>
                    <a:gd name="connsiteY4940" fmla="*/ 197736 h 1461099"/>
                    <a:gd name="connsiteX4941" fmla="*/ 1060066 w 1659478"/>
                    <a:gd name="connsiteY4941" fmla="*/ 197359 h 1461099"/>
                    <a:gd name="connsiteX4942" fmla="*/ 1059860 w 1659478"/>
                    <a:gd name="connsiteY4942" fmla="*/ 197007 h 1461099"/>
                    <a:gd name="connsiteX4943" fmla="*/ 1058719 w 1659478"/>
                    <a:gd name="connsiteY4943" fmla="*/ 194991 h 1461099"/>
                    <a:gd name="connsiteX4944" fmla="*/ 1058415 w 1659478"/>
                    <a:gd name="connsiteY4944" fmla="*/ 194469 h 1461099"/>
                    <a:gd name="connsiteX4945" fmla="*/ 1058014 w 1659478"/>
                    <a:gd name="connsiteY4945" fmla="*/ 194008 h 1461099"/>
                    <a:gd name="connsiteX4946" fmla="*/ 1056691 w 1659478"/>
                    <a:gd name="connsiteY4946" fmla="*/ 192490 h 1461099"/>
                    <a:gd name="connsiteX4947" fmla="*/ 1055768 w 1659478"/>
                    <a:gd name="connsiteY4947" fmla="*/ 191433 h 1461099"/>
                    <a:gd name="connsiteX4948" fmla="*/ 1054469 w 1659478"/>
                    <a:gd name="connsiteY4948" fmla="*/ 190887 h 1461099"/>
                    <a:gd name="connsiteX4949" fmla="*/ 1052064 w 1659478"/>
                    <a:gd name="connsiteY4949" fmla="*/ 189879 h 1461099"/>
                    <a:gd name="connsiteX4950" fmla="*/ 1050777 w 1659478"/>
                    <a:gd name="connsiteY4950" fmla="*/ 189345 h 1461099"/>
                    <a:gd name="connsiteX4951" fmla="*/ 1049393 w 1659478"/>
                    <a:gd name="connsiteY4951" fmla="*/ 189418 h 1461099"/>
                    <a:gd name="connsiteX4952" fmla="*/ 1047207 w 1659478"/>
                    <a:gd name="connsiteY4952" fmla="*/ 189539 h 1461099"/>
                    <a:gd name="connsiteX4953" fmla="*/ 1045835 w 1659478"/>
                    <a:gd name="connsiteY4953" fmla="*/ 189612 h 1461099"/>
                    <a:gd name="connsiteX4954" fmla="*/ 1044621 w 1659478"/>
                    <a:gd name="connsiteY4954" fmla="*/ 190280 h 1461099"/>
                    <a:gd name="connsiteX4955" fmla="*/ 1042204 w 1659478"/>
                    <a:gd name="connsiteY4955" fmla="*/ 191603 h 1461099"/>
                    <a:gd name="connsiteX4956" fmla="*/ 1041949 w 1659478"/>
                    <a:gd name="connsiteY4956" fmla="*/ 191555 h 1461099"/>
                    <a:gd name="connsiteX4957" fmla="*/ 1041269 w 1659478"/>
                    <a:gd name="connsiteY4957" fmla="*/ 190511 h 1461099"/>
                    <a:gd name="connsiteX4958" fmla="*/ 1039399 w 1659478"/>
                    <a:gd name="connsiteY4958" fmla="*/ 186722 h 1461099"/>
                    <a:gd name="connsiteX4959" fmla="*/ 1038015 w 1659478"/>
                    <a:gd name="connsiteY4959" fmla="*/ 182848 h 1461099"/>
                    <a:gd name="connsiteX4960" fmla="*/ 1037748 w 1659478"/>
                    <a:gd name="connsiteY4960" fmla="*/ 181561 h 1461099"/>
                    <a:gd name="connsiteX4961" fmla="*/ 1037650 w 1659478"/>
                    <a:gd name="connsiteY4961" fmla="*/ 181051 h 1461099"/>
                    <a:gd name="connsiteX4962" fmla="*/ 1037456 w 1659478"/>
                    <a:gd name="connsiteY4962" fmla="*/ 180566 h 1461099"/>
                    <a:gd name="connsiteX4963" fmla="*/ 1036946 w 1659478"/>
                    <a:gd name="connsiteY4963" fmla="*/ 179266 h 1461099"/>
                    <a:gd name="connsiteX4964" fmla="*/ 1036655 w 1659478"/>
                    <a:gd name="connsiteY4964" fmla="*/ 178513 h 1461099"/>
                    <a:gd name="connsiteX4965" fmla="*/ 1036169 w 1659478"/>
                    <a:gd name="connsiteY4965" fmla="*/ 177870 h 1461099"/>
                    <a:gd name="connsiteX4966" fmla="*/ 1035125 w 1659478"/>
                    <a:gd name="connsiteY4966" fmla="*/ 176461 h 1461099"/>
                    <a:gd name="connsiteX4967" fmla="*/ 1034578 w 1659478"/>
                    <a:gd name="connsiteY4967" fmla="*/ 175720 h 1461099"/>
                    <a:gd name="connsiteX4968" fmla="*/ 1033826 w 1659478"/>
                    <a:gd name="connsiteY4968" fmla="*/ 175174 h 1461099"/>
                    <a:gd name="connsiteX4969" fmla="*/ 1030389 w 1659478"/>
                    <a:gd name="connsiteY4969" fmla="*/ 172660 h 1461099"/>
                    <a:gd name="connsiteX4970" fmla="*/ 1030025 w 1659478"/>
                    <a:gd name="connsiteY4970" fmla="*/ 172393 h 1461099"/>
                    <a:gd name="connsiteX4971" fmla="*/ 1029624 w 1659478"/>
                    <a:gd name="connsiteY4971" fmla="*/ 172175 h 1461099"/>
                    <a:gd name="connsiteX4972" fmla="*/ 1027900 w 1659478"/>
                    <a:gd name="connsiteY4972" fmla="*/ 171276 h 1461099"/>
                    <a:gd name="connsiteX4973" fmla="*/ 1027499 w 1659478"/>
                    <a:gd name="connsiteY4973" fmla="*/ 171070 h 1461099"/>
                    <a:gd name="connsiteX4974" fmla="*/ 1027074 w 1659478"/>
                    <a:gd name="connsiteY4974" fmla="*/ 170924 h 1461099"/>
                    <a:gd name="connsiteX4975" fmla="*/ 1024597 w 1659478"/>
                    <a:gd name="connsiteY4975" fmla="*/ 170062 h 1461099"/>
                    <a:gd name="connsiteX4976" fmla="*/ 1024281 w 1659478"/>
                    <a:gd name="connsiteY4976" fmla="*/ 169952 h 1461099"/>
                    <a:gd name="connsiteX4977" fmla="*/ 1023953 w 1659478"/>
                    <a:gd name="connsiteY4977" fmla="*/ 169880 h 1461099"/>
                    <a:gd name="connsiteX4978" fmla="*/ 1020760 w 1659478"/>
                    <a:gd name="connsiteY4978" fmla="*/ 169139 h 1461099"/>
                    <a:gd name="connsiteX4979" fmla="*/ 1020031 w 1659478"/>
                    <a:gd name="connsiteY4979" fmla="*/ 168872 h 1461099"/>
                    <a:gd name="connsiteX4980" fmla="*/ 1017566 w 1659478"/>
                    <a:gd name="connsiteY4980" fmla="*/ 167403 h 1461099"/>
                    <a:gd name="connsiteX4981" fmla="*/ 1016522 w 1659478"/>
                    <a:gd name="connsiteY4981" fmla="*/ 166771 h 1461099"/>
                    <a:gd name="connsiteX4982" fmla="*/ 1015308 w 1659478"/>
                    <a:gd name="connsiteY4982" fmla="*/ 166601 h 1461099"/>
                    <a:gd name="connsiteX4983" fmla="*/ 1013413 w 1659478"/>
                    <a:gd name="connsiteY4983" fmla="*/ 166334 h 1461099"/>
                    <a:gd name="connsiteX4984" fmla="*/ 1012685 w 1659478"/>
                    <a:gd name="connsiteY4984" fmla="*/ 166237 h 1461099"/>
                    <a:gd name="connsiteX4985" fmla="*/ 1011956 w 1659478"/>
                    <a:gd name="connsiteY4985" fmla="*/ 166310 h 1461099"/>
                    <a:gd name="connsiteX4986" fmla="*/ 1010122 w 1659478"/>
                    <a:gd name="connsiteY4986" fmla="*/ 166492 h 1461099"/>
                    <a:gd name="connsiteX4987" fmla="*/ 1009236 w 1659478"/>
                    <a:gd name="connsiteY4987" fmla="*/ 166577 h 1461099"/>
                    <a:gd name="connsiteX4988" fmla="*/ 1008410 w 1659478"/>
                    <a:gd name="connsiteY4988" fmla="*/ 166917 h 1461099"/>
                    <a:gd name="connsiteX4989" fmla="*/ 1006055 w 1659478"/>
                    <a:gd name="connsiteY4989" fmla="*/ 167888 h 1461099"/>
                    <a:gd name="connsiteX4990" fmla="*/ 1005460 w 1659478"/>
                    <a:gd name="connsiteY4990" fmla="*/ 168143 h 1461099"/>
                    <a:gd name="connsiteX4991" fmla="*/ 1004937 w 1659478"/>
                    <a:gd name="connsiteY4991" fmla="*/ 168507 h 1461099"/>
                    <a:gd name="connsiteX4992" fmla="*/ 1002982 w 1659478"/>
                    <a:gd name="connsiteY4992" fmla="*/ 169855 h 1461099"/>
                    <a:gd name="connsiteX4993" fmla="*/ 1002667 w 1659478"/>
                    <a:gd name="connsiteY4993" fmla="*/ 170074 h 1461099"/>
                    <a:gd name="connsiteX4994" fmla="*/ 1002387 w 1659478"/>
                    <a:gd name="connsiteY4994" fmla="*/ 170329 h 1461099"/>
                    <a:gd name="connsiteX4995" fmla="*/ 1000092 w 1659478"/>
                    <a:gd name="connsiteY4995" fmla="*/ 172369 h 1461099"/>
                    <a:gd name="connsiteX4996" fmla="*/ 999837 w 1659478"/>
                    <a:gd name="connsiteY4996" fmla="*/ 172587 h 1461099"/>
                    <a:gd name="connsiteX4997" fmla="*/ 999619 w 1659478"/>
                    <a:gd name="connsiteY4997" fmla="*/ 172830 h 1461099"/>
                    <a:gd name="connsiteX4998" fmla="*/ 998344 w 1659478"/>
                    <a:gd name="connsiteY4998" fmla="*/ 174239 h 1461099"/>
                    <a:gd name="connsiteX4999" fmla="*/ 998174 w 1659478"/>
                    <a:gd name="connsiteY4999" fmla="*/ 174360 h 1461099"/>
                    <a:gd name="connsiteX5000" fmla="*/ 996814 w 1659478"/>
                    <a:gd name="connsiteY5000" fmla="*/ 174312 h 1461099"/>
                    <a:gd name="connsiteX5001" fmla="*/ 990912 w 1659478"/>
                    <a:gd name="connsiteY5001" fmla="*/ 173122 h 1461099"/>
                    <a:gd name="connsiteX5002" fmla="*/ 990244 w 1659478"/>
                    <a:gd name="connsiteY5002" fmla="*/ 172988 h 1461099"/>
                    <a:gd name="connsiteX5003" fmla="*/ 989564 w 1659478"/>
                    <a:gd name="connsiteY5003" fmla="*/ 173000 h 1461099"/>
                    <a:gd name="connsiteX5004" fmla="*/ 988581 w 1659478"/>
                    <a:gd name="connsiteY5004" fmla="*/ 173025 h 1461099"/>
                    <a:gd name="connsiteX5005" fmla="*/ 988180 w 1659478"/>
                    <a:gd name="connsiteY5005" fmla="*/ 173037 h 1461099"/>
                    <a:gd name="connsiteX5006" fmla="*/ 987780 w 1659478"/>
                    <a:gd name="connsiteY5006" fmla="*/ 173098 h 1461099"/>
                    <a:gd name="connsiteX5007" fmla="*/ 982862 w 1659478"/>
                    <a:gd name="connsiteY5007" fmla="*/ 173875 h 1461099"/>
                    <a:gd name="connsiteX5008" fmla="*/ 980870 w 1659478"/>
                    <a:gd name="connsiteY5008" fmla="*/ 173875 h 1461099"/>
                    <a:gd name="connsiteX5009" fmla="*/ 980421 w 1659478"/>
                    <a:gd name="connsiteY5009" fmla="*/ 173875 h 1461099"/>
                    <a:gd name="connsiteX5010" fmla="*/ 979972 w 1659478"/>
                    <a:gd name="connsiteY5010" fmla="*/ 173935 h 1461099"/>
                    <a:gd name="connsiteX5011" fmla="*/ 978818 w 1659478"/>
                    <a:gd name="connsiteY5011" fmla="*/ 174105 h 1461099"/>
                    <a:gd name="connsiteX5012" fmla="*/ 978199 w 1659478"/>
                    <a:gd name="connsiteY5012" fmla="*/ 174203 h 1461099"/>
                    <a:gd name="connsiteX5013" fmla="*/ 977616 w 1659478"/>
                    <a:gd name="connsiteY5013" fmla="*/ 174421 h 1461099"/>
                    <a:gd name="connsiteX5014" fmla="*/ 976292 w 1659478"/>
                    <a:gd name="connsiteY5014" fmla="*/ 174907 h 1461099"/>
                    <a:gd name="connsiteX5015" fmla="*/ 974604 w 1659478"/>
                    <a:gd name="connsiteY5015" fmla="*/ 175526 h 1461099"/>
                    <a:gd name="connsiteX5016" fmla="*/ 973524 w 1659478"/>
                    <a:gd name="connsiteY5016" fmla="*/ 176971 h 1461099"/>
                    <a:gd name="connsiteX5017" fmla="*/ 972929 w 1659478"/>
                    <a:gd name="connsiteY5017" fmla="*/ 177773 h 1461099"/>
                    <a:gd name="connsiteX5018" fmla="*/ 972844 w 1659478"/>
                    <a:gd name="connsiteY5018" fmla="*/ 177578 h 1461099"/>
                    <a:gd name="connsiteX5019" fmla="*/ 972637 w 1659478"/>
                    <a:gd name="connsiteY5019" fmla="*/ 177093 h 1461099"/>
                    <a:gd name="connsiteX5020" fmla="*/ 972358 w 1659478"/>
                    <a:gd name="connsiteY5020" fmla="*/ 176643 h 1461099"/>
                    <a:gd name="connsiteX5021" fmla="*/ 970864 w 1659478"/>
                    <a:gd name="connsiteY5021" fmla="*/ 174324 h 1461099"/>
                    <a:gd name="connsiteX5022" fmla="*/ 970670 w 1659478"/>
                    <a:gd name="connsiteY5022" fmla="*/ 174033 h 1461099"/>
                    <a:gd name="connsiteX5023" fmla="*/ 970452 w 1659478"/>
                    <a:gd name="connsiteY5023" fmla="*/ 173765 h 1461099"/>
                    <a:gd name="connsiteX5024" fmla="*/ 967962 w 1659478"/>
                    <a:gd name="connsiteY5024" fmla="*/ 170742 h 1461099"/>
                    <a:gd name="connsiteX5025" fmla="*/ 967379 w 1659478"/>
                    <a:gd name="connsiteY5025" fmla="*/ 169649 h 1461099"/>
                    <a:gd name="connsiteX5026" fmla="*/ 966469 w 1659478"/>
                    <a:gd name="connsiteY5026" fmla="*/ 167427 h 1461099"/>
                    <a:gd name="connsiteX5027" fmla="*/ 966201 w 1659478"/>
                    <a:gd name="connsiteY5027" fmla="*/ 166795 h 1461099"/>
                    <a:gd name="connsiteX5028" fmla="*/ 965801 w 1659478"/>
                    <a:gd name="connsiteY5028" fmla="*/ 166249 h 1461099"/>
                    <a:gd name="connsiteX5029" fmla="*/ 965315 w 1659478"/>
                    <a:gd name="connsiteY5029" fmla="*/ 165593 h 1461099"/>
                    <a:gd name="connsiteX5030" fmla="*/ 966456 w 1659478"/>
                    <a:gd name="connsiteY5030" fmla="*/ 165642 h 1461099"/>
                    <a:gd name="connsiteX5031" fmla="*/ 967112 w 1659478"/>
                    <a:gd name="connsiteY5031" fmla="*/ 165666 h 1461099"/>
                    <a:gd name="connsiteX5032" fmla="*/ 967756 w 1659478"/>
                    <a:gd name="connsiteY5032" fmla="*/ 165557 h 1461099"/>
                    <a:gd name="connsiteX5033" fmla="*/ 969249 w 1659478"/>
                    <a:gd name="connsiteY5033" fmla="*/ 165302 h 1461099"/>
                    <a:gd name="connsiteX5034" fmla="*/ 970002 w 1659478"/>
                    <a:gd name="connsiteY5034" fmla="*/ 165180 h 1461099"/>
                    <a:gd name="connsiteX5035" fmla="*/ 970706 w 1659478"/>
                    <a:gd name="connsiteY5035" fmla="*/ 164865 h 1461099"/>
                    <a:gd name="connsiteX5036" fmla="*/ 972079 w 1659478"/>
                    <a:gd name="connsiteY5036" fmla="*/ 164258 h 1461099"/>
                    <a:gd name="connsiteX5037" fmla="*/ 973791 w 1659478"/>
                    <a:gd name="connsiteY5037" fmla="*/ 163492 h 1461099"/>
                    <a:gd name="connsiteX5038" fmla="*/ 974774 w 1659478"/>
                    <a:gd name="connsiteY5038" fmla="*/ 161890 h 1461099"/>
                    <a:gd name="connsiteX5039" fmla="*/ 975649 w 1659478"/>
                    <a:gd name="connsiteY5039" fmla="*/ 160469 h 1461099"/>
                    <a:gd name="connsiteX5040" fmla="*/ 976074 w 1659478"/>
                    <a:gd name="connsiteY5040" fmla="*/ 159789 h 1461099"/>
                    <a:gd name="connsiteX5041" fmla="*/ 976304 w 1659478"/>
                    <a:gd name="connsiteY5041" fmla="*/ 159012 h 1461099"/>
                    <a:gd name="connsiteX5042" fmla="*/ 976924 w 1659478"/>
                    <a:gd name="connsiteY5042" fmla="*/ 156911 h 1461099"/>
                    <a:gd name="connsiteX5043" fmla="*/ 977082 w 1659478"/>
                    <a:gd name="connsiteY5043" fmla="*/ 156377 h 1461099"/>
                    <a:gd name="connsiteX5044" fmla="*/ 977142 w 1659478"/>
                    <a:gd name="connsiteY5044" fmla="*/ 155818 h 1461099"/>
                    <a:gd name="connsiteX5045" fmla="*/ 977834 w 1659478"/>
                    <a:gd name="connsiteY5045" fmla="*/ 149152 h 1461099"/>
                    <a:gd name="connsiteX5046" fmla="*/ 977919 w 1659478"/>
                    <a:gd name="connsiteY5046" fmla="*/ 148350 h 1461099"/>
                    <a:gd name="connsiteX5047" fmla="*/ 977786 w 1659478"/>
                    <a:gd name="connsiteY5047" fmla="*/ 147549 h 1461099"/>
                    <a:gd name="connsiteX5048" fmla="*/ 977446 w 1659478"/>
                    <a:gd name="connsiteY5048" fmla="*/ 145424 h 1461099"/>
                    <a:gd name="connsiteX5049" fmla="*/ 977239 w 1659478"/>
                    <a:gd name="connsiteY5049" fmla="*/ 144173 h 1461099"/>
                    <a:gd name="connsiteX5050" fmla="*/ 976547 w 1659478"/>
                    <a:gd name="connsiteY5050" fmla="*/ 143104 h 1461099"/>
                    <a:gd name="connsiteX5051" fmla="*/ 974823 w 1659478"/>
                    <a:gd name="connsiteY5051" fmla="*/ 140433 h 1461099"/>
                    <a:gd name="connsiteX5052" fmla="*/ 974544 w 1659478"/>
                    <a:gd name="connsiteY5052" fmla="*/ 139996 h 1461099"/>
                    <a:gd name="connsiteX5053" fmla="*/ 974192 w 1659478"/>
                    <a:gd name="connsiteY5053" fmla="*/ 139619 h 1461099"/>
                    <a:gd name="connsiteX5054" fmla="*/ 971447 w 1659478"/>
                    <a:gd name="connsiteY5054" fmla="*/ 136644 h 1461099"/>
                    <a:gd name="connsiteX5055" fmla="*/ 970962 w 1659478"/>
                    <a:gd name="connsiteY5055" fmla="*/ 135697 h 1461099"/>
                    <a:gd name="connsiteX5056" fmla="*/ 970622 w 1659478"/>
                    <a:gd name="connsiteY5056" fmla="*/ 133985 h 1461099"/>
                    <a:gd name="connsiteX5057" fmla="*/ 972115 w 1659478"/>
                    <a:gd name="connsiteY5057" fmla="*/ 117981 h 1461099"/>
                    <a:gd name="connsiteX5058" fmla="*/ 972759 w 1659478"/>
                    <a:gd name="connsiteY5058" fmla="*/ 115358 h 1461099"/>
                    <a:gd name="connsiteX5059" fmla="*/ 975394 w 1659478"/>
                    <a:gd name="connsiteY5059" fmla="*/ 108509 h 1461099"/>
                    <a:gd name="connsiteX5060" fmla="*/ 975588 w 1659478"/>
                    <a:gd name="connsiteY5060" fmla="*/ 108011 h 1461099"/>
                    <a:gd name="connsiteX5061" fmla="*/ 975685 w 1659478"/>
                    <a:gd name="connsiteY5061" fmla="*/ 107489 h 1461099"/>
                    <a:gd name="connsiteX5062" fmla="*/ 976317 w 1659478"/>
                    <a:gd name="connsiteY5062" fmla="*/ 104198 h 1461099"/>
                    <a:gd name="connsiteX5063" fmla="*/ 976487 w 1659478"/>
                    <a:gd name="connsiteY5063" fmla="*/ 103348 h 1461099"/>
                    <a:gd name="connsiteX5064" fmla="*/ 976414 w 1659478"/>
                    <a:gd name="connsiteY5064" fmla="*/ 102486 h 1461099"/>
                    <a:gd name="connsiteX5065" fmla="*/ 976171 w 1659478"/>
                    <a:gd name="connsiteY5065" fmla="*/ 99876 h 1461099"/>
                    <a:gd name="connsiteX5066" fmla="*/ 976037 w 1659478"/>
                    <a:gd name="connsiteY5066" fmla="*/ 98443 h 1461099"/>
                    <a:gd name="connsiteX5067" fmla="*/ 975284 w 1659478"/>
                    <a:gd name="connsiteY5067" fmla="*/ 97216 h 1461099"/>
                    <a:gd name="connsiteX5068" fmla="*/ 973973 w 1659478"/>
                    <a:gd name="connsiteY5068" fmla="*/ 95116 h 1461099"/>
                    <a:gd name="connsiteX5069" fmla="*/ 973281 w 1659478"/>
                    <a:gd name="connsiteY5069" fmla="*/ 94011 h 1461099"/>
                    <a:gd name="connsiteX5070" fmla="*/ 972200 w 1659478"/>
                    <a:gd name="connsiteY5070" fmla="*/ 93282 h 1461099"/>
                    <a:gd name="connsiteX5071" fmla="*/ 971046 w 1659478"/>
                    <a:gd name="connsiteY5071" fmla="*/ 92505 h 1461099"/>
                    <a:gd name="connsiteX5072" fmla="*/ 969966 w 1659478"/>
                    <a:gd name="connsiteY5072" fmla="*/ 91776 h 1461099"/>
                    <a:gd name="connsiteX5073" fmla="*/ 968679 w 1659478"/>
                    <a:gd name="connsiteY5073" fmla="*/ 91558 h 1461099"/>
                    <a:gd name="connsiteX5074" fmla="*/ 967306 w 1659478"/>
                    <a:gd name="connsiteY5074" fmla="*/ 91327 h 1461099"/>
                    <a:gd name="connsiteX5075" fmla="*/ 965594 w 1659478"/>
                    <a:gd name="connsiteY5075" fmla="*/ 91048 h 1461099"/>
                    <a:gd name="connsiteX5076" fmla="*/ 963991 w 1659478"/>
                    <a:gd name="connsiteY5076" fmla="*/ 91703 h 1461099"/>
                    <a:gd name="connsiteX5077" fmla="*/ 963081 w 1659478"/>
                    <a:gd name="connsiteY5077" fmla="*/ 92080 h 1461099"/>
                    <a:gd name="connsiteX5078" fmla="*/ 962073 w 1659478"/>
                    <a:gd name="connsiteY5078" fmla="*/ 92493 h 1461099"/>
                    <a:gd name="connsiteX5079" fmla="*/ 961271 w 1659478"/>
                    <a:gd name="connsiteY5079" fmla="*/ 93233 h 1461099"/>
                    <a:gd name="connsiteX5080" fmla="*/ 960519 w 1659478"/>
                    <a:gd name="connsiteY5080" fmla="*/ 93926 h 1461099"/>
                    <a:gd name="connsiteX5081" fmla="*/ 960288 w 1659478"/>
                    <a:gd name="connsiteY5081" fmla="*/ 94144 h 1461099"/>
                    <a:gd name="connsiteX5082" fmla="*/ 960215 w 1659478"/>
                    <a:gd name="connsiteY5082" fmla="*/ 94229 h 1461099"/>
                    <a:gd name="connsiteX5083" fmla="*/ 959535 w 1659478"/>
                    <a:gd name="connsiteY5083" fmla="*/ 94217 h 1461099"/>
                    <a:gd name="connsiteX5084" fmla="*/ 958867 w 1659478"/>
                    <a:gd name="connsiteY5084" fmla="*/ 94217 h 1461099"/>
                    <a:gd name="connsiteX5085" fmla="*/ 958211 w 1659478"/>
                    <a:gd name="connsiteY5085" fmla="*/ 94351 h 1461099"/>
                    <a:gd name="connsiteX5086" fmla="*/ 956827 w 1659478"/>
                    <a:gd name="connsiteY5086" fmla="*/ 94642 h 1461099"/>
                    <a:gd name="connsiteX5087" fmla="*/ 955771 w 1659478"/>
                    <a:gd name="connsiteY5087" fmla="*/ 94861 h 1461099"/>
                    <a:gd name="connsiteX5088" fmla="*/ 954848 w 1659478"/>
                    <a:gd name="connsiteY5088" fmla="*/ 95431 h 1461099"/>
                    <a:gd name="connsiteX5089" fmla="*/ 953597 w 1659478"/>
                    <a:gd name="connsiteY5089" fmla="*/ 96208 h 1461099"/>
                    <a:gd name="connsiteX5090" fmla="*/ 953294 w 1659478"/>
                    <a:gd name="connsiteY5090" fmla="*/ 96403 h 1461099"/>
                    <a:gd name="connsiteX5091" fmla="*/ 953014 w 1659478"/>
                    <a:gd name="connsiteY5091" fmla="*/ 96634 h 1461099"/>
                    <a:gd name="connsiteX5092" fmla="*/ 951545 w 1659478"/>
                    <a:gd name="connsiteY5092" fmla="*/ 97811 h 1461099"/>
                    <a:gd name="connsiteX5093" fmla="*/ 951169 w 1659478"/>
                    <a:gd name="connsiteY5093" fmla="*/ 97994 h 1461099"/>
                    <a:gd name="connsiteX5094" fmla="*/ 950610 w 1659478"/>
                    <a:gd name="connsiteY5094" fmla="*/ 98151 h 1461099"/>
                    <a:gd name="connsiteX5095" fmla="*/ 950209 w 1659478"/>
                    <a:gd name="connsiteY5095" fmla="*/ 98176 h 1461099"/>
                    <a:gd name="connsiteX5096" fmla="*/ 949444 w 1659478"/>
                    <a:gd name="connsiteY5096" fmla="*/ 98103 h 1461099"/>
                    <a:gd name="connsiteX5097" fmla="*/ 949031 w 1659478"/>
                    <a:gd name="connsiteY5097" fmla="*/ 97981 h 1461099"/>
                    <a:gd name="connsiteX5098" fmla="*/ 949213 w 1659478"/>
                    <a:gd name="connsiteY5098" fmla="*/ 95966 h 1461099"/>
                    <a:gd name="connsiteX5099" fmla="*/ 949881 w 1659478"/>
                    <a:gd name="connsiteY5099" fmla="*/ 93634 h 1461099"/>
                    <a:gd name="connsiteX5100" fmla="*/ 951120 w 1659478"/>
                    <a:gd name="connsiteY5100" fmla="*/ 91108 h 1461099"/>
                    <a:gd name="connsiteX5101" fmla="*/ 951460 w 1659478"/>
                    <a:gd name="connsiteY5101" fmla="*/ 91011 h 1461099"/>
                    <a:gd name="connsiteX5102" fmla="*/ 951836 w 1659478"/>
                    <a:gd name="connsiteY5102" fmla="*/ 90853 h 1461099"/>
                    <a:gd name="connsiteX5103" fmla="*/ 957531 w 1659478"/>
                    <a:gd name="connsiteY5103" fmla="*/ 88388 h 1461099"/>
                    <a:gd name="connsiteX5104" fmla="*/ 957944 w 1659478"/>
                    <a:gd name="connsiteY5104" fmla="*/ 88206 h 1461099"/>
                    <a:gd name="connsiteX5105" fmla="*/ 958321 w 1659478"/>
                    <a:gd name="connsiteY5105" fmla="*/ 87963 h 1461099"/>
                    <a:gd name="connsiteX5106" fmla="*/ 960154 w 1659478"/>
                    <a:gd name="connsiteY5106" fmla="*/ 86822 h 1461099"/>
                    <a:gd name="connsiteX5107" fmla="*/ 960725 w 1659478"/>
                    <a:gd name="connsiteY5107" fmla="*/ 86470 h 1461099"/>
                    <a:gd name="connsiteX5108" fmla="*/ 961199 w 1659478"/>
                    <a:gd name="connsiteY5108" fmla="*/ 86008 h 1461099"/>
                    <a:gd name="connsiteX5109" fmla="*/ 962583 w 1659478"/>
                    <a:gd name="connsiteY5109" fmla="*/ 84661 h 1461099"/>
                    <a:gd name="connsiteX5110" fmla="*/ 963117 w 1659478"/>
                    <a:gd name="connsiteY5110" fmla="*/ 84138 h 1461099"/>
                    <a:gd name="connsiteX5111" fmla="*/ 963506 w 1659478"/>
                    <a:gd name="connsiteY5111" fmla="*/ 83495 h 1461099"/>
                    <a:gd name="connsiteX5112" fmla="*/ 964477 w 1659478"/>
                    <a:gd name="connsiteY5112" fmla="*/ 81904 h 1461099"/>
                    <a:gd name="connsiteX5113" fmla="*/ 964902 w 1659478"/>
                    <a:gd name="connsiteY5113" fmla="*/ 81212 h 1461099"/>
                    <a:gd name="connsiteX5114" fmla="*/ 965133 w 1659478"/>
                    <a:gd name="connsiteY5114" fmla="*/ 80447 h 1461099"/>
                    <a:gd name="connsiteX5115" fmla="*/ 965655 w 1659478"/>
                    <a:gd name="connsiteY5115" fmla="*/ 78674 h 1461099"/>
                    <a:gd name="connsiteX5116" fmla="*/ 965983 w 1659478"/>
                    <a:gd name="connsiteY5116" fmla="*/ 77557 h 1461099"/>
                    <a:gd name="connsiteX5117" fmla="*/ 965874 w 1659478"/>
                    <a:gd name="connsiteY5117" fmla="*/ 76391 h 1461099"/>
                    <a:gd name="connsiteX5118" fmla="*/ 965679 w 1659478"/>
                    <a:gd name="connsiteY5118" fmla="*/ 74436 h 1461099"/>
                    <a:gd name="connsiteX5119" fmla="*/ 965594 w 1659478"/>
                    <a:gd name="connsiteY5119" fmla="*/ 73538 h 1461099"/>
                    <a:gd name="connsiteX5120" fmla="*/ 965254 w 1659478"/>
                    <a:gd name="connsiteY5120" fmla="*/ 72712 h 1461099"/>
                    <a:gd name="connsiteX5121" fmla="*/ 964501 w 1659478"/>
                    <a:gd name="connsiteY5121" fmla="*/ 70878 h 1461099"/>
                    <a:gd name="connsiteX5122" fmla="*/ 964016 w 1659478"/>
                    <a:gd name="connsiteY5122" fmla="*/ 69713 h 1461099"/>
                    <a:gd name="connsiteX5123" fmla="*/ 963105 w 1659478"/>
                    <a:gd name="connsiteY5123" fmla="*/ 68826 h 1461099"/>
                    <a:gd name="connsiteX5124" fmla="*/ 961271 w 1659478"/>
                    <a:gd name="connsiteY5124" fmla="*/ 67041 h 1461099"/>
                    <a:gd name="connsiteX5125" fmla="*/ 960822 w 1659478"/>
                    <a:gd name="connsiteY5125" fmla="*/ 66604 h 1461099"/>
                    <a:gd name="connsiteX5126" fmla="*/ 960288 w 1659478"/>
                    <a:gd name="connsiteY5126" fmla="*/ 66264 h 1461099"/>
                    <a:gd name="connsiteX5127" fmla="*/ 959329 w 1659478"/>
                    <a:gd name="connsiteY5127" fmla="*/ 65657 h 1461099"/>
                    <a:gd name="connsiteX5128" fmla="*/ 959584 w 1659478"/>
                    <a:gd name="connsiteY5128" fmla="*/ 61358 h 1461099"/>
                    <a:gd name="connsiteX5129" fmla="*/ 959924 w 1659478"/>
                    <a:gd name="connsiteY5129" fmla="*/ 55712 h 1461099"/>
                    <a:gd name="connsiteX5130" fmla="*/ 954314 w 1659478"/>
                    <a:gd name="connsiteY5130" fmla="*/ 54971 h 1461099"/>
                    <a:gd name="connsiteX5131" fmla="*/ 929785 w 1659478"/>
                    <a:gd name="connsiteY5131" fmla="*/ 51729 h 1461099"/>
                    <a:gd name="connsiteX5132" fmla="*/ 929372 w 1659478"/>
                    <a:gd name="connsiteY5132" fmla="*/ 51668 h 1461099"/>
                    <a:gd name="connsiteX5133" fmla="*/ 928947 w 1659478"/>
                    <a:gd name="connsiteY5133" fmla="*/ 51668 h 1461099"/>
                    <a:gd name="connsiteX5134" fmla="*/ 911097 w 1659478"/>
                    <a:gd name="connsiteY5134" fmla="*/ 51790 h 1461099"/>
                    <a:gd name="connsiteX5135" fmla="*/ 842064 w 1659478"/>
                    <a:gd name="connsiteY5135" fmla="*/ 48244 h 1461099"/>
                    <a:gd name="connsiteX5136" fmla="*/ 843036 w 1659478"/>
                    <a:gd name="connsiteY5136" fmla="*/ 45718 h 1461099"/>
                    <a:gd name="connsiteX5137" fmla="*/ 856089 w 1659478"/>
                    <a:gd name="connsiteY5137" fmla="*/ 25172 h 1461099"/>
                    <a:gd name="connsiteX5138" fmla="*/ 856514 w 1659478"/>
                    <a:gd name="connsiteY5138" fmla="*/ 24517 h 1461099"/>
                    <a:gd name="connsiteX5139" fmla="*/ 856757 w 1659478"/>
                    <a:gd name="connsiteY5139" fmla="*/ 23776 h 1461099"/>
                    <a:gd name="connsiteX5140" fmla="*/ 857049 w 1659478"/>
                    <a:gd name="connsiteY5140" fmla="*/ 22877 h 1461099"/>
                    <a:gd name="connsiteX5141" fmla="*/ 858105 w 1659478"/>
                    <a:gd name="connsiteY5141" fmla="*/ 18433 h 1461099"/>
                    <a:gd name="connsiteX5142" fmla="*/ 858227 w 1659478"/>
                    <a:gd name="connsiteY5142" fmla="*/ 17899 h 1461099"/>
                    <a:gd name="connsiteX5143" fmla="*/ 858251 w 1659478"/>
                    <a:gd name="connsiteY5143" fmla="*/ 17352 h 1461099"/>
                    <a:gd name="connsiteX5144" fmla="*/ 858421 w 1659478"/>
                    <a:gd name="connsiteY5144" fmla="*/ 13879 h 1461099"/>
                    <a:gd name="connsiteX5145" fmla="*/ 858469 w 1659478"/>
                    <a:gd name="connsiteY5145" fmla="*/ 12774 h 1461099"/>
                    <a:gd name="connsiteX5146" fmla="*/ 858129 w 1659478"/>
                    <a:gd name="connsiteY5146" fmla="*/ 11718 h 1461099"/>
                    <a:gd name="connsiteX5147" fmla="*/ 856915 w 1659478"/>
                    <a:gd name="connsiteY5147" fmla="*/ 7954 h 1461099"/>
                    <a:gd name="connsiteX5148" fmla="*/ 855992 w 1659478"/>
                    <a:gd name="connsiteY5148" fmla="*/ 5112 h 1461099"/>
                    <a:gd name="connsiteX5149" fmla="*/ 853175 w 1659478"/>
                    <a:gd name="connsiteY5149" fmla="*/ 4104 h 1461099"/>
                    <a:gd name="connsiteX5150" fmla="*/ 848694 w 1659478"/>
                    <a:gd name="connsiteY5150" fmla="*/ 2501 h 1461099"/>
                    <a:gd name="connsiteX5151" fmla="*/ 841688 w 1659478"/>
                    <a:gd name="connsiteY5151" fmla="*/ 0 h 1461099"/>
                    <a:gd name="connsiteX5152" fmla="*/ 841688 w 1659478"/>
                    <a:gd name="connsiteY5152" fmla="*/ 0 h 1461099"/>
                    <a:gd name="connsiteX5153" fmla="*/ 1539348 w 1659478"/>
                    <a:gd name="connsiteY5153" fmla="*/ 671687 h 1461099"/>
                    <a:gd name="connsiteX5154" fmla="*/ 1542955 w 1659478"/>
                    <a:gd name="connsiteY5154" fmla="*/ 670594 h 1461099"/>
                    <a:gd name="connsiteX5155" fmla="*/ 1548455 w 1659478"/>
                    <a:gd name="connsiteY5155" fmla="*/ 669489 h 1461099"/>
                    <a:gd name="connsiteX5156" fmla="*/ 1548212 w 1659478"/>
                    <a:gd name="connsiteY5156" fmla="*/ 669647 h 1461099"/>
                    <a:gd name="connsiteX5157" fmla="*/ 1545869 w 1659478"/>
                    <a:gd name="connsiteY5157" fmla="*/ 671164 h 1461099"/>
                    <a:gd name="connsiteX5158" fmla="*/ 1545323 w 1659478"/>
                    <a:gd name="connsiteY5158" fmla="*/ 671517 h 1461099"/>
                    <a:gd name="connsiteX5159" fmla="*/ 1544861 w 1659478"/>
                    <a:gd name="connsiteY5159" fmla="*/ 671978 h 1461099"/>
                    <a:gd name="connsiteX5160" fmla="*/ 1540271 w 1659478"/>
                    <a:gd name="connsiteY5160" fmla="*/ 676617 h 1461099"/>
                    <a:gd name="connsiteX5161" fmla="*/ 1536883 w 1659478"/>
                    <a:gd name="connsiteY5161" fmla="*/ 678693 h 1461099"/>
                    <a:gd name="connsiteX5162" fmla="*/ 1513289 w 1659478"/>
                    <a:gd name="connsiteY5162" fmla="*/ 688371 h 1461099"/>
                    <a:gd name="connsiteX5163" fmla="*/ 1512585 w 1659478"/>
                    <a:gd name="connsiteY5163" fmla="*/ 688529 h 1461099"/>
                    <a:gd name="connsiteX5164" fmla="*/ 1511140 w 1659478"/>
                    <a:gd name="connsiteY5164" fmla="*/ 687995 h 1461099"/>
                    <a:gd name="connsiteX5165" fmla="*/ 1510436 w 1659478"/>
                    <a:gd name="connsiteY5165" fmla="*/ 687740 h 1461099"/>
                    <a:gd name="connsiteX5166" fmla="*/ 1509695 w 1659478"/>
                    <a:gd name="connsiteY5166" fmla="*/ 687655 h 1461099"/>
                    <a:gd name="connsiteX5167" fmla="*/ 1508542 w 1659478"/>
                    <a:gd name="connsiteY5167" fmla="*/ 687521 h 1461099"/>
                    <a:gd name="connsiteX5168" fmla="*/ 1506538 w 1659478"/>
                    <a:gd name="connsiteY5168" fmla="*/ 687290 h 1461099"/>
                    <a:gd name="connsiteX5169" fmla="*/ 1504789 w 1659478"/>
                    <a:gd name="connsiteY5169" fmla="*/ 688310 h 1461099"/>
                    <a:gd name="connsiteX5170" fmla="*/ 1503709 w 1659478"/>
                    <a:gd name="connsiteY5170" fmla="*/ 688942 h 1461099"/>
                    <a:gd name="connsiteX5171" fmla="*/ 1501960 w 1659478"/>
                    <a:gd name="connsiteY5171" fmla="*/ 689962 h 1461099"/>
                    <a:gd name="connsiteX5172" fmla="*/ 1501183 w 1659478"/>
                    <a:gd name="connsiteY5172" fmla="*/ 691832 h 1461099"/>
                    <a:gd name="connsiteX5173" fmla="*/ 1500454 w 1659478"/>
                    <a:gd name="connsiteY5173" fmla="*/ 693568 h 1461099"/>
                    <a:gd name="connsiteX5174" fmla="*/ 1500272 w 1659478"/>
                    <a:gd name="connsiteY5174" fmla="*/ 691091 h 1461099"/>
                    <a:gd name="connsiteX5175" fmla="*/ 1500284 w 1659478"/>
                    <a:gd name="connsiteY5175" fmla="*/ 690727 h 1461099"/>
                    <a:gd name="connsiteX5176" fmla="*/ 1500309 w 1659478"/>
                    <a:gd name="connsiteY5176" fmla="*/ 690654 h 1461099"/>
                    <a:gd name="connsiteX5177" fmla="*/ 1500515 w 1659478"/>
                    <a:gd name="connsiteY5177" fmla="*/ 690363 h 1461099"/>
                    <a:gd name="connsiteX5178" fmla="*/ 1502239 w 1659478"/>
                    <a:gd name="connsiteY5178" fmla="*/ 688881 h 1461099"/>
                    <a:gd name="connsiteX5179" fmla="*/ 1508736 w 1659478"/>
                    <a:gd name="connsiteY5179" fmla="*/ 685190 h 1461099"/>
                    <a:gd name="connsiteX5180" fmla="*/ 1539348 w 1659478"/>
                    <a:gd name="connsiteY5180" fmla="*/ 671687 h 1461099"/>
                    <a:gd name="connsiteX5181" fmla="*/ 1539348 w 1659478"/>
                    <a:gd name="connsiteY5181" fmla="*/ 671687 h 1461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Lst>
                  <a:rect l="l" t="t" r="r" b="b"/>
                  <a:pathLst>
                    <a:path w="1659478" h="1461099">
                      <a:moveTo>
                        <a:pt x="846679" y="8233"/>
                      </a:moveTo>
                      <a:lnTo>
                        <a:pt x="851159" y="9836"/>
                      </a:lnTo>
                      <a:lnTo>
                        <a:pt x="852374" y="13600"/>
                      </a:lnTo>
                      <a:lnTo>
                        <a:pt x="852204" y="17073"/>
                      </a:lnTo>
                      <a:lnTo>
                        <a:pt x="851281" y="21032"/>
                      </a:lnTo>
                      <a:lnTo>
                        <a:pt x="850989" y="21930"/>
                      </a:lnTo>
                      <a:lnTo>
                        <a:pt x="837608" y="42998"/>
                      </a:lnTo>
                      <a:lnTo>
                        <a:pt x="835422" y="48717"/>
                      </a:lnTo>
                      <a:lnTo>
                        <a:pt x="835033" y="50175"/>
                      </a:lnTo>
                      <a:lnTo>
                        <a:pt x="835033" y="50260"/>
                      </a:lnTo>
                      <a:lnTo>
                        <a:pt x="835483" y="53392"/>
                      </a:lnTo>
                      <a:lnTo>
                        <a:pt x="840947" y="54279"/>
                      </a:lnTo>
                      <a:lnTo>
                        <a:pt x="911170" y="57873"/>
                      </a:lnTo>
                      <a:lnTo>
                        <a:pt x="929020" y="57752"/>
                      </a:lnTo>
                      <a:lnTo>
                        <a:pt x="953549" y="60994"/>
                      </a:lnTo>
                      <a:lnTo>
                        <a:pt x="953148" y="67551"/>
                      </a:lnTo>
                      <a:lnTo>
                        <a:pt x="953889" y="68693"/>
                      </a:lnTo>
                      <a:lnTo>
                        <a:pt x="955382" y="70332"/>
                      </a:lnTo>
                      <a:lnTo>
                        <a:pt x="957046" y="71388"/>
                      </a:lnTo>
                      <a:lnTo>
                        <a:pt x="958879" y="73173"/>
                      </a:lnTo>
                      <a:lnTo>
                        <a:pt x="959632" y="75007"/>
                      </a:lnTo>
                      <a:lnTo>
                        <a:pt x="959814" y="76962"/>
                      </a:lnTo>
                      <a:lnTo>
                        <a:pt x="959292" y="78735"/>
                      </a:lnTo>
                      <a:lnTo>
                        <a:pt x="958321" y="80326"/>
                      </a:lnTo>
                      <a:lnTo>
                        <a:pt x="956936" y="81673"/>
                      </a:lnTo>
                      <a:lnTo>
                        <a:pt x="955103" y="82815"/>
                      </a:lnTo>
                      <a:lnTo>
                        <a:pt x="949408" y="85280"/>
                      </a:lnTo>
                      <a:lnTo>
                        <a:pt x="947805" y="85729"/>
                      </a:lnTo>
                      <a:lnTo>
                        <a:pt x="947064" y="86385"/>
                      </a:lnTo>
                      <a:lnTo>
                        <a:pt x="945971" y="87793"/>
                      </a:lnTo>
                      <a:lnTo>
                        <a:pt x="944186" y="91436"/>
                      </a:lnTo>
                      <a:lnTo>
                        <a:pt x="943203" y="94848"/>
                      </a:lnTo>
                      <a:lnTo>
                        <a:pt x="942863" y="98783"/>
                      </a:lnTo>
                      <a:lnTo>
                        <a:pt x="943263" y="101078"/>
                      </a:lnTo>
                      <a:lnTo>
                        <a:pt x="944478" y="102608"/>
                      </a:lnTo>
                      <a:lnTo>
                        <a:pt x="946311" y="103518"/>
                      </a:lnTo>
                      <a:lnTo>
                        <a:pt x="948315" y="104101"/>
                      </a:lnTo>
                      <a:lnTo>
                        <a:pt x="950161" y="104259"/>
                      </a:lnTo>
                      <a:lnTo>
                        <a:pt x="951654" y="104150"/>
                      </a:lnTo>
                      <a:lnTo>
                        <a:pt x="953318" y="103688"/>
                      </a:lnTo>
                      <a:lnTo>
                        <a:pt x="954811" y="102972"/>
                      </a:lnTo>
                      <a:lnTo>
                        <a:pt x="956827" y="101345"/>
                      </a:lnTo>
                      <a:lnTo>
                        <a:pt x="958078" y="100568"/>
                      </a:lnTo>
                      <a:lnTo>
                        <a:pt x="959462" y="100276"/>
                      </a:lnTo>
                      <a:lnTo>
                        <a:pt x="961757" y="100301"/>
                      </a:lnTo>
                      <a:lnTo>
                        <a:pt x="962680" y="100167"/>
                      </a:lnTo>
                      <a:lnTo>
                        <a:pt x="963372" y="99815"/>
                      </a:lnTo>
                      <a:lnTo>
                        <a:pt x="964635" y="98382"/>
                      </a:lnTo>
                      <a:lnTo>
                        <a:pt x="965388" y="97690"/>
                      </a:lnTo>
                      <a:lnTo>
                        <a:pt x="966299" y="97314"/>
                      </a:lnTo>
                      <a:lnTo>
                        <a:pt x="967671" y="97544"/>
                      </a:lnTo>
                      <a:lnTo>
                        <a:pt x="968824" y="98321"/>
                      </a:lnTo>
                      <a:lnTo>
                        <a:pt x="970136" y="100422"/>
                      </a:lnTo>
                      <a:lnTo>
                        <a:pt x="970379" y="103033"/>
                      </a:lnTo>
                      <a:lnTo>
                        <a:pt x="969747" y="106311"/>
                      </a:lnTo>
                      <a:lnTo>
                        <a:pt x="966979" y="113512"/>
                      </a:lnTo>
                      <a:lnTo>
                        <a:pt x="966129" y="116949"/>
                      </a:lnTo>
                      <a:lnTo>
                        <a:pt x="964514" y="134301"/>
                      </a:lnTo>
                      <a:lnTo>
                        <a:pt x="965206" y="137713"/>
                      </a:lnTo>
                      <a:lnTo>
                        <a:pt x="966456" y="140130"/>
                      </a:lnTo>
                      <a:lnTo>
                        <a:pt x="969747" y="143712"/>
                      </a:lnTo>
                      <a:lnTo>
                        <a:pt x="971472" y="146383"/>
                      </a:lnTo>
                      <a:lnTo>
                        <a:pt x="971812" y="148508"/>
                      </a:lnTo>
                      <a:lnTo>
                        <a:pt x="971119" y="155175"/>
                      </a:lnTo>
                      <a:lnTo>
                        <a:pt x="970500" y="157275"/>
                      </a:lnTo>
                      <a:lnTo>
                        <a:pt x="969626" y="158696"/>
                      </a:lnTo>
                      <a:lnTo>
                        <a:pt x="968254" y="159303"/>
                      </a:lnTo>
                      <a:lnTo>
                        <a:pt x="966760" y="159558"/>
                      </a:lnTo>
                      <a:lnTo>
                        <a:pt x="961296" y="159303"/>
                      </a:lnTo>
                      <a:lnTo>
                        <a:pt x="959924" y="159728"/>
                      </a:lnTo>
                      <a:lnTo>
                        <a:pt x="958430" y="160797"/>
                      </a:lnTo>
                      <a:lnTo>
                        <a:pt x="957507" y="163067"/>
                      </a:lnTo>
                      <a:lnTo>
                        <a:pt x="957386" y="164646"/>
                      </a:lnTo>
                      <a:lnTo>
                        <a:pt x="957847" y="165824"/>
                      </a:lnTo>
                      <a:lnTo>
                        <a:pt x="958721" y="166771"/>
                      </a:lnTo>
                      <a:lnTo>
                        <a:pt x="960895" y="169783"/>
                      </a:lnTo>
                      <a:lnTo>
                        <a:pt x="962036" y="172478"/>
                      </a:lnTo>
                      <a:lnTo>
                        <a:pt x="962911" y="174118"/>
                      </a:lnTo>
                      <a:lnTo>
                        <a:pt x="965776" y="177603"/>
                      </a:lnTo>
                      <a:lnTo>
                        <a:pt x="967270" y="179922"/>
                      </a:lnTo>
                      <a:lnTo>
                        <a:pt x="968994" y="183990"/>
                      </a:lnTo>
                      <a:lnTo>
                        <a:pt x="970196" y="185714"/>
                      </a:lnTo>
                      <a:lnTo>
                        <a:pt x="971629" y="186868"/>
                      </a:lnTo>
                      <a:lnTo>
                        <a:pt x="973414" y="187183"/>
                      </a:lnTo>
                      <a:lnTo>
                        <a:pt x="975139" y="187159"/>
                      </a:lnTo>
                      <a:lnTo>
                        <a:pt x="976062" y="186637"/>
                      </a:lnTo>
                      <a:lnTo>
                        <a:pt x="976681" y="185605"/>
                      </a:lnTo>
                      <a:lnTo>
                        <a:pt x="977203" y="182994"/>
                      </a:lnTo>
                      <a:lnTo>
                        <a:pt x="977652" y="181586"/>
                      </a:lnTo>
                      <a:lnTo>
                        <a:pt x="978405" y="180578"/>
                      </a:lnTo>
                      <a:lnTo>
                        <a:pt x="979729" y="180092"/>
                      </a:lnTo>
                      <a:lnTo>
                        <a:pt x="980882" y="179922"/>
                      </a:lnTo>
                      <a:lnTo>
                        <a:pt x="983347" y="179922"/>
                      </a:lnTo>
                      <a:lnTo>
                        <a:pt x="988739" y="179060"/>
                      </a:lnTo>
                      <a:lnTo>
                        <a:pt x="989722" y="179035"/>
                      </a:lnTo>
                      <a:lnTo>
                        <a:pt x="996097" y="180323"/>
                      </a:lnTo>
                      <a:lnTo>
                        <a:pt x="998963" y="180432"/>
                      </a:lnTo>
                      <a:lnTo>
                        <a:pt x="1000578" y="180031"/>
                      </a:lnTo>
                      <a:lnTo>
                        <a:pt x="1002363" y="178829"/>
                      </a:lnTo>
                      <a:lnTo>
                        <a:pt x="1004136" y="176874"/>
                      </a:lnTo>
                      <a:lnTo>
                        <a:pt x="1006431" y="174834"/>
                      </a:lnTo>
                      <a:lnTo>
                        <a:pt x="1008386" y="173486"/>
                      </a:lnTo>
                      <a:lnTo>
                        <a:pt x="1010742" y="172515"/>
                      </a:lnTo>
                      <a:lnTo>
                        <a:pt x="1012575" y="172333"/>
                      </a:lnTo>
                      <a:lnTo>
                        <a:pt x="1014470" y="172600"/>
                      </a:lnTo>
                      <a:lnTo>
                        <a:pt x="1017396" y="174348"/>
                      </a:lnTo>
                      <a:lnTo>
                        <a:pt x="1019011" y="174955"/>
                      </a:lnTo>
                      <a:lnTo>
                        <a:pt x="1022618" y="175781"/>
                      </a:lnTo>
                      <a:lnTo>
                        <a:pt x="1025095" y="176643"/>
                      </a:lnTo>
                      <a:lnTo>
                        <a:pt x="1026819" y="177542"/>
                      </a:lnTo>
                      <a:lnTo>
                        <a:pt x="1030256" y="180055"/>
                      </a:lnTo>
                      <a:lnTo>
                        <a:pt x="1031300" y="181464"/>
                      </a:lnTo>
                      <a:lnTo>
                        <a:pt x="1031810" y="182763"/>
                      </a:lnTo>
                      <a:lnTo>
                        <a:pt x="1032162" y="184475"/>
                      </a:lnTo>
                      <a:lnTo>
                        <a:pt x="1033813" y="189078"/>
                      </a:lnTo>
                      <a:lnTo>
                        <a:pt x="1035999" y="193522"/>
                      </a:lnTo>
                      <a:lnTo>
                        <a:pt x="1037274" y="195453"/>
                      </a:lnTo>
                      <a:lnTo>
                        <a:pt x="1038537" y="196776"/>
                      </a:lnTo>
                      <a:lnTo>
                        <a:pt x="1039678" y="197262"/>
                      </a:lnTo>
                      <a:lnTo>
                        <a:pt x="1041573" y="197663"/>
                      </a:lnTo>
                      <a:lnTo>
                        <a:pt x="1043006" y="197748"/>
                      </a:lnTo>
                      <a:lnTo>
                        <a:pt x="1043819" y="197638"/>
                      </a:lnTo>
                      <a:lnTo>
                        <a:pt x="1047547" y="195598"/>
                      </a:lnTo>
                      <a:lnTo>
                        <a:pt x="1049733" y="195477"/>
                      </a:lnTo>
                      <a:lnTo>
                        <a:pt x="1052137" y="196485"/>
                      </a:lnTo>
                      <a:lnTo>
                        <a:pt x="1053461" y="198003"/>
                      </a:lnTo>
                      <a:lnTo>
                        <a:pt x="1054602" y="200018"/>
                      </a:lnTo>
                      <a:lnTo>
                        <a:pt x="1056387" y="204463"/>
                      </a:lnTo>
                      <a:lnTo>
                        <a:pt x="1057650" y="205811"/>
                      </a:lnTo>
                      <a:lnTo>
                        <a:pt x="1059144" y="206588"/>
                      </a:lnTo>
                      <a:lnTo>
                        <a:pt x="1060929" y="206758"/>
                      </a:lnTo>
                      <a:lnTo>
                        <a:pt x="1062701" y="206563"/>
                      </a:lnTo>
                      <a:lnTo>
                        <a:pt x="1064256" y="206199"/>
                      </a:lnTo>
                      <a:lnTo>
                        <a:pt x="1067012" y="204499"/>
                      </a:lnTo>
                      <a:lnTo>
                        <a:pt x="1068627" y="203892"/>
                      </a:lnTo>
                      <a:lnTo>
                        <a:pt x="1072416" y="203261"/>
                      </a:lnTo>
                      <a:lnTo>
                        <a:pt x="1074140" y="202022"/>
                      </a:lnTo>
                      <a:lnTo>
                        <a:pt x="1076884" y="199241"/>
                      </a:lnTo>
                      <a:lnTo>
                        <a:pt x="1078317" y="199047"/>
                      </a:lnTo>
                      <a:lnTo>
                        <a:pt x="1079872" y="199642"/>
                      </a:lnTo>
                      <a:lnTo>
                        <a:pt x="1081304" y="200905"/>
                      </a:lnTo>
                      <a:lnTo>
                        <a:pt x="1084413" y="203030"/>
                      </a:lnTo>
                      <a:lnTo>
                        <a:pt x="1087048" y="203176"/>
                      </a:lnTo>
                      <a:lnTo>
                        <a:pt x="1091067" y="202483"/>
                      </a:lnTo>
                      <a:lnTo>
                        <a:pt x="1093375" y="201621"/>
                      </a:lnTo>
                      <a:lnTo>
                        <a:pt x="1094455" y="200856"/>
                      </a:lnTo>
                      <a:lnTo>
                        <a:pt x="1094868" y="199921"/>
                      </a:lnTo>
                      <a:lnTo>
                        <a:pt x="1095026" y="198901"/>
                      </a:lnTo>
                      <a:lnTo>
                        <a:pt x="1095439" y="197942"/>
                      </a:lnTo>
                      <a:lnTo>
                        <a:pt x="1096179" y="197201"/>
                      </a:lnTo>
                      <a:lnTo>
                        <a:pt x="1103077" y="193789"/>
                      </a:lnTo>
                      <a:lnTo>
                        <a:pt x="1104740" y="193728"/>
                      </a:lnTo>
                      <a:lnTo>
                        <a:pt x="1105833" y="194323"/>
                      </a:lnTo>
                      <a:lnTo>
                        <a:pt x="1106343" y="195647"/>
                      </a:lnTo>
                      <a:lnTo>
                        <a:pt x="1106234" y="197056"/>
                      </a:lnTo>
                      <a:lnTo>
                        <a:pt x="1104971" y="201621"/>
                      </a:lnTo>
                      <a:lnTo>
                        <a:pt x="1104850" y="203006"/>
                      </a:lnTo>
                      <a:lnTo>
                        <a:pt x="1105129" y="204499"/>
                      </a:lnTo>
                      <a:lnTo>
                        <a:pt x="1106003" y="205871"/>
                      </a:lnTo>
                      <a:lnTo>
                        <a:pt x="1107667" y="206940"/>
                      </a:lnTo>
                      <a:lnTo>
                        <a:pt x="1108638" y="206855"/>
                      </a:lnTo>
                      <a:lnTo>
                        <a:pt x="1109670" y="205993"/>
                      </a:lnTo>
                      <a:lnTo>
                        <a:pt x="1110933" y="204669"/>
                      </a:lnTo>
                      <a:lnTo>
                        <a:pt x="1112548" y="203370"/>
                      </a:lnTo>
                      <a:lnTo>
                        <a:pt x="1115705" y="202058"/>
                      </a:lnTo>
                      <a:lnTo>
                        <a:pt x="1117029" y="202228"/>
                      </a:lnTo>
                      <a:lnTo>
                        <a:pt x="1117660" y="203236"/>
                      </a:lnTo>
                      <a:lnTo>
                        <a:pt x="1118243" y="207074"/>
                      </a:lnTo>
                      <a:lnTo>
                        <a:pt x="1120587" y="211239"/>
                      </a:lnTo>
                      <a:lnTo>
                        <a:pt x="1120988" y="212477"/>
                      </a:lnTo>
                      <a:lnTo>
                        <a:pt x="1121170" y="213740"/>
                      </a:lnTo>
                      <a:lnTo>
                        <a:pt x="1121109" y="214918"/>
                      </a:lnTo>
                      <a:lnTo>
                        <a:pt x="1120805" y="215950"/>
                      </a:lnTo>
                      <a:lnTo>
                        <a:pt x="1120356" y="216557"/>
                      </a:lnTo>
                      <a:lnTo>
                        <a:pt x="1119555" y="216897"/>
                      </a:lnTo>
                      <a:lnTo>
                        <a:pt x="1116798" y="217383"/>
                      </a:lnTo>
                      <a:lnTo>
                        <a:pt x="1115657" y="217990"/>
                      </a:lnTo>
                      <a:lnTo>
                        <a:pt x="1115086" y="218852"/>
                      </a:lnTo>
                      <a:lnTo>
                        <a:pt x="1114843" y="220115"/>
                      </a:lnTo>
                      <a:lnTo>
                        <a:pt x="1115135" y="221633"/>
                      </a:lnTo>
                      <a:lnTo>
                        <a:pt x="1115754" y="223503"/>
                      </a:lnTo>
                      <a:lnTo>
                        <a:pt x="1117430" y="225652"/>
                      </a:lnTo>
                      <a:lnTo>
                        <a:pt x="1118061" y="227000"/>
                      </a:lnTo>
                      <a:lnTo>
                        <a:pt x="1118243" y="228154"/>
                      </a:lnTo>
                      <a:lnTo>
                        <a:pt x="1117830" y="229586"/>
                      </a:lnTo>
                      <a:lnTo>
                        <a:pt x="1117770" y="231335"/>
                      </a:lnTo>
                      <a:lnTo>
                        <a:pt x="1117940" y="233205"/>
                      </a:lnTo>
                      <a:lnTo>
                        <a:pt x="1118923" y="235439"/>
                      </a:lnTo>
                      <a:lnTo>
                        <a:pt x="1120526" y="237880"/>
                      </a:lnTo>
                      <a:lnTo>
                        <a:pt x="1123744" y="241851"/>
                      </a:lnTo>
                      <a:lnTo>
                        <a:pt x="1129026" y="249974"/>
                      </a:lnTo>
                      <a:lnTo>
                        <a:pt x="1130629" y="251213"/>
                      </a:lnTo>
                      <a:lnTo>
                        <a:pt x="1138607" y="254042"/>
                      </a:lnTo>
                      <a:lnTo>
                        <a:pt x="1139991" y="254747"/>
                      </a:lnTo>
                      <a:lnTo>
                        <a:pt x="1140853" y="255572"/>
                      </a:lnTo>
                      <a:lnTo>
                        <a:pt x="1141545" y="257127"/>
                      </a:lnTo>
                      <a:lnTo>
                        <a:pt x="1142055" y="259361"/>
                      </a:lnTo>
                      <a:lnTo>
                        <a:pt x="1141958" y="261680"/>
                      </a:lnTo>
                      <a:lnTo>
                        <a:pt x="1141084" y="263526"/>
                      </a:lnTo>
                      <a:lnTo>
                        <a:pt x="1139481" y="264789"/>
                      </a:lnTo>
                      <a:lnTo>
                        <a:pt x="1137065" y="266307"/>
                      </a:lnTo>
                      <a:lnTo>
                        <a:pt x="1136033" y="267193"/>
                      </a:lnTo>
                      <a:lnTo>
                        <a:pt x="1135632" y="268517"/>
                      </a:lnTo>
                      <a:lnTo>
                        <a:pt x="1135413" y="269780"/>
                      </a:lnTo>
                      <a:lnTo>
                        <a:pt x="1136664" y="273799"/>
                      </a:lnTo>
                      <a:lnTo>
                        <a:pt x="1138279" y="279749"/>
                      </a:lnTo>
                      <a:lnTo>
                        <a:pt x="1139360" y="283222"/>
                      </a:lnTo>
                      <a:lnTo>
                        <a:pt x="1142748" y="288613"/>
                      </a:lnTo>
                      <a:lnTo>
                        <a:pt x="1143270" y="291515"/>
                      </a:lnTo>
                      <a:lnTo>
                        <a:pt x="1142991" y="294733"/>
                      </a:lnTo>
                      <a:lnTo>
                        <a:pt x="1143671" y="297174"/>
                      </a:lnTo>
                      <a:lnTo>
                        <a:pt x="1147411" y="304982"/>
                      </a:lnTo>
                      <a:lnTo>
                        <a:pt x="1153033" y="322468"/>
                      </a:lnTo>
                      <a:lnTo>
                        <a:pt x="1155559" y="327689"/>
                      </a:lnTo>
                      <a:lnTo>
                        <a:pt x="1158716" y="332061"/>
                      </a:lnTo>
                      <a:lnTo>
                        <a:pt x="1161290" y="334817"/>
                      </a:lnTo>
                      <a:lnTo>
                        <a:pt x="1166014" y="341447"/>
                      </a:lnTo>
                      <a:lnTo>
                        <a:pt x="1167386" y="343026"/>
                      </a:lnTo>
                      <a:lnTo>
                        <a:pt x="1168309" y="343621"/>
                      </a:lnTo>
                      <a:lnTo>
                        <a:pt x="1170373" y="345491"/>
                      </a:lnTo>
                      <a:lnTo>
                        <a:pt x="1175254" y="352534"/>
                      </a:lnTo>
                      <a:lnTo>
                        <a:pt x="1183694" y="359249"/>
                      </a:lnTo>
                      <a:lnTo>
                        <a:pt x="1187422" y="361082"/>
                      </a:lnTo>
                      <a:lnTo>
                        <a:pt x="1189267" y="362867"/>
                      </a:lnTo>
                      <a:lnTo>
                        <a:pt x="1189498" y="364240"/>
                      </a:lnTo>
                      <a:lnTo>
                        <a:pt x="1188854" y="365757"/>
                      </a:lnTo>
                      <a:lnTo>
                        <a:pt x="1188405" y="367834"/>
                      </a:lnTo>
                      <a:lnTo>
                        <a:pt x="1189207" y="370445"/>
                      </a:lnTo>
                      <a:lnTo>
                        <a:pt x="1190870" y="371307"/>
                      </a:lnTo>
                      <a:lnTo>
                        <a:pt x="1192643" y="371137"/>
                      </a:lnTo>
                      <a:lnTo>
                        <a:pt x="1194197" y="370360"/>
                      </a:lnTo>
                      <a:lnTo>
                        <a:pt x="1195521" y="370360"/>
                      </a:lnTo>
                      <a:lnTo>
                        <a:pt x="1197694" y="370785"/>
                      </a:lnTo>
                      <a:lnTo>
                        <a:pt x="1200694" y="373116"/>
                      </a:lnTo>
                      <a:lnTo>
                        <a:pt x="1205332" y="374828"/>
                      </a:lnTo>
                      <a:lnTo>
                        <a:pt x="1208101" y="375447"/>
                      </a:lnTo>
                      <a:lnTo>
                        <a:pt x="1210627" y="376273"/>
                      </a:lnTo>
                      <a:lnTo>
                        <a:pt x="1215277" y="380183"/>
                      </a:lnTo>
                      <a:lnTo>
                        <a:pt x="1223887" y="388562"/>
                      </a:lnTo>
                      <a:lnTo>
                        <a:pt x="1236685" y="405064"/>
                      </a:lnTo>
                      <a:lnTo>
                        <a:pt x="1239163" y="409205"/>
                      </a:lnTo>
                      <a:lnTo>
                        <a:pt x="1240765" y="413370"/>
                      </a:lnTo>
                      <a:lnTo>
                        <a:pt x="1241749" y="414511"/>
                      </a:lnTo>
                      <a:lnTo>
                        <a:pt x="1243753" y="416551"/>
                      </a:lnTo>
                      <a:lnTo>
                        <a:pt x="1245076" y="418591"/>
                      </a:lnTo>
                      <a:lnTo>
                        <a:pt x="1247092" y="422866"/>
                      </a:lnTo>
                      <a:lnTo>
                        <a:pt x="1246910" y="425112"/>
                      </a:lnTo>
                      <a:lnTo>
                        <a:pt x="1245659" y="426108"/>
                      </a:lnTo>
                      <a:lnTo>
                        <a:pt x="1243753" y="425391"/>
                      </a:lnTo>
                      <a:lnTo>
                        <a:pt x="1242028" y="423958"/>
                      </a:lnTo>
                      <a:lnTo>
                        <a:pt x="1239163" y="420656"/>
                      </a:lnTo>
                      <a:lnTo>
                        <a:pt x="1237900" y="420170"/>
                      </a:lnTo>
                      <a:lnTo>
                        <a:pt x="1236625" y="420741"/>
                      </a:lnTo>
                      <a:lnTo>
                        <a:pt x="1235435" y="422149"/>
                      </a:lnTo>
                      <a:lnTo>
                        <a:pt x="1233431" y="425622"/>
                      </a:lnTo>
                      <a:lnTo>
                        <a:pt x="1231986" y="426921"/>
                      </a:lnTo>
                      <a:lnTo>
                        <a:pt x="1230772" y="427662"/>
                      </a:lnTo>
                      <a:lnTo>
                        <a:pt x="1226765" y="429046"/>
                      </a:lnTo>
                      <a:lnTo>
                        <a:pt x="1224628" y="429994"/>
                      </a:lnTo>
                      <a:lnTo>
                        <a:pt x="1222915" y="431135"/>
                      </a:lnTo>
                      <a:lnTo>
                        <a:pt x="1221701" y="432313"/>
                      </a:lnTo>
                      <a:lnTo>
                        <a:pt x="1220851" y="434414"/>
                      </a:lnTo>
                      <a:lnTo>
                        <a:pt x="1221130" y="435956"/>
                      </a:lnTo>
                      <a:lnTo>
                        <a:pt x="1222162" y="437364"/>
                      </a:lnTo>
                      <a:lnTo>
                        <a:pt x="1226874" y="440728"/>
                      </a:lnTo>
                      <a:lnTo>
                        <a:pt x="1227906" y="441068"/>
                      </a:lnTo>
                      <a:lnTo>
                        <a:pt x="1229048" y="440679"/>
                      </a:lnTo>
                      <a:lnTo>
                        <a:pt x="1229983" y="439841"/>
                      </a:lnTo>
                      <a:lnTo>
                        <a:pt x="1231573" y="437631"/>
                      </a:lnTo>
                      <a:lnTo>
                        <a:pt x="1232205" y="436964"/>
                      </a:lnTo>
                      <a:lnTo>
                        <a:pt x="1233310" y="436308"/>
                      </a:lnTo>
                      <a:lnTo>
                        <a:pt x="1234621" y="435907"/>
                      </a:lnTo>
                      <a:lnTo>
                        <a:pt x="1236066" y="436284"/>
                      </a:lnTo>
                      <a:lnTo>
                        <a:pt x="1237438" y="437571"/>
                      </a:lnTo>
                      <a:lnTo>
                        <a:pt x="1237620" y="439574"/>
                      </a:lnTo>
                      <a:lnTo>
                        <a:pt x="1236807" y="441457"/>
                      </a:lnTo>
                      <a:lnTo>
                        <a:pt x="1234002" y="444954"/>
                      </a:lnTo>
                      <a:lnTo>
                        <a:pt x="1230444" y="448026"/>
                      </a:lnTo>
                      <a:lnTo>
                        <a:pt x="1229691" y="449689"/>
                      </a:lnTo>
                      <a:lnTo>
                        <a:pt x="1229169" y="452749"/>
                      </a:lnTo>
                      <a:lnTo>
                        <a:pt x="1228586" y="454219"/>
                      </a:lnTo>
                      <a:lnTo>
                        <a:pt x="1227457" y="455433"/>
                      </a:lnTo>
                      <a:lnTo>
                        <a:pt x="1226522" y="456198"/>
                      </a:lnTo>
                      <a:lnTo>
                        <a:pt x="1225720" y="457522"/>
                      </a:lnTo>
                      <a:lnTo>
                        <a:pt x="1225502" y="458044"/>
                      </a:lnTo>
                      <a:lnTo>
                        <a:pt x="1225441" y="458360"/>
                      </a:lnTo>
                      <a:lnTo>
                        <a:pt x="1227275" y="459622"/>
                      </a:lnTo>
                      <a:lnTo>
                        <a:pt x="1228428" y="460740"/>
                      </a:lnTo>
                      <a:lnTo>
                        <a:pt x="1229400" y="462828"/>
                      </a:lnTo>
                      <a:lnTo>
                        <a:pt x="1229169" y="464261"/>
                      </a:lnTo>
                      <a:lnTo>
                        <a:pt x="1227396" y="465815"/>
                      </a:lnTo>
                      <a:lnTo>
                        <a:pt x="1226765" y="466860"/>
                      </a:lnTo>
                      <a:lnTo>
                        <a:pt x="1225781" y="467515"/>
                      </a:lnTo>
                      <a:lnTo>
                        <a:pt x="1224057" y="467940"/>
                      </a:lnTo>
                      <a:lnTo>
                        <a:pt x="1219758" y="467285"/>
                      </a:lnTo>
                      <a:lnTo>
                        <a:pt x="1219005" y="467746"/>
                      </a:lnTo>
                      <a:lnTo>
                        <a:pt x="1217973" y="470964"/>
                      </a:lnTo>
                      <a:lnTo>
                        <a:pt x="1218945" y="474922"/>
                      </a:lnTo>
                      <a:lnTo>
                        <a:pt x="1224931" y="478456"/>
                      </a:lnTo>
                      <a:lnTo>
                        <a:pt x="1226012" y="479658"/>
                      </a:lnTo>
                      <a:lnTo>
                        <a:pt x="1226813" y="480897"/>
                      </a:lnTo>
                      <a:lnTo>
                        <a:pt x="1226935" y="482585"/>
                      </a:lnTo>
                      <a:lnTo>
                        <a:pt x="1227214" y="484540"/>
                      </a:lnTo>
                      <a:lnTo>
                        <a:pt x="1228076" y="487502"/>
                      </a:lnTo>
                      <a:lnTo>
                        <a:pt x="1229460" y="489130"/>
                      </a:lnTo>
                      <a:lnTo>
                        <a:pt x="1231816" y="490198"/>
                      </a:lnTo>
                      <a:lnTo>
                        <a:pt x="1249108" y="487842"/>
                      </a:lnTo>
                      <a:lnTo>
                        <a:pt x="1254378" y="488328"/>
                      </a:lnTo>
                      <a:lnTo>
                        <a:pt x="1258628" y="492578"/>
                      </a:lnTo>
                      <a:lnTo>
                        <a:pt x="1265404" y="497290"/>
                      </a:lnTo>
                      <a:lnTo>
                        <a:pt x="1271038" y="493295"/>
                      </a:lnTo>
                      <a:lnTo>
                        <a:pt x="1271779" y="491825"/>
                      </a:lnTo>
                      <a:lnTo>
                        <a:pt x="1272119" y="490429"/>
                      </a:lnTo>
                      <a:lnTo>
                        <a:pt x="1271439" y="489275"/>
                      </a:lnTo>
                      <a:lnTo>
                        <a:pt x="1270807" y="487806"/>
                      </a:lnTo>
                      <a:lnTo>
                        <a:pt x="1270346" y="485802"/>
                      </a:lnTo>
                      <a:lnTo>
                        <a:pt x="1270054" y="483022"/>
                      </a:lnTo>
                      <a:lnTo>
                        <a:pt x="1269593" y="481492"/>
                      </a:lnTo>
                      <a:lnTo>
                        <a:pt x="1268961" y="480581"/>
                      </a:lnTo>
                      <a:lnTo>
                        <a:pt x="1266666" y="478917"/>
                      </a:lnTo>
                      <a:lnTo>
                        <a:pt x="1265574" y="476647"/>
                      </a:lnTo>
                      <a:lnTo>
                        <a:pt x="1265513" y="473951"/>
                      </a:lnTo>
                      <a:lnTo>
                        <a:pt x="1265756" y="469786"/>
                      </a:lnTo>
                      <a:lnTo>
                        <a:pt x="1265404" y="466920"/>
                      </a:lnTo>
                      <a:lnTo>
                        <a:pt x="1262878" y="460023"/>
                      </a:lnTo>
                      <a:lnTo>
                        <a:pt x="1261384" y="454304"/>
                      </a:lnTo>
                      <a:lnTo>
                        <a:pt x="1261336" y="451523"/>
                      </a:lnTo>
                      <a:lnTo>
                        <a:pt x="1261724" y="449313"/>
                      </a:lnTo>
                      <a:lnTo>
                        <a:pt x="1262428" y="446557"/>
                      </a:lnTo>
                      <a:lnTo>
                        <a:pt x="1263048" y="445087"/>
                      </a:lnTo>
                      <a:lnTo>
                        <a:pt x="1263679" y="444092"/>
                      </a:lnTo>
                      <a:lnTo>
                        <a:pt x="1264651" y="443509"/>
                      </a:lnTo>
                      <a:lnTo>
                        <a:pt x="1265756" y="443254"/>
                      </a:lnTo>
                      <a:lnTo>
                        <a:pt x="1266836" y="443193"/>
                      </a:lnTo>
                      <a:lnTo>
                        <a:pt x="1270868" y="444286"/>
                      </a:lnTo>
                      <a:lnTo>
                        <a:pt x="1272301" y="444456"/>
                      </a:lnTo>
                      <a:lnTo>
                        <a:pt x="1274025" y="444286"/>
                      </a:lnTo>
                      <a:lnTo>
                        <a:pt x="1275276" y="443885"/>
                      </a:lnTo>
                      <a:lnTo>
                        <a:pt x="1277170" y="442561"/>
                      </a:lnTo>
                      <a:lnTo>
                        <a:pt x="1278141" y="442112"/>
                      </a:lnTo>
                      <a:lnTo>
                        <a:pt x="1279416" y="442015"/>
                      </a:lnTo>
                      <a:lnTo>
                        <a:pt x="1281821" y="442561"/>
                      </a:lnTo>
                      <a:lnTo>
                        <a:pt x="1288949" y="448390"/>
                      </a:lnTo>
                      <a:lnTo>
                        <a:pt x="1291474" y="448390"/>
                      </a:lnTo>
                      <a:lnTo>
                        <a:pt x="1294231" y="447795"/>
                      </a:lnTo>
                      <a:lnTo>
                        <a:pt x="1296186" y="445403"/>
                      </a:lnTo>
                      <a:lnTo>
                        <a:pt x="1296817" y="442914"/>
                      </a:lnTo>
                      <a:lnTo>
                        <a:pt x="1296307" y="440874"/>
                      </a:lnTo>
                      <a:lnTo>
                        <a:pt x="1294923" y="439319"/>
                      </a:lnTo>
                      <a:lnTo>
                        <a:pt x="1293308" y="438457"/>
                      </a:lnTo>
                      <a:lnTo>
                        <a:pt x="1290442" y="437340"/>
                      </a:lnTo>
                      <a:lnTo>
                        <a:pt x="1289349" y="436308"/>
                      </a:lnTo>
                      <a:lnTo>
                        <a:pt x="1288888" y="434438"/>
                      </a:lnTo>
                      <a:lnTo>
                        <a:pt x="1289799" y="433406"/>
                      </a:lnTo>
                      <a:lnTo>
                        <a:pt x="1291013" y="432871"/>
                      </a:lnTo>
                      <a:lnTo>
                        <a:pt x="1294449" y="432167"/>
                      </a:lnTo>
                      <a:lnTo>
                        <a:pt x="1295324" y="431366"/>
                      </a:lnTo>
                      <a:lnTo>
                        <a:pt x="1295724" y="429933"/>
                      </a:lnTo>
                      <a:lnTo>
                        <a:pt x="1295154" y="428561"/>
                      </a:lnTo>
                      <a:lnTo>
                        <a:pt x="1293939" y="427577"/>
                      </a:lnTo>
                      <a:lnTo>
                        <a:pt x="1290734" y="425853"/>
                      </a:lnTo>
                      <a:lnTo>
                        <a:pt x="1289179" y="424420"/>
                      </a:lnTo>
                      <a:lnTo>
                        <a:pt x="1287965" y="422501"/>
                      </a:lnTo>
                      <a:lnTo>
                        <a:pt x="1287576" y="419247"/>
                      </a:lnTo>
                      <a:lnTo>
                        <a:pt x="1288548" y="417875"/>
                      </a:lnTo>
                      <a:lnTo>
                        <a:pt x="1289702" y="417498"/>
                      </a:lnTo>
                      <a:lnTo>
                        <a:pt x="1291875" y="418470"/>
                      </a:lnTo>
                      <a:lnTo>
                        <a:pt x="1294122" y="419198"/>
                      </a:lnTo>
                      <a:lnTo>
                        <a:pt x="1295324" y="419939"/>
                      </a:lnTo>
                      <a:lnTo>
                        <a:pt x="1296247" y="420911"/>
                      </a:lnTo>
                      <a:lnTo>
                        <a:pt x="1296927" y="422149"/>
                      </a:lnTo>
                      <a:lnTo>
                        <a:pt x="1297437" y="423509"/>
                      </a:lnTo>
                      <a:lnTo>
                        <a:pt x="1298080" y="424651"/>
                      </a:lnTo>
                      <a:lnTo>
                        <a:pt x="1298833" y="425561"/>
                      </a:lnTo>
                      <a:lnTo>
                        <a:pt x="1299865" y="426290"/>
                      </a:lnTo>
                      <a:lnTo>
                        <a:pt x="1300837" y="426569"/>
                      </a:lnTo>
                      <a:lnTo>
                        <a:pt x="1309494" y="425161"/>
                      </a:lnTo>
                      <a:lnTo>
                        <a:pt x="1312894" y="424165"/>
                      </a:lnTo>
                      <a:lnTo>
                        <a:pt x="1315250" y="424250"/>
                      </a:lnTo>
                      <a:lnTo>
                        <a:pt x="1316853" y="425258"/>
                      </a:lnTo>
                      <a:lnTo>
                        <a:pt x="1321625" y="432143"/>
                      </a:lnTo>
                      <a:lnTo>
                        <a:pt x="1322305" y="433527"/>
                      </a:lnTo>
                      <a:lnTo>
                        <a:pt x="1322366" y="434462"/>
                      </a:lnTo>
                      <a:lnTo>
                        <a:pt x="1321795" y="434790"/>
                      </a:lnTo>
                      <a:lnTo>
                        <a:pt x="1320302" y="434693"/>
                      </a:lnTo>
                      <a:lnTo>
                        <a:pt x="1318748" y="434244"/>
                      </a:lnTo>
                      <a:lnTo>
                        <a:pt x="1316574" y="433430"/>
                      </a:lnTo>
                      <a:lnTo>
                        <a:pt x="1315360" y="433260"/>
                      </a:lnTo>
                      <a:lnTo>
                        <a:pt x="1314607" y="433527"/>
                      </a:lnTo>
                      <a:lnTo>
                        <a:pt x="1314327" y="434559"/>
                      </a:lnTo>
                      <a:lnTo>
                        <a:pt x="1314667" y="435871"/>
                      </a:lnTo>
                      <a:lnTo>
                        <a:pt x="1315542" y="437170"/>
                      </a:lnTo>
                      <a:lnTo>
                        <a:pt x="1319901" y="439744"/>
                      </a:lnTo>
                      <a:lnTo>
                        <a:pt x="1320593" y="440412"/>
                      </a:lnTo>
                      <a:lnTo>
                        <a:pt x="1321152" y="441104"/>
                      </a:lnTo>
                      <a:lnTo>
                        <a:pt x="1321115" y="441651"/>
                      </a:lnTo>
                      <a:lnTo>
                        <a:pt x="1320302" y="442137"/>
                      </a:lnTo>
                      <a:lnTo>
                        <a:pt x="1316732" y="443229"/>
                      </a:lnTo>
                      <a:lnTo>
                        <a:pt x="1315590" y="444031"/>
                      </a:lnTo>
                      <a:lnTo>
                        <a:pt x="1315360" y="445172"/>
                      </a:lnTo>
                      <a:lnTo>
                        <a:pt x="1316161" y="446277"/>
                      </a:lnTo>
                      <a:lnTo>
                        <a:pt x="1323119" y="449459"/>
                      </a:lnTo>
                      <a:lnTo>
                        <a:pt x="1324952" y="449689"/>
                      </a:lnTo>
                      <a:lnTo>
                        <a:pt x="1327478" y="449544"/>
                      </a:lnTo>
                      <a:lnTo>
                        <a:pt x="1328693" y="449750"/>
                      </a:lnTo>
                      <a:lnTo>
                        <a:pt x="1329664" y="450527"/>
                      </a:lnTo>
                      <a:lnTo>
                        <a:pt x="1330405" y="452264"/>
                      </a:lnTo>
                      <a:lnTo>
                        <a:pt x="1332250" y="459683"/>
                      </a:lnTo>
                      <a:lnTo>
                        <a:pt x="1332930" y="461286"/>
                      </a:lnTo>
                      <a:lnTo>
                        <a:pt x="1333793" y="462609"/>
                      </a:lnTo>
                      <a:lnTo>
                        <a:pt x="1335517" y="464127"/>
                      </a:lnTo>
                      <a:lnTo>
                        <a:pt x="1336731" y="464127"/>
                      </a:lnTo>
                      <a:lnTo>
                        <a:pt x="1338225" y="463095"/>
                      </a:lnTo>
                      <a:lnTo>
                        <a:pt x="1341200" y="459270"/>
                      </a:lnTo>
                      <a:lnTo>
                        <a:pt x="1341940" y="458529"/>
                      </a:lnTo>
                      <a:lnTo>
                        <a:pt x="1342572" y="458104"/>
                      </a:lnTo>
                      <a:lnTo>
                        <a:pt x="1344988" y="457060"/>
                      </a:lnTo>
                      <a:lnTo>
                        <a:pt x="1347113" y="456453"/>
                      </a:lnTo>
                      <a:lnTo>
                        <a:pt x="1351193" y="456064"/>
                      </a:lnTo>
                      <a:lnTo>
                        <a:pt x="1353598" y="455542"/>
                      </a:lnTo>
                      <a:lnTo>
                        <a:pt x="1355213" y="454862"/>
                      </a:lnTo>
                      <a:lnTo>
                        <a:pt x="1355504" y="453988"/>
                      </a:lnTo>
                      <a:lnTo>
                        <a:pt x="1355213" y="452385"/>
                      </a:lnTo>
                      <a:lnTo>
                        <a:pt x="1353258" y="448074"/>
                      </a:lnTo>
                      <a:lnTo>
                        <a:pt x="1352565" y="446180"/>
                      </a:lnTo>
                      <a:lnTo>
                        <a:pt x="1352286" y="444541"/>
                      </a:lnTo>
                      <a:lnTo>
                        <a:pt x="1352347" y="443314"/>
                      </a:lnTo>
                      <a:lnTo>
                        <a:pt x="1352626" y="442112"/>
                      </a:lnTo>
                      <a:lnTo>
                        <a:pt x="1353136" y="440959"/>
                      </a:lnTo>
                      <a:lnTo>
                        <a:pt x="1354059" y="439987"/>
                      </a:lnTo>
                      <a:lnTo>
                        <a:pt x="1355553" y="438749"/>
                      </a:lnTo>
                      <a:lnTo>
                        <a:pt x="1358370" y="437219"/>
                      </a:lnTo>
                      <a:lnTo>
                        <a:pt x="1359924" y="435956"/>
                      </a:lnTo>
                      <a:lnTo>
                        <a:pt x="1361867" y="433867"/>
                      </a:lnTo>
                      <a:lnTo>
                        <a:pt x="1363081" y="433066"/>
                      </a:lnTo>
                      <a:lnTo>
                        <a:pt x="1365146" y="432143"/>
                      </a:lnTo>
                      <a:lnTo>
                        <a:pt x="1368655" y="429496"/>
                      </a:lnTo>
                      <a:lnTo>
                        <a:pt x="1369966" y="428294"/>
                      </a:lnTo>
                      <a:lnTo>
                        <a:pt x="1373986" y="425877"/>
                      </a:lnTo>
                      <a:lnTo>
                        <a:pt x="1378649" y="420401"/>
                      </a:lnTo>
                      <a:lnTo>
                        <a:pt x="1379899" y="417183"/>
                      </a:lnTo>
                      <a:lnTo>
                        <a:pt x="1381162" y="415349"/>
                      </a:lnTo>
                      <a:lnTo>
                        <a:pt x="1382607" y="413831"/>
                      </a:lnTo>
                      <a:lnTo>
                        <a:pt x="1386554" y="411439"/>
                      </a:lnTo>
                      <a:lnTo>
                        <a:pt x="1388108" y="410917"/>
                      </a:lnTo>
                      <a:lnTo>
                        <a:pt x="1389844" y="410820"/>
                      </a:lnTo>
                      <a:lnTo>
                        <a:pt x="1391156" y="411148"/>
                      </a:lnTo>
                      <a:lnTo>
                        <a:pt x="1392467" y="411816"/>
                      </a:lnTo>
                      <a:lnTo>
                        <a:pt x="1393864" y="413078"/>
                      </a:lnTo>
                      <a:lnTo>
                        <a:pt x="1394604" y="414050"/>
                      </a:lnTo>
                      <a:lnTo>
                        <a:pt x="1396499" y="417134"/>
                      </a:lnTo>
                      <a:lnTo>
                        <a:pt x="1398162" y="418907"/>
                      </a:lnTo>
                      <a:lnTo>
                        <a:pt x="1405339" y="424529"/>
                      </a:lnTo>
                      <a:lnTo>
                        <a:pt x="1407063" y="426436"/>
                      </a:lnTo>
                      <a:lnTo>
                        <a:pt x="1408047" y="428609"/>
                      </a:lnTo>
                      <a:lnTo>
                        <a:pt x="1408387" y="430831"/>
                      </a:lnTo>
                      <a:lnTo>
                        <a:pt x="1408204" y="433357"/>
                      </a:lnTo>
                      <a:lnTo>
                        <a:pt x="1404999" y="444517"/>
                      </a:lnTo>
                      <a:lnTo>
                        <a:pt x="1404428" y="447844"/>
                      </a:lnTo>
                      <a:lnTo>
                        <a:pt x="1404537" y="451499"/>
                      </a:lnTo>
                      <a:lnTo>
                        <a:pt x="1405278" y="455020"/>
                      </a:lnTo>
                      <a:lnTo>
                        <a:pt x="1406832" y="458614"/>
                      </a:lnTo>
                      <a:lnTo>
                        <a:pt x="1407354" y="460569"/>
                      </a:lnTo>
                      <a:lnTo>
                        <a:pt x="1407646" y="462233"/>
                      </a:lnTo>
                      <a:lnTo>
                        <a:pt x="1407403" y="463496"/>
                      </a:lnTo>
                      <a:lnTo>
                        <a:pt x="1407063" y="464820"/>
                      </a:lnTo>
                      <a:lnTo>
                        <a:pt x="1406942" y="466483"/>
                      </a:lnTo>
                      <a:lnTo>
                        <a:pt x="1407063" y="468632"/>
                      </a:lnTo>
                      <a:lnTo>
                        <a:pt x="1408204" y="471826"/>
                      </a:lnTo>
                      <a:lnTo>
                        <a:pt x="1408617" y="473805"/>
                      </a:lnTo>
                      <a:lnTo>
                        <a:pt x="1408666" y="475469"/>
                      </a:lnTo>
                      <a:lnTo>
                        <a:pt x="1408107" y="478480"/>
                      </a:lnTo>
                      <a:lnTo>
                        <a:pt x="1408787" y="485633"/>
                      </a:lnTo>
                      <a:lnTo>
                        <a:pt x="1408557" y="487150"/>
                      </a:lnTo>
                      <a:lnTo>
                        <a:pt x="1408204" y="488292"/>
                      </a:lnTo>
                      <a:lnTo>
                        <a:pt x="1407646" y="489421"/>
                      </a:lnTo>
                      <a:lnTo>
                        <a:pt x="1404185" y="494218"/>
                      </a:lnTo>
                      <a:lnTo>
                        <a:pt x="1403505" y="495772"/>
                      </a:lnTo>
                      <a:lnTo>
                        <a:pt x="1400749" y="510173"/>
                      </a:lnTo>
                      <a:lnTo>
                        <a:pt x="1400749" y="512128"/>
                      </a:lnTo>
                      <a:lnTo>
                        <a:pt x="1401501" y="513452"/>
                      </a:lnTo>
                      <a:lnTo>
                        <a:pt x="1402291" y="514545"/>
                      </a:lnTo>
                      <a:lnTo>
                        <a:pt x="1403214" y="515431"/>
                      </a:lnTo>
                      <a:lnTo>
                        <a:pt x="1404137" y="516718"/>
                      </a:lnTo>
                      <a:lnTo>
                        <a:pt x="1404246" y="517593"/>
                      </a:lnTo>
                      <a:lnTo>
                        <a:pt x="1403845" y="518078"/>
                      </a:lnTo>
                      <a:lnTo>
                        <a:pt x="1400227" y="519220"/>
                      </a:lnTo>
                      <a:lnTo>
                        <a:pt x="1399425" y="519864"/>
                      </a:lnTo>
                      <a:lnTo>
                        <a:pt x="1398733" y="521199"/>
                      </a:lnTo>
                      <a:lnTo>
                        <a:pt x="1398976" y="522377"/>
                      </a:lnTo>
                      <a:lnTo>
                        <a:pt x="1399777" y="523446"/>
                      </a:lnTo>
                      <a:lnTo>
                        <a:pt x="1400567" y="524077"/>
                      </a:lnTo>
                      <a:lnTo>
                        <a:pt x="1402582" y="525109"/>
                      </a:lnTo>
                      <a:lnTo>
                        <a:pt x="1408204" y="523093"/>
                      </a:lnTo>
                      <a:lnTo>
                        <a:pt x="1414288" y="523300"/>
                      </a:lnTo>
                      <a:lnTo>
                        <a:pt x="1415842" y="521321"/>
                      </a:lnTo>
                      <a:lnTo>
                        <a:pt x="1418149" y="515698"/>
                      </a:lnTo>
                      <a:lnTo>
                        <a:pt x="1420445" y="513015"/>
                      </a:lnTo>
                      <a:lnTo>
                        <a:pt x="1423140" y="511788"/>
                      </a:lnTo>
                      <a:lnTo>
                        <a:pt x="1432794" y="510793"/>
                      </a:lnTo>
                      <a:lnTo>
                        <a:pt x="1433948" y="509748"/>
                      </a:lnTo>
                      <a:lnTo>
                        <a:pt x="1433644" y="508170"/>
                      </a:lnTo>
                      <a:lnTo>
                        <a:pt x="1432150" y="506822"/>
                      </a:lnTo>
                      <a:lnTo>
                        <a:pt x="1426467" y="504211"/>
                      </a:lnTo>
                      <a:lnTo>
                        <a:pt x="1425375" y="502633"/>
                      </a:lnTo>
                      <a:lnTo>
                        <a:pt x="1425326" y="500508"/>
                      </a:lnTo>
                      <a:lnTo>
                        <a:pt x="1426977" y="497375"/>
                      </a:lnTo>
                      <a:lnTo>
                        <a:pt x="1429224" y="496549"/>
                      </a:lnTo>
                      <a:lnTo>
                        <a:pt x="1431701" y="496804"/>
                      </a:lnTo>
                      <a:lnTo>
                        <a:pt x="1437906" y="499354"/>
                      </a:lnTo>
                      <a:lnTo>
                        <a:pt x="1441343" y="500253"/>
                      </a:lnTo>
                      <a:lnTo>
                        <a:pt x="1444451" y="500022"/>
                      </a:lnTo>
                      <a:lnTo>
                        <a:pt x="1446163" y="498868"/>
                      </a:lnTo>
                      <a:lnTo>
                        <a:pt x="1448980" y="495420"/>
                      </a:lnTo>
                      <a:lnTo>
                        <a:pt x="1450243" y="495310"/>
                      </a:lnTo>
                      <a:lnTo>
                        <a:pt x="1451105" y="496221"/>
                      </a:lnTo>
                      <a:lnTo>
                        <a:pt x="1451785" y="497776"/>
                      </a:lnTo>
                      <a:lnTo>
                        <a:pt x="1452660" y="499014"/>
                      </a:lnTo>
                      <a:lnTo>
                        <a:pt x="1454676" y="499208"/>
                      </a:lnTo>
                      <a:lnTo>
                        <a:pt x="1455647" y="498298"/>
                      </a:lnTo>
                      <a:lnTo>
                        <a:pt x="1456728" y="495565"/>
                      </a:lnTo>
                      <a:lnTo>
                        <a:pt x="1457942" y="495310"/>
                      </a:lnTo>
                      <a:lnTo>
                        <a:pt x="1459035" y="496282"/>
                      </a:lnTo>
                      <a:lnTo>
                        <a:pt x="1460237" y="498261"/>
                      </a:lnTo>
                      <a:lnTo>
                        <a:pt x="1461281" y="499670"/>
                      </a:lnTo>
                      <a:lnTo>
                        <a:pt x="1462471" y="500325"/>
                      </a:lnTo>
                      <a:lnTo>
                        <a:pt x="1463163" y="500216"/>
                      </a:lnTo>
                      <a:lnTo>
                        <a:pt x="1464025" y="499548"/>
                      </a:lnTo>
                      <a:lnTo>
                        <a:pt x="1466782" y="496002"/>
                      </a:lnTo>
                      <a:lnTo>
                        <a:pt x="1472003" y="496938"/>
                      </a:lnTo>
                      <a:lnTo>
                        <a:pt x="1474432" y="505183"/>
                      </a:lnTo>
                      <a:lnTo>
                        <a:pt x="1474760" y="510149"/>
                      </a:lnTo>
                      <a:lnTo>
                        <a:pt x="1474529" y="514654"/>
                      </a:lnTo>
                      <a:lnTo>
                        <a:pt x="1475039" y="515917"/>
                      </a:lnTo>
                      <a:lnTo>
                        <a:pt x="1475683" y="516718"/>
                      </a:lnTo>
                      <a:lnTo>
                        <a:pt x="1476472" y="516986"/>
                      </a:lnTo>
                      <a:lnTo>
                        <a:pt x="1477407" y="517265"/>
                      </a:lnTo>
                      <a:lnTo>
                        <a:pt x="1478439" y="517823"/>
                      </a:lnTo>
                      <a:lnTo>
                        <a:pt x="1479301" y="518795"/>
                      </a:lnTo>
                      <a:lnTo>
                        <a:pt x="1480795" y="521114"/>
                      </a:lnTo>
                      <a:lnTo>
                        <a:pt x="1481766" y="524964"/>
                      </a:lnTo>
                      <a:lnTo>
                        <a:pt x="1482167" y="528582"/>
                      </a:lnTo>
                      <a:lnTo>
                        <a:pt x="1482009" y="529760"/>
                      </a:lnTo>
                      <a:lnTo>
                        <a:pt x="1481487" y="530768"/>
                      </a:lnTo>
                      <a:lnTo>
                        <a:pt x="1479993" y="532310"/>
                      </a:lnTo>
                      <a:lnTo>
                        <a:pt x="1479301" y="533342"/>
                      </a:lnTo>
                      <a:lnTo>
                        <a:pt x="1478901" y="534896"/>
                      </a:lnTo>
                      <a:lnTo>
                        <a:pt x="1479071" y="535929"/>
                      </a:lnTo>
                      <a:lnTo>
                        <a:pt x="1479763" y="536742"/>
                      </a:lnTo>
                      <a:lnTo>
                        <a:pt x="1482106" y="538369"/>
                      </a:lnTo>
                      <a:lnTo>
                        <a:pt x="1483199" y="539669"/>
                      </a:lnTo>
                      <a:lnTo>
                        <a:pt x="1483491" y="540871"/>
                      </a:lnTo>
                      <a:lnTo>
                        <a:pt x="1483321" y="542219"/>
                      </a:lnTo>
                      <a:lnTo>
                        <a:pt x="1482811" y="544174"/>
                      </a:lnTo>
                      <a:lnTo>
                        <a:pt x="1482519" y="547355"/>
                      </a:lnTo>
                      <a:lnTo>
                        <a:pt x="1483139" y="549371"/>
                      </a:lnTo>
                      <a:lnTo>
                        <a:pt x="1484183" y="551119"/>
                      </a:lnTo>
                      <a:lnTo>
                        <a:pt x="1492112" y="560227"/>
                      </a:lnTo>
                      <a:lnTo>
                        <a:pt x="1494978" y="565011"/>
                      </a:lnTo>
                      <a:lnTo>
                        <a:pt x="1497273" y="567828"/>
                      </a:lnTo>
                      <a:lnTo>
                        <a:pt x="1499568" y="576267"/>
                      </a:lnTo>
                      <a:lnTo>
                        <a:pt x="1500770" y="578575"/>
                      </a:lnTo>
                      <a:lnTo>
                        <a:pt x="1502385" y="580578"/>
                      </a:lnTo>
                      <a:lnTo>
                        <a:pt x="1503879" y="581780"/>
                      </a:lnTo>
                      <a:lnTo>
                        <a:pt x="1505603" y="582825"/>
                      </a:lnTo>
                      <a:lnTo>
                        <a:pt x="1507036" y="583310"/>
                      </a:lnTo>
                      <a:lnTo>
                        <a:pt x="1510314" y="583796"/>
                      </a:lnTo>
                      <a:lnTo>
                        <a:pt x="1512148" y="584221"/>
                      </a:lnTo>
                      <a:lnTo>
                        <a:pt x="1513520" y="584889"/>
                      </a:lnTo>
                      <a:lnTo>
                        <a:pt x="1523744" y="592235"/>
                      </a:lnTo>
                      <a:lnTo>
                        <a:pt x="1524837" y="592782"/>
                      </a:lnTo>
                      <a:lnTo>
                        <a:pt x="1526392" y="593352"/>
                      </a:lnTo>
                      <a:lnTo>
                        <a:pt x="1530690" y="593559"/>
                      </a:lnTo>
                      <a:lnTo>
                        <a:pt x="1532305" y="594069"/>
                      </a:lnTo>
                      <a:lnTo>
                        <a:pt x="1533058" y="595259"/>
                      </a:lnTo>
                      <a:lnTo>
                        <a:pt x="1533216" y="596400"/>
                      </a:lnTo>
                      <a:lnTo>
                        <a:pt x="1533216" y="598234"/>
                      </a:lnTo>
                      <a:lnTo>
                        <a:pt x="1532937" y="600359"/>
                      </a:lnTo>
                      <a:lnTo>
                        <a:pt x="1533847" y="604208"/>
                      </a:lnTo>
                      <a:lnTo>
                        <a:pt x="1534880" y="606418"/>
                      </a:lnTo>
                      <a:lnTo>
                        <a:pt x="1536555" y="608713"/>
                      </a:lnTo>
                      <a:lnTo>
                        <a:pt x="1537357" y="610838"/>
                      </a:lnTo>
                      <a:lnTo>
                        <a:pt x="1538559" y="615088"/>
                      </a:lnTo>
                      <a:lnTo>
                        <a:pt x="1539482" y="616011"/>
                      </a:lnTo>
                      <a:lnTo>
                        <a:pt x="1540392" y="616728"/>
                      </a:lnTo>
                      <a:lnTo>
                        <a:pt x="1541716" y="617298"/>
                      </a:lnTo>
                      <a:lnTo>
                        <a:pt x="1542639" y="619678"/>
                      </a:lnTo>
                      <a:lnTo>
                        <a:pt x="1539421" y="624827"/>
                      </a:lnTo>
                      <a:lnTo>
                        <a:pt x="1535171" y="627146"/>
                      </a:lnTo>
                      <a:lnTo>
                        <a:pt x="1532633" y="628154"/>
                      </a:lnTo>
                      <a:lnTo>
                        <a:pt x="1531953" y="629879"/>
                      </a:lnTo>
                      <a:lnTo>
                        <a:pt x="1531662" y="631651"/>
                      </a:lnTo>
                      <a:lnTo>
                        <a:pt x="1530290" y="634213"/>
                      </a:lnTo>
                      <a:lnTo>
                        <a:pt x="1527132" y="635610"/>
                      </a:lnTo>
                      <a:lnTo>
                        <a:pt x="1515645" y="638548"/>
                      </a:lnTo>
                      <a:lnTo>
                        <a:pt x="1514091" y="639435"/>
                      </a:lnTo>
                      <a:lnTo>
                        <a:pt x="1513289" y="640528"/>
                      </a:lnTo>
                      <a:lnTo>
                        <a:pt x="1513059" y="641414"/>
                      </a:lnTo>
                      <a:lnTo>
                        <a:pt x="1513119" y="642592"/>
                      </a:lnTo>
                      <a:lnTo>
                        <a:pt x="1513289" y="643309"/>
                      </a:lnTo>
                      <a:lnTo>
                        <a:pt x="1513812" y="644341"/>
                      </a:lnTo>
                      <a:lnTo>
                        <a:pt x="1514492" y="645300"/>
                      </a:lnTo>
                      <a:lnTo>
                        <a:pt x="1515366" y="645956"/>
                      </a:lnTo>
                      <a:lnTo>
                        <a:pt x="1516507" y="646271"/>
                      </a:lnTo>
                      <a:lnTo>
                        <a:pt x="1518450" y="646235"/>
                      </a:lnTo>
                      <a:lnTo>
                        <a:pt x="1519264" y="646405"/>
                      </a:lnTo>
                      <a:lnTo>
                        <a:pt x="1520004" y="647158"/>
                      </a:lnTo>
                      <a:lnTo>
                        <a:pt x="1520697" y="650024"/>
                      </a:lnTo>
                      <a:lnTo>
                        <a:pt x="1521280" y="651456"/>
                      </a:lnTo>
                      <a:lnTo>
                        <a:pt x="1522652" y="652501"/>
                      </a:lnTo>
                      <a:lnTo>
                        <a:pt x="1524315" y="653156"/>
                      </a:lnTo>
                      <a:lnTo>
                        <a:pt x="1530812" y="654310"/>
                      </a:lnTo>
                      <a:lnTo>
                        <a:pt x="1535463" y="654541"/>
                      </a:lnTo>
                      <a:lnTo>
                        <a:pt x="1536312" y="654274"/>
                      </a:lnTo>
                      <a:lnTo>
                        <a:pt x="1537126" y="653411"/>
                      </a:lnTo>
                      <a:lnTo>
                        <a:pt x="1537587" y="652561"/>
                      </a:lnTo>
                      <a:lnTo>
                        <a:pt x="1538267" y="651699"/>
                      </a:lnTo>
                      <a:lnTo>
                        <a:pt x="1539081" y="651201"/>
                      </a:lnTo>
                      <a:lnTo>
                        <a:pt x="1539992" y="651177"/>
                      </a:lnTo>
                      <a:lnTo>
                        <a:pt x="1540854" y="651639"/>
                      </a:lnTo>
                      <a:lnTo>
                        <a:pt x="1541765" y="652695"/>
                      </a:lnTo>
                      <a:lnTo>
                        <a:pt x="1544703" y="658184"/>
                      </a:lnTo>
                      <a:lnTo>
                        <a:pt x="1545796" y="659325"/>
                      </a:lnTo>
                      <a:lnTo>
                        <a:pt x="1546658" y="659556"/>
                      </a:lnTo>
                      <a:lnTo>
                        <a:pt x="1547508" y="659155"/>
                      </a:lnTo>
                      <a:lnTo>
                        <a:pt x="1549123" y="656945"/>
                      </a:lnTo>
                      <a:lnTo>
                        <a:pt x="1549864" y="656144"/>
                      </a:lnTo>
                      <a:lnTo>
                        <a:pt x="1550896" y="655488"/>
                      </a:lnTo>
                      <a:lnTo>
                        <a:pt x="1552050" y="655281"/>
                      </a:lnTo>
                      <a:lnTo>
                        <a:pt x="1553264" y="655889"/>
                      </a:lnTo>
                      <a:lnTo>
                        <a:pt x="1554235" y="657407"/>
                      </a:lnTo>
                      <a:lnTo>
                        <a:pt x="1554235" y="659993"/>
                      </a:lnTo>
                      <a:lnTo>
                        <a:pt x="1552972" y="661656"/>
                      </a:lnTo>
                      <a:lnTo>
                        <a:pt x="1550678" y="662859"/>
                      </a:lnTo>
                      <a:lnTo>
                        <a:pt x="1541206" y="664789"/>
                      </a:lnTo>
                      <a:lnTo>
                        <a:pt x="1537235" y="665992"/>
                      </a:lnTo>
                      <a:lnTo>
                        <a:pt x="1505773" y="679920"/>
                      </a:lnTo>
                      <a:lnTo>
                        <a:pt x="1498754" y="683902"/>
                      </a:lnTo>
                      <a:lnTo>
                        <a:pt x="1496010" y="686258"/>
                      </a:lnTo>
                      <a:lnTo>
                        <a:pt x="1494808" y="687982"/>
                      </a:lnTo>
                      <a:lnTo>
                        <a:pt x="1494286" y="689731"/>
                      </a:lnTo>
                      <a:lnTo>
                        <a:pt x="1494225" y="691200"/>
                      </a:lnTo>
                      <a:lnTo>
                        <a:pt x="1494456" y="694394"/>
                      </a:lnTo>
                      <a:lnTo>
                        <a:pt x="1494225" y="698802"/>
                      </a:lnTo>
                      <a:lnTo>
                        <a:pt x="1493424" y="703234"/>
                      </a:lnTo>
                      <a:lnTo>
                        <a:pt x="1493606" y="704460"/>
                      </a:lnTo>
                      <a:lnTo>
                        <a:pt x="1494007" y="705152"/>
                      </a:lnTo>
                      <a:lnTo>
                        <a:pt x="1495670" y="705930"/>
                      </a:lnTo>
                      <a:lnTo>
                        <a:pt x="1500369" y="704691"/>
                      </a:lnTo>
                      <a:lnTo>
                        <a:pt x="1503077" y="701850"/>
                      </a:lnTo>
                      <a:lnTo>
                        <a:pt x="1504632" y="699409"/>
                      </a:lnTo>
                      <a:lnTo>
                        <a:pt x="1506817" y="694187"/>
                      </a:lnTo>
                      <a:lnTo>
                        <a:pt x="1507886" y="693556"/>
                      </a:lnTo>
                      <a:lnTo>
                        <a:pt x="1509039" y="693690"/>
                      </a:lnTo>
                      <a:lnTo>
                        <a:pt x="1511687" y="694673"/>
                      </a:lnTo>
                      <a:lnTo>
                        <a:pt x="1513241" y="694612"/>
                      </a:lnTo>
                      <a:lnTo>
                        <a:pt x="1515135" y="694187"/>
                      </a:lnTo>
                      <a:lnTo>
                        <a:pt x="1539652" y="684133"/>
                      </a:lnTo>
                      <a:lnTo>
                        <a:pt x="1544072" y="681413"/>
                      </a:lnTo>
                      <a:lnTo>
                        <a:pt x="1549184" y="676264"/>
                      </a:lnTo>
                      <a:lnTo>
                        <a:pt x="1551528" y="674747"/>
                      </a:lnTo>
                      <a:lnTo>
                        <a:pt x="1554454" y="673921"/>
                      </a:lnTo>
                      <a:lnTo>
                        <a:pt x="1556992" y="673994"/>
                      </a:lnTo>
                      <a:lnTo>
                        <a:pt x="1562043" y="675378"/>
                      </a:lnTo>
                      <a:lnTo>
                        <a:pt x="1573531" y="676847"/>
                      </a:lnTo>
                      <a:lnTo>
                        <a:pt x="1575425" y="677503"/>
                      </a:lnTo>
                      <a:lnTo>
                        <a:pt x="1576676" y="678135"/>
                      </a:lnTo>
                      <a:lnTo>
                        <a:pt x="1577611" y="678875"/>
                      </a:lnTo>
                      <a:lnTo>
                        <a:pt x="1578230" y="679604"/>
                      </a:lnTo>
                      <a:lnTo>
                        <a:pt x="1579262" y="680175"/>
                      </a:lnTo>
                      <a:lnTo>
                        <a:pt x="1580136" y="679774"/>
                      </a:lnTo>
                      <a:lnTo>
                        <a:pt x="1582492" y="678110"/>
                      </a:lnTo>
                      <a:lnTo>
                        <a:pt x="1584253" y="677734"/>
                      </a:lnTo>
                      <a:lnTo>
                        <a:pt x="1586050" y="677734"/>
                      </a:lnTo>
                      <a:lnTo>
                        <a:pt x="1591441" y="679203"/>
                      </a:lnTo>
                      <a:lnTo>
                        <a:pt x="1602528" y="679883"/>
                      </a:lnTo>
                      <a:lnTo>
                        <a:pt x="1604884" y="680490"/>
                      </a:lnTo>
                      <a:lnTo>
                        <a:pt x="1606438" y="681753"/>
                      </a:lnTo>
                      <a:lnTo>
                        <a:pt x="1607057" y="682640"/>
                      </a:lnTo>
                      <a:lnTo>
                        <a:pt x="1607628" y="684655"/>
                      </a:lnTo>
                      <a:lnTo>
                        <a:pt x="1608089" y="685857"/>
                      </a:lnTo>
                      <a:lnTo>
                        <a:pt x="1608782" y="686780"/>
                      </a:lnTo>
                      <a:lnTo>
                        <a:pt x="1609996" y="687460"/>
                      </a:lnTo>
                      <a:lnTo>
                        <a:pt x="1610506" y="687120"/>
                      </a:lnTo>
                      <a:lnTo>
                        <a:pt x="1610919" y="685833"/>
                      </a:lnTo>
                      <a:lnTo>
                        <a:pt x="1610858" y="682215"/>
                      </a:lnTo>
                      <a:lnTo>
                        <a:pt x="1610919" y="680782"/>
                      </a:lnTo>
                      <a:lnTo>
                        <a:pt x="1611247" y="679652"/>
                      </a:lnTo>
                      <a:lnTo>
                        <a:pt x="1612412" y="678742"/>
                      </a:lnTo>
                      <a:lnTo>
                        <a:pt x="1613845" y="678487"/>
                      </a:lnTo>
                      <a:lnTo>
                        <a:pt x="1617804" y="678742"/>
                      </a:lnTo>
                      <a:lnTo>
                        <a:pt x="1619297" y="678280"/>
                      </a:lnTo>
                      <a:lnTo>
                        <a:pt x="1620269" y="677333"/>
                      </a:lnTo>
                      <a:lnTo>
                        <a:pt x="1620961" y="676034"/>
                      </a:lnTo>
                      <a:lnTo>
                        <a:pt x="1621702" y="674977"/>
                      </a:lnTo>
                      <a:lnTo>
                        <a:pt x="1623487" y="673775"/>
                      </a:lnTo>
                      <a:lnTo>
                        <a:pt x="1624579" y="672682"/>
                      </a:lnTo>
                      <a:lnTo>
                        <a:pt x="1626984" y="671213"/>
                      </a:lnTo>
                      <a:lnTo>
                        <a:pt x="1629801" y="670764"/>
                      </a:lnTo>
                      <a:lnTo>
                        <a:pt x="1635423" y="670472"/>
                      </a:lnTo>
                      <a:lnTo>
                        <a:pt x="1638592" y="670909"/>
                      </a:lnTo>
                      <a:lnTo>
                        <a:pt x="1640887" y="671504"/>
                      </a:lnTo>
                      <a:lnTo>
                        <a:pt x="1642721" y="672367"/>
                      </a:lnTo>
                      <a:lnTo>
                        <a:pt x="1644555" y="672852"/>
                      </a:lnTo>
                      <a:lnTo>
                        <a:pt x="1648744" y="673277"/>
                      </a:lnTo>
                      <a:lnTo>
                        <a:pt x="1650238" y="673775"/>
                      </a:lnTo>
                      <a:lnTo>
                        <a:pt x="1651343" y="674443"/>
                      </a:lnTo>
                      <a:lnTo>
                        <a:pt x="1652423" y="675269"/>
                      </a:lnTo>
                      <a:lnTo>
                        <a:pt x="1653055" y="676131"/>
                      </a:lnTo>
                      <a:lnTo>
                        <a:pt x="1653164" y="677163"/>
                      </a:lnTo>
                      <a:lnTo>
                        <a:pt x="1652192" y="678450"/>
                      </a:lnTo>
                      <a:lnTo>
                        <a:pt x="1645939" y="684340"/>
                      </a:lnTo>
                      <a:lnTo>
                        <a:pt x="1643984" y="685578"/>
                      </a:lnTo>
                      <a:lnTo>
                        <a:pt x="1642260" y="685833"/>
                      </a:lnTo>
                      <a:lnTo>
                        <a:pt x="1640657" y="685809"/>
                      </a:lnTo>
                      <a:lnTo>
                        <a:pt x="1639795" y="686088"/>
                      </a:lnTo>
                      <a:lnTo>
                        <a:pt x="1639284" y="687096"/>
                      </a:lnTo>
                      <a:lnTo>
                        <a:pt x="1639442" y="688104"/>
                      </a:lnTo>
                      <a:lnTo>
                        <a:pt x="1640256" y="689415"/>
                      </a:lnTo>
                      <a:lnTo>
                        <a:pt x="1642029" y="691285"/>
                      </a:lnTo>
                      <a:lnTo>
                        <a:pt x="1643243" y="692900"/>
                      </a:lnTo>
                      <a:lnTo>
                        <a:pt x="1644045" y="694649"/>
                      </a:lnTo>
                      <a:lnTo>
                        <a:pt x="1644433" y="696167"/>
                      </a:lnTo>
                      <a:lnTo>
                        <a:pt x="1641106" y="697430"/>
                      </a:lnTo>
                      <a:lnTo>
                        <a:pt x="1638653" y="696458"/>
                      </a:lnTo>
                      <a:lnTo>
                        <a:pt x="1637852" y="702542"/>
                      </a:lnTo>
                      <a:lnTo>
                        <a:pt x="1635314" y="704303"/>
                      </a:lnTo>
                      <a:lnTo>
                        <a:pt x="1629449" y="701995"/>
                      </a:lnTo>
                      <a:lnTo>
                        <a:pt x="1625903" y="701910"/>
                      </a:lnTo>
                      <a:lnTo>
                        <a:pt x="1624349" y="704983"/>
                      </a:lnTo>
                      <a:lnTo>
                        <a:pt x="1624579" y="706901"/>
                      </a:lnTo>
                      <a:lnTo>
                        <a:pt x="1625672" y="710289"/>
                      </a:lnTo>
                      <a:lnTo>
                        <a:pt x="1625721" y="712414"/>
                      </a:lnTo>
                      <a:lnTo>
                        <a:pt x="1625381" y="712791"/>
                      </a:lnTo>
                      <a:lnTo>
                        <a:pt x="1623827" y="715401"/>
                      </a:lnTo>
                      <a:lnTo>
                        <a:pt x="1623304" y="716810"/>
                      </a:lnTo>
                      <a:lnTo>
                        <a:pt x="1622855" y="720744"/>
                      </a:lnTo>
                      <a:lnTo>
                        <a:pt x="1622916" y="723185"/>
                      </a:lnTo>
                      <a:lnTo>
                        <a:pt x="1621811" y="724508"/>
                      </a:lnTo>
                      <a:lnTo>
                        <a:pt x="1618034" y="725055"/>
                      </a:lnTo>
                      <a:lnTo>
                        <a:pt x="1616079" y="725055"/>
                      </a:lnTo>
                      <a:lnTo>
                        <a:pt x="1614124" y="724739"/>
                      </a:lnTo>
                      <a:lnTo>
                        <a:pt x="1612352" y="724023"/>
                      </a:lnTo>
                      <a:lnTo>
                        <a:pt x="1610979" y="722869"/>
                      </a:lnTo>
                      <a:lnTo>
                        <a:pt x="1609304" y="721958"/>
                      </a:lnTo>
                      <a:lnTo>
                        <a:pt x="1607567" y="722286"/>
                      </a:lnTo>
                      <a:lnTo>
                        <a:pt x="1602880" y="724217"/>
                      </a:lnTo>
                      <a:lnTo>
                        <a:pt x="1597525" y="727143"/>
                      </a:lnTo>
                      <a:lnTo>
                        <a:pt x="1594198" y="727811"/>
                      </a:lnTo>
                      <a:lnTo>
                        <a:pt x="1590701" y="727920"/>
                      </a:lnTo>
                      <a:lnTo>
                        <a:pt x="1588685" y="728297"/>
                      </a:lnTo>
                      <a:lnTo>
                        <a:pt x="1587082" y="729183"/>
                      </a:lnTo>
                      <a:lnTo>
                        <a:pt x="1586111" y="730798"/>
                      </a:lnTo>
                      <a:lnTo>
                        <a:pt x="1585528" y="734320"/>
                      </a:lnTo>
                      <a:lnTo>
                        <a:pt x="1584556" y="736044"/>
                      </a:lnTo>
                      <a:lnTo>
                        <a:pt x="1582553" y="737307"/>
                      </a:lnTo>
                      <a:lnTo>
                        <a:pt x="1573008" y="740185"/>
                      </a:lnTo>
                      <a:lnTo>
                        <a:pt x="1575303" y="746062"/>
                      </a:lnTo>
                      <a:lnTo>
                        <a:pt x="1571066" y="749401"/>
                      </a:lnTo>
                      <a:lnTo>
                        <a:pt x="1564278" y="751551"/>
                      </a:lnTo>
                      <a:lnTo>
                        <a:pt x="1558886" y="754052"/>
                      </a:lnTo>
                      <a:lnTo>
                        <a:pt x="1555668" y="758205"/>
                      </a:lnTo>
                      <a:lnTo>
                        <a:pt x="1553483" y="760111"/>
                      </a:lnTo>
                      <a:lnTo>
                        <a:pt x="1550556" y="760913"/>
                      </a:lnTo>
                      <a:lnTo>
                        <a:pt x="1547059" y="761338"/>
                      </a:lnTo>
                      <a:lnTo>
                        <a:pt x="1540453" y="763232"/>
                      </a:lnTo>
                      <a:lnTo>
                        <a:pt x="1537697" y="763645"/>
                      </a:lnTo>
                      <a:lnTo>
                        <a:pt x="1535062" y="764726"/>
                      </a:lnTo>
                      <a:lnTo>
                        <a:pt x="1525408" y="771878"/>
                      </a:lnTo>
                      <a:lnTo>
                        <a:pt x="1518001" y="776152"/>
                      </a:lnTo>
                      <a:lnTo>
                        <a:pt x="1515827" y="778132"/>
                      </a:lnTo>
                      <a:lnTo>
                        <a:pt x="1513119" y="779079"/>
                      </a:lnTo>
                      <a:lnTo>
                        <a:pt x="1505542" y="778059"/>
                      </a:lnTo>
                      <a:lnTo>
                        <a:pt x="1502215" y="778763"/>
                      </a:lnTo>
                      <a:lnTo>
                        <a:pt x="1500248" y="781410"/>
                      </a:lnTo>
                      <a:lnTo>
                        <a:pt x="1500430" y="784203"/>
                      </a:lnTo>
                      <a:lnTo>
                        <a:pt x="1500248" y="786717"/>
                      </a:lnTo>
                      <a:lnTo>
                        <a:pt x="1497212" y="788502"/>
                      </a:lnTo>
                      <a:lnTo>
                        <a:pt x="1495828" y="787008"/>
                      </a:lnTo>
                      <a:lnTo>
                        <a:pt x="1493484" y="788210"/>
                      </a:lnTo>
                      <a:lnTo>
                        <a:pt x="1490716" y="788647"/>
                      </a:lnTo>
                      <a:lnTo>
                        <a:pt x="1484936" y="788502"/>
                      </a:lnTo>
                      <a:lnTo>
                        <a:pt x="1482349" y="789255"/>
                      </a:lnTo>
                      <a:lnTo>
                        <a:pt x="1479993" y="791088"/>
                      </a:lnTo>
                      <a:lnTo>
                        <a:pt x="1476593" y="795217"/>
                      </a:lnTo>
                      <a:lnTo>
                        <a:pt x="1475913" y="796625"/>
                      </a:lnTo>
                      <a:lnTo>
                        <a:pt x="1474590" y="799880"/>
                      </a:lnTo>
                      <a:lnTo>
                        <a:pt x="1473388" y="801531"/>
                      </a:lnTo>
                      <a:lnTo>
                        <a:pt x="1472064" y="802685"/>
                      </a:lnTo>
                      <a:lnTo>
                        <a:pt x="1469320" y="804640"/>
                      </a:lnTo>
                      <a:lnTo>
                        <a:pt x="1467073" y="806619"/>
                      </a:lnTo>
                      <a:lnTo>
                        <a:pt x="1462532" y="809047"/>
                      </a:lnTo>
                      <a:lnTo>
                        <a:pt x="1458695" y="813188"/>
                      </a:lnTo>
                      <a:lnTo>
                        <a:pt x="1453340" y="814111"/>
                      </a:lnTo>
                      <a:lnTo>
                        <a:pt x="1447948" y="813650"/>
                      </a:lnTo>
                      <a:lnTo>
                        <a:pt x="1442775" y="814026"/>
                      </a:lnTo>
                      <a:lnTo>
                        <a:pt x="1438064" y="817292"/>
                      </a:lnTo>
                      <a:lnTo>
                        <a:pt x="1437554" y="818616"/>
                      </a:lnTo>
                      <a:lnTo>
                        <a:pt x="1437153" y="821895"/>
                      </a:lnTo>
                      <a:lnTo>
                        <a:pt x="1436230" y="823522"/>
                      </a:lnTo>
                      <a:lnTo>
                        <a:pt x="1434797" y="824566"/>
                      </a:lnTo>
                      <a:lnTo>
                        <a:pt x="1433583" y="824736"/>
                      </a:lnTo>
                      <a:lnTo>
                        <a:pt x="1430948" y="824275"/>
                      </a:lnTo>
                      <a:lnTo>
                        <a:pt x="1428532" y="824760"/>
                      </a:lnTo>
                      <a:lnTo>
                        <a:pt x="1422909" y="827323"/>
                      </a:lnTo>
                      <a:lnTo>
                        <a:pt x="1421307" y="828403"/>
                      </a:lnTo>
                      <a:lnTo>
                        <a:pt x="1420044" y="830395"/>
                      </a:lnTo>
                      <a:lnTo>
                        <a:pt x="1419121" y="832653"/>
                      </a:lnTo>
                      <a:lnTo>
                        <a:pt x="1417858" y="834499"/>
                      </a:lnTo>
                      <a:lnTo>
                        <a:pt x="1413608" y="835786"/>
                      </a:lnTo>
                      <a:lnTo>
                        <a:pt x="1411823" y="837110"/>
                      </a:lnTo>
                      <a:lnTo>
                        <a:pt x="1409140" y="840036"/>
                      </a:lnTo>
                      <a:lnTo>
                        <a:pt x="1407646" y="840838"/>
                      </a:lnTo>
                      <a:lnTo>
                        <a:pt x="1402121" y="841991"/>
                      </a:lnTo>
                      <a:lnTo>
                        <a:pt x="1400469" y="843570"/>
                      </a:lnTo>
                      <a:lnTo>
                        <a:pt x="1399717" y="845209"/>
                      </a:lnTo>
                      <a:lnTo>
                        <a:pt x="1399255" y="846982"/>
                      </a:lnTo>
                      <a:lnTo>
                        <a:pt x="1398284" y="848961"/>
                      </a:lnTo>
                      <a:lnTo>
                        <a:pt x="1395637" y="851341"/>
                      </a:lnTo>
                      <a:lnTo>
                        <a:pt x="1384732" y="857971"/>
                      </a:lnTo>
                      <a:lnTo>
                        <a:pt x="1383518" y="860109"/>
                      </a:lnTo>
                      <a:lnTo>
                        <a:pt x="1383239" y="862404"/>
                      </a:lnTo>
                      <a:lnTo>
                        <a:pt x="1383239" y="864699"/>
                      </a:lnTo>
                      <a:lnTo>
                        <a:pt x="1382656" y="866884"/>
                      </a:lnTo>
                      <a:lnTo>
                        <a:pt x="1381113" y="868888"/>
                      </a:lnTo>
                      <a:lnTo>
                        <a:pt x="1379559" y="869726"/>
                      </a:lnTo>
                      <a:lnTo>
                        <a:pt x="1377944" y="870211"/>
                      </a:lnTo>
                      <a:lnTo>
                        <a:pt x="1376281" y="870989"/>
                      </a:lnTo>
                      <a:lnTo>
                        <a:pt x="1374326" y="872628"/>
                      </a:lnTo>
                      <a:lnTo>
                        <a:pt x="1370610" y="877157"/>
                      </a:lnTo>
                      <a:lnTo>
                        <a:pt x="1368181" y="878566"/>
                      </a:lnTo>
                      <a:lnTo>
                        <a:pt x="1366008" y="878602"/>
                      </a:lnTo>
                      <a:lnTo>
                        <a:pt x="1363883" y="878080"/>
                      </a:lnTo>
                      <a:lnTo>
                        <a:pt x="1354059" y="877279"/>
                      </a:lnTo>
                      <a:lnTo>
                        <a:pt x="1352043" y="877740"/>
                      </a:lnTo>
                      <a:lnTo>
                        <a:pt x="1351133" y="878967"/>
                      </a:lnTo>
                      <a:lnTo>
                        <a:pt x="1349469" y="883217"/>
                      </a:lnTo>
                      <a:lnTo>
                        <a:pt x="1348206" y="884832"/>
                      </a:lnTo>
                      <a:lnTo>
                        <a:pt x="1346312" y="885548"/>
                      </a:lnTo>
                      <a:lnTo>
                        <a:pt x="1342815" y="885706"/>
                      </a:lnTo>
                      <a:lnTo>
                        <a:pt x="1341090" y="886750"/>
                      </a:lnTo>
                      <a:lnTo>
                        <a:pt x="1336731" y="890976"/>
                      </a:lnTo>
                      <a:lnTo>
                        <a:pt x="1335857" y="891534"/>
                      </a:lnTo>
                      <a:lnTo>
                        <a:pt x="1334193" y="892178"/>
                      </a:lnTo>
                      <a:lnTo>
                        <a:pt x="1329955" y="899439"/>
                      </a:lnTo>
                      <a:lnTo>
                        <a:pt x="1328972" y="902026"/>
                      </a:lnTo>
                      <a:lnTo>
                        <a:pt x="1328729" y="904807"/>
                      </a:lnTo>
                      <a:lnTo>
                        <a:pt x="1328850" y="910405"/>
                      </a:lnTo>
                      <a:lnTo>
                        <a:pt x="1327940" y="912967"/>
                      </a:lnTo>
                      <a:lnTo>
                        <a:pt x="1326677" y="913792"/>
                      </a:lnTo>
                      <a:lnTo>
                        <a:pt x="1323228" y="914485"/>
                      </a:lnTo>
                      <a:lnTo>
                        <a:pt x="1322026" y="915456"/>
                      </a:lnTo>
                      <a:lnTo>
                        <a:pt x="1321504" y="917933"/>
                      </a:lnTo>
                      <a:lnTo>
                        <a:pt x="1322135" y="920143"/>
                      </a:lnTo>
                      <a:lnTo>
                        <a:pt x="1323289" y="922268"/>
                      </a:lnTo>
                      <a:lnTo>
                        <a:pt x="1324151" y="924563"/>
                      </a:lnTo>
                      <a:lnTo>
                        <a:pt x="1329603" y="951897"/>
                      </a:lnTo>
                      <a:lnTo>
                        <a:pt x="1333331" y="963093"/>
                      </a:lnTo>
                      <a:lnTo>
                        <a:pt x="1334424" y="967804"/>
                      </a:lnTo>
                      <a:lnTo>
                        <a:pt x="1335237" y="969929"/>
                      </a:lnTo>
                      <a:lnTo>
                        <a:pt x="1336670" y="971447"/>
                      </a:lnTo>
                      <a:lnTo>
                        <a:pt x="1338273" y="972334"/>
                      </a:lnTo>
                      <a:lnTo>
                        <a:pt x="1340046" y="972649"/>
                      </a:lnTo>
                      <a:lnTo>
                        <a:pt x="1342754" y="973196"/>
                      </a:lnTo>
                      <a:lnTo>
                        <a:pt x="1344879" y="974459"/>
                      </a:lnTo>
                      <a:lnTo>
                        <a:pt x="1346312" y="975782"/>
                      </a:lnTo>
                      <a:lnTo>
                        <a:pt x="1350610" y="983420"/>
                      </a:lnTo>
                      <a:lnTo>
                        <a:pt x="1352104" y="984962"/>
                      </a:lnTo>
                      <a:lnTo>
                        <a:pt x="1354181" y="986116"/>
                      </a:lnTo>
                      <a:lnTo>
                        <a:pt x="1355965" y="986431"/>
                      </a:lnTo>
                      <a:lnTo>
                        <a:pt x="1359803" y="986456"/>
                      </a:lnTo>
                      <a:lnTo>
                        <a:pt x="1361928" y="986723"/>
                      </a:lnTo>
                      <a:lnTo>
                        <a:pt x="1364223" y="987439"/>
                      </a:lnTo>
                      <a:lnTo>
                        <a:pt x="1366287" y="988362"/>
                      </a:lnTo>
                      <a:lnTo>
                        <a:pt x="1374229" y="994264"/>
                      </a:lnTo>
                      <a:lnTo>
                        <a:pt x="1375419" y="995017"/>
                      </a:lnTo>
                      <a:lnTo>
                        <a:pt x="1376791" y="995502"/>
                      </a:lnTo>
                      <a:lnTo>
                        <a:pt x="1378126" y="995527"/>
                      </a:lnTo>
                      <a:lnTo>
                        <a:pt x="1384040" y="993414"/>
                      </a:lnTo>
                      <a:lnTo>
                        <a:pt x="1385412" y="993062"/>
                      </a:lnTo>
                      <a:lnTo>
                        <a:pt x="1387076" y="993037"/>
                      </a:lnTo>
                      <a:lnTo>
                        <a:pt x="1394896" y="994361"/>
                      </a:lnTo>
                      <a:lnTo>
                        <a:pt x="1396608" y="995138"/>
                      </a:lnTo>
                      <a:lnTo>
                        <a:pt x="1403153" y="1000092"/>
                      </a:lnTo>
                      <a:lnTo>
                        <a:pt x="1404889" y="1000675"/>
                      </a:lnTo>
                      <a:lnTo>
                        <a:pt x="1405970" y="1000420"/>
                      </a:lnTo>
                      <a:lnTo>
                        <a:pt x="1409419" y="998234"/>
                      </a:lnTo>
                      <a:lnTo>
                        <a:pt x="1419643" y="998429"/>
                      </a:lnTo>
                      <a:lnTo>
                        <a:pt x="1424913" y="996365"/>
                      </a:lnTo>
                      <a:lnTo>
                        <a:pt x="1430147" y="993207"/>
                      </a:lnTo>
                      <a:lnTo>
                        <a:pt x="1434457" y="991313"/>
                      </a:lnTo>
                      <a:lnTo>
                        <a:pt x="1437323" y="990888"/>
                      </a:lnTo>
                      <a:lnTo>
                        <a:pt x="1439557" y="991119"/>
                      </a:lnTo>
                      <a:lnTo>
                        <a:pt x="1443067" y="992770"/>
                      </a:lnTo>
                      <a:lnTo>
                        <a:pt x="1445884" y="993547"/>
                      </a:lnTo>
                      <a:lnTo>
                        <a:pt x="1450292" y="994009"/>
                      </a:lnTo>
                      <a:lnTo>
                        <a:pt x="1453340" y="993450"/>
                      </a:lnTo>
                      <a:lnTo>
                        <a:pt x="1455647" y="992260"/>
                      </a:lnTo>
                      <a:lnTo>
                        <a:pt x="1457201" y="990827"/>
                      </a:lnTo>
                      <a:lnTo>
                        <a:pt x="1458391" y="988994"/>
                      </a:lnTo>
                      <a:lnTo>
                        <a:pt x="1459253" y="987209"/>
                      </a:lnTo>
                      <a:lnTo>
                        <a:pt x="1461099" y="981404"/>
                      </a:lnTo>
                      <a:lnTo>
                        <a:pt x="1462192" y="979304"/>
                      </a:lnTo>
                      <a:lnTo>
                        <a:pt x="1463843" y="977506"/>
                      </a:lnTo>
                      <a:lnTo>
                        <a:pt x="1467304" y="975260"/>
                      </a:lnTo>
                      <a:lnTo>
                        <a:pt x="1472125" y="973426"/>
                      </a:lnTo>
                      <a:lnTo>
                        <a:pt x="1476023" y="972831"/>
                      </a:lnTo>
                      <a:lnTo>
                        <a:pt x="1477868" y="972831"/>
                      </a:lnTo>
                      <a:lnTo>
                        <a:pt x="1480856" y="973317"/>
                      </a:lnTo>
                      <a:lnTo>
                        <a:pt x="1482106" y="973888"/>
                      </a:lnTo>
                      <a:lnTo>
                        <a:pt x="1483381" y="974726"/>
                      </a:lnTo>
                      <a:lnTo>
                        <a:pt x="1484353" y="975697"/>
                      </a:lnTo>
                      <a:lnTo>
                        <a:pt x="1485276" y="976875"/>
                      </a:lnTo>
                      <a:lnTo>
                        <a:pt x="1486028" y="978162"/>
                      </a:lnTo>
                      <a:lnTo>
                        <a:pt x="1486587" y="979571"/>
                      </a:lnTo>
                      <a:lnTo>
                        <a:pt x="1486587" y="980554"/>
                      </a:lnTo>
                      <a:lnTo>
                        <a:pt x="1485907" y="981696"/>
                      </a:lnTo>
                      <a:lnTo>
                        <a:pt x="1485154" y="982752"/>
                      </a:lnTo>
                      <a:lnTo>
                        <a:pt x="1484304" y="984306"/>
                      </a:lnTo>
                      <a:lnTo>
                        <a:pt x="1483782" y="986116"/>
                      </a:lnTo>
                      <a:lnTo>
                        <a:pt x="1483661" y="988411"/>
                      </a:lnTo>
                      <a:lnTo>
                        <a:pt x="1484013" y="990366"/>
                      </a:lnTo>
                      <a:lnTo>
                        <a:pt x="1484875" y="992224"/>
                      </a:lnTo>
                      <a:lnTo>
                        <a:pt x="1487158" y="995502"/>
                      </a:lnTo>
                      <a:lnTo>
                        <a:pt x="1487850" y="997057"/>
                      </a:lnTo>
                      <a:lnTo>
                        <a:pt x="1487971" y="998599"/>
                      </a:lnTo>
                      <a:lnTo>
                        <a:pt x="1487741" y="999667"/>
                      </a:lnTo>
                      <a:lnTo>
                        <a:pt x="1487097" y="1001197"/>
                      </a:lnTo>
                      <a:lnTo>
                        <a:pt x="1486587" y="1002654"/>
                      </a:lnTo>
                      <a:lnTo>
                        <a:pt x="1486417" y="1004039"/>
                      </a:lnTo>
                      <a:lnTo>
                        <a:pt x="1486478" y="1005957"/>
                      </a:lnTo>
                      <a:lnTo>
                        <a:pt x="1486879" y="1007997"/>
                      </a:lnTo>
                      <a:lnTo>
                        <a:pt x="1487461" y="1009515"/>
                      </a:lnTo>
                      <a:lnTo>
                        <a:pt x="1488773" y="1011640"/>
                      </a:lnTo>
                      <a:lnTo>
                        <a:pt x="1492731" y="1016182"/>
                      </a:lnTo>
                      <a:lnTo>
                        <a:pt x="1493764" y="1017809"/>
                      </a:lnTo>
                      <a:lnTo>
                        <a:pt x="1494164" y="1019485"/>
                      </a:lnTo>
                      <a:lnTo>
                        <a:pt x="1493885" y="1020942"/>
                      </a:lnTo>
                      <a:lnTo>
                        <a:pt x="1492853" y="1022302"/>
                      </a:lnTo>
                      <a:lnTo>
                        <a:pt x="1492112" y="1023759"/>
                      </a:lnTo>
                      <a:lnTo>
                        <a:pt x="1491881" y="1025362"/>
                      </a:lnTo>
                      <a:lnTo>
                        <a:pt x="1492331" y="1029527"/>
                      </a:lnTo>
                      <a:lnTo>
                        <a:pt x="1492112" y="1031603"/>
                      </a:lnTo>
                      <a:lnTo>
                        <a:pt x="1491080" y="1033352"/>
                      </a:lnTo>
                      <a:lnTo>
                        <a:pt x="1489587" y="1034238"/>
                      </a:lnTo>
                      <a:lnTo>
                        <a:pt x="1488093" y="1034578"/>
                      </a:lnTo>
                      <a:lnTo>
                        <a:pt x="1487000" y="1035015"/>
                      </a:lnTo>
                      <a:lnTo>
                        <a:pt x="1486028" y="1035963"/>
                      </a:lnTo>
                      <a:lnTo>
                        <a:pt x="1485154" y="1037286"/>
                      </a:lnTo>
                      <a:lnTo>
                        <a:pt x="1483381" y="1039120"/>
                      </a:lnTo>
                      <a:lnTo>
                        <a:pt x="1481013" y="1040176"/>
                      </a:lnTo>
                      <a:lnTo>
                        <a:pt x="1477468" y="1039921"/>
                      </a:lnTo>
                      <a:lnTo>
                        <a:pt x="1474711" y="1038464"/>
                      </a:lnTo>
                      <a:lnTo>
                        <a:pt x="1471833" y="1036533"/>
                      </a:lnTo>
                      <a:lnTo>
                        <a:pt x="1469259" y="1035817"/>
                      </a:lnTo>
                      <a:lnTo>
                        <a:pt x="1467073" y="1035902"/>
                      </a:lnTo>
                      <a:lnTo>
                        <a:pt x="1463394" y="1037395"/>
                      </a:lnTo>
                      <a:lnTo>
                        <a:pt x="1460188" y="1037104"/>
                      </a:lnTo>
                      <a:lnTo>
                        <a:pt x="1456958" y="1036048"/>
                      </a:lnTo>
                      <a:lnTo>
                        <a:pt x="1454493" y="1036424"/>
                      </a:lnTo>
                      <a:lnTo>
                        <a:pt x="1435890" y="1043163"/>
                      </a:lnTo>
                      <a:lnTo>
                        <a:pt x="1426528" y="1044402"/>
                      </a:lnTo>
                      <a:lnTo>
                        <a:pt x="1422618" y="1044086"/>
                      </a:lnTo>
                      <a:lnTo>
                        <a:pt x="1420675" y="1044110"/>
                      </a:lnTo>
                      <a:lnTo>
                        <a:pt x="1419242" y="1044366"/>
                      </a:lnTo>
                      <a:lnTo>
                        <a:pt x="1403457" y="1051348"/>
                      </a:lnTo>
                      <a:lnTo>
                        <a:pt x="1397531" y="1052550"/>
                      </a:lnTo>
                      <a:lnTo>
                        <a:pt x="1394774" y="1053873"/>
                      </a:lnTo>
                      <a:lnTo>
                        <a:pt x="1393281" y="1055136"/>
                      </a:lnTo>
                      <a:lnTo>
                        <a:pt x="1391447" y="1058038"/>
                      </a:lnTo>
                      <a:lnTo>
                        <a:pt x="1390694" y="1059411"/>
                      </a:lnTo>
                      <a:lnTo>
                        <a:pt x="1390354" y="1060564"/>
                      </a:lnTo>
                      <a:lnTo>
                        <a:pt x="1390415" y="1061426"/>
                      </a:lnTo>
                      <a:lnTo>
                        <a:pt x="1390464" y="1061851"/>
                      </a:lnTo>
                      <a:lnTo>
                        <a:pt x="1390937" y="1063005"/>
                      </a:lnTo>
                      <a:lnTo>
                        <a:pt x="1393803" y="1068433"/>
                      </a:lnTo>
                      <a:lnTo>
                        <a:pt x="1396499" y="1074784"/>
                      </a:lnTo>
                      <a:lnTo>
                        <a:pt x="1397300" y="1077941"/>
                      </a:lnTo>
                      <a:lnTo>
                        <a:pt x="1397482" y="1082446"/>
                      </a:lnTo>
                      <a:lnTo>
                        <a:pt x="1397179" y="1083733"/>
                      </a:lnTo>
                      <a:lnTo>
                        <a:pt x="1396389" y="1085287"/>
                      </a:lnTo>
                      <a:lnTo>
                        <a:pt x="1394714" y="1087242"/>
                      </a:lnTo>
                      <a:lnTo>
                        <a:pt x="1392649" y="1088529"/>
                      </a:lnTo>
                      <a:lnTo>
                        <a:pt x="1390694" y="1089331"/>
                      </a:lnTo>
                      <a:lnTo>
                        <a:pt x="1386857" y="1090254"/>
                      </a:lnTo>
                      <a:lnTo>
                        <a:pt x="1382886" y="1090533"/>
                      </a:lnTo>
                      <a:lnTo>
                        <a:pt x="1381332" y="1090800"/>
                      </a:lnTo>
                      <a:lnTo>
                        <a:pt x="1380361" y="1091456"/>
                      </a:lnTo>
                      <a:lnTo>
                        <a:pt x="1379389" y="1092524"/>
                      </a:lnTo>
                      <a:lnTo>
                        <a:pt x="1378187" y="1094358"/>
                      </a:lnTo>
                      <a:lnTo>
                        <a:pt x="1378649" y="1096422"/>
                      </a:lnTo>
                      <a:lnTo>
                        <a:pt x="1380931" y="1098438"/>
                      </a:lnTo>
                      <a:lnTo>
                        <a:pt x="1390876" y="1109804"/>
                      </a:lnTo>
                      <a:lnTo>
                        <a:pt x="1396438" y="1112961"/>
                      </a:lnTo>
                      <a:lnTo>
                        <a:pt x="1404647" y="1113799"/>
                      </a:lnTo>
                      <a:lnTo>
                        <a:pt x="1406432" y="1113507"/>
                      </a:lnTo>
                      <a:lnTo>
                        <a:pt x="1407743" y="1113107"/>
                      </a:lnTo>
                      <a:lnTo>
                        <a:pt x="1409176" y="1112900"/>
                      </a:lnTo>
                      <a:lnTo>
                        <a:pt x="1411192" y="1113216"/>
                      </a:lnTo>
                      <a:lnTo>
                        <a:pt x="1413159" y="1114224"/>
                      </a:lnTo>
                      <a:lnTo>
                        <a:pt x="1422108" y="1121862"/>
                      </a:lnTo>
                      <a:lnTo>
                        <a:pt x="1424525" y="1124509"/>
                      </a:lnTo>
                      <a:lnTo>
                        <a:pt x="1426358" y="1127630"/>
                      </a:lnTo>
                      <a:lnTo>
                        <a:pt x="1428022" y="1131770"/>
                      </a:lnTo>
                      <a:lnTo>
                        <a:pt x="1430426" y="1141157"/>
                      </a:lnTo>
                      <a:lnTo>
                        <a:pt x="1430778" y="1146038"/>
                      </a:lnTo>
                      <a:lnTo>
                        <a:pt x="1430426" y="1149281"/>
                      </a:lnTo>
                      <a:lnTo>
                        <a:pt x="1429115" y="1151065"/>
                      </a:lnTo>
                      <a:lnTo>
                        <a:pt x="1428471" y="1152122"/>
                      </a:lnTo>
                      <a:lnTo>
                        <a:pt x="1425957" y="1153907"/>
                      </a:lnTo>
                      <a:lnTo>
                        <a:pt x="1408666" y="1161508"/>
                      </a:lnTo>
                      <a:lnTo>
                        <a:pt x="1407864" y="1161739"/>
                      </a:lnTo>
                      <a:lnTo>
                        <a:pt x="1404768" y="1162310"/>
                      </a:lnTo>
                      <a:lnTo>
                        <a:pt x="1402874" y="1162286"/>
                      </a:lnTo>
                      <a:lnTo>
                        <a:pt x="1401380" y="1162031"/>
                      </a:lnTo>
                      <a:lnTo>
                        <a:pt x="1400688" y="1161715"/>
                      </a:lnTo>
                      <a:lnTo>
                        <a:pt x="1400409" y="1161533"/>
                      </a:lnTo>
                      <a:lnTo>
                        <a:pt x="1400227" y="1160768"/>
                      </a:lnTo>
                      <a:lnTo>
                        <a:pt x="1400409" y="1157465"/>
                      </a:lnTo>
                      <a:lnTo>
                        <a:pt x="1400227" y="1156287"/>
                      </a:lnTo>
                      <a:lnTo>
                        <a:pt x="1399887" y="1154793"/>
                      </a:lnTo>
                      <a:lnTo>
                        <a:pt x="1398551" y="1151576"/>
                      </a:lnTo>
                      <a:lnTo>
                        <a:pt x="1397822" y="1150337"/>
                      </a:lnTo>
                      <a:lnTo>
                        <a:pt x="1396960" y="1149232"/>
                      </a:lnTo>
                      <a:lnTo>
                        <a:pt x="1396037" y="1148540"/>
                      </a:lnTo>
                      <a:lnTo>
                        <a:pt x="1394896" y="1148163"/>
                      </a:lnTo>
                      <a:lnTo>
                        <a:pt x="1392249" y="1148127"/>
                      </a:lnTo>
                      <a:lnTo>
                        <a:pt x="1391034" y="1147872"/>
                      </a:lnTo>
                      <a:lnTo>
                        <a:pt x="1389723" y="1147350"/>
                      </a:lnTo>
                      <a:lnTo>
                        <a:pt x="1388412" y="1146609"/>
                      </a:lnTo>
                      <a:lnTo>
                        <a:pt x="1387197" y="1146293"/>
                      </a:lnTo>
                      <a:lnTo>
                        <a:pt x="1385922" y="1146354"/>
                      </a:lnTo>
                      <a:lnTo>
                        <a:pt x="1383870" y="1147325"/>
                      </a:lnTo>
                      <a:lnTo>
                        <a:pt x="1383117" y="1148540"/>
                      </a:lnTo>
                      <a:lnTo>
                        <a:pt x="1382996" y="1150434"/>
                      </a:lnTo>
                      <a:lnTo>
                        <a:pt x="1384368" y="1157319"/>
                      </a:lnTo>
                      <a:lnTo>
                        <a:pt x="1384550" y="1158958"/>
                      </a:lnTo>
                      <a:lnTo>
                        <a:pt x="1384550" y="1160391"/>
                      </a:lnTo>
                      <a:lnTo>
                        <a:pt x="1384489" y="1161168"/>
                      </a:lnTo>
                      <a:lnTo>
                        <a:pt x="1383056" y="1166329"/>
                      </a:lnTo>
                      <a:lnTo>
                        <a:pt x="1382886" y="1167713"/>
                      </a:lnTo>
                      <a:lnTo>
                        <a:pt x="1382935" y="1169086"/>
                      </a:lnTo>
                      <a:lnTo>
                        <a:pt x="1383396" y="1170895"/>
                      </a:lnTo>
                      <a:lnTo>
                        <a:pt x="1384951" y="1176262"/>
                      </a:lnTo>
                      <a:lnTo>
                        <a:pt x="1384611" y="1189389"/>
                      </a:lnTo>
                      <a:lnTo>
                        <a:pt x="1385704" y="1193918"/>
                      </a:lnTo>
                      <a:lnTo>
                        <a:pt x="1387780" y="1198119"/>
                      </a:lnTo>
                      <a:lnTo>
                        <a:pt x="1396499" y="1209084"/>
                      </a:lnTo>
                      <a:lnTo>
                        <a:pt x="1399037" y="1213104"/>
                      </a:lnTo>
                      <a:lnTo>
                        <a:pt x="1399486" y="1215338"/>
                      </a:lnTo>
                      <a:lnTo>
                        <a:pt x="1399073" y="1217208"/>
                      </a:lnTo>
                      <a:lnTo>
                        <a:pt x="1397871" y="1218726"/>
                      </a:lnTo>
                      <a:lnTo>
                        <a:pt x="1396608" y="1220632"/>
                      </a:lnTo>
                      <a:lnTo>
                        <a:pt x="1395807" y="1223158"/>
                      </a:lnTo>
                      <a:lnTo>
                        <a:pt x="1394993" y="1224882"/>
                      </a:lnTo>
                      <a:lnTo>
                        <a:pt x="1393633" y="1226194"/>
                      </a:lnTo>
                      <a:lnTo>
                        <a:pt x="1391617" y="1226631"/>
                      </a:lnTo>
                      <a:lnTo>
                        <a:pt x="1389322" y="1226595"/>
                      </a:lnTo>
                      <a:lnTo>
                        <a:pt x="1387367" y="1226279"/>
                      </a:lnTo>
                      <a:lnTo>
                        <a:pt x="1385983" y="1226315"/>
                      </a:lnTo>
                      <a:lnTo>
                        <a:pt x="1384550" y="1226801"/>
                      </a:lnTo>
                      <a:lnTo>
                        <a:pt x="1380871" y="1228890"/>
                      </a:lnTo>
                      <a:lnTo>
                        <a:pt x="1375601" y="1229132"/>
                      </a:lnTo>
                      <a:lnTo>
                        <a:pt x="1371181" y="1226255"/>
                      </a:lnTo>
                      <a:lnTo>
                        <a:pt x="1367781" y="1223437"/>
                      </a:lnTo>
                      <a:lnTo>
                        <a:pt x="1357277" y="1216552"/>
                      </a:lnTo>
                      <a:lnTo>
                        <a:pt x="1354812" y="1214318"/>
                      </a:lnTo>
                      <a:lnTo>
                        <a:pt x="1354472" y="1213164"/>
                      </a:lnTo>
                      <a:lnTo>
                        <a:pt x="1354690" y="1211635"/>
                      </a:lnTo>
                      <a:lnTo>
                        <a:pt x="1355383" y="1209947"/>
                      </a:lnTo>
                      <a:lnTo>
                        <a:pt x="1357216" y="1206559"/>
                      </a:lnTo>
                      <a:lnTo>
                        <a:pt x="1358030" y="1204543"/>
                      </a:lnTo>
                      <a:lnTo>
                        <a:pt x="1358248" y="1202406"/>
                      </a:lnTo>
                      <a:lnTo>
                        <a:pt x="1357398" y="1200184"/>
                      </a:lnTo>
                      <a:lnTo>
                        <a:pt x="1355723" y="1199443"/>
                      </a:lnTo>
                      <a:lnTo>
                        <a:pt x="1353537" y="1199467"/>
                      </a:lnTo>
                      <a:lnTo>
                        <a:pt x="1348376" y="1201131"/>
                      </a:lnTo>
                      <a:lnTo>
                        <a:pt x="1343033" y="1203450"/>
                      </a:lnTo>
                      <a:lnTo>
                        <a:pt x="1340908" y="1204834"/>
                      </a:lnTo>
                      <a:lnTo>
                        <a:pt x="1339196" y="1206680"/>
                      </a:lnTo>
                      <a:lnTo>
                        <a:pt x="1337982" y="1208878"/>
                      </a:lnTo>
                      <a:lnTo>
                        <a:pt x="1336039" y="1215690"/>
                      </a:lnTo>
                      <a:lnTo>
                        <a:pt x="1335347" y="1216977"/>
                      </a:lnTo>
                      <a:lnTo>
                        <a:pt x="1333622" y="1218216"/>
                      </a:lnTo>
                      <a:lnTo>
                        <a:pt x="1331255" y="1219017"/>
                      </a:lnTo>
                      <a:lnTo>
                        <a:pt x="1327757" y="1219418"/>
                      </a:lnTo>
                      <a:lnTo>
                        <a:pt x="1325985" y="1219127"/>
                      </a:lnTo>
                      <a:lnTo>
                        <a:pt x="1324612" y="1218362"/>
                      </a:lnTo>
                      <a:lnTo>
                        <a:pt x="1323860" y="1217014"/>
                      </a:lnTo>
                      <a:lnTo>
                        <a:pt x="1322548" y="1212788"/>
                      </a:lnTo>
                      <a:lnTo>
                        <a:pt x="1321382" y="1210602"/>
                      </a:lnTo>
                      <a:lnTo>
                        <a:pt x="1319379" y="1208878"/>
                      </a:lnTo>
                      <a:lnTo>
                        <a:pt x="1317375" y="1208307"/>
                      </a:lnTo>
                      <a:lnTo>
                        <a:pt x="1308365" y="1209400"/>
                      </a:lnTo>
                      <a:lnTo>
                        <a:pt x="1303362" y="1209291"/>
                      </a:lnTo>
                      <a:lnTo>
                        <a:pt x="1299052" y="1208283"/>
                      </a:lnTo>
                      <a:lnTo>
                        <a:pt x="1288949" y="1204689"/>
                      </a:lnTo>
                      <a:lnTo>
                        <a:pt x="1285622" y="1204349"/>
                      </a:lnTo>
                      <a:lnTo>
                        <a:pt x="1279416" y="1205551"/>
                      </a:lnTo>
                      <a:lnTo>
                        <a:pt x="1274996" y="1205757"/>
                      </a:lnTo>
                      <a:lnTo>
                        <a:pt x="1272009" y="1204580"/>
                      </a:lnTo>
                      <a:lnTo>
                        <a:pt x="1269763" y="1202831"/>
                      </a:lnTo>
                      <a:lnTo>
                        <a:pt x="1268391" y="1200985"/>
                      </a:lnTo>
                      <a:lnTo>
                        <a:pt x="1267480" y="1199237"/>
                      </a:lnTo>
                      <a:lnTo>
                        <a:pt x="1267237" y="1197913"/>
                      </a:lnTo>
                      <a:lnTo>
                        <a:pt x="1267298" y="1196687"/>
                      </a:lnTo>
                      <a:lnTo>
                        <a:pt x="1267941" y="1193699"/>
                      </a:lnTo>
                      <a:lnTo>
                        <a:pt x="1267881" y="1192291"/>
                      </a:lnTo>
                      <a:lnTo>
                        <a:pt x="1267237" y="1191004"/>
                      </a:lnTo>
                      <a:lnTo>
                        <a:pt x="1266035" y="1190821"/>
                      </a:lnTo>
                      <a:lnTo>
                        <a:pt x="1264371" y="1191113"/>
                      </a:lnTo>
                      <a:lnTo>
                        <a:pt x="1260874" y="1192752"/>
                      </a:lnTo>
                      <a:lnTo>
                        <a:pt x="1258178" y="1194331"/>
                      </a:lnTo>
                      <a:lnTo>
                        <a:pt x="1256685" y="1195509"/>
                      </a:lnTo>
                      <a:lnTo>
                        <a:pt x="1255641" y="1197002"/>
                      </a:lnTo>
                      <a:lnTo>
                        <a:pt x="1255070" y="1198945"/>
                      </a:lnTo>
                      <a:lnTo>
                        <a:pt x="1254839" y="1204834"/>
                      </a:lnTo>
                      <a:lnTo>
                        <a:pt x="1253856" y="1208975"/>
                      </a:lnTo>
                      <a:lnTo>
                        <a:pt x="1253698" y="1211003"/>
                      </a:lnTo>
                      <a:lnTo>
                        <a:pt x="1254208" y="1214913"/>
                      </a:lnTo>
                      <a:lnTo>
                        <a:pt x="1253576" y="1222005"/>
                      </a:lnTo>
                      <a:lnTo>
                        <a:pt x="1253576" y="1224530"/>
                      </a:lnTo>
                      <a:lnTo>
                        <a:pt x="1254147" y="1229181"/>
                      </a:lnTo>
                      <a:lnTo>
                        <a:pt x="1254147" y="1231100"/>
                      </a:lnTo>
                      <a:lnTo>
                        <a:pt x="1253698" y="1234342"/>
                      </a:lnTo>
                      <a:lnTo>
                        <a:pt x="1247432" y="1241470"/>
                      </a:lnTo>
                      <a:lnTo>
                        <a:pt x="1231634" y="1250832"/>
                      </a:lnTo>
                      <a:lnTo>
                        <a:pt x="1228950" y="1253637"/>
                      </a:lnTo>
                      <a:lnTo>
                        <a:pt x="1228076" y="1255823"/>
                      </a:lnTo>
                      <a:lnTo>
                        <a:pt x="1229169" y="1257377"/>
                      </a:lnTo>
                      <a:lnTo>
                        <a:pt x="1231877" y="1260158"/>
                      </a:lnTo>
                      <a:lnTo>
                        <a:pt x="1232095" y="1260850"/>
                      </a:lnTo>
                      <a:lnTo>
                        <a:pt x="1232156" y="1261372"/>
                      </a:lnTo>
                      <a:lnTo>
                        <a:pt x="1231986" y="1262173"/>
                      </a:lnTo>
                      <a:lnTo>
                        <a:pt x="1231415" y="1264153"/>
                      </a:lnTo>
                      <a:lnTo>
                        <a:pt x="1230723" y="1265671"/>
                      </a:lnTo>
                      <a:lnTo>
                        <a:pt x="1229290" y="1267941"/>
                      </a:lnTo>
                      <a:lnTo>
                        <a:pt x="1226813" y="1269836"/>
                      </a:lnTo>
                      <a:lnTo>
                        <a:pt x="1212910" y="1277182"/>
                      </a:lnTo>
                      <a:lnTo>
                        <a:pt x="1203220" y="1279878"/>
                      </a:lnTo>
                      <a:lnTo>
                        <a:pt x="1196614" y="1283411"/>
                      </a:lnTo>
                      <a:lnTo>
                        <a:pt x="1192886" y="1284419"/>
                      </a:lnTo>
                      <a:lnTo>
                        <a:pt x="1189899" y="1284164"/>
                      </a:lnTo>
                      <a:lnTo>
                        <a:pt x="1188004" y="1282246"/>
                      </a:lnTo>
                      <a:lnTo>
                        <a:pt x="1186280" y="1280108"/>
                      </a:lnTo>
                      <a:lnTo>
                        <a:pt x="1184604" y="1278384"/>
                      </a:lnTo>
                      <a:lnTo>
                        <a:pt x="1183001" y="1277473"/>
                      </a:lnTo>
                      <a:lnTo>
                        <a:pt x="1180937" y="1277583"/>
                      </a:lnTo>
                      <a:lnTo>
                        <a:pt x="1179905" y="1278384"/>
                      </a:lnTo>
                      <a:lnTo>
                        <a:pt x="1179334" y="1279550"/>
                      </a:lnTo>
                      <a:lnTo>
                        <a:pt x="1179456" y="1281044"/>
                      </a:lnTo>
                      <a:lnTo>
                        <a:pt x="1180585" y="1285233"/>
                      </a:lnTo>
                      <a:lnTo>
                        <a:pt x="1180889" y="1287297"/>
                      </a:lnTo>
                      <a:lnTo>
                        <a:pt x="1180524" y="1289009"/>
                      </a:lnTo>
                      <a:lnTo>
                        <a:pt x="1177719" y="1294510"/>
                      </a:lnTo>
                      <a:lnTo>
                        <a:pt x="1177331" y="1296198"/>
                      </a:lnTo>
                      <a:lnTo>
                        <a:pt x="1177027" y="1298056"/>
                      </a:lnTo>
                      <a:lnTo>
                        <a:pt x="1176517" y="1299987"/>
                      </a:lnTo>
                      <a:lnTo>
                        <a:pt x="1175485" y="1302027"/>
                      </a:lnTo>
                      <a:lnTo>
                        <a:pt x="1174222" y="1302828"/>
                      </a:lnTo>
                      <a:lnTo>
                        <a:pt x="1172668" y="1302682"/>
                      </a:lnTo>
                      <a:lnTo>
                        <a:pt x="1169110" y="1299756"/>
                      </a:lnTo>
                      <a:lnTo>
                        <a:pt x="1166766" y="1298602"/>
                      </a:lnTo>
                      <a:lnTo>
                        <a:pt x="1163828" y="1297922"/>
                      </a:lnTo>
                      <a:lnTo>
                        <a:pt x="1156239" y="1297109"/>
                      </a:lnTo>
                      <a:lnTo>
                        <a:pt x="1154927" y="1293527"/>
                      </a:lnTo>
                      <a:lnTo>
                        <a:pt x="1154696" y="1289677"/>
                      </a:lnTo>
                      <a:lnTo>
                        <a:pt x="1153652" y="1287200"/>
                      </a:lnTo>
                      <a:lnTo>
                        <a:pt x="1152681" y="1285658"/>
                      </a:lnTo>
                      <a:lnTo>
                        <a:pt x="1142578" y="1279829"/>
                      </a:lnTo>
                      <a:lnTo>
                        <a:pt x="1139421" y="1277534"/>
                      </a:lnTo>
                      <a:lnTo>
                        <a:pt x="1138279" y="1276502"/>
                      </a:lnTo>
                      <a:lnTo>
                        <a:pt x="1136203" y="1272908"/>
                      </a:lnTo>
                      <a:lnTo>
                        <a:pt x="1135632" y="1265015"/>
                      </a:lnTo>
                      <a:lnTo>
                        <a:pt x="1135413" y="1263181"/>
                      </a:lnTo>
                      <a:lnTo>
                        <a:pt x="1138607" y="1258118"/>
                      </a:lnTo>
                      <a:lnTo>
                        <a:pt x="1140465" y="1253819"/>
                      </a:lnTo>
                      <a:lnTo>
                        <a:pt x="1142468" y="1252775"/>
                      </a:lnTo>
                      <a:lnTo>
                        <a:pt x="1143549" y="1252496"/>
                      </a:lnTo>
                      <a:lnTo>
                        <a:pt x="1145334" y="1252763"/>
                      </a:lnTo>
                      <a:lnTo>
                        <a:pt x="1147168" y="1253928"/>
                      </a:lnTo>
                      <a:lnTo>
                        <a:pt x="1150568" y="1256831"/>
                      </a:lnTo>
                      <a:lnTo>
                        <a:pt x="1151940" y="1257608"/>
                      </a:lnTo>
                      <a:lnTo>
                        <a:pt x="1154745" y="1258348"/>
                      </a:lnTo>
                      <a:lnTo>
                        <a:pt x="1156141" y="1259101"/>
                      </a:lnTo>
                      <a:lnTo>
                        <a:pt x="1158485" y="1261081"/>
                      </a:lnTo>
                      <a:lnTo>
                        <a:pt x="1160841" y="1261918"/>
                      </a:lnTo>
                      <a:lnTo>
                        <a:pt x="1163087" y="1261858"/>
                      </a:lnTo>
                      <a:lnTo>
                        <a:pt x="1165212" y="1261056"/>
                      </a:lnTo>
                      <a:lnTo>
                        <a:pt x="1170421" y="1256515"/>
                      </a:lnTo>
                      <a:lnTo>
                        <a:pt x="1172425" y="1256090"/>
                      </a:lnTo>
                      <a:lnTo>
                        <a:pt x="1174222" y="1256685"/>
                      </a:lnTo>
                      <a:lnTo>
                        <a:pt x="1177901" y="1259866"/>
                      </a:lnTo>
                      <a:lnTo>
                        <a:pt x="1179784" y="1260765"/>
                      </a:lnTo>
                      <a:lnTo>
                        <a:pt x="1180524" y="1260971"/>
                      </a:lnTo>
                      <a:lnTo>
                        <a:pt x="1181168" y="1260825"/>
                      </a:lnTo>
                      <a:lnTo>
                        <a:pt x="1182831" y="1258992"/>
                      </a:lnTo>
                      <a:lnTo>
                        <a:pt x="1183511" y="1256855"/>
                      </a:lnTo>
                      <a:lnTo>
                        <a:pt x="1185127" y="1253928"/>
                      </a:lnTo>
                      <a:lnTo>
                        <a:pt x="1187774" y="1249970"/>
                      </a:lnTo>
                      <a:lnTo>
                        <a:pt x="1193165" y="1245003"/>
                      </a:lnTo>
                      <a:lnTo>
                        <a:pt x="1195460" y="1241555"/>
                      </a:lnTo>
                      <a:lnTo>
                        <a:pt x="1196322" y="1239454"/>
                      </a:lnTo>
                      <a:lnTo>
                        <a:pt x="1195229" y="1237305"/>
                      </a:lnTo>
                      <a:lnTo>
                        <a:pt x="1187422" y="1232945"/>
                      </a:lnTo>
                      <a:lnTo>
                        <a:pt x="1185248" y="1230505"/>
                      </a:lnTo>
                      <a:lnTo>
                        <a:pt x="1184264" y="1226825"/>
                      </a:lnTo>
                      <a:lnTo>
                        <a:pt x="1184507" y="1223207"/>
                      </a:lnTo>
                      <a:lnTo>
                        <a:pt x="1186620" y="1218932"/>
                      </a:lnTo>
                      <a:lnTo>
                        <a:pt x="1193335" y="1210954"/>
                      </a:lnTo>
                      <a:lnTo>
                        <a:pt x="1194768" y="1206874"/>
                      </a:lnTo>
                      <a:lnTo>
                        <a:pt x="1195072" y="1202831"/>
                      </a:lnTo>
                      <a:lnTo>
                        <a:pt x="1194428" y="1200099"/>
                      </a:lnTo>
                      <a:lnTo>
                        <a:pt x="1193675" y="1198544"/>
                      </a:lnTo>
                      <a:lnTo>
                        <a:pt x="1192303" y="1197233"/>
                      </a:lnTo>
                      <a:lnTo>
                        <a:pt x="1190639" y="1196419"/>
                      </a:lnTo>
                      <a:lnTo>
                        <a:pt x="1188575" y="1195679"/>
                      </a:lnTo>
                      <a:lnTo>
                        <a:pt x="1186620" y="1194586"/>
                      </a:lnTo>
                      <a:lnTo>
                        <a:pt x="1185248" y="1192947"/>
                      </a:lnTo>
                      <a:lnTo>
                        <a:pt x="1184264" y="1189959"/>
                      </a:lnTo>
                      <a:lnTo>
                        <a:pt x="1183232" y="1181520"/>
                      </a:lnTo>
                      <a:lnTo>
                        <a:pt x="1182540" y="1179346"/>
                      </a:lnTo>
                      <a:lnTo>
                        <a:pt x="1181981" y="1176675"/>
                      </a:lnTo>
                      <a:lnTo>
                        <a:pt x="1182139" y="1173481"/>
                      </a:lnTo>
                      <a:lnTo>
                        <a:pt x="1183985" y="1167750"/>
                      </a:lnTo>
                      <a:lnTo>
                        <a:pt x="1185697" y="1164811"/>
                      </a:lnTo>
                      <a:lnTo>
                        <a:pt x="1187834" y="1162856"/>
                      </a:lnTo>
                      <a:lnTo>
                        <a:pt x="1190020" y="1162286"/>
                      </a:lnTo>
                      <a:lnTo>
                        <a:pt x="1192825" y="1162711"/>
                      </a:lnTo>
                      <a:lnTo>
                        <a:pt x="1199030" y="1166888"/>
                      </a:lnTo>
                      <a:lnTo>
                        <a:pt x="1201325" y="1167519"/>
                      </a:lnTo>
                      <a:lnTo>
                        <a:pt x="1203560" y="1166997"/>
                      </a:lnTo>
                      <a:lnTo>
                        <a:pt x="1205745" y="1165394"/>
                      </a:lnTo>
                      <a:lnTo>
                        <a:pt x="1207287" y="1163184"/>
                      </a:lnTo>
                      <a:lnTo>
                        <a:pt x="1207919" y="1162055"/>
                      </a:lnTo>
                      <a:lnTo>
                        <a:pt x="1208162" y="1161338"/>
                      </a:lnTo>
                      <a:lnTo>
                        <a:pt x="1208320" y="1158691"/>
                      </a:lnTo>
                      <a:lnTo>
                        <a:pt x="1207287" y="1141752"/>
                      </a:lnTo>
                      <a:lnTo>
                        <a:pt x="1201775" y="1135098"/>
                      </a:lnTo>
                      <a:lnTo>
                        <a:pt x="1198047" y="1131418"/>
                      </a:lnTo>
                      <a:lnTo>
                        <a:pt x="1196844" y="1128893"/>
                      </a:lnTo>
                      <a:lnTo>
                        <a:pt x="1196844" y="1126658"/>
                      </a:lnTo>
                      <a:lnTo>
                        <a:pt x="1197597" y="1124642"/>
                      </a:lnTo>
                      <a:lnTo>
                        <a:pt x="1197755" y="1122214"/>
                      </a:lnTo>
                      <a:lnTo>
                        <a:pt x="1196784" y="1118182"/>
                      </a:lnTo>
                      <a:lnTo>
                        <a:pt x="1190870" y="1109913"/>
                      </a:lnTo>
                      <a:lnTo>
                        <a:pt x="1188223" y="1107448"/>
                      </a:lnTo>
                      <a:lnTo>
                        <a:pt x="1186559" y="1106270"/>
                      </a:lnTo>
                      <a:lnTo>
                        <a:pt x="1184386" y="1105760"/>
                      </a:lnTo>
                      <a:lnTo>
                        <a:pt x="1181569" y="1105869"/>
                      </a:lnTo>
                      <a:lnTo>
                        <a:pt x="1178812" y="1106817"/>
                      </a:lnTo>
                      <a:lnTo>
                        <a:pt x="1165953" y="1114054"/>
                      </a:lnTo>
                      <a:lnTo>
                        <a:pt x="1156481" y="1116228"/>
                      </a:lnTo>
                      <a:lnTo>
                        <a:pt x="1147411" y="1116580"/>
                      </a:lnTo>
                      <a:lnTo>
                        <a:pt x="1128285" y="1121085"/>
                      </a:lnTo>
                      <a:lnTo>
                        <a:pt x="1122360" y="1121522"/>
                      </a:lnTo>
                      <a:lnTo>
                        <a:pt x="1116907" y="1120769"/>
                      </a:lnTo>
                      <a:lnTo>
                        <a:pt x="1108359" y="1117782"/>
                      </a:lnTo>
                      <a:lnTo>
                        <a:pt x="1102154" y="1116774"/>
                      </a:lnTo>
                      <a:lnTo>
                        <a:pt x="1096580" y="1116895"/>
                      </a:lnTo>
                      <a:lnTo>
                        <a:pt x="1089695" y="1117672"/>
                      </a:lnTo>
                      <a:lnTo>
                        <a:pt x="1085676" y="1117551"/>
                      </a:lnTo>
                      <a:lnTo>
                        <a:pt x="1082458" y="1116713"/>
                      </a:lnTo>
                      <a:lnTo>
                        <a:pt x="1080284" y="1115341"/>
                      </a:lnTo>
                      <a:lnTo>
                        <a:pt x="1078378" y="1113568"/>
                      </a:lnTo>
                      <a:lnTo>
                        <a:pt x="1077067" y="1111637"/>
                      </a:lnTo>
                      <a:lnTo>
                        <a:pt x="1076484" y="1109233"/>
                      </a:lnTo>
                      <a:lnTo>
                        <a:pt x="1076824" y="1106817"/>
                      </a:lnTo>
                      <a:lnTo>
                        <a:pt x="1078159" y="1104582"/>
                      </a:lnTo>
                      <a:lnTo>
                        <a:pt x="1082057" y="1101559"/>
                      </a:lnTo>
                      <a:lnTo>
                        <a:pt x="1083259" y="1099871"/>
                      </a:lnTo>
                      <a:lnTo>
                        <a:pt x="1083733" y="1097576"/>
                      </a:lnTo>
                      <a:lnTo>
                        <a:pt x="1083150" y="1094819"/>
                      </a:lnTo>
                      <a:lnTo>
                        <a:pt x="1082118" y="1092585"/>
                      </a:lnTo>
                      <a:lnTo>
                        <a:pt x="1079532" y="1088384"/>
                      </a:lnTo>
                      <a:lnTo>
                        <a:pt x="1078730" y="1086234"/>
                      </a:lnTo>
                      <a:lnTo>
                        <a:pt x="1078609" y="1084595"/>
                      </a:lnTo>
                      <a:lnTo>
                        <a:pt x="1079301" y="1083247"/>
                      </a:lnTo>
                      <a:lnTo>
                        <a:pt x="1080564" y="1082664"/>
                      </a:lnTo>
                      <a:lnTo>
                        <a:pt x="1082239" y="1083247"/>
                      </a:lnTo>
                      <a:lnTo>
                        <a:pt x="1084122" y="1084850"/>
                      </a:lnTo>
                      <a:lnTo>
                        <a:pt x="1088323" y="1089477"/>
                      </a:lnTo>
                      <a:lnTo>
                        <a:pt x="1090606" y="1091395"/>
                      </a:lnTo>
                      <a:lnTo>
                        <a:pt x="1093435" y="1092743"/>
                      </a:lnTo>
                      <a:lnTo>
                        <a:pt x="1096641" y="1093617"/>
                      </a:lnTo>
                      <a:lnTo>
                        <a:pt x="1100029" y="1093921"/>
                      </a:lnTo>
                      <a:lnTo>
                        <a:pt x="1104060" y="1093812"/>
                      </a:lnTo>
                      <a:lnTo>
                        <a:pt x="1107436" y="1093326"/>
                      </a:lnTo>
                      <a:lnTo>
                        <a:pt x="1110824" y="1092354"/>
                      </a:lnTo>
                      <a:lnTo>
                        <a:pt x="1113811" y="1090824"/>
                      </a:lnTo>
                      <a:lnTo>
                        <a:pt x="1116337" y="1089039"/>
                      </a:lnTo>
                      <a:lnTo>
                        <a:pt x="1118183" y="1087145"/>
                      </a:lnTo>
                      <a:lnTo>
                        <a:pt x="1119555" y="1085372"/>
                      </a:lnTo>
                      <a:lnTo>
                        <a:pt x="1120356" y="1083794"/>
                      </a:lnTo>
                      <a:lnTo>
                        <a:pt x="1120587" y="1082664"/>
                      </a:lnTo>
                      <a:lnTo>
                        <a:pt x="1120247" y="1081438"/>
                      </a:lnTo>
                      <a:lnTo>
                        <a:pt x="1118863" y="1080916"/>
                      </a:lnTo>
                      <a:lnTo>
                        <a:pt x="1116847" y="1080916"/>
                      </a:lnTo>
                      <a:lnTo>
                        <a:pt x="1108808" y="1083502"/>
                      </a:lnTo>
                      <a:lnTo>
                        <a:pt x="1104570" y="1084158"/>
                      </a:lnTo>
                      <a:lnTo>
                        <a:pt x="1100090" y="1084304"/>
                      </a:lnTo>
                      <a:lnTo>
                        <a:pt x="1094516" y="1083162"/>
                      </a:lnTo>
                      <a:lnTo>
                        <a:pt x="1091759" y="1081608"/>
                      </a:lnTo>
                      <a:lnTo>
                        <a:pt x="1090217" y="1079544"/>
                      </a:lnTo>
                      <a:lnTo>
                        <a:pt x="1090035" y="1077941"/>
                      </a:lnTo>
                      <a:lnTo>
                        <a:pt x="1090266" y="1076447"/>
                      </a:lnTo>
                      <a:lnTo>
                        <a:pt x="1090727" y="1075415"/>
                      </a:lnTo>
                      <a:lnTo>
                        <a:pt x="1091419" y="1074541"/>
                      </a:lnTo>
                      <a:lnTo>
                        <a:pt x="1092682" y="1074201"/>
                      </a:lnTo>
                      <a:lnTo>
                        <a:pt x="1094516" y="1074456"/>
                      </a:lnTo>
                      <a:lnTo>
                        <a:pt x="1097394" y="1075755"/>
                      </a:lnTo>
                      <a:lnTo>
                        <a:pt x="1099567" y="1076447"/>
                      </a:lnTo>
                      <a:lnTo>
                        <a:pt x="1101474" y="1076641"/>
                      </a:lnTo>
                      <a:lnTo>
                        <a:pt x="1103186" y="1075949"/>
                      </a:lnTo>
                      <a:lnTo>
                        <a:pt x="1104340" y="1074808"/>
                      </a:lnTo>
                      <a:lnTo>
                        <a:pt x="1104570" y="1072938"/>
                      </a:lnTo>
                      <a:lnTo>
                        <a:pt x="1103878" y="1070813"/>
                      </a:lnTo>
                      <a:lnTo>
                        <a:pt x="1100430" y="1066684"/>
                      </a:lnTo>
                      <a:lnTo>
                        <a:pt x="1099519" y="1065191"/>
                      </a:lnTo>
                      <a:lnTo>
                        <a:pt x="1099227" y="1064523"/>
                      </a:lnTo>
                      <a:lnTo>
                        <a:pt x="1098936" y="1062604"/>
                      </a:lnTo>
                      <a:lnTo>
                        <a:pt x="1102336" y="1055938"/>
                      </a:lnTo>
                      <a:lnTo>
                        <a:pt x="1104400" y="1053133"/>
                      </a:lnTo>
                      <a:lnTo>
                        <a:pt x="1104971" y="1051153"/>
                      </a:lnTo>
                      <a:lnTo>
                        <a:pt x="1104971" y="1050291"/>
                      </a:lnTo>
                      <a:lnTo>
                        <a:pt x="1104157" y="1050000"/>
                      </a:lnTo>
                      <a:lnTo>
                        <a:pt x="1103077" y="1050000"/>
                      </a:lnTo>
                      <a:lnTo>
                        <a:pt x="1101413" y="1050291"/>
                      </a:lnTo>
                      <a:lnTo>
                        <a:pt x="1095087" y="1052246"/>
                      </a:lnTo>
                      <a:lnTo>
                        <a:pt x="1088323" y="1053849"/>
                      </a:lnTo>
                      <a:lnTo>
                        <a:pt x="1082919" y="1053752"/>
                      </a:lnTo>
                      <a:lnTo>
                        <a:pt x="1073849" y="1052732"/>
                      </a:lnTo>
                      <a:lnTo>
                        <a:pt x="1071031" y="1053072"/>
                      </a:lnTo>
                      <a:lnTo>
                        <a:pt x="1069246" y="1053873"/>
                      </a:lnTo>
                      <a:lnTo>
                        <a:pt x="1068785" y="1054796"/>
                      </a:lnTo>
                      <a:lnTo>
                        <a:pt x="1068506" y="1055634"/>
                      </a:lnTo>
                      <a:lnTo>
                        <a:pt x="1067814" y="1058269"/>
                      </a:lnTo>
                      <a:lnTo>
                        <a:pt x="1067304" y="1059386"/>
                      </a:lnTo>
                      <a:lnTo>
                        <a:pt x="1066611" y="1060394"/>
                      </a:lnTo>
                      <a:lnTo>
                        <a:pt x="1065579" y="1061560"/>
                      </a:lnTo>
                      <a:lnTo>
                        <a:pt x="1063163" y="1063600"/>
                      </a:lnTo>
                      <a:lnTo>
                        <a:pt x="1062580" y="1064316"/>
                      </a:lnTo>
                      <a:lnTo>
                        <a:pt x="1062240" y="1065009"/>
                      </a:lnTo>
                      <a:lnTo>
                        <a:pt x="1061851" y="1066308"/>
                      </a:lnTo>
                      <a:lnTo>
                        <a:pt x="1063576" y="1073776"/>
                      </a:lnTo>
                      <a:lnTo>
                        <a:pt x="1063673" y="1076350"/>
                      </a:lnTo>
                      <a:lnTo>
                        <a:pt x="1062932" y="1080806"/>
                      </a:lnTo>
                      <a:lnTo>
                        <a:pt x="1062131" y="1082506"/>
                      </a:lnTo>
                      <a:lnTo>
                        <a:pt x="1061269" y="1083502"/>
                      </a:lnTo>
                      <a:lnTo>
                        <a:pt x="1060054" y="1084049"/>
                      </a:lnTo>
                      <a:lnTo>
                        <a:pt x="1058864" y="1084049"/>
                      </a:lnTo>
                      <a:lnTo>
                        <a:pt x="1057650" y="1083672"/>
                      </a:lnTo>
                      <a:lnTo>
                        <a:pt x="1054554" y="1082215"/>
                      </a:lnTo>
                      <a:lnTo>
                        <a:pt x="1053412" y="1082130"/>
                      </a:lnTo>
                      <a:lnTo>
                        <a:pt x="1052319" y="1082640"/>
                      </a:lnTo>
                      <a:lnTo>
                        <a:pt x="1046916" y="1087266"/>
                      </a:lnTo>
                      <a:lnTo>
                        <a:pt x="1044851" y="1088554"/>
                      </a:lnTo>
                      <a:lnTo>
                        <a:pt x="1043358" y="1088991"/>
                      </a:lnTo>
                      <a:lnTo>
                        <a:pt x="1040783" y="1089185"/>
                      </a:lnTo>
                      <a:lnTo>
                        <a:pt x="1038015" y="1088554"/>
                      </a:lnTo>
                      <a:lnTo>
                        <a:pt x="1035258" y="1087242"/>
                      </a:lnTo>
                      <a:lnTo>
                        <a:pt x="1031130" y="1084389"/>
                      </a:lnTo>
                      <a:lnTo>
                        <a:pt x="1029223" y="1083587"/>
                      </a:lnTo>
                      <a:lnTo>
                        <a:pt x="1027268" y="1083162"/>
                      </a:lnTo>
                      <a:lnTo>
                        <a:pt x="1025435" y="1082385"/>
                      </a:lnTo>
                      <a:lnTo>
                        <a:pt x="1024002" y="1081256"/>
                      </a:lnTo>
                      <a:lnTo>
                        <a:pt x="1020966" y="1077965"/>
                      </a:lnTo>
                      <a:lnTo>
                        <a:pt x="1018319" y="1076447"/>
                      </a:lnTo>
                      <a:lnTo>
                        <a:pt x="1015271" y="1075378"/>
                      </a:lnTo>
                      <a:lnTo>
                        <a:pt x="1011312" y="1075354"/>
                      </a:lnTo>
                      <a:lnTo>
                        <a:pt x="1009940" y="1076350"/>
                      </a:lnTo>
                      <a:lnTo>
                        <a:pt x="1009588" y="1078536"/>
                      </a:lnTo>
                      <a:lnTo>
                        <a:pt x="1013146" y="1087534"/>
                      </a:lnTo>
                      <a:lnTo>
                        <a:pt x="1013790" y="1089938"/>
                      </a:lnTo>
                      <a:lnTo>
                        <a:pt x="1013899" y="1092148"/>
                      </a:lnTo>
                      <a:lnTo>
                        <a:pt x="1013729" y="1094504"/>
                      </a:lnTo>
                      <a:lnTo>
                        <a:pt x="1012575" y="1100502"/>
                      </a:lnTo>
                      <a:lnTo>
                        <a:pt x="1012867" y="1101680"/>
                      </a:lnTo>
                      <a:lnTo>
                        <a:pt x="1013850" y="1102336"/>
                      </a:lnTo>
                      <a:lnTo>
                        <a:pt x="1015963" y="1102688"/>
                      </a:lnTo>
                      <a:lnTo>
                        <a:pt x="1021646" y="1102627"/>
                      </a:lnTo>
                      <a:lnTo>
                        <a:pt x="1024585" y="1102919"/>
                      </a:lnTo>
                      <a:lnTo>
                        <a:pt x="1029005" y="1104230"/>
                      </a:lnTo>
                      <a:lnTo>
                        <a:pt x="1030899" y="1104607"/>
                      </a:lnTo>
                      <a:lnTo>
                        <a:pt x="1032781" y="1104376"/>
                      </a:lnTo>
                      <a:lnTo>
                        <a:pt x="1034627" y="1103866"/>
                      </a:lnTo>
                      <a:lnTo>
                        <a:pt x="1036412" y="1103574"/>
                      </a:lnTo>
                      <a:lnTo>
                        <a:pt x="1037954" y="1103720"/>
                      </a:lnTo>
                      <a:lnTo>
                        <a:pt x="1039387" y="1104607"/>
                      </a:lnTo>
                      <a:lnTo>
                        <a:pt x="1040358" y="1106270"/>
                      </a:lnTo>
                      <a:lnTo>
                        <a:pt x="1040201" y="1109063"/>
                      </a:lnTo>
                      <a:lnTo>
                        <a:pt x="1038877" y="1111990"/>
                      </a:lnTo>
                      <a:lnTo>
                        <a:pt x="1038185" y="1114248"/>
                      </a:lnTo>
                      <a:lnTo>
                        <a:pt x="1038076" y="1116640"/>
                      </a:lnTo>
                      <a:lnTo>
                        <a:pt x="1038246" y="1119251"/>
                      </a:lnTo>
                      <a:lnTo>
                        <a:pt x="1037736" y="1122894"/>
                      </a:lnTo>
                      <a:lnTo>
                        <a:pt x="1036181" y="1125080"/>
                      </a:lnTo>
                      <a:lnTo>
                        <a:pt x="1033874" y="1126768"/>
                      </a:lnTo>
                      <a:lnTo>
                        <a:pt x="1031530" y="1127860"/>
                      </a:lnTo>
                      <a:lnTo>
                        <a:pt x="1029065" y="1128382"/>
                      </a:lnTo>
                      <a:lnTo>
                        <a:pt x="1021938" y="1128686"/>
                      </a:lnTo>
                      <a:lnTo>
                        <a:pt x="1019813" y="1128577"/>
                      </a:lnTo>
                      <a:lnTo>
                        <a:pt x="1017688" y="1127290"/>
                      </a:lnTo>
                      <a:lnTo>
                        <a:pt x="1016315" y="1125359"/>
                      </a:lnTo>
                      <a:lnTo>
                        <a:pt x="1014239" y="1120830"/>
                      </a:lnTo>
                      <a:lnTo>
                        <a:pt x="1012988" y="1119506"/>
                      </a:lnTo>
                      <a:lnTo>
                        <a:pt x="1009880" y="1117648"/>
                      </a:lnTo>
                      <a:lnTo>
                        <a:pt x="1008678" y="1116385"/>
                      </a:lnTo>
                      <a:lnTo>
                        <a:pt x="1007985" y="1114576"/>
                      </a:lnTo>
                      <a:lnTo>
                        <a:pt x="1007184" y="1109464"/>
                      </a:lnTo>
                      <a:lnTo>
                        <a:pt x="1006322" y="1106841"/>
                      </a:lnTo>
                      <a:lnTo>
                        <a:pt x="1005107" y="1105432"/>
                      </a:lnTo>
                      <a:lnTo>
                        <a:pt x="1003213" y="1105408"/>
                      </a:lnTo>
                      <a:lnTo>
                        <a:pt x="1002181" y="1106671"/>
                      </a:lnTo>
                      <a:lnTo>
                        <a:pt x="1001380" y="1109027"/>
                      </a:lnTo>
                      <a:lnTo>
                        <a:pt x="1000979" y="1115548"/>
                      </a:lnTo>
                      <a:lnTo>
                        <a:pt x="1001210" y="1120769"/>
                      </a:lnTo>
                      <a:lnTo>
                        <a:pt x="1001720" y="1122663"/>
                      </a:lnTo>
                      <a:lnTo>
                        <a:pt x="1003675" y="1125917"/>
                      </a:lnTo>
                      <a:lnTo>
                        <a:pt x="1003796" y="1128055"/>
                      </a:lnTo>
                      <a:lnTo>
                        <a:pt x="997130" y="1143391"/>
                      </a:lnTo>
                      <a:lnTo>
                        <a:pt x="991617" y="1152559"/>
                      </a:lnTo>
                      <a:lnTo>
                        <a:pt x="990815" y="1154308"/>
                      </a:lnTo>
                      <a:lnTo>
                        <a:pt x="990184" y="1156809"/>
                      </a:lnTo>
                      <a:lnTo>
                        <a:pt x="990232" y="1158558"/>
                      </a:lnTo>
                      <a:lnTo>
                        <a:pt x="990706" y="1160246"/>
                      </a:lnTo>
                      <a:lnTo>
                        <a:pt x="991787" y="1161484"/>
                      </a:lnTo>
                      <a:lnTo>
                        <a:pt x="1009940" y="1166621"/>
                      </a:lnTo>
                      <a:lnTo>
                        <a:pt x="1013037" y="1168236"/>
                      </a:lnTo>
                      <a:lnTo>
                        <a:pt x="1015162" y="1170494"/>
                      </a:lnTo>
                      <a:lnTo>
                        <a:pt x="1015514" y="1174368"/>
                      </a:lnTo>
                      <a:lnTo>
                        <a:pt x="1013899" y="1177476"/>
                      </a:lnTo>
                      <a:lnTo>
                        <a:pt x="1011203" y="1180549"/>
                      </a:lnTo>
                      <a:lnTo>
                        <a:pt x="1000457" y="1189680"/>
                      </a:lnTo>
                      <a:lnTo>
                        <a:pt x="999425" y="1191720"/>
                      </a:lnTo>
                      <a:lnTo>
                        <a:pt x="999145" y="1194246"/>
                      </a:lnTo>
                      <a:lnTo>
                        <a:pt x="999024" y="1197172"/>
                      </a:lnTo>
                      <a:lnTo>
                        <a:pt x="998113" y="1200524"/>
                      </a:lnTo>
                      <a:lnTo>
                        <a:pt x="996559" y="1203062"/>
                      </a:lnTo>
                      <a:lnTo>
                        <a:pt x="994264" y="1205842"/>
                      </a:lnTo>
                      <a:lnTo>
                        <a:pt x="993802" y="1207761"/>
                      </a:lnTo>
                      <a:lnTo>
                        <a:pt x="994555" y="1209169"/>
                      </a:lnTo>
                      <a:lnTo>
                        <a:pt x="996559" y="1209825"/>
                      </a:lnTo>
                      <a:lnTo>
                        <a:pt x="999085" y="1209947"/>
                      </a:lnTo>
                      <a:lnTo>
                        <a:pt x="1008095" y="1208684"/>
                      </a:lnTo>
                      <a:lnTo>
                        <a:pt x="1011203" y="1209048"/>
                      </a:lnTo>
                      <a:lnTo>
                        <a:pt x="1014360" y="1210092"/>
                      </a:lnTo>
                      <a:lnTo>
                        <a:pt x="1017226" y="1211841"/>
                      </a:lnTo>
                      <a:lnTo>
                        <a:pt x="1019873" y="1214051"/>
                      </a:lnTo>
                      <a:lnTo>
                        <a:pt x="1021646" y="1216892"/>
                      </a:lnTo>
                      <a:lnTo>
                        <a:pt x="1022678" y="1220220"/>
                      </a:lnTo>
                      <a:lnTo>
                        <a:pt x="1023310" y="1230104"/>
                      </a:lnTo>
                      <a:lnTo>
                        <a:pt x="1024172" y="1234245"/>
                      </a:lnTo>
                      <a:lnTo>
                        <a:pt x="1025556" y="1237657"/>
                      </a:lnTo>
                      <a:lnTo>
                        <a:pt x="1027208" y="1240777"/>
                      </a:lnTo>
                      <a:lnTo>
                        <a:pt x="1029065" y="1243425"/>
                      </a:lnTo>
                      <a:lnTo>
                        <a:pt x="1030948" y="1245635"/>
                      </a:lnTo>
                      <a:lnTo>
                        <a:pt x="1035088" y="1248816"/>
                      </a:lnTo>
                      <a:lnTo>
                        <a:pt x="1036922" y="1250601"/>
                      </a:lnTo>
                      <a:lnTo>
                        <a:pt x="1038355" y="1252763"/>
                      </a:lnTo>
                      <a:lnTo>
                        <a:pt x="1038246" y="1254451"/>
                      </a:lnTo>
                      <a:lnTo>
                        <a:pt x="1037165" y="1256236"/>
                      </a:lnTo>
                      <a:lnTo>
                        <a:pt x="1035829" y="1257948"/>
                      </a:lnTo>
                      <a:lnTo>
                        <a:pt x="1034275" y="1260558"/>
                      </a:lnTo>
                      <a:lnTo>
                        <a:pt x="1027050" y="1281468"/>
                      </a:lnTo>
                      <a:lnTo>
                        <a:pt x="1026078" y="1289701"/>
                      </a:lnTo>
                      <a:lnTo>
                        <a:pt x="1025896" y="1295882"/>
                      </a:lnTo>
                      <a:lnTo>
                        <a:pt x="1026175" y="1299574"/>
                      </a:lnTo>
                      <a:lnTo>
                        <a:pt x="1026698" y="1302391"/>
                      </a:lnTo>
                      <a:lnTo>
                        <a:pt x="1028604" y="1304783"/>
                      </a:lnTo>
                      <a:lnTo>
                        <a:pt x="1031530" y="1310126"/>
                      </a:lnTo>
                      <a:lnTo>
                        <a:pt x="1032733" y="1316209"/>
                      </a:lnTo>
                      <a:lnTo>
                        <a:pt x="1032963" y="1319476"/>
                      </a:lnTo>
                      <a:lnTo>
                        <a:pt x="1032781" y="1323009"/>
                      </a:lnTo>
                      <a:lnTo>
                        <a:pt x="1032040" y="1327175"/>
                      </a:lnTo>
                      <a:lnTo>
                        <a:pt x="1030498" y="1330077"/>
                      </a:lnTo>
                      <a:lnTo>
                        <a:pt x="1028701" y="1332432"/>
                      </a:lnTo>
                      <a:lnTo>
                        <a:pt x="1026989" y="1334217"/>
                      </a:lnTo>
                      <a:lnTo>
                        <a:pt x="1025386" y="1336306"/>
                      </a:lnTo>
                      <a:lnTo>
                        <a:pt x="1024293" y="1338431"/>
                      </a:lnTo>
                      <a:lnTo>
                        <a:pt x="1021707" y="1346300"/>
                      </a:lnTo>
                      <a:lnTo>
                        <a:pt x="1020213" y="1349858"/>
                      </a:lnTo>
                      <a:lnTo>
                        <a:pt x="1018562" y="1352590"/>
                      </a:lnTo>
                      <a:lnTo>
                        <a:pt x="1016765" y="1354812"/>
                      </a:lnTo>
                      <a:lnTo>
                        <a:pt x="1011021" y="1360131"/>
                      </a:lnTo>
                      <a:lnTo>
                        <a:pt x="1009528" y="1360847"/>
                      </a:lnTo>
                      <a:lnTo>
                        <a:pt x="1004828" y="1361891"/>
                      </a:lnTo>
                      <a:lnTo>
                        <a:pt x="1002825" y="1362632"/>
                      </a:lnTo>
                      <a:lnTo>
                        <a:pt x="992200" y="1369638"/>
                      </a:lnTo>
                      <a:lnTo>
                        <a:pt x="987889" y="1371071"/>
                      </a:lnTo>
                      <a:lnTo>
                        <a:pt x="978235" y="1373925"/>
                      </a:lnTo>
                      <a:lnTo>
                        <a:pt x="975139" y="1375928"/>
                      </a:lnTo>
                      <a:lnTo>
                        <a:pt x="963481" y="1386323"/>
                      </a:lnTo>
                      <a:lnTo>
                        <a:pt x="961065" y="1389589"/>
                      </a:lnTo>
                      <a:lnTo>
                        <a:pt x="954459" y="1401793"/>
                      </a:lnTo>
                      <a:lnTo>
                        <a:pt x="954180" y="1404464"/>
                      </a:lnTo>
                      <a:lnTo>
                        <a:pt x="954811" y="1406589"/>
                      </a:lnTo>
                      <a:lnTo>
                        <a:pt x="956196" y="1408484"/>
                      </a:lnTo>
                      <a:lnTo>
                        <a:pt x="957289" y="1409479"/>
                      </a:lnTo>
                      <a:lnTo>
                        <a:pt x="958369" y="1410099"/>
                      </a:lnTo>
                      <a:lnTo>
                        <a:pt x="959924" y="1410694"/>
                      </a:lnTo>
                      <a:lnTo>
                        <a:pt x="965716" y="1411787"/>
                      </a:lnTo>
                      <a:lnTo>
                        <a:pt x="971411" y="1413996"/>
                      </a:lnTo>
                      <a:lnTo>
                        <a:pt x="973366" y="1414276"/>
                      </a:lnTo>
                      <a:lnTo>
                        <a:pt x="977834" y="1414057"/>
                      </a:lnTo>
                      <a:lnTo>
                        <a:pt x="980190" y="1414312"/>
                      </a:lnTo>
                      <a:lnTo>
                        <a:pt x="982315" y="1415344"/>
                      </a:lnTo>
                      <a:lnTo>
                        <a:pt x="983639" y="1416547"/>
                      </a:lnTo>
                      <a:lnTo>
                        <a:pt x="985654" y="1419534"/>
                      </a:lnTo>
                      <a:lnTo>
                        <a:pt x="987148" y="1421003"/>
                      </a:lnTo>
                      <a:lnTo>
                        <a:pt x="990924" y="1423662"/>
                      </a:lnTo>
                      <a:lnTo>
                        <a:pt x="991677" y="1425593"/>
                      </a:lnTo>
                      <a:lnTo>
                        <a:pt x="990014" y="1427087"/>
                      </a:lnTo>
                      <a:lnTo>
                        <a:pt x="981854" y="1429989"/>
                      </a:lnTo>
                      <a:lnTo>
                        <a:pt x="971472" y="1436825"/>
                      </a:lnTo>
                      <a:lnTo>
                        <a:pt x="959875" y="1439582"/>
                      </a:lnTo>
                      <a:lnTo>
                        <a:pt x="945971" y="1446783"/>
                      </a:lnTo>
                      <a:lnTo>
                        <a:pt x="942231" y="1447183"/>
                      </a:lnTo>
                      <a:lnTo>
                        <a:pt x="938843" y="1446552"/>
                      </a:lnTo>
                      <a:lnTo>
                        <a:pt x="935917" y="1445483"/>
                      </a:lnTo>
                      <a:lnTo>
                        <a:pt x="933161" y="1444791"/>
                      </a:lnTo>
                      <a:lnTo>
                        <a:pt x="929372" y="1444743"/>
                      </a:lnTo>
                      <a:lnTo>
                        <a:pt x="926968" y="1445265"/>
                      </a:lnTo>
                      <a:lnTo>
                        <a:pt x="924843" y="1446236"/>
                      </a:lnTo>
                      <a:lnTo>
                        <a:pt x="923349" y="1447390"/>
                      </a:lnTo>
                      <a:lnTo>
                        <a:pt x="920641" y="1449879"/>
                      </a:lnTo>
                      <a:lnTo>
                        <a:pt x="917375" y="1451980"/>
                      </a:lnTo>
                      <a:lnTo>
                        <a:pt x="915990" y="1448252"/>
                      </a:lnTo>
                      <a:lnTo>
                        <a:pt x="914436" y="1445374"/>
                      </a:lnTo>
                      <a:lnTo>
                        <a:pt x="913234" y="1444111"/>
                      </a:lnTo>
                      <a:lnTo>
                        <a:pt x="911631" y="1443103"/>
                      </a:lnTo>
                      <a:lnTo>
                        <a:pt x="909506" y="1442217"/>
                      </a:lnTo>
                      <a:lnTo>
                        <a:pt x="908122" y="1441294"/>
                      </a:lnTo>
                      <a:lnTo>
                        <a:pt x="904795" y="1435696"/>
                      </a:lnTo>
                      <a:lnTo>
                        <a:pt x="904054" y="1433632"/>
                      </a:lnTo>
                      <a:lnTo>
                        <a:pt x="902621" y="1431167"/>
                      </a:lnTo>
                      <a:lnTo>
                        <a:pt x="900435" y="1428264"/>
                      </a:lnTo>
                      <a:lnTo>
                        <a:pt x="895323" y="1425071"/>
                      </a:lnTo>
                      <a:lnTo>
                        <a:pt x="892907" y="1424075"/>
                      </a:lnTo>
                      <a:lnTo>
                        <a:pt x="891365" y="1424015"/>
                      </a:lnTo>
                      <a:lnTo>
                        <a:pt x="888899" y="1426164"/>
                      </a:lnTo>
                      <a:lnTo>
                        <a:pt x="887685" y="1426917"/>
                      </a:lnTo>
                      <a:lnTo>
                        <a:pt x="886192" y="1427463"/>
                      </a:lnTo>
                      <a:lnTo>
                        <a:pt x="884176" y="1427827"/>
                      </a:lnTo>
                      <a:lnTo>
                        <a:pt x="881954" y="1427172"/>
                      </a:lnTo>
                      <a:lnTo>
                        <a:pt x="879525" y="1425447"/>
                      </a:lnTo>
                      <a:lnTo>
                        <a:pt x="877121" y="1421319"/>
                      </a:lnTo>
                      <a:lnTo>
                        <a:pt x="876599" y="1418101"/>
                      </a:lnTo>
                      <a:lnTo>
                        <a:pt x="876599" y="1415138"/>
                      </a:lnTo>
                      <a:lnTo>
                        <a:pt x="876842" y="1412527"/>
                      </a:lnTo>
                      <a:lnTo>
                        <a:pt x="876538" y="1410123"/>
                      </a:lnTo>
                      <a:lnTo>
                        <a:pt x="874984" y="1407682"/>
                      </a:lnTo>
                      <a:lnTo>
                        <a:pt x="872409" y="1405411"/>
                      </a:lnTo>
                      <a:lnTo>
                        <a:pt x="862294" y="1400214"/>
                      </a:lnTo>
                      <a:lnTo>
                        <a:pt x="855871" y="1393754"/>
                      </a:lnTo>
                      <a:lnTo>
                        <a:pt x="849095" y="1388120"/>
                      </a:lnTo>
                      <a:lnTo>
                        <a:pt x="846618" y="1387428"/>
                      </a:lnTo>
                      <a:lnTo>
                        <a:pt x="845124" y="1387428"/>
                      </a:lnTo>
                      <a:lnTo>
                        <a:pt x="844614" y="1388363"/>
                      </a:lnTo>
                      <a:lnTo>
                        <a:pt x="843873" y="1390160"/>
                      </a:lnTo>
                      <a:lnTo>
                        <a:pt x="843412" y="1391022"/>
                      </a:lnTo>
                      <a:lnTo>
                        <a:pt x="842720" y="1391824"/>
                      </a:lnTo>
                      <a:lnTo>
                        <a:pt x="841627" y="1392431"/>
                      </a:lnTo>
                      <a:lnTo>
                        <a:pt x="840085" y="1392928"/>
                      </a:lnTo>
                      <a:lnTo>
                        <a:pt x="838761" y="1393147"/>
                      </a:lnTo>
                      <a:lnTo>
                        <a:pt x="837098" y="1392807"/>
                      </a:lnTo>
                      <a:lnTo>
                        <a:pt x="835203" y="1392006"/>
                      </a:lnTo>
                      <a:lnTo>
                        <a:pt x="829569" y="1385995"/>
                      </a:lnTo>
                      <a:lnTo>
                        <a:pt x="822563" y="1375151"/>
                      </a:lnTo>
                      <a:lnTo>
                        <a:pt x="821421" y="1373111"/>
                      </a:lnTo>
                      <a:lnTo>
                        <a:pt x="819806" y="1372273"/>
                      </a:lnTo>
                      <a:lnTo>
                        <a:pt x="817220" y="1372079"/>
                      </a:lnTo>
                      <a:lnTo>
                        <a:pt x="802418" y="1376985"/>
                      </a:lnTo>
                      <a:lnTo>
                        <a:pt x="800110" y="1376730"/>
                      </a:lnTo>
                      <a:lnTo>
                        <a:pt x="796103" y="1372735"/>
                      </a:lnTo>
                      <a:lnTo>
                        <a:pt x="794087" y="1371678"/>
                      </a:lnTo>
                      <a:lnTo>
                        <a:pt x="786741" y="1372310"/>
                      </a:lnTo>
                      <a:lnTo>
                        <a:pt x="785187" y="1369687"/>
                      </a:lnTo>
                      <a:lnTo>
                        <a:pt x="787202" y="1365218"/>
                      </a:lnTo>
                      <a:lnTo>
                        <a:pt x="787603" y="1362571"/>
                      </a:lnTo>
                      <a:lnTo>
                        <a:pt x="787202" y="1360507"/>
                      </a:lnTo>
                      <a:lnTo>
                        <a:pt x="785770" y="1357726"/>
                      </a:lnTo>
                      <a:lnTo>
                        <a:pt x="784798" y="1355200"/>
                      </a:lnTo>
                      <a:lnTo>
                        <a:pt x="784555" y="1351351"/>
                      </a:lnTo>
                      <a:lnTo>
                        <a:pt x="785247" y="1347963"/>
                      </a:lnTo>
                      <a:lnTo>
                        <a:pt x="785527" y="1343798"/>
                      </a:lnTo>
                      <a:lnTo>
                        <a:pt x="784555" y="1339973"/>
                      </a:lnTo>
                      <a:lnTo>
                        <a:pt x="780597" y="1334897"/>
                      </a:lnTo>
                      <a:lnTo>
                        <a:pt x="777889" y="1333380"/>
                      </a:lnTo>
                      <a:lnTo>
                        <a:pt x="775363" y="1333319"/>
                      </a:lnTo>
                      <a:lnTo>
                        <a:pt x="773481" y="1334582"/>
                      </a:lnTo>
                      <a:lnTo>
                        <a:pt x="769741" y="1338140"/>
                      </a:lnTo>
                      <a:lnTo>
                        <a:pt x="767507" y="1339718"/>
                      </a:lnTo>
                      <a:lnTo>
                        <a:pt x="765442" y="1340350"/>
                      </a:lnTo>
                      <a:lnTo>
                        <a:pt x="763706" y="1339803"/>
                      </a:lnTo>
                      <a:lnTo>
                        <a:pt x="763074" y="1338892"/>
                      </a:lnTo>
                      <a:lnTo>
                        <a:pt x="762856" y="1336476"/>
                      </a:lnTo>
                      <a:lnTo>
                        <a:pt x="763257" y="1333550"/>
                      </a:lnTo>
                      <a:lnTo>
                        <a:pt x="763305" y="1328583"/>
                      </a:lnTo>
                      <a:lnTo>
                        <a:pt x="763767" y="1326567"/>
                      </a:lnTo>
                      <a:lnTo>
                        <a:pt x="764519" y="1324880"/>
                      </a:lnTo>
                      <a:lnTo>
                        <a:pt x="764920" y="1323592"/>
                      </a:lnTo>
                      <a:lnTo>
                        <a:pt x="764738" y="1322208"/>
                      </a:lnTo>
                      <a:lnTo>
                        <a:pt x="763427" y="1320168"/>
                      </a:lnTo>
                      <a:lnTo>
                        <a:pt x="762516" y="1319257"/>
                      </a:lnTo>
                      <a:lnTo>
                        <a:pt x="760840" y="1318420"/>
                      </a:lnTo>
                      <a:lnTo>
                        <a:pt x="755910" y="1317582"/>
                      </a:lnTo>
                      <a:lnTo>
                        <a:pt x="753481" y="1316574"/>
                      </a:lnTo>
                      <a:lnTo>
                        <a:pt x="751478" y="1314679"/>
                      </a:lnTo>
                      <a:lnTo>
                        <a:pt x="749924" y="1312008"/>
                      </a:lnTo>
                      <a:lnTo>
                        <a:pt x="748734" y="1308596"/>
                      </a:lnTo>
                      <a:lnTo>
                        <a:pt x="747629" y="1306447"/>
                      </a:lnTo>
                      <a:lnTo>
                        <a:pt x="746317" y="1304807"/>
                      </a:lnTo>
                      <a:lnTo>
                        <a:pt x="744763" y="1303860"/>
                      </a:lnTo>
                      <a:lnTo>
                        <a:pt x="743209" y="1303484"/>
                      </a:lnTo>
                      <a:lnTo>
                        <a:pt x="736955" y="1303799"/>
                      </a:lnTo>
                      <a:lnTo>
                        <a:pt x="736324" y="1303168"/>
                      </a:lnTo>
                      <a:lnTo>
                        <a:pt x="736093" y="1301796"/>
                      </a:lnTo>
                      <a:lnTo>
                        <a:pt x="737586" y="1292810"/>
                      </a:lnTo>
                      <a:lnTo>
                        <a:pt x="737708" y="1290369"/>
                      </a:lnTo>
                      <a:lnTo>
                        <a:pt x="737295" y="1285427"/>
                      </a:lnTo>
                      <a:lnTo>
                        <a:pt x="737404" y="1282986"/>
                      </a:lnTo>
                      <a:lnTo>
                        <a:pt x="738157" y="1280886"/>
                      </a:lnTo>
                      <a:lnTo>
                        <a:pt x="739529" y="1279052"/>
                      </a:lnTo>
                      <a:lnTo>
                        <a:pt x="742516" y="1276988"/>
                      </a:lnTo>
                      <a:lnTo>
                        <a:pt x="745224" y="1275519"/>
                      </a:lnTo>
                      <a:lnTo>
                        <a:pt x="747580" y="1273770"/>
                      </a:lnTo>
                      <a:lnTo>
                        <a:pt x="748612" y="1272713"/>
                      </a:lnTo>
                      <a:lnTo>
                        <a:pt x="747580" y="1267188"/>
                      </a:lnTo>
                      <a:lnTo>
                        <a:pt x="745346" y="1263813"/>
                      </a:lnTo>
                      <a:lnTo>
                        <a:pt x="744010" y="1260996"/>
                      </a:lnTo>
                      <a:lnTo>
                        <a:pt x="743901" y="1260510"/>
                      </a:lnTo>
                      <a:lnTo>
                        <a:pt x="743840" y="1259478"/>
                      </a:lnTo>
                      <a:lnTo>
                        <a:pt x="743901" y="1255191"/>
                      </a:lnTo>
                      <a:lnTo>
                        <a:pt x="743379" y="1252580"/>
                      </a:lnTo>
                      <a:lnTo>
                        <a:pt x="742006" y="1249569"/>
                      </a:lnTo>
                      <a:lnTo>
                        <a:pt x="735522" y="1240146"/>
                      </a:lnTo>
                      <a:lnTo>
                        <a:pt x="734138" y="1239490"/>
                      </a:lnTo>
                      <a:lnTo>
                        <a:pt x="732535" y="1240498"/>
                      </a:lnTo>
                      <a:lnTo>
                        <a:pt x="731260" y="1242332"/>
                      </a:lnTo>
                      <a:lnTo>
                        <a:pt x="729086" y="1247553"/>
                      </a:lnTo>
                      <a:lnTo>
                        <a:pt x="727763" y="1249860"/>
                      </a:lnTo>
                      <a:lnTo>
                        <a:pt x="726111" y="1251949"/>
                      </a:lnTo>
                      <a:lnTo>
                        <a:pt x="724375" y="1253273"/>
                      </a:lnTo>
                      <a:lnTo>
                        <a:pt x="717077" y="1258008"/>
                      </a:lnTo>
                      <a:lnTo>
                        <a:pt x="715195" y="1257887"/>
                      </a:lnTo>
                      <a:lnTo>
                        <a:pt x="712208" y="1255106"/>
                      </a:lnTo>
                      <a:lnTo>
                        <a:pt x="708128" y="1250225"/>
                      </a:lnTo>
                      <a:lnTo>
                        <a:pt x="707387" y="1248500"/>
                      </a:lnTo>
                      <a:lnTo>
                        <a:pt x="706816" y="1245343"/>
                      </a:lnTo>
                      <a:lnTo>
                        <a:pt x="706003" y="1243765"/>
                      </a:lnTo>
                      <a:lnTo>
                        <a:pt x="704691" y="1242332"/>
                      </a:lnTo>
                      <a:lnTo>
                        <a:pt x="700890" y="1240717"/>
                      </a:lnTo>
                      <a:lnTo>
                        <a:pt x="699518" y="1239745"/>
                      </a:lnTo>
                      <a:lnTo>
                        <a:pt x="696932" y="1236564"/>
                      </a:lnTo>
                      <a:lnTo>
                        <a:pt x="695378" y="1235410"/>
                      </a:lnTo>
                      <a:lnTo>
                        <a:pt x="691140" y="1233346"/>
                      </a:lnTo>
                      <a:lnTo>
                        <a:pt x="689233" y="1231257"/>
                      </a:lnTo>
                      <a:lnTo>
                        <a:pt x="688201" y="1229290"/>
                      </a:lnTo>
                      <a:lnTo>
                        <a:pt x="686829" y="1225307"/>
                      </a:lnTo>
                      <a:lnTo>
                        <a:pt x="684012" y="1220365"/>
                      </a:lnTo>
                      <a:lnTo>
                        <a:pt x="683660" y="1218386"/>
                      </a:lnTo>
                      <a:lnTo>
                        <a:pt x="684182" y="1215885"/>
                      </a:lnTo>
                      <a:lnTo>
                        <a:pt x="689282" y="1202892"/>
                      </a:lnTo>
                      <a:lnTo>
                        <a:pt x="690448" y="1201471"/>
                      </a:lnTo>
                      <a:lnTo>
                        <a:pt x="692111" y="1200269"/>
                      </a:lnTo>
                      <a:lnTo>
                        <a:pt x="693665" y="1198666"/>
                      </a:lnTo>
                      <a:lnTo>
                        <a:pt x="694285" y="1197051"/>
                      </a:lnTo>
                      <a:lnTo>
                        <a:pt x="694455" y="1195278"/>
                      </a:lnTo>
                      <a:lnTo>
                        <a:pt x="694855" y="1194209"/>
                      </a:lnTo>
                      <a:lnTo>
                        <a:pt x="695669" y="1194039"/>
                      </a:lnTo>
                      <a:lnTo>
                        <a:pt x="697624" y="1194440"/>
                      </a:lnTo>
                      <a:lnTo>
                        <a:pt x="700210" y="1194732"/>
                      </a:lnTo>
                      <a:lnTo>
                        <a:pt x="703076" y="1194732"/>
                      </a:lnTo>
                      <a:lnTo>
                        <a:pt x="705262" y="1194149"/>
                      </a:lnTo>
                      <a:lnTo>
                        <a:pt x="706695" y="1193469"/>
                      </a:lnTo>
                      <a:lnTo>
                        <a:pt x="708128" y="1192060"/>
                      </a:lnTo>
                      <a:lnTo>
                        <a:pt x="709160" y="1190190"/>
                      </a:lnTo>
                      <a:lnTo>
                        <a:pt x="709803" y="1187604"/>
                      </a:lnTo>
                      <a:lnTo>
                        <a:pt x="709621" y="1185479"/>
                      </a:lnTo>
                      <a:lnTo>
                        <a:pt x="708880" y="1183961"/>
                      </a:lnTo>
                      <a:lnTo>
                        <a:pt x="707387" y="1183220"/>
                      </a:lnTo>
                      <a:lnTo>
                        <a:pt x="706003" y="1183354"/>
                      </a:lnTo>
                      <a:lnTo>
                        <a:pt x="704048" y="1184483"/>
                      </a:lnTo>
                      <a:lnTo>
                        <a:pt x="702785" y="1185479"/>
                      </a:lnTo>
                      <a:lnTo>
                        <a:pt x="701643" y="1185892"/>
                      </a:lnTo>
                      <a:lnTo>
                        <a:pt x="700210" y="1185746"/>
                      </a:lnTo>
                      <a:lnTo>
                        <a:pt x="690727" y="1182589"/>
                      </a:lnTo>
                      <a:lnTo>
                        <a:pt x="688832" y="1181690"/>
                      </a:lnTo>
                      <a:lnTo>
                        <a:pt x="687400" y="1180609"/>
                      </a:lnTo>
                      <a:lnTo>
                        <a:pt x="686307" y="1179286"/>
                      </a:lnTo>
                      <a:lnTo>
                        <a:pt x="685967" y="1178278"/>
                      </a:lnTo>
                      <a:lnTo>
                        <a:pt x="686027" y="1177306"/>
                      </a:lnTo>
                      <a:lnTo>
                        <a:pt x="687630" y="1172996"/>
                      </a:lnTo>
                      <a:lnTo>
                        <a:pt x="688092" y="1168831"/>
                      </a:lnTo>
                      <a:lnTo>
                        <a:pt x="688092" y="1164520"/>
                      </a:lnTo>
                      <a:lnTo>
                        <a:pt x="687800" y="1162978"/>
                      </a:lnTo>
                      <a:lnTo>
                        <a:pt x="687400" y="1161593"/>
                      </a:lnTo>
                      <a:lnTo>
                        <a:pt x="687218" y="1161302"/>
                      </a:lnTo>
                      <a:lnTo>
                        <a:pt x="686938" y="1160816"/>
                      </a:lnTo>
                      <a:lnTo>
                        <a:pt x="686185" y="1160100"/>
                      </a:lnTo>
                      <a:lnTo>
                        <a:pt x="684072" y="1159736"/>
                      </a:lnTo>
                      <a:lnTo>
                        <a:pt x="680733" y="1160076"/>
                      </a:lnTo>
                      <a:lnTo>
                        <a:pt x="674710" y="1162055"/>
                      </a:lnTo>
                      <a:lnTo>
                        <a:pt x="671893" y="1162577"/>
                      </a:lnTo>
                      <a:lnTo>
                        <a:pt x="670060" y="1162711"/>
                      </a:lnTo>
                      <a:lnTo>
                        <a:pt x="669076" y="1162893"/>
                      </a:lnTo>
                      <a:lnTo>
                        <a:pt x="668104" y="1163512"/>
                      </a:lnTo>
                      <a:lnTo>
                        <a:pt x="666210" y="1165491"/>
                      </a:lnTo>
                      <a:lnTo>
                        <a:pt x="665178" y="1167082"/>
                      </a:lnTo>
                      <a:lnTo>
                        <a:pt x="664316" y="1168661"/>
                      </a:lnTo>
                      <a:lnTo>
                        <a:pt x="664024" y="1169863"/>
                      </a:lnTo>
                      <a:lnTo>
                        <a:pt x="663903" y="1170810"/>
                      </a:lnTo>
                      <a:lnTo>
                        <a:pt x="663854" y="1173566"/>
                      </a:lnTo>
                      <a:lnTo>
                        <a:pt x="663684" y="1174975"/>
                      </a:lnTo>
                      <a:lnTo>
                        <a:pt x="663454" y="1175873"/>
                      </a:lnTo>
                      <a:lnTo>
                        <a:pt x="662932" y="1176675"/>
                      </a:lnTo>
                      <a:lnTo>
                        <a:pt x="662361" y="1177391"/>
                      </a:lnTo>
                      <a:lnTo>
                        <a:pt x="662021" y="1178375"/>
                      </a:lnTo>
                      <a:lnTo>
                        <a:pt x="661899" y="1179189"/>
                      </a:lnTo>
                      <a:lnTo>
                        <a:pt x="661899" y="1181229"/>
                      </a:lnTo>
                      <a:lnTo>
                        <a:pt x="661790" y="1182236"/>
                      </a:lnTo>
                      <a:lnTo>
                        <a:pt x="661377" y="1183414"/>
                      </a:lnTo>
                      <a:lnTo>
                        <a:pt x="660697" y="1184459"/>
                      </a:lnTo>
                      <a:lnTo>
                        <a:pt x="659726" y="1185539"/>
                      </a:lnTo>
                      <a:lnTo>
                        <a:pt x="654954" y="1188733"/>
                      </a:lnTo>
                      <a:lnTo>
                        <a:pt x="652489" y="1189389"/>
                      </a:lnTo>
                      <a:lnTo>
                        <a:pt x="649902" y="1189304"/>
                      </a:lnTo>
                      <a:lnTo>
                        <a:pt x="643078" y="1187033"/>
                      </a:lnTo>
                      <a:lnTo>
                        <a:pt x="638306" y="1186061"/>
                      </a:lnTo>
                      <a:lnTo>
                        <a:pt x="630899" y="1185952"/>
                      </a:lnTo>
                      <a:lnTo>
                        <a:pt x="621706" y="1185309"/>
                      </a:lnTo>
                      <a:lnTo>
                        <a:pt x="619181" y="1184568"/>
                      </a:lnTo>
                      <a:lnTo>
                        <a:pt x="616145" y="1183390"/>
                      </a:lnTo>
                      <a:lnTo>
                        <a:pt x="613607" y="1181459"/>
                      </a:lnTo>
                      <a:lnTo>
                        <a:pt x="612113" y="1179941"/>
                      </a:lnTo>
                      <a:lnTo>
                        <a:pt x="611093" y="1178144"/>
                      </a:lnTo>
                      <a:lnTo>
                        <a:pt x="608956" y="1172619"/>
                      </a:lnTo>
                      <a:lnTo>
                        <a:pt x="607924" y="1170786"/>
                      </a:lnTo>
                      <a:lnTo>
                        <a:pt x="606771" y="1169316"/>
                      </a:lnTo>
                      <a:lnTo>
                        <a:pt x="605058" y="1168138"/>
                      </a:lnTo>
                      <a:lnTo>
                        <a:pt x="603273" y="1167568"/>
                      </a:lnTo>
                      <a:lnTo>
                        <a:pt x="599715" y="1167167"/>
                      </a:lnTo>
                      <a:lnTo>
                        <a:pt x="597020" y="1166596"/>
                      </a:lnTo>
                      <a:lnTo>
                        <a:pt x="594033" y="1165491"/>
                      </a:lnTo>
                      <a:lnTo>
                        <a:pt x="585824" y="1160221"/>
                      </a:lnTo>
                      <a:lnTo>
                        <a:pt x="583687" y="1159529"/>
                      </a:lnTo>
                      <a:lnTo>
                        <a:pt x="580080" y="1159250"/>
                      </a:lnTo>
                      <a:lnTo>
                        <a:pt x="578125" y="1159651"/>
                      </a:lnTo>
                      <a:lnTo>
                        <a:pt x="576862" y="1160246"/>
                      </a:lnTo>
                      <a:lnTo>
                        <a:pt x="576401" y="1160792"/>
                      </a:lnTo>
                      <a:lnTo>
                        <a:pt x="576000" y="1161399"/>
                      </a:lnTo>
                      <a:lnTo>
                        <a:pt x="575539" y="1162346"/>
                      </a:lnTo>
                      <a:lnTo>
                        <a:pt x="572491" y="1172741"/>
                      </a:lnTo>
                      <a:lnTo>
                        <a:pt x="572102" y="1173421"/>
                      </a:lnTo>
                      <a:lnTo>
                        <a:pt x="571520" y="1174137"/>
                      </a:lnTo>
                      <a:lnTo>
                        <a:pt x="570949" y="1174696"/>
                      </a:lnTo>
                      <a:lnTo>
                        <a:pt x="570026" y="1175206"/>
                      </a:lnTo>
                      <a:lnTo>
                        <a:pt x="568763" y="1175546"/>
                      </a:lnTo>
                      <a:lnTo>
                        <a:pt x="567269" y="1175376"/>
                      </a:lnTo>
                      <a:lnTo>
                        <a:pt x="565837" y="1174513"/>
                      </a:lnTo>
                      <a:lnTo>
                        <a:pt x="564222" y="1172279"/>
                      </a:lnTo>
                      <a:lnTo>
                        <a:pt x="562619" y="1168624"/>
                      </a:lnTo>
                      <a:lnTo>
                        <a:pt x="560725" y="1165273"/>
                      </a:lnTo>
                      <a:lnTo>
                        <a:pt x="560105" y="1163779"/>
                      </a:lnTo>
                      <a:lnTo>
                        <a:pt x="559862" y="1161739"/>
                      </a:lnTo>
                      <a:lnTo>
                        <a:pt x="559923" y="1161375"/>
                      </a:lnTo>
                      <a:lnTo>
                        <a:pt x="560263" y="1159590"/>
                      </a:lnTo>
                      <a:lnTo>
                        <a:pt x="560105" y="1158096"/>
                      </a:lnTo>
                      <a:lnTo>
                        <a:pt x="559122" y="1156979"/>
                      </a:lnTo>
                      <a:lnTo>
                        <a:pt x="556074" y="1156518"/>
                      </a:lnTo>
                      <a:lnTo>
                        <a:pt x="553888" y="1156688"/>
                      </a:lnTo>
                      <a:lnTo>
                        <a:pt x="551544" y="1157149"/>
                      </a:lnTo>
                      <a:lnTo>
                        <a:pt x="549929" y="1157149"/>
                      </a:lnTo>
                      <a:lnTo>
                        <a:pt x="548327" y="1156627"/>
                      </a:lnTo>
                      <a:lnTo>
                        <a:pt x="547051" y="1155109"/>
                      </a:lnTo>
                      <a:lnTo>
                        <a:pt x="546311" y="1153591"/>
                      </a:lnTo>
                      <a:lnTo>
                        <a:pt x="545801" y="1151928"/>
                      </a:lnTo>
                      <a:lnTo>
                        <a:pt x="545048" y="1151065"/>
                      </a:lnTo>
                      <a:lnTo>
                        <a:pt x="543615" y="1150434"/>
                      </a:lnTo>
                      <a:lnTo>
                        <a:pt x="540628" y="1150082"/>
                      </a:lnTo>
                      <a:lnTo>
                        <a:pt x="538442" y="1150058"/>
                      </a:lnTo>
                      <a:lnTo>
                        <a:pt x="535746" y="1149365"/>
                      </a:lnTo>
                      <a:lnTo>
                        <a:pt x="533172" y="1147933"/>
                      </a:lnTo>
                      <a:lnTo>
                        <a:pt x="529493" y="1144800"/>
                      </a:lnTo>
                      <a:lnTo>
                        <a:pt x="528230" y="1143076"/>
                      </a:lnTo>
                      <a:lnTo>
                        <a:pt x="527939" y="1141728"/>
                      </a:lnTo>
                      <a:lnTo>
                        <a:pt x="528570" y="1140902"/>
                      </a:lnTo>
                      <a:lnTo>
                        <a:pt x="529541" y="1140319"/>
                      </a:lnTo>
                      <a:lnTo>
                        <a:pt x="530634" y="1139979"/>
                      </a:lnTo>
                      <a:lnTo>
                        <a:pt x="539426" y="1139348"/>
                      </a:lnTo>
                      <a:lnTo>
                        <a:pt x="541599" y="1138886"/>
                      </a:lnTo>
                      <a:lnTo>
                        <a:pt x="543154" y="1138230"/>
                      </a:lnTo>
                      <a:lnTo>
                        <a:pt x="543846" y="1137417"/>
                      </a:lnTo>
                      <a:lnTo>
                        <a:pt x="544064" y="1136251"/>
                      </a:lnTo>
                      <a:lnTo>
                        <a:pt x="543907" y="1134636"/>
                      </a:lnTo>
                      <a:lnTo>
                        <a:pt x="542984" y="1133228"/>
                      </a:lnTo>
                      <a:lnTo>
                        <a:pt x="541320" y="1132572"/>
                      </a:lnTo>
                      <a:lnTo>
                        <a:pt x="538345" y="1132948"/>
                      </a:lnTo>
                      <a:lnTo>
                        <a:pt x="531436" y="1134575"/>
                      </a:lnTo>
                      <a:lnTo>
                        <a:pt x="520240" y="1135644"/>
                      </a:lnTo>
                      <a:lnTo>
                        <a:pt x="513986" y="1134867"/>
                      </a:lnTo>
                      <a:lnTo>
                        <a:pt x="500204" y="1130362"/>
                      </a:lnTo>
                      <a:lnTo>
                        <a:pt x="496707" y="1127982"/>
                      </a:lnTo>
                      <a:lnTo>
                        <a:pt x="494460" y="1123647"/>
                      </a:lnTo>
                      <a:lnTo>
                        <a:pt x="493028" y="1121376"/>
                      </a:lnTo>
                      <a:lnTo>
                        <a:pt x="491133" y="1120052"/>
                      </a:lnTo>
                      <a:lnTo>
                        <a:pt x="488025" y="1120429"/>
                      </a:lnTo>
                      <a:lnTo>
                        <a:pt x="479075" y="1122639"/>
                      </a:lnTo>
                      <a:lnTo>
                        <a:pt x="477582" y="1123416"/>
                      </a:lnTo>
                      <a:lnTo>
                        <a:pt x="476610" y="1124193"/>
                      </a:lnTo>
                      <a:lnTo>
                        <a:pt x="473562" y="1127715"/>
                      </a:lnTo>
                      <a:lnTo>
                        <a:pt x="471777" y="1129160"/>
                      </a:lnTo>
                      <a:lnTo>
                        <a:pt x="469312" y="1130046"/>
                      </a:lnTo>
                      <a:lnTo>
                        <a:pt x="466665" y="1130277"/>
                      </a:lnTo>
                      <a:lnTo>
                        <a:pt x="463107" y="1129330"/>
                      </a:lnTo>
                      <a:lnTo>
                        <a:pt x="461553" y="1128115"/>
                      </a:lnTo>
                      <a:lnTo>
                        <a:pt x="459671" y="1125335"/>
                      </a:lnTo>
                      <a:lnTo>
                        <a:pt x="458469" y="1124582"/>
                      </a:lnTo>
                      <a:lnTo>
                        <a:pt x="456684" y="1124388"/>
                      </a:lnTo>
                      <a:lnTo>
                        <a:pt x="454729" y="1124703"/>
                      </a:lnTo>
                      <a:lnTo>
                        <a:pt x="451863" y="1125990"/>
                      </a:lnTo>
                      <a:lnTo>
                        <a:pt x="450369" y="1127460"/>
                      </a:lnTo>
                      <a:lnTo>
                        <a:pt x="449617" y="1129014"/>
                      </a:lnTo>
                      <a:lnTo>
                        <a:pt x="449556" y="1130277"/>
                      </a:lnTo>
                      <a:lnTo>
                        <a:pt x="449799" y="1132912"/>
                      </a:lnTo>
                      <a:lnTo>
                        <a:pt x="449434" y="1134005"/>
                      </a:lnTo>
                      <a:lnTo>
                        <a:pt x="448062" y="1134527"/>
                      </a:lnTo>
                      <a:lnTo>
                        <a:pt x="445537" y="1134430"/>
                      </a:lnTo>
                      <a:lnTo>
                        <a:pt x="441238" y="1133057"/>
                      </a:lnTo>
                      <a:lnTo>
                        <a:pt x="439514" y="1131600"/>
                      </a:lnTo>
                      <a:lnTo>
                        <a:pt x="438712" y="1129439"/>
                      </a:lnTo>
                      <a:lnTo>
                        <a:pt x="438239" y="1127484"/>
                      </a:lnTo>
                      <a:lnTo>
                        <a:pt x="437097" y="1126367"/>
                      </a:lnTo>
                      <a:lnTo>
                        <a:pt x="434863" y="1126051"/>
                      </a:lnTo>
                      <a:lnTo>
                        <a:pt x="416260" y="1130082"/>
                      </a:lnTo>
                      <a:lnTo>
                        <a:pt x="413491" y="1130155"/>
                      </a:lnTo>
                      <a:lnTo>
                        <a:pt x="410286" y="1129269"/>
                      </a:lnTo>
                      <a:lnTo>
                        <a:pt x="408331" y="1128091"/>
                      </a:lnTo>
                      <a:lnTo>
                        <a:pt x="404882" y="1125298"/>
                      </a:lnTo>
                      <a:lnTo>
                        <a:pt x="401276" y="1124448"/>
                      </a:lnTo>
                      <a:lnTo>
                        <a:pt x="396382" y="1124096"/>
                      </a:lnTo>
                      <a:lnTo>
                        <a:pt x="381980" y="1124424"/>
                      </a:lnTo>
                      <a:lnTo>
                        <a:pt x="378362" y="1125335"/>
                      </a:lnTo>
                      <a:lnTo>
                        <a:pt x="376346" y="1126464"/>
                      </a:lnTo>
                      <a:lnTo>
                        <a:pt x="370663" y="1130617"/>
                      </a:lnTo>
                      <a:lnTo>
                        <a:pt x="367797" y="1131880"/>
                      </a:lnTo>
                      <a:lnTo>
                        <a:pt x="364968" y="1132341"/>
                      </a:lnTo>
                      <a:lnTo>
                        <a:pt x="361192" y="1131576"/>
                      </a:lnTo>
                      <a:lnTo>
                        <a:pt x="356990" y="1129670"/>
                      </a:lnTo>
                      <a:lnTo>
                        <a:pt x="354404" y="1129208"/>
                      </a:lnTo>
                      <a:lnTo>
                        <a:pt x="349535" y="1130022"/>
                      </a:lnTo>
                      <a:lnTo>
                        <a:pt x="346547" y="1130957"/>
                      </a:lnTo>
                      <a:lnTo>
                        <a:pt x="344082" y="1132195"/>
                      </a:lnTo>
                      <a:lnTo>
                        <a:pt x="341204" y="1134296"/>
                      </a:lnTo>
                      <a:lnTo>
                        <a:pt x="338096" y="1134466"/>
                      </a:lnTo>
                      <a:lnTo>
                        <a:pt x="335692" y="1134296"/>
                      </a:lnTo>
                      <a:lnTo>
                        <a:pt x="318351" y="1129500"/>
                      </a:lnTo>
                      <a:lnTo>
                        <a:pt x="310301" y="1124217"/>
                      </a:lnTo>
                      <a:lnTo>
                        <a:pt x="304630" y="1123125"/>
                      </a:lnTo>
                      <a:lnTo>
                        <a:pt x="300963" y="1117588"/>
                      </a:lnTo>
                      <a:lnTo>
                        <a:pt x="294624" y="1100126"/>
                      </a:lnTo>
                      <a:lnTo>
                        <a:pt x="283319" y="1083017"/>
                      </a:lnTo>
                      <a:lnTo>
                        <a:pt x="278098" y="1072537"/>
                      </a:lnTo>
                      <a:lnTo>
                        <a:pt x="274018" y="1061511"/>
                      </a:lnTo>
                      <a:lnTo>
                        <a:pt x="267752" y="1034032"/>
                      </a:lnTo>
                      <a:lnTo>
                        <a:pt x="265639" y="1029272"/>
                      </a:lnTo>
                      <a:lnTo>
                        <a:pt x="262421" y="1025289"/>
                      </a:lnTo>
                      <a:lnTo>
                        <a:pt x="250594" y="1015320"/>
                      </a:lnTo>
                      <a:lnTo>
                        <a:pt x="244279" y="1008483"/>
                      </a:lnTo>
                      <a:lnTo>
                        <a:pt x="242094" y="1004488"/>
                      </a:lnTo>
                      <a:lnTo>
                        <a:pt x="241232" y="999789"/>
                      </a:lnTo>
                      <a:lnTo>
                        <a:pt x="239738" y="994786"/>
                      </a:lnTo>
                      <a:lnTo>
                        <a:pt x="232222" y="986832"/>
                      </a:lnTo>
                      <a:lnTo>
                        <a:pt x="229234" y="982643"/>
                      </a:lnTo>
                      <a:lnTo>
                        <a:pt x="227741" y="975661"/>
                      </a:lnTo>
                      <a:lnTo>
                        <a:pt x="228882" y="952759"/>
                      </a:lnTo>
                      <a:lnTo>
                        <a:pt x="229757" y="935188"/>
                      </a:lnTo>
                      <a:lnTo>
                        <a:pt x="229125" y="927028"/>
                      </a:lnTo>
                      <a:lnTo>
                        <a:pt x="225045" y="921637"/>
                      </a:lnTo>
                      <a:lnTo>
                        <a:pt x="217516" y="920143"/>
                      </a:lnTo>
                      <a:lnTo>
                        <a:pt x="210461" y="922147"/>
                      </a:lnTo>
                      <a:lnTo>
                        <a:pt x="203334" y="925134"/>
                      </a:lnTo>
                      <a:lnTo>
                        <a:pt x="195987" y="926664"/>
                      </a:lnTo>
                      <a:lnTo>
                        <a:pt x="173996" y="927235"/>
                      </a:lnTo>
                      <a:lnTo>
                        <a:pt x="163432" y="924988"/>
                      </a:lnTo>
                      <a:lnTo>
                        <a:pt x="156073" y="922438"/>
                      </a:lnTo>
                      <a:lnTo>
                        <a:pt x="153207" y="920362"/>
                      </a:lnTo>
                      <a:lnTo>
                        <a:pt x="150451" y="915675"/>
                      </a:lnTo>
                      <a:lnTo>
                        <a:pt x="146602" y="904600"/>
                      </a:lnTo>
                      <a:lnTo>
                        <a:pt x="143165" y="900459"/>
                      </a:lnTo>
                      <a:lnTo>
                        <a:pt x="135406" y="893975"/>
                      </a:lnTo>
                      <a:lnTo>
                        <a:pt x="127999" y="885475"/>
                      </a:lnTo>
                      <a:lnTo>
                        <a:pt x="122085" y="875809"/>
                      </a:lnTo>
                      <a:lnTo>
                        <a:pt x="118576" y="865694"/>
                      </a:lnTo>
                      <a:lnTo>
                        <a:pt x="118515" y="862646"/>
                      </a:lnTo>
                      <a:lnTo>
                        <a:pt x="120130" y="852228"/>
                      </a:lnTo>
                      <a:lnTo>
                        <a:pt x="120312" y="845076"/>
                      </a:lnTo>
                      <a:lnTo>
                        <a:pt x="121162" y="841748"/>
                      </a:lnTo>
                      <a:lnTo>
                        <a:pt x="131204" y="825526"/>
                      </a:lnTo>
                      <a:lnTo>
                        <a:pt x="134034" y="818118"/>
                      </a:lnTo>
                      <a:lnTo>
                        <a:pt x="134884" y="810735"/>
                      </a:lnTo>
                      <a:lnTo>
                        <a:pt x="133451" y="802648"/>
                      </a:lnTo>
                      <a:lnTo>
                        <a:pt x="133159" y="798762"/>
                      </a:lnTo>
                      <a:lnTo>
                        <a:pt x="134192" y="794840"/>
                      </a:lnTo>
                      <a:lnTo>
                        <a:pt x="135916" y="790675"/>
                      </a:lnTo>
                      <a:lnTo>
                        <a:pt x="136559" y="787166"/>
                      </a:lnTo>
                      <a:lnTo>
                        <a:pt x="135916" y="779212"/>
                      </a:lnTo>
                      <a:lnTo>
                        <a:pt x="137021" y="762649"/>
                      </a:lnTo>
                      <a:lnTo>
                        <a:pt x="136098" y="755242"/>
                      </a:lnTo>
                      <a:lnTo>
                        <a:pt x="130755" y="748721"/>
                      </a:lnTo>
                      <a:lnTo>
                        <a:pt x="124040" y="745139"/>
                      </a:lnTo>
                      <a:lnTo>
                        <a:pt x="116961" y="743379"/>
                      </a:lnTo>
                      <a:lnTo>
                        <a:pt x="71850" y="745139"/>
                      </a:lnTo>
                      <a:lnTo>
                        <a:pt x="63750" y="742176"/>
                      </a:lnTo>
                      <a:lnTo>
                        <a:pt x="50247" y="730519"/>
                      </a:lnTo>
                      <a:lnTo>
                        <a:pt x="42561" y="725528"/>
                      </a:lnTo>
                      <a:lnTo>
                        <a:pt x="13442" y="713956"/>
                      </a:lnTo>
                      <a:lnTo>
                        <a:pt x="7589" y="707642"/>
                      </a:lnTo>
                      <a:lnTo>
                        <a:pt x="6156" y="699336"/>
                      </a:lnTo>
                      <a:lnTo>
                        <a:pt x="10054" y="675342"/>
                      </a:lnTo>
                      <a:lnTo>
                        <a:pt x="14074" y="650473"/>
                      </a:lnTo>
                      <a:lnTo>
                        <a:pt x="19125" y="635233"/>
                      </a:lnTo>
                      <a:lnTo>
                        <a:pt x="26884" y="622544"/>
                      </a:lnTo>
                      <a:lnTo>
                        <a:pt x="43812" y="606066"/>
                      </a:lnTo>
                      <a:lnTo>
                        <a:pt x="55930" y="597943"/>
                      </a:lnTo>
                      <a:lnTo>
                        <a:pt x="77933" y="577688"/>
                      </a:lnTo>
                      <a:lnTo>
                        <a:pt x="89238" y="560117"/>
                      </a:lnTo>
                      <a:lnTo>
                        <a:pt x="105267" y="545194"/>
                      </a:lnTo>
                      <a:lnTo>
                        <a:pt x="109626" y="539219"/>
                      </a:lnTo>
                      <a:lnTo>
                        <a:pt x="123469" y="500156"/>
                      </a:lnTo>
                      <a:lnTo>
                        <a:pt x="125582" y="496476"/>
                      </a:lnTo>
                      <a:lnTo>
                        <a:pt x="141890" y="480217"/>
                      </a:lnTo>
                      <a:lnTo>
                        <a:pt x="143785" y="478383"/>
                      </a:lnTo>
                      <a:lnTo>
                        <a:pt x="156656" y="469397"/>
                      </a:lnTo>
                      <a:lnTo>
                        <a:pt x="167208" y="458202"/>
                      </a:lnTo>
                      <a:lnTo>
                        <a:pt x="170596" y="455955"/>
                      </a:lnTo>
                      <a:lnTo>
                        <a:pt x="173875" y="454984"/>
                      </a:lnTo>
                      <a:lnTo>
                        <a:pt x="181173" y="453891"/>
                      </a:lnTo>
                      <a:lnTo>
                        <a:pt x="188398" y="451110"/>
                      </a:lnTo>
                      <a:lnTo>
                        <a:pt x="192016" y="450224"/>
                      </a:lnTo>
                      <a:lnTo>
                        <a:pt x="195987" y="450734"/>
                      </a:lnTo>
                      <a:lnTo>
                        <a:pt x="201488" y="452397"/>
                      </a:lnTo>
                      <a:lnTo>
                        <a:pt x="206782" y="455044"/>
                      </a:lnTo>
                      <a:lnTo>
                        <a:pt x="211433" y="458602"/>
                      </a:lnTo>
                      <a:lnTo>
                        <a:pt x="217638" y="465500"/>
                      </a:lnTo>
                      <a:lnTo>
                        <a:pt x="222981" y="469628"/>
                      </a:lnTo>
                      <a:lnTo>
                        <a:pt x="225215" y="472154"/>
                      </a:lnTo>
                      <a:lnTo>
                        <a:pt x="226818" y="476282"/>
                      </a:lnTo>
                      <a:lnTo>
                        <a:pt x="226077" y="483787"/>
                      </a:lnTo>
                      <a:lnTo>
                        <a:pt x="226648" y="487745"/>
                      </a:lnTo>
                      <a:lnTo>
                        <a:pt x="232440" y="500641"/>
                      </a:lnTo>
                      <a:lnTo>
                        <a:pt x="239689" y="510781"/>
                      </a:lnTo>
                      <a:lnTo>
                        <a:pt x="249331" y="517119"/>
                      </a:lnTo>
                      <a:lnTo>
                        <a:pt x="262421" y="518807"/>
                      </a:lnTo>
                      <a:lnTo>
                        <a:pt x="277867" y="515480"/>
                      </a:lnTo>
                      <a:lnTo>
                        <a:pt x="299166" y="505316"/>
                      </a:lnTo>
                      <a:lnTo>
                        <a:pt x="322261" y="494290"/>
                      </a:lnTo>
                      <a:lnTo>
                        <a:pt x="336444" y="489640"/>
                      </a:lnTo>
                      <a:lnTo>
                        <a:pt x="352400" y="486337"/>
                      </a:lnTo>
                      <a:lnTo>
                        <a:pt x="368587" y="484989"/>
                      </a:lnTo>
                      <a:lnTo>
                        <a:pt x="383535" y="486191"/>
                      </a:lnTo>
                      <a:lnTo>
                        <a:pt x="399211" y="484965"/>
                      </a:lnTo>
                      <a:lnTo>
                        <a:pt x="425561" y="477205"/>
                      </a:lnTo>
                      <a:lnTo>
                        <a:pt x="455469" y="468402"/>
                      </a:lnTo>
                      <a:lnTo>
                        <a:pt x="457995" y="466471"/>
                      </a:lnTo>
                      <a:lnTo>
                        <a:pt x="459088" y="463362"/>
                      </a:lnTo>
                      <a:lnTo>
                        <a:pt x="461213" y="438591"/>
                      </a:lnTo>
                      <a:lnTo>
                        <a:pt x="462245" y="434838"/>
                      </a:lnTo>
                      <a:lnTo>
                        <a:pt x="464382" y="430783"/>
                      </a:lnTo>
                      <a:lnTo>
                        <a:pt x="479355" y="411973"/>
                      </a:lnTo>
                      <a:lnTo>
                        <a:pt x="502390" y="393808"/>
                      </a:lnTo>
                      <a:lnTo>
                        <a:pt x="509676" y="386449"/>
                      </a:lnTo>
                      <a:lnTo>
                        <a:pt x="514909" y="377645"/>
                      </a:lnTo>
                      <a:lnTo>
                        <a:pt x="518686" y="367931"/>
                      </a:lnTo>
                      <a:lnTo>
                        <a:pt x="529663" y="327082"/>
                      </a:lnTo>
                      <a:lnTo>
                        <a:pt x="534144" y="318606"/>
                      </a:lnTo>
                      <a:lnTo>
                        <a:pt x="548096" y="302298"/>
                      </a:lnTo>
                      <a:lnTo>
                        <a:pt x="553269" y="298886"/>
                      </a:lnTo>
                      <a:lnTo>
                        <a:pt x="580141" y="285444"/>
                      </a:lnTo>
                      <a:lnTo>
                        <a:pt x="605058" y="272985"/>
                      </a:lnTo>
                      <a:lnTo>
                        <a:pt x="626466" y="262312"/>
                      </a:lnTo>
                      <a:lnTo>
                        <a:pt x="650655" y="250217"/>
                      </a:lnTo>
                      <a:lnTo>
                        <a:pt x="653800" y="248129"/>
                      </a:lnTo>
                      <a:lnTo>
                        <a:pt x="656047" y="245105"/>
                      </a:lnTo>
                      <a:lnTo>
                        <a:pt x="662191" y="230983"/>
                      </a:lnTo>
                      <a:lnTo>
                        <a:pt x="667012" y="223260"/>
                      </a:lnTo>
                      <a:lnTo>
                        <a:pt x="678669" y="208215"/>
                      </a:lnTo>
                      <a:lnTo>
                        <a:pt x="693313" y="181233"/>
                      </a:lnTo>
                      <a:lnTo>
                        <a:pt x="702505" y="164233"/>
                      </a:lnTo>
                      <a:lnTo>
                        <a:pt x="712778" y="145169"/>
                      </a:lnTo>
                      <a:lnTo>
                        <a:pt x="722541" y="115018"/>
                      </a:lnTo>
                      <a:lnTo>
                        <a:pt x="730519" y="90125"/>
                      </a:lnTo>
                      <a:lnTo>
                        <a:pt x="738558" y="65062"/>
                      </a:lnTo>
                      <a:lnTo>
                        <a:pt x="741375" y="61990"/>
                      </a:lnTo>
                      <a:lnTo>
                        <a:pt x="773760" y="47576"/>
                      </a:lnTo>
                      <a:lnTo>
                        <a:pt x="807870" y="40205"/>
                      </a:lnTo>
                      <a:lnTo>
                        <a:pt x="815107" y="36319"/>
                      </a:lnTo>
                      <a:lnTo>
                        <a:pt x="846229" y="11463"/>
                      </a:lnTo>
                      <a:lnTo>
                        <a:pt x="846679" y="8233"/>
                      </a:lnTo>
                      <a:moveTo>
                        <a:pt x="841688" y="0"/>
                      </a:moveTo>
                      <a:lnTo>
                        <a:pt x="840668" y="7395"/>
                      </a:lnTo>
                      <a:lnTo>
                        <a:pt x="840546" y="8233"/>
                      </a:lnTo>
                      <a:lnTo>
                        <a:pt x="811743" y="31244"/>
                      </a:lnTo>
                      <a:lnTo>
                        <a:pt x="805745" y="34462"/>
                      </a:lnTo>
                      <a:lnTo>
                        <a:pt x="772473" y="41650"/>
                      </a:lnTo>
                      <a:lnTo>
                        <a:pt x="771854" y="41784"/>
                      </a:lnTo>
                      <a:lnTo>
                        <a:pt x="771283" y="42039"/>
                      </a:lnTo>
                      <a:lnTo>
                        <a:pt x="738898" y="56452"/>
                      </a:lnTo>
                      <a:lnTo>
                        <a:pt x="737744" y="56962"/>
                      </a:lnTo>
                      <a:lnTo>
                        <a:pt x="736894" y="57898"/>
                      </a:lnTo>
                      <a:lnTo>
                        <a:pt x="734077" y="60970"/>
                      </a:lnTo>
                      <a:lnTo>
                        <a:pt x="733178" y="61953"/>
                      </a:lnTo>
                      <a:lnTo>
                        <a:pt x="732766" y="63216"/>
                      </a:lnTo>
                      <a:lnTo>
                        <a:pt x="724727" y="88279"/>
                      </a:lnTo>
                      <a:lnTo>
                        <a:pt x="716749" y="113172"/>
                      </a:lnTo>
                      <a:lnTo>
                        <a:pt x="707156" y="142777"/>
                      </a:lnTo>
                      <a:lnTo>
                        <a:pt x="697150" y="161355"/>
                      </a:lnTo>
                      <a:lnTo>
                        <a:pt x="687958" y="178343"/>
                      </a:lnTo>
                      <a:lnTo>
                        <a:pt x="673557" y="204888"/>
                      </a:lnTo>
                      <a:lnTo>
                        <a:pt x="662203" y="219544"/>
                      </a:lnTo>
                      <a:lnTo>
                        <a:pt x="662009" y="219787"/>
                      </a:lnTo>
                      <a:lnTo>
                        <a:pt x="661839" y="220042"/>
                      </a:lnTo>
                      <a:lnTo>
                        <a:pt x="657018" y="227765"/>
                      </a:lnTo>
                      <a:lnTo>
                        <a:pt x="656775" y="228142"/>
                      </a:lnTo>
                      <a:lnTo>
                        <a:pt x="656593" y="228554"/>
                      </a:lnTo>
                      <a:lnTo>
                        <a:pt x="650728" y="242033"/>
                      </a:lnTo>
                      <a:lnTo>
                        <a:pt x="649526" y="243648"/>
                      </a:lnTo>
                      <a:lnTo>
                        <a:pt x="647571" y="244935"/>
                      </a:lnTo>
                      <a:lnTo>
                        <a:pt x="623710" y="256859"/>
                      </a:lnTo>
                      <a:lnTo>
                        <a:pt x="602314" y="267533"/>
                      </a:lnTo>
                      <a:lnTo>
                        <a:pt x="577385" y="279992"/>
                      </a:lnTo>
                      <a:lnTo>
                        <a:pt x="550512" y="293434"/>
                      </a:lnTo>
                      <a:lnTo>
                        <a:pt x="550184" y="293604"/>
                      </a:lnTo>
                      <a:lnTo>
                        <a:pt x="549881" y="293810"/>
                      </a:lnTo>
                      <a:lnTo>
                        <a:pt x="544708" y="297223"/>
                      </a:lnTo>
                      <a:lnTo>
                        <a:pt x="543991" y="297696"/>
                      </a:lnTo>
                      <a:lnTo>
                        <a:pt x="543445" y="298340"/>
                      </a:lnTo>
                      <a:lnTo>
                        <a:pt x="529493" y="314648"/>
                      </a:lnTo>
                      <a:lnTo>
                        <a:pt x="529056" y="315158"/>
                      </a:lnTo>
                      <a:lnTo>
                        <a:pt x="528740" y="315753"/>
                      </a:lnTo>
                      <a:lnTo>
                        <a:pt x="524259" y="324229"/>
                      </a:lnTo>
                      <a:lnTo>
                        <a:pt x="523944" y="324836"/>
                      </a:lnTo>
                      <a:lnTo>
                        <a:pt x="523761" y="325491"/>
                      </a:lnTo>
                      <a:lnTo>
                        <a:pt x="512869" y="366025"/>
                      </a:lnTo>
                      <a:lnTo>
                        <a:pt x="509396" y="374962"/>
                      </a:lnTo>
                      <a:lnTo>
                        <a:pt x="504806" y="382697"/>
                      </a:lnTo>
                      <a:lnTo>
                        <a:pt x="498310" y="389266"/>
                      </a:lnTo>
                      <a:lnTo>
                        <a:pt x="475566" y="407201"/>
                      </a:lnTo>
                      <a:lnTo>
                        <a:pt x="475020" y="407638"/>
                      </a:lnTo>
                      <a:lnTo>
                        <a:pt x="474582" y="408185"/>
                      </a:lnTo>
                      <a:lnTo>
                        <a:pt x="459610" y="426994"/>
                      </a:lnTo>
                      <a:lnTo>
                        <a:pt x="459258" y="427444"/>
                      </a:lnTo>
                      <a:lnTo>
                        <a:pt x="458991" y="427954"/>
                      </a:lnTo>
                      <a:lnTo>
                        <a:pt x="456854" y="432009"/>
                      </a:lnTo>
                      <a:lnTo>
                        <a:pt x="456550" y="432592"/>
                      </a:lnTo>
                      <a:lnTo>
                        <a:pt x="456380" y="433236"/>
                      </a:lnTo>
                      <a:lnTo>
                        <a:pt x="455348" y="436988"/>
                      </a:lnTo>
                      <a:lnTo>
                        <a:pt x="455202" y="437522"/>
                      </a:lnTo>
                      <a:lnTo>
                        <a:pt x="455154" y="438081"/>
                      </a:lnTo>
                      <a:lnTo>
                        <a:pt x="453102" y="462075"/>
                      </a:lnTo>
                      <a:lnTo>
                        <a:pt x="452859" y="462755"/>
                      </a:lnTo>
                      <a:lnTo>
                        <a:pt x="452664" y="462901"/>
                      </a:lnTo>
                      <a:lnTo>
                        <a:pt x="423837" y="471389"/>
                      </a:lnTo>
                      <a:lnTo>
                        <a:pt x="398094" y="478978"/>
                      </a:lnTo>
                      <a:lnTo>
                        <a:pt x="383535" y="480120"/>
                      </a:lnTo>
                      <a:lnTo>
                        <a:pt x="369072" y="478954"/>
                      </a:lnTo>
                      <a:lnTo>
                        <a:pt x="368575" y="478917"/>
                      </a:lnTo>
                      <a:lnTo>
                        <a:pt x="368077" y="478954"/>
                      </a:lnTo>
                      <a:lnTo>
                        <a:pt x="351890" y="480302"/>
                      </a:lnTo>
                      <a:lnTo>
                        <a:pt x="351526" y="480326"/>
                      </a:lnTo>
                      <a:lnTo>
                        <a:pt x="351162" y="480399"/>
                      </a:lnTo>
                      <a:lnTo>
                        <a:pt x="335206" y="483702"/>
                      </a:lnTo>
                      <a:lnTo>
                        <a:pt x="334878" y="483775"/>
                      </a:lnTo>
                      <a:lnTo>
                        <a:pt x="334550" y="483884"/>
                      </a:lnTo>
                      <a:lnTo>
                        <a:pt x="320367" y="488535"/>
                      </a:lnTo>
                      <a:lnTo>
                        <a:pt x="319991" y="488656"/>
                      </a:lnTo>
                      <a:lnTo>
                        <a:pt x="319639" y="488826"/>
                      </a:lnTo>
                      <a:lnTo>
                        <a:pt x="296543" y="499852"/>
                      </a:lnTo>
                      <a:lnTo>
                        <a:pt x="275875" y="509712"/>
                      </a:lnTo>
                      <a:lnTo>
                        <a:pt x="262154" y="512675"/>
                      </a:lnTo>
                      <a:lnTo>
                        <a:pt x="251492" y="511303"/>
                      </a:lnTo>
                      <a:lnTo>
                        <a:pt x="243964" y="506348"/>
                      </a:lnTo>
                      <a:lnTo>
                        <a:pt x="237722" y="497618"/>
                      </a:lnTo>
                      <a:lnTo>
                        <a:pt x="232525" y="486057"/>
                      </a:lnTo>
                      <a:lnTo>
                        <a:pt x="232185" y="483665"/>
                      </a:lnTo>
                      <a:lnTo>
                        <a:pt x="232853" y="476902"/>
                      </a:lnTo>
                      <a:lnTo>
                        <a:pt x="232999" y="475457"/>
                      </a:lnTo>
                      <a:lnTo>
                        <a:pt x="232477" y="474109"/>
                      </a:lnTo>
                      <a:lnTo>
                        <a:pt x="230874" y="469980"/>
                      </a:lnTo>
                      <a:lnTo>
                        <a:pt x="230485" y="468972"/>
                      </a:lnTo>
                      <a:lnTo>
                        <a:pt x="229769" y="468159"/>
                      </a:lnTo>
                      <a:lnTo>
                        <a:pt x="227534" y="465633"/>
                      </a:lnTo>
                      <a:lnTo>
                        <a:pt x="227146" y="465196"/>
                      </a:lnTo>
                      <a:lnTo>
                        <a:pt x="226684" y="464844"/>
                      </a:lnTo>
                      <a:lnTo>
                        <a:pt x="221766" y="461055"/>
                      </a:lnTo>
                      <a:lnTo>
                        <a:pt x="215938" y="454571"/>
                      </a:lnTo>
                      <a:lnTo>
                        <a:pt x="215561" y="454158"/>
                      </a:lnTo>
                      <a:lnTo>
                        <a:pt x="215112" y="453818"/>
                      </a:lnTo>
                      <a:lnTo>
                        <a:pt x="210461" y="450260"/>
                      </a:lnTo>
                      <a:lnTo>
                        <a:pt x="210000" y="449908"/>
                      </a:lnTo>
                      <a:lnTo>
                        <a:pt x="209490" y="449653"/>
                      </a:lnTo>
                      <a:lnTo>
                        <a:pt x="204196" y="447006"/>
                      </a:lnTo>
                      <a:lnTo>
                        <a:pt x="203734" y="446775"/>
                      </a:lnTo>
                      <a:lnTo>
                        <a:pt x="203236" y="446629"/>
                      </a:lnTo>
                      <a:lnTo>
                        <a:pt x="197736" y="444966"/>
                      </a:lnTo>
                      <a:lnTo>
                        <a:pt x="197250" y="444820"/>
                      </a:lnTo>
                      <a:lnTo>
                        <a:pt x="196740" y="444759"/>
                      </a:lnTo>
                      <a:lnTo>
                        <a:pt x="192769" y="444249"/>
                      </a:lnTo>
                      <a:lnTo>
                        <a:pt x="191652" y="444104"/>
                      </a:lnTo>
                      <a:lnTo>
                        <a:pt x="190559" y="444371"/>
                      </a:lnTo>
                      <a:lnTo>
                        <a:pt x="186941" y="445257"/>
                      </a:lnTo>
                      <a:lnTo>
                        <a:pt x="186564" y="445354"/>
                      </a:lnTo>
                      <a:lnTo>
                        <a:pt x="186200" y="445488"/>
                      </a:lnTo>
                      <a:lnTo>
                        <a:pt x="179594" y="448026"/>
                      </a:lnTo>
                      <a:lnTo>
                        <a:pt x="172952" y="449022"/>
                      </a:lnTo>
                      <a:lnTo>
                        <a:pt x="172539" y="449082"/>
                      </a:lnTo>
                      <a:lnTo>
                        <a:pt x="172138" y="449204"/>
                      </a:lnTo>
                      <a:lnTo>
                        <a:pt x="168848" y="450175"/>
                      </a:lnTo>
                      <a:lnTo>
                        <a:pt x="167973" y="450430"/>
                      </a:lnTo>
                      <a:lnTo>
                        <a:pt x="167220" y="450940"/>
                      </a:lnTo>
                      <a:lnTo>
                        <a:pt x="163833" y="453186"/>
                      </a:lnTo>
                      <a:lnTo>
                        <a:pt x="163250" y="453575"/>
                      </a:lnTo>
                      <a:lnTo>
                        <a:pt x="162764" y="454085"/>
                      </a:lnTo>
                      <a:lnTo>
                        <a:pt x="152637" y="464820"/>
                      </a:lnTo>
                      <a:lnTo>
                        <a:pt x="140275" y="473441"/>
                      </a:lnTo>
                      <a:lnTo>
                        <a:pt x="139875" y="473720"/>
                      </a:lnTo>
                      <a:lnTo>
                        <a:pt x="139535" y="474060"/>
                      </a:lnTo>
                      <a:lnTo>
                        <a:pt x="137640" y="475894"/>
                      </a:lnTo>
                      <a:lnTo>
                        <a:pt x="121272" y="492214"/>
                      </a:lnTo>
                      <a:lnTo>
                        <a:pt x="120701" y="492785"/>
                      </a:lnTo>
                      <a:lnTo>
                        <a:pt x="120300" y="493489"/>
                      </a:lnTo>
                      <a:lnTo>
                        <a:pt x="118187" y="497168"/>
                      </a:lnTo>
                      <a:lnTo>
                        <a:pt x="117908" y="497654"/>
                      </a:lnTo>
                      <a:lnTo>
                        <a:pt x="117726" y="498176"/>
                      </a:lnTo>
                      <a:lnTo>
                        <a:pt x="104174" y="536402"/>
                      </a:lnTo>
                      <a:lnTo>
                        <a:pt x="100677" y="541199"/>
                      </a:lnTo>
                      <a:lnTo>
                        <a:pt x="85073" y="555734"/>
                      </a:lnTo>
                      <a:lnTo>
                        <a:pt x="84515" y="556244"/>
                      </a:lnTo>
                      <a:lnTo>
                        <a:pt x="84102" y="556887"/>
                      </a:lnTo>
                      <a:lnTo>
                        <a:pt x="73222" y="573802"/>
                      </a:lnTo>
                      <a:lnTo>
                        <a:pt x="52130" y="593219"/>
                      </a:lnTo>
                      <a:lnTo>
                        <a:pt x="40400" y="601075"/>
                      </a:lnTo>
                      <a:lnTo>
                        <a:pt x="39938" y="601379"/>
                      </a:lnTo>
                      <a:lnTo>
                        <a:pt x="39537" y="601768"/>
                      </a:lnTo>
                      <a:lnTo>
                        <a:pt x="22610" y="618245"/>
                      </a:lnTo>
                      <a:lnTo>
                        <a:pt x="22064" y="618780"/>
                      </a:lnTo>
                      <a:lnTo>
                        <a:pt x="21699" y="619387"/>
                      </a:lnTo>
                      <a:lnTo>
                        <a:pt x="13940" y="632076"/>
                      </a:lnTo>
                      <a:lnTo>
                        <a:pt x="13576" y="632671"/>
                      </a:lnTo>
                      <a:lnTo>
                        <a:pt x="13357" y="633339"/>
                      </a:lnTo>
                      <a:lnTo>
                        <a:pt x="8306" y="648579"/>
                      </a:lnTo>
                      <a:lnTo>
                        <a:pt x="8148" y="649040"/>
                      </a:lnTo>
                      <a:lnTo>
                        <a:pt x="8075" y="649526"/>
                      </a:lnTo>
                      <a:lnTo>
                        <a:pt x="4056" y="674395"/>
                      </a:lnTo>
                      <a:lnTo>
                        <a:pt x="158" y="698377"/>
                      </a:lnTo>
                      <a:lnTo>
                        <a:pt x="0" y="699385"/>
                      </a:lnTo>
                      <a:lnTo>
                        <a:pt x="170" y="700392"/>
                      </a:lnTo>
                      <a:lnTo>
                        <a:pt x="1603" y="708698"/>
                      </a:lnTo>
                      <a:lnTo>
                        <a:pt x="1906" y="710471"/>
                      </a:lnTo>
                      <a:lnTo>
                        <a:pt x="3133" y="711795"/>
                      </a:lnTo>
                      <a:lnTo>
                        <a:pt x="8986" y="718109"/>
                      </a:lnTo>
                      <a:lnTo>
                        <a:pt x="9921" y="719117"/>
                      </a:lnTo>
                      <a:lnTo>
                        <a:pt x="11196" y="719627"/>
                      </a:lnTo>
                      <a:lnTo>
                        <a:pt x="39756" y="730980"/>
                      </a:lnTo>
                      <a:lnTo>
                        <a:pt x="46592" y="735425"/>
                      </a:lnTo>
                      <a:lnTo>
                        <a:pt x="59780" y="746815"/>
                      </a:lnTo>
                      <a:lnTo>
                        <a:pt x="60618" y="747544"/>
                      </a:lnTo>
                      <a:lnTo>
                        <a:pt x="61662" y="747920"/>
                      </a:lnTo>
                      <a:lnTo>
                        <a:pt x="69761" y="750883"/>
                      </a:lnTo>
                      <a:lnTo>
                        <a:pt x="70878" y="751296"/>
                      </a:lnTo>
                      <a:lnTo>
                        <a:pt x="72080" y="751247"/>
                      </a:lnTo>
                      <a:lnTo>
                        <a:pt x="116329" y="749523"/>
                      </a:lnTo>
                      <a:lnTo>
                        <a:pt x="121842" y="750883"/>
                      </a:lnTo>
                      <a:lnTo>
                        <a:pt x="126821" y="753542"/>
                      </a:lnTo>
                      <a:lnTo>
                        <a:pt x="130294" y="757768"/>
                      </a:lnTo>
                      <a:lnTo>
                        <a:pt x="130925" y="762856"/>
                      </a:lnTo>
                      <a:lnTo>
                        <a:pt x="129857" y="778836"/>
                      </a:lnTo>
                      <a:lnTo>
                        <a:pt x="129832" y="779285"/>
                      </a:lnTo>
                      <a:lnTo>
                        <a:pt x="129869" y="779734"/>
                      </a:lnTo>
                      <a:lnTo>
                        <a:pt x="130452" y="786887"/>
                      </a:lnTo>
                      <a:lnTo>
                        <a:pt x="130063" y="788975"/>
                      </a:lnTo>
                      <a:lnTo>
                        <a:pt x="128582" y="792545"/>
                      </a:lnTo>
                      <a:lnTo>
                        <a:pt x="128424" y="792922"/>
                      </a:lnTo>
                      <a:lnTo>
                        <a:pt x="128327" y="793310"/>
                      </a:lnTo>
                      <a:lnTo>
                        <a:pt x="127294" y="797232"/>
                      </a:lnTo>
                      <a:lnTo>
                        <a:pt x="127039" y="798228"/>
                      </a:lnTo>
                      <a:lnTo>
                        <a:pt x="127112" y="799248"/>
                      </a:lnTo>
                      <a:lnTo>
                        <a:pt x="127404" y="803134"/>
                      </a:lnTo>
                      <a:lnTo>
                        <a:pt x="128752" y="810942"/>
                      </a:lnTo>
                      <a:lnTo>
                        <a:pt x="128084" y="816698"/>
                      </a:lnTo>
                      <a:lnTo>
                        <a:pt x="125740" y="822854"/>
                      </a:lnTo>
                      <a:lnTo>
                        <a:pt x="116001" y="838579"/>
                      </a:lnTo>
                      <a:lnTo>
                        <a:pt x="115504" y="839368"/>
                      </a:lnTo>
                      <a:lnTo>
                        <a:pt x="115273" y="840279"/>
                      </a:lnTo>
                      <a:lnTo>
                        <a:pt x="114423" y="843606"/>
                      </a:lnTo>
                      <a:lnTo>
                        <a:pt x="114253" y="844262"/>
                      </a:lnTo>
                      <a:lnTo>
                        <a:pt x="114241" y="844942"/>
                      </a:lnTo>
                      <a:lnTo>
                        <a:pt x="114071" y="851706"/>
                      </a:lnTo>
                      <a:lnTo>
                        <a:pt x="112516" y="861736"/>
                      </a:lnTo>
                      <a:lnTo>
                        <a:pt x="112444" y="862258"/>
                      </a:lnTo>
                      <a:lnTo>
                        <a:pt x="112444" y="862780"/>
                      </a:lnTo>
                      <a:lnTo>
                        <a:pt x="112504" y="865828"/>
                      </a:lnTo>
                      <a:lnTo>
                        <a:pt x="112516" y="866787"/>
                      </a:lnTo>
                      <a:lnTo>
                        <a:pt x="112832" y="867698"/>
                      </a:lnTo>
                      <a:lnTo>
                        <a:pt x="116341" y="877813"/>
                      </a:lnTo>
                      <a:lnTo>
                        <a:pt x="116560" y="878432"/>
                      </a:lnTo>
                      <a:lnTo>
                        <a:pt x="116900" y="878991"/>
                      </a:lnTo>
                      <a:lnTo>
                        <a:pt x="122814" y="888657"/>
                      </a:lnTo>
                      <a:lnTo>
                        <a:pt x="123081" y="889094"/>
                      </a:lnTo>
                      <a:lnTo>
                        <a:pt x="123421" y="889482"/>
                      </a:lnTo>
                      <a:lnTo>
                        <a:pt x="130828" y="897982"/>
                      </a:lnTo>
                      <a:lnTo>
                        <a:pt x="131144" y="898347"/>
                      </a:lnTo>
                      <a:lnTo>
                        <a:pt x="131520" y="898650"/>
                      </a:lnTo>
                      <a:lnTo>
                        <a:pt x="138854" y="904770"/>
                      </a:lnTo>
                      <a:lnTo>
                        <a:pt x="141235" y="907636"/>
                      </a:lnTo>
                      <a:lnTo>
                        <a:pt x="144720" y="917678"/>
                      </a:lnTo>
                      <a:lnTo>
                        <a:pt x="144914" y="918249"/>
                      </a:lnTo>
                      <a:lnTo>
                        <a:pt x="145217" y="918759"/>
                      </a:lnTo>
                      <a:lnTo>
                        <a:pt x="147974" y="923434"/>
                      </a:lnTo>
                      <a:lnTo>
                        <a:pt x="148617" y="924527"/>
                      </a:lnTo>
                      <a:lnTo>
                        <a:pt x="149637" y="925267"/>
                      </a:lnTo>
                      <a:lnTo>
                        <a:pt x="152503" y="927344"/>
                      </a:lnTo>
                      <a:lnTo>
                        <a:pt x="153232" y="927866"/>
                      </a:lnTo>
                      <a:lnTo>
                        <a:pt x="154082" y="928158"/>
                      </a:lnTo>
                      <a:lnTo>
                        <a:pt x="161440" y="930708"/>
                      </a:lnTo>
                      <a:lnTo>
                        <a:pt x="161793" y="930829"/>
                      </a:lnTo>
                      <a:lnTo>
                        <a:pt x="162157" y="930914"/>
                      </a:lnTo>
                      <a:lnTo>
                        <a:pt x="172721" y="933160"/>
                      </a:lnTo>
                      <a:lnTo>
                        <a:pt x="173425" y="933306"/>
                      </a:lnTo>
                      <a:lnTo>
                        <a:pt x="174142" y="933294"/>
                      </a:lnTo>
                      <a:lnTo>
                        <a:pt x="196145" y="932723"/>
                      </a:lnTo>
                      <a:lnTo>
                        <a:pt x="196691" y="932711"/>
                      </a:lnTo>
                      <a:lnTo>
                        <a:pt x="197226" y="932602"/>
                      </a:lnTo>
                      <a:lnTo>
                        <a:pt x="204572" y="931084"/>
                      </a:lnTo>
                      <a:lnTo>
                        <a:pt x="205143" y="930963"/>
                      </a:lnTo>
                      <a:lnTo>
                        <a:pt x="205677" y="930732"/>
                      </a:lnTo>
                      <a:lnTo>
                        <a:pt x="212465" y="927890"/>
                      </a:lnTo>
                      <a:lnTo>
                        <a:pt x="217771" y="926385"/>
                      </a:lnTo>
                      <a:lnTo>
                        <a:pt x="221596" y="927150"/>
                      </a:lnTo>
                      <a:lnTo>
                        <a:pt x="223199" y="929275"/>
                      </a:lnTo>
                      <a:lnTo>
                        <a:pt x="223661" y="935286"/>
                      </a:lnTo>
                      <a:lnTo>
                        <a:pt x="222811" y="952468"/>
                      </a:lnTo>
                      <a:lnTo>
                        <a:pt x="221669" y="975369"/>
                      </a:lnTo>
                      <a:lnTo>
                        <a:pt x="221633" y="976159"/>
                      </a:lnTo>
                      <a:lnTo>
                        <a:pt x="221803" y="976936"/>
                      </a:lnTo>
                      <a:lnTo>
                        <a:pt x="223297" y="983918"/>
                      </a:lnTo>
                      <a:lnTo>
                        <a:pt x="223552" y="985157"/>
                      </a:lnTo>
                      <a:lnTo>
                        <a:pt x="224280" y="986177"/>
                      </a:lnTo>
                      <a:lnTo>
                        <a:pt x="227267" y="990366"/>
                      </a:lnTo>
                      <a:lnTo>
                        <a:pt x="227510" y="990706"/>
                      </a:lnTo>
                      <a:lnTo>
                        <a:pt x="227802" y="991009"/>
                      </a:lnTo>
                      <a:lnTo>
                        <a:pt x="234322" y="997907"/>
                      </a:lnTo>
                      <a:lnTo>
                        <a:pt x="235318" y="1001210"/>
                      </a:lnTo>
                      <a:lnTo>
                        <a:pt x="236119" y="1005581"/>
                      </a:lnTo>
                      <a:lnTo>
                        <a:pt x="236289" y="1006552"/>
                      </a:lnTo>
                      <a:lnTo>
                        <a:pt x="236763" y="1007414"/>
                      </a:lnTo>
                      <a:lnTo>
                        <a:pt x="238949" y="1011410"/>
                      </a:lnTo>
                      <a:lnTo>
                        <a:pt x="239301" y="1012065"/>
                      </a:lnTo>
                      <a:lnTo>
                        <a:pt x="239811" y="1012612"/>
                      </a:lnTo>
                      <a:lnTo>
                        <a:pt x="246125" y="1019448"/>
                      </a:lnTo>
                      <a:lnTo>
                        <a:pt x="246380" y="1019727"/>
                      </a:lnTo>
                      <a:lnTo>
                        <a:pt x="246672" y="1019970"/>
                      </a:lnTo>
                      <a:lnTo>
                        <a:pt x="258050" y="1029575"/>
                      </a:lnTo>
                      <a:lnTo>
                        <a:pt x="260405" y="1032490"/>
                      </a:lnTo>
                      <a:lnTo>
                        <a:pt x="261947" y="1035975"/>
                      </a:lnTo>
                      <a:lnTo>
                        <a:pt x="268080" y="1062884"/>
                      </a:lnTo>
                      <a:lnTo>
                        <a:pt x="268165" y="1063272"/>
                      </a:lnTo>
                      <a:lnTo>
                        <a:pt x="268298" y="1063636"/>
                      </a:lnTo>
                      <a:lnTo>
                        <a:pt x="272378" y="1074662"/>
                      </a:lnTo>
                      <a:lnTo>
                        <a:pt x="272488" y="1074966"/>
                      </a:lnTo>
                      <a:lnTo>
                        <a:pt x="272633" y="1075257"/>
                      </a:lnTo>
                      <a:lnTo>
                        <a:pt x="277855" y="1085737"/>
                      </a:lnTo>
                      <a:lnTo>
                        <a:pt x="278013" y="1086064"/>
                      </a:lnTo>
                      <a:lnTo>
                        <a:pt x="278219" y="1086368"/>
                      </a:lnTo>
                      <a:lnTo>
                        <a:pt x="289123" y="1102870"/>
                      </a:lnTo>
                      <a:lnTo>
                        <a:pt x="295207" y="1119652"/>
                      </a:lnTo>
                      <a:lnTo>
                        <a:pt x="295462" y="1120332"/>
                      </a:lnTo>
                      <a:lnTo>
                        <a:pt x="295863" y="1120927"/>
                      </a:lnTo>
                      <a:lnTo>
                        <a:pt x="299530" y="1126464"/>
                      </a:lnTo>
                      <a:lnTo>
                        <a:pt x="300938" y="1128589"/>
                      </a:lnTo>
                      <a:lnTo>
                        <a:pt x="303452" y="1129075"/>
                      </a:lnTo>
                      <a:lnTo>
                        <a:pt x="307945" y="1129937"/>
                      </a:lnTo>
                      <a:lnTo>
                        <a:pt x="314988" y="1134563"/>
                      </a:lnTo>
                      <a:lnTo>
                        <a:pt x="315777" y="1135085"/>
                      </a:lnTo>
                      <a:lnTo>
                        <a:pt x="316700" y="1135340"/>
                      </a:lnTo>
                      <a:lnTo>
                        <a:pt x="334040" y="1140137"/>
                      </a:lnTo>
                      <a:lnTo>
                        <a:pt x="334635" y="1140307"/>
                      </a:lnTo>
                      <a:lnTo>
                        <a:pt x="335242" y="1140343"/>
                      </a:lnTo>
                      <a:lnTo>
                        <a:pt x="337647" y="1140513"/>
                      </a:lnTo>
                      <a:lnTo>
                        <a:pt x="338011" y="1140538"/>
                      </a:lnTo>
                      <a:lnTo>
                        <a:pt x="338387" y="1140525"/>
                      </a:lnTo>
                      <a:lnTo>
                        <a:pt x="341496" y="1140356"/>
                      </a:lnTo>
                      <a:lnTo>
                        <a:pt x="343293" y="1140258"/>
                      </a:lnTo>
                      <a:lnTo>
                        <a:pt x="344750" y="1139190"/>
                      </a:lnTo>
                      <a:lnTo>
                        <a:pt x="347215" y="1137393"/>
                      </a:lnTo>
                      <a:lnTo>
                        <a:pt x="348794" y="1136616"/>
                      </a:lnTo>
                      <a:lnTo>
                        <a:pt x="350919" y="1135948"/>
                      </a:lnTo>
                      <a:lnTo>
                        <a:pt x="354343" y="1135377"/>
                      </a:lnTo>
                      <a:lnTo>
                        <a:pt x="355145" y="1135523"/>
                      </a:lnTo>
                      <a:lnTo>
                        <a:pt x="358654" y="1137113"/>
                      </a:lnTo>
                      <a:lnTo>
                        <a:pt x="359285" y="1137393"/>
                      </a:lnTo>
                      <a:lnTo>
                        <a:pt x="359965" y="1137538"/>
                      </a:lnTo>
                      <a:lnTo>
                        <a:pt x="363742" y="1138303"/>
                      </a:lnTo>
                      <a:lnTo>
                        <a:pt x="364822" y="1138522"/>
                      </a:lnTo>
                      <a:lnTo>
                        <a:pt x="365915" y="1138340"/>
                      </a:lnTo>
                      <a:lnTo>
                        <a:pt x="368745" y="1137878"/>
                      </a:lnTo>
                      <a:lnTo>
                        <a:pt x="369510" y="1137745"/>
                      </a:lnTo>
                      <a:lnTo>
                        <a:pt x="370214" y="1137441"/>
                      </a:lnTo>
                      <a:lnTo>
                        <a:pt x="373080" y="1136178"/>
                      </a:lnTo>
                      <a:lnTo>
                        <a:pt x="373675" y="1135911"/>
                      </a:lnTo>
                      <a:lnTo>
                        <a:pt x="374209" y="1135523"/>
                      </a:lnTo>
                      <a:lnTo>
                        <a:pt x="379600" y="1131588"/>
                      </a:lnTo>
                      <a:lnTo>
                        <a:pt x="380596" y="1131030"/>
                      </a:lnTo>
                      <a:lnTo>
                        <a:pt x="382770" y="1130483"/>
                      </a:lnTo>
                      <a:lnTo>
                        <a:pt x="396491" y="1130168"/>
                      </a:lnTo>
                      <a:lnTo>
                        <a:pt x="400304" y="1130471"/>
                      </a:lnTo>
                      <a:lnTo>
                        <a:pt x="402101" y="1130896"/>
                      </a:lnTo>
                      <a:lnTo>
                        <a:pt x="404469" y="1132815"/>
                      </a:lnTo>
                      <a:lnTo>
                        <a:pt x="404797" y="1133082"/>
                      </a:lnTo>
                      <a:lnTo>
                        <a:pt x="405161" y="1133300"/>
                      </a:lnTo>
                      <a:lnTo>
                        <a:pt x="407116" y="1134478"/>
                      </a:lnTo>
                      <a:lnTo>
                        <a:pt x="407833" y="1134915"/>
                      </a:lnTo>
                      <a:lnTo>
                        <a:pt x="408634" y="1135134"/>
                      </a:lnTo>
                      <a:lnTo>
                        <a:pt x="411840" y="1136020"/>
                      </a:lnTo>
                      <a:lnTo>
                        <a:pt x="412714" y="1136263"/>
                      </a:lnTo>
                      <a:lnTo>
                        <a:pt x="413613" y="1136239"/>
                      </a:lnTo>
                      <a:lnTo>
                        <a:pt x="416381" y="1136166"/>
                      </a:lnTo>
                      <a:lnTo>
                        <a:pt x="416952" y="1136154"/>
                      </a:lnTo>
                      <a:lnTo>
                        <a:pt x="417511" y="1136033"/>
                      </a:lnTo>
                      <a:lnTo>
                        <a:pt x="433369" y="1132596"/>
                      </a:lnTo>
                      <a:lnTo>
                        <a:pt x="433794" y="1133737"/>
                      </a:lnTo>
                      <a:lnTo>
                        <a:pt x="434341" y="1135219"/>
                      </a:lnTo>
                      <a:lnTo>
                        <a:pt x="435555" y="1136239"/>
                      </a:lnTo>
                      <a:lnTo>
                        <a:pt x="437279" y="1137696"/>
                      </a:lnTo>
                      <a:lnTo>
                        <a:pt x="438202" y="1138473"/>
                      </a:lnTo>
                      <a:lnTo>
                        <a:pt x="439356" y="1138850"/>
                      </a:lnTo>
                      <a:lnTo>
                        <a:pt x="443654" y="1140222"/>
                      </a:lnTo>
                      <a:lnTo>
                        <a:pt x="444432" y="1140477"/>
                      </a:lnTo>
                      <a:lnTo>
                        <a:pt x="445245" y="1140501"/>
                      </a:lnTo>
                      <a:lnTo>
                        <a:pt x="447771" y="1140598"/>
                      </a:lnTo>
                      <a:lnTo>
                        <a:pt x="449009" y="1140647"/>
                      </a:lnTo>
                      <a:lnTo>
                        <a:pt x="450163" y="1140198"/>
                      </a:lnTo>
                      <a:lnTo>
                        <a:pt x="451535" y="1139676"/>
                      </a:lnTo>
                      <a:lnTo>
                        <a:pt x="454243" y="1138656"/>
                      </a:lnTo>
                      <a:lnTo>
                        <a:pt x="455154" y="1135911"/>
                      </a:lnTo>
                      <a:lnTo>
                        <a:pt x="455506" y="1134818"/>
                      </a:lnTo>
                      <a:lnTo>
                        <a:pt x="455907" y="1133616"/>
                      </a:lnTo>
                      <a:lnTo>
                        <a:pt x="455797" y="1132353"/>
                      </a:lnTo>
                      <a:lnTo>
                        <a:pt x="455664" y="1130920"/>
                      </a:lnTo>
                      <a:lnTo>
                        <a:pt x="455979" y="1130775"/>
                      </a:lnTo>
                      <a:lnTo>
                        <a:pt x="456489" y="1131528"/>
                      </a:lnTo>
                      <a:lnTo>
                        <a:pt x="457024" y="1132317"/>
                      </a:lnTo>
                      <a:lnTo>
                        <a:pt x="457777" y="1132900"/>
                      </a:lnTo>
                      <a:lnTo>
                        <a:pt x="459331" y="1134126"/>
                      </a:lnTo>
                      <a:lnTo>
                        <a:pt x="460314" y="1134879"/>
                      </a:lnTo>
                      <a:lnTo>
                        <a:pt x="461517" y="1135195"/>
                      </a:lnTo>
                      <a:lnTo>
                        <a:pt x="465075" y="1136142"/>
                      </a:lnTo>
                      <a:lnTo>
                        <a:pt x="466107" y="1136421"/>
                      </a:lnTo>
                      <a:lnTo>
                        <a:pt x="467163" y="1136324"/>
                      </a:lnTo>
                      <a:lnTo>
                        <a:pt x="469810" y="1136093"/>
                      </a:lnTo>
                      <a:lnTo>
                        <a:pt x="470600" y="1136020"/>
                      </a:lnTo>
                      <a:lnTo>
                        <a:pt x="471340" y="1135753"/>
                      </a:lnTo>
                      <a:lnTo>
                        <a:pt x="473805" y="1134867"/>
                      </a:lnTo>
                      <a:lnTo>
                        <a:pt x="474765" y="1134527"/>
                      </a:lnTo>
                      <a:lnTo>
                        <a:pt x="475554" y="1133883"/>
                      </a:lnTo>
                      <a:lnTo>
                        <a:pt x="477339" y="1132438"/>
                      </a:lnTo>
                      <a:lnTo>
                        <a:pt x="477764" y="1132098"/>
                      </a:lnTo>
                      <a:lnTo>
                        <a:pt x="478116" y="1131685"/>
                      </a:lnTo>
                      <a:lnTo>
                        <a:pt x="480800" y="1128589"/>
                      </a:lnTo>
                      <a:lnTo>
                        <a:pt x="480873" y="1128528"/>
                      </a:lnTo>
                      <a:lnTo>
                        <a:pt x="481200" y="1128358"/>
                      </a:lnTo>
                      <a:lnTo>
                        <a:pt x="489008" y="1126428"/>
                      </a:lnTo>
                      <a:lnTo>
                        <a:pt x="489300" y="1126889"/>
                      </a:lnTo>
                      <a:lnTo>
                        <a:pt x="491291" y="1130775"/>
                      </a:lnTo>
                      <a:lnTo>
                        <a:pt x="491995" y="1132135"/>
                      </a:lnTo>
                      <a:lnTo>
                        <a:pt x="493258" y="1132997"/>
                      </a:lnTo>
                      <a:lnTo>
                        <a:pt x="496755" y="1135377"/>
                      </a:lnTo>
                      <a:lnTo>
                        <a:pt x="497472" y="1135863"/>
                      </a:lnTo>
                      <a:lnTo>
                        <a:pt x="498285" y="1136130"/>
                      </a:lnTo>
                      <a:lnTo>
                        <a:pt x="512068" y="1140635"/>
                      </a:lnTo>
                      <a:lnTo>
                        <a:pt x="512626" y="1140817"/>
                      </a:lnTo>
                      <a:lnTo>
                        <a:pt x="513209" y="1140890"/>
                      </a:lnTo>
                      <a:lnTo>
                        <a:pt x="519463" y="1141667"/>
                      </a:lnTo>
                      <a:lnTo>
                        <a:pt x="520119" y="1141752"/>
                      </a:lnTo>
                      <a:lnTo>
                        <a:pt x="520786" y="1141691"/>
                      </a:lnTo>
                      <a:lnTo>
                        <a:pt x="521673" y="1141606"/>
                      </a:lnTo>
                      <a:lnTo>
                        <a:pt x="521976" y="1143015"/>
                      </a:lnTo>
                      <a:lnTo>
                        <a:pt x="522268" y="1144363"/>
                      </a:lnTo>
                      <a:lnTo>
                        <a:pt x="522535" y="1145625"/>
                      </a:lnTo>
                      <a:lnTo>
                        <a:pt x="523300" y="1146670"/>
                      </a:lnTo>
                      <a:lnTo>
                        <a:pt x="524563" y="1148394"/>
                      </a:lnTo>
                      <a:lnTo>
                        <a:pt x="524988" y="1148965"/>
                      </a:lnTo>
                      <a:lnTo>
                        <a:pt x="525522" y="1149426"/>
                      </a:lnTo>
                      <a:lnTo>
                        <a:pt x="529201" y="1152559"/>
                      </a:lnTo>
                      <a:lnTo>
                        <a:pt x="529663" y="1152960"/>
                      </a:lnTo>
                      <a:lnTo>
                        <a:pt x="530185" y="1153251"/>
                      </a:lnTo>
                      <a:lnTo>
                        <a:pt x="532759" y="1154684"/>
                      </a:lnTo>
                      <a:lnTo>
                        <a:pt x="533439" y="1155061"/>
                      </a:lnTo>
                      <a:lnTo>
                        <a:pt x="534192" y="1155255"/>
                      </a:lnTo>
                      <a:lnTo>
                        <a:pt x="536888" y="1155947"/>
                      </a:lnTo>
                      <a:lnTo>
                        <a:pt x="537604" y="1156129"/>
                      </a:lnTo>
                      <a:lnTo>
                        <a:pt x="538345" y="1156129"/>
                      </a:lnTo>
                      <a:lnTo>
                        <a:pt x="540203" y="1156141"/>
                      </a:lnTo>
                      <a:lnTo>
                        <a:pt x="540810" y="1156214"/>
                      </a:lnTo>
                      <a:lnTo>
                        <a:pt x="540822" y="1156251"/>
                      </a:lnTo>
                      <a:lnTo>
                        <a:pt x="541563" y="1157768"/>
                      </a:lnTo>
                      <a:lnTo>
                        <a:pt x="541891" y="1158436"/>
                      </a:lnTo>
                      <a:lnTo>
                        <a:pt x="542377" y="1159007"/>
                      </a:lnTo>
                      <a:lnTo>
                        <a:pt x="543651" y="1160525"/>
                      </a:lnTo>
                      <a:lnTo>
                        <a:pt x="544769" y="1161848"/>
                      </a:lnTo>
                      <a:lnTo>
                        <a:pt x="546420" y="1162383"/>
                      </a:lnTo>
                      <a:lnTo>
                        <a:pt x="548023" y="1162905"/>
                      </a:lnTo>
                      <a:lnTo>
                        <a:pt x="548934" y="1163196"/>
                      </a:lnTo>
                      <a:lnTo>
                        <a:pt x="549905" y="1163196"/>
                      </a:lnTo>
                      <a:lnTo>
                        <a:pt x="551520" y="1163196"/>
                      </a:lnTo>
                      <a:lnTo>
                        <a:pt x="552115" y="1163196"/>
                      </a:lnTo>
                      <a:lnTo>
                        <a:pt x="552710" y="1163099"/>
                      </a:lnTo>
                      <a:lnTo>
                        <a:pt x="553876" y="1162868"/>
                      </a:lnTo>
                      <a:lnTo>
                        <a:pt x="554070" y="1164484"/>
                      </a:lnTo>
                      <a:lnTo>
                        <a:pt x="554167" y="1165321"/>
                      </a:lnTo>
                      <a:lnTo>
                        <a:pt x="554495" y="1166098"/>
                      </a:lnTo>
                      <a:lnTo>
                        <a:pt x="555114" y="1167592"/>
                      </a:lnTo>
                      <a:lnTo>
                        <a:pt x="555248" y="1167920"/>
                      </a:lnTo>
                      <a:lnTo>
                        <a:pt x="555430" y="1168236"/>
                      </a:lnTo>
                      <a:lnTo>
                        <a:pt x="557179" y="1171320"/>
                      </a:lnTo>
                      <a:lnTo>
                        <a:pt x="558660" y="1174696"/>
                      </a:lnTo>
                      <a:lnTo>
                        <a:pt x="558915" y="1175291"/>
                      </a:lnTo>
                      <a:lnTo>
                        <a:pt x="559304" y="1175825"/>
                      </a:lnTo>
                      <a:lnTo>
                        <a:pt x="560919" y="1178059"/>
                      </a:lnTo>
                      <a:lnTo>
                        <a:pt x="561647" y="1179067"/>
                      </a:lnTo>
                      <a:lnTo>
                        <a:pt x="562704" y="1179711"/>
                      </a:lnTo>
                      <a:lnTo>
                        <a:pt x="564137" y="1180561"/>
                      </a:lnTo>
                      <a:lnTo>
                        <a:pt x="565266" y="1181241"/>
                      </a:lnTo>
                      <a:lnTo>
                        <a:pt x="566577" y="1181386"/>
                      </a:lnTo>
                      <a:lnTo>
                        <a:pt x="568071" y="1181556"/>
                      </a:lnTo>
                      <a:lnTo>
                        <a:pt x="569237" y="1181690"/>
                      </a:lnTo>
                      <a:lnTo>
                        <a:pt x="570366" y="1181386"/>
                      </a:lnTo>
                      <a:lnTo>
                        <a:pt x="571629" y="1181046"/>
                      </a:lnTo>
                      <a:lnTo>
                        <a:pt x="572333" y="1180852"/>
                      </a:lnTo>
                      <a:lnTo>
                        <a:pt x="572965" y="1180500"/>
                      </a:lnTo>
                      <a:lnTo>
                        <a:pt x="573887" y="1179990"/>
                      </a:lnTo>
                      <a:lnTo>
                        <a:pt x="574616" y="1179589"/>
                      </a:lnTo>
                      <a:lnTo>
                        <a:pt x="575199" y="1179019"/>
                      </a:lnTo>
                      <a:lnTo>
                        <a:pt x="575770" y="1178460"/>
                      </a:lnTo>
                      <a:lnTo>
                        <a:pt x="576012" y="1178217"/>
                      </a:lnTo>
                      <a:lnTo>
                        <a:pt x="576231" y="1177962"/>
                      </a:lnTo>
                      <a:lnTo>
                        <a:pt x="576814" y="1177246"/>
                      </a:lnTo>
                      <a:lnTo>
                        <a:pt x="577130" y="1176857"/>
                      </a:lnTo>
                      <a:lnTo>
                        <a:pt x="577385" y="1176408"/>
                      </a:lnTo>
                      <a:lnTo>
                        <a:pt x="577773" y="1175728"/>
                      </a:lnTo>
                      <a:lnTo>
                        <a:pt x="578125" y="1175109"/>
                      </a:lnTo>
                      <a:lnTo>
                        <a:pt x="578332" y="1174429"/>
                      </a:lnTo>
                      <a:lnTo>
                        <a:pt x="580979" y="1165382"/>
                      </a:lnTo>
                      <a:lnTo>
                        <a:pt x="582509" y="1165504"/>
                      </a:lnTo>
                      <a:lnTo>
                        <a:pt x="583213" y="1165734"/>
                      </a:lnTo>
                      <a:lnTo>
                        <a:pt x="590766" y="1170579"/>
                      </a:lnTo>
                      <a:lnTo>
                        <a:pt x="591325" y="1170931"/>
                      </a:lnTo>
                      <a:lnTo>
                        <a:pt x="591944" y="1171162"/>
                      </a:lnTo>
                      <a:lnTo>
                        <a:pt x="594931" y="1172267"/>
                      </a:lnTo>
                      <a:lnTo>
                        <a:pt x="595344" y="1172413"/>
                      </a:lnTo>
                      <a:lnTo>
                        <a:pt x="595769" y="1172510"/>
                      </a:lnTo>
                      <a:lnTo>
                        <a:pt x="598477" y="1173081"/>
                      </a:lnTo>
                      <a:lnTo>
                        <a:pt x="601998" y="1173506"/>
                      </a:lnTo>
                      <a:lnTo>
                        <a:pt x="602387" y="1173627"/>
                      </a:lnTo>
                      <a:lnTo>
                        <a:pt x="602605" y="1173773"/>
                      </a:lnTo>
                      <a:lnTo>
                        <a:pt x="602897" y="1174149"/>
                      </a:lnTo>
                      <a:lnTo>
                        <a:pt x="603492" y="1175206"/>
                      </a:lnTo>
                      <a:lnTo>
                        <a:pt x="605471" y="1180318"/>
                      </a:lnTo>
                      <a:lnTo>
                        <a:pt x="605629" y="1180731"/>
                      </a:lnTo>
                      <a:lnTo>
                        <a:pt x="605860" y="1181119"/>
                      </a:lnTo>
                      <a:lnTo>
                        <a:pt x="606880" y="1182904"/>
                      </a:lnTo>
                      <a:lnTo>
                        <a:pt x="607268" y="1183609"/>
                      </a:lnTo>
                      <a:lnTo>
                        <a:pt x="607827" y="1184167"/>
                      </a:lnTo>
                      <a:lnTo>
                        <a:pt x="609321" y="1185685"/>
                      </a:lnTo>
                      <a:lnTo>
                        <a:pt x="609624" y="1185989"/>
                      </a:lnTo>
                      <a:lnTo>
                        <a:pt x="609964" y="1186256"/>
                      </a:lnTo>
                      <a:lnTo>
                        <a:pt x="612502" y="1188186"/>
                      </a:lnTo>
                      <a:lnTo>
                        <a:pt x="613182" y="1188696"/>
                      </a:lnTo>
                      <a:lnTo>
                        <a:pt x="613983" y="1189000"/>
                      </a:lnTo>
                      <a:lnTo>
                        <a:pt x="617019" y="1190178"/>
                      </a:lnTo>
                      <a:lnTo>
                        <a:pt x="620055" y="1191089"/>
                      </a:lnTo>
                      <a:lnTo>
                        <a:pt x="620674" y="1191271"/>
                      </a:lnTo>
                      <a:lnTo>
                        <a:pt x="621318" y="1191307"/>
                      </a:lnTo>
                      <a:lnTo>
                        <a:pt x="630510" y="1191951"/>
                      </a:lnTo>
                      <a:lnTo>
                        <a:pt x="637686" y="1192060"/>
                      </a:lnTo>
                      <a:lnTo>
                        <a:pt x="641548" y="1192849"/>
                      </a:lnTo>
                      <a:lnTo>
                        <a:pt x="648032" y="1195011"/>
                      </a:lnTo>
                      <a:lnTo>
                        <a:pt x="648858" y="1195278"/>
                      </a:lnTo>
                      <a:lnTo>
                        <a:pt x="649732" y="1195302"/>
                      </a:lnTo>
                      <a:lnTo>
                        <a:pt x="652319" y="1195387"/>
                      </a:lnTo>
                      <a:lnTo>
                        <a:pt x="653217" y="1195424"/>
                      </a:lnTo>
                      <a:lnTo>
                        <a:pt x="654092" y="1195181"/>
                      </a:lnTo>
                      <a:lnTo>
                        <a:pt x="656557" y="1194525"/>
                      </a:lnTo>
                      <a:lnTo>
                        <a:pt x="657528" y="1194270"/>
                      </a:lnTo>
                      <a:lnTo>
                        <a:pt x="658366" y="1193712"/>
                      </a:lnTo>
                      <a:lnTo>
                        <a:pt x="663138" y="1190518"/>
                      </a:lnTo>
                      <a:lnTo>
                        <a:pt x="663770" y="1190093"/>
                      </a:lnTo>
                      <a:lnTo>
                        <a:pt x="664280" y="1189534"/>
                      </a:lnTo>
                      <a:lnTo>
                        <a:pt x="665251" y="1188454"/>
                      </a:lnTo>
                      <a:lnTo>
                        <a:pt x="665567" y="1188101"/>
                      </a:lnTo>
                      <a:lnTo>
                        <a:pt x="665822" y="1187701"/>
                      </a:lnTo>
                      <a:lnTo>
                        <a:pt x="666502" y="1186656"/>
                      </a:lnTo>
                      <a:lnTo>
                        <a:pt x="666902" y="1186049"/>
                      </a:lnTo>
                      <a:lnTo>
                        <a:pt x="667145" y="1185369"/>
                      </a:lnTo>
                      <a:lnTo>
                        <a:pt x="667558" y="1184192"/>
                      </a:lnTo>
                      <a:lnTo>
                        <a:pt x="667789" y="1183536"/>
                      </a:lnTo>
                      <a:lnTo>
                        <a:pt x="667862" y="1182844"/>
                      </a:lnTo>
                      <a:lnTo>
                        <a:pt x="667971" y="1181836"/>
                      </a:lnTo>
                      <a:lnTo>
                        <a:pt x="668007" y="1181496"/>
                      </a:lnTo>
                      <a:lnTo>
                        <a:pt x="668007" y="1181156"/>
                      </a:lnTo>
                      <a:lnTo>
                        <a:pt x="668007" y="1179954"/>
                      </a:lnTo>
                      <a:lnTo>
                        <a:pt x="668578" y="1179116"/>
                      </a:lnTo>
                      <a:lnTo>
                        <a:pt x="669112" y="1178290"/>
                      </a:lnTo>
                      <a:lnTo>
                        <a:pt x="669367" y="1177319"/>
                      </a:lnTo>
                      <a:lnTo>
                        <a:pt x="669610" y="1176420"/>
                      </a:lnTo>
                      <a:lnTo>
                        <a:pt x="669707" y="1176019"/>
                      </a:lnTo>
                      <a:lnTo>
                        <a:pt x="669756" y="1175606"/>
                      </a:lnTo>
                      <a:lnTo>
                        <a:pt x="669926" y="1174198"/>
                      </a:lnTo>
                      <a:lnTo>
                        <a:pt x="669999" y="1171211"/>
                      </a:lnTo>
                      <a:lnTo>
                        <a:pt x="670035" y="1170895"/>
                      </a:lnTo>
                      <a:lnTo>
                        <a:pt x="670060" y="1170798"/>
                      </a:lnTo>
                      <a:lnTo>
                        <a:pt x="670545" y="1169911"/>
                      </a:lnTo>
                      <a:lnTo>
                        <a:pt x="671007" y="1169219"/>
                      </a:lnTo>
                      <a:lnTo>
                        <a:pt x="671590" y="1168612"/>
                      </a:lnTo>
                      <a:lnTo>
                        <a:pt x="672354" y="1168551"/>
                      </a:lnTo>
                      <a:lnTo>
                        <a:pt x="672694" y="1168527"/>
                      </a:lnTo>
                      <a:lnTo>
                        <a:pt x="673034" y="1168466"/>
                      </a:lnTo>
                      <a:lnTo>
                        <a:pt x="675852" y="1167932"/>
                      </a:lnTo>
                      <a:lnTo>
                        <a:pt x="676240" y="1167859"/>
                      </a:lnTo>
                      <a:lnTo>
                        <a:pt x="676617" y="1167738"/>
                      </a:lnTo>
                      <a:lnTo>
                        <a:pt x="682020" y="1165965"/>
                      </a:lnTo>
                      <a:lnTo>
                        <a:pt x="682032" y="1165965"/>
                      </a:lnTo>
                      <a:lnTo>
                        <a:pt x="682032" y="1168418"/>
                      </a:lnTo>
                      <a:lnTo>
                        <a:pt x="681692" y="1171502"/>
                      </a:lnTo>
                      <a:lnTo>
                        <a:pt x="680357" y="1175109"/>
                      </a:lnTo>
                      <a:lnTo>
                        <a:pt x="680041" y="1175959"/>
                      </a:lnTo>
                      <a:lnTo>
                        <a:pt x="679992" y="1176857"/>
                      </a:lnTo>
                      <a:lnTo>
                        <a:pt x="679932" y="1177829"/>
                      </a:lnTo>
                      <a:lnTo>
                        <a:pt x="679859" y="1179006"/>
                      </a:lnTo>
                      <a:lnTo>
                        <a:pt x="680235" y="1180124"/>
                      </a:lnTo>
                      <a:lnTo>
                        <a:pt x="680575" y="1181131"/>
                      </a:lnTo>
                      <a:lnTo>
                        <a:pt x="680927" y="1182188"/>
                      </a:lnTo>
                      <a:lnTo>
                        <a:pt x="681644" y="1183062"/>
                      </a:lnTo>
                      <a:lnTo>
                        <a:pt x="682737" y="1184386"/>
                      </a:lnTo>
                      <a:lnTo>
                        <a:pt x="683198" y="1184932"/>
                      </a:lnTo>
                      <a:lnTo>
                        <a:pt x="683781" y="1185369"/>
                      </a:lnTo>
                      <a:lnTo>
                        <a:pt x="685214" y="1186450"/>
                      </a:lnTo>
                      <a:lnTo>
                        <a:pt x="685700" y="1186814"/>
                      </a:lnTo>
                      <a:lnTo>
                        <a:pt x="686246" y="1187069"/>
                      </a:lnTo>
                      <a:lnTo>
                        <a:pt x="688140" y="1187968"/>
                      </a:lnTo>
                      <a:lnTo>
                        <a:pt x="688480" y="1188138"/>
                      </a:lnTo>
                      <a:lnTo>
                        <a:pt x="688832" y="1188259"/>
                      </a:lnTo>
                      <a:lnTo>
                        <a:pt x="690545" y="1188830"/>
                      </a:lnTo>
                      <a:lnTo>
                        <a:pt x="690375" y="1188866"/>
                      </a:lnTo>
                      <a:lnTo>
                        <a:pt x="689197" y="1191975"/>
                      </a:lnTo>
                      <a:lnTo>
                        <a:pt x="688796" y="1193044"/>
                      </a:lnTo>
                      <a:lnTo>
                        <a:pt x="688505" y="1193809"/>
                      </a:lnTo>
                      <a:lnTo>
                        <a:pt x="688432" y="1194622"/>
                      </a:lnTo>
                      <a:lnTo>
                        <a:pt x="688371" y="1195351"/>
                      </a:lnTo>
                      <a:lnTo>
                        <a:pt x="688152" y="1195569"/>
                      </a:lnTo>
                      <a:lnTo>
                        <a:pt x="686926" y="1196444"/>
                      </a:lnTo>
                      <a:lnTo>
                        <a:pt x="686282" y="1196917"/>
                      </a:lnTo>
                      <a:lnTo>
                        <a:pt x="685772" y="1197537"/>
                      </a:lnTo>
                      <a:lnTo>
                        <a:pt x="684607" y="1198957"/>
                      </a:lnTo>
                      <a:lnTo>
                        <a:pt x="684000" y="1199698"/>
                      </a:lnTo>
                      <a:lnTo>
                        <a:pt x="683660" y="1200584"/>
                      </a:lnTo>
                      <a:lnTo>
                        <a:pt x="678560" y="1213577"/>
                      </a:lnTo>
                      <a:lnTo>
                        <a:pt x="678365" y="1214051"/>
                      </a:lnTo>
                      <a:lnTo>
                        <a:pt x="678268" y="1214561"/>
                      </a:lnTo>
                      <a:lnTo>
                        <a:pt x="677746" y="1217062"/>
                      </a:lnTo>
                      <a:lnTo>
                        <a:pt x="677503" y="1218204"/>
                      </a:lnTo>
                      <a:lnTo>
                        <a:pt x="677710" y="1219357"/>
                      </a:lnTo>
                      <a:lnTo>
                        <a:pt x="678062" y="1221337"/>
                      </a:lnTo>
                      <a:lnTo>
                        <a:pt x="678244" y="1222369"/>
                      </a:lnTo>
                      <a:lnTo>
                        <a:pt x="678766" y="1223280"/>
                      </a:lnTo>
                      <a:lnTo>
                        <a:pt x="681304" y="1227724"/>
                      </a:lnTo>
                      <a:lnTo>
                        <a:pt x="682494" y="1231172"/>
                      </a:lnTo>
                      <a:lnTo>
                        <a:pt x="682640" y="1231622"/>
                      </a:lnTo>
                      <a:lnTo>
                        <a:pt x="682858" y="1232035"/>
                      </a:lnTo>
                      <a:lnTo>
                        <a:pt x="683890" y="1234002"/>
                      </a:lnTo>
                      <a:lnTo>
                        <a:pt x="684255" y="1234682"/>
                      </a:lnTo>
                      <a:lnTo>
                        <a:pt x="684777" y="1235252"/>
                      </a:lnTo>
                      <a:lnTo>
                        <a:pt x="686683" y="1237341"/>
                      </a:lnTo>
                      <a:lnTo>
                        <a:pt x="687472" y="1238203"/>
                      </a:lnTo>
                      <a:lnTo>
                        <a:pt x="688517" y="1238713"/>
                      </a:lnTo>
                      <a:lnTo>
                        <a:pt x="692245" y="1240523"/>
                      </a:lnTo>
                      <a:lnTo>
                        <a:pt x="692730" y="1240887"/>
                      </a:lnTo>
                      <a:lnTo>
                        <a:pt x="694831" y="1243473"/>
                      </a:lnTo>
                      <a:lnTo>
                        <a:pt x="695365" y="1244129"/>
                      </a:lnTo>
                      <a:lnTo>
                        <a:pt x="696058" y="1244615"/>
                      </a:lnTo>
                      <a:lnTo>
                        <a:pt x="697430" y="1245586"/>
                      </a:lnTo>
                      <a:lnTo>
                        <a:pt x="697952" y="1245950"/>
                      </a:lnTo>
                      <a:lnTo>
                        <a:pt x="698547" y="1246205"/>
                      </a:lnTo>
                      <a:lnTo>
                        <a:pt x="701048" y="1247262"/>
                      </a:lnTo>
                      <a:lnTo>
                        <a:pt x="701449" y="1249484"/>
                      </a:lnTo>
                      <a:lnTo>
                        <a:pt x="701570" y="1250164"/>
                      </a:lnTo>
                      <a:lnTo>
                        <a:pt x="701838" y="1250796"/>
                      </a:lnTo>
                      <a:lnTo>
                        <a:pt x="702578" y="1252520"/>
                      </a:lnTo>
                      <a:lnTo>
                        <a:pt x="702930" y="1253333"/>
                      </a:lnTo>
                      <a:lnTo>
                        <a:pt x="703501" y="1254013"/>
                      </a:lnTo>
                      <a:lnTo>
                        <a:pt x="707581" y="1258895"/>
                      </a:lnTo>
                      <a:lnTo>
                        <a:pt x="707824" y="1259186"/>
                      </a:lnTo>
                      <a:lnTo>
                        <a:pt x="708103" y="1259441"/>
                      </a:lnTo>
                      <a:lnTo>
                        <a:pt x="711090" y="1262222"/>
                      </a:lnTo>
                      <a:lnTo>
                        <a:pt x="712669" y="1263691"/>
                      </a:lnTo>
                      <a:lnTo>
                        <a:pt x="714830" y="1263837"/>
                      </a:lnTo>
                      <a:lnTo>
                        <a:pt x="716713" y="1263958"/>
                      </a:lnTo>
                      <a:lnTo>
                        <a:pt x="718728" y="1264092"/>
                      </a:lnTo>
                      <a:lnTo>
                        <a:pt x="720416" y="1262999"/>
                      </a:lnTo>
                      <a:lnTo>
                        <a:pt x="727726" y="1258263"/>
                      </a:lnTo>
                      <a:lnTo>
                        <a:pt x="729839" y="1256673"/>
                      </a:lnTo>
                      <a:lnTo>
                        <a:pt x="730434" y="1256211"/>
                      </a:lnTo>
                      <a:lnTo>
                        <a:pt x="730908" y="1255616"/>
                      </a:lnTo>
                      <a:lnTo>
                        <a:pt x="732571" y="1253528"/>
                      </a:lnTo>
                      <a:lnTo>
                        <a:pt x="732851" y="1253163"/>
                      </a:lnTo>
                      <a:lnTo>
                        <a:pt x="733081" y="1252763"/>
                      </a:lnTo>
                      <a:lnTo>
                        <a:pt x="734405" y="1250456"/>
                      </a:lnTo>
                      <a:lnTo>
                        <a:pt x="734599" y="1250128"/>
                      </a:lnTo>
                      <a:lnTo>
                        <a:pt x="734745" y="1249776"/>
                      </a:lnTo>
                      <a:lnTo>
                        <a:pt x="734806" y="1249630"/>
                      </a:lnTo>
                      <a:lnTo>
                        <a:pt x="736761" y="1252459"/>
                      </a:lnTo>
                      <a:lnTo>
                        <a:pt x="737623" y="1254341"/>
                      </a:lnTo>
                      <a:lnTo>
                        <a:pt x="737878" y="1255628"/>
                      </a:lnTo>
                      <a:lnTo>
                        <a:pt x="737829" y="1259271"/>
                      </a:lnTo>
                      <a:lnTo>
                        <a:pt x="737902" y="1260777"/>
                      </a:lnTo>
                      <a:lnTo>
                        <a:pt x="737926" y="1261251"/>
                      </a:lnTo>
                      <a:lnTo>
                        <a:pt x="738024" y="1261700"/>
                      </a:lnTo>
                      <a:lnTo>
                        <a:pt x="738169" y="1262380"/>
                      </a:lnTo>
                      <a:lnTo>
                        <a:pt x="738570" y="1263485"/>
                      </a:lnTo>
                      <a:lnTo>
                        <a:pt x="739906" y="1266302"/>
                      </a:lnTo>
                      <a:lnTo>
                        <a:pt x="740088" y="1266703"/>
                      </a:lnTo>
                      <a:lnTo>
                        <a:pt x="740331" y="1267067"/>
                      </a:lnTo>
                      <a:lnTo>
                        <a:pt x="741885" y="1269411"/>
                      </a:lnTo>
                      <a:lnTo>
                        <a:pt x="742043" y="1270248"/>
                      </a:lnTo>
                      <a:lnTo>
                        <a:pt x="742006" y="1270285"/>
                      </a:lnTo>
                      <a:lnTo>
                        <a:pt x="739675" y="1271548"/>
                      </a:lnTo>
                      <a:lnTo>
                        <a:pt x="739384" y="1271706"/>
                      </a:lnTo>
                      <a:lnTo>
                        <a:pt x="739116" y="1271888"/>
                      </a:lnTo>
                      <a:lnTo>
                        <a:pt x="736129" y="1273952"/>
                      </a:lnTo>
                      <a:lnTo>
                        <a:pt x="735316" y="1274523"/>
                      </a:lnTo>
                      <a:lnTo>
                        <a:pt x="734721" y="1275312"/>
                      </a:lnTo>
                      <a:lnTo>
                        <a:pt x="733348" y="1277146"/>
                      </a:lnTo>
                      <a:lnTo>
                        <a:pt x="732802" y="1277874"/>
                      </a:lnTo>
                      <a:lnTo>
                        <a:pt x="732498" y="1278724"/>
                      </a:lnTo>
                      <a:lnTo>
                        <a:pt x="731746" y="1280825"/>
                      </a:lnTo>
                      <a:lnTo>
                        <a:pt x="731442" y="1281687"/>
                      </a:lnTo>
                      <a:lnTo>
                        <a:pt x="731406" y="1282610"/>
                      </a:lnTo>
                      <a:lnTo>
                        <a:pt x="731296" y="1285051"/>
                      </a:lnTo>
                      <a:lnTo>
                        <a:pt x="731284" y="1285439"/>
                      </a:lnTo>
                      <a:lnTo>
                        <a:pt x="731308" y="1285816"/>
                      </a:lnTo>
                      <a:lnTo>
                        <a:pt x="731685" y="1290369"/>
                      </a:lnTo>
                      <a:lnTo>
                        <a:pt x="731600" y="1292057"/>
                      </a:lnTo>
                      <a:lnTo>
                        <a:pt x="730167" y="1300691"/>
                      </a:lnTo>
                      <a:lnTo>
                        <a:pt x="729997" y="1301699"/>
                      </a:lnTo>
                      <a:lnTo>
                        <a:pt x="730167" y="1302707"/>
                      </a:lnTo>
                      <a:lnTo>
                        <a:pt x="730398" y="1304079"/>
                      </a:lnTo>
                      <a:lnTo>
                        <a:pt x="730713" y="1305973"/>
                      </a:lnTo>
                      <a:lnTo>
                        <a:pt x="732061" y="1307333"/>
                      </a:lnTo>
                      <a:lnTo>
                        <a:pt x="732693" y="1307977"/>
                      </a:lnTo>
                      <a:lnTo>
                        <a:pt x="734599" y="1309907"/>
                      </a:lnTo>
                      <a:lnTo>
                        <a:pt x="737307" y="1309774"/>
                      </a:lnTo>
                      <a:lnTo>
                        <a:pt x="742431" y="1309519"/>
                      </a:lnTo>
                      <a:lnTo>
                        <a:pt x="742565" y="1309677"/>
                      </a:lnTo>
                      <a:lnTo>
                        <a:pt x="743196" y="1310903"/>
                      </a:lnTo>
                      <a:lnTo>
                        <a:pt x="744241" y="1313915"/>
                      </a:lnTo>
                      <a:lnTo>
                        <a:pt x="744435" y="1314473"/>
                      </a:lnTo>
                      <a:lnTo>
                        <a:pt x="744726" y="1314983"/>
                      </a:lnTo>
                      <a:lnTo>
                        <a:pt x="746281" y="1317655"/>
                      </a:lnTo>
                      <a:lnTo>
                        <a:pt x="746730" y="1318407"/>
                      </a:lnTo>
                      <a:lnTo>
                        <a:pt x="747361" y="1319015"/>
                      </a:lnTo>
                      <a:lnTo>
                        <a:pt x="749365" y="1320909"/>
                      </a:lnTo>
                      <a:lnTo>
                        <a:pt x="750179" y="1321674"/>
                      </a:lnTo>
                      <a:lnTo>
                        <a:pt x="751199" y="1322099"/>
                      </a:lnTo>
                      <a:lnTo>
                        <a:pt x="753627" y="1323107"/>
                      </a:lnTo>
                      <a:lnTo>
                        <a:pt x="754259" y="1323362"/>
                      </a:lnTo>
                      <a:lnTo>
                        <a:pt x="754939" y="1323471"/>
                      </a:lnTo>
                      <a:lnTo>
                        <a:pt x="758254" y="1324042"/>
                      </a:lnTo>
                      <a:lnTo>
                        <a:pt x="758023" y="1324552"/>
                      </a:lnTo>
                      <a:lnTo>
                        <a:pt x="757889" y="1325122"/>
                      </a:lnTo>
                      <a:lnTo>
                        <a:pt x="757428" y="1327138"/>
                      </a:lnTo>
                      <a:lnTo>
                        <a:pt x="757282" y="1327782"/>
                      </a:lnTo>
                      <a:lnTo>
                        <a:pt x="757282" y="1328437"/>
                      </a:lnTo>
                      <a:lnTo>
                        <a:pt x="757246" y="1333015"/>
                      </a:lnTo>
                      <a:lnTo>
                        <a:pt x="756894" y="1335565"/>
                      </a:lnTo>
                      <a:lnTo>
                        <a:pt x="756809" y="1336245"/>
                      </a:lnTo>
                      <a:lnTo>
                        <a:pt x="756869" y="1336925"/>
                      </a:lnTo>
                      <a:lnTo>
                        <a:pt x="757088" y="1339342"/>
                      </a:lnTo>
                      <a:lnTo>
                        <a:pt x="757234" y="1340957"/>
                      </a:lnTo>
                      <a:lnTo>
                        <a:pt x="758169" y="1342280"/>
                      </a:lnTo>
                      <a:lnTo>
                        <a:pt x="758800" y="1343191"/>
                      </a:lnTo>
                      <a:lnTo>
                        <a:pt x="759990" y="1344891"/>
                      </a:lnTo>
                      <a:lnTo>
                        <a:pt x="761957" y="1345510"/>
                      </a:lnTo>
                      <a:lnTo>
                        <a:pt x="763694" y="1346057"/>
                      </a:lnTo>
                      <a:lnTo>
                        <a:pt x="765479" y="1346615"/>
                      </a:lnTo>
                      <a:lnTo>
                        <a:pt x="767276" y="1346069"/>
                      </a:lnTo>
                      <a:lnTo>
                        <a:pt x="769340" y="1345437"/>
                      </a:lnTo>
                      <a:lnTo>
                        <a:pt x="770275" y="1345158"/>
                      </a:lnTo>
                      <a:lnTo>
                        <a:pt x="771064" y="1344600"/>
                      </a:lnTo>
                      <a:lnTo>
                        <a:pt x="773299" y="1343021"/>
                      </a:lnTo>
                      <a:lnTo>
                        <a:pt x="773663" y="1342766"/>
                      </a:lnTo>
                      <a:lnTo>
                        <a:pt x="773979" y="1342463"/>
                      </a:lnTo>
                      <a:lnTo>
                        <a:pt x="776808" y="1339767"/>
                      </a:lnTo>
                      <a:lnTo>
                        <a:pt x="779030" y="1342620"/>
                      </a:lnTo>
                      <a:lnTo>
                        <a:pt x="779455" y="1344272"/>
                      </a:lnTo>
                      <a:lnTo>
                        <a:pt x="779273" y="1347065"/>
                      </a:lnTo>
                      <a:lnTo>
                        <a:pt x="778666" y="1350052"/>
                      </a:lnTo>
                      <a:lnTo>
                        <a:pt x="778496" y="1350841"/>
                      </a:lnTo>
                      <a:lnTo>
                        <a:pt x="778545" y="1351655"/>
                      </a:lnTo>
                      <a:lnTo>
                        <a:pt x="778787" y="1355504"/>
                      </a:lnTo>
                      <a:lnTo>
                        <a:pt x="778848" y="1356427"/>
                      </a:lnTo>
                      <a:lnTo>
                        <a:pt x="779176" y="1357301"/>
                      </a:lnTo>
                      <a:lnTo>
                        <a:pt x="780147" y="1359827"/>
                      </a:lnTo>
                      <a:lnTo>
                        <a:pt x="780269" y="1360131"/>
                      </a:lnTo>
                      <a:lnTo>
                        <a:pt x="780427" y="1360422"/>
                      </a:lnTo>
                      <a:lnTo>
                        <a:pt x="781459" y="1362425"/>
                      </a:lnTo>
                      <a:lnTo>
                        <a:pt x="781495" y="1362620"/>
                      </a:lnTo>
                      <a:lnTo>
                        <a:pt x="781374" y="1363409"/>
                      </a:lnTo>
                      <a:lnTo>
                        <a:pt x="779710" y="1367113"/>
                      </a:lnTo>
                      <a:lnTo>
                        <a:pt x="778411" y="1369978"/>
                      </a:lnTo>
                      <a:lnTo>
                        <a:pt x="780014" y="1372698"/>
                      </a:lnTo>
                      <a:lnTo>
                        <a:pt x="781568" y="1375321"/>
                      </a:lnTo>
                      <a:lnTo>
                        <a:pt x="783511" y="1378612"/>
                      </a:lnTo>
                      <a:lnTo>
                        <a:pt x="787312" y="1378284"/>
                      </a:lnTo>
                      <a:lnTo>
                        <a:pt x="792727" y="1377811"/>
                      </a:lnTo>
                      <a:lnTo>
                        <a:pt x="795872" y="1380943"/>
                      </a:lnTo>
                      <a:lnTo>
                        <a:pt x="797378" y="1382449"/>
                      </a:lnTo>
                      <a:lnTo>
                        <a:pt x="799491" y="1382692"/>
                      </a:lnTo>
                      <a:lnTo>
                        <a:pt x="801798" y="1382947"/>
                      </a:lnTo>
                      <a:lnTo>
                        <a:pt x="803110" y="1383093"/>
                      </a:lnTo>
                      <a:lnTo>
                        <a:pt x="804373" y="1382680"/>
                      </a:lnTo>
                      <a:lnTo>
                        <a:pt x="817499" y="1378333"/>
                      </a:lnTo>
                      <a:lnTo>
                        <a:pt x="824518" y="1389225"/>
                      </a:lnTo>
                      <a:lnTo>
                        <a:pt x="824809" y="1389686"/>
                      </a:lnTo>
                      <a:lnTo>
                        <a:pt x="825186" y="1390087"/>
                      </a:lnTo>
                      <a:lnTo>
                        <a:pt x="830820" y="1396098"/>
                      </a:lnTo>
                      <a:lnTo>
                        <a:pt x="831694" y="1397033"/>
                      </a:lnTo>
                      <a:lnTo>
                        <a:pt x="832860" y="1397531"/>
                      </a:lnTo>
                      <a:lnTo>
                        <a:pt x="834754" y="1398332"/>
                      </a:lnTo>
                      <a:lnTo>
                        <a:pt x="835325" y="1398575"/>
                      </a:lnTo>
                      <a:lnTo>
                        <a:pt x="835932" y="1398696"/>
                      </a:lnTo>
                      <a:lnTo>
                        <a:pt x="837596" y="1399036"/>
                      </a:lnTo>
                      <a:lnTo>
                        <a:pt x="838701" y="1399255"/>
                      </a:lnTo>
                      <a:lnTo>
                        <a:pt x="839806" y="1399073"/>
                      </a:lnTo>
                      <a:lnTo>
                        <a:pt x="841129" y="1398854"/>
                      </a:lnTo>
                      <a:lnTo>
                        <a:pt x="841579" y="1398781"/>
                      </a:lnTo>
                      <a:lnTo>
                        <a:pt x="842003" y="1398636"/>
                      </a:lnTo>
                      <a:lnTo>
                        <a:pt x="843546" y="1398138"/>
                      </a:lnTo>
                      <a:lnTo>
                        <a:pt x="844104" y="1397956"/>
                      </a:lnTo>
                      <a:lnTo>
                        <a:pt x="844626" y="1397676"/>
                      </a:lnTo>
                      <a:lnTo>
                        <a:pt x="845719" y="1397069"/>
                      </a:lnTo>
                      <a:lnTo>
                        <a:pt x="846654" y="1396559"/>
                      </a:lnTo>
                      <a:lnTo>
                        <a:pt x="847359" y="1395746"/>
                      </a:lnTo>
                      <a:lnTo>
                        <a:pt x="848002" y="1395005"/>
                      </a:lnTo>
                      <a:lnTo>
                        <a:pt x="852046" y="1398369"/>
                      </a:lnTo>
                      <a:lnTo>
                        <a:pt x="858057" y="1404440"/>
                      </a:lnTo>
                      <a:lnTo>
                        <a:pt x="858737" y="1405120"/>
                      </a:lnTo>
                      <a:lnTo>
                        <a:pt x="859587" y="1405557"/>
                      </a:lnTo>
                      <a:lnTo>
                        <a:pt x="869022" y="1410402"/>
                      </a:lnTo>
                      <a:lnTo>
                        <a:pt x="870382" y="1411604"/>
                      </a:lnTo>
                      <a:lnTo>
                        <a:pt x="870746" y="1412175"/>
                      </a:lnTo>
                      <a:lnTo>
                        <a:pt x="870794" y="1412576"/>
                      </a:lnTo>
                      <a:lnTo>
                        <a:pt x="870612" y="1414519"/>
                      </a:lnTo>
                      <a:lnTo>
                        <a:pt x="870588" y="1418052"/>
                      </a:lnTo>
                      <a:lnTo>
                        <a:pt x="870588" y="1418550"/>
                      </a:lnTo>
                      <a:lnTo>
                        <a:pt x="870661" y="1419036"/>
                      </a:lnTo>
                      <a:lnTo>
                        <a:pt x="871183" y="1422254"/>
                      </a:lnTo>
                      <a:lnTo>
                        <a:pt x="871365" y="1423359"/>
                      </a:lnTo>
                      <a:lnTo>
                        <a:pt x="871924" y="1424330"/>
                      </a:lnTo>
                      <a:lnTo>
                        <a:pt x="874328" y="1428459"/>
                      </a:lnTo>
                      <a:lnTo>
                        <a:pt x="874996" y="1429600"/>
                      </a:lnTo>
                      <a:lnTo>
                        <a:pt x="876064" y="1430353"/>
                      </a:lnTo>
                      <a:lnTo>
                        <a:pt x="878493" y="1432077"/>
                      </a:lnTo>
                      <a:lnTo>
                        <a:pt x="879307" y="1432660"/>
                      </a:lnTo>
                      <a:lnTo>
                        <a:pt x="880278" y="1432940"/>
                      </a:lnTo>
                      <a:lnTo>
                        <a:pt x="882500" y="1433595"/>
                      </a:lnTo>
                      <a:lnTo>
                        <a:pt x="883885" y="1434008"/>
                      </a:lnTo>
                      <a:lnTo>
                        <a:pt x="885305" y="1433753"/>
                      </a:lnTo>
                      <a:lnTo>
                        <a:pt x="887321" y="1433389"/>
                      </a:lnTo>
                      <a:lnTo>
                        <a:pt x="887843" y="1433292"/>
                      </a:lnTo>
                      <a:lnTo>
                        <a:pt x="888353" y="1433110"/>
                      </a:lnTo>
                      <a:lnTo>
                        <a:pt x="889847" y="1432563"/>
                      </a:lnTo>
                      <a:lnTo>
                        <a:pt x="890417" y="1432344"/>
                      </a:lnTo>
                      <a:lnTo>
                        <a:pt x="890939" y="1432017"/>
                      </a:lnTo>
                      <a:lnTo>
                        <a:pt x="892154" y="1431264"/>
                      </a:lnTo>
                      <a:lnTo>
                        <a:pt x="892579" y="1431009"/>
                      </a:lnTo>
                      <a:lnTo>
                        <a:pt x="892943" y="1430681"/>
                      </a:lnTo>
                      <a:lnTo>
                        <a:pt x="892967" y="1430669"/>
                      </a:lnTo>
                      <a:lnTo>
                        <a:pt x="896319" y="1432770"/>
                      </a:lnTo>
                      <a:lnTo>
                        <a:pt x="897606" y="1434482"/>
                      </a:lnTo>
                      <a:lnTo>
                        <a:pt x="898577" y="1436157"/>
                      </a:lnTo>
                      <a:lnTo>
                        <a:pt x="899124" y="1437700"/>
                      </a:lnTo>
                      <a:lnTo>
                        <a:pt x="899318" y="1438246"/>
                      </a:lnTo>
                      <a:lnTo>
                        <a:pt x="899622" y="1438744"/>
                      </a:lnTo>
                      <a:lnTo>
                        <a:pt x="902949" y="1444342"/>
                      </a:lnTo>
                      <a:lnTo>
                        <a:pt x="903653" y="1445520"/>
                      </a:lnTo>
                      <a:lnTo>
                        <a:pt x="904795" y="1446285"/>
                      </a:lnTo>
                      <a:lnTo>
                        <a:pt x="906179" y="1447207"/>
                      </a:lnTo>
                      <a:lnTo>
                        <a:pt x="906677" y="1447535"/>
                      </a:lnTo>
                      <a:lnTo>
                        <a:pt x="907223" y="1447766"/>
                      </a:lnTo>
                      <a:lnTo>
                        <a:pt x="908887" y="1448458"/>
                      </a:lnTo>
                      <a:lnTo>
                        <a:pt x="909409" y="1448786"/>
                      </a:lnTo>
                      <a:lnTo>
                        <a:pt x="909530" y="1448907"/>
                      </a:lnTo>
                      <a:lnTo>
                        <a:pt x="910502" y="1450692"/>
                      </a:lnTo>
                      <a:lnTo>
                        <a:pt x="911740" y="1454020"/>
                      </a:lnTo>
                      <a:lnTo>
                        <a:pt x="914363" y="1461099"/>
                      </a:lnTo>
                      <a:lnTo>
                        <a:pt x="920714" y="1457007"/>
                      </a:lnTo>
                      <a:lnTo>
                        <a:pt x="923980" y="1454906"/>
                      </a:lnTo>
                      <a:lnTo>
                        <a:pt x="924418" y="1454627"/>
                      </a:lnTo>
                      <a:lnTo>
                        <a:pt x="924806" y="1454275"/>
                      </a:lnTo>
                      <a:lnTo>
                        <a:pt x="927514" y="1451785"/>
                      </a:lnTo>
                      <a:lnTo>
                        <a:pt x="928012" y="1451421"/>
                      </a:lnTo>
                      <a:lnTo>
                        <a:pt x="928959" y="1450984"/>
                      </a:lnTo>
                      <a:lnTo>
                        <a:pt x="930052" y="1450741"/>
                      </a:lnTo>
                      <a:lnTo>
                        <a:pt x="932444" y="1450765"/>
                      </a:lnTo>
                      <a:lnTo>
                        <a:pt x="934205" y="1451215"/>
                      </a:lnTo>
                      <a:lnTo>
                        <a:pt x="936828" y="1452174"/>
                      </a:lnTo>
                      <a:lnTo>
                        <a:pt x="937301" y="1452344"/>
                      </a:lnTo>
                      <a:lnTo>
                        <a:pt x="937799" y="1452441"/>
                      </a:lnTo>
                      <a:lnTo>
                        <a:pt x="941187" y="1453072"/>
                      </a:lnTo>
                      <a:lnTo>
                        <a:pt x="942061" y="1453230"/>
                      </a:lnTo>
                      <a:lnTo>
                        <a:pt x="942948" y="1453133"/>
                      </a:lnTo>
                      <a:lnTo>
                        <a:pt x="946688" y="1452732"/>
                      </a:lnTo>
                      <a:lnTo>
                        <a:pt x="947817" y="1452611"/>
                      </a:lnTo>
                      <a:lnTo>
                        <a:pt x="948825" y="1452089"/>
                      </a:lnTo>
                      <a:lnTo>
                        <a:pt x="962061" y="1445240"/>
                      </a:lnTo>
                      <a:lnTo>
                        <a:pt x="972941" y="1442654"/>
                      </a:lnTo>
                      <a:lnTo>
                        <a:pt x="973973" y="1442399"/>
                      </a:lnTo>
                      <a:lnTo>
                        <a:pt x="974872" y="1441816"/>
                      </a:lnTo>
                      <a:lnTo>
                        <a:pt x="984647" y="1435380"/>
                      </a:lnTo>
                      <a:lnTo>
                        <a:pt x="992114" y="1432721"/>
                      </a:lnTo>
                      <a:lnTo>
                        <a:pt x="993244" y="1432320"/>
                      </a:lnTo>
                      <a:lnTo>
                        <a:pt x="994142" y="1431519"/>
                      </a:lnTo>
                      <a:lnTo>
                        <a:pt x="995806" y="1430025"/>
                      </a:lnTo>
                      <a:lnTo>
                        <a:pt x="998927" y="1427220"/>
                      </a:lnTo>
                      <a:lnTo>
                        <a:pt x="997397" y="1423310"/>
                      </a:lnTo>
                      <a:lnTo>
                        <a:pt x="996644" y="1421379"/>
                      </a:lnTo>
                      <a:lnTo>
                        <a:pt x="995976" y="1419679"/>
                      </a:lnTo>
                      <a:lnTo>
                        <a:pt x="994482" y="1418635"/>
                      </a:lnTo>
                      <a:lnTo>
                        <a:pt x="991107" y="1416255"/>
                      </a:lnTo>
                      <a:lnTo>
                        <a:pt x="990402" y="1415563"/>
                      </a:lnTo>
                      <a:lnTo>
                        <a:pt x="988727" y="1413074"/>
                      </a:lnTo>
                      <a:lnTo>
                        <a:pt x="988314" y="1412467"/>
                      </a:lnTo>
                      <a:lnTo>
                        <a:pt x="987767" y="1411969"/>
                      </a:lnTo>
                      <a:lnTo>
                        <a:pt x="986444" y="1410767"/>
                      </a:lnTo>
                      <a:lnTo>
                        <a:pt x="985800" y="1410184"/>
                      </a:lnTo>
                      <a:lnTo>
                        <a:pt x="985023" y="1409807"/>
                      </a:lnTo>
                      <a:lnTo>
                        <a:pt x="982898" y="1408775"/>
                      </a:lnTo>
                      <a:lnTo>
                        <a:pt x="981939" y="1408314"/>
                      </a:lnTo>
                      <a:lnTo>
                        <a:pt x="980894" y="1408204"/>
                      </a:lnTo>
                      <a:lnTo>
                        <a:pt x="978539" y="1407949"/>
                      </a:lnTo>
                      <a:lnTo>
                        <a:pt x="978065" y="1407901"/>
                      </a:lnTo>
                      <a:lnTo>
                        <a:pt x="977592" y="1407925"/>
                      </a:lnTo>
                      <a:lnTo>
                        <a:pt x="973718" y="1408119"/>
                      </a:lnTo>
                      <a:lnTo>
                        <a:pt x="973026" y="1408022"/>
                      </a:lnTo>
                      <a:lnTo>
                        <a:pt x="967974" y="1406067"/>
                      </a:lnTo>
                      <a:lnTo>
                        <a:pt x="967464" y="1405861"/>
                      </a:lnTo>
                      <a:lnTo>
                        <a:pt x="966918" y="1405764"/>
                      </a:lnTo>
                      <a:lnTo>
                        <a:pt x="961648" y="1404768"/>
                      </a:lnTo>
                      <a:lnTo>
                        <a:pt x="961041" y="1404525"/>
                      </a:lnTo>
                      <a:lnTo>
                        <a:pt x="960956" y="1404476"/>
                      </a:lnTo>
                      <a:lnTo>
                        <a:pt x="960810" y="1404343"/>
                      </a:lnTo>
                      <a:lnTo>
                        <a:pt x="960421" y="1403809"/>
                      </a:lnTo>
                      <a:lnTo>
                        <a:pt x="960446" y="1403554"/>
                      </a:lnTo>
                      <a:lnTo>
                        <a:pt x="966274" y="1392795"/>
                      </a:lnTo>
                      <a:lnTo>
                        <a:pt x="968059" y="1390379"/>
                      </a:lnTo>
                      <a:lnTo>
                        <a:pt x="978903" y="1380713"/>
                      </a:lnTo>
                      <a:lnTo>
                        <a:pt x="980870" y="1379438"/>
                      </a:lnTo>
                      <a:lnTo>
                        <a:pt x="989686" y="1376839"/>
                      </a:lnTo>
                      <a:lnTo>
                        <a:pt x="994191" y="1375346"/>
                      </a:lnTo>
                      <a:lnTo>
                        <a:pt x="994944" y="1375091"/>
                      </a:lnTo>
                      <a:lnTo>
                        <a:pt x="995612" y="1374653"/>
                      </a:lnTo>
                      <a:lnTo>
                        <a:pt x="1005654" y="1368036"/>
                      </a:lnTo>
                      <a:lnTo>
                        <a:pt x="1006613" y="1367683"/>
                      </a:lnTo>
                      <a:lnTo>
                        <a:pt x="1010912" y="1366724"/>
                      </a:lnTo>
                      <a:lnTo>
                        <a:pt x="1011592" y="1366566"/>
                      </a:lnTo>
                      <a:lnTo>
                        <a:pt x="1012223" y="1366263"/>
                      </a:lnTo>
                      <a:lnTo>
                        <a:pt x="1013717" y="1365546"/>
                      </a:lnTo>
                      <a:lnTo>
                        <a:pt x="1014542" y="1365145"/>
                      </a:lnTo>
                      <a:lnTo>
                        <a:pt x="1015210" y="1364526"/>
                      </a:lnTo>
                      <a:lnTo>
                        <a:pt x="1020954" y="1359208"/>
                      </a:lnTo>
                      <a:lnTo>
                        <a:pt x="1021270" y="1358916"/>
                      </a:lnTo>
                      <a:lnTo>
                        <a:pt x="1021537" y="1358588"/>
                      </a:lnTo>
                      <a:lnTo>
                        <a:pt x="1023334" y="1356366"/>
                      </a:lnTo>
                      <a:lnTo>
                        <a:pt x="1023589" y="1356038"/>
                      </a:lnTo>
                      <a:lnTo>
                        <a:pt x="1023808" y="1355686"/>
                      </a:lnTo>
                      <a:lnTo>
                        <a:pt x="1025459" y="1352954"/>
                      </a:lnTo>
                      <a:lnTo>
                        <a:pt x="1025690" y="1352578"/>
                      </a:lnTo>
                      <a:lnTo>
                        <a:pt x="1025860" y="1352165"/>
                      </a:lnTo>
                      <a:lnTo>
                        <a:pt x="1027353" y="1348607"/>
                      </a:lnTo>
                      <a:lnTo>
                        <a:pt x="1029952" y="1340738"/>
                      </a:lnTo>
                      <a:lnTo>
                        <a:pt x="1030583" y="1339524"/>
                      </a:lnTo>
                      <a:lnTo>
                        <a:pt x="1031652" y="1338127"/>
                      </a:lnTo>
                      <a:lnTo>
                        <a:pt x="1033133" y="1336585"/>
                      </a:lnTo>
                      <a:lnTo>
                        <a:pt x="1033364" y="1336343"/>
                      </a:lnTo>
                      <a:lnTo>
                        <a:pt x="1033570" y="1336087"/>
                      </a:lnTo>
                      <a:lnTo>
                        <a:pt x="1035368" y="1333732"/>
                      </a:lnTo>
                      <a:lnTo>
                        <a:pt x="1035671" y="1333331"/>
                      </a:lnTo>
                      <a:lnTo>
                        <a:pt x="1035914" y="1332882"/>
                      </a:lnTo>
                      <a:lnTo>
                        <a:pt x="1037456" y="1329980"/>
                      </a:lnTo>
                      <a:lnTo>
                        <a:pt x="1037906" y="1329142"/>
                      </a:lnTo>
                      <a:lnTo>
                        <a:pt x="1038076" y="1328195"/>
                      </a:lnTo>
                      <a:lnTo>
                        <a:pt x="1038816" y="1324029"/>
                      </a:lnTo>
                      <a:lnTo>
                        <a:pt x="1038877" y="1323653"/>
                      </a:lnTo>
                      <a:lnTo>
                        <a:pt x="1038901" y="1323264"/>
                      </a:lnTo>
                      <a:lnTo>
                        <a:pt x="1039083" y="1319731"/>
                      </a:lnTo>
                      <a:lnTo>
                        <a:pt x="1039096" y="1319367"/>
                      </a:lnTo>
                      <a:lnTo>
                        <a:pt x="1039071" y="1319002"/>
                      </a:lnTo>
                      <a:lnTo>
                        <a:pt x="1038840" y="1315736"/>
                      </a:lnTo>
                      <a:lnTo>
                        <a:pt x="1038816" y="1315359"/>
                      </a:lnTo>
                      <a:lnTo>
                        <a:pt x="1038743" y="1314995"/>
                      </a:lnTo>
                      <a:lnTo>
                        <a:pt x="1037541" y="1308912"/>
                      </a:lnTo>
                      <a:lnTo>
                        <a:pt x="1037359" y="1307989"/>
                      </a:lnTo>
                      <a:lnTo>
                        <a:pt x="1036910" y="1307163"/>
                      </a:lnTo>
                      <a:lnTo>
                        <a:pt x="1033983" y="1301820"/>
                      </a:lnTo>
                      <a:lnTo>
                        <a:pt x="1033728" y="1301359"/>
                      </a:lnTo>
                      <a:lnTo>
                        <a:pt x="1033413" y="1300958"/>
                      </a:lnTo>
                      <a:lnTo>
                        <a:pt x="1032441" y="1299744"/>
                      </a:lnTo>
                      <a:lnTo>
                        <a:pt x="1032247" y="1298736"/>
                      </a:lnTo>
                      <a:lnTo>
                        <a:pt x="1032016" y="1295700"/>
                      </a:lnTo>
                      <a:lnTo>
                        <a:pt x="1032198" y="1289835"/>
                      </a:lnTo>
                      <a:lnTo>
                        <a:pt x="1033048" y="1282792"/>
                      </a:lnTo>
                      <a:lnTo>
                        <a:pt x="1039860" y="1263084"/>
                      </a:lnTo>
                      <a:lnTo>
                        <a:pt x="1040905" y="1261336"/>
                      </a:lnTo>
                      <a:lnTo>
                        <a:pt x="1042010" y="1259915"/>
                      </a:lnTo>
                      <a:lnTo>
                        <a:pt x="1042228" y="1259636"/>
                      </a:lnTo>
                      <a:lnTo>
                        <a:pt x="1042411" y="1259332"/>
                      </a:lnTo>
                      <a:lnTo>
                        <a:pt x="1043491" y="1257547"/>
                      </a:lnTo>
                      <a:lnTo>
                        <a:pt x="1044256" y="1256284"/>
                      </a:lnTo>
                      <a:lnTo>
                        <a:pt x="1044353" y="1254803"/>
                      </a:lnTo>
                      <a:lnTo>
                        <a:pt x="1044463" y="1253115"/>
                      </a:lnTo>
                      <a:lnTo>
                        <a:pt x="1044596" y="1251075"/>
                      </a:lnTo>
                      <a:lnTo>
                        <a:pt x="1043455" y="1249363"/>
                      </a:lnTo>
                      <a:lnTo>
                        <a:pt x="1042022" y="1247201"/>
                      </a:lnTo>
                      <a:lnTo>
                        <a:pt x="1041670" y="1246667"/>
                      </a:lnTo>
                      <a:lnTo>
                        <a:pt x="1041208" y="1246205"/>
                      </a:lnTo>
                      <a:lnTo>
                        <a:pt x="1039375" y="1244433"/>
                      </a:lnTo>
                      <a:lnTo>
                        <a:pt x="1039120" y="1244177"/>
                      </a:lnTo>
                      <a:lnTo>
                        <a:pt x="1038840" y="1243959"/>
                      </a:lnTo>
                      <a:lnTo>
                        <a:pt x="1035210" y="1241178"/>
                      </a:lnTo>
                      <a:lnTo>
                        <a:pt x="1033740" y="1239454"/>
                      </a:lnTo>
                      <a:lnTo>
                        <a:pt x="1032466" y="1237596"/>
                      </a:lnTo>
                      <a:lnTo>
                        <a:pt x="1031118" y="1235058"/>
                      </a:lnTo>
                      <a:lnTo>
                        <a:pt x="1030061" y="1232435"/>
                      </a:lnTo>
                      <a:lnTo>
                        <a:pt x="1029393" y="1229254"/>
                      </a:lnTo>
                      <a:lnTo>
                        <a:pt x="1028798" y="1219795"/>
                      </a:lnTo>
                      <a:lnTo>
                        <a:pt x="1028750" y="1219066"/>
                      </a:lnTo>
                      <a:lnTo>
                        <a:pt x="1028531" y="1218374"/>
                      </a:lnTo>
                      <a:lnTo>
                        <a:pt x="1027499" y="1215047"/>
                      </a:lnTo>
                      <a:lnTo>
                        <a:pt x="1027268" y="1214294"/>
                      </a:lnTo>
                      <a:lnTo>
                        <a:pt x="1026855" y="1213626"/>
                      </a:lnTo>
                      <a:lnTo>
                        <a:pt x="1025083" y="1210784"/>
                      </a:lnTo>
                      <a:lnTo>
                        <a:pt x="1024573" y="1209959"/>
                      </a:lnTo>
                      <a:lnTo>
                        <a:pt x="1023820" y="1209340"/>
                      </a:lnTo>
                      <a:lnTo>
                        <a:pt x="1021173" y="1207129"/>
                      </a:lnTo>
                      <a:lnTo>
                        <a:pt x="1020833" y="1206838"/>
                      </a:lnTo>
                      <a:lnTo>
                        <a:pt x="1020456" y="1206607"/>
                      </a:lnTo>
                      <a:lnTo>
                        <a:pt x="1017590" y="1204859"/>
                      </a:lnTo>
                      <a:lnTo>
                        <a:pt x="1016995" y="1204494"/>
                      </a:lnTo>
                      <a:lnTo>
                        <a:pt x="1016328" y="1204276"/>
                      </a:lnTo>
                      <a:lnTo>
                        <a:pt x="1013170" y="1203232"/>
                      </a:lnTo>
                      <a:lnTo>
                        <a:pt x="1012588" y="1203037"/>
                      </a:lnTo>
                      <a:lnTo>
                        <a:pt x="1011968" y="1202964"/>
                      </a:lnTo>
                      <a:lnTo>
                        <a:pt x="1008860" y="1202600"/>
                      </a:lnTo>
                      <a:lnTo>
                        <a:pt x="1008095" y="1202515"/>
                      </a:lnTo>
                      <a:lnTo>
                        <a:pt x="1007330" y="1202624"/>
                      </a:lnTo>
                      <a:lnTo>
                        <a:pt x="1003687" y="1203134"/>
                      </a:lnTo>
                      <a:lnTo>
                        <a:pt x="1003820" y="1202904"/>
                      </a:lnTo>
                      <a:lnTo>
                        <a:pt x="1004051" y="1202054"/>
                      </a:lnTo>
                      <a:lnTo>
                        <a:pt x="1004962" y="1198702"/>
                      </a:lnTo>
                      <a:lnTo>
                        <a:pt x="1005132" y="1198047"/>
                      </a:lnTo>
                      <a:lnTo>
                        <a:pt x="1005156" y="1197379"/>
                      </a:lnTo>
                      <a:lnTo>
                        <a:pt x="1005277" y="1194452"/>
                      </a:lnTo>
                      <a:lnTo>
                        <a:pt x="1005399" y="1193457"/>
                      </a:lnTo>
                      <a:lnTo>
                        <a:pt x="1015198" y="1185114"/>
                      </a:lnTo>
                      <a:lnTo>
                        <a:pt x="1015538" y="1184835"/>
                      </a:lnTo>
                      <a:lnTo>
                        <a:pt x="1015830" y="1184495"/>
                      </a:lnTo>
                      <a:lnTo>
                        <a:pt x="1018525" y="1181423"/>
                      </a:lnTo>
                      <a:lnTo>
                        <a:pt x="1019011" y="1180876"/>
                      </a:lnTo>
                      <a:lnTo>
                        <a:pt x="1019351" y="1180221"/>
                      </a:lnTo>
                      <a:lnTo>
                        <a:pt x="1020966" y="1177112"/>
                      </a:lnTo>
                      <a:lnTo>
                        <a:pt x="1021780" y="1175533"/>
                      </a:lnTo>
                      <a:lnTo>
                        <a:pt x="1021622" y="1173761"/>
                      </a:lnTo>
                      <a:lnTo>
                        <a:pt x="1021270" y="1169887"/>
                      </a:lnTo>
                      <a:lnTo>
                        <a:pt x="1021075" y="1167798"/>
                      </a:lnTo>
                      <a:lnTo>
                        <a:pt x="1019643" y="1166281"/>
                      </a:lnTo>
                      <a:lnTo>
                        <a:pt x="1017518" y="1164022"/>
                      </a:lnTo>
                      <a:lnTo>
                        <a:pt x="1016813" y="1163269"/>
                      </a:lnTo>
                      <a:lnTo>
                        <a:pt x="1015902" y="1162796"/>
                      </a:lnTo>
                      <a:lnTo>
                        <a:pt x="1012794" y="1161181"/>
                      </a:lnTo>
                      <a:lnTo>
                        <a:pt x="1012248" y="1160889"/>
                      </a:lnTo>
                      <a:lnTo>
                        <a:pt x="1011652" y="1160719"/>
                      </a:lnTo>
                      <a:lnTo>
                        <a:pt x="996583" y="1156445"/>
                      </a:lnTo>
                      <a:lnTo>
                        <a:pt x="996632" y="1156263"/>
                      </a:lnTo>
                      <a:lnTo>
                        <a:pt x="997057" y="1155328"/>
                      </a:lnTo>
                      <a:lnTo>
                        <a:pt x="1002400" y="1146451"/>
                      </a:lnTo>
                      <a:lnTo>
                        <a:pt x="1002606" y="1146111"/>
                      </a:lnTo>
                      <a:lnTo>
                        <a:pt x="1002764" y="1145747"/>
                      </a:lnTo>
                      <a:lnTo>
                        <a:pt x="1009430" y="1130410"/>
                      </a:lnTo>
                      <a:lnTo>
                        <a:pt x="1010001" y="1129099"/>
                      </a:lnTo>
                      <a:lnTo>
                        <a:pt x="1009916" y="1127654"/>
                      </a:lnTo>
                      <a:lnTo>
                        <a:pt x="1009795" y="1125517"/>
                      </a:lnTo>
                      <a:lnTo>
                        <a:pt x="1010863" y="1127824"/>
                      </a:lnTo>
                      <a:lnTo>
                        <a:pt x="1011106" y="1128334"/>
                      </a:lnTo>
                      <a:lnTo>
                        <a:pt x="1011422" y="1128795"/>
                      </a:lnTo>
                      <a:lnTo>
                        <a:pt x="1012794" y="1130726"/>
                      </a:lnTo>
                      <a:lnTo>
                        <a:pt x="1013522" y="1131746"/>
                      </a:lnTo>
                      <a:lnTo>
                        <a:pt x="1014603" y="1132402"/>
                      </a:lnTo>
                      <a:lnTo>
                        <a:pt x="1016728" y="1133689"/>
                      </a:lnTo>
                      <a:lnTo>
                        <a:pt x="1018028" y="1134478"/>
                      </a:lnTo>
                      <a:lnTo>
                        <a:pt x="1019545" y="1134563"/>
                      </a:lnTo>
                      <a:lnTo>
                        <a:pt x="1021670" y="1134673"/>
                      </a:lnTo>
                      <a:lnTo>
                        <a:pt x="1029381" y="1134369"/>
                      </a:lnTo>
                      <a:lnTo>
                        <a:pt x="1029891" y="1134345"/>
                      </a:lnTo>
                      <a:lnTo>
                        <a:pt x="1030389" y="1134248"/>
                      </a:lnTo>
                      <a:lnTo>
                        <a:pt x="1032854" y="1133725"/>
                      </a:lnTo>
                      <a:lnTo>
                        <a:pt x="1033534" y="1133580"/>
                      </a:lnTo>
                      <a:lnTo>
                        <a:pt x="1034166" y="1133288"/>
                      </a:lnTo>
                      <a:lnTo>
                        <a:pt x="1036509" y="1132195"/>
                      </a:lnTo>
                      <a:lnTo>
                        <a:pt x="1037056" y="1131940"/>
                      </a:lnTo>
                      <a:lnTo>
                        <a:pt x="1037541" y="1131588"/>
                      </a:lnTo>
                      <a:lnTo>
                        <a:pt x="1039848" y="1129900"/>
                      </a:lnTo>
                      <a:lnTo>
                        <a:pt x="1040638" y="1129317"/>
                      </a:lnTo>
                      <a:lnTo>
                        <a:pt x="1041208" y="1128528"/>
                      </a:lnTo>
                      <a:lnTo>
                        <a:pt x="1042763" y="1126342"/>
                      </a:lnTo>
                      <a:lnTo>
                        <a:pt x="1043625" y="1125128"/>
                      </a:lnTo>
                      <a:lnTo>
                        <a:pt x="1043831" y="1123659"/>
                      </a:lnTo>
                      <a:lnTo>
                        <a:pt x="1044341" y="1120016"/>
                      </a:lnTo>
                      <a:lnTo>
                        <a:pt x="1044426" y="1119409"/>
                      </a:lnTo>
                      <a:lnTo>
                        <a:pt x="1044390" y="1118790"/>
                      </a:lnTo>
                      <a:lnTo>
                        <a:pt x="1044244" y="1116507"/>
                      </a:lnTo>
                      <a:lnTo>
                        <a:pt x="1044305" y="1115220"/>
                      </a:lnTo>
                      <a:lnTo>
                        <a:pt x="1044657" y="1114066"/>
                      </a:lnTo>
                      <a:lnTo>
                        <a:pt x="1045823" y="1111492"/>
                      </a:lnTo>
                      <a:lnTo>
                        <a:pt x="1046284" y="1110472"/>
                      </a:lnTo>
                      <a:lnTo>
                        <a:pt x="1046345" y="1109354"/>
                      </a:lnTo>
                      <a:lnTo>
                        <a:pt x="1046503" y="1106562"/>
                      </a:lnTo>
                      <a:lnTo>
                        <a:pt x="1046612" y="1104728"/>
                      </a:lnTo>
                      <a:lnTo>
                        <a:pt x="1045689" y="1103149"/>
                      </a:lnTo>
                      <a:lnTo>
                        <a:pt x="1044718" y="1101486"/>
                      </a:lnTo>
                      <a:lnTo>
                        <a:pt x="1043953" y="1100174"/>
                      </a:lnTo>
                      <a:lnTo>
                        <a:pt x="1042666" y="1099373"/>
                      </a:lnTo>
                      <a:lnTo>
                        <a:pt x="1041233" y="1098487"/>
                      </a:lnTo>
                      <a:lnTo>
                        <a:pt x="1040031" y="1097746"/>
                      </a:lnTo>
                      <a:lnTo>
                        <a:pt x="1038622" y="1097612"/>
                      </a:lnTo>
                      <a:lnTo>
                        <a:pt x="1037080" y="1097467"/>
                      </a:lnTo>
                      <a:lnTo>
                        <a:pt x="1036303" y="1097394"/>
                      </a:lnTo>
                      <a:lnTo>
                        <a:pt x="1035526" y="1097515"/>
                      </a:lnTo>
                      <a:lnTo>
                        <a:pt x="1033740" y="1097807"/>
                      </a:lnTo>
                      <a:lnTo>
                        <a:pt x="1033425" y="1097855"/>
                      </a:lnTo>
                      <a:lnTo>
                        <a:pt x="1033109" y="1097940"/>
                      </a:lnTo>
                      <a:lnTo>
                        <a:pt x="1031700" y="1098329"/>
                      </a:lnTo>
                      <a:lnTo>
                        <a:pt x="1031227" y="1098389"/>
                      </a:lnTo>
                      <a:lnTo>
                        <a:pt x="1030280" y="1098195"/>
                      </a:lnTo>
                      <a:lnTo>
                        <a:pt x="1026406" y="1097017"/>
                      </a:lnTo>
                      <a:lnTo>
                        <a:pt x="1025860" y="1096860"/>
                      </a:lnTo>
                      <a:lnTo>
                        <a:pt x="1025289" y="1096799"/>
                      </a:lnTo>
                      <a:lnTo>
                        <a:pt x="1022350" y="1096507"/>
                      </a:lnTo>
                      <a:lnTo>
                        <a:pt x="1022023" y="1096483"/>
                      </a:lnTo>
                      <a:lnTo>
                        <a:pt x="1021695" y="1096483"/>
                      </a:lnTo>
                      <a:lnTo>
                        <a:pt x="1019618" y="1096507"/>
                      </a:lnTo>
                      <a:lnTo>
                        <a:pt x="1019800" y="1095572"/>
                      </a:lnTo>
                      <a:lnTo>
                        <a:pt x="1019861" y="1095220"/>
                      </a:lnTo>
                      <a:lnTo>
                        <a:pt x="1019885" y="1094868"/>
                      </a:lnTo>
                      <a:lnTo>
                        <a:pt x="1020055" y="1092512"/>
                      </a:lnTo>
                      <a:lnTo>
                        <a:pt x="1020080" y="1092148"/>
                      </a:lnTo>
                      <a:lnTo>
                        <a:pt x="1020068" y="1091784"/>
                      </a:lnTo>
                      <a:lnTo>
                        <a:pt x="1019958" y="1089574"/>
                      </a:lnTo>
                      <a:lnTo>
                        <a:pt x="1019934" y="1088918"/>
                      </a:lnTo>
                      <a:lnTo>
                        <a:pt x="1019764" y="1088286"/>
                      </a:lnTo>
                      <a:lnTo>
                        <a:pt x="1019120" y="1085882"/>
                      </a:lnTo>
                      <a:lnTo>
                        <a:pt x="1019035" y="1085554"/>
                      </a:lnTo>
                      <a:lnTo>
                        <a:pt x="1018902" y="1085239"/>
                      </a:lnTo>
                      <a:lnTo>
                        <a:pt x="1018392" y="1083939"/>
                      </a:lnTo>
                      <a:lnTo>
                        <a:pt x="1019655" y="1085299"/>
                      </a:lnTo>
                      <a:lnTo>
                        <a:pt x="1019983" y="1085652"/>
                      </a:lnTo>
                      <a:lnTo>
                        <a:pt x="1020359" y="1085943"/>
                      </a:lnTo>
                      <a:lnTo>
                        <a:pt x="1021792" y="1087072"/>
                      </a:lnTo>
                      <a:lnTo>
                        <a:pt x="1022435" y="1087582"/>
                      </a:lnTo>
                      <a:lnTo>
                        <a:pt x="1023188" y="1087898"/>
                      </a:lnTo>
                      <a:lnTo>
                        <a:pt x="1025022" y="1088675"/>
                      </a:lnTo>
                      <a:lnTo>
                        <a:pt x="1025556" y="1088906"/>
                      </a:lnTo>
                      <a:lnTo>
                        <a:pt x="1026115" y="1089027"/>
                      </a:lnTo>
                      <a:lnTo>
                        <a:pt x="1027511" y="1089331"/>
                      </a:lnTo>
                      <a:lnTo>
                        <a:pt x="1028313" y="1089671"/>
                      </a:lnTo>
                      <a:lnTo>
                        <a:pt x="1031931" y="1092172"/>
                      </a:lnTo>
                      <a:lnTo>
                        <a:pt x="1032332" y="1092452"/>
                      </a:lnTo>
                      <a:lnTo>
                        <a:pt x="1032769" y="1092670"/>
                      </a:lnTo>
                      <a:lnTo>
                        <a:pt x="1035538" y="1093982"/>
                      </a:lnTo>
                      <a:lnTo>
                        <a:pt x="1036145" y="1094273"/>
                      </a:lnTo>
                      <a:lnTo>
                        <a:pt x="1036800" y="1094419"/>
                      </a:lnTo>
                      <a:lnTo>
                        <a:pt x="1039569" y="1095050"/>
                      </a:lnTo>
                      <a:lnTo>
                        <a:pt x="1040456" y="1095244"/>
                      </a:lnTo>
                      <a:lnTo>
                        <a:pt x="1041354" y="1095184"/>
                      </a:lnTo>
                      <a:lnTo>
                        <a:pt x="1043928" y="1094989"/>
                      </a:lnTo>
                      <a:lnTo>
                        <a:pt x="1044572" y="1094941"/>
                      </a:lnTo>
                      <a:lnTo>
                        <a:pt x="1045191" y="1094759"/>
                      </a:lnTo>
                      <a:lnTo>
                        <a:pt x="1046685" y="1094322"/>
                      </a:lnTo>
                      <a:lnTo>
                        <a:pt x="1047486" y="1094091"/>
                      </a:lnTo>
                      <a:lnTo>
                        <a:pt x="1048191" y="1093654"/>
                      </a:lnTo>
                      <a:lnTo>
                        <a:pt x="1050255" y="1092366"/>
                      </a:lnTo>
                      <a:lnTo>
                        <a:pt x="1050643" y="1092124"/>
                      </a:lnTo>
                      <a:lnTo>
                        <a:pt x="1050996" y="1091832"/>
                      </a:lnTo>
                      <a:lnTo>
                        <a:pt x="1054541" y="1088809"/>
                      </a:lnTo>
                      <a:lnTo>
                        <a:pt x="1055197" y="1089112"/>
                      </a:lnTo>
                      <a:lnTo>
                        <a:pt x="1055586" y="1089294"/>
                      </a:lnTo>
                      <a:lnTo>
                        <a:pt x="1055999" y="1089428"/>
                      </a:lnTo>
                      <a:lnTo>
                        <a:pt x="1057213" y="1089804"/>
                      </a:lnTo>
                      <a:lnTo>
                        <a:pt x="1058087" y="1090072"/>
                      </a:lnTo>
                      <a:lnTo>
                        <a:pt x="1058998" y="1090072"/>
                      </a:lnTo>
                      <a:lnTo>
                        <a:pt x="1060188" y="1090072"/>
                      </a:lnTo>
                      <a:lnTo>
                        <a:pt x="1061487" y="1090072"/>
                      </a:lnTo>
                      <a:lnTo>
                        <a:pt x="1062677" y="1089537"/>
                      </a:lnTo>
                      <a:lnTo>
                        <a:pt x="1063891" y="1088991"/>
                      </a:lnTo>
                      <a:lnTo>
                        <a:pt x="1065118" y="1088444"/>
                      </a:lnTo>
                      <a:lnTo>
                        <a:pt x="1065992" y="1087437"/>
                      </a:lnTo>
                      <a:lnTo>
                        <a:pt x="1066854" y="1086441"/>
                      </a:lnTo>
                      <a:lnTo>
                        <a:pt x="1067401" y="1085797"/>
                      </a:lnTo>
                      <a:lnTo>
                        <a:pt x="1067765" y="1085044"/>
                      </a:lnTo>
                      <a:lnTo>
                        <a:pt x="1068566" y="1083344"/>
                      </a:lnTo>
                      <a:lnTo>
                        <a:pt x="1068919" y="1082592"/>
                      </a:lnTo>
                      <a:lnTo>
                        <a:pt x="1069052" y="1081766"/>
                      </a:lnTo>
                      <a:lnTo>
                        <a:pt x="1069793" y="1077309"/>
                      </a:lnTo>
                      <a:lnTo>
                        <a:pt x="1069890" y="1076702"/>
                      </a:lnTo>
                      <a:lnTo>
                        <a:pt x="1069866" y="1076083"/>
                      </a:lnTo>
                      <a:lnTo>
                        <a:pt x="1069635" y="1073533"/>
                      </a:lnTo>
                      <a:lnTo>
                        <a:pt x="1069623" y="1072962"/>
                      </a:lnTo>
                      <a:lnTo>
                        <a:pt x="1069489" y="1072404"/>
                      </a:lnTo>
                      <a:lnTo>
                        <a:pt x="1068287" y="1067206"/>
                      </a:lnTo>
                      <a:lnTo>
                        <a:pt x="1069489" y="1066186"/>
                      </a:lnTo>
                      <a:lnTo>
                        <a:pt x="1069817" y="1065907"/>
                      </a:lnTo>
                      <a:lnTo>
                        <a:pt x="1070109" y="1065579"/>
                      </a:lnTo>
                      <a:lnTo>
                        <a:pt x="1071141" y="1064413"/>
                      </a:lnTo>
                      <a:lnTo>
                        <a:pt x="1071396" y="1064134"/>
                      </a:lnTo>
                      <a:lnTo>
                        <a:pt x="1071614" y="1063831"/>
                      </a:lnTo>
                      <a:lnTo>
                        <a:pt x="1072307" y="1062823"/>
                      </a:lnTo>
                      <a:lnTo>
                        <a:pt x="1072610" y="1062373"/>
                      </a:lnTo>
                      <a:lnTo>
                        <a:pt x="1072829" y="1061888"/>
                      </a:lnTo>
                      <a:lnTo>
                        <a:pt x="1073339" y="1060771"/>
                      </a:lnTo>
                      <a:lnTo>
                        <a:pt x="1073557" y="1060297"/>
                      </a:lnTo>
                      <a:lnTo>
                        <a:pt x="1073691" y="1059799"/>
                      </a:lnTo>
                      <a:lnTo>
                        <a:pt x="1073946" y="1058828"/>
                      </a:lnTo>
                      <a:lnTo>
                        <a:pt x="1082252" y="1059763"/>
                      </a:lnTo>
                      <a:lnTo>
                        <a:pt x="1088214" y="1059896"/>
                      </a:lnTo>
                      <a:lnTo>
                        <a:pt x="1088979" y="1059909"/>
                      </a:lnTo>
                      <a:lnTo>
                        <a:pt x="1089732" y="1059726"/>
                      </a:lnTo>
                      <a:lnTo>
                        <a:pt x="1094103" y="1058694"/>
                      </a:lnTo>
                      <a:lnTo>
                        <a:pt x="1093532" y="1059811"/>
                      </a:lnTo>
                      <a:lnTo>
                        <a:pt x="1092646" y="1061548"/>
                      </a:lnTo>
                      <a:lnTo>
                        <a:pt x="1092937" y="1063478"/>
                      </a:lnTo>
                      <a:lnTo>
                        <a:pt x="1093217" y="1065397"/>
                      </a:lnTo>
                      <a:lnTo>
                        <a:pt x="1093338" y="1066174"/>
                      </a:lnTo>
                      <a:lnTo>
                        <a:pt x="1093654" y="1066903"/>
                      </a:lnTo>
                      <a:lnTo>
                        <a:pt x="1093945" y="1067571"/>
                      </a:lnTo>
                      <a:lnTo>
                        <a:pt x="1094115" y="1067959"/>
                      </a:lnTo>
                      <a:lnTo>
                        <a:pt x="1094297" y="1068251"/>
                      </a:lnTo>
                      <a:lnTo>
                        <a:pt x="1093520" y="1068141"/>
                      </a:lnTo>
                      <a:lnTo>
                        <a:pt x="1092282" y="1067971"/>
                      </a:lnTo>
                      <a:lnTo>
                        <a:pt x="1091079" y="1068299"/>
                      </a:lnTo>
                      <a:lnTo>
                        <a:pt x="1089817" y="1068639"/>
                      </a:lnTo>
                      <a:lnTo>
                        <a:pt x="1087886" y="1069161"/>
                      </a:lnTo>
                      <a:lnTo>
                        <a:pt x="1086647" y="1070728"/>
                      </a:lnTo>
                      <a:lnTo>
                        <a:pt x="1085955" y="1071602"/>
                      </a:lnTo>
                      <a:lnTo>
                        <a:pt x="1085494" y="1072185"/>
                      </a:lnTo>
                      <a:lnTo>
                        <a:pt x="1085190" y="1072877"/>
                      </a:lnTo>
                      <a:lnTo>
                        <a:pt x="1084729" y="1073909"/>
                      </a:lnTo>
                      <a:lnTo>
                        <a:pt x="1084389" y="1074662"/>
                      </a:lnTo>
                      <a:lnTo>
                        <a:pt x="1084267" y="1075464"/>
                      </a:lnTo>
                      <a:lnTo>
                        <a:pt x="1084037" y="1076957"/>
                      </a:lnTo>
                      <a:lnTo>
                        <a:pt x="1083976" y="1077370"/>
                      </a:lnTo>
                      <a:lnTo>
                        <a:pt x="1082567" y="1076884"/>
                      </a:lnTo>
                      <a:lnTo>
                        <a:pt x="1080272" y="1076083"/>
                      </a:lnTo>
                      <a:lnTo>
                        <a:pt x="1078050" y="1077091"/>
                      </a:lnTo>
                      <a:lnTo>
                        <a:pt x="1076787" y="1077674"/>
                      </a:lnTo>
                      <a:lnTo>
                        <a:pt x="1074857" y="1078597"/>
                      </a:lnTo>
                      <a:lnTo>
                        <a:pt x="1073897" y="1080479"/>
                      </a:lnTo>
                      <a:lnTo>
                        <a:pt x="1073205" y="1081826"/>
                      </a:lnTo>
                      <a:lnTo>
                        <a:pt x="1072440" y="1083344"/>
                      </a:lnTo>
                      <a:lnTo>
                        <a:pt x="1072561" y="1085032"/>
                      </a:lnTo>
                      <a:lnTo>
                        <a:pt x="1072683" y="1086672"/>
                      </a:lnTo>
                      <a:lnTo>
                        <a:pt x="1072744" y="1087534"/>
                      </a:lnTo>
                      <a:lnTo>
                        <a:pt x="1073047" y="1088347"/>
                      </a:lnTo>
                      <a:lnTo>
                        <a:pt x="1073849" y="1090497"/>
                      </a:lnTo>
                      <a:lnTo>
                        <a:pt x="1074055" y="1091055"/>
                      </a:lnTo>
                      <a:lnTo>
                        <a:pt x="1074359" y="1091565"/>
                      </a:lnTo>
                      <a:lnTo>
                        <a:pt x="1076763" y="1095463"/>
                      </a:lnTo>
                      <a:lnTo>
                        <a:pt x="1077358" y="1096738"/>
                      </a:lnTo>
                      <a:lnTo>
                        <a:pt x="1077504" y="1097406"/>
                      </a:lnTo>
                      <a:lnTo>
                        <a:pt x="1074444" y="1099774"/>
                      </a:lnTo>
                      <a:lnTo>
                        <a:pt x="1073545" y="1100478"/>
                      </a:lnTo>
                      <a:lnTo>
                        <a:pt x="1072962" y="1101462"/>
                      </a:lnTo>
                      <a:lnTo>
                        <a:pt x="1071627" y="1103696"/>
                      </a:lnTo>
                      <a:lnTo>
                        <a:pt x="1070995" y="1104740"/>
                      </a:lnTo>
                      <a:lnTo>
                        <a:pt x="1070825" y="1105954"/>
                      </a:lnTo>
                      <a:lnTo>
                        <a:pt x="1070485" y="1108371"/>
                      </a:lnTo>
                      <a:lnTo>
                        <a:pt x="1070315" y="1109525"/>
                      </a:lnTo>
                      <a:lnTo>
                        <a:pt x="1070594" y="1110666"/>
                      </a:lnTo>
                      <a:lnTo>
                        <a:pt x="1071177" y="1113070"/>
                      </a:lnTo>
                      <a:lnTo>
                        <a:pt x="1071432" y="1114127"/>
                      </a:lnTo>
                      <a:lnTo>
                        <a:pt x="1072039" y="1115037"/>
                      </a:lnTo>
                      <a:lnTo>
                        <a:pt x="1073351" y="1116968"/>
                      </a:lnTo>
                      <a:lnTo>
                        <a:pt x="1073739" y="1117527"/>
                      </a:lnTo>
                      <a:lnTo>
                        <a:pt x="1074249" y="1118000"/>
                      </a:lnTo>
                      <a:lnTo>
                        <a:pt x="1076156" y="1119773"/>
                      </a:lnTo>
                      <a:lnTo>
                        <a:pt x="1076581" y="1120162"/>
                      </a:lnTo>
                      <a:lnTo>
                        <a:pt x="1077067" y="1120465"/>
                      </a:lnTo>
                      <a:lnTo>
                        <a:pt x="1079252" y="1121837"/>
                      </a:lnTo>
                      <a:lnTo>
                        <a:pt x="1080042" y="1122335"/>
                      </a:lnTo>
                      <a:lnTo>
                        <a:pt x="1080952" y="1122578"/>
                      </a:lnTo>
                      <a:lnTo>
                        <a:pt x="1084170" y="1123416"/>
                      </a:lnTo>
                      <a:lnTo>
                        <a:pt x="1084838" y="1123586"/>
                      </a:lnTo>
                      <a:lnTo>
                        <a:pt x="1085530" y="1123610"/>
                      </a:lnTo>
                      <a:lnTo>
                        <a:pt x="1089549" y="1123732"/>
                      </a:lnTo>
                      <a:lnTo>
                        <a:pt x="1089987" y="1123744"/>
                      </a:lnTo>
                      <a:lnTo>
                        <a:pt x="1090412" y="1123695"/>
                      </a:lnTo>
                      <a:lnTo>
                        <a:pt x="1097297" y="1122918"/>
                      </a:lnTo>
                      <a:lnTo>
                        <a:pt x="1101753" y="1122845"/>
                      </a:lnTo>
                      <a:lnTo>
                        <a:pt x="1106890" y="1123683"/>
                      </a:lnTo>
                      <a:lnTo>
                        <a:pt x="1114940" y="1126488"/>
                      </a:lnTo>
                      <a:lnTo>
                        <a:pt x="1115511" y="1126682"/>
                      </a:lnTo>
                      <a:lnTo>
                        <a:pt x="1116106" y="1126768"/>
                      </a:lnTo>
                      <a:lnTo>
                        <a:pt x="1121558" y="1127520"/>
                      </a:lnTo>
                      <a:lnTo>
                        <a:pt x="1122190" y="1127605"/>
                      </a:lnTo>
                      <a:lnTo>
                        <a:pt x="1122833" y="1127557"/>
                      </a:lnTo>
                      <a:lnTo>
                        <a:pt x="1128759" y="1127120"/>
                      </a:lnTo>
                      <a:lnTo>
                        <a:pt x="1129245" y="1127083"/>
                      </a:lnTo>
                      <a:lnTo>
                        <a:pt x="1129718" y="1126974"/>
                      </a:lnTo>
                      <a:lnTo>
                        <a:pt x="1148273" y="1122602"/>
                      </a:lnTo>
                      <a:lnTo>
                        <a:pt x="1156761" y="1122275"/>
                      </a:lnTo>
                      <a:lnTo>
                        <a:pt x="1157331" y="1122250"/>
                      </a:lnTo>
                      <a:lnTo>
                        <a:pt x="1157878" y="1122129"/>
                      </a:lnTo>
                      <a:lnTo>
                        <a:pt x="1167349" y="1119955"/>
                      </a:lnTo>
                      <a:lnTo>
                        <a:pt x="1168199" y="1119761"/>
                      </a:lnTo>
                      <a:lnTo>
                        <a:pt x="1168964" y="1119324"/>
                      </a:lnTo>
                      <a:lnTo>
                        <a:pt x="1181350" y="1112354"/>
                      </a:lnTo>
                      <a:lnTo>
                        <a:pt x="1182734" y="1111880"/>
                      </a:lnTo>
                      <a:lnTo>
                        <a:pt x="1183827" y="1111832"/>
                      </a:lnTo>
                      <a:lnTo>
                        <a:pt x="1184046" y="1111880"/>
                      </a:lnTo>
                      <a:lnTo>
                        <a:pt x="1184422" y="1112135"/>
                      </a:lnTo>
                      <a:lnTo>
                        <a:pt x="1186329" y="1113908"/>
                      </a:lnTo>
                      <a:lnTo>
                        <a:pt x="1191198" y="1120720"/>
                      </a:lnTo>
                      <a:lnTo>
                        <a:pt x="1191684" y="1122712"/>
                      </a:lnTo>
                      <a:lnTo>
                        <a:pt x="1191647" y="1123331"/>
                      </a:lnTo>
                      <a:lnTo>
                        <a:pt x="1191210" y="1124509"/>
                      </a:lnTo>
                      <a:lnTo>
                        <a:pt x="1190822" y="1125529"/>
                      </a:lnTo>
                      <a:lnTo>
                        <a:pt x="1190822" y="1126622"/>
                      </a:lnTo>
                      <a:lnTo>
                        <a:pt x="1190822" y="1128856"/>
                      </a:lnTo>
                      <a:lnTo>
                        <a:pt x="1190822" y="1130228"/>
                      </a:lnTo>
                      <a:lnTo>
                        <a:pt x="1191417" y="1131467"/>
                      </a:lnTo>
                      <a:lnTo>
                        <a:pt x="1192619" y="1133993"/>
                      </a:lnTo>
                      <a:lnTo>
                        <a:pt x="1193080" y="1134952"/>
                      </a:lnTo>
                      <a:lnTo>
                        <a:pt x="1193833" y="1135705"/>
                      </a:lnTo>
                      <a:lnTo>
                        <a:pt x="1197342" y="1139178"/>
                      </a:lnTo>
                      <a:lnTo>
                        <a:pt x="1201386" y="1144071"/>
                      </a:lnTo>
                      <a:lnTo>
                        <a:pt x="1202272" y="1158667"/>
                      </a:lnTo>
                      <a:lnTo>
                        <a:pt x="1202199" y="1159869"/>
                      </a:lnTo>
                      <a:lnTo>
                        <a:pt x="1202029" y="1160185"/>
                      </a:lnTo>
                      <a:lnTo>
                        <a:pt x="1201410" y="1161035"/>
                      </a:lnTo>
                      <a:lnTo>
                        <a:pt x="1201362" y="1161071"/>
                      </a:lnTo>
                      <a:lnTo>
                        <a:pt x="1196262" y="1157635"/>
                      </a:lnTo>
                      <a:lnTo>
                        <a:pt x="1195132" y="1156870"/>
                      </a:lnTo>
                      <a:lnTo>
                        <a:pt x="1193784" y="1156663"/>
                      </a:lnTo>
                      <a:lnTo>
                        <a:pt x="1190979" y="1156238"/>
                      </a:lnTo>
                      <a:lnTo>
                        <a:pt x="1189729" y="1156044"/>
                      </a:lnTo>
                      <a:lnTo>
                        <a:pt x="1188514" y="1156360"/>
                      </a:lnTo>
                      <a:lnTo>
                        <a:pt x="1186329" y="1156931"/>
                      </a:lnTo>
                      <a:lnTo>
                        <a:pt x="1184884" y="1157307"/>
                      </a:lnTo>
                      <a:lnTo>
                        <a:pt x="1183779" y="1158315"/>
                      </a:lnTo>
                      <a:lnTo>
                        <a:pt x="1181641" y="1160270"/>
                      </a:lnTo>
                      <a:lnTo>
                        <a:pt x="1180949" y="1160901"/>
                      </a:lnTo>
                      <a:lnTo>
                        <a:pt x="1180476" y="1161703"/>
                      </a:lnTo>
                      <a:lnTo>
                        <a:pt x="1178764" y="1164641"/>
                      </a:lnTo>
                      <a:lnTo>
                        <a:pt x="1178436" y="1165212"/>
                      </a:lnTo>
                      <a:lnTo>
                        <a:pt x="1178229" y="1165844"/>
                      </a:lnTo>
                      <a:lnTo>
                        <a:pt x="1176384" y="1171575"/>
                      </a:lnTo>
                      <a:lnTo>
                        <a:pt x="1176141" y="1172328"/>
                      </a:lnTo>
                      <a:lnTo>
                        <a:pt x="1176104" y="1173129"/>
                      </a:lnTo>
                      <a:lnTo>
                        <a:pt x="1175946" y="1176323"/>
                      </a:lnTo>
                      <a:lnTo>
                        <a:pt x="1175910" y="1177100"/>
                      </a:lnTo>
                      <a:lnTo>
                        <a:pt x="1176068" y="1177865"/>
                      </a:lnTo>
                      <a:lnTo>
                        <a:pt x="1176626" y="1180536"/>
                      </a:lnTo>
                      <a:lnTo>
                        <a:pt x="1177294" y="1182722"/>
                      </a:lnTo>
                      <a:lnTo>
                        <a:pt x="1178266" y="1190639"/>
                      </a:lnTo>
                      <a:lnTo>
                        <a:pt x="1178339" y="1191234"/>
                      </a:lnTo>
                      <a:lnTo>
                        <a:pt x="1178521" y="1191805"/>
                      </a:lnTo>
                      <a:lnTo>
                        <a:pt x="1179504" y="1194792"/>
                      </a:lnTo>
                      <a:lnTo>
                        <a:pt x="1179869" y="1195909"/>
                      </a:lnTo>
                      <a:lnTo>
                        <a:pt x="1180621" y="1196808"/>
                      </a:lnTo>
                      <a:lnTo>
                        <a:pt x="1181994" y="1198447"/>
                      </a:lnTo>
                      <a:lnTo>
                        <a:pt x="1182710" y="1199297"/>
                      </a:lnTo>
                      <a:lnTo>
                        <a:pt x="1183681" y="1199844"/>
                      </a:lnTo>
                      <a:lnTo>
                        <a:pt x="1185637" y="1200937"/>
                      </a:lnTo>
                      <a:lnTo>
                        <a:pt x="1186074" y="1201179"/>
                      </a:lnTo>
                      <a:lnTo>
                        <a:pt x="1186559" y="1201349"/>
                      </a:lnTo>
                      <a:lnTo>
                        <a:pt x="1188308" y="1201969"/>
                      </a:lnTo>
                      <a:lnTo>
                        <a:pt x="1188733" y="1202187"/>
                      </a:lnTo>
                      <a:lnTo>
                        <a:pt x="1188988" y="1203268"/>
                      </a:lnTo>
                      <a:lnTo>
                        <a:pt x="1188818" y="1205575"/>
                      </a:lnTo>
                      <a:lnTo>
                        <a:pt x="1188017" y="1207858"/>
                      </a:lnTo>
                      <a:lnTo>
                        <a:pt x="1182018" y="1214986"/>
                      </a:lnTo>
                      <a:lnTo>
                        <a:pt x="1181544" y="1215545"/>
                      </a:lnTo>
                      <a:lnTo>
                        <a:pt x="1181217" y="1216200"/>
                      </a:lnTo>
                      <a:lnTo>
                        <a:pt x="1179104" y="1220475"/>
                      </a:lnTo>
                      <a:lnTo>
                        <a:pt x="1178569" y="1221555"/>
                      </a:lnTo>
                      <a:lnTo>
                        <a:pt x="1178484" y="1222757"/>
                      </a:lnTo>
                      <a:lnTo>
                        <a:pt x="1178241" y="1226376"/>
                      </a:lnTo>
                      <a:lnTo>
                        <a:pt x="1178181" y="1227384"/>
                      </a:lnTo>
                      <a:lnTo>
                        <a:pt x="1178436" y="1228355"/>
                      </a:lnTo>
                      <a:lnTo>
                        <a:pt x="1179419" y="1232035"/>
                      </a:lnTo>
                      <a:lnTo>
                        <a:pt x="1179796" y="1233431"/>
                      </a:lnTo>
                      <a:lnTo>
                        <a:pt x="1180755" y="1234512"/>
                      </a:lnTo>
                      <a:lnTo>
                        <a:pt x="1182929" y="1236952"/>
                      </a:lnTo>
                      <a:lnTo>
                        <a:pt x="1183609" y="1237717"/>
                      </a:lnTo>
                      <a:lnTo>
                        <a:pt x="1184507" y="1238215"/>
                      </a:lnTo>
                      <a:lnTo>
                        <a:pt x="1188806" y="1240620"/>
                      </a:lnTo>
                      <a:lnTo>
                        <a:pt x="1188551" y="1240996"/>
                      </a:lnTo>
                      <a:lnTo>
                        <a:pt x="1183694" y="1245477"/>
                      </a:lnTo>
                      <a:lnTo>
                        <a:pt x="1183159" y="1245975"/>
                      </a:lnTo>
                      <a:lnTo>
                        <a:pt x="1182759" y="1246570"/>
                      </a:lnTo>
                      <a:lnTo>
                        <a:pt x="1180111" y="1250528"/>
                      </a:lnTo>
                      <a:lnTo>
                        <a:pt x="1178921" y="1252665"/>
                      </a:lnTo>
                      <a:lnTo>
                        <a:pt x="1178229" y="1252071"/>
                      </a:lnTo>
                      <a:lnTo>
                        <a:pt x="1177319" y="1251293"/>
                      </a:lnTo>
                      <a:lnTo>
                        <a:pt x="1176177" y="1250917"/>
                      </a:lnTo>
                      <a:lnTo>
                        <a:pt x="1174380" y="1250322"/>
                      </a:lnTo>
                      <a:lnTo>
                        <a:pt x="1172814" y="1249800"/>
                      </a:lnTo>
                      <a:lnTo>
                        <a:pt x="1171199" y="1250140"/>
                      </a:lnTo>
                      <a:lnTo>
                        <a:pt x="1169195" y="1250565"/>
                      </a:lnTo>
                      <a:lnTo>
                        <a:pt x="1167653" y="1250893"/>
                      </a:lnTo>
                      <a:lnTo>
                        <a:pt x="1166463" y="1251925"/>
                      </a:lnTo>
                      <a:lnTo>
                        <a:pt x="1162079" y="1255750"/>
                      </a:lnTo>
                      <a:lnTo>
                        <a:pt x="1161933" y="1255798"/>
                      </a:lnTo>
                      <a:lnTo>
                        <a:pt x="1161836" y="1255798"/>
                      </a:lnTo>
                      <a:lnTo>
                        <a:pt x="1161581" y="1255713"/>
                      </a:lnTo>
                      <a:lnTo>
                        <a:pt x="1160076" y="1254451"/>
                      </a:lnTo>
                      <a:lnTo>
                        <a:pt x="1159602" y="1254050"/>
                      </a:lnTo>
                      <a:lnTo>
                        <a:pt x="1159056" y="1253758"/>
                      </a:lnTo>
                      <a:lnTo>
                        <a:pt x="1157659" y="1253005"/>
                      </a:lnTo>
                      <a:lnTo>
                        <a:pt x="1157028" y="1252665"/>
                      </a:lnTo>
                      <a:lnTo>
                        <a:pt x="1156323" y="1252483"/>
                      </a:lnTo>
                      <a:lnTo>
                        <a:pt x="1154271" y="1251949"/>
                      </a:lnTo>
                      <a:lnTo>
                        <a:pt x="1154077" y="1251840"/>
                      </a:lnTo>
                      <a:lnTo>
                        <a:pt x="1151126" y="1249314"/>
                      </a:lnTo>
                      <a:lnTo>
                        <a:pt x="1150811" y="1249047"/>
                      </a:lnTo>
                      <a:lnTo>
                        <a:pt x="1150458" y="1248816"/>
                      </a:lnTo>
                      <a:lnTo>
                        <a:pt x="1148625" y="1247650"/>
                      </a:lnTo>
                      <a:lnTo>
                        <a:pt x="1147544" y="1246946"/>
                      </a:lnTo>
                      <a:lnTo>
                        <a:pt x="1146269" y="1246752"/>
                      </a:lnTo>
                      <a:lnTo>
                        <a:pt x="1144484" y="1246485"/>
                      </a:lnTo>
                      <a:lnTo>
                        <a:pt x="1143258" y="1246303"/>
                      </a:lnTo>
                      <a:lnTo>
                        <a:pt x="1142068" y="1246606"/>
                      </a:lnTo>
                      <a:lnTo>
                        <a:pt x="1140987" y="1246885"/>
                      </a:lnTo>
                      <a:lnTo>
                        <a:pt x="1140319" y="1247055"/>
                      </a:lnTo>
                      <a:lnTo>
                        <a:pt x="1139700" y="1247371"/>
                      </a:lnTo>
                      <a:lnTo>
                        <a:pt x="1137696" y="1248415"/>
                      </a:lnTo>
                      <a:lnTo>
                        <a:pt x="1135778" y="1249411"/>
                      </a:lnTo>
                      <a:lnTo>
                        <a:pt x="1134928" y="1251391"/>
                      </a:lnTo>
                      <a:lnTo>
                        <a:pt x="1133252" y="1255252"/>
                      </a:lnTo>
                      <a:lnTo>
                        <a:pt x="1130313" y="1259915"/>
                      </a:lnTo>
                      <a:lnTo>
                        <a:pt x="1129160" y="1261736"/>
                      </a:lnTo>
                      <a:lnTo>
                        <a:pt x="1129415" y="1263873"/>
                      </a:lnTo>
                      <a:lnTo>
                        <a:pt x="1129633" y="1265707"/>
                      </a:lnTo>
                      <a:lnTo>
                        <a:pt x="1130180" y="1273321"/>
                      </a:lnTo>
                      <a:lnTo>
                        <a:pt x="1130277" y="1274717"/>
                      </a:lnTo>
                      <a:lnTo>
                        <a:pt x="1130981" y="1275931"/>
                      </a:lnTo>
                      <a:lnTo>
                        <a:pt x="1133058" y="1279526"/>
                      </a:lnTo>
                      <a:lnTo>
                        <a:pt x="1133531" y="1280339"/>
                      </a:lnTo>
                      <a:lnTo>
                        <a:pt x="1134235" y="1280983"/>
                      </a:lnTo>
                      <a:lnTo>
                        <a:pt x="1135377" y="1282015"/>
                      </a:lnTo>
                      <a:lnTo>
                        <a:pt x="1135632" y="1282233"/>
                      </a:lnTo>
                      <a:lnTo>
                        <a:pt x="1135887" y="1282428"/>
                      </a:lnTo>
                      <a:lnTo>
                        <a:pt x="1139044" y="1284723"/>
                      </a:lnTo>
                      <a:lnTo>
                        <a:pt x="1139299" y="1284905"/>
                      </a:lnTo>
                      <a:lnTo>
                        <a:pt x="1139566" y="1285063"/>
                      </a:lnTo>
                      <a:lnTo>
                        <a:pt x="1148321" y="1290114"/>
                      </a:lnTo>
                      <a:lnTo>
                        <a:pt x="1148710" y="1291049"/>
                      </a:lnTo>
                      <a:lnTo>
                        <a:pt x="1148880" y="1293854"/>
                      </a:lnTo>
                      <a:lnTo>
                        <a:pt x="1148928" y="1294753"/>
                      </a:lnTo>
                      <a:lnTo>
                        <a:pt x="1149232" y="1295591"/>
                      </a:lnTo>
                      <a:lnTo>
                        <a:pt x="1150543" y="1299173"/>
                      </a:lnTo>
                      <a:lnTo>
                        <a:pt x="1151843" y="1302719"/>
                      </a:lnTo>
                      <a:lnTo>
                        <a:pt x="1155595" y="1303119"/>
                      </a:lnTo>
                      <a:lnTo>
                        <a:pt x="1162832" y="1303896"/>
                      </a:lnTo>
                      <a:lnTo>
                        <a:pt x="1164726" y="1304334"/>
                      </a:lnTo>
                      <a:lnTo>
                        <a:pt x="1165807" y="1304868"/>
                      </a:lnTo>
                      <a:lnTo>
                        <a:pt x="1168831" y="1307345"/>
                      </a:lnTo>
                      <a:lnTo>
                        <a:pt x="1170264" y="1308523"/>
                      </a:lnTo>
                      <a:lnTo>
                        <a:pt x="1172109" y="1308693"/>
                      </a:lnTo>
                      <a:lnTo>
                        <a:pt x="1173664" y="1308839"/>
                      </a:lnTo>
                      <a:lnTo>
                        <a:pt x="1175728" y="1309045"/>
                      </a:lnTo>
                      <a:lnTo>
                        <a:pt x="1177489" y="1307928"/>
                      </a:lnTo>
                      <a:lnTo>
                        <a:pt x="1178751" y="1307127"/>
                      </a:lnTo>
                      <a:lnTo>
                        <a:pt x="1180160" y="1306228"/>
                      </a:lnTo>
                      <a:lnTo>
                        <a:pt x="1180913" y="1304734"/>
                      </a:lnTo>
                      <a:lnTo>
                        <a:pt x="1181945" y="1302694"/>
                      </a:lnTo>
                      <a:lnTo>
                        <a:pt x="1182237" y="1302124"/>
                      </a:lnTo>
                      <a:lnTo>
                        <a:pt x="1182394" y="1301504"/>
                      </a:lnTo>
                      <a:lnTo>
                        <a:pt x="1182904" y="1299574"/>
                      </a:lnTo>
                      <a:lnTo>
                        <a:pt x="1183329" y="1297145"/>
                      </a:lnTo>
                      <a:lnTo>
                        <a:pt x="1183463" y="1296599"/>
                      </a:lnTo>
                      <a:lnTo>
                        <a:pt x="1185940" y="1291729"/>
                      </a:lnTo>
                      <a:lnTo>
                        <a:pt x="1186304" y="1291013"/>
                      </a:lnTo>
                      <a:lnTo>
                        <a:pt x="1186474" y="1290236"/>
                      </a:lnTo>
                      <a:lnTo>
                        <a:pt x="1186632" y="1289459"/>
                      </a:lnTo>
                      <a:lnTo>
                        <a:pt x="1187167" y="1289993"/>
                      </a:lnTo>
                      <a:lnTo>
                        <a:pt x="1189389" y="1290187"/>
                      </a:lnTo>
                      <a:lnTo>
                        <a:pt x="1192376" y="1290442"/>
                      </a:lnTo>
                      <a:lnTo>
                        <a:pt x="1193444" y="1290539"/>
                      </a:lnTo>
                      <a:lnTo>
                        <a:pt x="1194477" y="1290260"/>
                      </a:lnTo>
                      <a:lnTo>
                        <a:pt x="1198204" y="1289252"/>
                      </a:lnTo>
                      <a:lnTo>
                        <a:pt x="1198872" y="1289070"/>
                      </a:lnTo>
                      <a:lnTo>
                        <a:pt x="1199479" y="1288742"/>
                      </a:lnTo>
                      <a:lnTo>
                        <a:pt x="1205490" y="1285524"/>
                      </a:lnTo>
                      <a:lnTo>
                        <a:pt x="1214537" y="1283011"/>
                      </a:lnTo>
                      <a:lnTo>
                        <a:pt x="1215168" y="1282828"/>
                      </a:lnTo>
                      <a:lnTo>
                        <a:pt x="1215739" y="1282525"/>
                      </a:lnTo>
                      <a:lnTo>
                        <a:pt x="1229643" y="1275179"/>
                      </a:lnTo>
                      <a:lnTo>
                        <a:pt x="1230104" y="1274936"/>
                      </a:lnTo>
                      <a:lnTo>
                        <a:pt x="1230505" y="1274620"/>
                      </a:lnTo>
                      <a:lnTo>
                        <a:pt x="1232982" y="1272726"/>
                      </a:lnTo>
                      <a:lnTo>
                        <a:pt x="1233844" y="1272070"/>
                      </a:lnTo>
                      <a:lnTo>
                        <a:pt x="1234427" y="1271159"/>
                      </a:lnTo>
                      <a:lnTo>
                        <a:pt x="1235860" y="1268888"/>
                      </a:lnTo>
                      <a:lnTo>
                        <a:pt x="1236078" y="1268536"/>
                      </a:lnTo>
                      <a:lnTo>
                        <a:pt x="1236248" y="1268172"/>
                      </a:lnTo>
                      <a:lnTo>
                        <a:pt x="1236940" y="1266654"/>
                      </a:lnTo>
                      <a:lnTo>
                        <a:pt x="1237135" y="1266241"/>
                      </a:lnTo>
                      <a:lnTo>
                        <a:pt x="1237256" y="1265804"/>
                      </a:lnTo>
                      <a:lnTo>
                        <a:pt x="1237827" y="1263825"/>
                      </a:lnTo>
                      <a:lnTo>
                        <a:pt x="1238094" y="1262623"/>
                      </a:lnTo>
                      <a:lnTo>
                        <a:pt x="1238313" y="1261615"/>
                      </a:lnTo>
                      <a:lnTo>
                        <a:pt x="1238179" y="1260595"/>
                      </a:lnTo>
                      <a:lnTo>
                        <a:pt x="1238118" y="1260073"/>
                      </a:lnTo>
                      <a:lnTo>
                        <a:pt x="1237900" y="1259053"/>
                      </a:lnTo>
                      <a:lnTo>
                        <a:pt x="1237681" y="1258360"/>
                      </a:lnTo>
                      <a:lnTo>
                        <a:pt x="1237244" y="1256952"/>
                      </a:lnTo>
                      <a:lnTo>
                        <a:pt x="1236224" y="1255908"/>
                      </a:lnTo>
                      <a:lnTo>
                        <a:pt x="1235763" y="1255434"/>
                      </a:lnTo>
                      <a:lnTo>
                        <a:pt x="1250528" y="1246679"/>
                      </a:lnTo>
                      <a:lnTo>
                        <a:pt x="1251354" y="1246181"/>
                      </a:lnTo>
                      <a:lnTo>
                        <a:pt x="1251986" y="1245453"/>
                      </a:lnTo>
                      <a:lnTo>
                        <a:pt x="1258251" y="1238325"/>
                      </a:lnTo>
                      <a:lnTo>
                        <a:pt x="1259453" y="1236952"/>
                      </a:lnTo>
                      <a:lnTo>
                        <a:pt x="1259708" y="1235155"/>
                      </a:lnTo>
                      <a:lnTo>
                        <a:pt x="1260158" y="1231913"/>
                      </a:lnTo>
                      <a:lnTo>
                        <a:pt x="1260218" y="1231500"/>
                      </a:lnTo>
                      <a:lnTo>
                        <a:pt x="1260218" y="1231075"/>
                      </a:lnTo>
                      <a:lnTo>
                        <a:pt x="1260218" y="1229157"/>
                      </a:lnTo>
                      <a:lnTo>
                        <a:pt x="1260218" y="1228780"/>
                      </a:lnTo>
                      <a:lnTo>
                        <a:pt x="1260170" y="1228404"/>
                      </a:lnTo>
                      <a:lnTo>
                        <a:pt x="1259648" y="1224117"/>
                      </a:lnTo>
                      <a:lnTo>
                        <a:pt x="1259648" y="1221968"/>
                      </a:lnTo>
                      <a:lnTo>
                        <a:pt x="1260255" y="1215411"/>
                      </a:lnTo>
                      <a:lnTo>
                        <a:pt x="1260316" y="1214743"/>
                      </a:lnTo>
                      <a:lnTo>
                        <a:pt x="1260231" y="1214075"/>
                      </a:lnTo>
                      <a:lnTo>
                        <a:pt x="1259806" y="1210784"/>
                      </a:lnTo>
                      <a:lnTo>
                        <a:pt x="1259878" y="1209862"/>
                      </a:lnTo>
                      <a:lnTo>
                        <a:pt x="1260753" y="1206194"/>
                      </a:lnTo>
                      <a:lnTo>
                        <a:pt x="1260886" y="1205624"/>
                      </a:lnTo>
                      <a:lnTo>
                        <a:pt x="1260911" y="1205029"/>
                      </a:lnTo>
                      <a:lnTo>
                        <a:pt x="1261117" y="1199892"/>
                      </a:lnTo>
                      <a:lnTo>
                        <a:pt x="1261190" y="1199649"/>
                      </a:lnTo>
                      <a:lnTo>
                        <a:pt x="1261384" y="1199504"/>
                      </a:lnTo>
                      <a:lnTo>
                        <a:pt x="1261530" y="1200281"/>
                      </a:lnTo>
                      <a:lnTo>
                        <a:pt x="1261700" y="1201179"/>
                      </a:lnTo>
                      <a:lnTo>
                        <a:pt x="1262125" y="1201993"/>
                      </a:lnTo>
                      <a:lnTo>
                        <a:pt x="1263036" y="1203742"/>
                      </a:lnTo>
                      <a:lnTo>
                        <a:pt x="1263254" y="1204167"/>
                      </a:lnTo>
                      <a:lnTo>
                        <a:pt x="1263534" y="1204543"/>
                      </a:lnTo>
                      <a:lnTo>
                        <a:pt x="1264906" y="1206389"/>
                      </a:lnTo>
                      <a:lnTo>
                        <a:pt x="1265404" y="1207057"/>
                      </a:lnTo>
                      <a:lnTo>
                        <a:pt x="1266059" y="1207567"/>
                      </a:lnTo>
                      <a:lnTo>
                        <a:pt x="1268306" y="1209315"/>
                      </a:lnTo>
                      <a:lnTo>
                        <a:pt x="1268998" y="1209849"/>
                      </a:lnTo>
                      <a:lnTo>
                        <a:pt x="1269811" y="1210165"/>
                      </a:lnTo>
                      <a:lnTo>
                        <a:pt x="1272799" y="1211343"/>
                      </a:lnTo>
                      <a:lnTo>
                        <a:pt x="1274001" y="1211817"/>
                      </a:lnTo>
                      <a:lnTo>
                        <a:pt x="1275300" y="1211756"/>
                      </a:lnTo>
                      <a:lnTo>
                        <a:pt x="1279720" y="1211549"/>
                      </a:lnTo>
                      <a:lnTo>
                        <a:pt x="1280157" y="1211525"/>
                      </a:lnTo>
                      <a:lnTo>
                        <a:pt x="1280582" y="1211440"/>
                      </a:lnTo>
                      <a:lnTo>
                        <a:pt x="1285901" y="1210420"/>
                      </a:lnTo>
                      <a:lnTo>
                        <a:pt x="1287613" y="1210590"/>
                      </a:lnTo>
                      <a:lnTo>
                        <a:pt x="1297024" y="1213942"/>
                      </a:lnTo>
                      <a:lnTo>
                        <a:pt x="1297339" y="1214051"/>
                      </a:lnTo>
                      <a:lnTo>
                        <a:pt x="1297667" y="1214124"/>
                      </a:lnTo>
                      <a:lnTo>
                        <a:pt x="1301978" y="1215132"/>
                      </a:lnTo>
                      <a:lnTo>
                        <a:pt x="1302585" y="1215277"/>
                      </a:lnTo>
                      <a:lnTo>
                        <a:pt x="1303217" y="1215289"/>
                      </a:lnTo>
                      <a:lnTo>
                        <a:pt x="1308220" y="1215399"/>
                      </a:lnTo>
                      <a:lnTo>
                        <a:pt x="1308657" y="1215399"/>
                      </a:lnTo>
                      <a:lnTo>
                        <a:pt x="1309094" y="1215350"/>
                      </a:lnTo>
                      <a:lnTo>
                        <a:pt x="1316586" y="1214440"/>
                      </a:lnTo>
                      <a:lnTo>
                        <a:pt x="1316914" y="1215059"/>
                      </a:lnTo>
                      <a:lnTo>
                        <a:pt x="1318055" y="1218738"/>
                      </a:lnTo>
                      <a:lnTo>
                        <a:pt x="1318250" y="1219345"/>
                      </a:lnTo>
                      <a:lnTo>
                        <a:pt x="1318553" y="1219904"/>
                      </a:lnTo>
                      <a:lnTo>
                        <a:pt x="1319306" y="1221252"/>
                      </a:lnTo>
                      <a:lnTo>
                        <a:pt x="1320144" y="1222757"/>
                      </a:lnTo>
                      <a:lnTo>
                        <a:pt x="1321650" y="1223595"/>
                      </a:lnTo>
                      <a:lnTo>
                        <a:pt x="1323022" y="1224360"/>
                      </a:lnTo>
                      <a:lnTo>
                        <a:pt x="1323945" y="1224870"/>
                      </a:lnTo>
                      <a:lnTo>
                        <a:pt x="1324989" y="1225040"/>
                      </a:lnTo>
                      <a:lnTo>
                        <a:pt x="1326762" y="1225332"/>
                      </a:lnTo>
                      <a:lnTo>
                        <a:pt x="1327600" y="1225465"/>
                      </a:lnTo>
                      <a:lnTo>
                        <a:pt x="1328437" y="1225368"/>
                      </a:lnTo>
                      <a:lnTo>
                        <a:pt x="1331935" y="1224967"/>
                      </a:lnTo>
                      <a:lnTo>
                        <a:pt x="1332578" y="1224895"/>
                      </a:lnTo>
                      <a:lnTo>
                        <a:pt x="1333197" y="1224688"/>
                      </a:lnTo>
                      <a:lnTo>
                        <a:pt x="1335565" y="1223887"/>
                      </a:lnTo>
                      <a:lnTo>
                        <a:pt x="1336415" y="1223595"/>
                      </a:lnTo>
                      <a:lnTo>
                        <a:pt x="1337144" y="1223073"/>
                      </a:lnTo>
                      <a:lnTo>
                        <a:pt x="1338868" y="1221835"/>
                      </a:lnTo>
                      <a:lnTo>
                        <a:pt x="1340034" y="1221009"/>
                      </a:lnTo>
                      <a:lnTo>
                        <a:pt x="1340702" y="1219746"/>
                      </a:lnTo>
                      <a:lnTo>
                        <a:pt x="1341394" y="1218459"/>
                      </a:lnTo>
                      <a:lnTo>
                        <a:pt x="1341698" y="1217888"/>
                      </a:lnTo>
                      <a:lnTo>
                        <a:pt x="1341880" y="1217269"/>
                      </a:lnTo>
                      <a:lnTo>
                        <a:pt x="1343640" y="1211124"/>
                      </a:lnTo>
                      <a:lnTo>
                        <a:pt x="1344163" y="1210177"/>
                      </a:lnTo>
                      <a:lnTo>
                        <a:pt x="1344867" y="1209424"/>
                      </a:lnTo>
                      <a:lnTo>
                        <a:pt x="1345936" y="1208720"/>
                      </a:lnTo>
                      <a:lnTo>
                        <a:pt x="1350076" y="1206923"/>
                      </a:lnTo>
                      <a:lnTo>
                        <a:pt x="1350052" y="1206972"/>
                      </a:lnTo>
                      <a:lnTo>
                        <a:pt x="1349906" y="1207251"/>
                      </a:lnTo>
                      <a:lnTo>
                        <a:pt x="1349785" y="1207542"/>
                      </a:lnTo>
                      <a:lnTo>
                        <a:pt x="1349093" y="1209230"/>
                      </a:lnTo>
                      <a:lnTo>
                        <a:pt x="1348813" y="1209934"/>
                      </a:lnTo>
                      <a:lnTo>
                        <a:pt x="1348704" y="1210687"/>
                      </a:lnTo>
                      <a:lnTo>
                        <a:pt x="1348485" y="1212217"/>
                      </a:lnTo>
                      <a:lnTo>
                        <a:pt x="1348303" y="1213529"/>
                      </a:lnTo>
                      <a:lnTo>
                        <a:pt x="1348680" y="1214804"/>
                      </a:lnTo>
                      <a:lnTo>
                        <a:pt x="1349020" y="1215957"/>
                      </a:lnTo>
                      <a:lnTo>
                        <a:pt x="1349505" y="1217585"/>
                      </a:lnTo>
                      <a:lnTo>
                        <a:pt x="1350756" y="1218726"/>
                      </a:lnTo>
                      <a:lnTo>
                        <a:pt x="1353221" y="1220960"/>
                      </a:lnTo>
                      <a:lnTo>
                        <a:pt x="1353573" y="1221276"/>
                      </a:lnTo>
                      <a:lnTo>
                        <a:pt x="1353974" y="1221543"/>
                      </a:lnTo>
                      <a:lnTo>
                        <a:pt x="1364198" y="1228234"/>
                      </a:lnTo>
                      <a:lnTo>
                        <a:pt x="1367331" y="1230832"/>
                      </a:lnTo>
                      <a:lnTo>
                        <a:pt x="1367598" y="1231063"/>
                      </a:lnTo>
                      <a:lnTo>
                        <a:pt x="1367890" y="1231257"/>
                      </a:lnTo>
                      <a:lnTo>
                        <a:pt x="1372310" y="1234135"/>
                      </a:lnTo>
                      <a:lnTo>
                        <a:pt x="1373949" y="1235204"/>
                      </a:lnTo>
                      <a:lnTo>
                        <a:pt x="1375904" y="1235119"/>
                      </a:lnTo>
                      <a:lnTo>
                        <a:pt x="1381174" y="1234876"/>
                      </a:lnTo>
                      <a:lnTo>
                        <a:pt x="1382631" y="1234815"/>
                      </a:lnTo>
                      <a:lnTo>
                        <a:pt x="1383894" y="1234087"/>
                      </a:lnTo>
                      <a:lnTo>
                        <a:pt x="1387039" y="1232290"/>
                      </a:lnTo>
                      <a:lnTo>
                        <a:pt x="1388351" y="1232508"/>
                      </a:lnTo>
                      <a:lnTo>
                        <a:pt x="1388788" y="1232581"/>
                      </a:lnTo>
                      <a:lnTo>
                        <a:pt x="1389237" y="1232581"/>
                      </a:lnTo>
                      <a:lnTo>
                        <a:pt x="1391532" y="1232617"/>
                      </a:lnTo>
                      <a:lnTo>
                        <a:pt x="1392236" y="1232630"/>
                      </a:lnTo>
                      <a:lnTo>
                        <a:pt x="1392929" y="1232484"/>
                      </a:lnTo>
                      <a:lnTo>
                        <a:pt x="1394944" y="1232047"/>
                      </a:lnTo>
                      <a:lnTo>
                        <a:pt x="1396632" y="1231683"/>
                      </a:lnTo>
                      <a:lnTo>
                        <a:pt x="1397871" y="1230480"/>
                      </a:lnTo>
                      <a:lnTo>
                        <a:pt x="1399231" y="1229169"/>
                      </a:lnTo>
                      <a:lnTo>
                        <a:pt x="1400020" y="1228404"/>
                      </a:lnTo>
                      <a:lnTo>
                        <a:pt x="1400494" y="1227408"/>
                      </a:lnTo>
                      <a:lnTo>
                        <a:pt x="1401307" y="1225684"/>
                      </a:lnTo>
                      <a:lnTo>
                        <a:pt x="1401489" y="1225307"/>
                      </a:lnTo>
                      <a:lnTo>
                        <a:pt x="1401611" y="1224907"/>
                      </a:lnTo>
                      <a:lnTo>
                        <a:pt x="1402157" y="1223195"/>
                      </a:lnTo>
                      <a:lnTo>
                        <a:pt x="1402947" y="1221992"/>
                      </a:lnTo>
                      <a:lnTo>
                        <a:pt x="1403845" y="1220887"/>
                      </a:lnTo>
                      <a:lnTo>
                        <a:pt x="1404707" y="1219807"/>
                      </a:lnTo>
                      <a:lnTo>
                        <a:pt x="1405011" y="1218447"/>
                      </a:lnTo>
                      <a:lnTo>
                        <a:pt x="1405424" y="1216577"/>
                      </a:lnTo>
                      <a:lnTo>
                        <a:pt x="1405703" y="1215314"/>
                      </a:lnTo>
                      <a:lnTo>
                        <a:pt x="1405448" y="1214051"/>
                      </a:lnTo>
                      <a:lnTo>
                        <a:pt x="1404999" y="1211817"/>
                      </a:lnTo>
                      <a:lnTo>
                        <a:pt x="1404780" y="1210724"/>
                      </a:lnTo>
                      <a:lnTo>
                        <a:pt x="1404185" y="1209777"/>
                      </a:lnTo>
                      <a:lnTo>
                        <a:pt x="1401647" y="1205757"/>
                      </a:lnTo>
                      <a:lnTo>
                        <a:pt x="1401465" y="1205478"/>
                      </a:lnTo>
                      <a:lnTo>
                        <a:pt x="1401259" y="1205223"/>
                      </a:lnTo>
                      <a:lnTo>
                        <a:pt x="1392941" y="1194768"/>
                      </a:lnTo>
                      <a:lnTo>
                        <a:pt x="1391447" y="1191744"/>
                      </a:lnTo>
                      <a:lnTo>
                        <a:pt x="1390694" y="1188660"/>
                      </a:lnTo>
                      <a:lnTo>
                        <a:pt x="1391022" y="1176335"/>
                      </a:lnTo>
                      <a:lnTo>
                        <a:pt x="1391046" y="1175388"/>
                      </a:lnTo>
                      <a:lnTo>
                        <a:pt x="1390792" y="1174489"/>
                      </a:lnTo>
                      <a:lnTo>
                        <a:pt x="1389237" y="1169122"/>
                      </a:lnTo>
                      <a:lnTo>
                        <a:pt x="1388982" y="1168138"/>
                      </a:lnTo>
                      <a:lnTo>
                        <a:pt x="1388970" y="1167884"/>
                      </a:lnTo>
                      <a:lnTo>
                        <a:pt x="1389019" y="1167422"/>
                      </a:lnTo>
                      <a:lnTo>
                        <a:pt x="1390330" y="1162711"/>
                      </a:lnTo>
                      <a:lnTo>
                        <a:pt x="1390488" y="1162140"/>
                      </a:lnTo>
                      <a:lnTo>
                        <a:pt x="1390536" y="1161545"/>
                      </a:lnTo>
                      <a:lnTo>
                        <a:pt x="1390597" y="1160768"/>
                      </a:lnTo>
                      <a:lnTo>
                        <a:pt x="1390609" y="1158873"/>
                      </a:lnTo>
                      <a:lnTo>
                        <a:pt x="1390609" y="1158533"/>
                      </a:lnTo>
                      <a:lnTo>
                        <a:pt x="1390573" y="1158193"/>
                      </a:lnTo>
                      <a:lnTo>
                        <a:pt x="1390391" y="1156554"/>
                      </a:lnTo>
                      <a:lnTo>
                        <a:pt x="1389832" y="1153737"/>
                      </a:lnTo>
                      <a:lnTo>
                        <a:pt x="1390998" y="1153980"/>
                      </a:lnTo>
                      <a:lnTo>
                        <a:pt x="1391569" y="1154101"/>
                      </a:lnTo>
                      <a:lnTo>
                        <a:pt x="1392152" y="1154113"/>
                      </a:lnTo>
                      <a:lnTo>
                        <a:pt x="1393050" y="1154125"/>
                      </a:lnTo>
                      <a:lnTo>
                        <a:pt x="1393086" y="1154198"/>
                      </a:lnTo>
                      <a:lnTo>
                        <a:pt x="1394070" y="1156554"/>
                      </a:lnTo>
                      <a:lnTo>
                        <a:pt x="1394289" y="1157538"/>
                      </a:lnTo>
                      <a:lnTo>
                        <a:pt x="1394301" y="1157623"/>
                      </a:lnTo>
                      <a:lnTo>
                        <a:pt x="1394155" y="1160343"/>
                      </a:lnTo>
                      <a:lnTo>
                        <a:pt x="1394107" y="1161229"/>
                      </a:lnTo>
                      <a:lnTo>
                        <a:pt x="1394313" y="1162091"/>
                      </a:lnTo>
                      <a:lnTo>
                        <a:pt x="1394495" y="1162856"/>
                      </a:lnTo>
                      <a:lnTo>
                        <a:pt x="1395054" y="1165188"/>
                      </a:lnTo>
                      <a:lnTo>
                        <a:pt x="1397057" y="1166511"/>
                      </a:lnTo>
                      <a:lnTo>
                        <a:pt x="1397458" y="1166766"/>
                      </a:lnTo>
                      <a:lnTo>
                        <a:pt x="1398174" y="1167155"/>
                      </a:lnTo>
                      <a:lnTo>
                        <a:pt x="1398867" y="1167471"/>
                      </a:lnTo>
                      <a:lnTo>
                        <a:pt x="1399583" y="1167786"/>
                      </a:lnTo>
                      <a:lnTo>
                        <a:pt x="1400348" y="1167920"/>
                      </a:lnTo>
                      <a:lnTo>
                        <a:pt x="1401841" y="1168175"/>
                      </a:lnTo>
                      <a:lnTo>
                        <a:pt x="1402303" y="1168260"/>
                      </a:lnTo>
                      <a:lnTo>
                        <a:pt x="1402777" y="1168260"/>
                      </a:lnTo>
                      <a:lnTo>
                        <a:pt x="1404671" y="1168284"/>
                      </a:lnTo>
                      <a:lnTo>
                        <a:pt x="1405278" y="1168296"/>
                      </a:lnTo>
                      <a:lnTo>
                        <a:pt x="1405873" y="1168187"/>
                      </a:lnTo>
                      <a:lnTo>
                        <a:pt x="1408969" y="1167616"/>
                      </a:lnTo>
                      <a:lnTo>
                        <a:pt x="1410342" y="1167252"/>
                      </a:lnTo>
                      <a:lnTo>
                        <a:pt x="1410730" y="1167143"/>
                      </a:lnTo>
                      <a:lnTo>
                        <a:pt x="1411094" y="1166985"/>
                      </a:lnTo>
                      <a:lnTo>
                        <a:pt x="1428386" y="1159384"/>
                      </a:lnTo>
                      <a:lnTo>
                        <a:pt x="1428957" y="1159128"/>
                      </a:lnTo>
                      <a:lnTo>
                        <a:pt x="1429467" y="1158776"/>
                      </a:lnTo>
                      <a:lnTo>
                        <a:pt x="1431980" y="1156991"/>
                      </a:lnTo>
                      <a:lnTo>
                        <a:pt x="1433000" y="1156263"/>
                      </a:lnTo>
                      <a:lnTo>
                        <a:pt x="1433644" y="1155194"/>
                      </a:lnTo>
                      <a:lnTo>
                        <a:pt x="1434288" y="1154138"/>
                      </a:lnTo>
                      <a:lnTo>
                        <a:pt x="1435295" y="1152802"/>
                      </a:lnTo>
                      <a:lnTo>
                        <a:pt x="1436267" y="1151490"/>
                      </a:lnTo>
                      <a:lnTo>
                        <a:pt x="1436449" y="1149876"/>
                      </a:lnTo>
                      <a:lnTo>
                        <a:pt x="1436801" y="1146633"/>
                      </a:lnTo>
                      <a:lnTo>
                        <a:pt x="1436862" y="1146087"/>
                      </a:lnTo>
                      <a:lnTo>
                        <a:pt x="1436825" y="1145540"/>
                      </a:lnTo>
                      <a:lnTo>
                        <a:pt x="1436473" y="1140659"/>
                      </a:lnTo>
                      <a:lnTo>
                        <a:pt x="1436437" y="1140125"/>
                      </a:lnTo>
                      <a:lnTo>
                        <a:pt x="1436303" y="1139603"/>
                      </a:lnTo>
                      <a:lnTo>
                        <a:pt x="1433899" y="1130216"/>
                      </a:lnTo>
                      <a:lnTo>
                        <a:pt x="1433802" y="1129828"/>
                      </a:lnTo>
                      <a:lnTo>
                        <a:pt x="1433656" y="1129451"/>
                      </a:lnTo>
                      <a:lnTo>
                        <a:pt x="1431992" y="1125310"/>
                      </a:lnTo>
                      <a:lnTo>
                        <a:pt x="1431823" y="1124885"/>
                      </a:lnTo>
                      <a:lnTo>
                        <a:pt x="1431592" y="1124497"/>
                      </a:lnTo>
                      <a:lnTo>
                        <a:pt x="1429758" y="1121376"/>
                      </a:lnTo>
                      <a:lnTo>
                        <a:pt x="1429442" y="1120830"/>
                      </a:lnTo>
                      <a:lnTo>
                        <a:pt x="1429005" y="1120356"/>
                      </a:lnTo>
                      <a:lnTo>
                        <a:pt x="1426589" y="1117709"/>
                      </a:lnTo>
                      <a:lnTo>
                        <a:pt x="1426334" y="1117430"/>
                      </a:lnTo>
                      <a:lnTo>
                        <a:pt x="1426055" y="1117175"/>
                      </a:lnTo>
                      <a:lnTo>
                        <a:pt x="1417105" y="1109537"/>
                      </a:lnTo>
                      <a:lnTo>
                        <a:pt x="1416571" y="1109075"/>
                      </a:lnTo>
                      <a:lnTo>
                        <a:pt x="1415940" y="1108760"/>
                      </a:lnTo>
                      <a:lnTo>
                        <a:pt x="1413972" y="1107752"/>
                      </a:lnTo>
                      <a:lnTo>
                        <a:pt x="1413098" y="1107302"/>
                      </a:lnTo>
                      <a:lnTo>
                        <a:pt x="1412139" y="1107145"/>
                      </a:lnTo>
                      <a:lnTo>
                        <a:pt x="1410123" y="1106829"/>
                      </a:lnTo>
                      <a:lnTo>
                        <a:pt x="1409212" y="1106683"/>
                      </a:lnTo>
                      <a:lnTo>
                        <a:pt x="1408314" y="1106817"/>
                      </a:lnTo>
                      <a:lnTo>
                        <a:pt x="1406881" y="1107023"/>
                      </a:lnTo>
                      <a:lnTo>
                        <a:pt x="1406407" y="1107084"/>
                      </a:lnTo>
                      <a:lnTo>
                        <a:pt x="1405958" y="1107217"/>
                      </a:lnTo>
                      <a:lnTo>
                        <a:pt x="1405047" y="1107497"/>
                      </a:lnTo>
                      <a:lnTo>
                        <a:pt x="1404464" y="1107594"/>
                      </a:lnTo>
                      <a:lnTo>
                        <a:pt x="1398320" y="1106962"/>
                      </a:lnTo>
                      <a:lnTo>
                        <a:pt x="1394762" y="1104947"/>
                      </a:lnTo>
                      <a:lnTo>
                        <a:pt x="1387149" y="1096240"/>
                      </a:lnTo>
                      <a:lnTo>
                        <a:pt x="1387282" y="1096228"/>
                      </a:lnTo>
                      <a:lnTo>
                        <a:pt x="1387792" y="1096192"/>
                      </a:lnTo>
                      <a:lnTo>
                        <a:pt x="1388290" y="1096070"/>
                      </a:lnTo>
                      <a:lnTo>
                        <a:pt x="1392127" y="1095147"/>
                      </a:lnTo>
                      <a:lnTo>
                        <a:pt x="1392576" y="1095038"/>
                      </a:lnTo>
                      <a:lnTo>
                        <a:pt x="1393001" y="1094868"/>
                      </a:lnTo>
                      <a:lnTo>
                        <a:pt x="1394956" y="1094066"/>
                      </a:lnTo>
                      <a:lnTo>
                        <a:pt x="1395430" y="1093872"/>
                      </a:lnTo>
                      <a:lnTo>
                        <a:pt x="1395867" y="1093605"/>
                      </a:lnTo>
                      <a:lnTo>
                        <a:pt x="1397932" y="1092318"/>
                      </a:lnTo>
                      <a:lnTo>
                        <a:pt x="1398721" y="1091820"/>
                      </a:lnTo>
                      <a:lnTo>
                        <a:pt x="1399328" y="1091116"/>
                      </a:lnTo>
                      <a:lnTo>
                        <a:pt x="1401004" y="1089161"/>
                      </a:lnTo>
                      <a:lnTo>
                        <a:pt x="1401477" y="1088602"/>
                      </a:lnTo>
                      <a:lnTo>
                        <a:pt x="1401805" y="1087946"/>
                      </a:lnTo>
                      <a:lnTo>
                        <a:pt x="1402594" y="1086392"/>
                      </a:lnTo>
                      <a:lnTo>
                        <a:pt x="1402922" y="1085749"/>
                      </a:lnTo>
                      <a:lnTo>
                        <a:pt x="1403092" y="1085032"/>
                      </a:lnTo>
                      <a:lnTo>
                        <a:pt x="1403396" y="1083745"/>
                      </a:lnTo>
                      <a:lnTo>
                        <a:pt x="1403590" y="1082944"/>
                      </a:lnTo>
                      <a:lnTo>
                        <a:pt x="1403554" y="1082118"/>
                      </a:lnTo>
                      <a:lnTo>
                        <a:pt x="1403372" y="1077613"/>
                      </a:lnTo>
                      <a:lnTo>
                        <a:pt x="1403347" y="1076969"/>
                      </a:lnTo>
                      <a:lnTo>
                        <a:pt x="1403189" y="1076350"/>
                      </a:lnTo>
                      <a:lnTo>
                        <a:pt x="1402388" y="1073193"/>
                      </a:lnTo>
                      <a:lnTo>
                        <a:pt x="1402279" y="1072756"/>
                      </a:lnTo>
                      <a:lnTo>
                        <a:pt x="1402097" y="1072331"/>
                      </a:lnTo>
                      <a:lnTo>
                        <a:pt x="1399401" y="1065980"/>
                      </a:lnTo>
                      <a:lnTo>
                        <a:pt x="1396741" y="1060916"/>
                      </a:lnTo>
                      <a:lnTo>
                        <a:pt x="1396766" y="1060868"/>
                      </a:lnTo>
                      <a:lnTo>
                        <a:pt x="1397895" y="1059095"/>
                      </a:lnTo>
                      <a:lnTo>
                        <a:pt x="1398101" y="1058925"/>
                      </a:lnTo>
                      <a:lnTo>
                        <a:pt x="1399474" y="1058269"/>
                      </a:lnTo>
                      <a:lnTo>
                        <a:pt x="1404659" y="1057213"/>
                      </a:lnTo>
                      <a:lnTo>
                        <a:pt x="1405302" y="1057079"/>
                      </a:lnTo>
                      <a:lnTo>
                        <a:pt x="1405897" y="1056812"/>
                      </a:lnTo>
                      <a:lnTo>
                        <a:pt x="1421015" y="1050133"/>
                      </a:lnTo>
                      <a:lnTo>
                        <a:pt x="1421234" y="1050097"/>
                      </a:lnTo>
                      <a:lnTo>
                        <a:pt x="1422679" y="1050085"/>
                      </a:lnTo>
                      <a:lnTo>
                        <a:pt x="1426030" y="1050376"/>
                      </a:lnTo>
                      <a:lnTo>
                        <a:pt x="1426674" y="1050425"/>
                      </a:lnTo>
                      <a:lnTo>
                        <a:pt x="1427317" y="1050340"/>
                      </a:lnTo>
                      <a:lnTo>
                        <a:pt x="1436680" y="1049101"/>
                      </a:lnTo>
                      <a:lnTo>
                        <a:pt x="1437335" y="1049016"/>
                      </a:lnTo>
                      <a:lnTo>
                        <a:pt x="1437955" y="1048786"/>
                      </a:lnTo>
                      <a:lnTo>
                        <a:pt x="1455999" y="1042253"/>
                      </a:lnTo>
                      <a:lnTo>
                        <a:pt x="1456436" y="1042180"/>
                      </a:lnTo>
                      <a:lnTo>
                        <a:pt x="1458282" y="1042787"/>
                      </a:lnTo>
                      <a:lnTo>
                        <a:pt x="1458938" y="1043005"/>
                      </a:lnTo>
                      <a:lnTo>
                        <a:pt x="1459630" y="1043066"/>
                      </a:lnTo>
                      <a:lnTo>
                        <a:pt x="1462836" y="1043358"/>
                      </a:lnTo>
                      <a:lnTo>
                        <a:pt x="1464305" y="1043491"/>
                      </a:lnTo>
                      <a:lnTo>
                        <a:pt x="1465677" y="1042945"/>
                      </a:lnTo>
                      <a:lnTo>
                        <a:pt x="1468361" y="1041852"/>
                      </a:lnTo>
                      <a:lnTo>
                        <a:pt x="1468543" y="1041852"/>
                      </a:lnTo>
                      <a:lnTo>
                        <a:pt x="1469259" y="1042058"/>
                      </a:lnTo>
                      <a:lnTo>
                        <a:pt x="1471323" y="1043443"/>
                      </a:lnTo>
                      <a:lnTo>
                        <a:pt x="1471579" y="1043625"/>
                      </a:lnTo>
                      <a:lnTo>
                        <a:pt x="1471846" y="1043770"/>
                      </a:lnTo>
                      <a:lnTo>
                        <a:pt x="1474602" y="1045228"/>
                      </a:lnTo>
                      <a:lnTo>
                        <a:pt x="1475731" y="1045823"/>
                      </a:lnTo>
                      <a:lnTo>
                        <a:pt x="1477006" y="1045908"/>
                      </a:lnTo>
                      <a:lnTo>
                        <a:pt x="1480552" y="1046163"/>
                      </a:lnTo>
                      <a:lnTo>
                        <a:pt x="1482070" y="1046272"/>
                      </a:lnTo>
                      <a:lnTo>
                        <a:pt x="1483454" y="1045653"/>
                      </a:lnTo>
                      <a:lnTo>
                        <a:pt x="1485822" y="1044596"/>
                      </a:lnTo>
                      <a:lnTo>
                        <a:pt x="1486903" y="1044110"/>
                      </a:lnTo>
                      <a:lnTo>
                        <a:pt x="1487716" y="1043261"/>
                      </a:lnTo>
                      <a:lnTo>
                        <a:pt x="1489489" y="1041427"/>
                      </a:lnTo>
                      <a:lnTo>
                        <a:pt x="1489878" y="1041026"/>
                      </a:lnTo>
                      <a:lnTo>
                        <a:pt x="1490181" y="1040553"/>
                      </a:lnTo>
                      <a:lnTo>
                        <a:pt x="1490424" y="1040188"/>
                      </a:lnTo>
                      <a:lnTo>
                        <a:pt x="1490910" y="1040079"/>
                      </a:lnTo>
                      <a:lnTo>
                        <a:pt x="1491821" y="1039861"/>
                      </a:lnTo>
                      <a:lnTo>
                        <a:pt x="1492634" y="1039375"/>
                      </a:lnTo>
                      <a:lnTo>
                        <a:pt x="1494128" y="1038501"/>
                      </a:lnTo>
                      <a:lnTo>
                        <a:pt x="1495476" y="1037699"/>
                      </a:lnTo>
                      <a:lnTo>
                        <a:pt x="1496265" y="1036351"/>
                      </a:lnTo>
                      <a:lnTo>
                        <a:pt x="1497297" y="1034603"/>
                      </a:lnTo>
                      <a:lnTo>
                        <a:pt x="1497965" y="1033473"/>
                      </a:lnTo>
                      <a:lnTo>
                        <a:pt x="1498099" y="1032162"/>
                      </a:lnTo>
                      <a:lnTo>
                        <a:pt x="1498317" y="1030085"/>
                      </a:lnTo>
                      <a:lnTo>
                        <a:pt x="1498390" y="1029442"/>
                      </a:lnTo>
                      <a:lnTo>
                        <a:pt x="1498317" y="1028798"/>
                      </a:lnTo>
                      <a:lnTo>
                        <a:pt x="1497965" y="1025483"/>
                      </a:lnTo>
                      <a:lnTo>
                        <a:pt x="1497965" y="1025471"/>
                      </a:lnTo>
                      <a:lnTo>
                        <a:pt x="1498669" y="1024548"/>
                      </a:lnTo>
                      <a:lnTo>
                        <a:pt x="1499532" y="1023407"/>
                      </a:lnTo>
                      <a:lnTo>
                        <a:pt x="1499799" y="1022010"/>
                      </a:lnTo>
                      <a:lnTo>
                        <a:pt x="1500078" y="1020553"/>
                      </a:lnTo>
                      <a:lnTo>
                        <a:pt x="1500321" y="1019278"/>
                      </a:lnTo>
                      <a:lnTo>
                        <a:pt x="1500017" y="1018015"/>
                      </a:lnTo>
                      <a:lnTo>
                        <a:pt x="1499629" y="1016340"/>
                      </a:lnTo>
                      <a:lnTo>
                        <a:pt x="1499386" y="1015344"/>
                      </a:lnTo>
                      <a:lnTo>
                        <a:pt x="1498839" y="1014482"/>
                      </a:lnTo>
                      <a:lnTo>
                        <a:pt x="1497807" y="1012855"/>
                      </a:lnTo>
                      <a:lnTo>
                        <a:pt x="1497564" y="1012466"/>
                      </a:lnTo>
                      <a:lnTo>
                        <a:pt x="1497261" y="1012114"/>
                      </a:lnTo>
                      <a:lnTo>
                        <a:pt x="1493630" y="1007949"/>
                      </a:lnTo>
                      <a:lnTo>
                        <a:pt x="1492877" y="1006734"/>
                      </a:lnTo>
                      <a:lnTo>
                        <a:pt x="1492683" y="1006237"/>
                      </a:lnTo>
                      <a:lnTo>
                        <a:pt x="1492476" y="1005192"/>
                      </a:lnTo>
                      <a:lnTo>
                        <a:pt x="1492452" y="1004233"/>
                      </a:lnTo>
                      <a:lnTo>
                        <a:pt x="1492476" y="1003966"/>
                      </a:lnTo>
                      <a:lnTo>
                        <a:pt x="1492768" y="1003140"/>
                      </a:lnTo>
                      <a:lnTo>
                        <a:pt x="1493278" y="1001962"/>
                      </a:lnTo>
                      <a:lnTo>
                        <a:pt x="1493509" y="1001440"/>
                      </a:lnTo>
                      <a:lnTo>
                        <a:pt x="1493630" y="1000882"/>
                      </a:lnTo>
                      <a:lnTo>
                        <a:pt x="1493861" y="999813"/>
                      </a:lnTo>
                      <a:lnTo>
                        <a:pt x="1494055" y="998939"/>
                      </a:lnTo>
                      <a:lnTo>
                        <a:pt x="1493982" y="998052"/>
                      </a:lnTo>
                      <a:lnTo>
                        <a:pt x="1493861" y="996510"/>
                      </a:lnTo>
                      <a:lnTo>
                        <a:pt x="1493776" y="995478"/>
                      </a:lnTo>
                      <a:lnTo>
                        <a:pt x="1493351" y="994531"/>
                      </a:lnTo>
                      <a:lnTo>
                        <a:pt x="1492659" y="992977"/>
                      </a:lnTo>
                      <a:lnTo>
                        <a:pt x="1492428" y="992454"/>
                      </a:lnTo>
                      <a:lnTo>
                        <a:pt x="1492088" y="991969"/>
                      </a:lnTo>
                      <a:lnTo>
                        <a:pt x="1490109" y="989115"/>
                      </a:lnTo>
                      <a:lnTo>
                        <a:pt x="1489793" y="988447"/>
                      </a:lnTo>
                      <a:lnTo>
                        <a:pt x="1489708" y="987949"/>
                      </a:lnTo>
                      <a:lnTo>
                        <a:pt x="1489756" y="987051"/>
                      </a:lnTo>
                      <a:lnTo>
                        <a:pt x="1489890" y="986553"/>
                      </a:lnTo>
                      <a:lnTo>
                        <a:pt x="1490242" y="985909"/>
                      </a:lnTo>
                      <a:lnTo>
                        <a:pt x="1490789" y="985144"/>
                      </a:lnTo>
                      <a:lnTo>
                        <a:pt x="1491748" y="983566"/>
                      </a:lnTo>
                      <a:lnTo>
                        <a:pt x="1492586" y="982133"/>
                      </a:lnTo>
                      <a:lnTo>
                        <a:pt x="1492586" y="980469"/>
                      </a:lnTo>
                      <a:lnTo>
                        <a:pt x="1492586" y="979486"/>
                      </a:lnTo>
                      <a:lnTo>
                        <a:pt x="1492586" y="978320"/>
                      </a:lnTo>
                      <a:lnTo>
                        <a:pt x="1492161" y="977251"/>
                      </a:lnTo>
                      <a:lnTo>
                        <a:pt x="1491602" y="975843"/>
                      </a:lnTo>
                      <a:lnTo>
                        <a:pt x="1491432" y="975418"/>
                      </a:lnTo>
                      <a:lnTo>
                        <a:pt x="1491201" y="975029"/>
                      </a:lnTo>
                      <a:lnTo>
                        <a:pt x="1490449" y="973730"/>
                      </a:lnTo>
                      <a:lnTo>
                        <a:pt x="1490230" y="973378"/>
                      </a:lnTo>
                      <a:lnTo>
                        <a:pt x="1489975" y="973050"/>
                      </a:lnTo>
                      <a:lnTo>
                        <a:pt x="1489052" y="971872"/>
                      </a:lnTo>
                      <a:lnTo>
                        <a:pt x="1488821" y="971581"/>
                      </a:lnTo>
                      <a:lnTo>
                        <a:pt x="1488567" y="971326"/>
                      </a:lnTo>
                      <a:lnTo>
                        <a:pt x="1487595" y="970354"/>
                      </a:lnTo>
                      <a:lnTo>
                        <a:pt x="1487158" y="969917"/>
                      </a:lnTo>
                      <a:lnTo>
                        <a:pt x="1486636" y="969577"/>
                      </a:lnTo>
                      <a:lnTo>
                        <a:pt x="1485361" y="968739"/>
                      </a:lnTo>
                      <a:lnTo>
                        <a:pt x="1484972" y="968484"/>
                      </a:lnTo>
                      <a:lnTo>
                        <a:pt x="1484559" y="968290"/>
                      </a:lnTo>
                      <a:lnTo>
                        <a:pt x="1483308" y="967719"/>
                      </a:lnTo>
                      <a:lnTo>
                        <a:pt x="1482556" y="967379"/>
                      </a:lnTo>
                      <a:lnTo>
                        <a:pt x="1481742" y="967246"/>
                      </a:lnTo>
                      <a:lnTo>
                        <a:pt x="1478755" y="966760"/>
                      </a:lnTo>
                      <a:lnTo>
                        <a:pt x="1478269" y="966687"/>
                      </a:lnTo>
                      <a:lnTo>
                        <a:pt x="1477771" y="966687"/>
                      </a:lnTo>
                      <a:lnTo>
                        <a:pt x="1475926" y="966687"/>
                      </a:lnTo>
                      <a:lnTo>
                        <a:pt x="1475464" y="966687"/>
                      </a:lnTo>
                      <a:lnTo>
                        <a:pt x="1475003" y="966760"/>
                      </a:lnTo>
                      <a:lnTo>
                        <a:pt x="1471105" y="967355"/>
                      </a:lnTo>
                      <a:lnTo>
                        <a:pt x="1470473" y="967452"/>
                      </a:lnTo>
                      <a:lnTo>
                        <a:pt x="1469866" y="967683"/>
                      </a:lnTo>
                      <a:lnTo>
                        <a:pt x="1465045" y="969516"/>
                      </a:lnTo>
                      <a:lnTo>
                        <a:pt x="1464438" y="969747"/>
                      </a:lnTo>
                      <a:lnTo>
                        <a:pt x="1463892" y="970099"/>
                      </a:lnTo>
                      <a:lnTo>
                        <a:pt x="1460431" y="972346"/>
                      </a:lnTo>
                      <a:lnTo>
                        <a:pt x="1459788" y="972771"/>
                      </a:lnTo>
                      <a:lnTo>
                        <a:pt x="1459278" y="973329"/>
                      </a:lnTo>
                      <a:lnTo>
                        <a:pt x="1457626" y="975126"/>
                      </a:lnTo>
                      <a:lnTo>
                        <a:pt x="1457080" y="975722"/>
                      </a:lnTo>
                      <a:lnTo>
                        <a:pt x="1456703" y="976438"/>
                      </a:lnTo>
                      <a:lnTo>
                        <a:pt x="1455611" y="978539"/>
                      </a:lnTo>
                      <a:lnTo>
                        <a:pt x="1455368" y="979000"/>
                      </a:lnTo>
                      <a:lnTo>
                        <a:pt x="1455210" y="979498"/>
                      </a:lnTo>
                      <a:lnTo>
                        <a:pt x="1453485" y="984889"/>
                      </a:lnTo>
                      <a:lnTo>
                        <a:pt x="1452976" y="985946"/>
                      </a:lnTo>
                      <a:lnTo>
                        <a:pt x="1452417" y="986820"/>
                      </a:lnTo>
                      <a:lnTo>
                        <a:pt x="1452028" y="987172"/>
                      </a:lnTo>
                      <a:lnTo>
                        <a:pt x="1451251" y="987573"/>
                      </a:lnTo>
                      <a:lnTo>
                        <a:pt x="1449952" y="987816"/>
                      </a:lnTo>
                      <a:lnTo>
                        <a:pt x="1446904" y="987500"/>
                      </a:lnTo>
                      <a:lnTo>
                        <a:pt x="1445070" y="986990"/>
                      </a:lnTo>
                      <a:lnTo>
                        <a:pt x="1442035" y="985557"/>
                      </a:lnTo>
                      <a:lnTo>
                        <a:pt x="1441100" y="985120"/>
                      </a:lnTo>
                      <a:lnTo>
                        <a:pt x="1440080" y="985011"/>
                      </a:lnTo>
                      <a:lnTo>
                        <a:pt x="1437845" y="984780"/>
                      </a:lnTo>
                      <a:lnTo>
                        <a:pt x="1437092" y="984707"/>
                      </a:lnTo>
                      <a:lnTo>
                        <a:pt x="1436340" y="984817"/>
                      </a:lnTo>
                      <a:lnTo>
                        <a:pt x="1433474" y="985242"/>
                      </a:lnTo>
                      <a:lnTo>
                        <a:pt x="1432672" y="985363"/>
                      </a:lnTo>
                      <a:lnTo>
                        <a:pt x="1431932" y="985691"/>
                      </a:lnTo>
                      <a:lnTo>
                        <a:pt x="1427621" y="987585"/>
                      </a:lnTo>
                      <a:lnTo>
                        <a:pt x="1427257" y="987743"/>
                      </a:lnTo>
                      <a:lnTo>
                        <a:pt x="1427002" y="988010"/>
                      </a:lnTo>
                      <a:lnTo>
                        <a:pt x="1422217" y="990900"/>
                      </a:lnTo>
                      <a:lnTo>
                        <a:pt x="1418550" y="992333"/>
                      </a:lnTo>
                      <a:lnTo>
                        <a:pt x="1409528" y="992163"/>
                      </a:lnTo>
                      <a:lnTo>
                        <a:pt x="1407694" y="992127"/>
                      </a:lnTo>
                      <a:lnTo>
                        <a:pt x="1406152" y="993110"/>
                      </a:lnTo>
                      <a:lnTo>
                        <a:pt x="1404974" y="993863"/>
                      </a:lnTo>
                      <a:lnTo>
                        <a:pt x="1400263" y="990305"/>
                      </a:lnTo>
                      <a:lnTo>
                        <a:pt x="1399729" y="989892"/>
                      </a:lnTo>
                      <a:lnTo>
                        <a:pt x="1399109" y="989613"/>
                      </a:lnTo>
                      <a:lnTo>
                        <a:pt x="1397397" y="988836"/>
                      </a:lnTo>
                      <a:lnTo>
                        <a:pt x="1396681" y="988520"/>
                      </a:lnTo>
                      <a:lnTo>
                        <a:pt x="1395916" y="988387"/>
                      </a:lnTo>
                      <a:lnTo>
                        <a:pt x="1388084" y="987063"/>
                      </a:lnTo>
                      <a:lnTo>
                        <a:pt x="1387537" y="986978"/>
                      </a:lnTo>
                      <a:lnTo>
                        <a:pt x="1386979" y="986978"/>
                      </a:lnTo>
                      <a:lnTo>
                        <a:pt x="1385315" y="987002"/>
                      </a:lnTo>
                      <a:lnTo>
                        <a:pt x="1384586" y="987014"/>
                      </a:lnTo>
                      <a:lnTo>
                        <a:pt x="1383882" y="987197"/>
                      </a:lnTo>
                      <a:lnTo>
                        <a:pt x="1382510" y="987549"/>
                      </a:lnTo>
                      <a:lnTo>
                        <a:pt x="1377653" y="989261"/>
                      </a:lnTo>
                      <a:lnTo>
                        <a:pt x="1377459" y="989139"/>
                      </a:lnTo>
                      <a:lnTo>
                        <a:pt x="1369893" y="983505"/>
                      </a:lnTo>
                      <a:lnTo>
                        <a:pt x="1369359" y="983104"/>
                      </a:lnTo>
                      <a:lnTo>
                        <a:pt x="1368752" y="982837"/>
                      </a:lnTo>
                      <a:lnTo>
                        <a:pt x="1366688" y="981914"/>
                      </a:lnTo>
                      <a:lnTo>
                        <a:pt x="1366360" y="981769"/>
                      </a:lnTo>
                      <a:lnTo>
                        <a:pt x="1366020" y="981659"/>
                      </a:lnTo>
                      <a:lnTo>
                        <a:pt x="1363725" y="980943"/>
                      </a:lnTo>
                      <a:lnTo>
                        <a:pt x="1363203" y="980773"/>
                      </a:lnTo>
                      <a:lnTo>
                        <a:pt x="1362668" y="980712"/>
                      </a:lnTo>
                      <a:lnTo>
                        <a:pt x="1360543" y="980445"/>
                      </a:lnTo>
                      <a:lnTo>
                        <a:pt x="1360191" y="980397"/>
                      </a:lnTo>
                      <a:lnTo>
                        <a:pt x="1359827" y="980397"/>
                      </a:lnTo>
                      <a:lnTo>
                        <a:pt x="1356512" y="980384"/>
                      </a:lnTo>
                      <a:lnTo>
                        <a:pt x="1356233" y="980336"/>
                      </a:lnTo>
                      <a:lnTo>
                        <a:pt x="1355832" y="980117"/>
                      </a:lnTo>
                      <a:lnTo>
                        <a:pt x="1355504" y="979777"/>
                      </a:lnTo>
                      <a:lnTo>
                        <a:pt x="1351594" y="972831"/>
                      </a:lnTo>
                      <a:lnTo>
                        <a:pt x="1351121" y="971994"/>
                      </a:lnTo>
                      <a:lnTo>
                        <a:pt x="1350416" y="971338"/>
                      </a:lnTo>
                      <a:lnTo>
                        <a:pt x="1348983" y="970014"/>
                      </a:lnTo>
                      <a:lnTo>
                        <a:pt x="1348510" y="969589"/>
                      </a:lnTo>
                      <a:lnTo>
                        <a:pt x="1347976" y="969261"/>
                      </a:lnTo>
                      <a:lnTo>
                        <a:pt x="1345850" y="967999"/>
                      </a:lnTo>
                      <a:lnTo>
                        <a:pt x="1344952" y="967476"/>
                      </a:lnTo>
                      <a:lnTo>
                        <a:pt x="1343944" y="967270"/>
                      </a:lnTo>
                      <a:lnTo>
                        <a:pt x="1341236" y="966723"/>
                      </a:lnTo>
                      <a:lnTo>
                        <a:pt x="1340447" y="966578"/>
                      </a:lnTo>
                      <a:lnTo>
                        <a:pt x="1340240" y="966056"/>
                      </a:lnTo>
                      <a:lnTo>
                        <a:pt x="1339245" y="961757"/>
                      </a:lnTo>
                      <a:lnTo>
                        <a:pt x="1335480" y="950379"/>
                      </a:lnTo>
                      <a:lnTo>
                        <a:pt x="1330101" y="923410"/>
                      </a:lnTo>
                      <a:lnTo>
                        <a:pt x="1330004" y="922924"/>
                      </a:lnTo>
                      <a:lnTo>
                        <a:pt x="1329834" y="922463"/>
                      </a:lnTo>
                      <a:lnTo>
                        <a:pt x="1328972" y="920167"/>
                      </a:lnTo>
                      <a:lnTo>
                        <a:pt x="1328826" y="919767"/>
                      </a:lnTo>
                      <a:lnTo>
                        <a:pt x="1328729" y="919597"/>
                      </a:lnTo>
                      <a:lnTo>
                        <a:pt x="1329008" y="919536"/>
                      </a:lnTo>
                      <a:lnTo>
                        <a:pt x="1329992" y="918905"/>
                      </a:lnTo>
                      <a:lnTo>
                        <a:pt x="1331255" y="918079"/>
                      </a:lnTo>
                      <a:lnTo>
                        <a:pt x="1332967" y="916962"/>
                      </a:lnTo>
                      <a:lnTo>
                        <a:pt x="1333659" y="915031"/>
                      </a:lnTo>
                      <a:lnTo>
                        <a:pt x="1334570" y="912469"/>
                      </a:lnTo>
                      <a:lnTo>
                        <a:pt x="1334946" y="911412"/>
                      </a:lnTo>
                      <a:lnTo>
                        <a:pt x="1334922" y="910295"/>
                      </a:lnTo>
                      <a:lnTo>
                        <a:pt x="1334800" y="905037"/>
                      </a:lnTo>
                      <a:lnTo>
                        <a:pt x="1334946" y="903422"/>
                      </a:lnTo>
                      <a:lnTo>
                        <a:pt x="1335456" y="902087"/>
                      </a:lnTo>
                      <a:lnTo>
                        <a:pt x="1338370" y="897096"/>
                      </a:lnTo>
                      <a:lnTo>
                        <a:pt x="1338625" y="896999"/>
                      </a:lnTo>
                      <a:lnTo>
                        <a:pt x="1339136" y="896671"/>
                      </a:lnTo>
                      <a:lnTo>
                        <a:pt x="1340010" y="896112"/>
                      </a:lnTo>
                      <a:lnTo>
                        <a:pt x="1340520" y="895784"/>
                      </a:lnTo>
                      <a:lnTo>
                        <a:pt x="1340957" y="895359"/>
                      </a:lnTo>
                      <a:lnTo>
                        <a:pt x="1344709" y="891729"/>
                      </a:lnTo>
                      <a:lnTo>
                        <a:pt x="1346579" y="891644"/>
                      </a:lnTo>
                      <a:lnTo>
                        <a:pt x="1347550" y="891607"/>
                      </a:lnTo>
                      <a:lnTo>
                        <a:pt x="1348461" y="891255"/>
                      </a:lnTo>
                      <a:lnTo>
                        <a:pt x="1350356" y="890539"/>
                      </a:lnTo>
                      <a:lnTo>
                        <a:pt x="1351946" y="889944"/>
                      </a:lnTo>
                      <a:lnTo>
                        <a:pt x="1352990" y="888608"/>
                      </a:lnTo>
                      <a:lnTo>
                        <a:pt x="1354253" y="886993"/>
                      </a:lnTo>
                      <a:lnTo>
                        <a:pt x="1354800" y="886289"/>
                      </a:lnTo>
                      <a:lnTo>
                        <a:pt x="1355116" y="885475"/>
                      </a:lnTo>
                      <a:lnTo>
                        <a:pt x="1355868" y="883557"/>
                      </a:lnTo>
                      <a:lnTo>
                        <a:pt x="1362911" y="884127"/>
                      </a:lnTo>
                      <a:lnTo>
                        <a:pt x="1364563" y="884540"/>
                      </a:lnTo>
                      <a:lnTo>
                        <a:pt x="1365328" y="884722"/>
                      </a:lnTo>
                      <a:lnTo>
                        <a:pt x="1366105" y="884710"/>
                      </a:lnTo>
                      <a:lnTo>
                        <a:pt x="1368278" y="884674"/>
                      </a:lnTo>
                      <a:lnTo>
                        <a:pt x="1369857" y="884650"/>
                      </a:lnTo>
                      <a:lnTo>
                        <a:pt x="1371229" y="883860"/>
                      </a:lnTo>
                      <a:lnTo>
                        <a:pt x="1373658" y="882452"/>
                      </a:lnTo>
                      <a:lnTo>
                        <a:pt x="1374605" y="881905"/>
                      </a:lnTo>
                      <a:lnTo>
                        <a:pt x="1375309" y="881055"/>
                      </a:lnTo>
                      <a:lnTo>
                        <a:pt x="1378661" y="876963"/>
                      </a:lnTo>
                      <a:lnTo>
                        <a:pt x="1379571" y="876210"/>
                      </a:lnTo>
                      <a:lnTo>
                        <a:pt x="1380118" y="875955"/>
                      </a:lnTo>
                      <a:lnTo>
                        <a:pt x="1381320" y="875591"/>
                      </a:lnTo>
                      <a:lnTo>
                        <a:pt x="1381903" y="875421"/>
                      </a:lnTo>
                      <a:lnTo>
                        <a:pt x="1382437" y="875142"/>
                      </a:lnTo>
                      <a:lnTo>
                        <a:pt x="1383991" y="874304"/>
                      </a:lnTo>
                      <a:lnTo>
                        <a:pt x="1385145" y="873696"/>
                      </a:lnTo>
                      <a:lnTo>
                        <a:pt x="1385934" y="872664"/>
                      </a:lnTo>
                      <a:lnTo>
                        <a:pt x="1387476" y="870661"/>
                      </a:lnTo>
                      <a:lnTo>
                        <a:pt x="1388217" y="869689"/>
                      </a:lnTo>
                      <a:lnTo>
                        <a:pt x="1388533" y="868511"/>
                      </a:lnTo>
                      <a:lnTo>
                        <a:pt x="1389116" y="866326"/>
                      </a:lnTo>
                      <a:lnTo>
                        <a:pt x="1389322" y="865561"/>
                      </a:lnTo>
                      <a:lnTo>
                        <a:pt x="1389322" y="864771"/>
                      </a:lnTo>
                      <a:lnTo>
                        <a:pt x="1389322" y="862841"/>
                      </a:lnTo>
                      <a:lnTo>
                        <a:pt x="1389383" y="862331"/>
                      </a:lnTo>
                      <a:lnTo>
                        <a:pt x="1398794" y="856599"/>
                      </a:lnTo>
                      <a:lnTo>
                        <a:pt x="1399279" y="856308"/>
                      </a:lnTo>
                      <a:lnTo>
                        <a:pt x="1399704" y="855931"/>
                      </a:lnTo>
                      <a:lnTo>
                        <a:pt x="1402352" y="853551"/>
                      </a:lnTo>
                      <a:lnTo>
                        <a:pt x="1403226" y="852774"/>
                      </a:lnTo>
                      <a:lnTo>
                        <a:pt x="1403736" y="851718"/>
                      </a:lnTo>
                      <a:lnTo>
                        <a:pt x="1404707" y="849739"/>
                      </a:lnTo>
                      <a:lnTo>
                        <a:pt x="1404974" y="849192"/>
                      </a:lnTo>
                      <a:lnTo>
                        <a:pt x="1405132" y="848597"/>
                      </a:lnTo>
                      <a:lnTo>
                        <a:pt x="1405387" y="847589"/>
                      </a:lnTo>
                      <a:lnTo>
                        <a:pt x="1408884" y="846861"/>
                      </a:lnTo>
                      <a:lnTo>
                        <a:pt x="1409734" y="846678"/>
                      </a:lnTo>
                      <a:lnTo>
                        <a:pt x="1410500" y="846266"/>
                      </a:lnTo>
                      <a:lnTo>
                        <a:pt x="1412005" y="845464"/>
                      </a:lnTo>
                      <a:lnTo>
                        <a:pt x="1412916" y="844966"/>
                      </a:lnTo>
                      <a:lnTo>
                        <a:pt x="1413620" y="844214"/>
                      </a:lnTo>
                      <a:lnTo>
                        <a:pt x="1415903" y="841712"/>
                      </a:lnTo>
                      <a:lnTo>
                        <a:pt x="1416377" y="841372"/>
                      </a:lnTo>
                      <a:lnTo>
                        <a:pt x="1419619" y="840388"/>
                      </a:lnTo>
                      <a:lnTo>
                        <a:pt x="1421659" y="839769"/>
                      </a:lnTo>
                      <a:lnTo>
                        <a:pt x="1422873" y="837996"/>
                      </a:lnTo>
                      <a:lnTo>
                        <a:pt x="1424136" y="836151"/>
                      </a:lnTo>
                      <a:lnTo>
                        <a:pt x="1424500" y="835616"/>
                      </a:lnTo>
                      <a:lnTo>
                        <a:pt x="1424755" y="835021"/>
                      </a:lnTo>
                      <a:lnTo>
                        <a:pt x="1425472" y="833260"/>
                      </a:lnTo>
                      <a:lnTo>
                        <a:pt x="1425763" y="832799"/>
                      </a:lnTo>
                      <a:lnTo>
                        <a:pt x="1425897" y="832714"/>
                      </a:lnTo>
                      <a:lnTo>
                        <a:pt x="1430426" y="830650"/>
                      </a:lnTo>
                      <a:lnTo>
                        <a:pt x="1431033" y="830528"/>
                      </a:lnTo>
                      <a:lnTo>
                        <a:pt x="1432551" y="830795"/>
                      </a:lnTo>
                      <a:lnTo>
                        <a:pt x="1433498" y="830966"/>
                      </a:lnTo>
                      <a:lnTo>
                        <a:pt x="1434445" y="830832"/>
                      </a:lnTo>
                      <a:lnTo>
                        <a:pt x="1435660" y="830662"/>
                      </a:lnTo>
                      <a:lnTo>
                        <a:pt x="1437165" y="830443"/>
                      </a:lnTo>
                      <a:lnTo>
                        <a:pt x="1438392" y="829545"/>
                      </a:lnTo>
                      <a:lnTo>
                        <a:pt x="1439825" y="828500"/>
                      </a:lnTo>
                      <a:lnTo>
                        <a:pt x="1440869" y="827735"/>
                      </a:lnTo>
                      <a:lnTo>
                        <a:pt x="1441513" y="826606"/>
                      </a:lnTo>
                      <a:lnTo>
                        <a:pt x="1442435" y="824979"/>
                      </a:lnTo>
                      <a:lnTo>
                        <a:pt x="1443030" y="823923"/>
                      </a:lnTo>
                      <a:lnTo>
                        <a:pt x="1443176" y="822720"/>
                      </a:lnTo>
                      <a:lnTo>
                        <a:pt x="1443383" y="821081"/>
                      </a:lnTo>
                      <a:lnTo>
                        <a:pt x="1444876" y="820049"/>
                      </a:lnTo>
                      <a:lnTo>
                        <a:pt x="1447912" y="819818"/>
                      </a:lnTo>
                      <a:lnTo>
                        <a:pt x="1452818" y="820243"/>
                      </a:lnTo>
                      <a:lnTo>
                        <a:pt x="1453595" y="820316"/>
                      </a:lnTo>
                      <a:lnTo>
                        <a:pt x="1454360" y="820183"/>
                      </a:lnTo>
                      <a:lnTo>
                        <a:pt x="1459715" y="819260"/>
                      </a:lnTo>
                      <a:lnTo>
                        <a:pt x="1461743" y="818908"/>
                      </a:lnTo>
                      <a:lnTo>
                        <a:pt x="1463139" y="817402"/>
                      </a:lnTo>
                      <a:lnTo>
                        <a:pt x="1466284" y="814014"/>
                      </a:lnTo>
                      <a:lnTo>
                        <a:pt x="1469927" y="812071"/>
                      </a:lnTo>
                      <a:lnTo>
                        <a:pt x="1470546" y="811743"/>
                      </a:lnTo>
                      <a:lnTo>
                        <a:pt x="1471081" y="811270"/>
                      </a:lnTo>
                      <a:lnTo>
                        <a:pt x="1473096" y="809497"/>
                      </a:lnTo>
                      <a:lnTo>
                        <a:pt x="1475586" y="807724"/>
                      </a:lnTo>
                      <a:lnTo>
                        <a:pt x="1477383" y="806194"/>
                      </a:lnTo>
                      <a:lnTo>
                        <a:pt x="1477893" y="805745"/>
                      </a:lnTo>
                      <a:lnTo>
                        <a:pt x="1478293" y="805198"/>
                      </a:lnTo>
                      <a:lnTo>
                        <a:pt x="1479496" y="803547"/>
                      </a:lnTo>
                      <a:lnTo>
                        <a:pt x="1479933" y="802940"/>
                      </a:lnTo>
                      <a:lnTo>
                        <a:pt x="1480212" y="802247"/>
                      </a:lnTo>
                      <a:lnTo>
                        <a:pt x="1481536" y="798993"/>
                      </a:lnTo>
                      <a:lnTo>
                        <a:pt x="1481718" y="798629"/>
                      </a:lnTo>
                      <a:lnTo>
                        <a:pt x="1484244" y="795557"/>
                      </a:lnTo>
                      <a:lnTo>
                        <a:pt x="1485154" y="794852"/>
                      </a:lnTo>
                      <a:lnTo>
                        <a:pt x="1485725" y="794682"/>
                      </a:lnTo>
                      <a:lnTo>
                        <a:pt x="1490558" y="794804"/>
                      </a:lnTo>
                      <a:lnTo>
                        <a:pt x="1491104" y="794816"/>
                      </a:lnTo>
                      <a:lnTo>
                        <a:pt x="1491639" y="794731"/>
                      </a:lnTo>
                      <a:lnTo>
                        <a:pt x="1494225" y="794318"/>
                      </a:lnTo>
                      <a:lnTo>
                        <a:pt x="1496047" y="796297"/>
                      </a:lnTo>
                      <a:lnTo>
                        <a:pt x="1500260" y="793820"/>
                      </a:lnTo>
                      <a:lnTo>
                        <a:pt x="1503296" y="792035"/>
                      </a:lnTo>
                      <a:lnTo>
                        <a:pt x="1506040" y="790420"/>
                      </a:lnTo>
                      <a:lnTo>
                        <a:pt x="1506271" y="787239"/>
                      </a:lnTo>
                      <a:lnTo>
                        <a:pt x="1506453" y="784725"/>
                      </a:lnTo>
                      <a:lnTo>
                        <a:pt x="1506477" y="784397"/>
                      </a:lnTo>
                      <a:lnTo>
                        <a:pt x="1512282" y="785175"/>
                      </a:lnTo>
                      <a:lnTo>
                        <a:pt x="1513727" y="785369"/>
                      </a:lnTo>
                      <a:lnTo>
                        <a:pt x="1515099" y="784883"/>
                      </a:lnTo>
                      <a:lnTo>
                        <a:pt x="1517807" y="783936"/>
                      </a:lnTo>
                      <a:lnTo>
                        <a:pt x="1518972" y="783523"/>
                      </a:lnTo>
                      <a:lnTo>
                        <a:pt x="1519883" y="782685"/>
                      </a:lnTo>
                      <a:lnTo>
                        <a:pt x="1521583" y="781155"/>
                      </a:lnTo>
                      <a:lnTo>
                        <a:pt x="1528420" y="777209"/>
                      </a:lnTo>
                      <a:lnTo>
                        <a:pt x="1528723" y="777039"/>
                      </a:lnTo>
                      <a:lnTo>
                        <a:pt x="1529002" y="776832"/>
                      </a:lnTo>
                      <a:lnTo>
                        <a:pt x="1538049" y="770129"/>
                      </a:lnTo>
                      <a:lnTo>
                        <a:pt x="1539300" y="769619"/>
                      </a:lnTo>
                      <a:lnTo>
                        <a:pt x="1541327" y="769316"/>
                      </a:lnTo>
                      <a:lnTo>
                        <a:pt x="1541716" y="769255"/>
                      </a:lnTo>
                      <a:lnTo>
                        <a:pt x="1542105" y="769146"/>
                      </a:lnTo>
                      <a:lnTo>
                        <a:pt x="1548249" y="767385"/>
                      </a:lnTo>
                      <a:lnTo>
                        <a:pt x="1551260" y="767021"/>
                      </a:lnTo>
                      <a:lnTo>
                        <a:pt x="1551698" y="766972"/>
                      </a:lnTo>
                      <a:lnTo>
                        <a:pt x="1552135" y="766851"/>
                      </a:lnTo>
                      <a:lnTo>
                        <a:pt x="1555061" y="766049"/>
                      </a:lnTo>
                      <a:lnTo>
                        <a:pt x="1556397" y="765685"/>
                      </a:lnTo>
                      <a:lnTo>
                        <a:pt x="1557441" y="764774"/>
                      </a:lnTo>
                      <a:lnTo>
                        <a:pt x="1559627" y="762868"/>
                      </a:lnTo>
                      <a:lnTo>
                        <a:pt x="1560076" y="762479"/>
                      </a:lnTo>
                      <a:lnTo>
                        <a:pt x="1560440" y="762006"/>
                      </a:lnTo>
                      <a:lnTo>
                        <a:pt x="1562748" y="759019"/>
                      </a:lnTo>
                      <a:lnTo>
                        <a:pt x="1566451" y="757294"/>
                      </a:lnTo>
                      <a:lnTo>
                        <a:pt x="1572863" y="755266"/>
                      </a:lnTo>
                      <a:lnTo>
                        <a:pt x="1573907" y="754939"/>
                      </a:lnTo>
                      <a:lnTo>
                        <a:pt x="1574781" y="754259"/>
                      </a:lnTo>
                      <a:lnTo>
                        <a:pt x="1579019" y="750919"/>
                      </a:lnTo>
                      <a:lnTo>
                        <a:pt x="1582565" y="748139"/>
                      </a:lnTo>
                      <a:lnTo>
                        <a:pt x="1581023" y="744192"/>
                      </a:lnTo>
                      <a:lnTo>
                        <a:pt x="1584277" y="743208"/>
                      </a:lnTo>
                      <a:lnTo>
                        <a:pt x="1585066" y="742966"/>
                      </a:lnTo>
                      <a:lnTo>
                        <a:pt x="1585771" y="742516"/>
                      </a:lnTo>
                      <a:lnTo>
                        <a:pt x="1587774" y="741254"/>
                      </a:lnTo>
                      <a:lnTo>
                        <a:pt x="1589061" y="740440"/>
                      </a:lnTo>
                      <a:lnTo>
                        <a:pt x="1589814" y="739116"/>
                      </a:lnTo>
                      <a:lnTo>
                        <a:pt x="1590786" y="737392"/>
                      </a:lnTo>
                      <a:lnTo>
                        <a:pt x="1591320" y="736457"/>
                      </a:lnTo>
                      <a:lnTo>
                        <a:pt x="1591490" y="735401"/>
                      </a:lnTo>
                      <a:lnTo>
                        <a:pt x="1591721" y="734053"/>
                      </a:lnTo>
                      <a:lnTo>
                        <a:pt x="1594356" y="733980"/>
                      </a:lnTo>
                      <a:lnTo>
                        <a:pt x="1594866" y="733968"/>
                      </a:lnTo>
                      <a:lnTo>
                        <a:pt x="1595364" y="733871"/>
                      </a:lnTo>
                      <a:lnTo>
                        <a:pt x="1598691" y="733203"/>
                      </a:lnTo>
                      <a:lnTo>
                        <a:pt x="1599589" y="733020"/>
                      </a:lnTo>
                      <a:lnTo>
                        <a:pt x="1600403" y="732583"/>
                      </a:lnTo>
                      <a:lnTo>
                        <a:pt x="1605467" y="729815"/>
                      </a:lnTo>
                      <a:lnTo>
                        <a:pt x="1608271" y="728661"/>
                      </a:lnTo>
                      <a:lnTo>
                        <a:pt x="1608417" y="728783"/>
                      </a:lnTo>
                      <a:lnTo>
                        <a:pt x="1609158" y="729402"/>
                      </a:lnTo>
                      <a:lnTo>
                        <a:pt x="1610056" y="729766"/>
                      </a:lnTo>
                      <a:lnTo>
                        <a:pt x="1611829" y="730483"/>
                      </a:lnTo>
                      <a:lnTo>
                        <a:pt x="1612461" y="730738"/>
                      </a:lnTo>
                      <a:lnTo>
                        <a:pt x="1613141" y="730847"/>
                      </a:lnTo>
                      <a:lnTo>
                        <a:pt x="1615096" y="731163"/>
                      </a:lnTo>
                      <a:lnTo>
                        <a:pt x="1615582" y="731236"/>
                      </a:lnTo>
                      <a:lnTo>
                        <a:pt x="1616067" y="731236"/>
                      </a:lnTo>
                      <a:lnTo>
                        <a:pt x="1618022" y="731236"/>
                      </a:lnTo>
                      <a:lnTo>
                        <a:pt x="1618459" y="731236"/>
                      </a:lnTo>
                      <a:lnTo>
                        <a:pt x="1618884" y="731175"/>
                      </a:lnTo>
                      <a:lnTo>
                        <a:pt x="1622661" y="730628"/>
                      </a:lnTo>
                      <a:lnTo>
                        <a:pt x="1624968" y="730300"/>
                      </a:lnTo>
                      <a:lnTo>
                        <a:pt x="1626462" y="728516"/>
                      </a:lnTo>
                      <a:lnTo>
                        <a:pt x="1627567" y="727192"/>
                      </a:lnTo>
                      <a:lnTo>
                        <a:pt x="1629036" y="725431"/>
                      </a:lnTo>
                      <a:lnTo>
                        <a:pt x="1628987" y="723148"/>
                      </a:lnTo>
                      <a:lnTo>
                        <a:pt x="1628939" y="721120"/>
                      </a:lnTo>
                      <a:lnTo>
                        <a:pt x="1629255" y="718340"/>
                      </a:lnTo>
                      <a:lnTo>
                        <a:pt x="1629327" y="718145"/>
                      </a:lnTo>
                      <a:lnTo>
                        <a:pt x="1630311" y="716506"/>
                      </a:lnTo>
                      <a:lnTo>
                        <a:pt x="1631513" y="715158"/>
                      </a:lnTo>
                      <a:lnTo>
                        <a:pt x="1631792" y="712390"/>
                      </a:lnTo>
                      <a:lnTo>
                        <a:pt x="1631744" y="710265"/>
                      </a:lnTo>
                      <a:lnTo>
                        <a:pt x="1631732" y="709524"/>
                      </a:lnTo>
                      <a:lnTo>
                        <a:pt x="1633092" y="710058"/>
                      </a:lnTo>
                      <a:lnTo>
                        <a:pt x="1636115" y="711248"/>
                      </a:lnTo>
                      <a:lnTo>
                        <a:pt x="1638787" y="709403"/>
                      </a:lnTo>
                      <a:lnTo>
                        <a:pt x="1641324" y="707642"/>
                      </a:lnTo>
                      <a:lnTo>
                        <a:pt x="1643535" y="706112"/>
                      </a:lnTo>
                      <a:lnTo>
                        <a:pt x="1643887" y="703452"/>
                      </a:lnTo>
                      <a:lnTo>
                        <a:pt x="1643947" y="702967"/>
                      </a:lnTo>
                      <a:lnTo>
                        <a:pt x="1646595" y="701959"/>
                      </a:lnTo>
                      <a:lnTo>
                        <a:pt x="1651658" y="700040"/>
                      </a:lnTo>
                      <a:lnTo>
                        <a:pt x="1650323" y="694795"/>
                      </a:lnTo>
                      <a:lnTo>
                        <a:pt x="1649946" y="693277"/>
                      </a:lnTo>
                      <a:lnTo>
                        <a:pt x="1649812" y="692743"/>
                      </a:lnTo>
                      <a:lnTo>
                        <a:pt x="1649582" y="692245"/>
                      </a:lnTo>
                      <a:lnTo>
                        <a:pt x="1648780" y="690496"/>
                      </a:lnTo>
                      <a:lnTo>
                        <a:pt x="1648550" y="689998"/>
                      </a:lnTo>
                      <a:lnTo>
                        <a:pt x="1649205" y="689585"/>
                      </a:lnTo>
                      <a:lnTo>
                        <a:pt x="1649691" y="689282"/>
                      </a:lnTo>
                      <a:lnTo>
                        <a:pt x="1650116" y="688893"/>
                      </a:lnTo>
                      <a:lnTo>
                        <a:pt x="1656370" y="683004"/>
                      </a:lnTo>
                      <a:lnTo>
                        <a:pt x="1656746" y="682652"/>
                      </a:lnTo>
                      <a:lnTo>
                        <a:pt x="1657050" y="682239"/>
                      </a:lnTo>
                      <a:lnTo>
                        <a:pt x="1658021" y="680952"/>
                      </a:lnTo>
                      <a:lnTo>
                        <a:pt x="1659478" y="679033"/>
                      </a:lnTo>
                      <a:lnTo>
                        <a:pt x="1659223" y="676641"/>
                      </a:lnTo>
                      <a:lnTo>
                        <a:pt x="1659114" y="675609"/>
                      </a:lnTo>
                      <a:lnTo>
                        <a:pt x="1658932" y="674006"/>
                      </a:lnTo>
                      <a:lnTo>
                        <a:pt x="1657985" y="672695"/>
                      </a:lnTo>
                      <a:lnTo>
                        <a:pt x="1657353" y="671832"/>
                      </a:lnTo>
                      <a:lnTo>
                        <a:pt x="1656831" y="671116"/>
                      </a:lnTo>
                      <a:lnTo>
                        <a:pt x="1656127" y="670582"/>
                      </a:lnTo>
                      <a:lnTo>
                        <a:pt x="1655046" y="669756"/>
                      </a:lnTo>
                      <a:lnTo>
                        <a:pt x="1654779" y="669549"/>
                      </a:lnTo>
                      <a:lnTo>
                        <a:pt x="1654500" y="669379"/>
                      </a:lnTo>
                      <a:lnTo>
                        <a:pt x="1653383" y="668712"/>
                      </a:lnTo>
                      <a:lnTo>
                        <a:pt x="1652812" y="668359"/>
                      </a:lnTo>
                      <a:lnTo>
                        <a:pt x="1652168" y="668141"/>
                      </a:lnTo>
                      <a:lnTo>
                        <a:pt x="1650675" y="667643"/>
                      </a:lnTo>
                      <a:lnTo>
                        <a:pt x="1650031" y="667424"/>
                      </a:lnTo>
                      <a:lnTo>
                        <a:pt x="1649351" y="667352"/>
                      </a:lnTo>
                      <a:lnTo>
                        <a:pt x="1645647" y="666975"/>
                      </a:lnTo>
                      <a:lnTo>
                        <a:pt x="1644810" y="666757"/>
                      </a:lnTo>
                      <a:lnTo>
                        <a:pt x="1643474" y="666125"/>
                      </a:lnTo>
                      <a:lnTo>
                        <a:pt x="1642964" y="665882"/>
                      </a:lnTo>
                      <a:lnTo>
                        <a:pt x="1642418" y="665737"/>
                      </a:lnTo>
                      <a:lnTo>
                        <a:pt x="1640122" y="665142"/>
                      </a:lnTo>
                      <a:lnTo>
                        <a:pt x="1639782" y="665056"/>
                      </a:lnTo>
                      <a:lnTo>
                        <a:pt x="1639442" y="665008"/>
                      </a:lnTo>
                      <a:lnTo>
                        <a:pt x="1636273" y="664571"/>
                      </a:lnTo>
                      <a:lnTo>
                        <a:pt x="1635702" y="664486"/>
                      </a:lnTo>
                      <a:lnTo>
                        <a:pt x="1635132" y="664510"/>
                      </a:lnTo>
                      <a:lnTo>
                        <a:pt x="1629510" y="664802"/>
                      </a:lnTo>
                      <a:lnTo>
                        <a:pt x="1629194" y="664814"/>
                      </a:lnTo>
                      <a:lnTo>
                        <a:pt x="1628878" y="664862"/>
                      </a:lnTo>
                      <a:lnTo>
                        <a:pt x="1626061" y="665312"/>
                      </a:lnTo>
                      <a:lnTo>
                        <a:pt x="1624871" y="665506"/>
                      </a:lnTo>
                      <a:lnTo>
                        <a:pt x="1623851" y="666137"/>
                      </a:lnTo>
                      <a:lnTo>
                        <a:pt x="1621447" y="667607"/>
                      </a:lnTo>
                      <a:lnTo>
                        <a:pt x="1620839" y="667983"/>
                      </a:lnTo>
                      <a:lnTo>
                        <a:pt x="1620329" y="668493"/>
                      </a:lnTo>
                      <a:lnTo>
                        <a:pt x="1619649" y="669173"/>
                      </a:lnTo>
                      <a:lnTo>
                        <a:pt x="1618350" y="670047"/>
                      </a:lnTo>
                      <a:lnTo>
                        <a:pt x="1617427" y="670679"/>
                      </a:lnTo>
                      <a:lnTo>
                        <a:pt x="1616784" y="671602"/>
                      </a:lnTo>
                      <a:lnTo>
                        <a:pt x="1616043" y="672646"/>
                      </a:lnTo>
                      <a:lnTo>
                        <a:pt x="1614282" y="672537"/>
                      </a:lnTo>
                      <a:lnTo>
                        <a:pt x="1613554" y="672488"/>
                      </a:lnTo>
                      <a:lnTo>
                        <a:pt x="1612825" y="672622"/>
                      </a:lnTo>
                      <a:lnTo>
                        <a:pt x="1611392" y="672877"/>
                      </a:lnTo>
                      <a:lnTo>
                        <a:pt x="1609899" y="673132"/>
                      </a:lnTo>
                      <a:lnTo>
                        <a:pt x="1608709" y="674067"/>
                      </a:lnTo>
                      <a:lnTo>
                        <a:pt x="1607543" y="674977"/>
                      </a:lnTo>
                      <a:lnTo>
                        <a:pt x="1607519" y="675002"/>
                      </a:lnTo>
                      <a:lnTo>
                        <a:pt x="1606450" y="674722"/>
                      </a:lnTo>
                      <a:lnTo>
                        <a:pt x="1604094" y="674115"/>
                      </a:lnTo>
                      <a:lnTo>
                        <a:pt x="1603524" y="673969"/>
                      </a:lnTo>
                      <a:lnTo>
                        <a:pt x="1602941" y="673933"/>
                      </a:lnTo>
                      <a:lnTo>
                        <a:pt x="1592486" y="673289"/>
                      </a:lnTo>
                      <a:lnTo>
                        <a:pt x="1587701" y="671990"/>
                      </a:lnTo>
                      <a:lnTo>
                        <a:pt x="1586912" y="671772"/>
                      </a:lnTo>
                      <a:lnTo>
                        <a:pt x="1586099" y="671772"/>
                      </a:lnTo>
                      <a:lnTo>
                        <a:pt x="1584301" y="671772"/>
                      </a:lnTo>
                      <a:lnTo>
                        <a:pt x="1583646" y="671772"/>
                      </a:lnTo>
                      <a:lnTo>
                        <a:pt x="1583014" y="671905"/>
                      </a:lnTo>
                      <a:lnTo>
                        <a:pt x="1581253" y="672282"/>
                      </a:lnTo>
                      <a:lnTo>
                        <a:pt x="1580051" y="672537"/>
                      </a:lnTo>
                      <a:lnTo>
                        <a:pt x="1579566" y="672877"/>
                      </a:lnTo>
                      <a:lnTo>
                        <a:pt x="1579456" y="672828"/>
                      </a:lnTo>
                      <a:lnTo>
                        <a:pt x="1578206" y="672197"/>
                      </a:lnTo>
                      <a:lnTo>
                        <a:pt x="1577841" y="672002"/>
                      </a:lnTo>
                      <a:lnTo>
                        <a:pt x="1577453" y="671869"/>
                      </a:lnTo>
                      <a:lnTo>
                        <a:pt x="1575558" y="671213"/>
                      </a:lnTo>
                      <a:lnTo>
                        <a:pt x="1574963" y="671007"/>
                      </a:lnTo>
                      <a:lnTo>
                        <a:pt x="1574344" y="670922"/>
                      </a:lnTo>
                      <a:lnTo>
                        <a:pt x="1563282" y="669513"/>
                      </a:lnTo>
                      <a:lnTo>
                        <a:pt x="1558643" y="668250"/>
                      </a:lnTo>
                      <a:lnTo>
                        <a:pt x="1557939" y="668056"/>
                      </a:lnTo>
                      <a:lnTo>
                        <a:pt x="1557211" y="668032"/>
                      </a:lnTo>
                      <a:lnTo>
                        <a:pt x="1554673" y="667959"/>
                      </a:lnTo>
                      <a:lnTo>
                        <a:pt x="1554296" y="667959"/>
                      </a:lnTo>
                      <a:lnTo>
                        <a:pt x="1555838" y="667145"/>
                      </a:lnTo>
                      <a:lnTo>
                        <a:pt x="1557028" y="666514"/>
                      </a:lnTo>
                      <a:lnTo>
                        <a:pt x="1557842" y="665445"/>
                      </a:lnTo>
                      <a:lnTo>
                        <a:pt x="1559105" y="663781"/>
                      </a:lnTo>
                      <a:lnTo>
                        <a:pt x="1560343" y="662154"/>
                      </a:lnTo>
                      <a:lnTo>
                        <a:pt x="1560343" y="660114"/>
                      </a:lnTo>
                      <a:lnTo>
                        <a:pt x="1560343" y="657528"/>
                      </a:lnTo>
                      <a:lnTo>
                        <a:pt x="1560343" y="655755"/>
                      </a:lnTo>
                      <a:lnTo>
                        <a:pt x="1559384" y="654261"/>
                      </a:lnTo>
                      <a:lnTo>
                        <a:pt x="1558413" y="652744"/>
                      </a:lnTo>
                      <a:lnTo>
                        <a:pt x="1557514" y="651335"/>
                      </a:lnTo>
                      <a:lnTo>
                        <a:pt x="1556020" y="650582"/>
                      </a:lnTo>
                      <a:lnTo>
                        <a:pt x="1554806" y="649975"/>
                      </a:lnTo>
                      <a:lnTo>
                        <a:pt x="1552997" y="649064"/>
                      </a:lnTo>
                      <a:lnTo>
                        <a:pt x="1550993" y="649416"/>
                      </a:lnTo>
                      <a:lnTo>
                        <a:pt x="1549840" y="649623"/>
                      </a:lnTo>
                      <a:lnTo>
                        <a:pt x="1548662" y="649841"/>
                      </a:lnTo>
                      <a:lnTo>
                        <a:pt x="1547654" y="650485"/>
                      </a:lnTo>
                      <a:lnTo>
                        <a:pt x="1547484" y="650594"/>
                      </a:lnTo>
                      <a:lnTo>
                        <a:pt x="1547144" y="649951"/>
                      </a:lnTo>
                      <a:lnTo>
                        <a:pt x="1546828" y="649356"/>
                      </a:lnTo>
                      <a:lnTo>
                        <a:pt x="1546379" y="648846"/>
                      </a:lnTo>
                      <a:lnTo>
                        <a:pt x="1545468" y="647789"/>
                      </a:lnTo>
                      <a:lnTo>
                        <a:pt x="1544740" y="646939"/>
                      </a:lnTo>
                      <a:lnTo>
                        <a:pt x="1543756" y="646417"/>
                      </a:lnTo>
                      <a:lnTo>
                        <a:pt x="1542894" y="645956"/>
                      </a:lnTo>
                      <a:lnTo>
                        <a:pt x="1541473" y="645191"/>
                      </a:lnTo>
                      <a:lnTo>
                        <a:pt x="1539870" y="645227"/>
                      </a:lnTo>
                      <a:lnTo>
                        <a:pt x="1538960" y="645251"/>
                      </a:lnTo>
                      <a:lnTo>
                        <a:pt x="1537332" y="645288"/>
                      </a:lnTo>
                      <a:lnTo>
                        <a:pt x="1535948" y="646138"/>
                      </a:lnTo>
                      <a:lnTo>
                        <a:pt x="1535135" y="646636"/>
                      </a:lnTo>
                      <a:lnTo>
                        <a:pt x="1534212" y="647194"/>
                      </a:lnTo>
                      <a:lnTo>
                        <a:pt x="1533544" y="648032"/>
                      </a:lnTo>
                      <a:lnTo>
                        <a:pt x="1533204" y="648457"/>
                      </a:lnTo>
                      <a:lnTo>
                        <a:pt x="1531516" y="648372"/>
                      </a:lnTo>
                      <a:lnTo>
                        <a:pt x="1526319" y="647449"/>
                      </a:lnTo>
                      <a:lnTo>
                        <a:pt x="1525930" y="645847"/>
                      </a:lnTo>
                      <a:lnTo>
                        <a:pt x="1525529" y="644207"/>
                      </a:lnTo>
                      <a:lnTo>
                        <a:pt x="1524352" y="643005"/>
                      </a:lnTo>
                      <a:lnTo>
                        <a:pt x="1524109" y="642762"/>
                      </a:lnTo>
                      <a:lnTo>
                        <a:pt x="1528650" y="641596"/>
                      </a:lnTo>
                      <a:lnTo>
                        <a:pt x="1529148" y="641475"/>
                      </a:lnTo>
                      <a:lnTo>
                        <a:pt x="1529610" y="641268"/>
                      </a:lnTo>
                      <a:lnTo>
                        <a:pt x="1532767" y="639872"/>
                      </a:lnTo>
                      <a:lnTo>
                        <a:pt x="1534673" y="639034"/>
                      </a:lnTo>
                      <a:lnTo>
                        <a:pt x="1535657" y="637201"/>
                      </a:lnTo>
                      <a:lnTo>
                        <a:pt x="1537029" y="634639"/>
                      </a:lnTo>
                      <a:lnTo>
                        <a:pt x="1537515" y="633752"/>
                      </a:lnTo>
                      <a:lnTo>
                        <a:pt x="1537672" y="632817"/>
                      </a:lnTo>
                      <a:lnTo>
                        <a:pt x="1537782" y="632781"/>
                      </a:lnTo>
                      <a:lnTo>
                        <a:pt x="1538097" y="632599"/>
                      </a:lnTo>
                      <a:lnTo>
                        <a:pt x="1542347" y="630279"/>
                      </a:lnTo>
                      <a:lnTo>
                        <a:pt x="1543744" y="629514"/>
                      </a:lnTo>
                      <a:lnTo>
                        <a:pt x="1544582" y="628166"/>
                      </a:lnTo>
                      <a:lnTo>
                        <a:pt x="1547800" y="623018"/>
                      </a:lnTo>
                      <a:lnTo>
                        <a:pt x="1549415" y="620431"/>
                      </a:lnTo>
                      <a:lnTo>
                        <a:pt x="1548310" y="617602"/>
                      </a:lnTo>
                      <a:lnTo>
                        <a:pt x="1547387" y="615222"/>
                      </a:lnTo>
                      <a:lnTo>
                        <a:pt x="1546464" y="612854"/>
                      </a:lnTo>
                      <a:lnTo>
                        <a:pt x="1544132" y="611846"/>
                      </a:lnTo>
                      <a:lnTo>
                        <a:pt x="1543902" y="611749"/>
                      </a:lnTo>
                      <a:lnTo>
                        <a:pt x="1543210" y="609308"/>
                      </a:lnTo>
                      <a:lnTo>
                        <a:pt x="1542250" y="606698"/>
                      </a:lnTo>
                      <a:lnTo>
                        <a:pt x="1541959" y="605920"/>
                      </a:lnTo>
                      <a:lnTo>
                        <a:pt x="1541473" y="605253"/>
                      </a:lnTo>
                      <a:lnTo>
                        <a:pt x="1540150" y="603431"/>
                      </a:lnTo>
                      <a:lnTo>
                        <a:pt x="1539640" y="602326"/>
                      </a:lnTo>
                      <a:lnTo>
                        <a:pt x="1539130" y="600165"/>
                      </a:lnTo>
                      <a:lnTo>
                        <a:pt x="1539263" y="599145"/>
                      </a:lnTo>
                      <a:lnTo>
                        <a:pt x="1539312" y="598756"/>
                      </a:lnTo>
                      <a:lnTo>
                        <a:pt x="1539312" y="598355"/>
                      </a:lnTo>
                      <a:lnTo>
                        <a:pt x="1539312" y="596522"/>
                      </a:lnTo>
                      <a:lnTo>
                        <a:pt x="1539312" y="596097"/>
                      </a:lnTo>
                      <a:lnTo>
                        <a:pt x="1539251" y="595672"/>
                      </a:lnTo>
                      <a:lnTo>
                        <a:pt x="1539093" y="594530"/>
                      </a:lnTo>
                      <a:lnTo>
                        <a:pt x="1538911" y="593243"/>
                      </a:lnTo>
                      <a:lnTo>
                        <a:pt x="1538219" y="592138"/>
                      </a:lnTo>
                      <a:lnTo>
                        <a:pt x="1537466" y="590948"/>
                      </a:lnTo>
                      <a:lnTo>
                        <a:pt x="1536276" y="589078"/>
                      </a:lnTo>
                      <a:lnTo>
                        <a:pt x="1534163" y="588410"/>
                      </a:lnTo>
                      <a:lnTo>
                        <a:pt x="1532548" y="587900"/>
                      </a:lnTo>
                      <a:lnTo>
                        <a:pt x="1531795" y="587657"/>
                      </a:lnTo>
                      <a:lnTo>
                        <a:pt x="1531006" y="587621"/>
                      </a:lnTo>
                      <a:lnTo>
                        <a:pt x="1527642" y="587463"/>
                      </a:lnTo>
                      <a:lnTo>
                        <a:pt x="1527266" y="587330"/>
                      </a:lnTo>
                      <a:lnTo>
                        <a:pt x="1526914" y="587148"/>
                      </a:lnTo>
                      <a:lnTo>
                        <a:pt x="1517090" y="580080"/>
                      </a:lnTo>
                      <a:lnTo>
                        <a:pt x="1516665" y="579789"/>
                      </a:lnTo>
                      <a:lnTo>
                        <a:pt x="1516204" y="579558"/>
                      </a:lnTo>
                      <a:lnTo>
                        <a:pt x="1514832" y="578890"/>
                      </a:lnTo>
                      <a:lnTo>
                        <a:pt x="1514200" y="578587"/>
                      </a:lnTo>
                      <a:lnTo>
                        <a:pt x="1513520" y="578429"/>
                      </a:lnTo>
                      <a:lnTo>
                        <a:pt x="1511687" y="578004"/>
                      </a:lnTo>
                      <a:lnTo>
                        <a:pt x="1508493" y="577506"/>
                      </a:lnTo>
                      <a:lnTo>
                        <a:pt x="1508201" y="577409"/>
                      </a:lnTo>
                      <a:lnTo>
                        <a:pt x="1507388" y="576911"/>
                      </a:lnTo>
                      <a:lnTo>
                        <a:pt x="1506720" y="576377"/>
                      </a:lnTo>
                      <a:lnTo>
                        <a:pt x="1505894" y="575357"/>
                      </a:lnTo>
                      <a:lnTo>
                        <a:pt x="1505275" y="574167"/>
                      </a:lnTo>
                      <a:lnTo>
                        <a:pt x="1503150" y="566359"/>
                      </a:lnTo>
                      <a:lnTo>
                        <a:pt x="1502810" y="565120"/>
                      </a:lnTo>
                      <a:lnTo>
                        <a:pt x="1502009" y="564124"/>
                      </a:lnTo>
                      <a:lnTo>
                        <a:pt x="1499981" y="561635"/>
                      </a:lnTo>
                      <a:lnTo>
                        <a:pt x="1497334" y="557227"/>
                      </a:lnTo>
                      <a:lnTo>
                        <a:pt x="1497067" y="556766"/>
                      </a:lnTo>
                      <a:lnTo>
                        <a:pt x="1496714" y="556365"/>
                      </a:lnTo>
                      <a:lnTo>
                        <a:pt x="1489149" y="547671"/>
                      </a:lnTo>
                      <a:lnTo>
                        <a:pt x="1488749" y="547015"/>
                      </a:lnTo>
                      <a:lnTo>
                        <a:pt x="1488700" y="546845"/>
                      </a:lnTo>
                      <a:lnTo>
                        <a:pt x="1488846" y="545352"/>
                      </a:lnTo>
                      <a:lnTo>
                        <a:pt x="1489234" y="543870"/>
                      </a:lnTo>
                      <a:lnTo>
                        <a:pt x="1489331" y="543481"/>
                      </a:lnTo>
                      <a:lnTo>
                        <a:pt x="1489380" y="543081"/>
                      </a:lnTo>
                      <a:lnTo>
                        <a:pt x="1489550" y="541733"/>
                      </a:lnTo>
                      <a:lnTo>
                        <a:pt x="1489684" y="540640"/>
                      </a:lnTo>
                      <a:lnTo>
                        <a:pt x="1489429" y="539571"/>
                      </a:lnTo>
                      <a:lnTo>
                        <a:pt x="1489137" y="538369"/>
                      </a:lnTo>
                      <a:lnTo>
                        <a:pt x="1488809" y="536985"/>
                      </a:lnTo>
                      <a:lnTo>
                        <a:pt x="1487886" y="535892"/>
                      </a:lnTo>
                      <a:lnTo>
                        <a:pt x="1486793" y="534593"/>
                      </a:lnTo>
                      <a:lnTo>
                        <a:pt x="1486575" y="534338"/>
                      </a:lnTo>
                      <a:lnTo>
                        <a:pt x="1486903" y="533694"/>
                      </a:lnTo>
                      <a:lnTo>
                        <a:pt x="1487425" y="532686"/>
                      </a:lnTo>
                      <a:lnTo>
                        <a:pt x="1487911" y="531751"/>
                      </a:lnTo>
                      <a:lnTo>
                        <a:pt x="1488056" y="530719"/>
                      </a:lnTo>
                      <a:lnTo>
                        <a:pt x="1488214" y="529541"/>
                      </a:lnTo>
                      <a:lnTo>
                        <a:pt x="1488311" y="528789"/>
                      </a:lnTo>
                      <a:lnTo>
                        <a:pt x="1488227" y="528048"/>
                      </a:lnTo>
                      <a:lnTo>
                        <a:pt x="1487826" y="524429"/>
                      </a:lnTo>
                      <a:lnTo>
                        <a:pt x="1487777" y="524016"/>
                      </a:lnTo>
                      <a:lnTo>
                        <a:pt x="1487680" y="523616"/>
                      </a:lnTo>
                      <a:lnTo>
                        <a:pt x="1486709" y="519778"/>
                      </a:lnTo>
                      <a:lnTo>
                        <a:pt x="1486466" y="518807"/>
                      </a:lnTo>
                      <a:lnTo>
                        <a:pt x="1485931" y="517969"/>
                      </a:lnTo>
                      <a:lnTo>
                        <a:pt x="1484438" y="515650"/>
                      </a:lnTo>
                      <a:lnTo>
                        <a:pt x="1484183" y="515249"/>
                      </a:lnTo>
                      <a:lnTo>
                        <a:pt x="1483867" y="514897"/>
                      </a:lnTo>
                      <a:lnTo>
                        <a:pt x="1483005" y="513925"/>
                      </a:lnTo>
                      <a:lnTo>
                        <a:pt x="1482288" y="513136"/>
                      </a:lnTo>
                      <a:lnTo>
                        <a:pt x="1481353" y="512626"/>
                      </a:lnTo>
                      <a:lnTo>
                        <a:pt x="1480771" y="512310"/>
                      </a:lnTo>
                      <a:lnTo>
                        <a:pt x="1480856" y="510610"/>
                      </a:lnTo>
                      <a:lnTo>
                        <a:pt x="1480868" y="510246"/>
                      </a:lnTo>
                      <a:lnTo>
                        <a:pt x="1480844" y="509894"/>
                      </a:lnTo>
                      <a:lnTo>
                        <a:pt x="1480516" y="504928"/>
                      </a:lnTo>
                      <a:lnTo>
                        <a:pt x="1480467" y="504260"/>
                      </a:lnTo>
                      <a:lnTo>
                        <a:pt x="1480273" y="503616"/>
                      </a:lnTo>
                      <a:lnTo>
                        <a:pt x="1477844" y="495371"/>
                      </a:lnTo>
                      <a:lnTo>
                        <a:pt x="1476788" y="491765"/>
                      </a:lnTo>
                      <a:lnTo>
                        <a:pt x="1473084" y="491109"/>
                      </a:lnTo>
                      <a:lnTo>
                        <a:pt x="1467863" y="490174"/>
                      </a:lnTo>
                      <a:lnTo>
                        <a:pt x="1464256" y="489530"/>
                      </a:lnTo>
                      <a:lnTo>
                        <a:pt x="1462702" y="491546"/>
                      </a:lnTo>
                      <a:lnTo>
                        <a:pt x="1461985" y="490927"/>
                      </a:lnTo>
                      <a:lnTo>
                        <a:pt x="1459703" y="488899"/>
                      </a:lnTo>
                      <a:lnTo>
                        <a:pt x="1456716" y="489530"/>
                      </a:lnTo>
                      <a:lnTo>
                        <a:pt x="1455501" y="489785"/>
                      </a:lnTo>
                      <a:lnTo>
                        <a:pt x="1453619" y="490174"/>
                      </a:lnTo>
                      <a:lnTo>
                        <a:pt x="1452672" y="489166"/>
                      </a:lnTo>
                      <a:lnTo>
                        <a:pt x="1449757" y="489421"/>
                      </a:lnTo>
                      <a:lnTo>
                        <a:pt x="1448495" y="489530"/>
                      </a:lnTo>
                      <a:lnTo>
                        <a:pt x="1445933" y="489749"/>
                      </a:lnTo>
                      <a:lnTo>
                        <a:pt x="1444305" y="491753"/>
                      </a:lnTo>
                      <a:lnTo>
                        <a:pt x="1442253" y="494278"/>
                      </a:lnTo>
                      <a:lnTo>
                        <a:pt x="1441937" y="494290"/>
                      </a:lnTo>
                      <a:lnTo>
                        <a:pt x="1439873" y="493756"/>
                      </a:lnTo>
                      <a:lnTo>
                        <a:pt x="1434057" y="491364"/>
                      </a:lnTo>
                      <a:lnTo>
                        <a:pt x="1433243" y="491036"/>
                      </a:lnTo>
                      <a:lnTo>
                        <a:pt x="1432369" y="490939"/>
                      </a:lnTo>
                      <a:lnTo>
                        <a:pt x="1429892" y="490684"/>
                      </a:lnTo>
                      <a:lnTo>
                        <a:pt x="1428495" y="490538"/>
                      </a:lnTo>
                      <a:lnTo>
                        <a:pt x="1427172" y="491024"/>
                      </a:lnTo>
                      <a:lnTo>
                        <a:pt x="1424925" y="491850"/>
                      </a:lnTo>
                      <a:lnTo>
                        <a:pt x="1422740" y="492651"/>
                      </a:lnTo>
                      <a:lnTo>
                        <a:pt x="1421659" y="494715"/>
                      </a:lnTo>
                      <a:lnTo>
                        <a:pt x="1420007" y="497848"/>
                      </a:lnTo>
                      <a:lnTo>
                        <a:pt x="1419267" y="499245"/>
                      </a:lnTo>
                      <a:lnTo>
                        <a:pt x="1419303" y="500823"/>
                      </a:lnTo>
                      <a:lnTo>
                        <a:pt x="1419352" y="502948"/>
                      </a:lnTo>
                      <a:lnTo>
                        <a:pt x="1419388" y="504770"/>
                      </a:lnTo>
                      <a:lnTo>
                        <a:pt x="1420432" y="506276"/>
                      </a:lnTo>
                      <a:lnTo>
                        <a:pt x="1420578" y="506482"/>
                      </a:lnTo>
                      <a:lnTo>
                        <a:pt x="1417980" y="507672"/>
                      </a:lnTo>
                      <a:lnTo>
                        <a:pt x="1416753" y="508230"/>
                      </a:lnTo>
                      <a:lnTo>
                        <a:pt x="1415879" y="509250"/>
                      </a:lnTo>
                      <a:lnTo>
                        <a:pt x="1413584" y="511934"/>
                      </a:lnTo>
                      <a:lnTo>
                        <a:pt x="1412952" y="512675"/>
                      </a:lnTo>
                      <a:lnTo>
                        <a:pt x="1412588" y="513573"/>
                      </a:lnTo>
                      <a:lnTo>
                        <a:pt x="1411058" y="517289"/>
                      </a:lnTo>
                      <a:lnTo>
                        <a:pt x="1410354" y="517265"/>
                      </a:lnTo>
                      <a:lnTo>
                        <a:pt x="1410329" y="517034"/>
                      </a:lnTo>
                      <a:lnTo>
                        <a:pt x="1410220" y="516160"/>
                      </a:lnTo>
                      <a:lnTo>
                        <a:pt x="1410038" y="514618"/>
                      </a:lnTo>
                      <a:lnTo>
                        <a:pt x="1409140" y="513355"/>
                      </a:lnTo>
                      <a:lnTo>
                        <a:pt x="1408217" y="512068"/>
                      </a:lnTo>
                      <a:lnTo>
                        <a:pt x="1407889" y="511606"/>
                      </a:lnTo>
                      <a:lnTo>
                        <a:pt x="1407476" y="511218"/>
                      </a:lnTo>
                      <a:lnTo>
                        <a:pt x="1406954" y="510708"/>
                      </a:lnTo>
                      <a:lnTo>
                        <a:pt x="1406942" y="510683"/>
                      </a:lnTo>
                      <a:lnTo>
                        <a:pt x="1409419" y="497763"/>
                      </a:lnTo>
                      <a:lnTo>
                        <a:pt x="1409564" y="497423"/>
                      </a:lnTo>
                      <a:lnTo>
                        <a:pt x="1412649" y="493149"/>
                      </a:lnTo>
                      <a:lnTo>
                        <a:pt x="1412940" y="492748"/>
                      </a:lnTo>
                      <a:lnTo>
                        <a:pt x="1413159" y="492299"/>
                      </a:lnTo>
                      <a:lnTo>
                        <a:pt x="1413717" y="491170"/>
                      </a:lnTo>
                      <a:lnTo>
                        <a:pt x="1413936" y="490720"/>
                      </a:lnTo>
                      <a:lnTo>
                        <a:pt x="1414082" y="490247"/>
                      </a:lnTo>
                      <a:lnTo>
                        <a:pt x="1414434" y="489105"/>
                      </a:lnTo>
                      <a:lnTo>
                        <a:pt x="1414567" y="488680"/>
                      </a:lnTo>
                      <a:lnTo>
                        <a:pt x="1414628" y="488231"/>
                      </a:lnTo>
                      <a:lnTo>
                        <a:pt x="1414859" y="486713"/>
                      </a:lnTo>
                      <a:lnTo>
                        <a:pt x="1414968" y="485973"/>
                      </a:lnTo>
                      <a:lnTo>
                        <a:pt x="1414895" y="485220"/>
                      </a:lnTo>
                      <a:lnTo>
                        <a:pt x="1414300" y="478905"/>
                      </a:lnTo>
                      <a:lnTo>
                        <a:pt x="1414701" y="476720"/>
                      </a:lnTo>
                      <a:lnTo>
                        <a:pt x="1414822" y="476088"/>
                      </a:lnTo>
                      <a:lnTo>
                        <a:pt x="1414810" y="475445"/>
                      </a:lnTo>
                      <a:lnTo>
                        <a:pt x="1414762" y="473781"/>
                      </a:lnTo>
                      <a:lnTo>
                        <a:pt x="1414749" y="473247"/>
                      </a:lnTo>
                      <a:lnTo>
                        <a:pt x="1414640" y="472725"/>
                      </a:lnTo>
                      <a:lnTo>
                        <a:pt x="1414227" y="470745"/>
                      </a:lnTo>
                      <a:lnTo>
                        <a:pt x="1414142" y="470320"/>
                      </a:lnTo>
                      <a:lnTo>
                        <a:pt x="1413997" y="469920"/>
                      </a:lnTo>
                      <a:lnTo>
                        <a:pt x="1413147" y="467552"/>
                      </a:lnTo>
                      <a:lnTo>
                        <a:pt x="1413098" y="466665"/>
                      </a:lnTo>
                      <a:lnTo>
                        <a:pt x="1413147" y="465925"/>
                      </a:lnTo>
                      <a:lnTo>
                        <a:pt x="1413353" y="465123"/>
                      </a:lnTo>
                      <a:lnTo>
                        <a:pt x="1413681" y="463508"/>
                      </a:lnTo>
                      <a:lnTo>
                        <a:pt x="1413887" y="462415"/>
                      </a:lnTo>
                      <a:lnTo>
                        <a:pt x="1413693" y="461310"/>
                      </a:lnTo>
                      <a:lnTo>
                        <a:pt x="1413402" y="459659"/>
                      </a:lnTo>
                      <a:lnTo>
                        <a:pt x="1412758" y="457182"/>
                      </a:lnTo>
                      <a:lnTo>
                        <a:pt x="1412649" y="456744"/>
                      </a:lnTo>
                      <a:lnTo>
                        <a:pt x="1412467" y="456332"/>
                      </a:lnTo>
                      <a:lnTo>
                        <a:pt x="1411155" y="453296"/>
                      </a:lnTo>
                      <a:lnTo>
                        <a:pt x="1410645" y="450904"/>
                      </a:lnTo>
                      <a:lnTo>
                        <a:pt x="1410572" y="448390"/>
                      </a:lnTo>
                      <a:lnTo>
                        <a:pt x="1410985" y="445998"/>
                      </a:lnTo>
                      <a:lnTo>
                        <a:pt x="1414094" y="435154"/>
                      </a:lnTo>
                      <a:lnTo>
                        <a:pt x="1414276" y="434535"/>
                      </a:lnTo>
                      <a:lnTo>
                        <a:pt x="1414312" y="433904"/>
                      </a:lnTo>
                      <a:lnTo>
                        <a:pt x="1414495" y="431378"/>
                      </a:lnTo>
                      <a:lnTo>
                        <a:pt x="1414543" y="430698"/>
                      </a:lnTo>
                      <a:lnTo>
                        <a:pt x="1414446" y="430030"/>
                      </a:lnTo>
                      <a:lnTo>
                        <a:pt x="1414106" y="427808"/>
                      </a:lnTo>
                      <a:lnTo>
                        <a:pt x="1413984" y="426982"/>
                      </a:lnTo>
                      <a:lnTo>
                        <a:pt x="1413644" y="426217"/>
                      </a:lnTo>
                      <a:lnTo>
                        <a:pt x="1412661" y="424044"/>
                      </a:lnTo>
                      <a:lnTo>
                        <a:pt x="1412272" y="423181"/>
                      </a:lnTo>
                      <a:lnTo>
                        <a:pt x="1411641" y="422477"/>
                      </a:lnTo>
                      <a:lnTo>
                        <a:pt x="1409917" y="420571"/>
                      </a:lnTo>
                      <a:lnTo>
                        <a:pt x="1409564" y="420182"/>
                      </a:lnTo>
                      <a:lnTo>
                        <a:pt x="1409152" y="419866"/>
                      </a:lnTo>
                      <a:lnTo>
                        <a:pt x="1402339" y="414536"/>
                      </a:lnTo>
                      <a:lnTo>
                        <a:pt x="1401417" y="413552"/>
                      </a:lnTo>
                      <a:lnTo>
                        <a:pt x="1399850" y="411002"/>
                      </a:lnTo>
                      <a:lnTo>
                        <a:pt x="1399692" y="410735"/>
                      </a:lnTo>
                      <a:lnTo>
                        <a:pt x="1399498" y="410492"/>
                      </a:lnTo>
                      <a:lnTo>
                        <a:pt x="1398757" y="409521"/>
                      </a:lnTo>
                      <a:lnTo>
                        <a:pt x="1398417" y="409071"/>
                      </a:lnTo>
                      <a:lnTo>
                        <a:pt x="1397992" y="408695"/>
                      </a:lnTo>
                      <a:lnTo>
                        <a:pt x="1396596" y="407432"/>
                      </a:lnTo>
                      <a:lnTo>
                        <a:pt x="1396001" y="406898"/>
                      </a:lnTo>
                      <a:lnTo>
                        <a:pt x="1395284" y="406533"/>
                      </a:lnTo>
                      <a:lnTo>
                        <a:pt x="1393973" y="405866"/>
                      </a:lnTo>
                      <a:lnTo>
                        <a:pt x="1393354" y="405550"/>
                      </a:lnTo>
                      <a:lnTo>
                        <a:pt x="1392674" y="405380"/>
                      </a:lnTo>
                      <a:lnTo>
                        <a:pt x="1391362" y="405052"/>
                      </a:lnTo>
                      <a:lnTo>
                        <a:pt x="1390476" y="404833"/>
                      </a:lnTo>
                      <a:lnTo>
                        <a:pt x="1389565" y="404882"/>
                      </a:lnTo>
                      <a:lnTo>
                        <a:pt x="1387829" y="404967"/>
                      </a:lnTo>
                      <a:lnTo>
                        <a:pt x="1387015" y="405016"/>
                      </a:lnTo>
                      <a:lnTo>
                        <a:pt x="1386238" y="405270"/>
                      </a:lnTo>
                      <a:lnTo>
                        <a:pt x="1384623" y="405671"/>
                      </a:lnTo>
                      <a:lnTo>
                        <a:pt x="1383979" y="405890"/>
                      </a:lnTo>
                      <a:lnTo>
                        <a:pt x="1383409" y="406242"/>
                      </a:lnTo>
                      <a:lnTo>
                        <a:pt x="1379462" y="408634"/>
                      </a:lnTo>
                      <a:lnTo>
                        <a:pt x="1378770" y="409059"/>
                      </a:lnTo>
                      <a:lnTo>
                        <a:pt x="1378211" y="409642"/>
                      </a:lnTo>
                      <a:lnTo>
                        <a:pt x="1376766" y="411160"/>
                      </a:lnTo>
                      <a:lnTo>
                        <a:pt x="1376439" y="411500"/>
                      </a:lnTo>
                      <a:lnTo>
                        <a:pt x="1376171" y="411888"/>
                      </a:lnTo>
                      <a:lnTo>
                        <a:pt x="1374909" y="413722"/>
                      </a:lnTo>
                      <a:lnTo>
                        <a:pt x="1374508" y="414305"/>
                      </a:lnTo>
                      <a:lnTo>
                        <a:pt x="1374253" y="414973"/>
                      </a:lnTo>
                      <a:lnTo>
                        <a:pt x="1373366" y="417243"/>
                      </a:lnTo>
                      <a:lnTo>
                        <a:pt x="1370015" y="421178"/>
                      </a:lnTo>
                      <a:lnTo>
                        <a:pt x="1366846" y="423084"/>
                      </a:lnTo>
                      <a:lnTo>
                        <a:pt x="1366336" y="423400"/>
                      </a:lnTo>
                      <a:lnTo>
                        <a:pt x="1365886" y="423801"/>
                      </a:lnTo>
                      <a:lnTo>
                        <a:pt x="1364575" y="425003"/>
                      </a:lnTo>
                      <a:lnTo>
                        <a:pt x="1362073" y="426861"/>
                      </a:lnTo>
                      <a:lnTo>
                        <a:pt x="1360604" y="427516"/>
                      </a:lnTo>
                      <a:lnTo>
                        <a:pt x="1360155" y="427711"/>
                      </a:lnTo>
                      <a:lnTo>
                        <a:pt x="1359742" y="427978"/>
                      </a:lnTo>
                      <a:lnTo>
                        <a:pt x="1358528" y="428779"/>
                      </a:lnTo>
                      <a:lnTo>
                        <a:pt x="1357921" y="429180"/>
                      </a:lnTo>
                      <a:lnTo>
                        <a:pt x="1357423" y="429714"/>
                      </a:lnTo>
                      <a:lnTo>
                        <a:pt x="1355771" y="431487"/>
                      </a:lnTo>
                      <a:lnTo>
                        <a:pt x="1354982" y="432131"/>
                      </a:lnTo>
                      <a:lnTo>
                        <a:pt x="1352663" y="433394"/>
                      </a:lnTo>
                      <a:lnTo>
                        <a:pt x="1352141" y="433673"/>
                      </a:lnTo>
                      <a:lnTo>
                        <a:pt x="1351679" y="434061"/>
                      </a:lnTo>
                      <a:lnTo>
                        <a:pt x="1350185" y="435300"/>
                      </a:lnTo>
                      <a:lnTo>
                        <a:pt x="1349918" y="435531"/>
                      </a:lnTo>
                      <a:lnTo>
                        <a:pt x="1349676" y="435786"/>
                      </a:lnTo>
                      <a:lnTo>
                        <a:pt x="1348753" y="436757"/>
                      </a:lnTo>
                      <a:lnTo>
                        <a:pt x="1348024" y="437522"/>
                      </a:lnTo>
                      <a:lnTo>
                        <a:pt x="1347599" y="438494"/>
                      </a:lnTo>
                      <a:lnTo>
                        <a:pt x="1347089" y="439647"/>
                      </a:lnTo>
                      <a:lnTo>
                        <a:pt x="1346858" y="440169"/>
                      </a:lnTo>
                      <a:lnTo>
                        <a:pt x="1346737" y="440716"/>
                      </a:lnTo>
                      <a:lnTo>
                        <a:pt x="1346458" y="441918"/>
                      </a:lnTo>
                      <a:lnTo>
                        <a:pt x="1346336" y="442452"/>
                      </a:lnTo>
                      <a:lnTo>
                        <a:pt x="1346312" y="442999"/>
                      </a:lnTo>
                      <a:lnTo>
                        <a:pt x="1346251" y="444225"/>
                      </a:lnTo>
                      <a:lnTo>
                        <a:pt x="1346227" y="444881"/>
                      </a:lnTo>
                      <a:lnTo>
                        <a:pt x="1346336" y="445524"/>
                      </a:lnTo>
                      <a:lnTo>
                        <a:pt x="1346616" y="447164"/>
                      </a:lnTo>
                      <a:lnTo>
                        <a:pt x="1346713" y="447710"/>
                      </a:lnTo>
                      <a:lnTo>
                        <a:pt x="1346907" y="448220"/>
                      </a:lnTo>
                      <a:lnTo>
                        <a:pt x="1347599" y="450114"/>
                      </a:lnTo>
                      <a:lnTo>
                        <a:pt x="1347672" y="450272"/>
                      </a:lnTo>
                      <a:lnTo>
                        <a:pt x="1346591" y="450382"/>
                      </a:lnTo>
                      <a:lnTo>
                        <a:pt x="1346033" y="450430"/>
                      </a:lnTo>
                      <a:lnTo>
                        <a:pt x="1345486" y="450588"/>
                      </a:lnTo>
                      <a:lnTo>
                        <a:pt x="1343361" y="451195"/>
                      </a:lnTo>
                      <a:lnTo>
                        <a:pt x="1342985" y="451304"/>
                      </a:lnTo>
                      <a:lnTo>
                        <a:pt x="1342633" y="451462"/>
                      </a:lnTo>
                      <a:lnTo>
                        <a:pt x="1340216" y="452506"/>
                      </a:lnTo>
                      <a:lnTo>
                        <a:pt x="1339694" y="452737"/>
                      </a:lnTo>
                      <a:lnTo>
                        <a:pt x="1339220" y="453065"/>
                      </a:lnTo>
                      <a:lnTo>
                        <a:pt x="1338589" y="453490"/>
                      </a:lnTo>
                      <a:lnTo>
                        <a:pt x="1338115" y="453806"/>
                      </a:lnTo>
                      <a:lnTo>
                        <a:pt x="1337715" y="454206"/>
                      </a:lnTo>
                      <a:lnTo>
                        <a:pt x="1337302" y="454619"/>
                      </a:lnTo>
                      <a:lnTo>
                        <a:pt x="1336342" y="450782"/>
                      </a:lnTo>
                      <a:lnTo>
                        <a:pt x="1336221" y="450309"/>
                      </a:lnTo>
                      <a:lnTo>
                        <a:pt x="1336027" y="449859"/>
                      </a:lnTo>
                      <a:lnTo>
                        <a:pt x="1335286" y="448123"/>
                      </a:lnTo>
                      <a:lnTo>
                        <a:pt x="1334691" y="446714"/>
                      </a:lnTo>
                      <a:lnTo>
                        <a:pt x="1333489" y="445755"/>
                      </a:lnTo>
                      <a:lnTo>
                        <a:pt x="1332517" y="444978"/>
                      </a:lnTo>
                      <a:lnTo>
                        <a:pt x="1331291" y="443994"/>
                      </a:lnTo>
                      <a:lnTo>
                        <a:pt x="1329749" y="443739"/>
                      </a:lnTo>
                      <a:lnTo>
                        <a:pt x="1328535" y="443533"/>
                      </a:lnTo>
                      <a:lnTo>
                        <a:pt x="1327842" y="443412"/>
                      </a:lnTo>
                      <a:lnTo>
                        <a:pt x="1327150" y="443448"/>
                      </a:lnTo>
                      <a:lnTo>
                        <a:pt x="1327102" y="443448"/>
                      </a:lnTo>
                      <a:lnTo>
                        <a:pt x="1327199" y="442015"/>
                      </a:lnTo>
                      <a:lnTo>
                        <a:pt x="1327357" y="439659"/>
                      </a:lnTo>
                      <a:lnTo>
                        <a:pt x="1326859" y="438858"/>
                      </a:lnTo>
                      <a:lnTo>
                        <a:pt x="1328680" y="437789"/>
                      </a:lnTo>
                      <a:lnTo>
                        <a:pt x="1328437" y="434049"/>
                      </a:lnTo>
                      <a:lnTo>
                        <a:pt x="1328377" y="433114"/>
                      </a:lnTo>
                      <a:lnTo>
                        <a:pt x="1328304" y="431900"/>
                      </a:lnTo>
                      <a:lnTo>
                        <a:pt x="1327770" y="430819"/>
                      </a:lnTo>
                      <a:lnTo>
                        <a:pt x="1327090" y="429435"/>
                      </a:lnTo>
                      <a:lnTo>
                        <a:pt x="1326883" y="429034"/>
                      </a:lnTo>
                      <a:lnTo>
                        <a:pt x="1326628" y="428658"/>
                      </a:lnTo>
                      <a:lnTo>
                        <a:pt x="1321856" y="421773"/>
                      </a:lnTo>
                      <a:lnTo>
                        <a:pt x="1321140" y="420753"/>
                      </a:lnTo>
                      <a:lnTo>
                        <a:pt x="1320083" y="420097"/>
                      </a:lnTo>
                      <a:lnTo>
                        <a:pt x="1318480" y="419089"/>
                      </a:lnTo>
                      <a:lnTo>
                        <a:pt x="1317096" y="418215"/>
                      </a:lnTo>
                      <a:lnTo>
                        <a:pt x="1315469" y="418166"/>
                      </a:lnTo>
                      <a:lnTo>
                        <a:pt x="1313113" y="418081"/>
                      </a:lnTo>
                      <a:lnTo>
                        <a:pt x="1312129" y="418045"/>
                      </a:lnTo>
                      <a:lnTo>
                        <a:pt x="1311182" y="418312"/>
                      </a:lnTo>
                      <a:lnTo>
                        <a:pt x="1308147" y="419198"/>
                      </a:lnTo>
                      <a:lnTo>
                        <a:pt x="1302646" y="420097"/>
                      </a:lnTo>
                      <a:lnTo>
                        <a:pt x="1302609" y="419988"/>
                      </a:lnTo>
                      <a:lnTo>
                        <a:pt x="1302452" y="419575"/>
                      </a:lnTo>
                      <a:lnTo>
                        <a:pt x="1302233" y="419186"/>
                      </a:lnTo>
                      <a:lnTo>
                        <a:pt x="1301553" y="417948"/>
                      </a:lnTo>
                      <a:lnTo>
                        <a:pt x="1301177" y="417256"/>
                      </a:lnTo>
                      <a:lnTo>
                        <a:pt x="1300642" y="416685"/>
                      </a:lnTo>
                      <a:lnTo>
                        <a:pt x="1299719" y="415713"/>
                      </a:lnTo>
                      <a:lnTo>
                        <a:pt x="1299185" y="415155"/>
                      </a:lnTo>
                      <a:lnTo>
                        <a:pt x="1298517" y="414742"/>
                      </a:lnTo>
                      <a:lnTo>
                        <a:pt x="1297315" y="414001"/>
                      </a:lnTo>
                      <a:lnTo>
                        <a:pt x="1296696" y="413613"/>
                      </a:lnTo>
                      <a:lnTo>
                        <a:pt x="1295992" y="413382"/>
                      </a:lnTo>
                      <a:lnTo>
                        <a:pt x="1294049" y="412750"/>
                      </a:lnTo>
                      <a:lnTo>
                        <a:pt x="1292167" y="411913"/>
                      </a:lnTo>
                      <a:lnTo>
                        <a:pt x="1290017" y="410953"/>
                      </a:lnTo>
                      <a:lnTo>
                        <a:pt x="1287783" y="411694"/>
                      </a:lnTo>
                      <a:lnTo>
                        <a:pt x="1286629" y="412070"/>
                      </a:lnTo>
                      <a:lnTo>
                        <a:pt x="1284735" y="412690"/>
                      </a:lnTo>
                      <a:lnTo>
                        <a:pt x="1283582" y="414317"/>
                      </a:lnTo>
                      <a:lnTo>
                        <a:pt x="1282610" y="415689"/>
                      </a:lnTo>
                      <a:lnTo>
                        <a:pt x="1281262" y="417596"/>
                      </a:lnTo>
                      <a:lnTo>
                        <a:pt x="1281529" y="419915"/>
                      </a:lnTo>
                      <a:lnTo>
                        <a:pt x="1281918" y="423169"/>
                      </a:lnTo>
                      <a:lnTo>
                        <a:pt x="1282076" y="424541"/>
                      </a:lnTo>
                      <a:lnTo>
                        <a:pt x="1282816" y="425707"/>
                      </a:lnTo>
                      <a:lnTo>
                        <a:pt x="1284031" y="427626"/>
                      </a:lnTo>
                      <a:lnTo>
                        <a:pt x="1284456" y="428306"/>
                      </a:lnTo>
                      <a:lnTo>
                        <a:pt x="1285051" y="428852"/>
                      </a:lnTo>
                      <a:lnTo>
                        <a:pt x="1285391" y="429168"/>
                      </a:lnTo>
                      <a:lnTo>
                        <a:pt x="1285233" y="429338"/>
                      </a:lnTo>
                      <a:lnTo>
                        <a:pt x="1284322" y="430370"/>
                      </a:lnTo>
                      <a:lnTo>
                        <a:pt x="1282209" y="432762"/>
                      </a:lnTo>
                      <a:lnTo>
                        <a:pt x="1282974" y="435846"/>
                      </a:lnTo>
                      <a:lnTo>
                        <a:pt x="1283156" y="436599"/>
                      </a:lnTo>
                      <a:lnTo>
                        <a:pt x="1283144" y="436599"/>
                      </a:lnTo>
                      <a:lnTo>
                        <a:pt x="1280740" y="436053"/>
                      </a:lnTo>
                      <a:lnTo>
                        <a:pt x="1279841" y="435846"/>
                      </a:lnTo>
                      <a:lnTo>
                        <a:pt x="1278919" y="435919"/>
                      </a:lnTo>
                      <a:lnTo>
                        <a:pt x="1277644" y="436016"/>
                      </a:lnTo>
                      <a:lnTo>
                        <a:pt x="1276563" y="436101"/>
                      </a:lnTo>
                      <a:lnTo>
                        <a:pt x="1275579" y="436563"/>
                      </a:lnTo>
                      <a:lnTo>
                        <a:pt x="1274608" y="437012"/>
                      </a:lnTo>
                      <a:lnTo>
                        <a:pt x="1274110" y="437243"/>
                      </a:lnTo>
                      <a:lnTo>
                        <a:pt x="1273661" y="437559"/>
                      </a:lnTo>
                      <a:lnTo>
                        <a:pt x="1272604" y="438299"/>
                      </a:lnTo>
                      <a:lnTo>
                        <a:pt x="1272337" y="438324"/>
                      </a:lnTo>
                      <a:lnTo>
                        <a:pt x="1272009" y="438287"/>
                      </a:lnTo>
                      <a:lnTo>
                        <a:pt x="1268403" y="437316"/>
                      </a:lnTo>
                      <a:lnTo>
                        <a:pt x="1267456" y="437061"/>
                      </a:lnTo>
                      <a:lnTo>
                        <a:pt x="1266484" y="437121"/>
                      </a:lnTo>
                      <a:lnTo>
                        <a:pt x="1265404" y="437182"/>
                      </a:lnTo>
                      <a:lnTo>
                        <a:pt x="1264881" y="437206"/>
                      </a:lnTo>
                      <a:lnTo>
                        <a:pt x="1264371" y="437328"/>
                      </a:lnTo>
                      <a:lnTo>
                        <a:pt x="1263266" y="437583"/>
                      </a:lnTo>
                      <a:lnTo>
                        <a:pt x="1262331" y="437801"/>
                      </a:lnTo>
                      <a:lnTo>
                        <a:pt x="1261518" y="438299"/>
                      </a:lnTo>
                      <a:lnTo>
                        <a:pt x="1260546" y="438882"/>
                      </a:lnTo>
                      <a:lnTo>
                        <a:pt x="1259296" y="439635"/>
                      </a:lnTo>
                      <a:lnTo>
                        <a:pt x="1258518" y="440861"/>
                      </a:lnTo>
                      <a:lnTo>
                        <a:pt x="1257887" y="441857"/>
                      </a:lnTo>
                      <a:lnTo>
                        <a:pt x="1257632" y="442270"/>
                      </a:lnTo>
                      <a:lnTo>
                        <a:pt x="1257438" y="442732"/>
                      </a:lnTo>
                      <a:lnTo>
                        <a:pt x="1256818" y="444201"/>
                      </a:lnTo>
                      <a:lnTo>
                        <a:pt x="1256636" y="444626"/>
                      </a:lnTo>
                      <a:lnTo>
                        <a:pt x="1256515" y="445075"/>
                      </a:lnTo>
                      <a:lnTo>
                        <a:pt x="1255811" y="447832"/>
                      </a:lnTo>
                      <a:lnTo>
                        <a:pt x="1255325" y="450479"/>
                      </a:lnTo>
                      <a:lnTo>
                        <a:pt x="1255216" y="451049"/>
                      </a:lnTo>
                      <a:lnTo>
                        <a:pt x="1255228" y="451632"/>
                      </a:lnTo>
                      <a:lnTo>
                        <a:pt x="1255276" y="454413"/>
                      </a:lnTo>
                      <a:lnTo>
                        <a:pt x="1255288" y="455142"/>
                      </a:lnTo>
                      <a:lnTo>
                        <a:pt x="1255471" y="455846"/>
                      </a:lnTo>
                      <a:lnTo>
                        <a:pt x="1256964" y="461565"/>
                      </a:lnTo>
                      <a:lnTo>
                        <a:pt x="1259429" y="468365"/>
                      </a:lnTo>
                      <a:lnTo>
                        <a:pt x="1259636" y="470005"/>
                      </a:lnTo>
                      <a:lnTo>
                        <a:pt x="1259429" y="473611"/>
                      </a:lnTo>
                      <a:lnTo>
                        <a:pt x="1259478" y="476792"/>
                      </a:lnTo>
                      <a:lnTo>
                        <a:pt x="1259502" y="478104"/>
                      </a:lnTo>
                      <a:lnTo>
                        <a:pt x="1260073" y="479282"/>
                      </a:lnTo>
                      <a:lnTo>
                        <a:pt x="1261166" y="481552"/>
                      </a:lnTo>
                      <a:lnTo>
                        <a:pt x="1261834" y="482937"/>
                      </a:lnTo>
                      <a:lnTo>
                        <a:pt x="1263072" y="483835"/>
                      </a:lnTo>
                      <a:lnTo>
                        <a:pt x="1264080" y="484564"/>
                      </a:lnTo>
                      <a:lnTo>
                        <a:pt x="1264286" y="486446"/>
                      </a:lnTo>
                      <a:lnTo>
                        <a:pt x="1264323" y="486810"/>
                      </a:lnTo>
                      <a:lnTo>
                        <a:pt x="1264408" y="487162"/>
                      </a:lnTo>
                      <a:lnTo>
                        <a:pt x="1264869" y="489166"/>
                      </a:lnTo>
                      <a:lnTo>
                        <a:pt x="1264978" y="489615"/>
                      </a:lnTo>
                      <a:lnTo>
                        <a:pt x="1262514" y="487903"/>
                      </a:lnTo>
                      <a:lnTo>
                        <a:pt x="1258652" y="484030"/>
                      </a:lnTo>
                      <a:lnTo>
                        <a:pt x="1257098" y="482475"/>
                      </a:lnTo>
                      <a:lnTo>
                        <a:pt x="1254912" y="482269"/>
                      </a:lnTo>
                      <a:lnTo>
                        <a:pt x="1249642" y="481783"/>
                      </a:lnTo>
                      <a:lnTo>
                        <a:pt x="1248950" y="481722"/>
                      </a:lnTo>
                      <a:lnTo>
                        <a:pt x="1248258" y="481808"/>
                      </a:lnTo>
                      <a:lnTo>
                        <a:pt x="1233310" y="483848"/>
                      </a:lnTo>
                      <a:lnTo>
                        <a:pt x="1233128" y="483240"/>
                      </a:lnTo>
                      <a:lnTo>
                        <a:pt x="1232909" y="481722"/>
                      </a:lnTo>
                      <a:lnTo>
                        <a:pt x="1232836" y="480460"/>
                      </a:lnTo>
                      <a:lnTo>
                        <a:pt x="1232727" y="478893"/>
                      </a:lnTo>
                      <a:lnTo>
                        <a:pt x="1231865" y="477582"/>
                      </a:lnTo>
                      <a:lnTo>
                        <a:pt x="1231063" y="476331"/>
                      </a:lnTo>
                      <a:lnTo>
                        <a:pt x="1230808" y="475942"/>
                      </a:lnTo>
                      <a:lnTo>
                        <a:pt x="1230493" y="475590"/>
                      </a:lnTo>
                      <a:lnTo>
                        <a:pt x="1229412" y="474388"/>
                      </a:lnTo>
                      <a:lnTo>
                        <a:pt x="1228793" y="473696"/>
                      </a:lnTo>
                      <a:lnTo>
                        <a:pt x="1227979" y="473210"/>
                      </a:lnTo>
                      <a:lnTo>
                        <a:pt x="1227979" y="473210"/>
                      </a:lnTo>
                      <a:lnTo>
                        <a:pt x="1228246" y="473150"/>
                      </a:lnTo>
                      <a:lnTo>
                        <a:pt x="1229145" y="472554"/>
                      </a:lnTo>
                      <a:lnTo>
                        <a:pt x="1230116" y="471899"/>
                      </a:lnTo>
                      <a:lnTo>
                        <a:pt x="1231221" y="471146"/>
                      </a:lnTo>
                      <a:lnTo>
                        <a:pt x="1231913" y="470005"/>
                      </a:lnTo>
                      <a:lnTo>
                        <a:pt x="1232059" y="469749"/>
                      </a:lnTo>
                      <a:lnTo>
                        <a:pt x="1233128" y="468814"/>
                      </a:lnTo>
                      <a:lnTo>
                        <a:pt x="1234767" y="467369"/>
                      </a:lnTo>
                      <a:lnTo>
                        <a:pt x="1235119" y="465208"/>
                      </a:lnTo>
                      <a:lnTo>
                        <a:pt x="1235350" y="463775"/>
                      </a:lnTo>
                      <a:lnTo>
                        <a:pt x="1235641" y="461929"/>
                      </a:lnTo>
                      <a:lnTo>
                        <a:pt x="1234852" y="460242"/>
                      </a:lnTo>
                      <a:lnTo>
                        <a:pt x="1233880" y="458153"/>
                      </a:lnTo>
                      <a:lnTo>
                        <a:pt x="1233638" y="457631"/>
                      </a:lnTo>
                      <a:lnTo>
                        <a:pt x="1233759" y="457497"/>
                      </a:lnTo>
                      <a:lnTo>
                        <a:pt x="1234184" y="456441"/>
                      </a:lnTo>
                      <a:lnTo>
                        <a:pt x="1234767" y="454972"/>
                      </a:lnTo>
                      <a:lnTo>
                        <a:pt x="1234998" y="454377"/>
                      </a:lnTo>
                      <a:lnTo>
                        <a:pt x="1235107" y="453745"/>
                      </a:lnTo>
                      <a:lnTo>
                        <a:pt x="1235471" y="451644"/>
                      </a:lnTo>
                      <a:lnTo>
                        <a:pt x="1237924" y="449519"/>
                      </a:lnTo>
                      <a:lnTo>
                        <a:pt x="1238349" y="449155"/>
                      </a:lnTo>
                      <a:lnTo>
                        <a:pt x="1238701" y="448718"/>
                      </a:lnTo>
                      <a:lnTo>
                        <a:pt x="1241506" y="445221"/>
                      </a:lnTo>
                      <a:lnTo>
                        <a:pt x="1242016" y="444589"/>
                      </a:lnTo>
                      <a:lnTo>
                        <a:pt x="1242344" y="443837"/>
                      </a:lnTo>
                      <a:lnTo>
                        <a:pt x="1243158" y="441954"/>
                      </a:lnTo>
                      <a:lnTo>
                        <a:pt x="1243765" y="440546"/>
                      </a:lnTo>
                      <a:lnTo>
                        <a:pt x="1243631" y="439016"/>
                      </a:lnTo>
                      <a:lnTo>
                        <a:pt x="1243449" y="437012"/>
                      </a:lnTo>
                      <a:lnTo>
                        <a:pt x="1243243" y="434705"/>
                      </a:lnTo>
                      <a:lnTo>
                        <a:pt x="1241555" y="433126"/>
                      </a:lnTo>
                      <a:lnTo>
                        <a:pt x="1240183" y="431839"/>
                      </a:lnTo>
                      <a:lnTo>
                        <a:pt x="1239053" y="430795"/>
                      </a:lnTo>
                      <a:lnTo>
                        <a:pt x="1237572" y="430406"/>
                      </a:lnTo>
                      <a:lnTo>
                        <a:pt x="1237244" y="430321"/>
                      </a:lnTo>
                      <a:lnTo>
                        <a:pt x="1237463" y="430127"/>
                      </a:lnTo>
                      <a:lnTo>
                        <a:pt x="1238179" y="429484"/>
                      </a:lnTo>
                      <a:lnTo>
                        <a:pt x="1238495" y="428937"/>
                      </a:lnTo>
                      <a:lnTo>
                        <a:pt x="1239855" y="430066"/>
                      </a:lnTo>
                      <a:lnTo>
                        <a:pt x="1240632" y="430710"/>
                      </a:lnTo>
                      <a:lnTo>
                        <a:pt x="1241579" y="431062"/>
                      </a:lnTo>
                      <a:lnTo>
                        <a:pt x="1243486" y="431778"/>
                      </a:lnTo>
                      <a:lnTo>
                        <a:pt x="1246716" y="432993"/>
                      </a:lnTo>
                      <a:lnTo>
                        <a:pt x="1249411" y="430844"/>
                      </a:lnTo>
                      <a:lnTo>
                        <a:pt x="1250662" y="429848"/>
                      </a:lnTo>
                      <a:lnTo>
                        <a:pt x="1252714" y="428209"/>
                      </a:lnTo>
                      <a:lnTo>
                        <a:pt x="1252933" y="425598"/>
                      </a:lnTo>
                      <a:lnTo>
                        <a:pt x="1253115" y="423351"/>
                      </a:lnTo>
                      <a:lnTo>
                        <a:pt x="1253248" y="421736"/>
                      </a:lnTo>
                      <a:lnTo>
                        <a:pt x="1252556" y="420267"/>
                      </a:lnTo>
                      <a:lnTo>
                        <a:pt x="1250541" y="415993"/>
                      </a:lnTo>
                      <a:lnTo>
                        <a:pt x="1250371" y="415629"/>
                      </a:lnTo>
                      <a:lnTo>
                        <a:pt x="1250140" y="415289"/>
                      </a:lnTo>
                      <a:lnTo>
                        <a:pt x="1248816" y="413248"/>
                      </a:lnTo>
                      <a:lnTo>
                        <a:pt x="1248488" y="412738"/>
                      </a:lnTo>
                      <a:lnTo>
                        <a:pt x="1248051" y="412301"/>
                      </a:lnTo>
                      <a:lnTo>
                        <a:pt x="1246048" y="410261"/>
                      </a:lnTo>
                      <a:lnTo>
                        <a:pt x="1246036" y="410249"/>
                      </a:lnTo>
                      <a:lnTo>
                        <a:pt x="1244785" y="407031"/>
                      </a:lnTo>
                      <a:lnTo>
                        <a:pt x="1244603" y="406546"/>
                      </a:lnTo>
                      <a:lnTo>
                        <a:pt x="1244336" y="406096"/>
                      </a:lnTo>
                      <a:lnTo>
                        <a:pt x="1241858" y="401956"/>
                      </a:lnTo>
                      <a:lnTo>
                        <a:pt x="1241664" y="401640"/>
                      </a:lnTo>
                      <a:lnTo>
                        <a:pt x="1241433" y="401348"/>
                      </a:lnTo>
                      <a:lnTo>
                        <a:pt x="1228635" y="384846"/>
                      </a:lnTo>
                      <a:lnTo>
                        <a:pt x="1228380" y="384518"/>
                      </a:lnTo>
                      <a:lnTo>
                        <a:pt x="1228076" y="384227"/>
                      </a:lnTo>
                      <a:lnTo>
                        <a:pt x="1219467" y="375848"/>
                      </a:lnTo>
                      <a:lnTo>
                        <a:pt x="1214488" y="371647"/>
                      </a:lnTo>
                      <a:lnTo>
                        <a:pt x="1213590" y="370882"/>
                      </a:lnTo>
                      <a:lnTo>
                        <a:pt x="1212472" y="370517"/>
                      </a:lnTo>
                      <a:lnTo>
                        <a:pt x="1209947" y="369704"/>
                      </a:lnTo>
                      <a:lnTo>
                        <a:pt x="1207032" y="369024"/>
                      </a:lnTo>
                      <a:lnTo>
                        <a:pt x="1203632" y="367761"/>
                      </a:lnTo>
                      <a:lnTo>
                        <a:pt x="1201374" y="366000"/>
                      </a:lnTo>
                      <a:lnTo>
                        <a:pt x="1200232" y="365114"/>
                      </a:lnTo>
                      <a:lnTo>
                        <a:pt x="1198824" y="364834"/>
                      </a:lnTo>
                      <a:lnTo>
                        <a:pt x="1196650" y="364410"/>
                      </a:lnTo>
                      <a:lnTo>
                        <a:pt x="1196067" y="364300"/>
                      </a:lnTo>
                      <a:lnTo>
                        <a:pt x="1195618" y="364300"/>
                      </a:lnTo>
                      <a:lnTo>
                        <a:pt x="1195436" y="363244"/>
                      </a:lnTo>
                      <a:lnTo>
                        <a:pt x="1195205" y="361872"/>
                      </a:lnTo>
                      <a:lnTo>
                        <a:pt x="1194877" y="359905"/>
                      </a:lnTo>
                      <a:lnTo>
                        <a:pt x="1193444" y="358520"/>
                      </a:lnTo>
                      <a:lnTo>
                        <a:pt x="1191599" y="356735"/>
                      </a:lnTo>
                      <a:lnTo>
                        <a:pt x="1190907" y="356067"/>
                      </a:lnTo>
                      <a:lnTo>
                        <a:pt x="1190057" y="355642"/>
                      </a:lnTo>
                      <a:lnTo>
                        <a:pt x="1186912" y="354100"/>
                      </a:lnTo>
                      <a:lnTo>
                        <a:pt x="1179687" y="348345"/>
                      </a:lnTo>
                      <a:lnTo>
                        <a:pt x="1175315" y="342042"/>
                      </a:lnTo>
                      <a:lnTo>
                        <a:pt x="1174926" y="341471"/>
                      </a:lnTo>
                      <a:lnTo>
                        <a:pt x="1174416" y="341010"/>
                      </a:lnTo>
                      <a:lnTo>
                        <a:pt x="1172352" y="339140"/>
                      </a:lnTo>
                      <a:lnTo>
                        <a:pt x="1171988" y="338800"/>
                      </a:lnTo>
                      <a:lnTo>
                        <a:pt x="1171563" y="338533"/>
                      </a:lnTo>
                      <a:lnTo>
                        <a:pt x="1171369" y="338399"/>
                      </a:lnTo>
                      <a:lnTo>
                        <a:pt x="1170555" y="337464"/>
                      </a:lnTo>
                      <a:lnTo>
                        <a:pt x="1166208" y="331296"/>
                      </a:lnTo>
                      <a:lnTo>
                        <a:pt x="1165965" y="330968"/>
                      </a:lnTo>
                      <a:lnTo>
                        <a:pt x="1165686" y="330677"/>
                      </a:lnTo>
                      <a:lnTo>
                        <a:pt x="1163379" y="328211"/>
                      </a:lnTo>
                      <a:lnTo>
                        <a:pt x="1160768" y="324581"/>
                      </a:lnTo>
                      <a:lnTo>
                        <a:pt x="1158655" y="320221"/>
                      </a:lnTo>
                      <a:lnTo>
                        <a:pt x="1153166" y="303136"/>
                      </a:lnTo>
                      <a:lnTo>
                        <a:pt x="1153045" y="302735"/>
                      </a:lnTo>
                      <a:lnTo>
                        <a:pt x="1152863" y="302359"/>
                      </a:lnTo>
                      <a:lnTo>
                        <a:pt x="1149353" y="295025"/>
                      </a:lnTo>
                      <a:lnTo>
                        <a:pt x="1149111" y="294150"/>
                      </a:lnTo>
                      <a:lnTo>
                        <a:pt x="1149293" y="292026"/>
                      </a:lnTo>
                      <a:lnTo>
                        <a:pt x="1149366" y="291224"/>
                      </a:lnTo>
                      <a:lnTo>
                        <a:pt x="1149220" y="290435"/>
                      </a:lnTo>
                      <a:lnTo>
                        <a:pt x="1148698" y="287533"/>
                      </a:lnTo>
                      <a:lnTo>
                        <a:pt x="1148491" y="286367"/>
                      </a:lnTo>
                      <a:lnTo>
                        <a:pt x="1147860" y="285371"/>
                      </a:lnTo>
                      <a:lnTo>
                        <a:pt x="1144897" y="280660"/>
                      </a:lnTo>
                      <a:lnTo>
                        <a:pt x="1144059" y="277940"/>
                      </a:lnTo>
                      <a:lnTo>
                        <a:pt x="1142505" y="272196"/>
                      </a:lnTo>
                      <a:lnTo>
                        <a:pt x="1141946" y="270399"/>
                      </a:lnTo>
                      <a:lnTo>
                        <a:pt x="1142699" y="269925"/>
                      </a:lnTo>
                      <a:lnTo>
                        <a:pt x="1142966" y="269755"/>
                      </a:lnTo>
                      <a:lnTo>
                        <a:pt x="1143221" y="269561"/>
                      </a:lnTo>
                      <a:lnTo>
                        <a:pt x="1144824" y="268298"/>
                      </a:lnTo>
                      <a:lnTo>
                        <a:pt x="1145953" y="267412"/>
                      </a:lnTo>
                      <a:lnTo>
                        <a:pt x="1146561" y="266113"/>
                      </a:lnTo>
                      <a:lnTo>
                        <a:pt x="1147435" y="264267"/>
                      </a:lnTo>
                      <a:lnTo>
                        <a:pt x="1147957" y="263162"/>
                      </a:lnTo>
                      <a:lnTo>
                        <a:pt x="1148006" y="261935"/>
                      </a:lnTo>
                      <a:lnTo>
                        <a:pt x="1148103" y="259616"/>
                      </a:lnTo>
                      <a:lnTo>
                        <a:pt x="1148139" y="258802"/>
                      </a:lnTo>
                      <a:lnTo>
                        <a:pt x="1147957" y="258001"/>
                      </a:lnTo>
                      <a:lnTo>
                        <a:pt x="1147447" y="255767"/>
                      </a:lnTo>
                      <a:lnTo>
                        <a:pt x="1147313" y="255184"/>
                      </a:lnTo>
                      <a:lnTo>
                        <a:pt x="1147071" y="254637"/>
                      </a:lnTo>
                      <a:lnTo>
                        <a:pt x="1146378" y="253095"/>
                      </a:lnTo>
                      <a:lnTo>
                        <a:pt x="1145893" y="252002"/>
                      </a:lnTo>
                      <a:lnTo>
                        <a:pt x="1145018" y="251177"/>
                      </a:lnTo>
                      <a:lnTo>
                        <a:pt x="1144156" y="250351"/>
                      </a:lnTo>
                      <a:lnTo>
                        <a:pt x="1143513" y="249744"/>
                      </a:lnTo>
                      <a:lnTo>
                        <a:pt x="1142735" y="249343"/>
                      </a:lnTo>
                      <a:lnTo>
                        <a:pt x="1141351" y="248639"/>
                      </a:lnTo>
                      <a:lnTo>
                        <a:pt x="1140999" y="248457"/>
                      </a:lnTo>
                      <a:lnTo>
                        <a:pt x="1140623" y="248323"/>
                      </a:lnTo>
                      <a:lnTo>
                        <a:pt x="1133555" y="245822"/>
                      </a:lnTo>
                      <a:lnTo>
                        <a:pt x="1133543" y="245810"/>
                      </a:lnTo>
                      <a:lnTo>
                        <a:pt x="1128820" y="238548"/>
                      </a:lnTo>
                      <a:lnTo>
                        <a:pt x="1128650" y="238281"/>
                      </a:lnTo>
                      <a:lnTo>
                        <a:pt x="1128455" y="238026"/>
                      </a:lnTo>
                      <a:lnTo>
                        <a:pt x="1125225" y="234055"/>
                      </a:lnTo>
                      <a:lnTo>
                        <a:pt x="1124278" y="232574"/>
                      </a:lnTo>
                      <a:lnTo>
                        <a:pt x="1123878" y="231675"/>
                      </a:lnTo>
                      <a:lnTo>
                        <a:pt x="1123829" y="231165"/>
                      </a:lnTo>
                      <a:lnTo>
                        <a:pt x="1123853" y="230534"/>
                      </a:lnTo>
                      <a:lnTo>
                        <a:pt x="1124060" y="229817"/>
                      </a:lnTo>
                      <a:lnTo>
                        <a:pt x="1124424" y="228542"/>
                      </a:lnTo>
                      <a:lnTo>
                        <a:pt x="1124218" y="227231"/>
                      </a:lnTo>
                      <a:lnTo>
                        <a:pt x="1124035" y="226077"/>
                      </a:lnTo>
                      <a:lnTo>
                        <a:pt x="1123902" y="225215"/>
                      </a:lnTo>
                      <a:lnTo>
                        <a:pt x="1123525" y="224414"/>
                      </a:lnTo>
                      <a:lnTo>
                        <a:pt x="1122894" y="223066"/>
                      </a:lnTo>
                      <a:lnTo>
                        <a:pt x="1122615" y="222459"/>
                      </a:lnTo>
                      <a:lnTo>
                        <a:pt x="1122457" y="222252"/>
                      </a:lnTo>
                      <a:lnTo>
                        <a:pt x="1122700" y="222143"/>
                      </a:lnTo>
                      <a:lnTo>
                        <a:pt x="1124218" y="221499"/>
                      </a:lnTo>
                      <a:lnTo>
                        <a:pt x="1125201" y="220176"/>
                      </a:lnTo>
                      <a:lnTo>
                        <a:pt x="1125650" y="219569"/>
                      </a:lnTo>
                      <a:lnTo>
                        <a:pt x="1126306" y="218694"/>
                      </a:lnTo>
                      <a:lnTo>
                        <a:pt x="1126610" y="217650"/>
                      </a:lnTo>
                      <a:lnTo>
                        <a:pt x="1126913" y="216618"/>
                      </a:lnTo>
                      <a:lnTo>
                        <a:pt x="1127120" y="215926"/>
                      </a:lnTo>
                      <a:lnTo>
                        <a:pt x="1127156" y="215209"/>
                      </a:lnTo>
                      <a:lnTo>
                        <a:pt x="1127217" y="214031"/>
                      </a:lnTo>
                      <a:lnTo>
                        <a:pt x="1127241" y="213436"/>
                      </a:lnTo>
                      <a:lnTo>
                        <a:pt x="1127156" y="212841"/>
                      </a:lnTo>
                      <a:lnTo>
                        <a:pt x="1126974" y="211579"/>
                      </a:lnTo>
                      <a:lnTo>
                        <a:pt x="1126901" y="211081"/>
                      </a:lnTo>
                      <a:lnTo>
                        <a:pt x="1126743" y="210595"/>
                      </a:lnTo>
                      <a:lnTo>
                        <a:pt x="1126343" y="209356"/>
                      </a:lnTo>
                      <a:lnTo>
                        <a:pt x="1126148" y="208774"/>
                      </a:lnTo>
                      <a:lnTo>
                        <a:pt x="1125845" y="208239"/>
                      </a:lnTo>
                      <a:lnTo>
                        <a:pt x="1124048" y="205046"/>
                      </a:lnTo>
                      <a:lnTo>
                        <a:pt x="1123635" y="202301"/>
                      </a:lnTo>
                      <a:lnTo>
                        <a:pt x="1123453" y="201063"/>
                      </a:lnTo>
                      <a:lnTo>
                        <a:pt x="1122785" y="199994"/>
                      </a:lnTo>
                      <a:lnTo>
                        <a:pt x="1122153" y="198986"/>
                      </a:lnTo>
                      <a:lnTo>
                        <a:pt x="1120623" y="196533"/>
                      </a:lnTo>
                      <a:lnTo>
                        <a:pt x="1117757" y="196181"/>
                      </a:lnTo>
                      <a:lnTo>
                        <a:pt x="1116434" y="196011"/>
                      </a:lnTo>
                      <a:lnTo>
                        <a:pt x="1114843" y="195805"/>
                      </a:lnTo>
                      <a:lnTo>
                        <a:pt x="1113350" y="196424"/>
                      </a:lnTo>
                      <a:lnTo>
                        <a:pt x="1112317" y="196861"/>
                      </a:lnTo>
                      <a:lnTo>
                        <a:pt x="1112378" y="196084"/>
                      </a:lnTo>
                      <a:lnTo>
                        <a:pt x="1112487" y="194724"/>
                      </a:lnTo>
                      <a:lnTo>
                        <a:pt x="1111990" y="193449"/>
                      </a:lnTo>
                      <a:lnTo>
                        <a:pt x="1111480" y="192126"/>
                      </a:lnTo>
                      <a:lnTo>
                        <a:pt x="1110678" y="190049"/>
                      </a:lnTo>
                      <a:lnTo>
                        <a:pt x="1108711" y="188980"/>
                      </a:lnTo>
                      <a:lnTo>
                        <a:pt x="1107618" y="188386"/>
                      </a:lnTo>
                      <a:lnTo>
                        <a:pt x="1106161" y="187596"/>
                      </a:lnTo>
                      <a:lnTo>
                        <a:pt x="1104497" y="187657"/>
                      </a:lnTo>
                      <a:lnTo>
                        <a:pt x="1102834" y="187718"/>
                      </a:lnTo>
                      <a:lnTo>
                        <a:pt x="1101535" y="187766"/>
                      </a:lnTo>
                      <a:lnTo>
                        <a:pt x="1100357" y="188337"/>
                      </a:lnTo>
                      <a:lnTo>
                        <a:pt x="1093459" y="191749"/>
                      </a:lnTo>
                      <a:lnTo>
                        <a:pt x="1092561" y="192198"/>
                      </a:lnTo>
                      <a:lnTo>
                        <a:pt x="1091857" y="192903"/>
                      </a:lnTo>
                      <a:lnTo>
                        <a:pt x="1091116" y="193643"/>
                      </a:lnTo>
                      <a:lnTo>
                        <a:pt x="1090290" y="194469"/>
                      </a:lnTo>
                      <a:lnTo>
                        <a:pt x="1089829" y="195550"/>
                      </a:lnTo>
                      <a:lnTo>
                        <a:pt x="1089416" y="196509"/>
                      </a:lnTo>
                      <a:lnTo>
                        <a:pt x="1089379" y="196594"/>
                      </a:lnTo>
                      <a:lnTo>
                        <a:pt x="1086659" y="197068"/>
                      </a:lnTo>
                      <a:lnTo>
                        <a:pt x="1086404" y="197056"/>
                      </a:lnTo>
                      <a:lnTo>
                        <a:pt x="1085008" y="196096"/>
                      </a:lnTo>
                      <a:lnTo>
                        <a:pt x="1083867" y="195088"/>
                      </a:lnTo>
                      <a:lnTo>
                        <a:pt x="1083041" y="194360"/>
                      </a:lnTo>
                      <a:lnTo>
                        <a:pt x="1082009" y="193959"/>
                      </a:lnTo>
                      <a:lnTo>
                        <a:pt x="1080454" y="193364"/>
                      </a:lnTo>
                      <a:lnTo>
                        <a:pt x="1079009" y="192818"/>
                      </a:lnTo>
                      <a:lnTo>
                        <a:pt x="1077479" y="193024"/>
                      </a:lnTo>
                      <a:lnTo>
                        <a:pt x="1076047" y="193218"/>
                      </a:lnTo>
                      <a:lnTo>
                        <a:pt x="1073994" y="193498"/>
                      </a:lnTo>
                      <a:lnTo>
                        <a:pt x="1072537" y="194967"/>
                      </a:lnTo>
                      <a:lnTo>
                        <a:pt x="1070157" y="197371"/>
                      </a:lnTo>
                      <a:lnTo>
                        <a:pt x="1069999" y="197481"/>
                      </a:lnTo>
                      <a:lnTo>
                        <a:pt x="1067595" y="197881"/>
                      </a:lnTo>
                      <a:lnTo>
                        <a:pt x="1067012" y="197978"/>
                      </a:lnTo>
                      <a:lnTo>
                        <a:pt x="1066466" y="198185"/>
                      </a:lnTo>
                      <a:lnTo>
                        <a:pt x="1064851" y="198792"/>
                      </a:lnTo>
                      <a:lnTo>
                        <a:pt x="1064304" y="198998"/>
                      </a:lnTo>
                      <a:lnTo>
                        <a:pt x="1063794" y="199314"/>
                      </a:lnTo>
                      <a:lnTo>
                        <a:pt x="1061876" y="200504"/>
                      </a:lnTo>
                      <a:lnTo>
                        <a:pt x="1061645" y="200553"/>
                      </a:lnTo>
                      <a:lnTo>
                        <a:pt x="1061354" y="200577"/>
                      </a:lnTo>
                      <a:lnTo>
                        <a:pt x="1060212" y="197736"/>
                      </a:lnTo>
                      <a:lnTo>
                        <a:pt x="1060066" y="197359"/>
                      </a:lnTo>
                      <a:lnTo>
                        <a:pt x="1059860" y="197007"/>
                      </a:lnTo>
                      <a:lnTo>
                        <a:pt x="1058719" y="194991"/>
                      </a:lnTo>
                      <a:lnTo>
                        <a:pt x="1058415" y="194469"/>
                      </a:lnTo>
                      <a:lnTo>
                        <a:pt x="1058014" y="194008"/>
                      </a:lnTo>
                      <a:lnTo>
                        <a:pt x="1056691" y="192490"/>
                      </a:lnTo>
                      <a:lnTo>
                        <a:pt x="1055768" y="191433"/>
                      </a:lnTo>
                      <a:lnTo>
                        <a:pt x="1054469" y="190887"/>
                      </a:lnTo>
                      <a:lnTo>
                        <a:pt x="1052064" y="189879"/>
                      </a:lnTo>
                      <a:lnTo>
                        <a:pt x="1050777" y="189345"/>
                      </a:lnTo>
                      <a:lnTo>
                        <a:pt x="1049393" y="189418"/>
                      </a:lnTo>
                      <a:lnTo>
                        <a:pt x="1047207" y="189539"/>
                      </a:lnTo>
                      <a:lnTo>
                        <a:pt x="1045835" y="189612"/>
                      </a:lnTo>
                      <a:lnTo>
                        <a:pt x="1044621" y="190280"/>
                      </a:lnTo>
                      <a:lnTo>
                        <a:pt x="1042204" y="191603"/>
                      </a:lnTo>
                      <a:lnTo>
                        <a:pt x="1041949" y="191555"/>
                      </a:lnTo>
                      <a:lnTo>
                        <a:pt x="1041269" y="190511"/>
                      </a:lnTo>
                      <a:lnTo>
                        <a:pt x="1039399" y="186722"/>
                      </a:lnTo>
                      <a:lnTo>
                        <a:pt x="1038015" y="182848"/>
                      </a:lnTo>
                      <a:lnTo>
                        <a:pt x="1037748" y="181561"/>
                      </a:lnTo>
                      <a:lnTo>
                        <a:pt x="1037650" y="181051"/>
                      </a:lnTo>
                      <a:lnTo>
                        <a:pt x="1037456" y="180566"/>
                      </a:lnTo>
                      <a:lnTo>
                        <a:pt x="1036946" y="179266"/>
                      </a:lnTo>
                      <a:lnTo>
                        <a:pt x="1036655" y="178513"/>
                      </a:lnTo>
                      <a:lnTo>
                        <a:pt x="1036169" y="177870"/>
                      </a:lnTo>
                      <a:lnTo>
                        <a:pt x="1035125" y="176461"/>
                      </a:lnTo>
                      <a:lnTo>
                        <a:pt x="1034578" y="175720"/>
                      </a:lnTo>
                      <a:lnTo>
                        <a:pt x="1033826" y="175174"/>
                      </a:lnTo>
                      <a:lnTo>
                        <a:pt x="1030389" y="172660"/>
                      </a:lnTo>
                      <a:lnTo>
                        <a:pt x="1030025" y="172393"/>
                      </a:lnTo>
                      <a:lnTo>
                        <a:pt x="1029624" y="172175"/>
                      </a:lnTo>
                      <a:lnTo>
                        <a:pt x="1027900" y="171276"/>
                      </a:lnTo>
                      <a:lnTo>
                        <a:pt x="1027499" y="171070"/>
                      </a:lnTo>
                      <a:lnTo>
                        <a:pt x="1027074" y="170924"/>
                      </a:lnTo>
                      <a:lnTo>
                        <a:pt x="1024597" y="170062"/>
                      </a:lnTo>
                      <a:lnTo>
                        <a:pt x="1024281" y="169952"/>
                      </a:lnTo>
                      <a:lnTo>
                        <a:pt x="1023953" y="169880"/>
                      </a:lnTo>
                      <a:lnTo>
                        <a:pt x="1020760" y="169139"/>
                      </a:lnTo>
                      <a:lnTo>
                        <a:pt x="1020031" y="168872"/>
                      </a:lnTo>
                      <a:lnTo>
                        <a:pt x="1017566" y="167403"/>
                      </a:lnTo>
                      <a:lnTo>
                        <a:pt x="1016522" y="166771"/>
                      </a:lnTo>
                      <a:lnTo>
                        <a:pt x="1015308" y="166601"/>
                      </a:lnTo>
                      <a:lnTo>
                        <a:pt x="1013413" y="166334"/>
                      </a:lnTo>
                      <a:lnTo>
                        <a:pt x="1012685" y="166237"/>
                      </a:lnTo>
                      <a:lnTo>
                        <a:pt x="1011956" y="166310"/>
                      </a:lnTo>
                      <a:lnTo>
                        <a:pt x="1010122" y="166492"/>
                      </a:lnTo>
                      <a:lnTo>
                        <a:pt x="1009236" y="166577"/>
                      </a:lnTo>
                      <a:lnTo>
                        <a:pt x="1008410" y="166917"/>
                      </a:lnTo>
                      <a:lnTo>
                        <a:pt x="1006055" y="167888"/>
                      </a:lnTo>
                      <a:lnTo>
                        <a:pt x="1005460" y="168143"/>
                      </a:lnTo>
                      <a:lnTo>
                        <a:pt x="1004937" y="168507"/>
                      </a:lnTo>
                      <a:lnTo>
                        <a:pt x="1002982" y="169855"/>
                      </a:lnTo>
                      <a:lnTo>
                        <a:pt x="1002667" y="170074"/>
                      </a:lnTo>
                      <a:lnTo>
                        <a:pt x="1002387" y="170329"/>
                      </a:lnTo>
                      <a:lnTo>
                        <a:pt x="1000092" y="172369"/>
                      </a:lnTo>
                      <a:lnTo>
                        <a:pt x="999837" y="172587"/>
                      </a:lnTo>
                      <a:lnTo>
                        <a:pt x="999619" y="172830"/>
                      </a:lnTo>
                      <a:lnTo>
                        <a:pt x="998344" y="174239"/>
                      </a:lnTo>
                      <a:lnTo>
                        <a:pt x="998174" y="174360"/>
                      </a:lnTo>
                      <a:lnTo>
                        <a:pt x="996814" y="174312"/>
                      </a:lnTo>
                      <a:lnTo>
                        <a:pt x="990912" y="173122"/>
                      </a:lnTo>
                      <a:lnTo>
                        <a:pt x="990244" y="172988"/>
                      </a:lnTo>
                      <a:lnTo>
                        <a:pt x="989564" y="173000"/>
                      </a:lnTo>
                      <a:lnTo>
                        <a:pt x="988581" y="173025"/>
                      </a:lnTo>
                      <a:lnTo>
                        <a:pt x="988180" y="173037"/>
                      </a:lnTo>
                      <a:lnTo>
                        <a:pt x="987780" y="173098"/>
                      </a:lnTo>
                      <a:lnTo>
                        <a:pt x="982862" y="173875"/>
                      </a:lnTo>
                      <a:lnTo>
                        <a:pt x="980870" y="173875"/>
                      </a:lnTo>
                      <a:lnTo>
                        <a:pt x="980421" y="173875"/>
                      </a:lnTo>
                      <a:lnTo>
                        <a:pt x="979972" y="173935"/>
                      </a:lnTo>
                      <a:lnTo>
                        <a:pt x="978818" y="174105"/>
                      </a:lnTo>
                      <a:lnTo>
                        <a:pt x="978199" y="174203"/>
                      </a:lnTo>
                      <a:lnTo>
                        <a:pt x="977616" y="174421"/>
                      </a:lnTo>
                      <a:lnTo>
                        <a:pt x="976292" y="174907"/>
                      </a:lnTo>
                      <a:lnTo>
                        <a:pt x="974604" y="175526"/>
                      </a:lnTo>
                      <a:lnTo>
                        <a:pt x="973524" y="176971"/>
                      </a:lnTo>
                      <a:lnTo>
                        <a:pt x="972929" y="177773"/>
                      </a:lnTo>
                      <a:lnTo>
                        <a:pt x="972844" y="177578"/>
                      </a:lnTo>
                      <a:lnTo>
                        <a:pt x="972637" y="177093"/>
                      </a:lnTo>
                      <a:lnTo>
                        <a:pt x="972358" y="176643"/>
                      </a:lnTo>
                      <a:lnTo>
                        <a:pt x="970864" y="174324"/>
                      </a:lnTo>
                      <a:lnTo>
                        <a:pt x="970670" y="174033"/>
                      </a:lnTo>
                      <a:lnTo>
                        <a:pt x="970452" y="173765"/>
                      </a:lnTo>
                      <a:lnTo>
                        <a:pt x="967962" y="170742"/>
                      </a:lnTo>
                      <a:lnTo>
                        <a:pt x="967379" y="169649"/>
                      </a:lnTo>
                      <a:lnTo>
                        <a:pt x="966469" y="167427"/>
                      </a:lnTo>
                      <a:lnTo>
                        <a:pt x="966201" y="166795"/>
                      </a:lnTo>
                      <a:lnTo>
                        <a:pt x="965801" y="166249"/>
                      </a:lnTo>
                      <a:lnTo>
                        <a:pt x="965315" y="165593"/>
                      </a:lnTo>
                      <a:lnTo>
                        <a:pt x="966456" y="165642"/>
                      </a:lnTo>
                      <a:lnTo>
                        <a:pt x="967112" y="165666"/>
                      </a:lnTo>
                      <a:lnTo>
                        <a:pt x="967756" y="165557"/>
                      </a:lnTo>
                      <a:lnTo>
                        <a:pt x="969249" y="165302"/>
                      </a:lnTo>
                      <a:lnTo>
                        <a:pt x="970002" y="165180"/>
                      </a:lnTo>
                      <a:lnTo>
                        <a:pt x="970706" y="164865"/>
                      </a:lnTo>
                      <a:lnTo>
                        <a:pt x="972079" y="164258"/>
                      </a:lnTo>
                      <a:lnTo>
                        <a:pt x="973791" y="163492"/>
                      </a:lnTo>
                      <a:lnTo>
                        <a:pt x="974774" y="161890"/>
                      </a:lnTo>
                      <a:lnTo>
                        <a:pt x="975649" y="160469"/>
                      </a:lnTo>
                      <a:lnTo>
                        <a:pt x="976074" y="159789"/>
                      </a:lnTo>
                      <a:lnTo>
                        <a:pt x="976304" y="159012"/>
                      </a:lnTo>
                      <a:lnTo>
                        <a:pt x="976924" y="156911"/>
                      </a:lnTo>
                      <a:lnTo>
                        <a:pt x="977082" y="156377"/>
                      </a:lnTo>
                      <a:lnTo>
                        <a:pt x="977142" y="155818"/>
                      </a:lnTo>
                      <a:lnTo>
                        <a:pt x="977834" y="149152"/>
                      </a:lnTo>
                      <a:lnTo>
                        <a:pt x="977919" y="148350"/>
                      </a:lnTo>
                      <a:lnTo>
                        <a:pt x="977786" y="147549"/>
                      </a:lnTo>
                      <a:lnTo>
                        <a:pt x="977446" y="145424"/>
                      </a:lnTo>
                      <a:lnTo>
                        <a:pt x="977239" y="144173"/>
                      </a:lnTo>
                      <a:lnTo>
                        <a:pt x="976547" y="143104"/>
                      </a:lnTo>
                      <a:lnTo>
                        <a:pt x="974823" y="140433"/>
                      </a:lnTo>
                      <a:lnTo>
                        <a:pt x="974544" y="139996"/>
                      </a:lnTo>
                      <a:lnTo>
                        <a:pt x="974192" y="139619"/>
                      </a:lnTo>
                      <a:lnTo>
                        <a:pt x="971447" y="136644"/>
                      </a:lnTo>
                      <a:lnTo>
                        <a:pt x="970962" y="135697"/>
                      </a:lnTo>
                      <a:lnTo>
                        <a:pt x="970622" y="133985"/>
                      </a:lnTo>
                      <a:lnTo>
                        <a:pt x="972115" y="117981"/>
                      </a:lnTo>
                      <a:lnTo>
                        <a:pt x="972759" y="115358"/>
                      </a:lnTo>
                      <a:lnTo>
                        <a:pt x="975394" y="108509"/>
                      </a:lnTo>
                      <a:lnTo>
                        <a:pt x="975588" y="108011"/>
                      </a:lnTo>
                      <a:lnTo>
                        <a:pt x="975685" y="107489"/>
                      </a:lnTo>
                      <a:lnTo>
                        <a:pt x="976317" y="104198"/>
                      </a:lnTo>
                      <a:lnTo>
                        <a:pt x="976487" y="103348"/>
                      </a:lnTo>
                      <a:lnTo>
                        <a:pt x="976414" y="102486"/>
                      </a:lnTo>
                      <a:lnTo>
                        <a:pt x="976171" y="99876"/>
                      </a:lnTo>
                      <a:lnTo>
                        <a:pt x="976037" y="98443"/>
                      </a:lnTo>
                      <a:lnTo>
                        <a:pt x="975284" y="97216"/>
                      </a:lnTo>
                      <a:lnTo>
                        <a:pt x="973973" y="95116"/>
                      </a:lnTo>
                      <a:lnTo>
                        <a:pt x="973281" y="94011"/>
                      </a:lnTo>
                      <a:lnTo>
                        <a:pt x="972200" y="93282"/>
                      </a:lnTo>
                      <a:lnTo>
                        <a:pt x="971046" y="92505"/>
                      </a:lnTo>
                      <a:lnTo>
                        <a:pt x="969966" y="91776"/>
                      </a:lnTo>
                      <a:lnTo>
                        <a:pt x="968679" y="91558"/>
                      </a:lnTo>
                      <a:lnTo>
                        <a:pt x="967306" y="91327"/>
                      </a:lnTo>
                      <a:lnTo>
                        <a:pt x="965594" y="91048"/>
                      </a:lnTo>
                      <a:lnTo>
                        <a:pt x="963991" y="91703"/>
                      </a:lnTo>
                      <a:lnTo>
                        <a:pt x="963081" y="92080"/>
                      </a:lnTo>
                      <a:lnTo>
                        <a:pt x="962073" y="92493"/>
                      </a:lnTo>
                      <a:lnTo>
                        <a:pt x="961271" y="93233"/>
                      </a:lnTo>
                      <a:lnTo>
                        <a:pt x="960519" y="93926"/>
                      </a:lnTo>
                      <a:lnTo>
                        <a:pt x="960288" y="94144"/>
                      </a:lnTo>
                      <a:lnTo>
                        <a:pt x="960215" y="94229"/>
                      </a:lnTo>
                      <a:lnTo>
                        <a:pt x="959535" y="94217"/>
                      </a:lnTo>
                      <a:lnTo>
                        <a:pt x="958867" y="94217"/>
                      </a:lnTo>
                      <a:lnTo>
                        <a:pt x="958211" y="94351"/>
                      </a:lnTo>
                      <a:lnTo>
                        <a:pt x="956827" y="94642"/>
                      </a:lnTo>
                      <a:lnTo>
                        <a:pt x="955771" y="94861"/>
                      </a:lnTo>
                      <a:lnTo>
                        <a:pt x="954848" y="95431"/>
                      </a:lnTo>
                      <a:lnTo>
                        <a:pt x="953597" y="96208"/>
                      </a:lnTo>
                      <a:lnTo>
                        <a:pt x="953294" y="96403"/>
                      </a:lnTo>
                      <a:lnTo>
                        <a:pt x="953014" y="96634"/>
                      </a:lnTo>
                      <a:lnTo>
                        <a:pt x="951545" y="97811"/>
                      </a:lnTo>
                      <a:lnTo>
                        <a:pt x="951169" y="97994"/>
                      </a:lnTo>
                      <a:lnTo>
                        <a:pt x="950610" y="98151"/>
                      </a:lnTo>
                      <a:lnTo>
                        <a:pt x="950209" y="98176"/>
                      </a:lnTo>
                      <a:lnTo>
                        <a:pt x="949444" y="98103"/>
                      </a:lnTo>
                      <a:lnTo>
                        <a:pt x="949031" y="97981"/>
                      </a:lnTo>
                      <a:lnTo>
                        <a:pt x="949213" y="95966"/>
                      </a:lnTo>
                      <a:lnTo>
                        <a:pt x="949881" y="93634"/>
                      </a:lnTo>
                      <a:lnTo>
                        <a:pt x="951120" y="91108"/>
                      </a:lnTo>
                      <a:lnTo>
                        <a:pt x="951460" y="91011"/>
                      </a:lnTo>
                      <a:lnTo>
                        <a:pt x="951836" y="90853"/>
                      </a:lnTo>
                      <a:lnTo>
                        <a:pt x="957531" y="88388"/>
                      </a:lnTo>
                      <a:lnTo>
                        <a:pt x="957944" y="88206"/>
                      </a:lnTo>
                      <a:lnTo>
                        <a:pt x="958321" y="87963"/>
                      </a:lnTo>
                      <a:lnTo>
                        <a:pt x="960154" y="86822"/>
                      </a:lnTo>
                      <a:lnTo>
                        <a:pt x="960725" y="86470"/>
                      </a:lnTo>
                      <a:lnTo>
                        <a:pt x="961199" y="86008"/>
                      </a:lnTo>
                      <a:lnTo>
                        <a:pt x="962583" y="84661"/>
                      </a:lnTo>
                      <a:lnTo>
                        <a:pt x="963117" y="84138"/>
                      </a:lnTo>
                      <a:lnTo>
                        <a:pt x="963506" y="83495"/>
                      </a:lnTo>
                      <a:lnTo>
                        <a:pt x="964477" y="81904"/>
                      </a:lnTo>
                      <a:lnTo>
                        <a:pt x="964902" y="81212"/>
                      </a:lnTo>
                      <a:lnTo>
                        <a:pt x="965133" y="80447"/>
                      </a:lnTo>
                      <a:lnTo>
                        <a:pt x="965655" y="78674"/>
                      </a:lnTo>
                      <a:lnTo>
                        <a:pt x="965983" y="77557"/>
                      </a:lnTo>
                      <a:lnTo>
                        <a:pt x="965874" y="76391"/>
                      </a:lnTo>
                      <a:lnTo>
                        <a:pt x="965679" y="74436"/>
                      </a:lnTo>
                      <a:lnTo>
                        <a:pt x="965594" y="73538"/>
                      </a:lnTo>
                      <a:lnTo>
                        <a:pt x="965254" y="72712"/>
                      </a:lnTo>
                      <a:lnTo>
                        <a:pt x="964501" y="70878"/>
                      </a:lnTo>
                      <a:lnTo>
                        <a:pt x="964016" y="69713"/>
                      </a:lnTo>
                      <a:lnTo>
                        <a:pt x="963105" y="68826"/>
                      </a:lnTo>
                      <a:lnTo>
                        <a:pt x="961271" y="67041"/>
                      </a:lnTo>
                      <a:lnTo>
                        <a:pt x="960822" y="66604"/>
                      </a:lnTo>
                      <a:lnTo>
                        <a:pt x="960288" y="66264"/>
                      </a:lnTo>
                      <a:lnTo>
                        <a:pt x="959329" y="65657"/>
                      </a:lnTo>
                      <a:lnTo>
                        <a:pt x="959584" y="61358"/>
                      </a:lnTo>
                      <a:lnTo>
                        <a:pt x="959924" y="55712"/>
                      </a:lnTo>
                      <a:lnTo>
                        <a:pt x="954314" y="54971"/>
                      </a:lnTo>
                      <a:lnTo>
                        <a:pt x="929785" y="51729"/>
                      </a:lnTo>
                      <a:lnTo>
                        <a:pt x="929372" y="51668"/>
                      </a:lnTo>
                      <a:lnTo>
                        <a:pt x="928947" y="51668"/>
                      </a:lnTo>
                      <a:lnTo>
                        <a:pt x="911097" y="51790"/>
                      </a:lnTo>
                      <a:lnTo>
                        <a:pt x="842064" y="48244"/>
                      </a:lnTo>
                      <a:lnTo>
                        <a:pt x="843036" y="45718"/>
                      </a:lnTo>
                      <a:lnTo>
                        <a:pt x="856089" y="25172"/>
                      </a:lnTo>
                      <a:lnTo>
                        <a:pt x="856514" y="24517"/>
                      </a:lnTo>
                      <a:lnTo>
                        <a:pt x="856757" y="23776"/>
                      </a:lnTo>
                      <a:lnTo>
                        <a:pt x="857049" y="22877"/>
                      </a:lnTo>
                      <a:lnTo>
                        <a:pt x="858105" y="18433"/>
                      </a:lnTo>
                      <a:lnTo>
                        <a:pt x="858227" y="17899"/>
                      </a:lnTo>
                      <a:lnTo>
                        <a:pt x="858251" y="17352"/>
                      </a:lnTo>
                      <a:lnTo>
                        <a:pt x="858421" y="13879"/>
                      </a:lnTo>
                      <a:lnTo>
                        <a:pt x="858469" y="12774"/>
                      </a:lnTo>
                      <a:lnTo>
                        <a:pt x="858129" y="11718"/>
                      </a:lnTo>
                      <a:lnTo>
                        <a:pt x="856915" y="7954"/>
                      </a:lnTo>
                      <a:lnTo>
                        <a:pt x="855992" y="5112"/>
                      </a:lnTo>
                      <a:lnTo>
                        <a:pt x="853175" y="4104"/>
                      </a:lnTo>
                      <a:lnTo>
                        <a:pt x="848694" y="2501"/>
                      </a:lnTo>
                      <a:lnTo>
                        <a:pt x="841688" y="0"/>
                      </a:lnTo>
                      <a:lnTo>
                        <a:pt x="841688" y="0"/>
                      </a:lnTo>
                      <a:close/>
                      <a:moveTo>
                        <a:pt x="1539348" y="671687"/>
                      </a:moveTo>
                      <a:lnTo>
                        <a:pt x="1542955" y="670594"/>
                      </a:lnTo>
                      <a:lnTo>
                        <a:pt x="1548455" y="669489"/>
                      </a:lnTo>
                      <a:lnTo>
                        <a:pt x="1548212" y="669647"/>
                      </a:lnTo>
                      <a:lnTo>
                        <a:pt x="1545869" y="671164"/>
                      </a:lnTo>
                      <a:lnTo>
                        <a:pt x="1545323" y="671517"/>
                      </a:lnTo>
                      <a:lnTo>
                        <a:pt x="1544861" y="671978"/>
                      </a:lnTo>
                      <a:lnTo>
                        <a:pt x="1540271" y="676617"/>
                      </a:lnTo>
                      <a:lnTo>
                        <a:pt x="1536883" y="678693"/>
                      </a:lnTo>
                      <a:lnTo>
                        <a:pt x="1513289" y="688371"/>
                      </a:lnTo>
                      <a:lnTo>
                        <a:pt x="1512585" y="688529"/>
                      </a:lnTo>
                      <a:lnTo>
                        <a:pt x="1511140" y="687995"/>
                      </a:lnTo>
                      <a:lnTo>
                        <a:pt x="1510436" y="687740"/>
                      </a:lnTo>
                      <a:lnTo>
                        <a:pt x="1509695" y="687655"/>
                      </a:lnTo>
                      <a:lnTo>
                        <a:pt x="1508542" y="687521"/>
                      </a:lnTo>
                      <a:lnTo>
                        <a:pt x="1506538" y="687290"/>
                      </a:lnTo>
                      <a:lnTo>
                        <a:pt x="1504789" y="688310"/>
                      </a:lnTo>
                      <a:lnTo>
                        <a:pt x="1503709" y="688942"/>
                      </a:lnTo>
                      <a:lnTo>
                        <a:pt x="1501960" y="689962"/>
                      </a:lnTo>
                      <a:lnTo>
                        <a:pt x="1501183" y="691832"/>
                      </a:lnTo>
                      <a:lnTo>
                        <a:pt x="1500454" y="693568"/>
                      </a:lnTo>
                      <a:lnTo>
                        <a:pt x="1500272" y="691091"/>
                      </a:lnTo>
                      <a:lnTo>
                        <a:pt x="1500284" y="690727"/>
                      </a:lnTo>
                      <a:lnTo>
                        <a:pt x="1500309" y="690654"/>
                      </a:lnTo>
                      <a:lnTo>
                        <a:pt x="1500515" y="690363"/>
                      </a:lnTo>
                      <a:lnTo>
                        <a:pt x="1502239" y="688881"/>
                      </a:lnTo>
                      <a:lnTo>
                        <a:pt x="1508736" y="685190"/>
                      </a:lnTo>
                      <a:lnTo>
                        <a:pt x="1539348" y="671687"/>
                      </a:lnTo>
                      <a:lnTo>
                        <a:pt x="1539348" y="671687"/>
                      </a:lnTo>
                      <a:close/>
                    </a:path>
                  </a:pathLst>
                </a:custGeom>
                <a:solidFill>
                  <a:srgbClr val="FFFFFF"/>
                </a:solidFill>
                <a:ln w="12138" cap="flat">
                  <a:noFill/>
                  <a:prstDash val="solid"/>
                  <a:miter/>
                </a:ln>
              </p:spPr>
              <p:txBody>
                <a:bodyPr rtlCol="0" anchor="ctr"/>
                <a:lstStyle/>
                <a:p>
                  <a:endParaRPr lang="en-US"/>
                </a:p>
              </p:txBody>
            </p:sp>
          </p:grpSp>
          <p:grpSp>
            <p:nvGrpSpPr>
              <p:cNvPr id="261" name="Graphic 280">
                <a:extLst>
                  <a:ext uri="{FF2B5EF4-FFF2-40B4-BE49-F238E27FC236}">
                    <a16:creationId xmlns:a16="http://schemas.microsoft.com/office/drawing/2014/main" id="{2A43AF9E-7AEA-4A51-994B-4F1D43E4BBC0}"/>
                  </a:ext>
                </a:extLst>
              </p:cNvPr>
              <p:cNvGrpSpPr/>
              <p:nvPr/>
            </p:nvGrpSpPr>
            <p:grpSpPr>
              <a:xfrm>
                <a:off x="4537174" y="1943119"/>
                <a:ext cx="599011" cy="680138"/>
                <a:chOff x="4537174" y="1943119"/>
                <a:chExt cx="599011" cy="680138"/>
              </a:xfrm>
            </p:grpSpPr>
            <p:sp>
              <p:nvSpPr>
                <p:cNvPr id="316" name="Freeform: Shape 315">
                  <a:extLst>
                    <a:ext uri="{FF2B5EF4-FFF2-40B4-BE49-F238E27FC236}">
                      <a16:creationId xmlns:a16="http://schemas.microsoft.com/office/drawing/2014/main" id="{130BA933-2B52-4B98-876C-FCD2730D161D}"/>
                    </a:ext>
                  </a:extLst>
                </p:cNvPr>
                <p:cNvSpPr/>
                <p:nvPr/>
              </p:nvSpPr>
              <p:spPr>
                <a:xfrm>
                  <a:off x="4540295" y="1946240"/>
                  <a:ext cx="592781" cy="673726"/>
                </a:xfrm>
                <a:custGeom>
                  <a:avLst/>
                  <a:gdLst>
                    <a:gd name="connsiteX0" fmla="*/ 459052 w 592781"/>
                    <a:gd name="connsiteY0" fmla="*/ 671954 h 673726"/>
                    <a:gd name="connsiteX1" fmla="*/ 458019 w 592781"/>
                    <a:gd name="connsiteY1" fmla="*/ 671140 h 673726"/>
                    <a:gd name="connsiteX2" fmla="*/ 456247 w 592781"/>
                    <a:gd name="connsiteY2" fmla="*/ 668967 h 673726"/>
                    <a:gd name="connsiteX3" fmla="*/ 455907 w 592781"/>
                    <a:gd name="connsiteY3" fmla="*/ 667255 h 673726"/>
                    <a:gd name="connsiteX4" fmla="*/ 456162 w 592781"/>
                    <a:gd name="connsiteY4" fmla="*/ 665129 h 673726"/>
                    <a:gd name="connsiteX5" fmla="*/ 457145 w 592781"/>
                    <a:gd name="connsiteY5" fmla="*/ 663211 h 673726"/>
                    <a:gd name="connsiteX6" fmla="*/ 458092 w 592781"/>
                    <a:gd name="connsiteY6" fmla="*/ 662458 h 673726"/>
                    <a:gd name="connsiteX7" fmla="*/ 459440 w 592781"/>
                    <a:gd name="connsiteY7" fmla="*/ 661644 h 673726"/>
                    <a:gd name="connsiteX8" fmla="*/ 459890 w 592781"/>
                    <a:gd name="connsiteY8" fmla="*/ 661499 h 673726"/>
                    <a:gd name="connsiteX9" fmla="*/ 459173 w 592781"/>
                    <a:gd name="connsiteY9" fmla="*/ 660564 h 673726"/>
                    <a:gd name="connsiteX10" fmla="*/ 457837 w 592781"/>
                    <a:gd name="connsiteY10" fmla="*/ 658232 h 673726"/>
                    <a:gd name="connsiteX11" fmla="*/ 457837 w 592781"/>
                    <a:gd name="connsiteY11" fmla="*/ 655488 h 673726"/>
                    <a:gd name="connsiteX12" fmla="*/ 460642 w 592781"/>
                    <a:gd name="connsiteY12" fmla="*/ 640528 h 673726"/>
                    <a:gd name="connsiteX13" fmla="*/ 461553 w 592781"/>
                    <a:gd name="connsiteY13" fmla="*/ 638293 h 673726"/>
                    <a:gd name="connsiteX14" fmla="*/ 465293 w 592781"/>
                    <a:gd name="connsiteY14" fmla="*/ 632963 h 673726"/>
                    <a:gd name="connsiteX15" fmla="*/ 465621 w 592781"/>
                    <a:gd name="connsiteY15" fmla="*/ 632234 h 673726"/>
                    <a:gd name="connsiteX16" fmla="*/ 465912 w 592781"/>
                    <a:gd name="connsiteY16" fmla="*/ 630473 h 673726"/>
                    <a:gd name="connsiteX17" fmla="*/ 465196 w 592781"/>
                    <a:gd name="connsiteY17" fmla="*/ 624086 h 673726"/>
                    <a:gd name="connsiteX18" fmla="*/ 465815 w 592781"/>
                    <a:gd name="connsiteY18" fmla="*/ 620213 h 673726"/>
                    <a:gd name="connsiteX19" fmla="*/ 465694 w 592781"/>
                    <a:gd name="connsiteY19" fmla="*/ 619241 h 673726"/>
                    <a:gd name="connsiteX20" fmla="*/ 465366 w 592781"/>
                    <a:gd name="connsiteY20" fmla="*/ 617748 h 673726"/>
                    <a:gd name="connsiteX21" fmla="*/ 464334 w 592781"/>
                    <a:gd name="connsiteY21" fmla="*/ 614979 h 673726"/>
                    <a:gd name="connsiteX22" fmla="*/ 464030 w 592781"/>
                    <a:gd name="connsiteY22" fmla="*/ 611968 h 673726"/>
                    <a:gd name="connsiteX23" fmla="*/ 464152 w 592781"/>
                    <a:gd name="connsiteY23" fmla="*/ 609928 h 673726"/>
                    <a:gd name="connsiteX24" fmla="*/ 464783 w 592781"/>
                    <a:gd name="connsiteY24" fmla="*/ 606977 h 673726"/>
                    <a:gd name="connsiteX25" fmla="*/ 464492 w 592781"/>
                    <a:gd name="connsiteY25" fmla="*/ 606394 h 673726"/>
                    <a:gd name="connsiteX26" fmla="*/ 464030 w 592781"/>
                    <a:gd name="connsiteY26" fmla="*/ 604718 h 673726"/>
                    <a:gd name="connsiteX27" fmla="*/ 462622 w 592781"/>
                    <a:gd name="connsiteY27" fmla="*/ 601549 h 673726"/>
                    <a:gd name="connsiteX28" fmla="*/ 461687 w 592781"/>
                    <a:gd name="connsiteY28" fmla="*/ 597457 h 673726"/>
                    <a:gd name="connsiteX29" fmla="*/ 461517 w 592781"/>
                    <a:gd name="connsiteY29" fmla="*/ 593243 h 673726"/>
                    <a:gd name="connsiteX30" fmla="*/ 462124 w 592781"/>
                    <a:gd name="connsiteY30" fmla="*/ 589321 h 673726"/>
                    <a:gd name="connsiteX31" fmla="*/ 465415 w 592781"/>
                    <a:gd name="connsiteY31" fmla="*/ 577834 h 673726"/>
                    <a:gd name="connsiteX32" fmla="*/ 465487 w 592781"/>
                    <a:gd name="connsiteY32" fmla="*/ 575940 h 673726"/>
                    <a:gd name="connsiteX33" fmla="*/ 465159 w 592781"/>
                    <a:gd name="connsiteY33" fmla="*/ 574397 h 673726"/>
                    <a:gd name="connsiteX34" fmla="*/ 464419 w 592781"/>
                    <a:gd name="connsiteY34" fmla="*/ 573001 h 673726"/>
                    <a:gd name="connsiteX35" fmla="*/ 463217 w 592781"/>
                    <a:gd name="connsiteY35" fmla="*/ 571896 h 673726"/>
                    <a:gd name="connsiteX36" fmla="*/ 456417 w 592781"/>
                    <a:gd name="connsiteY36" fmla="*/ 566614 h 673726"/>
                    <a:gd name="connsiteX37" fmla="*/ 454413 w 592781"/>
                    <a:gd name="connsiteY37" fmla="*/ 564537 h 673726"/>
                    <a:gd name="connsiteX38" fmla="*/ 452142 w 592781"/>
                    <a:gd name="connsiteY38" fmla="*/ 560955 h 673726"/>
                    <a:gd name="connsiteX39" fmla="*/ 451584 w 592781"/>
                    <a:gd name="connsiteY39" fmla="*/ 560251 h 673726"/>
                    <a:gd name="connsiteX40" fmla="*/ 450552 w 592781"/>
                    <a:gd name="connsiteY40" fmla="*/ 559377 h 673726"/>
                    <a:gd name="connsiteX41" fmla="*/ 449908 w 592781"/>
                    <a:gd name="connsiteY41" fmla="*/ 559170 h 673726"/>
                    <a:gd name="connsiteX42" fmla="*/ 449228 w 592781"/>
                    <a:gd name="connsiteY42" fmla="*/ 559085 h 673726"/>
                    <a:gd name="connsiteX43" fmla="*/ 448402 w 592781"/>
                    <a:gd name="connsiteY43" fmla="*/ 559267 h 673726"/>
                    <a:gd name="connsiteX44" fmla="*/ 447649 w 592781"/>
                    <a:gd name="connsiteY44" fmla="*/ 559632 h 673726"/>
                    <a:gd name="connsiteX45" fmla="*/ 444298 w 592781"/>
                    <a:gd name="connsiteY45" fmla="*/ 561744 h 673726"/>
                    <a:gd name="connsiteX46" fmla="*/ 443484 w 592781"/>
                    <a:gd name="connsiteY46" fmla="*/ 562752 h 673726"/>
                    <a:gd name="connsiteX47" fmla="*/ 442549 w 592781"/>
                    <a:gd name="connsiteY47" fmla="*/ 564209 h 673726"/>
                    <a:gd name="connsiteX48" fmla="*/ 441590 w 592781"/>
                    <a:gd name="connsiteY48" fmla="*/ 566832 h 673726"/>
                    <a:gd name="connsiteX49" fmla="*/ 436429 w 592781"/>
                    <a:gd name="connsiteY49" fmla="*/ 573159 h 673726"/>
                    <a:gd name="connsiteX50" fmla="*/ 431645 w 592781"/>
                    <a:gd name="connsiteY50" fmla="*/ 576219 h 673726"/>
                    <a:gd name="connsiteX51" fmla="*/ 430819 w 592781"/>
                    <a:gd name="connsiteY51" fmla="*/ 577057 h 673726"/>
                    <a:gd name="connsiteX52" fmla="*/ 427116 w 592781"/>
                    <a:gd name="connsiteY52" fmla="*/ 579874 h 673726"/>
                    <a:gd name="connsiteX53" fmla="*/ 424432 w 592781"/>
                    <a:gd name="connsiteY53" fmla="*/ 581161 h 673726"/>
                    <a:gd name="connsiteX54" fmla="*/ 423655 w 592781"/>
                    <a:gd name="connsiteY54" fmla="*/ 581720 h 673726"/>
                    <a:gd name="connsiteX55" fmla="*/ 422271 w 592781"/>
                    <a:gd name="connsiteY55" fmla="*/ 583335 h 673726"/>
                    <a:gd name="connsiteX56" fmla="*/ 420401 w 592781"/>
                    <a:gd name="connsiteY56" fmla="*/ 584889 h 673726"/>
                    <a:gd name="connsiteX57" fmla="*/ 417134 w 592781"/>
                    <a:gd name="connsiteY57" fmla="*/ 586723 h 673726"/>
                    <a:gd name="connsiteX58" fmla="*/ 416126 w 592781"/>
                    <a:gd name="connsiteY58" fmla="*/ 587645 h 673726"/>
                    <a:gd name="connsiteX59" fmla="*/ 415471 w 592781"/>
                    <a:gd name="connsiteY59" fmla="*/ 588374 h 673726"/>
                    <a:gd name="connsiteX60" fmla="*/ 415531 w 592781"/>
                    <a:gd name="connsiteY60" fmla="*/ 588665 h 673726"/>
                    <a:gd name="connsiteX61" fmla="*/ 415422 w 592781"/>
                    <a:gd name="connsiteY61" fmla="*/ 589345 h 673726"/>
                    <a:gd name="connsiteX62" fmla="*/ 415434 w 592781"/>
                    <a:gd name="connsiteY62" fmla="*/ 590001 h 673726"/>
                    <a:gd name="connsiteX63" fmla="*/ 415689 w 592781"/>
                    <a:gd name="connsiteY63" fmla="*/ 590973 h 673726"/>
                    <a:gd name="connsiteX64" fmla="*/ 416236 w 592781"/>
                    <a:gd name="connsiteY64" fmla="*/ 592357 h 673726"/>
                    <a:gd name="connsiteX65" fmla="*/ 418106 w 592781"/>
                    <a:gd name="connsiteY65" fmla="*/ 596449 h 673726"/>
                    <a:gd name="connsiteX66" fmla="*/ 418737 w 592781"/>
                    <a:gd name="connsiteY66" fmla="*/ 599521 h 673726"/>
                    <a:gd name="connsiteX67" fmla="*/ 418081 w 592781"/>
                    <a:gd name="connsiteY67" fmla="*/ 601561 h 673726"/>
                    <a:gd name="connsiteX68" fmla="*/ 416527 w 592781"/>
                    <a:gd name="connsiteY68" fmla="*/ 602982 h 673726"/>
                    <a:gd name="connsiteX69" fmla="*/ 414912 w 592781"/>
                    <a:gd name="connsiteY69" fmla="*/ 603662 h 673726"/>
                    <a:gd name="connsiteX70" fmla="*/ 411961 w 592781"/>
                    <a:gd name="connsiteY70" fmla="*/ 604354 h 673726"/>
                    <a:gd name="connsiteX71" fmla="*/ 407529 w 592781"/>
                    <a:gd name="connsiteY71" fmla="*/ 604791 h 673726"/>
                    <a:gd name="connsiteX72" fmla="*/ 405963 w 592781"/>
                    <a:gd name="connsiteY72" fmla="*/ 605301 h 673726"/>
                    <a:gd name="connsiteX73" fmla="*/ 403898 w 592781"/>
                    <a:gd name="connsiteY73" fmla="*/ 606212 h 673726"/>
                    <a:gd name="connsiteX74" fmla="*/ 400741 w 592781"/>
                    <a:gd name="connsiteY74" fmla="*/ 610280 h 673726"/>
                    <a:gd name="connsiteX75" fmla="*/ 397803 w 592781"/>
                    <a:gd name="connsiteY75" fmla="*/ 612478 h 673726"/>
                    <a:gd name="connsiteX76" fmla="*/ 395702 w 592781"/>
                    <a:gd name="connsiteY76" fmla="*/ 612478 h 673726"/>
                    <a:gd name="connsiteX77" fmla="*/ 393638 w 592781"/>
                    <a:gd name="connsiteY77" fmla="*/ 611725 h 673726"/>
                    <a:gd name="connsiteX78" fmla="*/ 391913 w 592781"/>
                    <a:gd name="connsiteY78" fmla="*/ 610207 h 673726"/>
                    <a:gd name="connsiteX79" fmla="*/ 390517 w 592781"/>
                    <a:gd name="connsiteY79" fmla="*/ 608264 h 673726"/>
                    <a:gd name="connsiteX80" fmla="*/ 389582 w 592781"/>
                    <a:gd name="connsiteY80" fmla="*/ 606212 h 673726"/>
                    <a:gd name="connsiteX81" fmla="*/ 387590 w 592781"/>
                    <a:gd name="connsiteY81" fmla="*/ 598307 h 673726"/>
                    <a:gd name="connsiteX82" fmla="*/ 387396 w 592781"/>
                    <a:gd name="connsiteY82" fmla="*/ 597906 h 673726"/>
                    <a:gd name="connsiteX83" fmla="*/ 387080 w 592781"/>
                    <a:gd name="connsiteY83" fmla="*/ 597857 h 673726"/>
                    <a:gd name="connsiteX84" fmla="*/ 385247 w 592781"/>
                    <a:gd name="connsiteY84" fmla="*/ 598040 h 673726"/>
                    <a:gd name="connsiteX85" fmla="*/ 382867 w 592781"/>
                    <a:gd name="connsiteY85" fmla="*/ 597797 h 673726"/>
                    <a:gd name="connsiteX86" fmla="*/ 374306 w 592781"/>
                    <a:gd name="connsiteY86" fmla="*/ 594020 h 673726"/>
                    <a:gd name="connsiteX87" fmla="*/ 372230 w 592781"/>
                    <a:gd name="connsiteY87" fmla="*/ 591203 h 673726"/>
                    <a:gd name="connsiteX88" fmla="*/ 372764 w 592781"/>
                    <a:gd name="connsiteY88" fmla="*/ 588690 h 673726"/>
                    <a:gd name="connsiteX89" fmla="*/ 373978 w 592781"/>
                    <a:gd name="connsiteY89" fmla="*/ 586868 h 673726"/>
                    <a:gd name="connsiteX90" fmla="*/ 375107 w 592781"/>
                    <a:gd name="connsiteY90" fmla="*/ 586067 h 673726"/>
                    <a:gd name="connsiteX91" fmla="*/ 375399 w 592781"/>
                    <a:gd name="connsiteY91" fmla="*/ 585970 h 673726"/>
                    <a:gd name="connsiteX92" fmla="*/ 373517 w 592781"/>
                    <a:gd name="connsiteY92" fmla="*/ 584743 h 673726"/>
                    <a:gd name="connsiteX93" fmla="*/ 372266 w 592781"/>
                    <a:gd name="connsiteY93" fmla="*/ 582873 h 673726"/>
                    <a:gd name="connsiteX94" fmla="*/ 371513 w 592781"/>
                    <a:gd name="connsiteY94" fmla="*/ 580663 h 673726"/>
                    <a:gd name="connsiteX95" fmla="*/ 371295 w 592781"/>
                    <a:gd name="connsiteY95" fmla="*/ 579850 h 673726"/>
                    <a:gd name="connsiteX96" fmla="*/ 371950 w 592781"/>
                    <a:gd name="connsiteY96" fmla="*/ 577555 h 673726"/>
                    <a:gd name="connsiteX97" fmla="*/ 373711 w 592781"/>
                    <a:gd name="connsiteY97" fmla="*/ 575988 h 673726"/>
                    <a:gd name="connsiteX98" fmla="*/ 374415 w 592781"/>
                    <a:gd name="connsiteY98" fmla="*/ 575745 h 673726"/>
                    <a:gd name="connsiteX99" fmla="*/ 375897 w 592781"/>
                    <a:gd name="connsiteY99" fmla="*/ 575575 h 673726"/>
                    <a:gd name="connsiteX100" fmla="*/ 376844 w 592781"/>
                    <a:gd name="connsiteY100" fmla="*/ 575709 h 673726"/>
                    <a:gd name="connsiteX101" fmla="*/ 374670 w 592781"/>
                    <a:gd name="connsiteY101" fmla="*/ 572576 h 673726"/>
                    <a:gd name="connsiteX102" fmla="*/ 372910 w 592781"/>
                    <a:gd name="connsiteY102" fmla="*/ 572515 h 673726"/>
                    <a:gd name="connsiteX103" fmla="*/ 370493 w 592781"/>
                    <a:gd name="connsiteY103" fmla="*/ 573389 h 673726"/>
                    <a:gd name="connsiteX104" fmla="*/ 360767 w 592781"/>
                    <a:gd name="connsiteY104" fmla="*/ 574992 h 673726"/>
                    <a:gd name="connsiteX105" fmla="*/ 359625 w 592781"/>
                    <a:gd name="connsiteY105" fmla="*/ 574665 h 673726"/>
                    <a:gd name="connsiteX106" fmla="*/ 358739 w 592781"/>
                    <a:gd name="connsiteY106" fmla="*/ 574288 h 673726"/>
                    <a:gd name="connsiteX107" fmla="*/ 359055 w 592781"/>
                    <a:gd name="connsiteY107" fmla="*/ 575053 h 673726"/>
                    <a:gd name="connsiteX108" fmla="*/ 358132 w 592781"/>
                    <a:gd name="connsiteY108" fmla="*/ 578320 h 673726"/>
                    <a:gd name="connsiteX109" fmla="*/ 356881 w 592781"/>
                    <a:gd name="connsiteY109" fmla="*/ 579485 h 673726"/>
                    <a:gd name="connsiteX110" fmla="*/ 355193 w 592781"/>
                    <a:gd name="connsiteY110" fmla="*/ 580457 h 673726"/>
                    <a:gd name="connsiteX111" fmla="*/ 353784 w 592781"/>
                    <a:gd name="connsiteY111" fmla="*/ 580748 h 673726"/>
                    <a:gd name="connsiteX112" fmla="*/ 354537 w 592781"/>
                    <a:gd name="connsiteY112" fmla="*/ 580942 h 673726"/>
                    <a:gd name="connsiteX113" fmla="*/ 356492 w 592781"/>
                    <a:gd name="connsiteY113" fmla="*/ 581962 h 673726"/>
                    <a:gd name="connsiteX114" fmla="*/ 358702 w 592781"/>
                    <a:gd name="connsiteY114" fmla="*/ 584185 h 673726"/>
                    <a:gd name="connsiteX115" fmla="*/ 359188 w 592781"/>
                    <a:gd name="connsiteY115" fmla="*/ 584743 h 673726"/>
                    <a:gd name="connsiteX116" fmla="*/ 360062 w 592781"/>
                    <a:gd name="connsiteY116" fmla="*/ 588240 h 673726"/>
                    <a:gd name="connsiteX117" fmla="*/ 359079 w 592781"/>
                    <a:gd name="connsiteY117" fmla="*/ 592126 h 673726"/>
                    <a:gd name="connsiteX118" fmla="*/ 356031 w 592781"/>
                    <a:gd name="connsiteY118" fmla="*/ 595854 h 673726"/>
                    <a:gd name="connsiteX119" fmla="*/ 352242 w 592781"/>
                    <a:gd name="connsiteY119" fmla="*/ 596668 h 673726"/>
                    <a:gd name="connsiteX120" fmla="*/ 347992 w 592781"/>
                    <a:gd name="connsiteY120" fmla="*/ 596740 h 673726"/>
                    <a:gd name="connsiteX121" fmla="*/ 340585 w 592781"/>
                    <a:gd name="connsiteY121" fmla="*/ 590681 h 673726"/>
                    <a:gd name="connsiteX122" fmla="*/ 338873 w 592781"/>
                    <a:gd name="connsiteY122" fmla="*/ 590292 h 673726"/>
                    <a:gd name="connsiteX123" fmla="*/ 338521 w 592781"/>
                    <a:gd name="connsiteY123" fmla="*/ 590463 h 673726"/>
                    <a:gd name="connsiteX124" fmla="*/ 337149 w 592781"/>
                    <a:gd name="connsiteY124" fmla="*/ 591689 h 673726"/>
                    <a:gd name="connsiteX125" fmla="*/ 335060 w 592781"/>
                    <a:gd name="connsiteY125" fmla="*/ 592490 h 673726"/>
                    <a:gd name="connsiteX126" fmla="*/ 332729 w 592781"/>
                    <a:gd name="connsiteY126" fmla="*/ 592794 h 673726"/>
                    <a:gd name="connsiteX127" fmla="*/ 330628 w 592781"/>
                    <a:gd name="connsiteY127" fmla="*/ 592612 h 673726"/>
                    <a:gd name="connsiteX128" fmla="*/ 326159 w 592781"/>
                    <a:gd name="connsiteY128" fmla="*/ 591446 h 673726"/>
                    <a:gd name="connsiteX129" fmla="*/ 325334 w 592781"/>
                    <a:gd name="connsiteY129" fmla="*/ 593073 h 673726"/>
                    <a:gd name="connsiteX130" fmla="*/ 324787 w 592781"/>
                    <a:gd name="connsiteY130" fmla="*/ 595380 h 673726"/>
                    <a:gd name="connsiteX131" fmla="*/ 324447 w 592781"/>
                    <a:gd name="connsiteY131" fmla="*/ 597372 h 673726"/>
                    <a:gd name="connsiteX132" fmla="*/ 324532 w 592781"/>
                    <a:gd name="connsiteY132" fmla="*/ 599570 h 673726"/>
                    <a:gd name="connsiteX133" fmla="*/ 325929 w 592781"/>
                    <a:gd name="connsiteY133" fmla="*/ 604573 h 673726"/>
                    <a:gd name="connsiteX134" fmla="*/ 328369 w 592781"/>
                    <a:gd name="connsiteY134" fmla="*/ 611203 h 673726"/>
                    <a:gd name="connsiteX135" fmla="*/ 328891 w 592781"/>
                    <a:gd name="connsiteY135" fmla="*/ 614736 h 673726"/>
                    <a:gd name="connsiteX136" fmla="*/ 328673 w 592781"/>
                    <a:gd name="connsiteY136" fmla="*/ 619436 h 673726"/>
                    <a:gd name="connsiteX137" fmla="*/ 328721 w 592781"/>
                    <a:gd name="connsiteY137" fmla="*/ 621233 h 673726"/>
                    <a:gd name="connsiteX138" fmla="*/ 329207 w 592781"/>
                    <a:gd name="connsiteY138" fmla="*/ 622228 h 673726"/>
                    <a:gd name="connsiteX139" fmla="*/ 331271 w 592781"/>
                    <a:gd name="connsiteY139" fmla="*/ 623734 h 673726"/>
                    <a:gd name="connsiteX140" fmla="*/ 332194 w 592781"/>
                    <a:gd name="connsiteY140" fmla="*/ 625046 h 673726"/>
                    <a:gd name="connsiteX141" fmla="*/ 333093 w 592781"/>
                    <a:gd name="connsiteY141" fmla="*/ 627462 h 673726"/>
                    <a:gd name="connsiteX142" fmla="*/ 333481 w 592781"/>
                    <a:gd name="connsiteY142" fmla="*/ 630813 h 673726"/>
                    <a:gd name="connsiteX143" fmla="*/ 333882 w 592781"/>
                    <a:gd name="connsiteY143" fmla="*/ 632453 h 673726"/>
                    <a:gd name="connsiteX144" fmla="*/ 334344 w 592781"/>
                    <a:gd name="connsiteY144" fmla="*/ 633388 h 673726"/>
                    <a:gd name="connsiteX145" fmla="*/ 335497 w 592781"/>
                    <a:gd name="connsiteY145" fmla="*/ 635258 h 673726"/>
                    <a:gd name="connsiteX146" fmla="*/ 334854 w 592781"/>
                    <a:gd name="connsiteY146" fmla="*/ 637869 h 673726"/>
                    <a:gd name="connsiteX147" fmla="*/ 333518 w 592781"/>
                    <a:gd name="connsiteY147" fmla="*/ 640661 h 673726"/>
                    <a:gd name="connsiteX148" fmla="*/ 325540 w 592781"/>
                    <a:gd name="connsiteY148" fmla="*/ 646320 h 673726"/>
                    <a:gd name="connsiteX149" fmla="*/ 317016 w 592781"/>
                    <a:gd name="connsiteY149" fmla="*/ 640382 h 673726"/>
                    <a:gd name="connsiteX150" fmla="*/ 313154 w 592781"/>
                    <a:gd name="connsiteY150" fmla="*/ 636569 h 673726"/>
                    <a:gd name="connsiteX151" fmla="*/ 308953 w 592781"/>
                    <a:gd name="connsiteY151" fmla="*/ 636181 h 673726"/>
                    <a:gd name="connsiteX152" fmla="*/ 291491 w 592781"/>
                    <a:gd name="connsiteY152" fmla="*/ 638646 h 673726"/>
                    <a:gd name="connsiteX153" fmla="*/ 287703 w 592781"/>
                    <a:gd name="connsiteY153" fmla="*/ 636921 h 673726"/>
                    <a:gd name="connsiteX154" fmla="*/ 285480 w 592781"/>
                    <a:gd name="connsiteY154" fmla="*/ 634286 h 673726"/>
                    <a:gd name="connsiteX155" fmla="*/ 284436 w 592781"/>
                    <a:gd name="connsiteY155" fmla="*/ 630704 h 673726"/>
                    <a:gd name="connsiteX156" fmla="*/ 284048 w 592781"/>
                    <a:gd name="connsiteY156" fmla="*/ 628348 h 673726"/>
                    <a:gd name="connsiteX157" fmla="*/ 283963 w 592781"/>
                    <a:gd name="connsiteY157" fmla="*/ 627195 h 673726"/>
                    <a:gd name="connsiteX158" fmla="*/ 283586 w 592781"/>
                    <a:gd name="connsiteY158" fmla="*/ 626612 h 673726"/>
                    <a:gd name="connsiteX159" fmla="*/ 282809 w 592781"/>
                    <a:gd name="connsiteY159" fmla="*/ 625823 h 673726"/>
                    <a:gd name="connsiteX160" fmla="*/ 276434 w 592781"/>
                    <a:gd name="connsiteY160" fmla="*/ 622204 h 673726"/>
                    <a:gd name="connsiteX161" fmla="*/ 274953 w 592781"/>
                    <a:gd name="connsiteY161" fmla="*/ 616181 h 673726"/>
                    <a:gd name="connsiteX162" fmla="*/ 276592 w 592781"/>
                    <a:gd name="connsiteY162" fmla="*/ 611081 h 673726"/>
                    <a:gd name="connsiteX163" fmla="*/ 278486 w 592781"/>
                    <a:gd name="connsiteY163" fmla="*/ 609891 h 673726"/>
                    <a:gd name="connsiteX164" fmla="*/ 280332 w 592781"/>
                    <a:gd name="connsiteY164" fmla="*/ 609600 h 673726"/>
                    <a:gd name="connsiteX165" fmla="*/ 284643 w 592781"/>
                    <a:gd name="connsiteY165" fmla="*/ 610256 h 673726"/>
                    <a:gd name="connsiteX166" fmla="*/ 285165 w 592781"/>
                    <a:gd name="connsiteY166" fmla="*/ 609891 h 673726"/>
                    <a:gd name="connsiteX167" fmla="*/ 284910 w 592781"/>
                    <a:gd name="connsiteY167" fmla="*/ 609576 h 673726"/>
                    <a:gd name="connsiteX168" fmla="*/ 286245 w 592781"/>
                    <a:gd name="connsiteY168" fmla="*/ 608300 h 673726"/>
                    <a:gd name="connsiteX169" fmla="*/ 285796 w 592781"/>
                    <a:gd name="connsiteY169" fmla="*/ 607341 h 673726"/>
                    <a:gd name="connsiteX170" fmla="*/ 285286 w 592781"/>
                    <a:gd name="connsiteY170" fmla="*/ 607123 h 673726"/>
                    <a:gd name="connsiteX171" fmla="*/ 282214 w 592781"/>
                    <a:gd name="connsiteY171" fmla="*/ 605070 h 673726"/>
                    <a:gd name="connsiteX172" fmla="*/ 282639 w 592781"/>
                    <a:gd name="connsiteY172" fmla="*/ 602776 h 673726"/>
                    <a:gd name="connsiteX173" fmla="*/ 283076 w 592781"/>
                    <a:gd name="connsiteY173" fmla="*/ 601610 h 673726"/>
                    <a:gd name="connsiteX174" fmla="*/ 284327 w 592781"/>
                    <a:gd name="connsiteY174" fmla="*/ 599509 h 673726"/>
                    <a:gd name="connsiteX175" fmla="*/ 285626 w 592781"/>
                    <a:gd name="connsiteY175" fmla="*/ 598416 h 673726"/>
                    <a:gd name="connsiteX176" fmla="*/ 286513 w 592781"/>
                    <a:gd name="connsiteY176" fmla="*/ 597457 h 673726"/>
                    <a:gd name="connsiteX177" fmla="*/ 286476 w 592781"/>
                    <a:gd name="connsiteY177" fmla="*/ 596947 h 673726"/>
                    <a:gd name="connsiteX178" fmla="*/ 286828 w 592781"/>
                    <a:gd name="connsiteY178" fmla="*/ 594494 h 673726"/>
                    <a:gd name="connsiteX179" fmla="*/ 288067 w 592781"/>
                    <a:gd name="connsiteY179" fmla="*/ 591483 h 673726"/>
                    <a:gd name="connsiteX180" fmla="*/ 292135 w 592781"/>
                    <a:gd name="connsiteY180" fmla="*/ 587973 h 673726"/>
                    <a:gd name="connsiteX181" fmla="*/ 294575 w 592781"/>
                    <a:gd name="connsiteY181" fmla="*/ 584877 h 673726"/>
                    <a:gd name="connsiteX182" fmla="*/ 294648 w 592781"/>
                    <a:gd name="connsiteY182" fmla="*/ 584428 h 673726"/>
                    <a:gd name="connsiteX183" fmla="*/ 294333 w 592781"/>
                    <a:gd name="connsiteY183" fmla="*/ 584537 h 673726"/>
                    <a:gd name="connsiteX184" fmla="*/ 293883 w 592781"/>
                    <a:gd name="connsiteY184" fmla="*/ 584901 h 673726"/>
                    <a:gd name="connsiteX185" fmla="*/ 292560 w 592781"/>
                    <a:gd name="connsiteY185" fmla="*/ 586941 h 673726"/>
                    <a:gd name="connsiteX186" fmla="*/ 290751 w 592781"/>
                    <a:gd name="connsiteY186" fmla="*/ 588677 h 673726"/>
                    <a:gd name="connsiteX187" fmla="*/ 288030 w 592781"/>
                    <a:gd name="connsiteY187" fmla="*/ 589576 h 673726"/>
                    <a:gd name="connsiteX188" fmla="*/ 286634 w 592781"/>
                    <a:gd name="connsiteY188" fmla="*/ 589127 h 673726"/>
                    <a:gd name="connsiteX189" fmla="*/ 285225 w 592781"/>
                    <a:gd name="connsiteY189" fmla="*/ 588508 h 673726"/>
                    <a:gd name="connsiteX190" fmla="*/ 280526 w 592781"/>
                    <a:gd name="connsiteY190" fmla="*/ 585144 h 673726"/>
                    <a:gd name="connsiteX191" fmla="*/ 278401 w 592781"/>
                    <a:gd name="connsiteY191" fmla="*/ 582509 h 673726"/>
                    <a:gd name="connsiteX192" fmla="*/ 277818 w 592781"/>
                    <a:gd name="connsiteY192" fmla="*/ 579412 h 673726"/>
                    <a:gd name="connsiteX193" fmla="*/ 279251 w 592781"/>
                    <a:gd name="connsiteY193" fmla="*/ 575903 h 673726"/>
                    <a:gd name="connsiteX194" fmla="*/ 280915 w 592781"/>
                    <a:gd name="connsiteY194" fmla="*/ 574276 h 673726"/>
                    <a:gd name="connsiteX195" fmla="*/ 283088 w 592781"/>
                    <a:gd name="connsiteY195" fmla="*/ 572782 h 673726"/>
                    <a:gd name="connsiteX196" fmla="*/ 285663 w 592781"/>
                    <a:gd name="connsiteY196" fmla="*/ 571592 h 673726"/>
                    <a:gd name="connsiteX197" fmla="*/ 289913 w 592781"/>
                    <a:gd name="connsiteY197" fmla="*/ 570111 h 673726"/>
                    <a:gd name="connsiteX198" fmla="*/ 290520 w 592781"/>
                    <a:gd name="connsiteY198" fmla="*/ 569649 h 673726"/>
                    <a:gd name="connsiteX199" fmla="*/ 291528 w 592781"/>
                    <a:gd name="connsiteY199" fmla="*/ 568678 h 673726"/>
                    <a:gd name="connsiteX200" fmla="*/ 292924 w 592781"/>
                    <a:gd name="connsiteY200" fmla="*/ 565946 h 673726"/>
                    <a:gd name="connsiteX201" fmla="*/ 294879 w 592781"/>
                    <a:gd name="connsiteY201" fmla="*/ 563566 h 673726"/>
                    <a:gd name="connsiteX202" fmla="*/ 297939 w 592781"/>
                    <a:gd name="connsiteY202" fmla="*/ 562206 h 673726"/>
                    <a:gd name="connsiteX203" fmla="*/ 301096 w 592781"/>
                    <a:gd name="connsiteY203" fmla="*/ 563408 h 673726"/>
                    <a:gd name="connsiteX204" fmla="*/ 301825 w 592781"/>
                    <a:gd name="connsiteY204" fmla="*/ 564258 h 673726"/>
                    <a:gd name="connsiteX205" fmla="*/ 301327 w 592781"/>
                    <a:gd name="connsiteY205" fmla="*/ 563517 h 673726"/>
                    <a:gd name="connsiteX206" fmla="*/ 299712 w 592781"/>
                    <a:gd name="connsiteY206" fmla="*/ 561951 h 673726"/>
                    <a:gd name="connsiteX207" fmla="*/ 298607 w 592781"/>
                    <a:gd name="connsiteY207" fmla="*/ 560676 h 673726"/>
                    <a:gd name="connsiteX208" fmla="*/ 296458 w 592781"/>
                    <a:gd name="connsiteY208" fmla="*/ 555612 h 673726"/>
                    <a:gd name="connsiteX209" fmla="*/ 294211 w 592781"/>
                    <a:gd name="connsiteY209" fmla="*/ 551945 h 673726"/>
                    <a:gd name="connsiteX210" fmla="*/ 281607 w 592781"/>
                    <a:gd name="connsiteY210" fmla="*/ 535746 h 673726"/>
                    <a:gd name="connsiteX211" fmla="*/ 273277 w 592781"/>
                    <a:gd name="connsiteY211" fmla="*/ 527684 h 673726"/>
                    <a:gd name="connsiteX212" fmla="*/ 268796 w 592781"/>
                    <a:gd name="connsiteY212" fmla="*/ 523919 h 673726"/>
                    <a:gd name="connsiteX213" fmla="*/ 267278 w 592781"/>
                    <a:gd name="connsiteY213" fmla="*/ 523652 h 673726"/>
                    <a:gd name="connsiteX214" fmla="*/ 264801 w 592781"/>
                    <a:gd name="connsiteY214" fmla="*/ 523118 h 673726"/>
                    <a:gd name="connsiteX215" fmla="*/ 259762 w 592781"/>
                    <a:gd name="connsiteY215" fmla="*/ 521284 h 673726"/>
                    <a:gd name="connsiteX216" fmla="*/ 256580 w 592781"/>
                    <a:gd name="connsiteY216" fmla="*/ 518953 h 673726"/>
                    <a:gd name="connsiteX217" fmla="*/ 255135 w 592781"/>
                    <a:gd name="connsiteY217" fmla="*/ 518673 h 673726"/>
                    <a:gd name="connsiteX218" fmla="*/ 254127 w 592781"/>
                    <a:gd name="connsiteY218" fmla="*/ 519171 h 673726"/>
                    <a:gd name="connsiteX219" fmla="*/ 251274 w 592781"/>
                    <a:gd name="connsiteY219" fmla="*/ 519645 h 673726"/>
                    <a:gd name="connsiteX220" fmla="*/ 250375 w 592781"/>
                    <a:gd name="connsiteY220" fmla="*/ 519730 h 673726"/>
                    <a:gd name="connsiteX221" fmla="*/ 246805 w 592781"/>
                    <a:gd name="connsiteY221" fmla="*/ 517860 h 673726"/>
                    <a:gd name="connsiteX222" fmla="*/ 245385 w 592781"/>
                    <a:gd name="connsiteY222" fmla="*/ 513294 h 673726"/>
                    <a:gd name="connsiteX223" fmla="*/ 246016 w 592781"/>
                    <a:gd name="connsiteY223" fmla="*/ 510428 h 673726"/>
                    <a:gd name="connsiteX224" fmla="*/ 246380 w 592781"/>
                    <a:gd name="connsiteY224" fmla="*/ 509493 h 673726"/>
                    <a:gd name="connsiteX225" fmla="*/ 245433 w 592781"/>
                    <a:gd name="connsiteY225" fmla="*/ 508583 h 673726"/>
                    <a:gd name="connsiteX226" fmla="*/ 242482 w 592781"/>
                    <a:gd name="connsiteY226" fmla="*/ 507283 h 673726"/>
                    <a:gd name="connsiteX227" fmla="*/ 233484 w 592781"/>
                    <a:gd name="connsiteY227" fmla="*/ 500228 h 673726"/>
                    <a:gd name="connsiteX228" fmla="*/ 228008 w 592781"/>
                    <a:gd name="connsiteY228" fmla="*/ 492542 h 673726"/>
                    <a:gd name="connsiteX229" fmla="*/ 225227 w 592781"/>
                    <a:gd name="connsiteY229" fmla="*/ 490344 h 673726"/>
                    <a:gd name="connsiteX230" fmla="*/ 223855 w 592781"/>
                    <a:gd name="connsiteY230" fmla="*/ 488765 h 673726"/>
                    <a:gd name="connsiteX231" fmla="*/ 218949 w 592781"/>
                    <a:gd name="connsiteY231" fmla="*/ 481893 h 673726"/>
                    <a:gd name="connsiteX232" fmla="*/ 216618 w 592781"/>
                    <a:gd name="connsiteY232" fmla="*/ 479464 h 673726"/>
                    <a:gd name="connsiteX233" fmla="*/ 213218 w 592781"/>
                    <a:gd name="connsiteY233" fmla="*/ 474777 h 673726"/>
                    <a:gd name="connsiteX234" fmla="*/ 210413 w 592781"/>
                    <a:gd name="connsiteY234" fmla="*/ 469106 h 673726"/>
                    <a:gd name="connsiteX235" fmla="*/ 204645 w 592781"/>
                    <a:gd name="connsiteY235" fmla="*/ 451232 h 673726"/>
                    <a:gd name="connsiteX236" fmla="*/ 201063 w 592781"/>
                    <a:gd name="connsiteY236" fmla="*/ 443800 h 673726"/>
                    <a:gd name="connsiteX237" fmla="*/ 200188 w 592781"/>
                    <a:gd name="connsiteY237" fmla="*/ 440886 h 673726"/>
                    <a:gd name="connsiteX238" fmla="*/ 200371 w 592781"/>
                    <a:gd name="connsiteY238" fmla="*/ 436563 h 673726"/>
                    <a:gd name="connsiteX239" fmla="*/ 199885 w 592781"/>
                    <a:gd name="connsiteY239" fmla="*/ 434474 h 673726"/>
                    <a:gd name="connsiteX240" fmla="*/ 196910 w 592781"/>
                    <a:gd name="connsiteY240" fmla="*/ 430151 h 673726"/>
                    <a:gd name="connsiteX241" fmla="*/ 195501 w 592781"/>
                    <a:gd name="connsiteY241" fmla="*/ 425974 h 673726"/>
                    <a:gd name="connsiteX242" fmla="*/ 193862 w 592781"/>
                    <a:gd name="connsiteY242" fmla="*/ 419903 h 673726"/>
                    <a:gd name="connsiteX243" fmla="*/ 192405 w 592781"/>
                    <a:gd name="connsiteY243" fmla="*/ 415289 h 673726"/>
                    <a:gd name="connsiteX244" fmla="*/ 192769 w 592781"/>
                    <a:gd name="connsiteY244" fmla="*/ 413285 h 673726"/>
                    <a:gd name="connsiteX245" fmla="*/ 193522 w 592781"/>
                    <a:gd name="connsiteY245" fmla="*/ 410783 h 673726"/>
                    <a:gd name="connsiteX246" fmla="*/ 195222 w 592781"/>
                    <a:gd name="connsiteY246" fmla="*/ 409326 h 673726"/>
                    <a:gd name="connsiteX247" fmla="*/ 197978 w 592781"/>
                    <a:gd name="connsiteY247" fmla="*/ 407541 h 673726"/>
                    <a:gd name="connsiteX248" fmla="*/ 198768 w 592781"/>
                    <a:gd name="connsiteY248" fmla="*/ 406910 h 673726"/>
                    <a:gd name="connsiteX249" fmla="*/ 199326 w 592781"/>
                    <a:gd name="connsiteY249" fmla="*/ 405720 h 673726"/>
                    <a:gd name="connsiteX250" fmla="*/ 199156 w 592781"/>
                    <a:gd name="connsiteY250" fmla="*/ 404530 h 673726"/>
                    <a:gd name="connsiteX251" fmla="*/ 198719 w 592781"/>
                    <a:gd name="connsiteY251" fmla="*/ 403121 h 673726"/>
                    <a:gd name="connsiteX252" fmla="*/ 198209 w 592781"/>
                    <a:gd name="connsiteY252" fmla="*/ 402150 h 673726"/>
                    <a:gd name="connsiteX253" fmla="*/ 197359 w 592781"/>
                    <a:gd name="connsiteY253" fmla="*/ 402065 h 673726"/>
                    <a:gd name="connsiteX254" fmla="*/ 189746 w 592781"/>
                    <a:gd name="connsiteY254" fmla="*/ 399393 h 673726"/>
                    <a:gd name="connsiteX255" fmla="*/ 187305 w 592781"/>
                    <a:gd name="connsiteY255" fmla="*/ 397693 h 673726"/>
                    <a:gd name="connsiteX256" fmla="*/ 181318 w 592781"/>
                    <a:gd name="connsiteY256" fmla="*/ 388829 h 673726"/>
                    <a:gd name="connsiteX257" fmla="*/ 178283 w 592781"/>
                    <a:gd name="connsiteY257" fmla="*/ 385101 h 673726"/>
                    <a:gd name="connsiteX258" fmla="*/ 176510 w 592781"/>
                    <a:gd name="connsiteY258" fmla="*/ 382418 h 673726"/>
                    <a:gd name="connsiteX259" fmla="*/ 175283 w 592781"/>
                    <a:gd name="connsiteY259" fmla="*/ 379746 h 673726"/>
                    <a:gd name="connsiteX260" fmla="*/ 174883 w 592781"/>
                    <a:gd name="connsiteY260" fmla="*/ 376917 h 673726"/>
                    <a:gd name="connsiteX261" fmla="*/ 174931 w 592781"/>
                    <a:gd name="connsiteY261" fmla="*/ 374804 h 673726"/>
                    <a:gd name="connsiteX262" fmla="*/ 175223 w 592781"/>
                    <a:gd name="connsiteY262" fmla="*/ 373529 h 673726"/>
                    <a:gd name="connsiteX263" fmla="*/ 174798 w 592781"/>
                    <a:gd name="connsiteY263" fmla="*/ 372242 h 673726"/>
                    <a:gd name="connsiteX264" fmla="*/ 173486 w 592781"/>
                    <a:gd name="connsiteY264" fmla="*/ 370675 h 673726"/>
                    <a:gd name="connsiteX265" fmla="*/ 172381 w 592781"/>
                    <a:gd name="connsiteY265" fmla="*/ 367943 h 673726"/>
                    <a:gd name="connsiteX266" fmla="*/ 171980 w 592781"/>
                    <a:gd name="connsiteY266" fmla="*/ 365976 h 673726"/>
                    <a:gd name="connsiteX267" fmla="*/ 172211 w 592781"/>
                    <a:gd name="connsiteY267" fmla="*/ 363620 h 673726"/>
                    <a:gd name="connsiteX268" fmla="*/ 172333 w 592781"/>
                    <a:gd name="connsiteY268" fmla="*/ 363013 h 673726"/>
                    <a:gd name="connsiteX269" fmla="*/ 173098 w 592781"/>
                    <a:gd name="connsiteY269" fmla="*/ 361847 h 673726"/>
                    <a:gd name="connsiteX270" fmla="*/ 174360 w 592781"/>
                    <a:gd name="connsiteY270" fmla="*/ 360621 h 673726"/>
                    <a:gd name="connsiteX271" fmla="*/ 175514 w 592781"/>
                    <a:gd name="connsiteY271" fmla="*/ 360014 h 673726"/>
                    <a:gd name="connsiteX272" fmla="*/ 178064 w 592781"/>
                    <a:gd name="connsiteY272" fmla="*/ 359455 h 673726"/>
                    <a:gd name="connsiteX273" fmla="*/ 178113 w 592781"/>
                    <a:gd name="connsiteY273" fmla="*/ 358205 h 673726"/>
                    <a:gd name="connsiteX274" fmla="*/ 177821 w 592781"/>
                    <a:gd name="connsiteY274" fmla="*/ 357500 h 673726"/>
                    <a:gd name="connsiteX275" fmla="*/ 175708 w 592781"/>
                    <a:gd name="connsiteY275" fmla="*/ 353894 h 673726"/>
                    <a:gd name="connsiteX276" fmla="*/ 175150 w 592781"/>
                    <a:gd name="connsiteY276" fmla="*/ 350943 h 673726"/>
                    <a:gd name="connsiteX277" fmla="*/ 173826 w 592781"/>
                    <a:gd name="connsiteY277" fmla="*/ 351490 h 673726"/>
                    <a:gd name="connsiteX278" fmla="*/ 172005 w 592781"/>
                    <a:gd name="connsiteY278" fmla="*/ 353396 h 673726"/>
                    <a:gd name="connsiteX279" fmla="*/ 169989 w 592781"/>
                    <a:gd name="connsiteY279" fmla="*/ 355120 h 673726"/>
                    <a:gd name="connsiteX280" fmla="*/ 168010 w 592781"/>
                    <a:gd name="connsiteY280" fmla="*/ 355290 h 673726"/>
                    <a:gd name="connsiteX281" fmla="*/ 166164 w 592781"/>
                    <a:gd name="connsiteY281" fmla="*/ 354817 h 673726"/>
                    <a:gd name="connsiteX282" fmla="*/ 163905 w 592781"/>
                    <a:gd name="connsiteY282" fmla="*/ 353384 h 673726"/>
                    <a:gd name="connsiteX283" fmla="*/ 162691 w 592781"/>
                    <a:gd name="connsiteY283" fmla="*/ 351417 h 673726"/>
                    <a:gd name="connsiteX284" fmla="*/ 161987 w 592781"/>
                    <a:gd name="connsiteY284" fmla="*/ 348915 h 673726"/>
                    <a:gd name="connsiteX285" fmla="*/ 162060 w 592781"/>
                    <a:gd name="connsiteY285" fmla="*/ 346669 h 673726"/>
                    <a:gd name="connsiteX286" fmla="*/ 163189 w 592781"/>
                    <a:gd name="connsiteY286" fmla="*/ 342504 h 673726"/>
                    <a:gd name="connsiteX287" fmla="*/ 157652 w 592781"/>
                    <a:gd name="connsiteY287" fmla="*/ 345236 h 673726"/>
                    <a:gd name="connsiteX288" fmla="*/ 156328 w 592781"/>
                    <a:gd name="connsiteY288" fmla="*/ 348660 h 673726"/>
                    <a:gd name="connsiteX289" fmla="*/ 155235 w 592781"/>
                    <a:gd name="connsiteY289" fmla="*/ 349425 h 673726"/>
                    <a:gd name="connsiteX290" fmla="*/ 152260 w 592781"/>
                    <a:gd name="connsiteY290" fmla="*/ 350639 h 673726"/>
                    <a:gd name="connsiteX291" fmla="*/ 147694 w 592781"/>
                    <a:gd name="connsiteY291" fmla="*/ 351490 h 673726"/>
                    <a:gd name="connsiteX292" fmla="*/ 143530 w 592781"/>
                    <a:gd name="connsiteY292" fmla="*/ 351332 h 673726"/>
                    <a:gd name="connsiteX293" fmla="*/ 139729 w 592781"/>
                    <a:gd name="connsiteY293" fmla="*/ 348721 h 673726"/>
                    <a:gd name="connsiteX294" fmla="*/ 138332 w 592781"/>
                    <a:gd name="connsiteY294" fmla="*/ 347531 h 673726"/>
                    <a:gd name="connsiteX295" fmla="*/ 136414 w 592781"/>
                    <a:gd name="connsiteY295" fmla="*/ 349474 h 673726"/>
                    <a:gd name="connsiteX296" fmla="*/ 133742 w 592781"/>
                    <a:gd name="connsiteY296" fmla="*/ 351453 h 673726"/>
                    <a:gd name="connsiteX297" fmla="*/ 129237 w 592781"/>
                    <a:gd name="connsiteY297" fmla="*/ 352206 h 673726"/>
                    <a:gd name="connsiteX298" fmla="*/ 128193 w 592781"/>
                    <a:gd name="connsiteY298" fmla="*/ 352655 h 673726"/>
                    <a:gd name="connsiteX299" fmla="*/ 125983 w 592781"/>
                    <a:gd name="connsiteY299" fmla="*/ 354100 h 673726"/>
                    <a:gd name="connsiteX300" fmla="*/ 123518 w 592781"/>
                    <a:gd name="connsiteY300" fmla="*/ 354841 h 673726"/>
                    <a:gd name="connsiteX301" fmla="*/ 121381 w 592781"/>
                    <a:gd name="connsiteY301" fmla="*/ 355096 h 673726"/>
                    <a:gd name="connsiteX302" fmla="*/ 118989 w 592781"/>
                    <a:gd name="connsiteY302" fmla="*/ 354938 h 673726"/>
                    <a:gd name="connsiteX303" fmla="*/ 116366 w 592781"/>
                    <a:gd name="connsiteY303" fmla="*/ 353821 h 673726"/>
                    <a:gd name="connsiteX304" fmla="*/ 114301 w 592781"/>
                    <a:gd name="connsiteY304" fmla="*/ 351866 h 673726"/>
                    <a:gd name="connsiteX305" fmla="*/ 111909 w 592781"/>
                    <a:gd name="connsiteY305" fmla="*/ 346462 h 673726"/>
                    <a:gd name="connsiteX306" fmla="*/ 110950 w 592781"/>
                    <a:gd name="connsiteY306" fmla="*/ 344835 h 673726"/>
                    <a:gd name="connsiteX307" fmla="*/ 110501 w 592781"/>
                    <a:gd name="connsiteY307" fmla="*/ 344349 h 673726"/>
                    <a:gd name="connsiteX308" fmla="*/ 109323 w 592781"/>
                    <a:gd name="connsiteY308" fmla="*/ 343864 h 673726"/>
                    <a:gd name="connsiteX309" fmla="*/ 108521 w 592781"/>
                    <a:gd name="connsiteY309" fmla="*/ 343912 h 673726"/>
                    <a:gd name="connsiteX310" fmla="*/ 104903 w 592781"/>
                    <a:gd name="connsiteY310" fmla="*/ 345879 h 673726"/>
                    <a:gd name="connsiteX311" fmla="*/ 103555 w 592781"/>
                    <a:gd name="connsiteY311" fmla="*/ 346074 h 673726"/>
                    <a:gd name="connsiteX312" fmla="*/ 101515 w 592781"/>
                    <a:gd name="connsiteY312" fmla="*/ 346013 h 673726"/>
                    <a:gd name="connsiteX313" fmla="*/ 99171 w 592781"/>
                    <a:gd name="connsiteY313" fmla="*/ 345552 h 673726"/>
                    <a:gd name="connsiteX314" fmla="*/ 97471 w 592781"/>
                    <a:gd name="connsiteY314" fmla="*/ 344884 h 673726"/>
                    <a:gd name="connsiteX315" fmla="*/ 95201 w 592781"/>
                    <a:gd name="connsiteY315" fmla="*/ 342880 h 673726"/>
                    <a:gd name="connsiteX316" fmla="*/ 93586 w 592781"/>
                    <a:gd name="connsiteY316" fmla="*/ 340500 h 673726"/>
                    <a:gd name="connsiteX317" fmla="*/ 91218 w 592781"/>
                    <a:gd name="connsiteY317" fmla="*/ 335728 h 673726"/>
                    <a:gd name="connsiteX318" fmla="*/ 89433 w 592781"/>
                    <a:gd name="connsiteY318" fmla="*/ 330822 h 673726"/>
                    <a:gd name="connsiteX319" fmla="*/ 88959 w 592781"/>
                    <a:gd name="connsiteY319" fmla="*/ 328661 h 673726"/>
                    <a:gd name="connsiteX320" fmla="*/ 88607 w 592781"/>
                    <a:gd name="connsiteY320" fmla="*/ 327884 h 673726"/>
                    <a:gd name="connsiteX321" fmla="*/ 87951 w 592781"/>
                    <a:gd name="connsiteY321" fmla="*/ 327179 h 673726"/>
                    <a:gd name="connsiteX322" fmla="*/ 85158 w 592781"/>
                    <a:gd name="connsiteY322" fmla="*/ 325309 h 673726"/>
                    <a:gd name="connsiteX323" fmla="*/ 83811 w 592781"/>
                    <a:gd name="connsiteY323" fmla="*/ 324654 h 673726"/>
                    <a:gd name="connsiteX324" fmla="*/ 81746 w 592781"/>
                    <a:gd name="connsiteY324" fmla="*/ 323961 h 673726"/>
                    <a:gd name="connsiteX325" fmla="*/ 78456 w 592781"/>
                    <a:gd name="connsiteY325" fmla="*/ 323233 h 673726"/>
                    <a:gd name="connsiteX326" fmla="*/ 76452 w 592781"/>
                    <a:gd name="connsiteY326" fmla="*/ 322504 h 673726"/>
                    <a:gd name="connsiteX327" fmla="*/ 73028 w 592781"/>
                    <a:gd name="connsiteY327" fmla="*/ 320525 h 673726"/>
                    <a:gd name="connsiteX328" fmla="*/ 71158 w 592781"/>
                    <a:gd name="connsiteY328" fmla="*/ 320853 h 673726"/>
                    <a:gd name="connsiteX329" fmla="*/ 69664 w 592781"/>
                    <a:gd name="connsiteY329" fmla="*/ 321606 h 673726"/>
                    <a:gd name="connsiteX330" fmla="*/ 68304 w 592781"/>
                    <a:gd name="connsiteY330" fmla="*/ 322650 h 673726"/>
                    <a:gd name="connsiteX331" fmla="*/ 66276 w 592781"/>
                    <a:gd name="connsiteY331" fmla="*/ 324471 h 673726"/>
                    <a:gd name="connsiteX332" fmla="*/ 64722 w 592781"/>
                    <a:gd name="connsiteY332" fmla="*/ 326196 h 673726"/>
                    <a:gd name="connsiteX333" fmla="*/ 62415 w 592781"/>
                    <a:gd name="connsiteY333" fmla="*/ 327871 h 673726"/>
                    <a:gd name="connsiteX334" fmla="*/ 59816 w 592781"/>
                    <a:gd name="connsiteY334" fmla="*/ 328697 h 673726"/>
                    <a:gd name="connsiteX335" fmla="*/ 56100 w 592781"/>
                    <a:gd name="connsiteY335" fmla="*/ 328673 h 673726"/>
                    <a:gd name="connsiteX336" fmla="*/ 49240 w 592781"/>
                    <a:gd name="connsiteY336" fmla="*/ 327337 h 673726"/>
                    <a:gd name="connsiteX337" fmla="*/ 43957 w 592781"/>
                    <a:gd name="connsiteY337" fmla="*/ 328236 h 673726"/>
                    <a:gd name="connsiteX338" fmla="*/ 40995 w 592781"/>
                    <a:gd name="connsiteY338" fmla="*/ 328272 h 673726"/>
                    <a:gd name="connsiteX339" fmla="*/ 40400 w 592781"/>
                    <a:gd name="connsiteY339" fmla="*/ 328466 h 673726"/>
                    <a:gd name="connsiteX340" fmla="*/ 40230 w 592781"/>
                    <a:gd name="connsiteY340" fmla="*/ 328697 h 673726"/>
                    <a:gd name="connsiteX341" fmla="*/ 40230 w 592781"/>
                    <a:gd name="connsiteY341" fmla="*/ 329231 h 673726"/>
                    <a:gd name="connsiteX342" fmla="*/ 39683 w 592781"/>
                    <a:gd name="connsiteY342" fmla="*/ 332049 h 673726"/>
                    <a:gd name="connsiteX343" fmla="*/ 38360 w 592781"/>
                    <a:gd name="connsiteY343" fmla="*/ 334198 h 673726"/>
                    <a:gd name="connsiteX344" fmla="*/ 37012 w 592781"/>
                    <a:gd name="connsiteY344" fmla="*/ 334975 h 673726"/>
                    <a:gd name="connsiteX345" fmla="*/ 35312 w 592781"/>
                    <a:gd name="connsiteY345" fmla="*/ 335509 h 673726"/>
                    <a:gd name="connsiteX346" fmla="*/ 33575 w 592781"/>
                    <a:gd name="connsiteY346" fmla="*/ 335534 h 673726"/>
                    <a:gd name="connsiteX347" fmla="*/ 30467 w 592781"/>
                    <a:gd name="connsiteY347" fmla="*/ 335036 h 673726"/>
                    <a:gd name="connsiteX348" fmla="*/ 28427 w 592781"/>
                    <a:gd name="connsiteY348" fmla="*/ 333397 h 673726"/>
                    <a:gd name="connsiteX349" fmla="*/ 26629 w 592781"/>
                    <a:gd name="connsiteY349" fmla="*/ 331041 h 673726"/>
                    <a:gd name="connsiteX350" fmla="*/ 24602 w 592781"/>
                    <a:gd name="connsiteY350" fmla="*/ 326426 h 673726"/>
                    <a:gd name="connsiteX351" fmla="*/ 23351 w 592781"/>
                    <a:gd name="connsiteY351" fmla="*/ 324569 h 673726"/>
                    <a:gd name="connsiteX352" fmla="*/ 20679 w 592781"/>
                    <a:gd name="connsiteY352" fmla="*/ 321363 h 673726"/>
                    <a:gd name="connsiteX353" fmla="*/ 19477 w 592781"/>
                    <a:gd name="connsiteY353" fmla="*/ 319214 h 673726"/>
                    <a:gd name="connsiteX354" fmla="*/ 18227 w 592781"/>
                    <a:gd name="connsiteY354" fmla="*/ 316275 h 673726"/>
                    <a:gd name="connsiteX355" fmla="*/ 16381 w 592781"/>
                    <a:gd name="connsiteY355" fmla="*/ 313871 h 673726"/>
                    <a:gd name="connsiteX356" fmla="*/ 15737 w 592781"/>
                    <a:gd name="connsiteY356" fmla="*/ 313191 h 673726"/>
                    <a:gd name="connsiteX357" fmla="*/ 14693 w 592781"/>
                    <a:gd name="connsiteY357" fmla="*/ 311066 h 673726"/>
                    <a:gd name="connsiteX358" fmla="*/ 14438 w 592781"/>
                    <a:gd name="connsiteY358" fmla="*/ 310422 h 673726"/>
                    <a:gd name="connsiteX359" fmla="*/ 14608 w 592781"/>
                    <a:gd name="connsiteY359" fmla="*/ 308163 h 673726"/>
                    <a:gd name="connsiteX360" fmla="*/ 16077 w 592781"/>
                    <a:gd name="connsiteY360" fmla="*/ 304156 h 673726"/>
                    <a:gd name="connsiteX361" fmla="*/ 18287 w 592781"/>
                    <a:gd name="connsiteY361" fmla="*/ 302578 h 673726"/>
                    <a:gd name="connsiteX362" fmla="*/ 20509 w 592781"/>
                    <a:gd name="connsiteY362" fmla="*/ 301728 h 673726"/>
                    <a:gd name="connsiteX363" fmla="*/ 27018 w 592781"/>
                    <a:gd name="connsiteY363" fmla="*/ 301849 h 673726"/>
                    <a:gd name="connsiteX364" fmla="*/ 27613 w 592781"/>
                    <a:gd name="connsiteY364" fmla="*/ 301691 h 673726"/>
                    <a:gd name="connsiteX365" fmla="*/ 28014 w 592781"/>
                    <a:gd name="connsiteY365" fmla="*/ 301023 h 673726"/>
                    <a:gd name="connsiteX366" fmla="*/ 28342 w 592781"/>
                    <a:gd name="connsiteY366" fmla="*/ 299615 h 673726"/>
                    <a:gd name="connsiteX367" fmla="*/ 28912 w 592781"/>
                    <a:gd name="connsiteY367" fmla="*/ 293519 h 673726"/>
                    <a:gd name="connsiteX368" fmla="*/ 28767 w 592781"/>
                    <a:gd name="connsiteY368" fmla="*/ 292948 h 673726"/>
                    <a:gd name="connsiteX369" fmla="*/ 27309 w 592781"/>
                    <a:gd name="connsiteY369" fmla="*/ 290690 h 673726"/>
                    <a:gd name="connsiteX370" fmla="*/ 24347 w 592781"/>
                    <a:gd name="connsiteY370" fmla="*/ 287496 h 673726"/>
                    <a:gd name="connsiteX371" fmla="*/ 22634 w 592781"/>
                    <a:gd name="connsiteY371" fmla="*/ 284436 h 673726"/>
                    <a:gd name="connsiteX372" fmla="*/ 21663 w 592781"/>
                    <a:gd name="connsiteY372" fmla="*/ 280210 h 673726"/>
                    <a:gd name="connsiteX373" fmla="*/ 23229 w 592781"/>
                    <a:gd name="connsiteY373" fmla="*/ 261984 h 673726"/>
                    <a:gd name="connsiteX374" fmla="*/ 24164 w 592781"/>
                    <a:gd name="connsiteY374" fmla="*/ 258098 h 673726"/>
                    <a:gd name="connsiteX375" fmla="*/ 27030 w 592781"/>
                    <a:gd name="connsiteY375" fmla="*/ 250545 h 673726"/>
                    <a:gd name="connsiteX376" fmla="*/ 27516 w 592781"/>
                    <a:gd name="connsiteY376" fmla="*/ 247777 h 673726"/>
                    <a:gd name="connsiteX377" fmla="*/ 27370 w 592781"/>
                    <a:gd name="connsiteY377" fmla="*/ 246842 h 673726"/>
                    <a:gd name="connsiteX378" fmla="*/ 26897 w 592781"/>
                    <a:gd name="connsiteY378" fmla="*/ 246077 h 673726"/>
                    <a:gd name="connsiteX379" fmla="*/ 25379 w 592781"/>
                    <a:gd name="connsiteY379" fmla="*/ 247582 h 673726"/>
                    <a:gd name="connsiteX380" fmla="*/ 24164 w 592781"/>
                    <a:gd name="connsiteY380" fmla="*/ 248190 h 673726"/>
                    <a:gd name="connsiteX381" fmla="*/ 21845 w 592781"/>
                    <a:gd name="connsiteY381" fmla="*/ 248651 h 673726"/>
                    <a:gd name="connsiteX382" fmla="*/ 19562 w 592781"/>
                    <a:gd name="connsiteY382" fmla="*/ 248627 h 673726"/>
                    <a:gd name="connsiteX383" fmla="*/ 18834 w 592781"/>
                    <a:gd name="connsiteY383" fmla="*/ 248857 h 673726"/>
                    <a:gd name="connsiteX384" fmla="*/ 18542 w 592781"/>
                    <a:gd name="connsiteY384" fmla="*/ 249246 h 673726"/>
                    <a:gd name="connsiteX385" fmla="*/ 16842 w 592781"/>
                    <a:gd name="connsiteY385" fmla="*/ 250655 h 673726"/>
                    <a:gd name="connsiteX386" fmla="*/ 14766 w 592781"/>
                    <a:gd name="connsiteY386" fmla="*/ 251735 h 673726"/>
                    <a:gd name="connsiteX387" fmla="*/ 12580 w 592781"/>
                    <a:gd name="connsiteY387" fmla="*/ 252403 h 673726"/>
                    <a:gd name="connsiteX388" fmla="*/ 10516 w 592781"/>
                    <a:gd name="connsiteY388" fmla="*/ 252610 h 673726"/>
                    <a:gd name="connsiteX389" fmla="*/ 8160 w 592781"/>
                    <a:gd name="connsiteY389" fmla="*/ 252440 h 673726"/>
                    <a:gd name="connsiteX390" fmla="*/ 5598 w 592781"/>
                    <a:gd name="connsiteY390" fmla="*/ 251747 h 673726"/>
                    <a:gd name="connsiteX391" fmla="*/ 2635 w 592781"/>
                    <a:gd name="connsiteY391" fmla="*/ 250351 h 673726"/>
                    <a:gd name="connsiteX392" fmla="*/ 534 w 592781"/>
                    <a:gd name="connsiteY392" fmla="*/ 247667 h 673726"/>
                    <a:gd name="connsiteX393" fmla="*/ 0 w 592781"/>
                    <a:gd name="connsiteY393" fmla="*/ 244632 h 673726"/>
                    <a:gd name="connsiteX394" fmla="*/ 316 w 592781"/>
                    <a:gd name="connsiteY394" fmla="*/ 239896 h 673726"/>
                    <a:gd name="connsiteX395" fmla="*/ 1396 w 592781"/>
                    <a:gd name="connsiteY395" fmla="*/ 235913 h 673726"/>
                    <a:gd name="connsiteX396" fmla="*/ 3364 w 592781"/>
                    <a:gd name="connsiteY396" fmla="*/ 231784 h 673726"/>
                    <a:gd name="connsiteX397" fmla="*/ 4966 w 592781"/>
                    <a:gd name="connsiteY397" fmla="*/ 229599 h 673726"/>
                    <a:gd name="connsiteX398" fmla="*/ 6472 w 592781"/>
                    <a:gd name="connsiteY398" fmla="*/ 228299 h 673726"/>
                    <a:gd name="connsiteX399" fmla="*/ 8743 w 592781"/>
                    <a:gd name="connsiteY399" fmla="*/ 227680 h 673726"/>
                    <a:gd name="connsiteX400" fmla="*/ 14013 w 592781"/>
                    <a:gd name="connsiteY400" fmla="*/ 225349 h 673726"/>
                    <a:gd name="connsiteX401" fmla="*/ 15470 w 592781"/>
                    <a:gd name="connsiteY401" fmla="*/ 224401 h 673726"/>
                    <a:gd name="connsiteX402" fmla="*/ 16308 w 592781"/>
                    <a:gd name="connsiteY402" fmla="*/ 223479 h 673726"/>
                    <a:gd name="connsiteX403" fmla="*/ 16818 w 592781"/>
                    <a:gd name="connsiteY403" fmla="*/ 222471 h 673726"/>
                    <a:gd name="connsiteX404" fmla="*/ 17024 w 592781"/>
                    <a:gd name="connsiteY404" fmla="*/ 221414 h 673726"/>
                    <a:gd name="connsiteX405" fmla="*/ 16599 w 592781"/>
                    <a:gd name="connsiteY405" fmla="*/ 220382 h 673726"/>
                    <a:gd name="connsiteX406" fmla="*/ 15057 w 592781"/>
                    <a:gd name="connsiteY406" fmla="*/ 218876 h 673726"/>
                    <a:gd name="connsiteX407" fmla="*/ 13879 w 592781"/>
                    <a:gd name="connsiteY407" fmla="*/ 218209 h 673726"/>
                    <a:gd name="connsiteX408" fmla="*/ 11779 w 592781"/>
                    <a:gd name="connsiteY408" fmla="*/ 216059 h 673726"/>
                    <a:gd name="connsiteX409" fmla="*/ 10176 w 592781"/>
                    <a:gd name="connsiteY409" fmla="*/ 213691 h 673726"/>
                    <a:gd name="connsiteX410" fmla="*/ 10868 w 592781"/>
                    <a:gd name="connsiteY410" fmla="*/ 202520 h 673726"/>
                    <a:gd name="connsiteX411" fmla="*/ 25925 w 592781"/>
                    <a:gd name="connsiteY411" fmla="*/ 206126 h 673726"/>
                    <a:gd name="connsiteX412" fmla="*/ 36562 w 592781"/>
                    <a:gd name="connsiteY412" fmla="*/ 210134 h 673726"/>
                    <a:gd name="connsiteX413" fmla="*/ 37425 w 592781"/>
                    <a:gd name="connsiteY413" fmla="*/ 210121 h 673726"/>
                    <a:gd name="connsiteX414" fmla="*/ 37971 w 592781"/>
                    <a:gd name="connsiteY414" fmla="*/ 209429 h 673726"/>
                    <a:gd name="connsiteX415" fmla="*/ 39295 w 592781"/>
                    <a:gd name="connsiteY415" fmla="*/ 206855 h 673726"/>
                    <a:gd name="connsiteX416" fmla="*/ 40521 w 592781"/>
                    <a:gd name="connsiteY416" fmla="*/ 205216 h 673726"/>
                    <a:gd name="connsiteX417" fmla="*/ 41942 w 592781"/>
                    <a:gd name="connsiteY417" fmla="*/ 203856 h 673726"/>
                    <a:gd name="connsiteX418" fmla="*/ 48450 w 592781"/>
                    <a:gd name="connsiteY418" fmla="*/ 199460 h 673726"/>
                    <a:gd name="connsiteX419" fmla="*/ 50600 w 592781"/>
                    <a:gd name="connsiteY419" fmla="*/ 198525 h 673726"/>
                    <a:gd name="connsiteX420" fmla="*/ 52421 w 592781"/>
                    <a:gd name="connsiteY420" fmla="*/ 198112 h 673726"/>
                    <a:gd name="connsiteX421" fmla="*/ 56622 w 592781"/>
                    <a:gd name="connsiteY421" fmla="*/ 198112 h 673726"/>
                    <a:gd name="connsiteX422" fmla="*/ 60363 w 592781"/>
                    <a:gd name="connsiteY422" fmla="*/ 197675 h 673726"/>
                    <a:gd name="connsiteX423" fmla="*/ 67187 w 592781"/>
                    <a:gd name="connsiteY423" fmla="*/ 195586 h 673726"/>
                    <a:gd name="connsiteX424" fmla="*/ 69494 w 592781"/>
                    <a:gd name="connsiteY424" fmla="*/ 195258 h 673726"/>
                    <a:gd name="connsiteX425" fmla="*/ 71886 w 592781"/>
                    <a:gd name="connsiteY425" fmla="*/ 195586 h 673726"/>
                    <a:gd name="connsiteX426" fmla="*/ 72918 w 592781"/>
                    <a:gd name="connsiteY426" fmla="*/ 195805 h 673726"/>
                    <a:gd name="connsiteX427" fmla="*/ 74460 w 592781"/>
                    <a:gd name="connsiteY427" fmla="*/ 197675 h 673726"/>
                    <a:gd name="connsiteX428" fmla="*/ 75553 w 592781"/>
                    <a:gd name="connsiteY428" fmla="*/ 199399 h 673726"/>
                    <a:gd name="connsiteX429" fmla="*/ 77496 w 592781"/>
                    <a:gd name="connsiteY429" fmla="*/ 200213 h 673726"/>
                    <a:gd name="connsiteX430" fmla="*/ 86761 w 592781"/>
                    <a:gd name="connsiteY430" fmla="*/ 201779 h 673726"/>
                    <a:gd name="connsiteX431" fmla="*/ 89469 w 592781"/>
                    <a:gd name="connsiteY431" fmla="*/ 202751 h 673726"/>
                    <a:gd name="connsiteX432" fmla="*/ 90696 w 592781"/>
                    <a:gd name="connsiteY432" fmla="*/ 203479 h 673726"/>
                    <a:gd name="connsiteX433" fmla="*/ 93051 w 592781"/>
                    <a:gd name="connsiteY433" fmla="*/ 205471 h 673726"/>
                    <a:gd name="connsiteX434" fmla="*/ 93950 w 592781"/>
                    <a:gd name="connsiteY434" fmla="*/ 206734 h 673726"/>
                    <a:gd name="connsiteX435" fmla="*/ 94739 w 592781"/>
                    <a:gd name="connsiteY435" fmla="*/ 208688 h 673726"/>
                    <a:gd name="connsiteX436" fmla="*/ 95201 w 592781"/>
                    <a:gd name="connsiteY436" fmla="*/ 211008 h 673726"/>
                    <a:gd name="connsiteX437" fmla="*/ 95516 w 592781"/>
                    <a:gd name="connsiteY437" fmla="*/ 211955 h 673726"/>
                    <a:gd name="connsiteX438" fmla="*/ 95905 w 592781"/>
                    <a:gd name="connsiteY438" fmla="*/ 212319 h 673726"/>
                    <a:gd name="connsiteX439" fmla="*/ 100179 w 592781"/>
                    <a:gd name="connsiteY439" fmla="*/ 214942 h 673726"/>
                    <a:gd name="connsiteX440" fmla="*/ 101624 w 592781"/>
                    <a:gd name="connsiteY440" fmla="*/ 216193 h 673726"/>
                    <a:gd name="connsiteX441" fmla="*/ 102838 w 592781"/>
                    <a:gd name="connsiteY441" fmla="*/ 217480 h 673726"/>
                    <a:gd name="connsiteX442" fmla="*/ 104466 w 592781"/>
                    <a:gd name="connsiteY442" fmla="*/ 218524 h 673726"/>
                    <a:gd name="connsiteX443" fmla="*/ 105304 w 592781"/>
                    <a:gd name="connsiteY443" fmla="*/ 218549 h 673726"/>
                    <a:gd name="connsiteX444" fmla="*/ 107416 w 592781"/>
                    <a:gd name="connsiteY444" fmla="*/ 218039 h 673726"/>
                    <a:gd name="connsiteX445" fmla="*/ 112298 w 592781"/>
                    <a:gd name="connsiteY445" fmla="*/ 216424 h 673726"/>
                    <a:gd name="connsiteX446" fmla="*/ 115054 w 592781"/>
                    <a:gd name="connsiteY446" fmla="*/ 215901 h 673726"/>
                    <a:gd name="connsiteX447" fmla="*/ 116147 w 592781"/>
                    <a:gd name="connsiteY447" fmla="*/ 215525 h 673726"/>
                    <a:gd name="connsiteX448" fmla="*/ 116366 w 592781"/>
                    <a:gd name="connsiteY448" fmla="*/ 213801 h 673726"/>
                    <a:gd name="connsiteX449" fmla="*/ 116414 w 592781"/>
                    <a:gd name="connsiteY449" fmla="*/ 212477 h 673726"/>
                    <a:gd name="connsiteX450" fmla="*/ 116997 w 592781"/>
                    <a:gd name="connsiteY450" fmla="*/ 210474 h 673726"/>
                    <a:gd name="connsiteX451" fmla="*/ 117884 w 592781"/>
                    <a:gd name="connsiteY451" fmla="*/ 209393 h 673726"/>
                    <a:gd name="connsiteX452" fmla="*/ 119341 w 592781"/>
                    <a:gd name="connsiteY452" fmla="*/ 208215 h 673726"/>
                    <a:gd name="connsiteX453" fmla="*/ 122595 w 592781"/>
                    <a:gd name="connsiteY453" fmla="*/ 206904 h 673726"/>
                    <a:gd name="connsiteX454" fmla="*/ 125764 w 592781"/>
                    <a:gd name="connsiteY454" fmla="*/ 208968 h 673726"/>
                    <a:gd name="connsiteX455" fmla="*/ 127136 w 592781"/>
                    <a:gd name="connsiteY455" fmla="*/ 211299 h 673726"/>
                    <a:gd name="connsiteX456" fmla="*/ 127404 w 592781"/>
                    <a:gd name="connsiteY456" fmla="*/ 213521 h 673726"/>
                    <a:gd name="connsiteX457" fmla="*/ 127416 w 592781"/>
                    <a:gd name="connsiteY457" fmla="*/ 215586 h 673726"/>
                    <a:gd name="connsiteX458" fmla="*/ 127294 w 592781"/>
                    <a:gd name="connsiteY458" fmla="*/ 217650 h 673726"/>
                    <a:gd name="connsiteX459" fmla="*/ 126882 w 592781"/>
                    <a:gd name="connsiteY459" fmla="*/ 219678 h 673726"/>
                    <a:gd name="connsiteX460" fmla="*/ 126068 w 592781"/>
                    <a:gd name="connsiteY460" fmla="*/ 221839 h 673726"/>
                    <a:gd name="connsiteX461" fmla="*/ 125412 w 592781"/>
                    <a:gd name="connsiteY461" fmla="*/ 222556 h 673726"/>
                    <a:gd name="connsiteX462" fmla="*/ 125679 w 592781"/>
                    <a:gd name="connsiteY462" fmla="*/ 222981 h 673726"/>
                    <a:gd name="connsiteX463" fmla="*/ 126092 w 592781"/>
                    <a:gd name="connsiteY463" fmla="*/ 224074 h 673726"/>
                    <a:gd name="connsiteX464" fmla="*/ 126347 w 592781"/>
                    <a:gd name="connsiteY464" fmla="*/ 226624 h 673726"/>
                    <a:gd name="connsiteX465" fmla="*/ 125886 w 592781"/>
                    <a:gd name="connsiteY465" fmla="*/ 229404 h 673726"/>
                    <a:gd name="connsiteX466" fmla="*/ 126019 w 592781"/>
                    <a:gd name="connsiteY466" fmla="*/ 229696 h 673726"/>
                    <a:gd name="connsiteX467" fmla="*/ 129869 w 592781"/>
                    <a:gd name="connsiteY467" fmla="*/ 231627 h 673726"/>
                    <a:gd name="connsiteX468" fmla="*/ 130512 w 592781"/>
                    <a:gd name="connsiteY468" fmla="*/ 232185 h 673726"/>
                    <a:gd name="connsiteX469" fmla="*/ 131034 w 592781"/>
                    <a:gd name="connsiteY469" fmla="*/ 231019 h 673726"/>
                    <a:gd name="connsiteX470" fmla="*/ 132698 w 592781"/>
                    <a:gd name="connsiteY470" fmla="*/ 229004 h 673726"/>
                    <a:gd name="connsiteX471" fmla="*/ 134155 w 592781"/>
                    <a:gd name="connsiteY471" fmla="*/ 228093 h 673726"/>
                    <a:gd name="connsiteX472" fmla="*/ 136912 w 592781"/>
                    <a:gd name="connsiteY472" fmla="*/ 226927 h 673726"/>
                    <a:gd name="connsiteX473" fmla="*/ 139911 w 592781"/>
                    <a:gd name="connsiteY473" fmla="*/ 226223 h 673726"/>
                    <a:gd name="connsiteX474" fmla="*/ 141684 w 592781"/>
                    <a:gd name="connsiteY474" fmla="*/ 226976 h 673726"/>
                    <a:gd name="connsiteX475" fmla="*/ 143153 w 592781"/>
                    <a:gd name="connsiteY475" fmla="*/ 228214 h 673726"/>
                    <a:gd name="connsiteX476" fmla="*/ 143517 w 592781"/>
                    <a:gd name="connsiteY476" fmla="*/ 228797 h 673726"/>
                    <a:gd name="connsiteX477" fmla="*/ 144222 w 592781"/>
                    <a:gd name="connsiteY477" fmla="*/ 230522 h 673726"/>
                    <a:gd name="connsiteX478" fmla="*/ 144513 w 592781"/>
                    <a:gd name="connsiteY478" fmla="*/ 233242 h 673726"/>
                    <a:gd name="connsiteX479" fmla="*/ 144841 w 592781"/>
                    <a:gd name="connsiteY479" fmla="*/ 234322 h 673726"/>
                    <a:gd name="connsiteX480" fmla="*/ 146820 w 592781"/>
                    <a:gd name="connsiteY480" fmla="*/ 237504 h 673726"/>
                    <a:gd name="connsiteX481" fmla="*/ 150087 w 592781"/>
                    <a:gd name="connsiteY481" fmla="*/ 241657 h 673726"/>
                    <a:gd name="connsiteX482" fmla="*/ 151435 w 592781"/>
                    <a:gd name="connsiteY482" fmla="*/ 244061 h 673726"/>
                    <a:gd name="connsiteX483" fmla="*/ 151920 w 592781"/>
                    <a:gd name="connsiteY483" fmla="*/ 245324 h 673726"/>
                    <a:gd name="connsiteX484" fmla="*/ 151920 w 592781"/>
                    <a:gd name="connsiteY484" fmla="*/ 246951 h 673726"/>
                    <a:gd name="connsiteX485" fmla="*/ 150755 w 592781"/>
                    <a:gd name="connsiteY485" fmla="*/ 249562 h 673726"/>
                    <a:gd name="connsiteX486" fmla="*/ 150354 w 592781"/>
                    <a:gd name="connsiteY486" fmla="*/ 249817 h 673726"/>
                    <a:gd name="connsiteX487" fmla="*/ 149249 w 592781"/>
                    <a:gd name="connsiteY487" fmla="*/ 250290 h 673726"/>
                    <a:gd name="connsiteX488" fmla="*/ 148132 w 592781"/>
                    <a:gd name="connsiteY488" fmla="*/ 250521 h 673726"/>
                    <a:gd name="connsiteX489" fmla="*/ 146747 w 592781"/>
                    <a:gd name="connsiteY489" fmla="*/ 250630 h 673726"/>
                    <a:gd name="connsiteX490" fmla="*/ 145897 w 592781"/>
                    <a:gd name="connsiteY490" fmla="*/ 250618 h 673726"/>
                    <a:gd name="connsiteX491" fmla="*/ 146213 w 592781"/>
                    <a:gd name="connsiteY491" fmla="*/ 252925 h 673726"/>
                    <a:gd name="connsiteX492" fmla="*/ 146310 w 592781"/>
                    <a:gd name="connsiteY492" fmla="*/ 254662 h 673726"/>
                    <a:gd name="connsiteX493" fmla="*/ 146237 w 592781"/>
                    <a:gd name="connsiteY493" fmla="*/ 255293 h 673726"/>
                    <a:gd name="connsiteX494" fmla="*/ 145837 w 592781"/>
                    <a:gd name="connsiteY494" fmla="*/ 256957 h 673726"/>
                    <a:gd name="connsiteX495" fmla="*/ 145497 w 592781"/>
                    <a:gd name="connsiteY495" fmla="*/ 257540 h 673726"/>
                    <a:gd name="connsiteX496" fmla="*/ 144659 w 592781"/>
                    <a:gd name="connsiteY496" fmla="*/ 258414 h 673726"/>
                    <a:gd name="connsiteX497" fmla="*/ 143505 w 592781"/>
                    <a:gd name="connsiteY497" fmla="*/ 259215 h 673726"/>
                    <a:gd name="connsiteX498" fmla="*/ 140919 w 592781"/>
                    <a:gd name="connsiteY498" fmla="*/ 260672 h 673726"/>
                    <a:gd name="connsiteX499" fmla="*/ 143092 w 592781"/>
                    <a:gd name="connsiteY499" fmla="*/ 262858 h 673726"/>
                    <a:gd name="connsiteX500" fmla="*/ 143505 w 592781"/>
                    <a:gd name="connsiteY500" fmla="*/ 264012 h 673726"/>
                    <a:gd name="connsiteX501" fmla="*/ 143784 w 592781"/>
                    <a:gd name="connsiteY501" fmla="*/ 265311 h 673726"/>
                    <a:gd name="connsiteX502" fmla="*/ 143784 w 592781"/>
                    <a:gd name="connsiteY502" fmla="*/ 265930 h 673726"/>
                    <a:gd name="connsiteX503" fmla="*/ 143384 w 592781"/>
                    <a:gd name="connsiteY503" fmla="*/ 267995 h 673726"/>
                    <a:gd name="connsiteX504" fmla="*/ 145181 w 592781"/>
                    <a:gd name="connsiteY504" fmla="*/ 269427 h 673726"/>
                    <a:gd name="connsiteX505" fmla="*/ 146699 w 592781"/>
                    <a:gd name="connsiteY505" fmla="*/ 271115 h 673726"/>
                    <a:gd name="connsiteX506" fmla="*/ 148071 w 592781"/>
                    <a:gd name="connsiteY506" fmla="*/ 273374 h 673726"/>
                    <a:gd name="connsiteX507" fmla="*/ 148399 w 592781"/>
                    <a:gd name="connsiteY507" fmla="*/ 274770 h 673726"/>
                    <a:gd name="connsiteX508" fmla="*/ 145582 w 592781"/>
                    <a:gd name="connsiteY508" fmla="*/ 276483 h 673726"/>
                    <a:gd name="connsiteX509" fmla="*/ 148714 w 592781"/>
                    <a:gd name="connsiteY509" fmla="*/ 276434 h 673726"/>
                    <a:gd name="connsiteX510" fmla="*/ 149564 w 592781"/>
                    <a:gd name="connsiteY510" fmla="*/ 278098 h 673726"/>
                    <a:gd name="connsiteX511" fmla="*/ 150123 w 592781"/>
                    <a:gd name="connsiteY511" fmla="*/ 279700 h 673726"/>
                    <a:gd name="connsiteX512" fmla="*/ 150779 w 592781"/>
                    <a:gd name="connsiteY512" fmla="*/ 282372 h 673726"/>
                    <a:gd name="connsiteX513" fmla="*/ 153195 w 592781"/>
                    <a:gd name="connsiteY513" fmla="*/ 281060 h 673726"/>
                    <a:gd name="connsiteX514" fmla="*/ 158089 w 592781"/>
                    <a:gd name="connsiteY514" fmla="*/ 279931 h 673726"/>
                    <a:gd name="connsiteX515" fmla="*/ 157761 w 592781"/>
                    <a:gd name="connsiteY515" fmla="*/ 279178 h 673726"/>
                    <a:gd name="connsiteX516" fmla="*/ 156984 w 592781"/>
                    <a:gd name="connsiteY516" fmla="*/ 278158 h 673726"/>
                    <a:gd name="connsiteX517" fmla="*/ 155636 w 592781"/>
                    <a:gd name="connsiteY517" fmla="*/ 275839 h 673726"/>
                    <a:gd name="connsiteX518" fmla="*/ 155855 w 592781"/>
                    <a:gd name="connsiteY518" fmla="*/ 272864 h 673726"/>
                    <a:gd name="connsiteX519" fmla="*/ 157275 w 592781"/>
                    <a:gd name="connsiteY519" fmla="*/ 269294 h 673726"/>
                    <a:gd name="connsiteX520" fmla="*/ 160530 w 592781"/>
                    <a:gd name="connsiteY520" fmla="*/ 263878 h 673726"/>
                    <a:gd name="connsiteX521" fmla="*/ 163711 w 592781"/>
                    <a:gd name="connsiteY521" fmla="*/ 261656 h 673726"/>
                    <a:gd name="connsiteX522" fmla="*/ 165945 w 592781"/>
                    <a:gd name="connsiteY522" fmla="*/ 261632 h 673726"/>
                    <a:gd name="connsiteX523" fmla="*/ 165909 w 592781"/>
                    <a:gd name="connsiteY523" fmla="*/ 261474 h 673726"/>
                    <a:gd name="connsiteX524" fmla="*/ 166200 w 592781"/>
                    <a:gd name="connsiteY524" fmla="*/ 258365 h 673726"/>
                    <a:gd name="connsiteX525" fmla="*/ 168495 w 592781"/>
                    <a:gd name="connsiteY525" fmla="*/ 255888 h 673726"/>
                    <a:gd name="connsiteX526" fmla="*/ 173098 w 592781"/>
                    <a:gd name="connsiteY526" fmla="*/ 252039 h 673726"/>
                    <a:gd name="connsiteX527" fmla="*/ 174130 w 592781"/>
                    <a:gd name="connsiteY527" fmla="*/ 250594 h 673726"/>
                    <a:gd name="connsiteX528" fmla="*/ 178416 w 592781"/>
                    <a:gd name="connsiteY528" fmla="*/ 242956 h 673726"/>
                    <a:gd name="connsiteX529" fmla="*/ 182982 w 592781"/>
                    <a:gd name="connsiteY529" fmla="*/ 237467 h 673726"/>
                    <a:gd name="connsiteX530" fmla="*/ 185848 w 592781"/>
                    <a:gd name="connsiteY530" fmla="*/ 232889 h 673726"/>
                    <a:gd name="connsiteX531" fmla="*/ 188762 w 592781"/>
                    <a:gd name="connsiteY531" fmla="*/ 231481 h 673726"/>
                    <a:gd name="connsiteX532" fmla="*/ 191373 w 592781"/>
                    <a:gd name="connsiteY532" fmla="*/ 231918 h 673726"/>
                    <a:gd name="connsiteX533" fmla="*/ 195343 w 592781"/>
                    <a:gd name="connsiteY533" fmla="*/ 233679 h 673726"/>
                    <a:gd name="connsiteX534" fmla="*/ 201403 w 592781"/>
                    <a:gd name="connsiteY534" fmla="*/ 236217 h 673726"/>
                    <a:gd name="connsiteX535" fmla="*/ 204050 w 592781"/>
                    <a:gd name="connsiteY535" fmla="*/ 236277 h 673726"/>
                    <a:gd name="connsiteX536" fmla="*/ 205944 w 592781"/>
                    <a:gd name="connsiteY536" fmla="*/ 235974 h 673726"/>
                    <a:gd name="connsiteX537" fmla="*/ 208251 w 592781"/>
                    <a:gd name="connsiteY537" fmla="*/ 236836 h 673726"/>
                    <a:gd name="connsiteX538" fmla="*/ 213861 w 592781"/>
                    <a:gd name="connsiteY538" fmla="*/ 240175 h 673726"/>
                    <a:gd name="connsiteX539" fmla="*/ 218294 w 592781"/>
                    <a:gd name="connsiteY539" fmla="*/ 240770 h 673726"/>
                    <a:gd name="connsiteX540" fmla="*/ 220941 w 592781"/>
                    <a:gd name="connsiteY540" fmla="*/ 240260 h 673726"/>
                    <a:gd name="connsiteX541" fmla="*/ 223721 w 592781"/>
                    <a:gd name="connsiteY541" fmla="*/ 239179 h 673726"/>
                    <a:gd name="connsiteX542" fmla="*/ 228421 w 592781"/>
                    <a:gd name="connsiteY542" fmla="*/ 238560 h 673726"/>
                    <a:gd name="connsiteX543" fmla="*/ 235913 w 592781"/>
                    <a:gd name="connsiteY543" fmla="*/ 239872 h 673726"/>
                    <a:gd name="connsiteX544" fmla="*/ 236119 w 592781"/>
                    <a:gd name="connsiteY544" fmla="*/ 239641 h 673726"/>
                    <a:gd name="connsiteX545" fmla="*/ 236217 w 592781"/>
                    <a:gd name="connsiteY545" fmla="*/ 238961 h 673726"/>
                    <a:gd name="connsiteX546" fmla="*/ 235937 w 592781"/>
                    <a:gd name="connsiteY546" fmla="*/ 238172 h 673726"/>
                    <a:gd name="connsiteX547" fmla="*/ 235816 w 592781"/>
                    <a:gd name="connsiteY547" fmla="*/ 237467 h 673726"/>
                    <a:gd name="connsiteX548" fmla="*/ 236739 w 592781"/>
                    <a:gd name="connsiteY548" fmla="*/ 234444 h 673726"/>
                    <a:gd name="connsiteX549" fmla="*/ 238973 w 592781"/>
                    <a:gd name="connsiteY549" fmla="*/ 231918 h 673726"/>
                    <a:gd name="connsiteX550" fmla="*/ 245469 w 592781"/>
                    <a:gd name="connsiteY550" fmla="*/ 228894 h 673726"/>
                    <a:gd name="connsiteX551" fmla="*/ 250958 w 592781"/>
                    <a:gd name="connsiteY551" fmla="*/ 227255 h 673726"/>
                    <a:gd name="connsiteX552" fmla="*/ 254091 w 592781"/>
                    <a:gd name="connsiteY552" fmla="*/ 227292 h 673726"/>
                    <a:gd name="connsiteX553" fmla="*/ 256131 w 592781"/>
                    <a:gd name="connsiteY553" fmla="*/ 227644 h 673726"/>
                    <a:gd name="connsiteX554" fmla="*/ 259191 w 592781"/>
                    <a:gd name="connsiteY554" fmla="*/ 228518 h 673726"/>
                    <a:gd name="connsiteX555" fmla="*/ 261267 w 592781"/>
                    <a:gd name="connsiteY555" fmla="*/ 229429 h 673726"/>
                    <a:gd name="connsiteX556" fmla="*/ 266027 w 592781"/>
                    <a:gd name="connsiteY556" fmla="*/ 233108 h 673726"/>
                    <a:gd name="connsiteX557" fmla="*/ 267849 w 592781"/>
                    <a:gd name="connsiteY557" fmla="*/ 235512 h 673726"/>
                    <a:gd name="connsiteX558" fmla="*/ 270909 w 592781"/>
                    <a:gd name="connsiteY558" fmla="*/ 242701 h 673726"/>
                    <a:gd name="connsiteX559" fmla="*/ 272087 w 592781"/>
                    <a:gd name="connsiteY559" fmla="*/ 243964 h 673726"/>
                    <a:gd name="connsiteX560" fmla="*/ 274831 w 592781"/>
                    <a:gd name="connsiteY560" fmla="*/ 244122 h 673726"/>
                    <a:gd name="connsiteX561" fmla="*/ 281583 w 592781"/>
                    <a:gd name="connsiteY561" fmla="*/ 246247 h 673726"/>
                    <a:gd name="connsiteX562" fmla="*/ 283805 w 592781"/>
                    <a:gd name="connsiteY562" fmla="*/ 246052 h 673726"/>
                    <a:gd name="connsiteX563" fmla="*/ 285444 w 592781"/>
                    <a:gd name="connsiteY563" fmla="*/ 245336 h 673726"/>
                    <a:gd name="connsiteX564" fmla="*/ 288965 w 592781"/>
                    <a:gd name="connsiteY564" fmla="*/ 243514 h 673726"/>
                    <a:gd name="connsiteX565" fmla="*/ 291710 w 592781"/>
                    <a:gd name="connsiteY565" fmla="*/ 242555 h 673726"/>
                    <a:gd name="connsiteX566" fmla="*/ 298109 w 592781"/>
                    <a:gd name="connsiteY566" fmla="*/ 242737 h 673726"/>
                    <a:gd name="connsiteX567" fmla="*/ 298413 w 592781"/>
                    <a:gd name="connsiteY567" fmla="*/ 242592 h 673726"/>
                    <a:gd name="connsiteX568" fmla="*/ 299748 w 592781"/>
                    <a:gd name="connsiteY568" fmla="*/ 241474 h 673726"/>
                    <a:gd name="connsiteX569" fmla="*/ 305808 w 592781"/>
                    <a:gd name="connsiteY569" fmla="*/ 233606 h 673726"/>
                    <a:gd name="connsiteX570" fmla="*/ 314344 w 592781"/>
                    <a:gd name="connsiteY570" fmla="*/ 229939 h 673726"/>
                    <a:gd name="connsiteX571" fmla="*/ 318849 w 592781"/>
                    <a:gd name="connsiteY571" fmla="*/ 228809 h 673726"/>
                    <a:gd name="connsiteX572" fmla="*/ 320780 w 592781"/>
                    <a:gd name="connsiteY572" fmla="*/ 227668 h 673726"/>
                    <a:gd name="connsiteX573" fmla="*/ 324654 w 592781"/>
                    <a:gd name="connsiteY573" fmla="*/ 224778 h 673726"/>
                    <a:gd name="connsiteX574" fmla="*/ 330664 w 592781"/>
                    <a:gd name="connsiteY574" fmla="*/ 221742 h 673726"/>
                    <a:gd name="connsiteX575" fmla="*/ 331041 w 592781"/>
                    <a:gd name="connsiteY575" fmla="*/ 221341 h 673726"/>
                    <a:gd name="connsiteX576" fmla="*/ 330761 w 592781"/>
                    <a:gd name="connsiteY576" fmla="*/ 221038 h 673726"/>
                    <a:gd name="connsiteX577" fmla="*/ 327969 w 592781"/>
                    <a:gd name="connsiteY577" fmla="*/ 219556 h 673726"/>
                    <a:gd name="connsiteX578" fmla="*/ 326196 w 592781"/>
                    <a:gd name="connsiteY578" fmla="*/ 218099 h 673726"/>
                    <a:gd name="connsiteX579" fmla="*/ 324556 w 592781"/>
                    <a:gd name="connsiteY579" fmla="*/ 215561 h 673726"/>
                    <a:gd name="connsiteX580" fmla="*/ 323755 w 592781"/>
                    <a:gd name="connsiteY580" fmla="*/ 213048 h 673726"/>
                    <a:gd name="connsiteX581" fmla="*/ 323063 w 592781"/>
                    <a:gd name="connsiteY581" fmla="*/ 211384 h 673726"/>
                    <a:gd name="connsiteX582" fmla="*/ 322492 w 592781"/>
                    <a:gd name="connsiteY582" fmla="*/ 209478 h 673726"/>
                    <a:gd name="connsiteX583" fmla="*/ 322128 w 592781"/>
                    <a:gd name="connsiteY583" fmla="*/ 207086 h 673726"/>
                    <a:gd name="connsiteX584" fmla="*/ 322334 w 592781"/>
                    <a:gd name="connsiteY584" fmla="*/ 204451 h 673726"/>
                    <a:gd name="connsiteX585" fmla="*/ 323451 w 592781"/>
                    <a:gd name="connsiteY585" fmla="*/ 200128 h 673726"/>
                    <a:gd name="connsiteX586" fmla="*/ 327216 w 592781"/>
                    <a:gd name="connsiteY586" fmla="*/ 189988 h 673726"/>
                    <a:gd name="connsiteX587" fmla="*/ 328721 w 592781"/>
                    <a:gd name="connsiteY587" fmla="*/ 187159 h 673726"/>
                    <a:gd name="connsiteX588" fmla="*/ 330458 w 592781"/>
                    <a:gd name="connsiteY588" fmla="*/ 185070 h 673726"/>
                    <a:gd name="connsiteX589" fmla="*/ 329984 w 592781"/>
                    <a:gd name="connsiteY589" fmla="*/ 184002 h 673726"/>
                    <a:gd name="connsiteX590" fmla="*/ 329596 w 592781"/>
                    <a:gd name="connsiteY590" fmla="*/ 182593 h 673726"/>
                    <a:gd name="connsiteX591" fmla="*/ 329438 w 592781"/>
                    <a:gd name="connsiteY591" fmla="*/ 181233 h 673726"/>
                    <a:gd name="connsiteX592" fmla="*/ 329535 w 592781"/>
                    <a:gd name="connsiteY592" fmla="*/ 179023 h 673726"/>
                    <a:gd name="connsiteX593" fmla="*/ 330458 w 592781"/>
                    <a:gd name="connsiteY593" fmla="*/ 177712 h 673726"/>
                    <a:gd name="connsiteX594" fmla="*/ 331539 w 592781"/>
                    <a:gd name="connsiteY594" fmla="*/ 176680 h 673726"/>
                    <a:gd name="connsiteX595" fmla="*/ 330009 w 592781"/>
                    <a:gd name="connsiteY595" fmla="*/ 175805 h 673726"/>
                    <a:gd name="connsiteX596" fmla="*/ 328503 w 592781"/>
                    <a:gd name="connsiteY596" fmla="*/ 174530 h 673726"/>
                    <a:gd name="connsiteX597" fmla="*/ 326949 w 592781"/>
                    <a:gd name="connsiteY597" fmla="*/ 172199 h 673726"/>
                    <a:gd name="connsiteX598" fmla="*/ 326572 w 592781"/>
                    <a:gd name="connsiteY598" fmla="*/ 168823 h 673726"/>
                    <a:gd name="connsiteX599" fmla="*/ 328090 w 592781"/>
                    <a:gd name="connsiteY599" fmla="*/ 166783 h 673726"/>
                    <a:gd name="connsiteX600" fmla="*/ 329972 w 592781"/>
                    <a:gd name="connsiteY600" fmla="*/ 164998 h 673726"/>
                    <a:gd name="connsiteX601" fmla="*/ 332279 w 592781"/>
                    <a:gd name="connsiteY601" fmla="*/ 163905 h 673726"/>
                    <a:gd name="connsiteX602" fmla="*/ 333056 w 592781"/>
                    <a:gd name="connsiteY602" fmla="*/ 163614 h 673726"/>
                    <a:gd name="connsiteX603" fmla="*/ 336080 w 592781"/>
                    <a:gd name="connsiteY603" fmla="*/ 164160 h 673726"/>
                    <a:gd name="connsiteX604" fmla="*/ 342115 w 592781"/>
                    <a:gd name="connsiteY604" fmla="*/ 168702 h 673726"/>
                    <a:gd name="connsiteX605" fmla="*/ 343524 w 592781"/>
                    <a:gd name="connsiteY605" fmla="*/ 169528 h 673726"/>
                    <a:gd name="connsiteX606" fmla="*/ 346037 w 592781"/>
                    <a:gd name="connsiteY606" fmla="*/ 169770 h 673726"/>
                    <a:gd name="connsiteX607" fmla="*/ 348976 w 592781"/>
                    <a:gd name="connsiteY607" fmla="*/ 170620 h 673726"/>
                    <a:gd name="connsiteX608" fmla="*/ 350069 w 592781"/>
                    <a:gd name="connsiteY608" fmla="*/ 170705 h 673726"/>
                    <a:gd name="connsiteX609" fmla="*/ 350384 w 592781"/>
                    <a:gd name="connsiteY609" fmla="*/ 170669 h 673726"/>
                    <a:gd name="connsiteX610" fmla="*/ 350712 w 592781"/>
                    <a:gd name="connsiteY610" fmla="*/ 170463 h 673726"/>
                    <a:gd name="connsiteX611" fmla="*/ 350749 w 592781"/>
                    <a:gd name="connsiteY611" fmla="*/ 170244 h 673726"/>
                    <a:gd name="connsiteX612" fmla="*/ 350457 w 592781"/>
                    <a:gd name="connsiteY612" fmla="*/ 169528 h 673726"/>
                    <a:gd name="connsiteX613" fmla="*/ 350409 w 592781"/>
                    <a:gd name="connsiteY613" fmla="*/ 166844 h 673726"/>
                    <a:gd name="connsiteX614" fmla="*/ 350469 w 592781"/>
                    <a:gd name="connsiteY614" fmla="*/ 165095 h 673726"/>
                    <a:gd name="connsiteX615" fmla="*/ 352777 w 592781"/>
                    <a:gd name="connsiteY615" fmla="*/ 163869 h 673726"/>
                    <a:gd name="connsiteX616" fmla="*/ 354659 w 592781"/>
                    <a:gd name="connsiteY616" fmla="*/ 163383 h 673726"/>
                    <a:gd name="connsiteX617" fmla="*/ 355557 w 592781"/>
                    <a:gd name="connsiteY617" fmla="*/ 163432 h 673726"/>
                    <a:gd name="connsiteX618" fmla="*/ 357306 w 592781"/>
                    <a:gd name="connsiteY618" fmla="*/ 164027 h 673726"/>
                    <a:gd name="connsiteX619" fmla="*/ 358617 w 592781"/>
                    <a:gd name="connsiteY619" fmla="*/ 164998 h 673726"/>
                    <a:gd name="connsiteX620" fmla="*/ 361204 w 592781"/>
                    <a:gd name="connsiteY620" fmla="*/ 167998 h 673726"/>
                    <a:gd name="connsiteX621" fmla="*/ 362795 w 592781"/>
                    <a:gd name="connsiteY621" fmla="*/ 164500 h 673726"/>
                    <a:gd name="connsiteX622" fmla="*/ 361192 w 592781"/>
                    <a:gd name="connsiteY622" fmla="*/ 160457 h 673726"/>
                    <a:gd name="connsiteX623" fmla="*/ 361945 w 592781"/>
                    <a:gd name="connsiteY623" fmla="*/ 156753 h 673726"/>
                    <a:gd name="connsiteX624" fmla="*/ 364130 w 592781"/>
                    <a:gd name="connsiteY624" fmla="*/ 155126 h 673726"/>
                    <a:gd name="connsiteX625" fmla="*/ 366510 w 592781"/>
                    <a:gd name="connsiteY625" fmla="*/ 154252 h 673726"/>
                    <a:gd name="connsiteX626" fmla="*/ 369000 w 592781"/>
                    <a:gd name="connsiteY626" fmla="*/ 154276 h 673726"/>
                    <a:gd name="connsiteX627" fmla="*/ 369704 w 592781"/>
                    <a:gd name="connsiteY627" fmla="*/ 154337 h 673726"/>
                    <a:gd name="connsiteX628" fmla="*/ 371392 w 592781"/>
                    <a:gd name="connsiteY628" fmla="*/ 155381 h 673726"/>
                    <a:gd name="connsiteX629" fmla="*/ 373067 w 592781"/>
                    <a:gd name="connsiteY629" fmla="*/ 157312 h 673726"/>
                    <a:gd name="connsiteX630" fmla="*/ 375435 w 592781"/>
                    <a:gd name="connsiteY630" fmla="*/ 165897 h 673726"/>
                    <a:gd name="connsiteX631" fmla="*/ 376759 w 592781"/>
                    <a:gd name="connsiteY631" fmla="*/ 168726 h 673726"/>
                    <a:gd name="connsiteX632" fmla="*/ 378629 w 592781"/>
                    <a:gd name="connsiteY632" fmla="*/ 171653 h 673726"/>
                    <a:gd name="connsiteX633" fmla="*/ 379528 w 592781"/>
                    <a:gd name="connsiteY633" fmla="*/ 172660 h 673726"/>
                    <a:gd name="connsiteX634" fmla="*/ 380292 w 592781"/>
                    <a:gd name="connsiteY634" fmla="*/ 173049 h 673726"/>
                    <a:gd name="connsiteX635" fmla="*/ 383984 w 592781"/>
                    <a:gd name="connsiteY635" fmla="*/ 173911 h 673726"/>
                    <a:gd name="connsiteX636" fmla="*/ 385951 w 592781"/>
                    <a:gd name="connsiteY636" fmla="*/ 174980 h 673726"/>
                    <a:gd name="connsiteX637" fmla="*/ 390602 w 592781"/>
                    <a:gd name="connsiteY637" fmla="*/ 175162 h 673726"/>
                    <a:gd name="connsiteX638" fmla="*/ 400717 w 592781"/>
                    <a:gd name="connsiteY638" fmla="*/ 167573 h 673726"/>
                    <a:gd name="connsiteX639" fmla="*/ 406837 w 592781"/>
                    <a:gd name="connsiteY639" fmla="*/ 163966 h 673726"/>
                    <a:gd name="connsiteX640" fmla="*/ 406800 w 592781"/>
                    <a:gd name="connsiteY640" fmla="*/ 163007 h 673726"/>
                    <a:gd name="connsiteX641" fmla="*/ 407116 w 592781"/>
                    <a:gd name="connsiteY641" fmla="*/ 160700 h 673726"/>
                    <a:gd name="connsiteX642" fmla="*/ 409023 w 592781"/>
                    <a:gd name="connsiteY642" fmla="*/ 156692 h 673726"/>
                    <a:gd name="connsiteX643" fmla="*/ 409144 w 592781"/>
                    <a:gd name="connsiteY643" fmla="*/ 155818 h 673726"/>
                    <a:gd name="connsiteX644" fmla="*/ 406448 w 592781"/>
                    <a:gd name="connsiteY644" fmla="*/ 154385 h 673726"/>
                    <a:gd name="connsiteX645" fmla="*/ 404263 w 592781"/>
                    <a:gd name="connsiteY645" fmla="*/ 153110 h 673726"/>
                    <a:gd name="connsiteX646" fmla="*/ 403279 w 592781"/>
                    <a:gd name="connsiteY646" fmla="*/ 152090 h 673726"/>
                    <a:gd name="connsiteX647" fmla="*/ 402016 w 592781"/>
                    <a:gd name="connsiteY647" fmla="*/ 149868 h 673726"/>
                    <a:gd name="connsiteX648" fmla="*/ 401603 w 592781"/>
                    <a:gd name="connsiteY648" fmla="*/ 148666 h 673726"/>
                    <a:gd name="connsiteX649" fmla="*/ 399588 w 592781"/>
                    <a:gd name="connsiteY649" fmla="*/ 151167 h 673726"/>
                    <a:gd name="connsiteX650" fmla="*/ 398131 w 592781"/>
                    <a:gd name="connsiteY650" fmla="*/ 152455 h 673726"/>
                    <a:gd name="connsiteX651" fmla="*/ 395896 w 592781"/>
                    <a:gd name="connsiteY651" fmla="*/ 153572 h 673726"/>
                    <a:gd name="connsiteX652" fmla="*/ 393832 w 592781"/>
                    <a:gd name="connsiteY652" fmla="*/ 153839 h 673726"/>
                    <a:gd name="connsiteX653" fmla="*/ 391063 w 592781"/>
                    <a:gd name="connsiteY653" fmla="*/ 152795 h 673726"/>
                    <a:gd name="connsiteX654" fmla="*/ 389825 w 592781"/>
                    <a:gd name="connsiteY654" fmla="*/ 150900 h 673726"/>
                    <a:gd name="connsiteX655" fmla="*/ 388950 w 592781"/>
                    <a:gd name="connsiteY655" fmla="*/ 147986 h 673726"/>
                    <a:gd name="connsiteX656" fmla="*/ 388695 w 592781"/>
                    <a:gd name="connsiteY656" fmla="*/ 146881 h 673726"/>
                    <a:gd name="connsiteX657" fmla="*/ 390371 w 592781"/>
                    <a:gd name="connsiteY657" fmla="*/ 143687 h 673726"/>
                    <a:gd name="connsiteX658" fmla="*/ 393055 w 592781"/>
                    <a:gd name="connsiteY658" fmla="*/ 140955 h 673726"/>
                    <a:gd name="connsiteX659" fmla="*/ 396333 w 592781"/>
                    <a:gd name="connsiteY659" fmla="*/ 139012 h 673726"/>
                    <a:gd name="connsiteX660" fmla="*/ 404542 w 592781"/>
                    <a:gd name="connsiteY660" fmla="*/ 136195 h 673726"/>
                    <a:gd name="connsiteX661" fmla="*/ 406242 w 592781"/>
                    <a:gd name="connsiteY661" fmla="*/ 135321 h 673726"/>
                    <a:gd name="connsiteX662" fmla="*/ 409763 w 592781"/>
                    <a:gd name="connsiteY662" fmla="*/ 133111 h 673726"/>
                    <a:gd name="connsiteX663" fmla="*/ 412520 w 592781"/>
                    <a:gd name="connsiteY663" fmla="*/ 131751 h 673726"/>
                    <a:gd name="connsiteX664" fmla="*/ 424189 w 592781"/>
                    <a:gd name="connsiteY664" fmla="*/ 123688 h 673726"/>
                    <a:gd name="connsiteX665" fmla="*/ 426168 w 592781"/>
                    <a:gd name="connsiteY665" fmla="*/ 121891 h 673726"/>
                    <a:gd name="connsiteX666" fmla="*/ 424468 w 592781"/>
                    <a:gd name="connsiteY666" fmla="*/ 120907 h 673726"/>
                    <a:gd name="connsiteX667" fmla="*/ 423813 w 592781"/>
                    <a:gd name="connsiteY667" fmla="*/ 119608 h 673726"/>
                    <a:gd name="connsiteX668" fmla="*/ 423400 w 592781"/>
                    <a:gd name="connsiteY668" fmla="*/ 118382 h 673726"/>
                    <a:gd name="connsiteX669" fmla="*/ 423315 w 592781"/>
                    <a:gd name="connsiteY669" fmla="*/ 116657 h 673726"/>
                    <a:gd name="connsiteX670" fmla="*/ 424214 w 592781"/>
                    <a:gd name="connsiteY670" fmla="*/ 110634 h 673726"/>
                    <a:gd name="connsiteX671" fmla="*/ 425161 w 592781"/>
                    <a:gd name="connsiteY671" fmla="*/ 108145 h 673726"/>
                    <a:gd name="connsiteX672" fmla="*/ 426254 w 592781"/>
                    <a:gd name="connsiteY672" fmla="*/ 107028 h 673726"/>
                    <a:gd name="connsiteX673" fmla="*/ 432446 w 592781"/>
                    <a:gd name="connsiteY673" fmla="*/ 103956 h 673726"/>
                    <a:gd name="connsiteX674" fmla="*/ 436393 w 592781"/>
                    <a:gd name="connsiteY674" fmla="*/ 103907 h 673726"/>
                    <a:gd name="connsiteX675" fmla="*/ 440096 w 592781"/>
                    <a:gd name="connsiteY675" fmla="*/ 105510 h 673726"/>
                    <a:gd name="connsiteX676" fmla="*/ 441711 w 592781"/>
                    <a:gd name="connsiteY676" fmla="*/ 105510 h 673726"/>
                    <a:gd name="connsiteX677" fmla="*/ 447771 w 592781"/>
                    <a:gd name="connsiteY677" fmla="*/ 104551 h 673726"/>
                    <a:gd name="connsiteX678" fmla="*/ 450952 w 592781"/>
                    <a:gd name="connsiteY678" fmla="*/ 105656 h 673726"/>
                    <a:gd name="connsiteX679" fmla="*/ 452725 w 592781"/>
                    <a:gd name="connsiteY679" fmla="*/ 107623 h 673726"/>
                    <a:gd name="connsiteX680" fmla="*/ 454364 w 592781"/>
                    <a:gd name="connsiteY680" fmla="*/ 111120 h 673726"/>
                    <a:gd name="connsiteX681" fmla="*/ 456150 w 592781"/>
                    <a:gd name="connsiteY681" fmla="*/ 117179 h 673726"/>
                    <a:gd name="connsiteX682" fmla="*/ 457012 w 592781"/>
                    <a:gd name="connsiteY682" fmla="*/ 118552 h 673726"/>
                    <a:gd name="connsiteX683" fmla="*/ 457242 w 592781"/>
                    <a:gd name="connsiteY683" fmla="*/ 118600 h 673726"/>
                    <a:gd name="connsiteX684" fmla="*/ 458457 w 592781"/>
                    <a:gd name="connsiteY684" fmla="*/ 117106 h 673726"/>
                    <a:gd name="connsiteX685" fmla="*/ 459027 w 592781"/>
                    <a:gd name="connsiteY685" fmla="*/ 113621 h 673726"/>
                    <a:gd name="connsiteX686" fmla="*/ 458882 w 592781"/>
                    <a:gd name="connsiteY686" fmla="*/ 112249 h 673726"/>
                    <a:gd name="connsiteX687" fmla="*/ 457218 w 592781"/>
                    <a:gd name="connsiteY687" fmla="*/ 105291 h 673726"/>
                    <a:gd name="connsiteX688" fmla="*/ 456878 w 592781"/>
                    <a:gd name="connsiteY688" fmla="*/ 102098 h 673726"/>
                    <a:gd name="connsiteX689" fmla="*/ 456975 w 592781"/>
                    <a:gd name="connsiteY689" fmla="*/ 95383 h 673726"/>
                    <a:gd name="connsiteX690" fmla="*/ 457473 w 592781"/>
                    <a:gd name="connsiteY690" fmla="*/ 92893 h 673726"/>
                    <a:gd name="connsiteX691" fmla="*/ 458007 w 592781"/>
                    <a:gd name="connsiteY691" fmla="*/ 91740 h 673726"/>
                    <a:gd name="connsiteX692" fmla="*/ 459319 w 592781"/>
                    <a:gd name="connsiteY692" fmla="*/ 89688 h 673726"/>
                    <a:gd name="connsiteX693" fmla="*/ 459513 w 592781"/>
                    <a:gd name="connsiteY693" fmla="*/ 89287 h 673726"/>
                    <a:gd name="connsiteX694" fmla="*/ 459149 w 592781"/>
                    <a:gd name="connsiteY694" fmla="*/ 88631 h 673726"/>
                    <a:gd name="connsiteX695" fmla="*/ 458019 w 592781"/>
                    <a:gd name="connsiteY695" fmla="*/ 87356 h 673726"/>
                    <a:gd name="connsiteX696" fmla="*/ 456332 w 592781"/>
                    <a:gd name="connsiteY696" fmla="*/ 84284 h 673726"/>
                    <a:gd name="connsiteX697" fmla="*/ 456635 w 592781"/>
                    <a:gd name="connsiteY697" fmla="*/ 79876 h 673726"/>
                    <a:gd name="connsiteX698" fmla="*/ 458007 w 592781"/>
                    <a:gd name="connsiteY698" fmla="*/ 72979 h 673726"/>
                    <a:gd name="connsiteX699" fmla="*/ 457947 w 592781"/>
                    <a:gd name="connsiteY699" fmla="*/ 72311 h 673726"/>
                    <a:gd name="connsiteX700" fmla="*/ 457327 w 592781"/>
                    <a:gd name="connsiteY700" fmla="*/ 71328 h 673726"/>
                    <a:gd name="connsiteX701" fmla="*/ 456162 w 592781"/>
                    <a:gd name="connsiteY701" fmla="*/ 67430 h 673726"/>
                    <a:gd name="connsiteX702" fmla="*/ 455312 w 592781"/>
                    <a:gd name="connsiteY702" fmla="*/ 66932 h 673726"/>
                    <a:gd name="connsiteX703" fmla="*/ 455008 w 592781"/>
                    <a:gd name="connsiteY703" fmla="*/ 67126 h 673726"/>
                    <a:gd name="connsiteX704" fmla="*/ 454607 w 592781"/>
                    <a:gd name="connsiteY704" fmla="*/ 67065 h 673726"/>
                    <a:gd name="connsiteX705" fmla="*/ 453138 w 592781"/>
                    <a:gd name="connsiteY705" fmla="*/ 66458 h 673726"/>
                    <a:gd name="connsiteX706" fmla="*/ 451256 w 592781"/>
                    <a:gd name="connsiteY706" fmla="*/ 64928 h 673726"/>
                    <a:gd name="connsiteX707" fmla="*/ 450552 w 592781"/>
                    <a:gd name="connsiteY707" fmla="*/ 64260 h 673726"/>
                    <a:gd name="connsiteX708" fmla="*/ 449483 w 592781"/>
                    <a:gd name="connsiteY708" fmla="*/ 58760 h 673726"/>
                    <a:gd name="connsiteX709" fmla="*/ 448512 w 592781"/>
                    <a:gd name="connsiteY709" fmla="*/ 58784 h 673726"/>
                    <a:gd name="connsiteX710" fmla="*/ 444808 w 592781"/>
                    <a:gd name="connsiteY710" fmla="*/ 58055 h 673726"/>
                    <a:gd name="connsiteX711" fmla="*/ 442355 w 592781"/>
                    <a:gd name="connsiteY711" fmla="*/ 51061 h 673726"/>
                    <a:gd name="connsiteX712" fmla="*/ 443120 w 592781"/>
                    <a:gd name="connsiteY712" fmla="*/ 46398 h 673726"/>
                    <a:gd name="connsiteX713" fmla="*/ 444079 w 592781"/>
                    <a:gd name="connsiteY713" fmla="*/ 43241 h 673726"/>
                    <a:gd name="connsiteX714" fmla="*/ 443594 w 592781"/>
                    <a:gd name="connsiteY714" fmla="*/ 42039 h 673726"/>
                    <a:gd name="connsiteX715" fmla="*/ 443035 w 592781"/>
                    <a:gd name="connsiteY715" fmla="*/ 41347 h 673726"/>
                    <a:gd name="connsiteX716" fmla="*/ 441639 w 592781"/>
                    <a:gd name="connsiteY716" fmla="*/ 38129 h 673726"/>
                    <a:gd name="connsiteX717" fmla="*/ 441068 w 592781"/>
                    <a:gd name="connsiteY717" fmla="*/ 35360 h 673726"/>
                    <a:gd name="connsiteX718" fmla="*/ 441784 w 592781"/>
                    <a:gd name="connsiteY718" fmla="*/ 32373 h 673726"/>
                    <a:gd name="connsiteX719" fmla="*/ 445051 w 592781"/>
                    <a:gd name="connsiteY719" fmla="*/ 27285 h 673726"/>
                    <a:gd name="connsiteX720" fmla="*/ 445585 w 592781"/>
                    <a:gd name="connsiteY720" fmla="*/ 25257 h 673726"/>
                    <a:gd name="connsiteX721" fmla="*/ 445707 w 592781"/>
                    <a:gd name="connsiteY721" fmla="*/ 24286 h 673726"/>
                    <a:gd name="connsiteX722" fmla="*/ 445634 w 592781"/>
                    <a:gd name="connsiteY722" fmla="*/ 23970 h 673726"/>
                    <a:gd name="connsiteX723" fmla="*/ 444844 w 592781"/>
                    <a:gd name="connsiteY723" fmla="*/ 23424 h 673726"/>
                    <a:gd name="connsiteX724" fmla="*/ 442816 w 592781"/>
                    <a:gd name="connsiteY724" fmla="*/ 22950 h 673726"/>
                    <a:gd name="connsiteX725" fmla="*/ 440740 w 592781"/>
                    <a:gd name="connsiteY725" fmla="*/ 21833 h 673726"/>
                    <a:gd name="connsiteX726" fmla="*/ 438979 w 592781"/>
                    <a:gd name="connsiteY726" fmla="*/ 19866 h 673726"/>
                    <a:gd name="connsiteX727" fmla="*/ 436502 w 592781"/>
                    <a:gd name="connsiteY727" fmla="*/ 14462 h 673726"/>
                    <a:gd name="connsiteX728" fmla="*/ 435179 w 592781"/>
                    <a:gd name="connsiteY728" fmla="*/ 12301 h 673726"/>
                    <a:gd name="connsiteX729" fmla="*/ 432167 w 592781"/>
                    <a:gd name="connsiteY729" fmla="*/ 8743 h 673726"/>
                    <a:gd name="connsiteX730" fmla="*/ 434353 w 592781"/>
                    <a:gd name="connsiteY730" fmla="*/ 5731 h 673726"/>
                    <a:gd name="connsiteX731" fmla="*/ 436405 w 592781"/>
                    <a:gd name="connsiteY731" fmla="*/ 3752 h 673726"/>
                    <a:gd name="connsiteX732" fmla="*/ 439489 w 592781"/>
                    <a:gd name="connsiteY732" fmla="*/ 1469 h 673726"/>
                    <a:gd name="connsiteX733" fmla="*/ 441359 w 592781"/>
                    <a:gd name="connsiteY733" fmla="*/ 571 h 673726"/>
                    <a:gd name="connsiteX734" fmla="*/ 443934 w 592781"/>
                    <a:gd name="connsiteY734" fmla="*/ 0 h 673726"/>
                    <a:gd name="connsiteX735" fmla="*/ 446605 w 592781"/>
                    <a:gd name="connsiteY735" fmla="*/ 631 h 673726"/>
                    <a:gd name="connsiteX736" fmla="*/ 447625 w 592781"/>
                    <a:gd name="connsiteY736" fmla="*/ 1627 h 673726"/>
                    <a:gd name="connsiteX737" fmla="*/ 448596 w 592781"/>
                    <a:gd name="connsiteY737" fmla="*/ 2878 h 673726"/>
                    <a:gd name="connsiteX738" fmla="*/ 450199 w 592781"/>
                    <a:gd name="connsiteY738" fmla="*/ 6496 h 673726"/>
                    <a:gd name="connsiteX739" fmla="*/ 451292 w 592781"/>
                    <a:gd name="connsiteY739" fmla="*/ 7480 h 673726"/>
                    <a:gd name="connsiteX740" fmla="*/ 452239 w 592781"/>
                    <a:gd name="connsiteY740" fmla="*/ 7784 h 673726"/>
                    <a:gd name="connsiteX741" fmla="*/ 453211 w 592781"/>
                    <a:gd name="connsiteY741" fmla="*/ 7808 h 673726"/>
                    <a:gd name="connsiteX742" fmla="*/ 455494 w 592781"/>
                    <a:gd name="connsiteY742" fmla="*/ 7152 h 673726"/>
                    <a:gd name="connsiteX743" fmla="*/ 458493 w 592781"/>
                    <a:gd name="connsiteY743" fmla="*/ 6800 h 673726"/>
                    <a:gd name="connsiteX744" fmla="*/ 463290 w 592781"/>
                    <a:gd name="connsiteY744" fmla="*/ 7516 h 673726"/>
                    <a:gd name="connsiteX745" fmla="*/ 467357 w 592781"/>
                    <a:gd name="connsiteY745" fmla="*/ 11718 h 673726"/>
                    <a:gd name="connsiteX746" fmla="*/ 469470 w 592781"/>
                    <a:gd name="connsiteY746" fmla="*/ 14474 h 673726"/>
                    <a:gd name="connsiteX747" fmla="*/ 470855 w 592781"/>
                    <a:gd name="connsiteY747" fmla="*/ 17255 h 673726"/>
                    <a:gd name="connsiteX748" fmla="*/ 471935 w 592781"/>
                    <a:gd name="connsiteY748" fmla="*/ 21724 h 673726"/>
                    <a:gd name="connsiteX749" fmla="*/ 472712 w 592781"/>
                    <a:gd name="connsiteY749" fmla="*/ 23654 h 673726"/>
                    <a:gd name="connsiteX750" fmla="*/ 473684 w 592781"/>
                    <a:gd name="connsiteY750" fmla="*/ 24614 h 673726"/>
                    <a:gd name="connsiteX751" fmla="*/ 474498 w 592781"/>
                    <a:gd name="connsiteY751" fmla="*/ 25051 h 673726"/>
                    <a:gd name="connsiteX752" fmla="*/ 475991 w 592781"/>
                    <a:gd name="connsiteY752" fmla="*/ 25245 h 673726"/>
                    <a:gd name="connsiteX753" fmla="*/ 478432 w 592781"/>
                    <a:gd name="connsiteY753" fmla="*/ 26435 h 673726"/>
                    <a:gd name="connsiteX754" fmla="*/ 481152 w 592781"/>
                    <a:gd name="connsiteY754" fmla="*/ 28694 h 673726"/>
                    <a:gd name="connsiteX755" fmla="*/ 482147 w 592781"/>
                    <a:gd name="connsiteY755" fmla="*/ 31948 h 673726"/>
                    <a:gd name="connsiteX756" fmla="*/ 482208 w 592781"/>
                    <a:gd name="connsiteY756" fmla="*/ 33478 h 673726"/>
                    <a:gd name="connsiteX757" fmla="*/ 483568 w 592781"/>
                    <a:gd name="connsiteY757" fmla="*/ 34389 h 673726"/>
                    <a:gd name="connsiteX758" fmla="*/ 488656 w 592781"/>
                    <a:gd name="connsiteY758" fmla="*/ 36113 h 673726"/>
                    <a:gd name="connsiteX759" fmla="*/ 497278 w 592781"/>
                    <a:gd name="connsiteY759" fmla="*/ 40922 h 673726"/>
                    <a:gd name="connsiteX760" fmla="*/ 502681 w 592781"/>
                    <a:gd name="connsiteY760" fmla="*/ 44322 h 673726"/>
                    <a:gd name="connsiteX761" fmla="*/ 505340 w 592781"/>
                    <a:gd name="connsiteY761" fmla="*/ 47030 h 673726"/>
                    <a:gd name="connsiteX762" fmla="*/ 508388 w 592781"/>
                    <a:gd name="connsiteY762" fmla="*/ 51085 h 673726"/>
                    <a:gd name="connsiteX763" fmla="*/ 510076 w 592781"/>
                    <a:gd name="connsiteY763" fmla="*/ 54485 h 673726"/>
                    <a:gd name="connsiteX764" fmla="*/ 510683 w 592781"/>
                    <a:gd name="connsiteY764" fmla="*/ 58553 h 673726"/>
                    <a:gd name="connsiteX765" fmla="*/ 509931 w 592781"/>
                    <a:gd name="connsiteY765" fmla="*/ 64722 h 673726"/>
                    <a:gd name="connsiteX766" fmla="*/ 510295 w 592781"/>
                    <a:gd name="connsiteY766" fmla="*/ 69870 h 673726"/>
                    <a:gd name="connsiteX767" fmla="*/ 509748 w 592781"/>
                    <a:gd name="connsiteY767" fmla="*/ 73465 h 673726"/>
                    <a:gd name="connsiteX768" fmla="*/ 508364 w 592781"/>
                    <a:gd name="connsiteY768" fmla="*/ 76731 h 673726"/>
                    <a:gd name="connsiteX769" fmla="*/ 507126 w 592781"/>
                    <a:gd name="connsiteY769" fmla="*/ 78953 h 673726"/>
                    <a:gd name="connsiteX770" fmla="*/ 507405 w 592781"/>
                    <a:gd name="connsiteY770" fmla="*/ 80107 h 673726"/>
                    <a:gd name="connsiteX771" fmla="*/ 509578 w 592781"/>
                    <a:gd name="connsiteY771" fmla="*/ 82803 h 673726"/>
                    <a:gd name="connsiteX772" fmla="*/ 520167 w 592781"/>
                    <a:gd name="connsiteY772" fmla="*/ 91048 h 673726"/>
                    <a:gd name="connsiteX773" fmla="*/ 520410 w 592781"/>
                    <a:gd name="connsiteY773" fmla="*/ 93804 h 673726"/>
                    <a:gd name="connsiteX774" fmla="*/ 524551 w 592781"/>
                    <a:gd name="connsiteY774" fmla="*/ 91448 h 673726"/>
                    <a:gd name="connsiteX775" fmla="*/ 532626 w 592781"/>
                    <a:gd name="connsiteY775" fmla="*/ 95274 h 673726"/>
                    <a:gd name="connsiteX776" fmla="*/ 535953 w 592781"/>
                    <a:gd name="connsiteY776" fmla="*/ 97484 h 673726"/>
                    <a:gd name="connsiteX777" fmla="*/ 537483 w 592781"/>
                    <a:gd name="connsiteY777" fmla="*/ 98018 h 673726"/>
                    <a:gd name="connsiteX778" fmla="*/ 545728 w 592781"/>
                    <a:gd name="connsiteY778" fmla="*/ 99341 h 673726"/>
                    <a:gd name="connsiteX779" fmla="*/ 548727 w 592781"/>
                    <a:gd name="connsiteY779" fmla="*/ 100483 h 673726"/>
                    <a:gd name="connsiteX780" fmla="*/ 550354 w 592781"/>
                    <a:gd name="connsiteY780" fmla="*/ 102535 h 673726"/>
                    <a:gd name="connsiteX781" fmla="*/ 551496 w 592781"/>
                    <a:gd name="connsiteY781" fmla="*/ 104162 h 673726"/>
                    <a:gd name="connsiteX782" fmla="*/ 553791 w 592781"/>
                    <a:gd name="connsiteY782" fmla="*/ 104041 h 673726"/>
                    <a:gd name="connsiteX783" fmla="*/ 555600 w 592781"/>
                    <a:gd name="connsiteY783" fmla="*/ 103106 h 673726"/>
                    <a:gd name="connsiteX784" fmla="*/ 561939 w 592781"/>
                    <a:gd name="connsiteY784" fmla="*/ 99099 h 673726"/>
                    <a:gd name="connsiteX785" fmla="*/ 566517 w 592781"/>
                    <a:gd name="connsiteY785" fmla="*/ 98783 h 673726"/>
                    <a:gd name="connsiteX786" fmla="*/ 567901 w 592781"/>
                    <a:gd name="connsiteY786" fmla="*/ 103616 h 673726"/>
                    <a:gd name="connsiteX787" fmla="*/ 566480 w 592781"/>
                    <a:gd name="connsiteY787" fmla="*/ 106178 h 673726"/>
                    <a:gd name="connsiteX788" fmla="*/ 566067 w 592781"/>
                    <a:gd name="connsiteY788" fmla="*/ 106651 h 673726"/>
                    <a:gd name="connsiteX789" fmla="*/ 568290 w 592781"/>
                    <a:gd name="connsiteY789" fmla="*/ 106445 h 673726"/>
                    <a:gd name="connsiteX790" fmla="*/ 570390 w 592781"/>
                    <a:gd name="connsiteY790" fmla="*/ 105996 h 673726"/>
                    <a:gd name="connsiteX791" fmla="*/ 571495 w 592781"/>
                    <a:gd name="connsiteY791" fmla="*/ 105413 h 673726"/>
                    <a:gd name="connsiteX792" fmla="*/ 575709 w 592781"/>
                    <a:gd name="connsiteY792" fmla="*/ 105085 h 673726"/>
                    <a:gd name="connsiteX793" fmla="*/ 576935 w 592781"/>
                    <a:gd name="connsiteY793" fmla="*/ 105061 h 673726"/>
                    <a:gd name="connsiteX794" fmla="*/ 582533 w 592781"/>
                    <a:gd name="connsiteY794" fmla="*/ 110246 h 673726"/>
                    <a:gd name="connsiteX795" fmla="*/ 588799 w 592781"/>
                    <a:gd name="connsiteY795" fmla="*/ 113427 h 673726"/>
                    <a:gd name="connsiteX796" fmla="*/ 589916 w 592781"/>
                    <a:gd name="connsiteY796" fmla="*/ 112711 h 673726"/>
                    <a:gd name="connsiteX797" fmla="*/ 591786 w 592781"/>
                    <a:gd name="connsiteY797" fmla="*/ 115152 h 673726"/>
                    <a:gd name="connsiteX798" fmla="*/ 592126 w 592781"/>
                    <a:gd name="connsiteY798" fmla="*/ 115710 h 673726"/>
                    <a:gd name="connsiteX799" fmla="*/ 592502 w 592781"/>
                    <a:gd name="connsiteY799" fmla="*/ 116827 h 673726"/>
                    <a:gd name="connsiteX800" fmla="*/ 592782 w 592781"/>
                    <a:gd name="connsiteY800" fmla="*/ 118916 h 673726"/>
                    <a:gd name="connsiteX801" fmla="*/ 592235 w 592781"/>
                    <a:gd name="connsiteY801" fmla="*/ 128837 h 673726"/>
                    <a:gd name="connsiteX802" fmla="*/ 589090 w 592781"/>
                    <a:gd name="connsiteY802" fmla="*/ 139899 h 673726"/>
                    <a:gd name="connsiteX803" fmla="*/ 585022 w 592781"/>
                    <a:gd name="connsiteY803" fmla="*/ 143942 h 673726"/>
                    <a:gd name="connsiteX804" fmla="*/ 576850 w 592781"/>
                    <a:gd name="connsiteY804" fmla="*/ 150172 h 673726"/>
                    <a:gd name="connsiteX805" fmla="*/ 564926 w 592781"/>
                    <a:gd name="connsiteY805" fmla="*/ 161962 h 673726"/>
                    <a:gd name="connsiteX806" fmla="*/ 559012 w 592781"/>
                    <a:gd name="connsiteY806" fmla="*/ 166565 h 673726"/>
                    <a:gd name="connsiteX807" fmla="*/ 558527 w 592781"/>
                    <a:gd name="connsiteY807" fmla="*/ 167366 h 673726"/>
                    <a:gd name="connsiteX808" fmla="*/ 557992 w 592781"/>
                    <a:gd name="connsiteY808" fmla="*/ 174166 h 673726"/>
                    <a:gd name="connsiteX809" fmla="*/ 550366 w 592781"/>
                    <a:gd name="connsiteY809" fmla="*/ 178355 h 673726"/>
                    <a:gd name="connsiteX810" fmla="*/ 545109 w 592781"/>
                    <a:gd name="connsiteY810" fmla="*/ 183383 h 673726"/>
                    <a:gd name="connsiteX811" fmla="*/ 542571 w 592781"/>
                    <a:gd name="connsiteY811" fmla="*/ 184488 h 673726"/>
                    <a:gd name="connsiteX812" fmla="*/ 542170 w 592781"/>
                    <a:gd name="connsiteY812" fmla="*/ 187426 h 673726"/>
                    <a:gd name="connsiteX813" fmla="*/ 542024 w 592781"/>
                    <a:gd name="connsiteY813" fmla="*/ 189393 h 673726"/>
                    <a:gd name="connsiteX814" fmla="*/ 539329 w 592781"/>
                    <a:gd name="connsiteY814" fmla="*/ 190341 h 673726"/>
                    <a:gd name="connsiteX815" fmla="*/ 537944 w 592781"/>
                    <a:gd name="connsiteY815" fmla="*/ 190328 h 673726"/>
                    <a:gd name="connsiteX816" fmla="*/ 535419 w 592781"/>
                    <a:gd name="connsiteY816" fmla="*/ 190875 h 673726"/>
                    <a:gd name="connsiteX817" fmla="*/ 534848 w 592781"/>
                    <a:gd name="connsiteY817" fmla="*/ 190778 h 673726"/>
                    <a:gd name="connsiteX818" fmla="*/ 534654 w 592781"/>
                    <a:gd name="connsiteY818" fmla="*/ 192223 h 673726"/>
                    <a:gd name="connsiteX819" fmla="*/ 534423 w 592781"/>
                    <a:gd name="connsiteY819" fmla="*/ 192769 h 673726"/>
                    <a:gd name="connsiteX820" fmla="*/ 533646 w 592781"/>
                    <a:gd name="connsiteY820" fmla="*/ 194020 h 673726"/>
                    <a:gd name="connsiteX821" fmla="*/ 526639 w 592781"/>
                    <a:gd name="connsiteY821" fmla="*/ 201026 h 673726"/>
                    <a:gd name="connsiteX822" fmla="*/ 524988 w 592781"/>
                    <a:gd name="connsiteY822" fmla="*/ 202289 h 673726"/>
                    <a:gd name="connsiteX823" fmla="*/ 523640 w 592781"/>
                    <a:gd name="connsiteY823" fmla="*/ 204912 h 673726"/>
                    <a:gd name="connsiteX824" fmla="*/ 521697 w 592781"/>
                    <a:gd name="connsiteY824" fmla="*/ 211008 h 673726"/>
                    <a:gd name="connsiteX825" fmla="*/ 516269 w 592781"/>
                    <a:gd name="connsiteY825" fmla="*/ 236302 h 673726"/>
                    <a:gd name="connsiteX826" fmla="*/ 512031 w 592781"/>
                    <a:gd name="connsiteY826" fmla="*/ 244850 h 673726"/>
                    <a:gd name="connsiteX827" fmla="*/ 510222 w 592781"/>
                    <a:gd name="connsiteY827" fmla="*/ 245554 h 673726"/>
                    <a:gd name="connsiteX828" fmla="*/ 508364 w 592781"/>
                    <a:gd name="connsiteY828" fmla="*/ 245870 h 673726"/>
                    <a:gd name="connsiteX829" fmla="*/ 507514 w 592781"/>
                    <a:gd name="connsiteY829" fmla="*/ 245761 h 673726"/>
                    <a:gd name="connsiteX830" fmla="*/ 507708 w 592781"/>
                    <a:gd name="connsiteY830" fmla="*/ 246368 h 673726"/>
                    <a:gd name="connsiteX831" fmla="*/ 508315 w 592781"/>
                    <a:gd name="connsiteY831" fmla="*/ 247461 h 673726"/>
                    <a:gd name="connsiteX832" fmla="*/ 509190 w 592781"/>
                    <a:gd name="connsiteY832" fmla="*/ 250254 h 673726"/>
                    <a:gd name="connsiteX833" fmla="*/ 507903 w 592781"/>
                    <a:gd name="connsiteY833" fmla="*/ 253994 h 673726"/>
                    <a:gd name="connsiteX834" fmla="*/ 505680 w 592781"/>
                    <a:gd name="connsiteY834" fmla="*/ 256240 h 673726"/>
                    <a:gd name="connsiteX835" fmla="*/ 503118 w 592781"/>
                    <a:gd name="connsiteY835" fmla="*/ 257855 h 673726"/>
                    <a:gd name="connsiteX836" fmla="*/ 504308 w 592781"/>
                    <a:gd name="connsiteY836" fmla="*/ 261522 h 673726"/>
                    <a:gd name="connsiteX837" fmla="*/ 499378 w 592781"/>
                    <a:gd name="connsiteY837" fmla="*/ 266392 h 673726"/>
                    <a:gd name="connsiteX838" fmla="*/ 500265 w 592781"/>
                    <a:gd name="connsiteY838" fmla="*/ 269294 h 673726"/>
                    <a:gd name="connsiteX839" fmla="*/ 498783 w 592781"/>
                    <a:gd name="connsiteY839" fmla="*/ 272852 h 673726"/>
                    <a:gd name="connsiteX840" fmla="*/ 499148 w 592781"/>
                    <a:gd name="connsiteY840" fmla="*/ 274467 h 673726"/>
                    <a:gd name="connsiteX841" fmla="*/ 500083 w 592781"/>
                    <a:gd name="connsiteY841" fmla="*/ 275851 h 673726"/>
                    <a:gd name="connsiteX842" fmla="*/ 501552 w 592781"/>
                    <a:gd name="connsiteY842" fmla="*/ 280344 h 673726"/>
                    <a:gd name="connsiteX843" fmla="*/ 498856 w 592781"/>
                    <a:gd name="connsiteY843" fmla="*/ 283914 h 673726"/>
                    <a:gd name="connsiteX844" fmla="*/ 495323 w 592781"/>
                    <a:gd name="connsiteY844" fmla="*/ 285189 h 673726"/>
                    <a:gd name="connsiteX845" fmla="*/ 493975 w 592781"/>
                    <a:gd name="connsiteY845" fmla="*/ 285918 h 673726"/>
                    <a:gd name="connsiteX846" fmla="*/ 493623 w 592781"/>
                    <a:gd name="connsiteY846" fmla="*/ 286768 h 673726"/>
                    <a:gd name="connsiteX847" fmla="*/ 493732 w 592781"/>
                    <a:gd name="connsiteY847" fmla="*/ 287108 h 673726"/>
                    <a:gd name="connsiteX848" fmla="*/ 495493 w 592781"/>
                    <a:gd name="connsiteY848" fmla="*/ 289245 h 673726"/>
                    <a:gd name="connsiteX849" fmla="*/ 496039 w 592781"/>
                    <a:gd name="connsiteY849" fmla="*/ 291601 h 673726"/>
                    <a:gd name="connsiteX850" fmla="*/ 495820 w 592781"/>
                    <a:gd name="connsiteY850" fmla="*/ 295948 h 673726"/>
                    <a:gd name="connsiteX851" fmla="*/ 495748 w 592781"/>
                    <a:gd name="connsiteY851" fmla="*/ 296288 h 673726"/>
                    <a:gd name="connsiteX852" fmla="*/ 500168 w 592781"/>
                    <a:gd name="connsiteY852" fmla="*/ 295741 h 673726"/>
                    <a:gd name="connsiteX853" fmla="*/ 506275 w 592781"/>
                    <a:gd name="connsiteY853" fmla="*/ 300902 h 673726"/>
                    <a:gd name="connsiteX854" fmla="*/ 501989 w 592781"/>
                    <a:gd name="connsiteY854" fmla="*/ 306196 h 673726"/>
                    <a:gd name="connsiteX855" fmla="*/ 497909 w 592781"/>
                    <a:gd name="connsiteY855" fmla="*/ 309973 h 673726"/>
                    <a:gd name="connsiteX856" fmla="*/ 498370 w 592781"/>
                    <a:gd name="connsiteY856" fmla="*/ 309912 h 673726"/>
                    <a:gd name="connsiteX857" fmla="*/ 505000 w 592781"/>
                    <a:gd name="connsiteY857" fmla="*/ 310021 h 673726"/>
                    <a:gd name="connsiteX858" fmla="*/ 510088 w 592781"/>
                    <a:gd name="connsiteY858" fmla="*/ 313664 h 673726"/>
                    <a:gd name="connsiteX859" fmla="*/ 510768 w 592781"/>
                    <a:gd name="connsiteY859" fmla="*/ 318303 h 673726"/>
                    <a:gd name="connsiteX860" fmla="*/ 509433 w 592781"/>
                    <a:gd name="connsiteY860" fmla="*/ 320792 h 673726"/>
                    <a:gd name="connsiteX861" fmla="*/ 507720 w 592781"/>
                    <a:gd name="connsiteY861" fmla="*/ 322808 h 673726"/>
                    <a:gd name="connsiteX862" fmla="*/ 507356 w 592781"/>
                    <a:gd name="connsiteY862" fmla="*/ 323816 h 673726"/>
                    <a:gd name="connsiteX863" fmla="*/ 507660 w 592781"/>
                    <a:gd name="connsiteY863" fmla="*/ 330069 h 673726"/>
                    <a:gd name="connsiteX864" fmla="*/ 508182 w 592781"/>
                    <a:gd name="connsiteY864" fmla="*/ 330907 h 673726"/>
                    <a:gd name="connsiteX865" fmla="*/ 509263 w 592781"/>
                    <a:gd name="connsiteY865" fmla="*/ 332231 h 673726"/>
                    <a:gd name="connsiteX866" fmla="*/ 510878 w 592781"/>
                    <a:gd name="connsiteY866" fmla="*/ 336214 h 673726"/>
                    <a:gd name="connsiteX867" fmla="*/ 509445 w 592781"/>
                    <a:gd name="connsiteY867" fmla="*/ 339723 h 673726"/>
                    <a:gd name="connsiteX868" fmla="*/ 507040 w 592781"/>
                    <a:gd name="connsiteY868" fmla="*/ 342941 h 673726"/>
                    <a:gd name="connsiteX869" fmla="*/ 509032 w 592781"/>
                    <a:gd name="connsiteY869" fmla="*/ 373359 h 673726"/>
                    <a:gd name="connsiteX870" fmla="*/ 508631 w 592781"/>
                    <a:gd name="connsiteY870" fmla="*/ 376030 h 673726"/>
                    <a:gd name="connsiteX871" fmla="*/ 508231 w 592781"/>
                    <a:gd name="connsiteY871" fmla="*/ 376601 h 673726"/>
                    <a:gd name="connsiteX872" fmla="*/ 508874 w 592781"/>
                    <a:gd name="connsiteY872" fmla="*/ 377111 h 673726"/>
                    <a:gd name="connsiteX873" fmla="*/ 509384 w 592781"/>
                    <a:gd name="connsiteY873" fmla="*/ 377633 h 673726"/>
                    <a:gd name="connsiteX874" fmla="*/ 510161 w 592781"/>
                    <a:gd name="connsiteY874" fmla="*/ 378920 h 673726"/>
                    <a:gd name="connsiteX875" fmla="*/ 514120 w 592781"/>
                    <a:gd name="connsiteY875" fmla="*/ 391816 h 673726"/>
                    <a:gd name="connsiteX876" fmla="*/ 519706 w 592781"/>
                    <a:gd name="connsiteY876" fmla="*/ 400596 h 673726"/>
                    <a:gd name="connsiteX877" fmla="*/ 517362 w 592781"/>
                    <a:gd name="connsiteY877" fmla="*/ 404676 h 673726"/>
                    <a:gd name="connsiteX878" fmla="*/ 515638 w 592781"/>
                    <a:gd name="connsiteY878" fmla="*/ 405841 h 673726"/>
                    <a:gd name="connsiteX879" fmla="*/ 515577 w 592781"/>
                    <a:gd name="connsiteY879" fmla="*/ 406400 h 673726"/>
                    <a:gd name="connsiteX880" fmla="*/ 519378 w 592781"/>
                    <a:gd name="connsiteY880" fmla="*/ 409545 h 673726"/>
                    <a:gd name="connsiteX881" fmla="*/ 521041 w 592781"/>
                    <a:gd name="connsiteY881" fmla="*/ 411330 h 673726"/>
                    <a:gd name="connsiteX882" fmla="*/ 522814 w 592781"/>
                    <a:gd name="connsiteY882" fmla="*/ 414220 h 673726"/>
                    <a:gd name="connsiteX883" fmla="*/ 523943 w 592781"/>
                    <a:gd name="connsiteY883" fmla="*/ 417183 h 673726"/>
                    <a:gd name="connsiteX884" fmla="*/ 523725 w 592781"/>
                    <a:gd name="connsiteY884" fmla="*/ 420401 h 673726"/>
                    <a:gd name="connsiteX885" fmla="*/ 521903 w 592781"/>
                    <a:gd name="connsiteY885" fmla="*/ 422914 h 673726"/>
                    <a:gd name="connsiteX886" fmla="*/ 519244 w 592781"/>
                    <a:gd name="connsiteY886" fmla="*/ 427771 h 673726"/>
                    <a:gd name="connsiteX887" fmla="*/ 509044 w 592781"/>
                    <a:gd name="connsiteY887" fmla="*/ 431439 h 673726"/>
                    <a:gd name="connsiteX888" fmla="*/ 507283 w 592781"/>
                    <a:gd name="connsiteY888" fmla="*/ 431341 h 673726"/>
                    <a:gd name="connsiteX889" fmla="*/ 504078 w 592781"/>
                    <a:gd name="connsiteY889" fmla="*/ 430467 h 673726"/>
                    <a:gd name="connsiteX890" fmla="*/ 501346 w 592781"/>
                    <a:gd name="connsiteY890" fmla="*/ 429338 h 673726"/>
                    <a:gd name="connsiteX891" fmla="*/ 493538 w 592781"/>
                    <a:gd name="connsiteY891" fmla="*/ 427261 h 673726"/>
                    <a:gd name="connsiteX892" fmla="*/ 492918 w 592781"/>
                    <a:gd name="connsiteY892" fmla="*/ 427941 h 673726"/>
                    <a:gd name="connsiteX893" fmla="*/ 492238 w 592781"/>
                    <a:gd name="connsiteY893" fmla="*/ 429034 h 673726"/>
                    <a:gd name="connsiteX894" fmla="*/ 487247 w 592781"/>
                    <a:gd name="connsiteY894" fmla="*/ 433175 h 673726"/>
                    <a:gd name="connsiteX895" fmla="*/ 480047 w 592781"/>
                    <a:gd name="connsiteY895" fmla="*/ 432896 h 673726"/>
                    <a:gd name="connsiteX896" fmla="*/ 476380 w 592781"/>
                    <a:gd name="connsiteY896" fmla="*/ 434256 h 673726"/>
                    <a:gd name="connsiteX897" fmla="*/ 472312 w 592781"/>
                    <a:gd name="connsiteY897" fmla="*/ 436393 h 673726"/>
                    <a:gd name="connsiteX898" fmla="*/ 471012 w 592781"/>
                    <a:gd name="connsiteY898" fmla="*/ 437801 h 673726"/>
                    <a:gd name="connsiteX899" fmla="*/ 470223 w 592781"/>
                    <a:gd name="connsiteY899" fmla="*/ 439453 h 673726"/>
                    <a:gd name="connsiteX900" fmla="*/ 470308 w 592781"/>
                    <a:gd name="connsiteY900" fmla="*/ 440437 h 673726"/>
                    <a:gd name="connsiteX901" fmla="*/ 470162 w 592781"/>
                    <a:gd name="connsiteY901" fmla="*/ 442804 h 673726"/>
                    <a:gd name="connsiteX902" fmla="*/ 470842 w 592781"/>
                    <a:gd name="connsiteY902" fmla="*/ 452919 h 673726"/>
                    <a:gd name="connsiteX903" fmla="*/ 470612 w 592781"/>
                    <a:gd name="connsiteY903" fmla="*/ 456441 h 673726"/>
                    <a:gd name="connsiteX904" fmla="*/ 471753 w 592781"/>
                    <a:gd name="connsiteY904" fmla="*/ 458323 h 673726"/>
                    <a:gd name="connsiteX905" fmla="*/ 472834 w 592781"/>
                    <a:gd name="connsiteY905" fmla="*/ 462634 h 673726"/>
                    <a:gd name="connsiteX906" fmla="*/ 470745 w 592781"/>
                    <a:gd name="connsiteY906" fmla="*/ 466010 h 673726"/>
                    <a:gd name="connsiteX907" fmla="*/ 467455 w 592781"/>
                    <a:gd name="connsiteY907" fmla="*/ 469033 h 673726"/>
                    <a:gd name="connsiteX908" fmla="*/ 467017 w 592781"/>
                    <a:gd name="connsiteY908" fmla="*/ 470114 h 673726"/>
                    <a:gd name="connsiteX909" fmla="*/ 466641 w 592781"/>
                    <a:gd name="connsiteY909" fmla="*/ 474510 h 673726"/>
                    <a:gd name="connsiteX910" fmla="*/ 464200 w 592781"/>
                    <a:gd name="connsiteY910" fmla="*/ 476914 h 673726"/>
                    <a:gd name="connsiteX911" fmla="*/ 461747 w 592781"/>
                    <a:gd name="connsiteY911" fmla="*/ 477557 h 673726"/>
                    <a:gd name="connsiteX912" fmla="*/ 458044 w 592781"/>
                    <a:gd name="connsiteY912" fmla="*/ 478140 h 673726"/>
                    <a:gd name="connsiteX913" fmla="*/ 457400 w 592781"/>
                    <a:gd name="connsiteY913" fmla="*/ 478432 h 673726"/>
                    <a:gd name="connsiteX914" fmla="*/ 456902 w 592781"/>
                    <a:gd name="connsiteY914" fmla="*/ 479015 h 673726"/>
                    <a:gd name="connsiteX915" fmla="*/ 455554 w 592781"/>
                    <a:gd name="connsiteY915" fmla="*/ 481929 h 673726"/>
                    <a:gd name="connsiteX916" fmla="*/ 451511 w 592781"/>
                    <a:gd name="connsiteY916" fmla="*/ 485948 h 673726"/>
                    <a:gd name="connsiteX917" fmla="*/ 451414 w 592781"/>
                    <a:gd name="connsiteY917" fmla="*/ 486252 h 673726"/>
                    <a:gd name="connsiteX918" fmla="*/ 452300 w 592781"/>
                    <a:gd name="connsiteY918" fmla="*/ 487260 h 673726"/>
                    <a:gd name="connsiteX919" fmla="*/ 454838 w 592781"/>
                    <a:gd name="connsiteY919" fmla="*/ 489445 h 673726"/>
                    <a:gd name="connsiteX920" fmla="*/ 456150 w 592781"/>
                    <a:gd name="connsiteY920" fmla="*/ 490927 h 673726"/>
                    <a:gd name="connsiteX921" fmla="*/ 457364 w 592781"/>
                    <a:gd name="connsiteY921" fmla="*/ 492833 h 673726"/>
                    <a:gd name="connsiteX922" fmla="*/ 457862 w 592781"/>
                    <a:gd name="connsiteY922" fmla="*/ 494230 h 673726"/>
                    <a:gd name="connsiteX923" fmla="*/ 457679 w 592781"/>
                    <a:gd name="connsiteY923" fmla="*/ 494363 h 673726"/>
                    <a:gd name="connsiteX924" fmla="*/ 461286 w 592781"/>
                    <a:gd name="connsiteY924" fmla="*/ 493392 h 673726"/>
                    <a:gd name="connsiteX925" fmla="*/ 472239 w 592781"/>
                    <a:gd name="connsiteY925" fmla="*/ 492493 h 673726"/>
                    <a:gd name="connsiteX926" fmla="*/ 473672 w 592781"/>
                    <a:gd name="connsiteY926" fmla="*/ 492214 h 673726"/>
                    <a:gd name="connsiteX927" fmla="*/ 473708 w 592781"/>
                    <a:gd name="connsiteY927" fmla="*/ 491048 h 673726"/>
                    <a:gd name="connsiteX928" fmla="*/ 475882 w 592781"/>
                    <a:gd name="connsiteY928" fmla="*/ 487600 h 673726"/>
                    <a:gd name="connsiteX929" fmla="*/ 478784 w 592781"/>
                    <a:gd name="connsiteY929" fmla="*/ 486847 h 673726"/>
                    <a:gd name="connsiteX930" fmla="*/ 480423 w 592781"/>
                    <a:gd name="connsiteY930" fmla="*/ 487017 h 673726"/>
                    <a:gd name="connsiteX931" fmla="*/ 494133 w 592781"/>
                    <a:gd name="connsiteY931" fmla="*/ 493513 h 673726"/>
                    <a:gd name="connsiteX932" fmla="*/ 495869 w 592781"/>
                    <a:gd name="connsiteY932" fmla="*/ 495031 h 673726"/>
                    <a:gd name="connsiteX933" fmla="*/ 497059 w 592781"/>
                    <a:gd name="connsiteY933" fmla="*/ 497071 h 673726"/>
                    <a:gd name="connsiteX934" fmla="*/ 499123 w 592781"/>
                    <a:gd name="connsiteY934" fmla="*/ 503167 h 673726"/>
                    <a:gd name="connsiteX935" fmla="*/ 499658 w 592781"/>
                    <a:gd name="connsiteY935" fmla="*/ 504090 h 673726"/>
                    <a:gd name="connsiteX936" fmla="*/ 500593 w 592781"/>
                    <a:gd name="connsiteY936" fmla="*/ 504940 h 673726"/>
                    <a:gd name="connsiteX937" fmla="*/ 502548 w 592781"/>
                    <a:gd name="connsiteY937" fmla="*/ 506263 h 673726"/>
                    <a:gd name="connsiteX938" fmla="*/ 506640 w 592781"/>
                    <a:gd name="connsiteY938" fmla="*/ 508437 h 673726"/>
                    <a:gd name="connsiteX939" fmla="*/ 509748 w 592781"/>
                    <a:gd name="connsiteY939" fmla="*/ 510501 h 673726"/>
                    <a:gd name="connsiteX940" fmla="*/ 516014 w 592781"/>
                    <a:gd name="connsiteY940" fmla="*/ 512638 h 673726"/>
                    <a:gd name="connsiteX941" fmla="*/ 521211 w 592781"/>
                    <a:gd name="connsiteY941" fmla="*/ 511740 h 673726"/>
                    <a:gd name="connsiteX942" fmla="*/ 521296 w 592781"/>
                    <a:gd name="connsiteY942" fmla="*/ 511667 h 673726"/>
                    <a:gd name="connsiteX943" fmla="*/ 520641 w 592781"/>
                    <a:gd name="connsiteY943" fmla="*/ 510878 h 673726"/>
                    <a:gd name="connsiteX944" fmla="*/ 519317 w 592781"/>
                    <a:gd name="connsiteY944" fmla="*/ 509785 h 673726"/>
                    <a:gd name="connsiteX945" fmla="*/ 517969 w 592781"/>
                    <a:gd name="connsiteY945" fmla="*/ 506591 h 673726"/>
                    <a:gd name="connsiteX946" fmla="*/ 519135 w 592781"/>
                    <a:gd name="connsiteY946" fmla="*/ 503981 h 673726"/>
                    <a:gd name="connsiteX947" fmla="*/ 522620 w 592781"/>
                    <a:gd name="connsiteY947" fmla="*/ 500350 h 673726"/>
                    <a:gd name="connsiteX948" fmla="*/ 526348 w 592781"/>
                    <a:gd name="connsiteY948" fmla="*/ 498164 h 673726"/>
                    <a:gd name="connsiteX949" fmla="*/ 528959 w 592781"/>
                    <a:gd name="connsiteY949" fmla="*/ 497108 h 673726"/>
                    <a:gd name="connsiteX950" fmla="*/ 542449 w 592781"/>
                    <a:gd name="connsiteY950" fmla="*/ 494667 h 673726"/>
                    <a:gd name="connsiteX951" fmla="*/ 544963 w 592781"/>
                    <a:gd name="connsiteY951" fmla="*/ 498868 h 673726"/>
                    <a:gd name="connsiteX952" fmla="*/ 546286 w 592781"/>
                    <a:gd name="connsiteY952" fmla="*/ 500483 h 673726"/>
                    <a:gd name="connsiteX953" fmla="*/ 547501 w 592781"/>
                    <a:gd name="connsiteY953" fmla="*/ 501273 h 673726"/>
                    <a:gd name="connsiteX954" fmla="*/ 548363 w 592781"/>
                    <a:gd name="connsiteY954" fmla="*/ 501248 h 673726"/>
                    <a:gd name="connsiteX955" fmla="*/ 552904 w 592781"/>
                    <a:gd name="connsiteY955" fmla="*/ 503130 h 673726"/>
                    <a:gd name="connsiteX956" fmla="*/ 553342 w 592781"/>
                    <a:gd name="connsiteY956" fmla="*/ 506105 h 673726"/>
                    <a:gd name="connsiteX957" fmla="*/ 553657 w 592781"/>
                    <a:gd name="connsiteY957" fmla="*/ 505923 h 673726"/>
                    <a:gd name="connsiteX958" fmla="*/ 556268 w 592781"/>
                    <a:gd name="connsiteY958" fmla="*/ 505049 h 673726"/>
                    <a:gd name="connsiteX959" fmla="*/ 559935 w 592781"/>
                    <a:gd name="connsiteY959" fmla="*/ 507089 h 673726"/>
                    <a:gd name="connsiteX960" fmla="*/ 560421 w 592781"/>
                    <a:gd name="connsiteY960" fmla="*/ 508607 h 673726"/>
                    <a:gd name="connsiteX961" fmla="*/ 560773 w 592781"/>
                    <a:gd name="connsiteY961" fmla="*/ 510064 h 673726"/>
                    <a:gd name="connsiteX962" fmla="*/ 561793 w 592781"/>
                    <a:gd name="connsiteY962" fmla="*/ 512444 h 673726"/>
                    <a:gd name="connsiteX963" fmla="*/ 561951 w 592781"/>
                    <a:gd name="connsiteY963" fmla="*/ 513258 h 673726"/>
                    <a:gd name="connsiteX964" fmla="*/ 564695 w 592781"/>
                    <a:gd name="connsiteY964" fmla="*/ 512262 h 673726"/>
                    <a:gd name="connsiteX965" fmla="*/ 569042 w 592781"/>
                    <a:gd name="connsiteY965" fmla="*/ 512505 h 673726"/>
                    <a:gd name="connsiteX966" fmla="*/ 570633 w 592781"/>
                    <a:gd name="connsiteY966" fmla="*/ 516852 h 673726"/>
                    <a:gd name="connsiteX967" fmla="*/ 570414 w 592781"/>
                    <a:gd name="connsiteY967" fmla="*/ 520920 h 673726"/>
                    <a:gd name="connsiteX968" fmla="*/ 577603 w 592781"/>
                    <a:gd name="connsiteY968" fmla="*/ 520216 h 673726"/>
                    <a:gd name="connsiteX969" fmla="*/ 570803 w 592781"/>
                    <a:gd name="connsiteY969" fmla="*/ 535698 h 673726"/>
                    <a:gd name="connsiteX970" fmla="*/ 570293 w 592781"/>
                    <a:gd name="connsiteY970" fmla="*/ 538418 h 673726"/>
                    <a:gd name="connsiteX971" fmla="*/ 573887 w 592781"/>
                    <a:gd name="connsiteY971" fmla="*/ 541369 h 673726"/>
                    <a:gd name="connsiteX972" fmla="*/ 574312 w 592781"/>
                    <a:gd name="connsiteY972" fmla="*/ 545133 h 673726"/>
                    <a:gd name="connsiteX973" fmla="*/ 574227 w 592781"/>
                    <a:gd name="connsiteY973" fmla="*/ 548157 h 673726"/>
                    <a:gd name="connsiteX974" fmla="*/ 575454 w 592781"/>
                    <a:gd name="connsiteY974" fmla="*/ 548885 h 673726"/>
                    <a:gd name="connsiteX975" fmla="*/ 579121 w 592781"/>
                    <a:gd name="connsiteY975" fmla="*/ 549164 h 673726"/>
                    <a:gd name="connsiteX976" fmla="*/ 580250 w 592781"/>
                    <a:gd name="connsiteY976" fmla="*/ 549322 h 673726"/>
                    <a:gd name="connsiteX977" fmla="*/ 585812 w 592781"/>
                    <a:gd name="connsiteY977" fmla="*/ 555770 h 673726"/>
                    <a:gd name="connsiteX978" fmla="*/ 581477 w 592781"/>
                    <a:gd name="connsiteY978" fmla="*/ 557179 h 673726"/>
                    <a:gd name="connsiteX979" fmla="*/ 580967 w 592781"/>
                    <a:gd name="connsiteY979" fmla="*/ 558174 h 673726"/>
                    <a:gd name="connsiteX980" fmla="*/ 579558 w 592781"/>
                    <a:gd name="connsiteY980" fmla="*/ 561526 h 673726"/>
                    <a:gd name="connsiteX981" fmla="*/ 580275 w 592781"/>
                    <a:gd name="connsiteY981" fmla="*/ 561623 h 673726"/>
                    <a:gd name="connsiteX982" fmla="*/ 585496 w 592781"/>
                    <a:gd name="connsiteY982" fmla="*/ 568253 h 673726"/>
                    <a:gd name="connsiteX983" fmla="*/ 576668 w 592781"/>
                    <a:gd name="connsiteY983" fmla="*/ 571532 h 673726"/>
                    <a:gd name="connsiteX984" fmla="*/ 575381 w 592781"/>
                    <a:gd name="connsiteY984" fmla="*/ 573632 h 673726"/>
                    <a:gd name="connsiteX985" fmla="*/ 575466 w 592781"/>
                    <a:gd name="connsiteY985" fmla="*/ 578016 h 673726"/>
                    <a:gd name="connsiteX986" fmla="*/ 578611 w 592781"/>
                    <a:gd name="connsiteY986" fmla="*/ 591288 h 673726"/>
                    <a:gd name="connsiteX987" fmla="*/ 571447 w 592781"/>
                    <a:gd name="connsiteY987" fmla="*/ 586771 h 673726"/>
                    <a:gd name="connsiteX988" fmla="*/ 571945 w 592781"/>
                    <a:gd name="connsiteY988" fmla="*/ 589285 h 673726"/>
                    <a:gd name="connsiteX989" fmla="*/ 570718 w 592781"/>
                    <a:gd name="connsiteY989" fmla="*/ 593231 h 673726"/>
                    <a:gd name="connsiteX990" fmla="*/ 571544 w 592781"/>
                    <a:gd name="connsiteY990" fmla="*/ 594008 h 673726"/>
                    <a:gd name="connsiteX991" fmla="*/ 573912 w 592781"/>
                    <a:gd name="connsiteY991" fmla="*/ 595223 h 673726"/>
                    <a:gd name="connsiteX992" fmla="*/ 576619 w 592781"/>
                    <a:gd name="connsiteY992" fmla="*/ 597870 h 673726"/>
                    <a:gd name="connsiteX993" fmla="*/ 578393 w 592781"/>
                    <a:gd name="connsiteY993" fmla="*/ 602642 h 673726"/>
                    <a:gd name="connsiteX994" fmla="*/ 580930 w 592781"/>
                    <a:gd name="connsiteY994" fmla="*/ 607378 h 673726"/>
                    <a:gd name="connsiteX995" fmla="*/ 581780 w 592781"/>
                    <a:gd name="connsiteY995" fmla="*/ 612915 h 673726"/>
                    <a:gd name="connsiteX996" fmla="*/ 582023 w 592781"/>
                    <a:gd name="connsiteY996" fmla="*/ 615076 h 673726"/>
                    <a:gd name="connsiteX997" fmla="*/ 576753 w 592781"/>
                    <a:gd name="connsiteY997" fmla="*/ 617553 h 673726"/>
                    <a:gd name="connsiteX998" fmla="*/ 573584 w 592781"/>
                    <a:gd name="connsiteY998" fmla="*/ 621694 h 673726"/>
                    <a:gd name="connsiteX999" fmla="*/ 572272 w 592781"/>
                    <a:gd name="connsiteY999" fmla="*/ 625386 h 673726"/>
                    <a:gd name="connsiteX1000" fmla="*/ 569322 w 592781"/>
                    <a:gd name="connsiteY1000" fmla="*/ 628980 h 673726"/>
                    <a:gd name="connsiteX1001" fmla="*/ 565497 w 592781"/>
                    <a:gd name="connsiteY1001" fmla="*/ 630146 h 673726"/>
                    <a:gd name="connsiteX1002" fmla="*/ 562169 w 592781"/>
                    <a:gd name="connsiteY1002" fmla="*/ 628871 h 673726"/>
                    <a:gd name="connsiteX1003" fmla="*/ 561016 w 592781"/>
                    <a:gd name="connsiteY1003" fmla="*/ 628567 h 673726"/>
                    <a:gd name="connsiteX1004" fmla="*/ 560591 w 592781"/>
                    <a:gd name="connsiteY1004" fmla="*/ 628628 h 673726"/>
                    <a:gd name="connsiteX1005" fmla="*/ 556268 w 592781"/>
                    <a:gd name="connsiteY1005" fmla="*/ 633181 h 673726"/>
                    <a:gd name="connsiteX1006" fmla="*/ 554167 w 592781"/>
                    <a:gd name="connsiteY1006" fmla="*/ 634505 h 673726"/>
                    <a:gd name="connsiteX1007" fmla="*/ 546991 w 592781"/>
                    <a:gd name="connsiteY1007" fmla="*/ 636096 h 673726"/>
                    <a:gd name="connsiteX1008" fmla="*/ 545400 w 592781"/>
                    <a:gd name="connsiteY1008" fmla="*/ 637322 h 673726"/>
                    <a:gd name="connsiteX1009" fmla="*/ 543397 w 592781"/>
                    <a:gd name="connsiteY1009" fmla="*/ 638403 h 673726"/>
                    <a:gd name="connsiteX1010" fmla="*/ 541235 w 592781"/>
                    <a:gd name="connsiteY1010" fmla="*/ 639131 h 673726"/>
                    <a:gd name="connsiteX1011" fmla="*/ 540446 w 592781"/>
                    <a:gd name="connsiteY1011" fmla="*/ 639168 h 673726"/>
                    <a:gd name="connsiteX1012" fmla="*/ 539644 w 592781"/>
                    <a:gd name="connsiteY1012" fmla="*/ 639569 h 673726"/>
                    <a:gd name="connsiteX1013" fmla="*/ 538636 w 592781"/>
                    <a:gd name="connsiteY1013" fmla="*/ 640224 h 673726"/>
                    <a:gd name="connsiteX1014" fmla="*/ 533099 w 592781"/>
                    <a:gd name="connsiteY1014" fmla="*/ 645507 h 673726"/>
                    <a:gd name="connsiteX1015" fmla="*/ 528169 w 592781"/>
                    <a:gd name="connsiteY1015" fmla="*/ 644632 h 673726"/>
                    <a:gd name="connsiteX1016" fmla="*/ 526311 w 592781"/>
                    <a:gd name="connsiteY1016" fmla="*/ 647049 h 673726"/>
                    <a:gd name="connsiteX1017" fmla="*/ 524526 w 592781"/>
                    <a:gd name="connsiteY1017" fmla="*/ 648396 h 673726"/>
                    <a:gd name="connsiteX1018" fmla="*/ 522741 w 592781"/>
                    <a:gd name="connsiteY1018" fmla="*/ 648700 h 673726"/>
                    <a:gd name="connsiteX1019" fmla="*/ 521138 w 592781"/>
                    <a:gd name="connsiteY1019" fmla="*/ 648312 h 673726"/>
                    <a:gd name="connsiteX1020" fmla="*/ 519354 w 592781"/>
                    <a:gd name="connsiteY1020" fmla="*/ 647328 h 673726"/>
                    <a:gd name="connsiteX1021" fmla="*/ 518078 w 592781"/>
                    <a:gd name="connsiteY1021" fmla="*/ 645616 h 673726"/>
                    <a:gd name="connsiteX1022" fmla="*/ 515868 w 592781"/>
                    <a:gd name="connsiteY1022" fmla="*/ 647668 h 673726"/>
                    <a:gd name="connsiteX1023" fmla="*/ 511084 w 592781"/>
                    <a:gd name="connsiteY1023" fmla="*/ 647219 h 673726"/>
                    <a:gd name="connsiteX1024" fmla="*/ 509542 w 592781"/>
                    <a:gd name="connsiteY1024" fmla="*/ 645009 h 673726"/>
                    <a:gd name="connsiteX1025" fmla="*/ 508643 w 592781"/>
                    <a:gd name="connsiteY1025" fmla="*/ 646101 h 673726"/>
                    <a:gd name="connsiteX1026" fmla="*/ 505595 w 592781"/>
                    <a:gd name="connsiteY1026" fmla="*/ 648312 h 673726"/>
                    <a:gd name="connsiteX1027" fmla="*/ 501686 w 592781"/>
                    <a:gd name="connsiteY1027" fmla="*/ 648603 h 673726"/>
                    <a:gd name="connsiteX1028" fmla="*/ 497253 w 592781"/>
                    <a:gd name="connsiteY1028" fmla="*/ 647607 h 673726"/>
                    <a:gd name="connsiteX1029" fmla="*/ 490660 w 592781"/>
                    <a:gd name="connsiteY1029" fmla="*/ 644936 h 673726"/>
                    <a:gd name="connsiteX1030" fmla="*/ 489870 w 592781"/>
                    <a:gd name="connsiteY1030" fmla="*/ 644911 h 673726"/>
                    <a:gd name="connsiteX1031" fmla="*/ 489239 w 592781"/>
                    <a:gd name="connsiteY1031" fmla="*/ 645142 h 673726"/>
                    <a:gd name="connsiteX1032" fmla="*/ 488498 w 592781"/>
                    <a:gd name="connsiteY1032" fmla="*/ 646539 h 673726"/>
                    <a:gd name="connsiteX1033" fmla="*/ 488510 w 592781"/>
                    <a:gd name="connsiteY1033" fmla="*/ 646964 h 673726"/>
                    <a:gd name="connsiteX1034" fmla="*/ 488620 w 592781"/>
                    <a:gd name="connsiteY1034" fmla="*/ 647121 h 673726"/>
                    <a:gd name="connsiteX1035" fmla="*/ 493550 w 592781"/>
                    <a:gd name="connsiteY1035" fmla="*/ 649380 h 673726"/>
                    <a:gd name="connsiteX1036" fmla="*/ 495808 w 592781"/>
                    <a:gd name="connsiteY1036" fmla="*/ 651238 h 673726"/>
                    <a:gd name="connsiteX1037" fmla="*/ 496573 w 592781"/>
                    <a:gd name="connsiteY1037" fmla="*/ 651930 h 673726"/>
                    <a:gd name="connsiteX1038" fmla="*/ 497350 w 592781"/>
                    <a:gd name="connsiteY1038" fmla="*/ 656180 h 673726"/>
                    <a:gd name="connsiteX1039" fmla="*/ 494218 w 592781"/>
                    <a:gd name="connsiteY1039" fmla="*/ 659021 h 673726"/>
                    <a:gd name="connsiteX1040" fmla="*/ 483580 w 592781"/>
                    <a:gd name="connsiteY1040" fmla="*/ 660127 h 673726"/>
                    <a:gd name="connsiteX1041" fmla="*/ 482548 w 592781"/>
                    <a:gd name="connsiteY1041" fmla="*/ 660697 h 673726"/>
                    <a:gd name="connsiteX1042" fmla="*/ 480569 w 592781"/>
                    <a:gd name="connsiteY1042" fmla="*/ 662992 h 673726"/>
                    <a:gd name="connsiteX1043" fmla="*/ 478784 w 592781"/>
                    <a:gd name="connsiteY1043" fmla="*/ 667789 h 673726"/>
                    <a:gd name="connsiteX1044" fmla="*/ 475858 w 592781"/>
                    <a:gd name="connsiteY1044" fmla="*/ 671711 h 673726"/>
                    <a:gd name="connsiteX1045" fmla="*/ 468232 w 592781"/>
                    <a:gd name="connsiteY1045" fmla="*/ 671444 h 673726"/>
                    <a:gd name="connsiteX1046" fmla="*/ 463739 w 592781"/>
                    <a:gd name="connsiteY1046" fmla="*/ 673289 h 673726"/>
                    <a:gd name="connsiteX1047" fmla="*/ 462500 w 592781"/>
                    <a:gd name="connsiteY1047" fmla="*/ 673727 h 673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Lst>
                  <a:rect l="l" t="t" r="r" b="b"/>
                  <a:pathLst>
                    <a:path w="592781" h="673726">
                      <a:moveTo>
                        <a:pt x="459052" y="671954"/>
                      </a:moveTo>
                      <a:lnTo>
                        <a:pt x="458019" y="671140"/>
                      </a:lnTo>
                      <a:lnTo>
                        <a:pt x="456247" y="668967"/>
                      </a:lnTo>
                      <a:lnTo>
                        <a:pt x="455907" y="667255"/>
                      </a:lnTo>
                      <a:lnTo>
                        <a:pt x="456162" y="665129"/>
                      </a:lnTo>
                      <a:lnTo>
                        <a:pt x="457145" y="663211"/>
                      </a:lnTo>
                      <a:lnTo>
                        <a:pt x="458092" y="662458"/>
                      </a:lnTo>
                      <a:lnTo>
                        <a:pt x="459440" y="661644"/>
                      </a:lnTo>
                      <a:lnTo>
                        <a:pt x="459890" y="661499"/>
                      </a:lnTo>
                      <a:lnTo>
                        <a:pt x="459173" y="660564"/>
                      </a:lnTo>
                      <a:lnTo>
                        <a:pt x="457837" y="658232"/>
                      </a:lnTo>
                      <a:lnTo>
                        <a:pt x="457837" y="655488"/>
                      </a:lnTo>
                      <a:lnTo>
                        <a:pt x="460642" y="640528"/>
                      </a:lnTo>
                      <a:lnTo>
                        <a:pt x="461553" y="638293"/>
                      </a:lnTo>
                      <a:lnTo>
                        <a:pt x="465293" y="632963"/>
                      </a:lnTo>
                      <a:lnTo>
                        <a:pt x="465621" y="632234"/>
                      </a:lnTo>
                      <a:lnTo>
                        <a:pt x="465912" y="630473"/>
                      </a:lnTo>
                      <a:lnTo>
                        <a:pt x="465196" y="624086"/>
                      </a:lnTo>
                      <a:lnTo>
                        <a:pt x="465815" y="620213"/>
                      </a:lnTo>
                      <a:lnTo>
                        <a:pt x="465694" y="619241"/>
                      </a:lnTo>
                      <a:lnTo>
                        <a:pt x="465366" y="617748"/>
                      </a:lnTo>
                      <a:lnTo>
                        <a:pt x="464334" y="614979"/>
                      </a:lnTo>
                      <a:lnTo>
                        <a:pt x="464030" y="611968"/>
                      </a:lnTo>
                      <a:lnTo>
                        <a:pt x="464152" y="609928"/>
                      </a:lnTo>
                      <a:lnTo>
                        <a:pt x="464783" y="606977"/>
                      </a:lnTo>
                      <a:lnTo>
                        <a:pt x="464492" y="606394"/>
                      </a:lnTo>
                      <a:lnTo>
                        <a:pt x="464030" y="604718"/>
                      </a:lnTo>
                      <a:lnTo>
                        <a:pt x="462622" y="601549"/>
                      </a:lnTo>
                      <a:lnTo>
                        <a:pt x="461687" y="597457"/>
                      </a:lnTo>
                      <a:lnTo>
                        <a:pt x="461517" y="593243"/>
                      </a:lnTo>
                      <a:lnTo>
                        <a:pt x="462124" y="589321"/>
                      </a:lnTo>
                      <a:lnTo>
                        <a:pt x="465415" y="577834"/>
                      </a:lnTo>
                      <a:lnTo>
                        <a:pt x="465487" y="575940"/>
                      </a:lnTo>
                      <a:lnTo>
                        <a:pt x="465159" y="574397"/>
                      </a:lnTo>
                      <a:lnTo>
                        <a:pt x="464419" y="573001"/>
                      </a:lnTo>
                      <a:lnTo>
                        <a:pt x="463217" y="571896"/>
                      </a:lnTo>
                      <a:lnTo>
                        <a:pt x="456417" y="566614"/>
                      </a:lnTo>
                      <a:lnTo>
                        <a:pt x="454413" y="564537"/>
                      </a:lnTo>
                      <a:lnTo>
                        <a:pt x="452142" y="560955"/>
                      </a:lnTo>
                      <a:lnTo>
                        <a:pt x="451584" y="560251"/>
                      </a:lnTo>
                      <a:lnTo>
                        <a:pt x="450552" y="559377"/>
                      </a:lnTo>
                      <a:lnTo>
                        <a:pt x="449908" y="559170"/>
                      </a:lnTo>
                      <a:lnTo>
                        <a:pt x="449228" y="559085"/>
                      </a:lnTo>
                      <a:lnTo>
                        <a:pt x="448402" y="559267"/>
                      </a:lnTo>
                      <a:lnTo>
                        <a:pt x="447649" y="559632"/>
                      </a:lnTo>
                      <a:lnTo>
                        <a:pt x="444298" y="561744"/>
                      </a:lnTo>
                      <a:lnTo>
                        <a:pt x="443484" y="562752"/>
                      </a:lnTo>
                      <a:lnTo>
                        <a:pt x="442549" y="564209"/>
                      </a:lnTo>
                      <a:lnTo>
                        <a:pt x="441590" y="566832"/>
                      </a:lnTo>
                      <a:lnTo>
                        <a:pt x="436429" y="573159"/>
                      </a:lnTo>
                      <a:lnTo>
                        <a:pt x="431645" y="576219"/>
                      </a:lnTo>
                      <a:lnTo>
                        <a:pt x="430819" y="577057"/>
                      </a:lnTo>
                      <a:lnTo>
                        <a:pt x="427116" y="579874"/>
                      </a:lnTo>
                      <a:lnTo>
                        <a:pt x="424432" y="581161"/>
                      </a:lnTo>
                      <a:lnTo>
                        <a:pt x="423655" y="581720"/>
                      </a:lnTo>
                      <a:lnTo>
                        <a:pt x="422271" y="583335"/>
                      </a:lnTo>
                      <a:lnTo>
                        <a:pt x="420401" y="584889"/>
                      </a:lnTo>
                      <a:lnTo>
                        <a:pt x="417134" y="586723"/>
                      </a:lnTo>
                      <a:lnTo>
                        <a:pt x="416126" y="587645"/>
                      </a:lnTo>
                      <a:lnTo>
                        <a:pt x="415471" y="588374"/>
                      </a:lnTo>
                      <a:lnTo>
                        <a:pt x="415531" y="588665"/>
                      </a:lnTo>
                      <a:lnTo>
                        <a:pt x="415422" y="589345"/>
                      </a:lnTo>
                      <a:lnTo>
                        <a:pt x="415434" y="590001"/>
                      </a:lnTo>
                      <a:lnTo>
                        <a:pt x="415689" y="590973"/>
                      </a:lnTo>
                      <a:lnTo>
                        <a:pt x="416236" y="592357"/>
                      </a:lnTo>
                      <a:lnTo>
                        <a:pt x="418106" y="596449"/>
                      </a:lnTo>
                      <a:lnTo>
                        <a:pt x="418737" y="599521"/>
                      </a:lnTo>
                      <a:lnTo>
                        <a:pt x="418081" y="601561"/>
                      </a:lnTo>
                      <a:lnTo>
                        <a:pt x="416527" y="602982"/>
                      </a:lnTo>
                      <a:lnTo>
                        <a:pt x="414912" y="603662"/>
                      </a:lnTo>
                      <a:lnTo>
                        <a:pt x="411961" y="604354"/>
                      </a:lnTo>
                      <a:lnTo>
                        <a:pt x="407529" y="604791"/>
                      </a:lnTo>
                      <a:lnTo>
                        <a:pt x="405963" y="605301"/>
                      </a:lnTo>
                      <a:lnTo>
                        <a:pt x="403898" y="606212"/>
                      </a:lnTo>
                      <a:lnTo>
                        <a:pt x="400741" y="610280"/>
                      </a:lnTo>
                      <a:lnTo>
                        <a:pt x="397803" y="612478"/>
                      </a:lnTo>
                      <a:lnTo>
                        <a:pt x="395702" y="612478"/>
                      </a:lnTo>
                      <a:lnTo>
                        <a:pt x="393638" y="611725"/>
                      </a:lnTo>
                      <a:lnTo>
                        <a:pt x="391913" y="610207"/>
                      </a:lnTo>
                      <a:lnTo>
                        <a:pt x="390517" y="608264"/>
                      </a:lnTo>
                      <a:lnTo>
                        <a:pt x="389582" y="606212"/>
                      </a:lnTo>
                      <a:lnTo>
                        <a:pt x="387590" y="598307"/>
                      </a:lnTo>
                      <a:lnTo>
                        <a:pt x="387396" y="597906"/>
                      </a:lnTo>
                      <a:lnTo>
                        <a:pt x="387080" y="597857"/>
                      </a:lnTo>
                      <a:lnTo>
                        <a:pt x="385247" y="598040"/>
                      </a:lnTo>
                      <a:lnTo>
                        <a:pt x="382867" y="597797"/>
                      </a:lnTo>
                      <a:lnTo>
                        <a:pt x="374306" y="594020"/>
                      </a:lnTo>
                      <a:lnTo>
                        <a:pt x="372230" y="591203"/>
                      </a:lnTo>
                      <a:lnTo>
                        <a:pt x="372764" y="588690"/>
                      </a:lnTo>
                      <a:lnTo>
                        <a:pt x="373978" y="586868"/>
                      </a:lnTo>
                      <a:lnTo>
                        <a:pt x="375107" y="586067"/>
                      </a:lnTo>
                      <a:lnTo>
                        <a:pt x="375399" y="585970"/>
                      </a:lnTo>
                      <a:lnTo>
                        <a:pt x="373517" y="584743"/>
                      </a:lnTo>
                      <a:lnTo>
                        <a:pt x="372266" y="582873"/>
                      </a:lnTo>
                      <a:lnTo>
                        <a:pt x="371513" y="580663"/>
                      </a:lnTo>
                      <a:lnTo>
                        <a:pt x="371295" y="579850"/>
                      </a:lnTo>
                      <a:lnTo>
                        <a:pt x="371950" y="577555"/>
                      </a:lnTo>
                      <a:lnTo>
                        <a:pt x="373711" y="575988"/>
                      </a:lnTo>
                      <a:lnTo>
                        <a:pt x="374415" y="575745"/>
                      </a:lnTo>
                      <a:lnTo>
                        <a:pt x="375897" y="575575"/>
                      </a:lnTo>
                      <a:lnTo>
                        <a:pt x="376844" y="575709"/>
                      </a:lnTo>
                      <a:lnTo>
                        <a:pt x="374670" y="572576"/>
                      </a:lnTo>
                      <a:lnTo>
                        <a:pt x="372910" y="572515"/>
                      </a:lnTo>
                      <a:lnTo>
                        <a:pt x="370493" y="573389"/>
                      </a:lnTo>
                      <a:lnTo>
                        <a:pt x="360767" y="574992"/>
                      </a:lnTo>
                      <a:lnTo>
                        <a:pt x="359625" y="574665"/>
                      </a:lnTo>
                      <a:lnTo>
                        <a:pt x="358739" y="574288"/>
                      </a:lnTo>
                      <a:lnTo>
                        <a:pt x="359055" y="575053"/>
                      </a:lnTo>
                      <a:lnTo>
                        <a:pt x="358132" y="578320"/>
                      </a:lnTo>
                      <a:lnTo>
                        <a:pt x="356881" y="579485"/>
                      </a:lnTo>
                      <a:lnTo>
                        <a:pt x="355193" y="580457"/>
                      </a:lnTo>
                      <a:lnTo>
                        <a:pt x="353784" y="580748"/>
                      </a:lnTo>
                      <a:lnTo>
                        <a:pt x="354537" y="580942"/>
                      </a:lnTo>
                      <a:lnTo>
                        <a:pt x="356492" y="581962"/>
                      </a:lnTo>
                      <a:lnTo>
                        <a:pt x="358702" y="584185"/>
                      </a:lnTo>
                      <a:lnTo>
                        <a:pt x="359188" y="584743"/>
                      </a:lnTo>
                      <a:lnTo>
                        <a:pt x="360062" y="588240"/>
                      </a:lnTo>
                      <a:lnTo>
                        <a:pt x="359079" y="592126"/>
                      </a:lnTo>
                      <a:lnTo>
                        <a:pt x="356031" y="595854"/>
                      </a:lnTo>
                      <a:lnTo>
                        <a:pt x="352242" y="596668"/>
                      </a:lnTo>
                      <a:lnTo>
                        <a:pt x="347992" y="596740"/>
                      </a:lnTo>
                      <a:lnTo>
                        <a:pt x="340585" y="590681"/>
                      </a:lnTo>
                      <a:lnTo>
                        <a:pt x="338873" y="590292"/>
                      </a:lnTo>
                      <a:lnTo>
                        <a:pt x="338521" y="590463"/>
                      </a:lnTo>
                      <a:lnTo>
                        <a:pt x="337149" y="591689"/>
                      </a:lnTo>
                      <a:lnTo>
                        <a:pt x="335060" y="592490"/>
                      </a:lnTo>
                      <a:lnTo>
                        <a:pt x="332729" y="592794"/>
                      </a:lnTo>
                      <a:lnTo>
                        <a:pt x="330628" y="592612"/>
                      </a:lnTo>
                      <a:lnTo>
                        <a:pt x="326159" y="591446"/>
                      </a:lnTo>
                      <a:lnTo>
                        <a:pt x="325334" y="593073"/>
                      </a:lnTo>
                      <a:lnTo>
                        <a:pt x="324787" y="595380"/>
                      </a:lnTo>
                      <a:lnTo>
                        <a:pt x="324447" y="597372"/>
                      </a:lnTo>
                      <a:lnTo>
                        <a:pt x="324532" y="599570"/>
                      </a:lnTo>
                      <a:lnTo>
                        <a:pt x="325929" y="604573"/>
                      </a:lnTo>
                      <a:lnTo>
                        <a:pt x="328369" y="611203"/>
                      </a:lnTo>
                      <a:lnTo>
                        <a:pt x="328891" y="614736"/>
                      </a:lnTo>
                      <a:lnTo>
                        <a:pt x="328673" y="619436"/>
                      </a:lnTo>
                      <a:lnTo>
                        <a:pt x="328721" y="621233"/>
                      </a:lnTo>
                      <a:lnTo>
                        <a:pt x="329207" y="622228"/>
                      </a:lnTo>
                      <a:lnTo>
                        <a:pt x="331271" y="623734"/>
                      </a:lnTo>
                      <a:lnTo>
                        <a:pt x="332194" y="625046"/>
                      </a:lnTo>
                      <a:lnTo>
                        <a:pt x="333093" y="627462"/>
                      </a:lnTo>
                      <a:lnTo>
                        <a:pt x="333481" y="630813"/>
                      </a:lnTo>
                      <a:lnTo>
                        <a:pt x="333882" y="632453"/>
                      </a:lnTo>
                      <a:lnTo>
                        <a:pt x="334344" y="633388"/>
                      </a:lnTo>
                      <a:lnTo>
                        <a:pt x="335497" y="635258"/>
                      </a:lnTo>
                      <a:lnTo>
                        <a:pt x="334854" y="637869"/>
                      </a:lnTo>
                      <a:lnTo>
                        <a:pt x="333518" y="640661"/>
                      </a:lnTo>
                      <a:lnTo>
                        <a:pt x="325540" y="646320"/>
                      </a:lnTo>
                      <a:lnTo>
                        <a:pt x="317016" y="640382"/>
                      </a:lnTo>
                      <a:lnTo>
                        <a:pt x="313154" y="636569"/>
                      </a:lnTo>
                      <a:lnTo>
                        <a:pt x="308953" y="636181"/>
                      </a:lnTo>
                      <a:lnTo>
                        <a:pt x="291491" y="638646"/>
                      </a:lnTo>
                      <a:lnTo>
                        <a:pt x="287703" y="636921"/>
                      </a:lnTo>
                      <a:lnTo>
                        <a:pt x="285480" y="634286"/>
                      </a:lnTo>
                      <a:lnTo>
                        <a:pt x="284436" y="630704"/>
                      </a:lnTo>
                      <a:lnTo>
                        <a:pt x="284048" y="628348"/>
                      </a:lnTo>
                      <a:lnTo>
                        <a:pt x="283963" y="627195"/>
                      </a:lnTo>
                      <a:lnTo>
                        <a:pt x="283586" y="626612"/>
                      </a:lnTo>
                      <a:lnTo>
                        <a:pt x="282809" y="625823"/>
                      </a:lnTo>
                      <a:lnTo>
                        <a:pt x="276434" y="622204"/>
                      </a:lnTo>
                      <a:lnTo>
                        <a:pt x="274953" y="616181"/>
                      </a:lnTo>
                      <a:lnTo>
                        <a:pt x="276592" y="611081"/>
                      </a:lnTo>
                      <a:lnTo>
                        <a:pt x="278486" y="609891"/>
                      </a:lnTo>
                      <a:lnTo>
                        <a:pt x="280332" y="609600"/>
                      </a:lnTo>
                      <a:lnTo>
                        <a:pt x="284643" y="610256"/>
                      </a:lnTo>
                      <a:lnTo>
                        <a:pt x="285165" y="609891"/>
                      </a:lnTo>
                      <a:lnTo>
                        <a:pt x="284910" y="609576"/>
                      </a:lnTo>
                      <a:lnTo>
                        <a:pt x="286245" y="608300"/>
                      </a:lnTo>
                      <a:lnTo>
                        <a:pt x="285796" y="607341"/>
                      </a:lnTo>
                      <a:lnTo>
                        <a:pt x="285286" y="607123"/>
                      </a:lnTo>
                      <a:lnTo>
                        <a:pt x="282214" y="605070"/>
                      </a:lnTo>
                      <a:lnTo>
                        <a:pt x="282639" y="602776"/>
                      </a:lnTo>
                      <a:lnTo>
                        <a:pt x="283076" y="601610"/>
                      </a:lnTo>
                      <a:lnTo>
                        <a:pt x="284327" y="599509"/>
                      </a:lnTo>
                      <a:lnTo>
                        <a:pt x="285626" y="598416"/>
                      </a:lnTo>
                      <a:lnTo>
                        <a:pt x="286513" y="597457"/>
                      </a:lnTo>
                      <a:lnTo>
                        <a:pt x="286476" y="596947"/>
                      </a:lnTo>
                      <a:lnTo>
                        <a:pt x="286828" y="594494"/>
                      </a:lnTo>
                      <a:lnTo>
                        <a:pt x="288067" y="591483"/>
                      </a:lnTo>
                      <a:lnTo>
                        <a:pt x="292135" y="587973"/>
                      </a:lnTo>
                      <a:lnTo>
                        <a:pt x="294575" y="584877"/>
                      </a:lnTo>
                      <a:lnTo>
                        <a:pt x="294648" y="584428"/>
                      </a:lnTo>
                      <a:lnTo>
                        <a:pt x="294333" y="584537"/>
                      </a:lnTo>
                      <a:lnTo>
                        <a:pt x="293883" y="584901"/>
                      </a:lnTo>
                      <a:lnTo>
                        <a:pt x="292560" y="586941"/>
                      </a:lnTo>
                      <a:lnTo>
                        <a:pt x="290751" y="588677"/>
                      </a:lnTo>
                      <a:lnTo>
                        <a:pt x="288030" y="589576"/>
                      </a:lnTo>
                      <a:lnTo>
                        <a:pt x="286634" y="589127"/>
                      </a:lnTo>
                      <a:lnTo>
                        <a:pt x="285225" y="588508"/>
                      </a:lnTo>
                      <a:lnTo>
                        <a:pt x="280526" y="585144"/>
                      </a:lnTo>
                      <a:lnTo>
                        <a:pt x="278401" y="582509"/>
                      </a:lnTo>
                      <a:lnTo>
                        <a:pt x="277818" y="579412"/>
                      </a:lnTo>
                      <a:lnTo>
                        <a:pt x="279251" y="575903"/>
                      </a:lnTo>
                      <a:lnTo>
                        <a:pt x="280915" y="574276"/>
                      </a:lnTo>
                      <a:lnTo>
                        <a:pt x="283088" y="572782"/>
                      </a:lnTo>
                      <a:lnTo>
                        <a:pt x="285663" y="571592"/>
                      </a:lnTo>
                      <a:lnTo>
                        <a:pt x="289913" y="570111"/>
                      </a:lnTo>
                      <a:lnTo>
                        <a:pt x="290520" y="569649"/>
                      </a:lnTo>
                      <a:lnTo>
                        <a:pt x="291528" y="568678"/>
                      </a:lnTo>
                      <a:lnTo>
                        <a:pt x="292924" y="565946"/>
                      </a:lnTo>
                      <a:lnTo>
                        <a:pt x="294879" y="563566"/>
                      </a:lnTo>
                      <a:lnTo>
                        <a:pt x="297939" y="562206"/>
                      </a:lnTo>
                      <a:lnTo>
                        <a:pt x="301096" y="563408"/>
                      </a:lnTo>
                      <a:lnTo>
                        <a:pt x="301825" y="564258"/>
                      </a:lnTo>
                      <a:lnTo>
                        <a:pt x="301327" y="563517"/>
                      </a:lnTo>
                      <a:lnTo>
                        <a:pt x="299712" y="561951"/>
                      </a:lnTo>
                      <a:lnTo>
                        <a:pt x="298607" y="560676"/>
                      </a:lnTo>
                      <a:lnTo>
                        <a:pt x="296458" y="555612"/>
                      </a:lnTo>
                      <a:lnTo>
                        <a:pt x="294211" y="551945"/>
                      </a:lnTo>
                      <a:lnTo>
                        <a:pt x="281607" y="535746"/>
                      </a:lnTo>
                      <a:lnTo>
                        <a:pt x="273277" y="527684"/>
                      </a:lnTo>
                      <a:lnTo>
                        <a:pt x="268796" y="523919"/>
                      </a:lnTo>
                      <a:lnTo>
                        <a:pt x="267278" y="523652"/>
                      </a:lnTo>
                      <a:lnTo>
                        <a:pt x="264801" y="523118"/>
                      </a:lnTo>
                      <a:lnTo>
                        <a:pt x="259762" y="521284"/>
                      </a:lnTo>
                      <a:lnTo>
                        <a:pt x="256580" y="518953"/>
                      </a:lnTo>
                      <a:lnTo>
                        <a:pt x="255135" y="518673"/>
                      </a:lnTo>
                      <a:lnTo>
                        <a:pt x="254127" y="519171"/>
                      </a:lnTo>
                      <a:lnTo>
                        <a:pt x="251274" y="519645"/>
                      </a:lnTo>
                      <a:lnTo>
                        <a:pt x="250375" y="519730"/>
                      </a:lnTo>
                      <a:lnTo>
                        <a:pt x="246805" y="517860"/>
                      </a:lnTo>
                      <a:lnTo>
                        <a:pt x="245385" y="513294"/>
                      </a:lnTo>
                      <a:lnTo>
                        <a:pt x="246016" y="510428"/>
                      </a:lnTo>
                      <a:lnTo>
                        <a:pt x="246380" y="509493"/>
                      </a:lnTo>
                      <a:lnTo>
                        <a:pt x="245433" y="508583"/>
                      </a:lnTo>
                      <a:lnTo>
                        <a:pt x="242482" y="507283"/>
                      </a:lnTo>
                      <a:lnTo>
                        <a:pt x="233484" y="500228"/>
                      </a:lnTo>
                      <a:lnTo>
                        <a:pt x="228008" y="492542"/>
                      </a:lnTo>
                      <a:lnTo>
                        <a:pt x="225227" y="490344"/>
                      </a:lnTo>
                      <a:lnTo>
                        <a:pt x="223855" y="488765"/>
                      </a:lnTo>
                      <a:lnTo>
                        <a:pt x="218949" y="481893"/>
                      </a:lnTo>
                      <a:lnTo>
                        <a:pt x="216618" y="479464"/>
                      </a:lnTo>
                      <a:lnTo>
                        <a:pt x="213218" y="474777"/>
                      </a:lnTo>
                      <a:lnTo>
                        <a:pt x="210413" y="469106"/>
                      </a:lnTo>
                      <a:lnTo>
                        <a:pt x="204645" y="451232"/>
                      </a:lnTo>
                      <a:lnTo>
                        <a:pt x="201063" y="443800"/>
                      </a:lnTo>
                      <a:lnTo>
                        <a:pt x="200188" y="440886"/>
                      </a:lnTo>
                      <a:lnTo>
                        <a:pt x="200371" y="436563"/>
                      </a:lnTo>
                      <a:lnTo>
                        <a:pt x="199885" y="434474"/>
                      </a:lnTo>
                      <a:lnTo>
                        <a:pt x="196910" y="430151"/>
                      </a:lnTo>
                      <a:lnTo>
                        <a:pt x="195501" y="425974"/>
                      </a:lnTo>
                      <a:lnTo>
                        <a:pt x="193862" y="419903"/>
                      </a:lnTo>
                      <a:lnTo>
                        <a:pt x="192405" y="415289"/>
                      </a:lnTo>
                      <a:lnTo>
                        <a:pt x="192769" y="413285"/>
                      </a:lnTo>
                      <a:lnTo>
                        <a:pt x="193522" y="410783"/>
                      </a:lnTo>
                      <a:lnTo>
                        <a:pt x="195222" y="409326"/>
                      </a:lnTo>
                      <a:lnTo>
                        <a:pt x="197978" y="407541"/>
                      </a:lnTo>
                      <a:lnTo>
                        <a:pt x="198768" y="406910"/>
                      </a:lnTo>
                      <a:lnTo>
                        <a:pt x="199326" y="405720"/>
                      </a:lnTo>
                      <a:lnTo>
                        <a:pt x="199156" y="404530"/>
                      </a:lnTo>
                      <a:lnTo>
                        <a:pt x="198719" y="403121"/>
                      </a:lnTo>
                      <a:lnTo>
                        <a:pt x="198209" y="402150"/>
                      </a:lnTo>
                      <a:lnTo>
                        <a:pt x="197359" y="402065"/>
                      </a:lnTo>
                      <a:lnTo>
                        <a:pt x="189746" y="399393"/>
                      </a:lnTo>
                      <a:lnTo>
                        <a:pt x="187305" y="397693"/>
                      </a:lnTo>
                      <a:lnTo>
                        <a:pt x="181318" y="388829"/>
                      </a:lnTo>
                      <a:lnTo>
                        <a:pt x="178283" y="385101"/>
                      </a:lnTo>
                      <a:lnTo>
                        <a:pt x="176510" y="382418"/>
                      </a:lnTo>
                      <a:lnTo>
                        <a:pt x="175283" y="379746"/>
                      </a:lnTo>
                      <a:lnTo>
                        <a:pt x="174883" y="376917"/>
                      </a:lnTo>
                      <a:lnTo>
                        <a:pt x="174931" y="374804"/>
                      </a:lnTo>
                      <a:lnTo>
                        <a:pt x="175223" y="373529"/>
                      </a:lnTo>
                      <a:lnTo>
                        <a:pt x="174798" y="372242"/>
                      </a:lnTo>
                      <a:lnTo>
                        <a:pt x="173486" y="370675"/>
                      </a:lnTo>
                      <a:lnTo>
                        <a:pt x="172381" y="367943"/>
                      </a:lnTo>
                      <a:lnTo>
                        <a:pt x="171980" y="365976"/>
                      </a:lnTo>
                      <a:lnTo>
                        <a:pt x="172211" y="363620"/>
                      </a:lnTo>
                      <a:lnTo>
                        <a:pt x="172333" y="363013"/>
                      </a:lnTo>
                      <a:lnTo>
                        <a:pt x="173098" y="361847"/>
                      </a:lnTo>
                      <a:lnTo>
                        <a:pt x="174360" y="360621"/>
                      </a:lnTo>
                      <a:lnTo>
                        <a:pt x="175514" y="360014"/>
                      </a:lnTo>
                      <a:lnTo>
                        <a:pt x="178064" y="359455"/>
                      </a:lnTo>
                      <a:lnTo>
                        <a:pt x="178113" y="358205"/>
                      </a:lnTo>
                      <a:lnTo>
                        <a:pt x="177821" y="357500"/>
                      </a:lnTo>
                      <a:lnTo>
                        <a:pt x="175708" y="353894"/>
                      </a:lnTo>
                      <a:lnTo>
                        <a:pt x="175150" y="350943"/>
                      </a:lnTo>
                      <a:lnTo>
                        <a:pt x="173826" y="351490"/>
                      </a:lnTo>
                      <a:lnTo>
                        <a:pt x="172005" y="353396"/>
                      </a:lnTo>
                      <a:lnTo>
                        <a:pt x="169989" y="355120"/>
                      </a:lnTo>
                      <a:lnTo>
                        <a:pt x="168010" y="355290"/>
                      </a:lnTo>
                      <a:lnTo>
                        <a:pt x="166164" y="354817"/>
                      </a:lnTo>
                      <a:lnTo>
                        <a:pt x="163905" y="353384"/>
                      </a:lnTo>
                      <a:lnTo>
                        <a:pt x="162691" y="351417"/>
                      </a:lnTo>
                      <a:lnTo>
                        <a:pt x="161987" y="348915"/>
                      </a:lnTo>
                      <a:lnTo>
                        <a:pt x="162060" y="346669"/>
                      </a:lnTo>
                      <a:lnTo>
                        <a:pt x="163189" y="342504"/>
                      </a:lnTo>
                      <a:lnTo>
                        <a:pt x="157652" y="345236"/>
                      </a:lnTo>
                      <a:lnTo>
                        <a:pt x="156328" y="348660"/>
                      </a:lnTo>
                      <a:lnTo>
                        <a:pt x="155235" y="349425"/>
                      </a:lnTo>
                      <a:lnTo>
                        <a:pt x="152260" y="350639"/>
                      </a:lnTo>
                      <a:lnTo>
                        <a:pt x="147694" y="351490"/>
                      </a:lnTo>
                      <a:lnTo>
                        <a:pt x="143530" y="351332"/>
                      </a:lnTo>
                      <a:lnTo>
                        <a:pt x="139729" y="348721"/>
                      </a:lnTo>
                      <a:lnTo>
                        <a:pt x="138332" y="347531"/>
                      </a:lnTo>
                      <a:lnTo>
                        <a:pt x="136414" y="349474"/>
                      </a:lnTo>
                      <a:lnTo>
                        <a:pt x="133742" y="351453"/>
                      </a:lnTo>
                      <a:lnTo>
                        <a:pt x="129237" y="352206"/>
                      </a:lnTo>
                      <a:lnTo>
                        <a:pt x="128193" y="352655"/>
                      </a:lnTo>
                      <a:lnTo>
                        <a:pt x="125983" y="354100"/>
                      </a:lnTo>
                      <a:lnTo>
                        <a:pt x="123518" y="354841"/>
                      </a:lnTo>
                      <a:lnTo>
                        <a:pt x="121381" y="355096"/>
                      </a:lnTo>
                      <a:lnTo>
                        <a:pt x="118989" y="354938"/>
                      </a:lnTo>
                      <a:lnTo>
                        <a:pt x="116366" y="353821"/>
                      </a:lnTo>
                      <a:lnTo>
                        <a:pt x="114301" y="351866"/>
                      </a:lnTo>
                      <a:lnTo>
                        <a:pt x="111909" y="346462"/>
                      </a:lnTo>
                      <a:lnTo>
                        <a:pt x="110950" y="344835"/>
                      </a:lnTo>
                      <a:lnTo>
                        <a:pt x="110501" y="344349"/>
                      </a:lnTo>
                      <a:lnTo>
                        <a:pt x="109323" y="343864"/>
                      </a:lnTo>
                      <a:lnTo>
                        <a:pt x="108521" y="343912"/>
                      </a:lnTo>
                      <a:lnTo>
                        <a:pt x="104903" y="345879"/>
                      </a:lnTo>
                      <a:lnTo>
                        <a:pt x="103555" y="346074"/>
                      </a:lnTo>
                      <a:lnTo>
                        <a:pt x="101515" y="346013"/>
                      </a:lnTo>
                      <a:lnTo>
                        <a:pt x="99171" y="345552"/>
                      </a:lnTo>
                      <a:lnTo>
                        <a:pt x="97471" y="344884"/>
                      </a:lnTo>
                      <a:lnTo>
                        <a:pt x="95201" y="342880"/>
                      </a:lnTo>
                      <a:lnTo>
                        <a:pt x="93586" y="340500"/>
                      </a:lnTo>
                      <a:lnTo>
                        <a:pt x="91218" y="335728"/>
                      </a:lnTo>
                      <a:lnTo>
                        <a:pt x="89433" y="330822"/>
                      </a:lnTo>
                      <a:lnTo>
                        <a:pt x="88959" y="328661"/>
                      </a:lnTo>
                      <a:lnTo>
                        <a:pt x="88607" y="327884"/>
                      </a:lnTo>
                      <a:lnTo>
                        <a:pt x="87951" y="327179"/>
                      </a:lnTo>
                      <a:lnTo>
                        <a:pt x="85158" y="325309"/>
                      </a:lnTo>
                      <a:lnTo>
                        <a:pt x="83811" y="324654"/>
                      </a:lnTo>
                      <a:lnTo>
                        <a:pt x="81746" y="323961"/>
                      </a:lnTo>
                      <a:lnTo>
                        <a:pt x="78456" y="323233"/>
                      </a:lnTo>
                      <a:lnTo>
                        <a:pt x="76452" y="322504"/>
                      </a:lnTo>
                      <a:lnTo>
                        <a:pt x="73028" y="320525"/>
                      </a:lnTo>
                      <a:lnTo>
                        <a:pt x="71158" y="320853"/>
                      </a:lnTo>
                      <a:lnTo>
                        <a:pt x="69664" y="321606"/>
                      </a:lnTo>
                      <a:lnTo>
                        <a:pt x="68304" y="322650"/>
                      </a:lnTo>
                      <a:lnTo>
                        <a:pt x="66276" y="324471"/>
                      </a:lnTo>
                      <a:lnTo>
                        <a:pt x="64722" y="326196"/>
                      </a:lnTo>
                      <a:lnTo>
                        <a:pt x="62415" y="327871"/>
                      </a:lnTo>
                      <a:lnTo>
                        <a:pt x="59816" y="328697"/>
                      </a:lnTo>
                      <a:lnTo>
                        <a:pt x="56100" y="328673"/>
                      </a:lnTo>
                      <a:lnTo>
                        <a:pt x="49240" y="327337"/>
                      </a:lnTo>
                      <a:lnTo>
                        <a:pt x="43957" y="328236"/>
                      </a:lnTo>
                      <a:lnTo>
                        <a:pt x="40995" y="328272"/>
                      </a:lnTo>
                      <a:lnTo>
                        <a:pt x="40400" y="328466"/>
                      </a:lnTo>
                      <a:lnTo>
                        <a:pt x="40230" y="328697"/>
                      </a:lnTo>
                      <a:lnTo>
                        <a:pt x="40230" y="329231"/>
                      </a:lnTo>
                      <a:lnTo>
                        <a:pt x="39683" y="332049"/>
                      </a:lnTo>
                      <a:lnTo>
                        <a:pt x="38360" y="334198"/>
                      </a:lnTo>
                      <a:lnTo>
                        <a:pt x="37012" y="334975"/>
                      </a:lnTo>
                      <a:lnTo>
                        <a:pt x="35312" y="335509"/>
                      </a:lnTo>
                      <a:lnTo>
                        <a:pt x="33575" y="335534"/>
                      </a:lnTo>
                      <a:lnTo>
                        <a:pt x="30467" y="335036"/>
                      </a:lnTo>
                      <a:lnTo>
                        <a:pt x="28427" y="333397"/>
                      </a:lnTo>
                      <a:lnTo>
                        <a:pt x="26629" y="331041"/>
                      </a:lnTo>
                      <a:lnTo>
                        <a:pt x="24602" y="326426"/>
                      </a:lnTo>
                      <a:lnTo>
                        <a:pt x="23351" y="324569"/>
                      </a:lnTo>
                      <a:lnTo>
                        <a:pt x="20679" y="321363"/>
                      </a:lnTo>
                      <a:lnTo>
                        <a:pt x="19477" y="319214"/>
                      </a:lnTo>
                      <a:lnTo>
                        <a:pt x="18227" y="316275"/>
                      </a:lnTo>
                      <a:lnTo>
                        <a:pt x="16381" y="313871"/>
                      </a:lnTo>
                      <a:lnTo>
                        <a:pt x="15737" y="313191"/>
                      </a:lnTo>
                      <a:lnTo>
                        <a:pt x="14693" y="311066"/>
                      </a:lnTo>
                      <a:lnTo>
                        <a:pt x="14438" y="310422"/>
                      </a:lnTo>
                      <a:lnTo>
                        <a:pt x="14608" y="308163"/>
                      </a:lnTo>
                      <a:lnTo>
                        <a:pt x="16077" y="304156"/>
                      </a:lnTo>
                      <a:lnTo>
                        <a:pt x="18287" y="302578"/>
                      </a:lnTo>
                      <a:lnTo>
                        <a:pt x="20509" y="301728"/>
                      </a:lnTo>
                      <a:lnTo>
                        <a:pt x="27018" y="301849"/>
                      </a:lnTo>
                      <a:lnTo>
                        <a:pt x="27613" y="301691"/>
                      </a:lnTo>
                      <a:lnTo>
                        <a:pt x="28014" y="301023"/>
                      </a:lnTo>
                      <a:lnTo>
                        <a:pt x="28342" y="299615"/>
                      </a:lnTo>
                      <a:lnTo>
                        <a:pt x="28912" y="293519"/>
                      </a:lnTo>
                      <a:lnTo>
                        <a:pt x="28767" y="292948"/>
                      </a:lnTo>
                      <a:lnTo>
                        <a:pt x="27309" y="290690"/>
                      </a:lnTo>
                      <a:lnTo>
                        <a:pt x="24347" y="287496"/>
                      </a:lnTo>
                      <a:lnTo>
                        <a:pt x="22634" y="284436"/>
                      </a:lnTo>
                      <a:lnTo>
                        <a:pt x="21663" y="280210"/>
                      </a:lnTo>
                      <a:lnTo>
                        <a:pt x="23229" y="261984"/>
                      </a:lnTo>
                      <a:lnTo>
                        <a:pt x="24164" y="258098"/>
                      </a:lnTo>
                      <a:lnTo>
                        <a:pt x="27030" y="250545"/>
                      </a:lnTo>
                      <a:lnTo>
                        <a:pt x="27516" y="247777"/>
                      </a:lnTo>
                      <a:lnTo>
                        <a:pt x="27370" y="246842"/>
                      </a:lnTo>
                      <a:lnTo>
                        <a:pt x="26897" y="246077"/>
                      </a:lnTo>
                      <a:lnTo>
                        <a:pt x="25379" y="247582"/>
                      </a:lnTo>
                      <a:lnTo>
                        <a:pt x="24164" y="248190"/>
                      </a:lnTo>
                      <a:lnTo>
                        <a:pt x="21845" y="248651"/>
                      </a:lnTo>
                      <a:lnTo>
                        <a:pt x="19562" y="248627"/>
                      </a:lnTo>
                      <a:lnTo>
                        <a:pt x="18834" y="248857"/>
                      </a:lnTo>
                      <a:lnTo>
                        <a:pt x="18542" y="249246"/>
                      </a:lnTo>
                      <a:lnTo>
                        <a:pt x="16842" y="250655"/>
                      </a:lnTo>
                      <a:lnTo>
                        <a:pt x="14766" y="251735"/>
                      </a:lnTo>
                      <a:lnTo>
                        <a:pt x="12580" y="252403"/>
                      </a:lnTo>
                      <a:lnTo>
                        <a:pt x="10516" y="252610"/>
                      </a:lnTo>
                      <a:lnTo>
                        <a:pt x="8160" y="252440"/>
                      </a:lnTo>
                      <a:lnTo>
                        <a:pt x="5598" y="251747"/>
                      </a:lnTo>
                      <a:lnTo>
                        <a:pt x="2635" y="250351"/>
                      </a:lnTo>
                      <a:lnTo>
                        <a:pt x="534" y="247667"/>
                      </a:lnTo>
                      <a:lnTo>
                        <a:pt x="0" y="244632"/>
                      </a:lnTo>
                      <a:lnTo>
                        <a:pt x="316" y="239896"/>
                      </a:lnTo>
                      <a:lnTo>
                        <a:pt x="1396" y="235913"/>
                      </a:lnTo>
                      <a:lnTo>
                        <a:pt x="3364" y="231784"/>
                      </a:lnTo>
                      <a:lnTo>
                        <a:pt x="4966" y="229599"/>
                      </a:lnTo>
                      <a:lnTo>
                        <a:pt x="6472" y="228299"/>
                      </a:lnTo>
                      <a:lnTo>
                        <a:pt x="8743" y="227680"/>
                      </a:lnTo>
                      <a:lnTo>
                        <a:pt x="14013" y="225349"/>
                      </a:lnTo>
                      <a:lnTo>
                        <a:pt x="15470" y="224401"/>
                      </a:lnTo>
                      <a:lnTo>
                        <a:pt x="16308" y="223479"/>
                      </a:lnTo>
                      <a:lnTo>
                        <a:pt x="16818" y="222471"/>
                      </a:lnTo>
                      <a:lnTo>
                        <a:pt x="17024" y="221414"/>
                      </a:lnTo>
                      <a:lnTo>
                        <a:pt x="16599" y="220382"/>
                      </a:lnTo>
                      <a:lnTo>
                        <a:pt x="15057" y="218876"/>
                      </a:lnTo>
                      <a:lnTo>
                        <a:pt x="13879" y="218209"/>
                      </a:lnTo>
                      <a:lnTo>
                        <a:pt x="11779" y="216059"/>
                      </a:lnTo>
                      <a:lnTo>
                        <a:pt x="10176" y="213691"/>
                      </a:lnTo>
                      <a:lnTo>
                        <a:pt x="10868" y="202520"/>
                      </a:lnTo>
                      <a:lnTo>
                        <a:pt x="25925" y="206126"/>
                      </a:lnTo>
                      <a:lnTo>
                        <a:pt x="36562" y="210134"/>
                      </a:lnTo>
                      <a:lnTo>
                        <a:pt x="37425" y="210121"/>
                      </a:lnTo>
                      <a:lnTo>
                        <a:pt x="37971" y="209429"/>
                      </a:lnTo>
                      <a:lnTo>
                        <a:pt x="39295" y="206855"/>
                      </a:lnTo>
                      <a:lnTo>
                        <a:pt x="40521" y="205216"/>
                      </a:lnTo>
                      <a:lnTo>
                        <a:pt x="41942" y="203856"/>
                      </a:lnTo>
                      <a:lnTo>
                        <a:pt x="48450" y="199460"/>
                      </a:lnTo>
                      <a:lnTo>
                        <a:pt x="50600" y="198525"/>
                      </a:lnTo>
                      <a:lnTo>
                        <a:pt x="52421" y="198112"/>
                      </a:lnTo>
                      <a:lnTo>
                        <a:pt x="56622" y="198112"/>
                      </a:lnTo>
                      <a:lnTo>
                        <a:pt x="60363" y="197675"/>
                      </a:lnTo>
                      <a:lnTo>
                        <a:pt x="67187" y="195586"/>
                      </a:lnTo>
                      <a:lnTo>
                        <a:pt x="69494" y="195258"/>
                      </a:lnTo>
                      <a:lnTo>
                        <a:pt x="71886" y="195586"/>
                      </a:lnTo>
                      <a:lnTo>
                        <a:pt x="72918" y="195805"/>
                      </a:lnTo>
                      <a:lnTo>
                        <a:pt x="74460" y="197675"/>
                      </a:lnTo>
                      <a:lnTo>
                        <a:pt x="75553" y="199399"/>
                      </a:lnTo>
                      <a:lnTo>
                        <a:pt x="77496" y="200213"/>
                      </a:lnTo>
                      <a:lnTo>
                        <a:pt x="86761" y="201779"/>
                      </a:lnTo>
                      <a:lnTo>
                        <a:pt x="89469" y="202751"/>
                      </a:lnTo>
                      <a:lnTo>
                        <a:pt x="90696" y="203479"/>
                      </a:lnTo>
                      <a:lnTo>
                        <a:pt x="93051" y="205471"/>
                      </a:lnTo>
                      <a:lnTo>
                        <a:pt x="93950" y="206734"/>
                      </a:lnTo>
                      <a:lnTo>
                        <a:pt x="94739" y="208688"/>
                      </a:lnTo>
                      <a:lnTo>
                        <a:pt x="95201" y="211008"/>
                      </a:lnTo>
                      <a:lnTo>
                        <a:pt x="95516" y="211955"/>
                      </a:lnTo>
                      <a:lnTo>
                        <a:pt x="95905" y="212319"/>
                      </a:lnTo>
                      <a:lnTo>
                        <a:pt x="100179" y="214942"/>
                      </a:lnTo>
                      <a:lnTo>
                        <a:pt x="101624" y="216193"/>
                      </a:lnTo>
                      <a:lnTo>
                        <a:pt x="102838" y="217480"/>
                      </a:lnTo>
                      <a:lnTo>
                        <a:pt x="104466" y="218524"/>
                      </a:lnTo>
                      <a:lnTo>
                        <a:pt x="105304" y="218549"/>
                      </a:lnTo>
                      <a:lnTo>
                        <a:pt x="107416" y="218039"/>
                      </a:lnTo>
                      <a:lnTo>
                        <a:pt x="112298" y="216424"/>
                      </a:lnTo>
                      <a:lnTo>
                        <a:pt x="115054" y="215901"/>
                      </a:lnTo>
                      <a:lnTo>
                        <a:pt x="116147" y="215525"/>
                      </a:lnTo>
                      <a:lnTo>
                        <a:pt x="116366" y="213801"/>
                      </a:lnTo>
                      <a:lnTo>
                        <a:pt x="116414" y="212477"/>
                      </a:lnTo>
                      <a:lnTo>
                        <a:pt x="116997" y="210474"/>
                      </a:lnTo>
                      <a:lnTo>
                        <a:pt x="117884" y="209393"/>
                      </a:lnTo>
                      <a:lnTo>
                        <a:pt x="119341" y="208215"/>
                      </a:lnTo>
                      <a:lnTo>
                        <a:pt x="122595" y="206904"/>
                      </a:lnTo>
                      <a:lnTo>
                        <a:pt x="125764" y="208968"/>
                      </a:lnTo>
                      <a:lnTo>
                        <a:pt x="127136" y="211299"/>
                      </a:lnTo>
                      <a:lnTo>
                        <a:pt x="127404" y="213521"/>
                      </a:lnTo>
                      <a:lnTo>
                        <a:pt x="127416" y="215586"/>
                      </a:lnTo>
                      <a:lnTo>
                        <a:pt x="127294" y="217650"/>
                      </a:lnTo>
                      <a:lnTo>
                        <a:pt x="126882" y="219678"/>
                      </a:lnTo>
                      <a:lnTo>
                        <a:pt x="126068" y="221839"/>
                      </a:lnTo>
                      <a:lnTo>
                        <a:pt x="125412" y="222556"/>
                      </a:lnTo>
                      <a:lnTo>
                        <a:pt x="125679" y="222981"/>
                      </a:lnTo>
                      <a:lnTo>
                        <a:pt x="126092" y="224074"/>
                      </a:lnTo>
                      <a:lnTo>
                        <a:pt x="126347" y="226624"/>
                      </a:lnTo>
                      <a:lnTo>
                        <a:pt x="125886" y="229404"/>
                      </a:lnTo>
                      <a:lnTo>
                        <a:pt x="126019" y="229696"/>
                      </a:lnTo>
                      <a:lnTo>
                        <a:pt x="129869" y="231627"/>
                      </a:lnTo>
                      <a:lnTo>
                        <a:pt x="130512" y="232185"/>
                      </a:lnTo>
                      <a:lnTo>
                        <a:pt x="131034" y="231019"/>
                      </a:lnTo>
                      <a:lnTo>
                        <a:pt x="132698" y="229004"/>
                      </a:lnTo>
                      <a:lnTo>
                        <a:pt x="134155" y="228093"/>
                      </a:lnTo>
                      <a:lnTo>
                        <a:pt x="136912" y="226927"/>
                      </a:lnTo>
                      <a:lnTo>
                        <a:pt x="139911" y="226223"/>
                      </a:lnTo>
                      <a:lnTo>
                        <a:pt x="141684" y="226976"/>
                      </a:lnTo>
                      <a:lnTo>
                        <a:pt x="143153" y="228214"/>
                      </a:lnTo>
                      <a:lnTo>
                        <a:pt x="143517" y="228797"/>
                      </a:lnTo>
                      <a:lnTo>
                        <a:pt x="144222" y="230522"/>
                      </a:lnTo>
                      <a:lnTo>
                        <a:pt x="144513" y="233242"/>
                      </a:lnTo>
                      <a:lnTo>
                        <a:pt x="144841" y="234322"/>
                      </a:lnTo>
                      <a:lnTo>
                        <a:pt x="146820" y="237504"/>
                      </a:lnTo>
                      <a:lnTo>
                        <a:pt x="150087" y="241657"/>
                      </a:lnTo>
                      <a:lnTo>
                        <a:pt x="151435" y="244061"/>
                      </a:lnTo>
                      <a:lnTo>
                        <a:pt x="151920" y="245324"/>
                      </a:lnTo>
                      <a:lnTo>
                        <a:pt x="151920" y="246951"/>
                      </a:lnTo>
                      <a:lnTo>
                        <a:pt x="150755" y="249562"/>
                      </a:lnTo>
                      <a:lnTo>
                        <a:pt x="150354" y="249817"/>
                      </a:lnTo>
                      <a:lnTo>
                        <a:pt x="149249" y="250290"/>
                      </a:lnTo>
                      <a:lnTo>
                        <a:pt x="148132" y="250521"/>
                      </a:lnTo>
                      <a:lnTo>
                        <a:pt x="146747" y="250630"/>
                      </a:lnTo>
                      <a:lnTo>
                        <a:pt x="145897" y="250618"/>
                      </a:lnTo>
                      <a:lnTo>
                        <a:pt x="146213" y="252925"/>
                      </a:lnTo>
                      <a:lnTo>
                        <a:pt x="146310" y="254662"/>
                      </a:lnTo>
                      <a:lnTo>
                        <a:pt x="146237" y="255293"/>
                      </a:lnTo>
                      <a:lnTo>
                        <a:pt x="145837" y="256957"/>
                      </a:lnTo>
                      <a:lnTo>
                        <a:pt x="145497" y="257540"/>
                      </a:lnTo>
                      <a:lnTo>
                        <a:pt x="144659" y="258414"/>
                      </a:lnTo>
                      <a:lnTo>
                        <a:pt x="143505" y="259215"/>
                      </a:lnTo>
                      <a:lnTo>
                        <a:pt x="140919" y="260672"/>
                      </a:lnTo>
                      <a:lnTo>
                        <a:pt x="143092" y="262858"/>
                      </a:lnTo>
                      <a:lnTo>
                        <a:pt x="143505" y="264012"/>
                      </a:lnTo>
                      <a:lnTo>
                        <a:pt x="143784" y="265311"/>
                      </a:lnTo>
                      <a:lnTo>
                        <a:pt x="143784" y="265930"/>
                      </a:lnTo>
                      <a:lnTo>
                        <a:pt x="143384" y="267995"/>
                      </a:lnTo>
                      <a:lnTo>
                        <a:pt x="145181" y="269427"/>
                      </a:lnTo>
                      <a:lnTo>
                        <a:pt x="146699" y="271115"/>
                      </a:lnTo>
                      <a:lnTo>
                        <a:pt x="148071" y="273374"/>
                      </a:lnTo>
                      <a:lnTo>
                        <a:pt x="148399" y="274770"/>
                      </a:lnTo>
                      <a:lnTo>
                        <a:pt x="145582" y="276483"/>
                      </a:lnTo>
                      <a:lnTo>
                        <a:pt x="148714" y="276434"/>
                      </a:lnTo>
                      <a:lnTo>
                        <a:pt x="149564" y="278098"/>
                      </a:lnTo>
                      <a:lnTo>
                        <a:pt x="150123" y="279700"/>
                      </a:lnTo>
                      <a:lnTo>
                        <a:pt x="150779" y="282372"/>
                      </a:lnTo>
                      <a:lnTo>
                        <a:pt x="153195" y="281060"/>
                      </a:lnTo>
                      <a:lnTo>
                        <a:pt x="158089" y="279931"/>
                      </a:lnTo>
                      <a:lnTo>
                        <a:pt x="157761" y="279178"/>
                      </a:lnTo>
                      <a:lnTo>
                        <a:pt x="156984" y="278158"/>
                      </a:lnTo>
                      <a:lnTo>
                        <a:pt x="155636" y="275839"/>
                      </a:lnTo>
                      <a:lnTo>
                        <a:pt x="155855" y="272864"/>
                      </a:lnTo>
                      <a:lnTo>
                        <a:pt x="157275" y="269294"/>
                      </a:lnTo>
                      <a:lnTo>
                        <a:pt x="160530" y="263878"/>
                      </a:lnTo>
                      <a:lnTo>
                        <a:pt x="163711" y="261656"/>
                      </a:lnTo>
                      <a:lnTo>
                        <a:pt x="165945" y="261632"/>
                      </a:lnTo>
                      <a:lnTo>
                        <a:pt x="165909" y="261474"/>
                      </a:lnTo>
                      <a:lnTo>
                        <a:pt x="166200" y="258365"/>
                      </a:lnTo>
                      <a:lnTo>
                        <a:pt x="168495" y="255888"/>
                      </a:lnTo>
                      <a:lnTo>
                        <a:pt x="173098" y="252039"/>
                      </a:lnTo>
                      <a:lnTo>
                        <a:pt x="174130" y="250594"/>
                      </a:lnTo>
                      <a:lnTo>
                        <a:pt x="178416" y="242956"/>
                      </a:lnTo>
                      <a:lnTo>
                        <a:pt x="182982" y="237467"/>
                      </a:lnTo>
                      <a:lnTo>
                        <a:pt x="185848" y="232889"/>
                      </a:lnTo>
                      <a:lnTo>
                        <a:pt x="188762" y="231481"/>
                      </a:lnTo>
                      <a:lnTo>
                        <a:pt x="191373" y="231918"/>
                      </a:lnTo>
                      <a:lnTo>
                        <a:pt x="195343" y="233679"/>
                      </a:lnTo>
                      <a:lnTo>
                        <a:pt x="201403" y="236217"/>
                      </a:lnTo>
                      <a:lnTo>
                        <a:pt x="204050" y="236277"/>
                      </a:lnTo>
                      <a:lnTo>
                        <a:pt x="205944" y="235974"/>
                      </a:lnTo>
                      <a:lnTo>
                        <a:pt x="208251" y="236836"/>
                      </a:lnTo>
                      <a:lnTo>
                        <a:pt x="213861" y="240175"/>
                      </a:lnTo>
                      <a:lnTo>
                        <a:pt x="218294" y="240770"/>
                      </a:lnTo>
                      <a:lnTo>
                        <a:pt x="220941" y="240260"/>
                      </a:lnTo>
                      <a:lnTo>
                        <a:pt x="223721" y="239179"/>
                      </a:lnTo>
                      <a:lnTo>
                        <a:pt x="228421" y="238560"/>
                      </a:lnTo>
                      <a:lnTo>
                        <a:pt x="235913" y="239872"/>
                      </a:lnTo>
                      <a:lnTo>
                        <a:pt x="236119" y="239641"/>
                      </a:lnTo>
                      <a:lnTo>
                        <a:pt x="236217" y="238961"/>
                      </a:lnTo>
                      <a:lnTo>
                        <a:pt x="235937" y="238172"/>
                      </a:lnTo>
                      <a:lnTo>
                        <a:pt x="235816" y="237467"/>
                      </a:lnTo>
                      <a:lnTo>
                        <a:pt x="236739" y="234444"/>
                      </a:lnTo>
                      <a:lnTo>
                        <a:pt x="238973" y="231918"/>
                      </a:lnTo>
                      <a:lnTo>
                        <a:pt x="245469" y="228894"/>
                      </a:lnTo>
                      <a:lnTo>
                        <a:pt x="250958" y="227255"/>
                      </a:lnTo>
                      <a:lnTo>
                        <a:pt x="254091" y="227292"/>
                      </a:lnTo>
                      <a:lnTo>
                        <a:pt x="256131" y="227644"/>
                      </a:lnTo>
                      <a:lnTo>
                        <a:pt x="259191" y="228518"/>
                      </a:lnTo>
                      <a:lnTo>
                        <a:pt x="261267" y="229429"/>
                      </a:lnTo>
                      <a:lnTo>
                        <a:pt x="266027" y="233108"/>
                      </a:lnTo>
                      <a:lnTo>
                        <a:pt x="267849" y="235512"/>
                      </a:lnTo>
                      <a:lnTo>
                        <a:pt x="270909" y="242701"/>
                      </a:lnTo>
                      <a:lnTo>
                        <a:pt x="272087" y="243964"/>
                      </a:lnTo>
                      <a:lnTo>
                        <a:pt x="274831" y="244122"/>
                      </a:lnTo>
                      <a:lnTo>
                        <a:pt x="281583" y="246247"/>
                      </a:lnTo>
                      <a:lnTo>
                        <a:pt x="283805" y="246052"/>
                      </a:lnTo>
                      <a:lnTo>
                        <a:pt x="285444" y="245336"/>
                      </a:lnTo>
                      <a:lnTo>
                        <a:pt x="288965" y="243514"/>
                      </a:lnTo>
                      <a:lnTo>
                        <a:pt x="291710" y="242555"/>
                      </a:lnTo>
                      <a:lnTo>
                        <a:pt x="298109" y="242737"/>
                      </a:lnTo>
                      <a:lnTo>
                        <a:pt x="298413" y="242592"/>
                      </a:lnTo>
                      <a:lnTo>
                        <a:pt x="299748" y="241474"/>
                      </a:lnTo>
                      <a:lnTo>
                        <a:pt x="305808" y="233606"/>
                      </a:lnTo>
                      <a:lnTo>
                        <a:pt x="314344" y="229939"/>
                      </a:lnTo>
                      <a:lnTo>
                        <a:pt x="318849" y="228809"/>
                      </a:lnTo>
                      <a:lnTo>
                        <a:pt x="320780" y="227668"/>
                      </a:lnTo>
                      <a:lnTo>
                        <a:pt x="324654" y="224778"/>
                      </a:lnTo>
                      <a:lnTo>
                        <a:pt x="330664" y="221742"/>
                      </a:lnTo>
                      <a:lnTo>
                        <a:pt x="331041" y="221341"/>
                      </a:lnTo>
                      <a:lnTo>
                        <a:pt x="330761" y="221038"/>
                      </a:lnTo>
                      <a:lnTo>
                        <a:pt x="327969" y="219556"/>
                      </a:lnTo>
                      <a:lnTo>
                        <a:pt x="326196" y="218099"/>
                      </a:lnTo>
                      <a:lnTo>
                        <a:pt x="324556" y="215561"/>
                      </a:lnTo>
                      <a:lnTo>
                        <a:pt x="323755" y="213048"/>
                      </a:lnTo>
                      <a:lnTo>
                        <a:pt x="323063" y="211384"/>
                      </a:lnTo>
                      <a:lnTo>
                        <a:pt x="322492" y="209478"/>
                      </a:lnTo>
                      <a:lnTo>
                        <a:pt x="322128" y="207086"/>
                      </a:lnTo>
                      <a:lnTo>
                        <a:pt x="322334" y="204451"/>
                      </a:lnTo>
                      <a:lnTo>
                        <a:pt x="323451" y="200128"/>
                      </a:lnTo>
                      <a:lnTo>
                        <a:pt x="327216" y="189988"/>
                      </a:lnTo>
                      <a:lnTo>
                        <a:pt x="328721" y="187159"/>
                      </a:lnTo>
                      <a:lnTo>
                        <a:pt x="330458" y="185070"/>
                      </a:lnTo>
                      <a:lnTo>
                        <a:pt x="329984" y="184002"/>
                      </a:lnTo>
                      <a:lnTo>
                        <a:pt x="329596" y="182593"/>
                      </a:lnTo>
                      <a:lnTo>
                        <a:pt x="329438" y="181233"/>
                      </a:lnTo>
                      <a:lnTo>
                        <a:pt x="329535" y="179023"/>
                      </a:lnTo>
                      <a:lnTo>
                        <a:pt x="330458" y="177712"/>
                      </a:lnTo>
                      <a:lnTo>
                        <a:pt x="331539" y="176680"/>
                      </a:lnTo>
                      <a:lnTo>
                        <a:pt x="330009" y="175805"/>
                      </a:lnTo>
                      <a:lnTo>
                        <a:pt x="328503" y="174530"/>
                      </a:lnTo>
                      <a:lnTo>
                        <a:pt x="326949" y="172199"/>
                      </a:lnTo>
                      <a:lnTo>
                        <a:pt x="326572" y="168823"/>
                      </a:lnTo>
                      <a:lnTo>
                        <a:pt x="328090" y="166783"/>
                      </a:lnTo>
                      <a:lnTo>
                        <a:pt x="329972" y="164998"/>
                      </a:lnTo>
                      <a:lnTo>
                        <a:pt x="332279" y="163905"/>
                      </a:lnTo>
                      <a:lnTo>
                        <a:pt x="333056" y="163614"/>
                      </a:lnTo>
                      <a:lnTo>
                        <a:pt x="336080" y="164160"/>
                      </a:lnTo>
                      <a:lnTo>
                        <a:pt x="342115" y="168702"/>
                      </a:lnTo>
                      <a:lnTo>
                        <a:pt x="343524" y="169528"/>
                      </a:lnTo>
                      <a:lnTo>
                        <a:pt x="346037" y="169770"/>
                      </a:lnTo>
                      <a:lnTo>
                        <a:pt x="348976" y="170620"/>
                      </a:lnTo>
                      <a:lnTo>
                        <a:pt x="350069" y="170705"/>
                      </a:lnTo>
                      <a:lnTo>
                        <a:pt x="350384" y="170669"/>
                      </a:lnTo>
                      <a:lnTo>
                        <a:pt x="350712" y="170463"/>
                      </a:lnTo>
                      <a:lnTo>
                        <a:pt x="350749" y="170244"/>
                      </a:lnTo>
                      <a:lnTo>
                        <a:pt x="350457" y="169528"/>
                      </a:lnTo>
                      <a:lnTo>
                        <a:pt x="350409" y="166844"/>
                      </a:lnTo>
                      <a:lnTo>
                        <a:pt x="350469" y="165095"/>
                      </a:lnTo>
                      <a:lnTo>
                        <a:pt x="352777" y="163869"/>
                      </a:lnTo>
                      <a:lnTo>
                        <a:pt x="354659" y="163383"/>
                      </a:lnTo>
                      <a:lnTo>
                        <a:pt x="355557" y="163432"/>
                      </a:lnTo>
                      <a:lnTo>
                        <a:pt x="357306" y="164027"/>
                      </a:lnTo>
                      <a:lnTo>
                        <a:pt x="358617" y="164998"/>
                      </a:lnTo>
                      <a:lnTo>
                        <a:pt x="361204" y="167998"/>
                      </a:lnTo>
                      <a:lnTo>
                        <a:pt x="362795" y="164500"/>
                      </a:lnTo>
                      <a:lnTo>
                        <a:pt x="361192" y="160457"/>
                      </a:lnTo>
                      <a:lnTo>
                        <a:pt x="361945" y="156753"/>
                      </a:lnTo>
                      <a:lnTo>
                        <a:pt x="364130" y="155126"/>
                      </a:lnTo>
                      <a:lnTo>
                        <a:pt x="366510" y="154252"/>
                      </a:lnTo>
                      <a:lnTo>
                        <a:pt x="369000" y="154276"/>
                      </a:lnTo>
                      <a:lnTo>
                        <a:pt x="369704" y="154337"/>
                      </a:lnTo>
                      <a:lnTo>
                        <a:pt x="371392" y="155381"/>
                      </a:lnTo>
                      <a:lnTo>
                        <a:pt x="373067" y="157312"/>
                      </a:lnTo>
                      <a:lnTo>
                        <a:pt x="375435" y="165897"/>
                      </a:lnTo>
                      <a:lnTo>
                        <a:pt x="376759" y="168726"/>
                      </a:lnTo>
                      <a:lnTo>
                        <a:pt x="378629" y="171653"/>
                      </a:lnTo>
                      <a:lnTo>
                        <a:pt x="379528" y="172660"/>
                      </a:lnTo>
                      <a:lnTo>
                        <a:pt x="380292" y="173049"/>
                      </a:lnTo>
                      <a:lnTo>
                        <a:pt x="383984" y="173911"/>
                      </a:lnTo>
                      <a:lnTo>
                        <a:pt x="385951" y="174980"/>
                      </a:lnTo>
                      <a:lnTo>
                        <a:pt x="390602" y="175162"/>
                      </a:lnTo>
                      <a:lnTo>
                        <a:pt x="400717" y="167573"/>
                      </a:lnTo>
                      <a:lnTo>
                        <a:pt x="406837" y="163966"/>
                      </a:lnTo>
                      <a:lnTo>
                        <a:pt x="406800" y="163007"/>
                      </a:lnTo>
                      <a:lnTo>
                        <a:pt x="407116" y="160700"/>
                      </a:lnTo>
                      <a:lnTo>
                        <a:pt x="409023" y="156692"/>
                      </a:lnTo>
                      <a:lnTo>
                        <a:pt x="409144" y="155818"/>
                      </a:lnTo>
                      <a:lnTo>
                        <a:pt x="406448" y="154385"/>
                      </a:lnTo>
                      <a:lnTo>
                        <a:pt x="404263" y="153110"/>
                      </a:lnTo>
                      <a:lnTo>
                        <a:pt x="403279" y="152090"/>
                      </a:lnTo>
                      <a:lnTo>
                        <a:pt x="402016" y="149868"/>
                      </a:lnTo>
                      <a:lnTo>
                        <a:pt x="401603" y="148666"/>
                      </a:lnTo>
                      <a:lnTo>
                        <a:pt x="399588" y="151167"/>
                      </a:lnTo>
                      <a:lnTo>
                        <a:pt x="398131" y="152455"/>
                      </a:lnTo>
                      <a:lnTo>
                        <a:pt x="395896" y="153572"/>
                      </a:lnTo>
                      <a:lnTo>
                        <a:pt x="393832" y="153839"/>
                      </a:lnTo>
                      <a:lnTo>
                        <a:pt x="391063" y="152795"/>
                      </a:lnTo>
                      <a:lnTo>
                        <a:pt x="389825" y="150900"/>
                      </a:lnTo>
                      <a:lnTo>
                        <a:pt x="388950" y="147986"/>
                      </a:lnTo>
                      <a:lnTo>
                        <a:pt x="388695" y="146881"/>
                      </a:lnTo>
                      <a:lnTo>
                        <a:pt x="390371" y="143687"/>
                      </a:lnTo>
                      <a:lnTo>
                        <a:pt x="393055" y="140955"/>
                      </a:lnTo>
                      <a:lnTo>
                        <a:pt x="396333" y="139012"/>
                      </a:lnTo>
                      <a:lnTo>
                        <a:pt x="404542" y="136195"/>
                      </a:lnTo>
                      <a:lnTo>
                        <a:pt x="406242" y="135321"/>
                      </a:lnTo>
                      <a:lnTo>
                        <a:pt x="409763" y="133111"/>
                      </a:lnTo>
                      <a:lnTo>
                        <a:pt x="412520" y="131751"/>
                      </a:lnTo>
                      <a:lnTo>
                        <a:pt x="424189" y="123688"/>
                      </a:lnTo>
                      <a:lnTo>
                        <a:pt x="426168" y="121891"/>
                      </a:lnTo>
                      <a:lnTo>
                        <a:pt x="424468" y="120907"/>
                      </a:lnTo>
                      <a:lnTo>
                        <a:pt x="423813" y="119608"/>
                      </a:lnTo>
                      <a:lnTo>
                        <a:pt x="423400" y="118382"/>
                      </a:lnTo>
                      <a:lnTo>
                        <a:pt x="423315" y="116657"/>
                      </a:lnTo>
                      <a:lnTo>
                        <a:pt x="424214" y="110634"/>
                      </a:lnTo>
                      <a:lnTo>
                        <a:pt x="425161" y="108145"/>
                      </a:lnTo>
                      <a:lnTo>
                        <a:pt x="426254" y="107028"/>
                      </a:lnTo>
                      <a:lnTo>
                        <a:pt x="432446" y="103956"/>
                      </a:lnTo>
                      <a:lnTo>
                        <a:pt x="436393" y="103907"/>
                      </a:lnTo>
                      <a:lnTo>
                        <a:pt x="440096" y="105510"/>
                      </a:lnTo>
                      <a:lnTo>
                        <a:pt x="441711" y="105510"/>
                      </a:lnTo>
                      <a:lnTo>
                        <a:pt x="447771" y="104551"/>
                      </a:lnTo>
                      <a:lnTo>
                        <a:pt x="450952" y="105656"/>
                      </a:lnTo>
                      <a:lnTo>
                        <a:pt x="452725" y="107623"/>
                      </a:lnTo>
                      <a:lnTo>
                        <a:pt x="454364" y="111120"/>
                      </a:lnTo>
                      <a:lnTo>
                        <a:pt x="456150" y="117179"/>
                      </a:lnTo>
                      <a:lnTo>
                        <a:pt x="457012" y="118552"/>
                      </a:lnTo>
                      <a:lnTo>
                        <a:pt x="457242" y="118600"/>
                      </a:lnTo>
                      <a:lnTo>
                        <a:pt x="458457" y="117106"/>
                      </a:lnTo>
                      <a:lnTo>
                        <a:pt x="459027" y="113621"/>
                      </a:lnTo>
                      <a:lnTo>
                        <a:pt x="458882" y="112249"/>
                      </a:lnTo>
                      <a:lnTo>
                        <a:pt x="457218" y="105291"/>
                      </a:lnTo>
                      <a:lnTo>
                        <a:pt x="456878" y="102098"/>
                      </a:lnTo>
                      <a:lnTo>
                        <a:pt x="456975" y="95383"/>
                      </a:lnTo>
                      <a:lnTo>
                        <a:pt x="457473" y="92893"/>
                      </a:lnTo>
                      <a:lnTo>
                        <a:pt x="458007" y="91740"/>
                      </a:lnTo>
                      <a:lnTo>
                        <a:pt x="459319" y="89688"/>
                      </a:lnTo>
                      <a:lnTo>
                        <a:pt x="459513" y="89287"/>
                      </a:lnTo>
                      <a:lnTo>
                        <a:pt x="459149" y="88631"/>
                      </a:lnTo>
                      <a:lnTo>
                        <a:pt x="458019" y="87356"/>
                      </a:lnTo>
                      <a:lnTo>
                        <a:pt x="456332" y="84284"/>
                      </a:lnTo>
                      <a:lnTo>
                        <a:pt x="456635" y="79876"/>
                      </a:lnTo>
                      <a:lnTo>
                        <a:pt x="458007" y="72979"/>
                      </a:lnTo>
                      <a:lnTo>
                        <a:pt x="457947" y="72311"/>
                      </a:lnTo>
                      <a:lnTo>
                        <a:pt x="457327" y="71328"/>
                      </a:lnTo>
                      <a:lnTo>
                        <a:pt x="456162" y="67430"/>
                      </a:lnTo>
                      <a:lnTo>
                        <a:pt x="455312" y="66932"/>
                      </a:lnTo>
                      <a:lnTo>
                        <a:pt x="455008" y="67126"/>
                      </a:lnTo>
                      <a:lnTo>
                        <a:pt x="454607" y="67065"/>
                      </a:lnTo>
                      <a:lnTo>
                        <a:pt x="453138" y="66458"/>
                      </a:lnTo>
                      <a:lnTo>
                        <a:pt x="451256" y="64928"/>
                      </a:lnTo>
                      <a:lnTo>
                        <a:pt x="450552" y="64260"/>
                      </a:lnTo>
                      <a:lnTo>
                        <a:pt x="449483" y="58760"/>
                      </a:lnTo>
                      <a:lnTo>
                        <a:pt x="448512" y="58784"/>
                      </a:lnTo>
                      <a:lnTo>
                        <a:pt x="444808" y="58055"/>
                      </a:lnTo>
                      <a:lnTo>
                        <a:pt x="442355" y="51061"/>
                      </a:lnTo>
                      <a:lnTo>
                        <a:pt x="443120" y="46398"/>
                      </a:lnTo>
                      <a:lnTo>
                        <a:pt x="444079" y="43241"/>
                      </a:lnTo>
                      <a:lnTo>
                        <a:pt x="443594" y="42039"/>
                      </a:lnTo>
                      <a:lnTo>
                        <a:pt x="443035" y="41347"/>
                      </a:lnTo>
                      <a:lnTo>
                        <a:pt x="441639" y="38129"/>
                      </a:lnTo>
                      <a:lnTo>
                        <a:pt x="441068" y="35360"/>
                      </a:lnTo>
                      <a:lnTo>
                        <a:pt x="441784" y="32373"/>
                      </a:lnTo>
                      <a:lnTo>
                        <a:pt x="445051" y="27285"/>
                      </a:lnTo>
                      <a:lnTo>
                        <a:pt x="445585" y="25257"/>
                      </a:lnTo>
                      <a:lnTo>
                        <a:pt x="445707" y="24286"/>
                      </a:lnTo>
                      <a:lnTo>
                        <a:pt x="445634" y="23970"/>
                      </a:lnTo>
                      <a:lnTo>
                        <a:pt x="444844" y="23424"/>
                      </a:lnTo>
                      <a:lnTo>
                        <a:pt x="442816" y="22950"/>
                      </a:lnTo>
                      <a:lnTo>
                        <a:pt x="440740" y="21833"/>
                      </a:lnTo>
                      <a:lnTo>
                        <a:pt x="438979" y="19866"/>
                      </a:lnTo>
                      <a:lnTo>
                        <a:pt x="436502" y="14462"/>
                      </a:lnTo>
                      <a:lnTo>
                        <a:pt x="435179" y="12301"/>
                      </a:lnTo>
                      <a:lnTo>
                        <a:pt x="432167" y="8743"/>
                      </a:lnTo>
                      <a:lnTo>
                        <a:pt x="434353" y="5731"/>
                      </a:lnTo>
                      <a:lnTo>
                        <a:pt x="436405" y="3752"/>
                      </a:lnTo>
                      <a:lnTo>
                        <a:pt x="439489" y="1469"/>
                      </a:lnTo>
                      <a:lnTo>
                        <a:pt x="441359" y="571"/>
                      </a:lnTo>
                      <a:lnTo>
                        <a:pt x="443934" y="0"/>
                      </a:lnTo>
                      <a:lnTo>
                        <a:pt x="446605" y="631"/>
                      </a:lnTo>
                      <a:lnTo>
                        <a:pt x="447625" y="1627"/>
                      </a:lnTo>
                      <a:lnTo>
                        <a:pt x="448596" y="2878"/>
                      </a:lnTo>
                      <a:lnTo>
                        <a:pt x="450199" y="6496"/>
                      </a:lnTo>
                      <a:lnTo>
                        <a:pt x="451292" y="7480"/>
                      </a:lnTo>
                      <a:lnTo>
                        <a:pt x="452239" y="7784"/>
                      </a:lnTo>
                      <a:lnTo>
                        <a:pt x="453211" y="7808"/>
                      </a:lnTo>
                      <a:lnTo>
                        <a:pt x="455494" y="7152"/>
                      </a:lnTo>
                      <a:lnTo>
                        <a:pt x="458493" y="6800"/>
                      </a:lnTo>
                      <a:lnTo>
                        <a:pt x="463290" y="7516"/>
                      </a:lnTo>
                      <a:lnTo>
                        <a:pt x="467357" y="11718"/>
                      </a:lnTo>
                      <a:lnTo>
                        <a:pt x="469470" y="14474"/>
                      </a:lnTo>
                      <a:lnTo>
                        <a:pt x="470855" y="17255"/>
                      </a:lnTo>
                      <a:lnTo>
                        <a:pt x="471935" y="21724"/>
                      </a:lnTo>
                      <a:lnTo>
                        <a:pt x="472712" y="23654"/>
                      </a:lnTo>
                      <a:lnTo>
                        <a:pt x="473684" y="24614"/>
                      </a:lnTo>
                      <a:lnTo>
                        <a:pt x="474498" y="25051"/>
                      </a:lnTo>
                      <a:lnTo>
                        <a:pt x="475991" y="25245"/>
                      </a:lnTo>
                      <a:lnTo>
                        <a:pt x="478432" y="26435"/>
                      </a:lnTo>
                      <a:lnTo>
                        <a:pt x="481152" y="28694"/>
                      </a:lnTo>
                      <a:lnTo>
                        <a:pt x="482147" y="31948"/>
                      </a:lnTo>
                      <a:lnTo>
                        <a:pt x="482208" y="33478"/>
                      </a:lnTo>
                      <a:lnTo>
                        <a:pt x="483568" y="34389"/>
                      </a:lnTo>
                      <a:lnTo>
                        <a:pt x="488656" y="36113"/>
                      </a:lnTo>
                      <a:lnTo>
                        <a:pt x="497278" y="40922"/>
                      </a:lnTo>
                      <a:lnTo>
                        <a:pt x="502681" y="44322"/>
                      </a:lnTo>
                      <a:lnTo>
                        <a:pt x="505340" y="47030"/>
                      </a:lnTo>
                      <a:lnTo>
                        <a:pt x="508388" y="51085"/>
                      </a:lnTo>
                      <a:lnTo>
                        <a:pt x="510076" y="54485"/>
                      </a:lnTo>
                      <a:lnTo>
                        <a:pt x="510683" y="58553"/>
                      </a:lnTo>
                      <a:lnTo>
                        <a:pt x="509931" y="64722"/>
                      </a:lnTo>
                      <a:lnTo>
                        <a:pt x="510295" y="69870"/>
                      </a:lnTo>
                      <a:lnTo>
                        <a:pt x="509748" y="73465"/>
                      </a:lnTo>
                      <a:lnTo>
                        <a:pt x="508364" y="76731"/>
                      </a:lnTo>
                      <a:lnTo>
                        <a:pt x="507126" y="78953"/>
                      </a:lnTo>
                      <a:lnTo>
                        <a:pt x="507405" y="80107"/>
                      </a:lnTo>
                      <a:lnTo>
                        <a:pt x="509578" y="82803"/>
                      </a:lnTo>
                      <a:lnTo>
                        <a:pt x="520167" y="91048"/>
                      </a:lnTo>
                      <a:lnTo>
                        <a:pt x="520410" y="93804"/>
                      </a:lnTo>
                      <a:lnTo>
                        <a:pt x="524551" y="91448"/>
                      </a:lnTo>
                      <a:lnTo>
                        <a:pt x="532626" y="95274"/>
                      </a:lnTo>
                      <a:lnTo>
                        <a:pt x="535953" y="97484"/>
                      </a:lnTo>
                      <a:lnTo>
                        <a:pt x="537483" y="98018"/>
                      </a:lnTo>
                      <a:lnTo>
                        <a:pt x="545728" y="99341"/>
                      </a:lnTo>
                      <a:lnTo>
                        <a:pt x="548727" y="100483"/>
                      </a:lnTo>
                      <a:lnTo>
                        <a:pt x="550354" y="102535"/>
                      </a:lnTo>
                      <a:lnTo>
                        <a:pt x="551496" y="104162"/>
                      </a:lnTo>
                      <a:lnTo>
                        <a:pt x="553791" y="104041"/>
                      </a:lnTo>
                      <a:lnTo>
                        <a:pt x="555600" y="103106"/>
                      </a:lnTo>
                      <a:lnTo>
                        <a:pt x="561939" y="99099"/>
                      </a:lnTo>
                      <a:lnTo>
                        <a:pt x="566517" y="98783"/>
                      </a:lnTo>
                      <a:lnTo>
                        <a:pt x="567901" y="103616"/>
                      </a:lnTo>
                      <a:lnTo>
                        <a:pt x="566480" y="106178"/>
                      </a:lnTo>
                      <a:lnTo>
                        <a:pt x="566067" y="106651"/>
                      </a:lnTo>
                      <a:lnTo>
                        <a:pt x="568290" y="106445"/>
                      </a:lnTo>
                      <a:lnTo>
                        <a:pt x="570390" y="105996"/>
                      </a:lnTo>
                      <a:lnTo>
                        <a:pt x="571495" y="105413"/>
                      </a:lnTo>
                      <a:lnTo>
                        <a:pt x="575709" y="105085"/>
                      </a:lnTo>
                      <a:lnTo>
                        <a:pt x="576935" y="105061"/>
                      </a:lnTo>
                      <a:lnTo>
                        <a:pt x="582533" y="110246"/>
                      </a:lnTo>
                      <a:lnTo>
                        <a:pt x="588799" y="113427"/>
                      </a:lnTo>
                      <a:lnTo>
                        <a:pt x="589916" y="112711"/>
                      </a:lnTo>
                      <a:lnTo>
                        <a:pt x="591786" y="115152"/>
                      </a:lnTo>
                      <a:lnTo>
                        <a:pt x="592126" y="115710"/>
                      </a:lnTo>
                      <a:lnTo>
                        <a:pt x="592502" y="116827"/>
                      </a:lnTo>
                      <a:lnTo>
                        <a:pt x="592782" y="118916"/>
                      </a:lnTo>
                      <a:lnTo>
                        <a:pt x="592235" y="128837"/>
                      </a:lnTo>
                      <a:lnTo>
                        <a:pt x="589090" y="139899"/>
                      </a:lnTo>
                      <a:lnTo>
                        <a:pt x="585022" y="143942"/>
                      </a:lnTo>
                      <a:lnTo>
                        <a:pt x="576850" y="150172"/>
                      </a:lnTo>
                      <a:lnTo>
                        <a:pt x="564926" y="161962"/>
                      </a:lnTo>
                      <a:lnTo>
                        <a:pt x="559012" y="166565"/>
                      </a:lnTo>
                      <a:lnTo>
                        <a:pt x="558527" y="167366"/>
                      </a:lnTo>
                      <a:lnTo>
                        <a:pt x="557992" y="174166"/>
                      </a:lnTo>
                      <a:lnTo>
                        <a:pt x="550366" y="178355"/>
                      </a:lnTo>
                      <a:lnTo>
                        <a:pt x="545109" y="183383"/>
                      </a:lnTo>
                      <a:lnTo>
                        <a:pt x="542571" y="184488"/>
                      </a:lnTo>
                      <a:lnTo>
                        <a:pt x="542170" y="187426"/>
                      </a:lnTo>
                      <a:lnTo>
                        <a:pt x="542024" y="189393"/>
                      </a:lnTo>
                      <a:lnTo>
                        <a:pt x="539329" y="190341"/>
                      </a:lnTo>
                      <a:lnTo>
                        <a:pt x="537944" y="190328"/>
                      </a:lnTo>
                      <a:lnTo>
                        <a:pt x="535419" y="190875"/>
                      </a:lnTo>
                      <a:lnTo>
                        <a:pt x="534848" y="190778"/>
                      </a:lnTo>
                      <a:lnTo>
                        <a:pt x="534654" y="192223"/>
                      </a:lnTo>
                      <a:lnTo>
                        <a:pt x="534423" y="192769"/>
                      </a:lnTo>
                      <a:lnTo>
                        <a:pt x="533646" y="194020"/>
                      </a:lnTo>
                      <a:lnTo>
                        <a:pt x="526639" y="201026"/>
                      </a:lnTo>
                      <a:lnTo>
                        <a:pt x="524988" y="202289"/>
                      </a:lnTo>
                      <a:lnTo>
                        <a:pt x="523640" y="204912"/>
                      </a:lnTo>
                      <a:lnTo>
                        <a:pt x="521697" y="211008"/>
                      </a:lnTo>
                      <a:lnTo>
                        <a:pt x="516269" y="236302"/>
                      </a:lnTo>
                      <a:lnTo>
                        <a:pt x="512031" y="244850"/>
                      </a:lnTo>
                      <a:lnTo>
                        <a:pt x="510222" y="245554"/>
                      </a:lnTo>
                      <a:lnTo>
                        <a:pt x="508364" y="245870"/>
                      </a:lnTo>
                      <a:lnTo>
                        <a:pt x="507514" y="245761"/>
                      </a:lnTo>
                      <a:lnTo>
                        <a:pt x="507708" y="246368"/>
                      </a:lnTo>
                      <a:lnTo>
                        <a:pt x="508315" y="247461"/>
                      </a:lnTo>
                      <a:lnTo>
                        <a:pt x="509190" y="250254"/>
                      </a:lnTo>
                      <a:lnTo>
                        <a:pt x="507903" y="253994"/>
                      </a:lnTo>
                      <a:lnTo>
                        <a:pt x="505680" y="256240"/>
                      </a:lnTo>
                      <a:lnTo>
                        <a:pt x="503118" y="257855"/>
                      </a:lnTo>
                      <a:lnTo>
                        <a:pt x="504308" y="261522"/>
                      </a:lnTo>
                      <a:lnTo>
                        <a:pt x="499378" y="266392"/>
                      </a:lnTo>
                      <a:lnTo>
                        <a:pt x="500265" y="269294"/>
                      </a:lnTo>
                      <a:lnTo>
                        <a:pt x="498783" y="272852"/>
                      </a:lnTo>
                      <a:lnTo>
                        <a:pt x="499148" y="274467"/>
                      </a:lnTo>
                      <a:lnTo>
                        <a:pt x="500083" y="275851"/>
                      </a:lnTo>
                      <a:lnTo>
                        <a:pt x="501552" y="280344"/>
                      </a:lnTo>
                      <a:lnTo>
                        <a:pt x="498856" y="283914"/>
                      </a:lnTo>
                      <a:lnTo>
                        <a:pt x="495323" y="285189"/>
                      </a:lnTo>
                      <a:lnTo>
                        <a:pt x="493975" y="285918"/>
                      </a:lnTo>
                      <a:lnTo>
                        <a:pt x="493623" y="286768"/>
                      </a:lnTo>
                      <a:lnTo>
                        <a:pt x="493732" y="287108"/>
                      </a:lnTo>
                      <a:lnTo>
                        <a:pt x="495493" y="289245"/>
                      </a:lnTo>
                      <a:lnTo>
                        <a:pt x="496039" y="291601"/>
                      </a:lnTo>
                      <a:lnTo>
                        <a:pt x="495820" y="295948"/>
                      </a:lnTo>
                      <a:lnTo>
                        <a:pt x="495748" y="296288"/>
                      </a:lnTo>
                      <a:lnTo>
                        <a:pt x="500168" y="295741"/>
                      </a:lnTo>
                      <a:lnTo>
                        <a:pt x="506275" y="300902"/>
                      </a:lnTo>
                      <a:lnTo>
                        <a:pt x="501989" y="306196"/>
                      </a:lnTo>
                      <a:lnTo>
                        <a:pt x="497909" y="309973"/>
                      </a:lnTo>
                      <a:lnTo>
                        <a:pt x="498370" y="309912"/>
                      </a:lnTo>
                      <a:lnTo>
                        <a:pt x="505000" y="310021"/>
                      </a:lnTo>
                      <a:lnTo>
                        <a:pt x="510088" y="313664"/>
                      </a:lnTo>
                      <a:lnTo>
                        <a:pt x="510768" y="318303"/>
                      </a:lnTo>
                      <a:lnTo>
                        <a:pt x="509433" y="320792"/>
                      </a:lnTo>
                      <a:lnTo>
                        <a:pt x="507720" y="322808"/>
                      </a:lnTo>
                      <a:lnTo>
                        <a:pt x="507356" y="323816"/>
                      </a:lnTo>
                      <a:lnTo>
                        <a:pt x="507660" y="330069"/>
                      </a:lnTo>
                      <a:lnTo>
                        <a:pt x="508182" y="330907"/>
                      </a:lnTo>
                      <a:lnTo>
                        <a:pt x="509263" y="332231"/>
                      </a:lnTo>
                      <a:lnTo>
                        <a:pt x="510878" y="336214"/>
                      </a:lnTo>
                      <a:lnTo>
                        <a:pt x="509445" y="339723"/>
                      </a:lnTo>
                      <a:lnTo>
                        <a:pt x="507040" y="342941"/>
                      </a:lnTo>
                      <a:lnTo>
                        <a:pt x="509032" y="373359"/>
                      </a:lnTo>
                      <a:lnTo>
                        <a:pt x="508631" y="376030"/>
                      </a:lnTo>
                      <a:lnTo>
                        <a:pt x="508231" y="376601"/>
                      </a:lnTo>
                      <a:lnTo>
                        <a:pt x="508874" y="377111"/>
                      </a:lnTo>
                      <a:lnTo>
                        <a:pt x="509384" y="377633"/>
                      </a:lnTo>
                      <a:lnTo>
                        <a:pt x="510161" y="378920"/>
                      </a:lnTo>
                      <a:lnTo>
                        <a:pt x="514120" y="391816"/>
                      </a:lnTo>
                      <a:lnTo>
                        <a:pt x="519706" y="400596"/>
                      </a:lnTo>
                      <a:lnTo>
                        <a:pt x="517362" y="404676"/>
                      </a:lnTo>
                      <a:lnTo>
                        <a:pt x="515638" y="405841"/>
                      </a:lnTo>
                      <a:lnTo>
                        <a:pt x="515577" y="406400"/>
                      </a:lnTo>
                      <a:lnTo>
                        <a:pt x="519378" y="409545"/>
                      </a:lnTo>
                      <a:lnTo>
                        <a:pt x="521041" y="411330"/>
                      </a:lnTo>
                      <a:lnTo>
                        <a:pt x="522814" y="414220"/>
                      </a:lnTo>
                      <a:lnTo>
                        <a:pt x="523943" y="417183"/>
                      </a:lnTo>
                      <a:lnTo>
                        <a:pt x="523725" y="420401"/>
                      </a:lnTo>
                      <a:lnTo>
                        <a:pt x="521903" y="422914"/>
                      </a:lnTo>
                      <a:lnTo>
                        <a:pt x="519244" y="427771"/>
                      </a:lnTo>
                      <a:lnTo>
                        <a:pt x="509044" y="431439"/>
                      </a:lnTo>
                      <a:lnTo>
                        <a:pt x="507283" y="431341"/>
                      </a:lnTo>
                      <a:lnTo>
                        <a:pt x="504078" y="430467"/>
                      </a:lnTo>
                      <a:lnTo>
                        <a:pt x="501346" y="429338"/>
                      </a:lnTo>
                      <a:lnTo>
                        <a:pt x="493538" y="427261"/>
                      </a:lnTo>
                      <a:lnTo>
                        <a:pt x="492918" y="427941"/>
                      </a:lnTo>
                      <a:lnTo>
                        <a:pt x="492238" y="429034"/>
                      </a:lnTo>
                      <a:lnTo>
                        <a:pt x="487247" y="433175"/>
                      </a:lnTo>
                      <a:lnTo>
                        <a:pt x="480047" y="432896"/>
                      </a:lnTo>
                      <a:lnTo>
                        <a:pt x="476380" y="434256"/>
                      </a:lnTo>
                      <a:lnTo>
                        <a:pt x="472312" y="436393"/>
                      </a:lnTo>
                      <a:lnTo>
                        <a:pt x="471012" y="437801"/>
                      </a:lnTo>
                      <a:lnTo>
                        <a:pt x="470223" y="439453"/>
                      </a:lnTo>
                      <a:lnTo>
                        <a:pt x="470308" y="440437"/>
                      </a:lnTo>
                      <a:lnTo>
                        <a:pt x="470162" y="442804"/>
                      </a:lnTo>
                      <a:lnTo>
                        <a:pt x="470842" y="452919"/>
                      </a:lnTo>
                      <a:lnTo>
                        <a:pt x="470612" y="456441"/>
                      </a:lnTo>
                      <a:lnTo>
                        <a:pt x="471753" y="458323"/>
                      </a:lnTo>
                      <a:lnTo>
                        <a:pt x="472834" y="462634"/>
                      </a:lnTo>
                      <a:lnTo>
                        <a:pt x="470745" y="466010"/>
                      </a:lnTo>
                      <a:lnTo>
                        <a:pt x="467455" y="469033"/>
                      </a:lnTo>
                      <a:lnTo>
                        <a:pt x="467017" y="470114"/>
                      </a:lnTo>
                      <a:lnTo>
                        <a:pt x="466641" y="474510"/>
                      </a:lnTo>
                      <a:lnTo>
                        <a:pt x="464200" y="476914"/>
                      </a:lnTo>
                      <a:lnTo>
                        <a:pt x="461747" y="477557"/>
                      </a:lnTo>
                      <a:lnTo>
                        <a:pt x="458044" y="478140"/>
                      </a:lnTo>
                      <a:lnTo>
                        <a:pt x="457400" y="478432"/>
                      </a:lnTo>
                      <a:lnTo>
                        <a:pt x="456902" y="479015"/>
                      </a:lnTo>
                      <a:lnTo>
                        <a:pt x="455554" y="481929"/>
                      </a:lnTo>
                      <a:lnTo>
                        <a:pt x="451511" y="485948"/>
                      </a:lnTo>
                      <a:lnTo>
                        <a:pt x="451414" y="486252"/>
                      </a:lnTo>
                      <a:lnTo>
                        <a:pt x="452300" y="487260"/>
                      </a:lnTo>
                      <a:lnTo>
                        <a:pt x="454838" y="489445"/>
                      </a:lnTo>
                      <a:lnTo>
                        <a:pt x="456150" y="490927"/>
                      </a:lnTo>
                      <a:lnTo>
                        <a:pt x="457364" y="492833"/>
                      </a:lnTo>
                      <a:lnTo>
                        <a:pt x="457862" y="494230"/>
                      </a:lnTo>
                      <a:lnTo>
                        <a:pt x="457679" y="494363"/>
                      </a:lnTo>
                      <a:lnTo>
                        <a:pt x="461286" y="493392"/>
                      </a:lnTo>
                      <a:lnTo>
                        <a:pt x="472239" y="492493"/>
                      </a:lnTo>
                      <a:lnTo>
                        <a:pt x="473672" y="492214"/>
                      </a:lnTo>
                      <a:lnTo>
                        <a:pt x="473708" y="491048"/>
                      </a:lnTo>
                      <a:lnTo>
                        <a:pt x="475882" y="487600"/>
                      </a:lnTo>
                      <a:lnTo>
                        <a:pt x="478784" y="486847"/>
                      </a:lnTo>
                      <a:lnTo>
                        <a:pt x="480423" y="487017"/>
                      </a:lnTo>
                      <a:lnTo>
                        <a:pt x="494133" y="493513"/>
                      </a:lnTo>
                      <a:lnTo>
                        <a:pt x="495869" y="495031"/>
                      </a:lnTo>
                      <a:lnTo>
                        <a:pt x="497059" y="497071"/>
                      </a:lnTo>
                      <a:lnTo>
                        <a:pt x="499123" y="503167"/>
                      </a:lnTo>
                      <a:lnTo>
                        <a:pt x="499658" y="504090"/>
                      </a:lnTo>
                      <a:lnTo>
                        <a:pt x="500593" y="504940"/>
                      </a:lnTo>
                      <a:lnTo>
                        <a:pt x="502548" y="506263"/>
                      </a:lnTo>
                      <a:lnTo>
                        <a:pt x="506640" y="508437"/>
                      </a:lnTo>
                      <a:lnTo>
                        <a:pt x="509748" y="510501"/>
                      </a:lnTo>
                      <a:lnTo>
                        <a:pt x="516014" y="512638"/>
                      </a:lnTo>
                      <a:lnTo>
                        <a:pt x="521211" y="511740"/>
                      </a:lnTo>
                      <a:lnTo>
                        <a:pt x="521296" y="511667"/>
                      </a:lnTo>
                      <a:lnTo>
                        <a:pt x="520641" y="510878"/>
                      </a:lnTo>
                      <a:lnTo>
                        <a:pt x="519317" y="509785"/>
                      </a:lnTo>
                      <a:lnTo>
                        <a:pt x="517969" y="506591"/>
                      </a:lnTo>
                      <a:lnTo>
                        <a:pt x="519135" y="503981"/>
                      </a:lnTo>
                      <a:lnTo>
                        <a:pt x="522620" y="500350"/>
                      </a:lnTo>
                      <a:lnTo>
                        <a:pt x="526348" y="498164"/>
                      </a:lnTo>
                      <a:lnTo>
                        <a:pt x="528959" y="497108"/>
                      </a:lnTo>
                      <a:lnTo>
                        <a:pt x="542449" y="494667"/>
                      </a:lnTo>
                      <a:lnTo>
                        <a:pt x="544963" y="498868"/>
                      </a:lnTo>
                      <a:lnTo>
                        <a:pt x="546286" y="500483"/>
                      </a:lnTo>
                      <a:lnTo>
                        <a:pt x="547501" y="501273"/>
                      </a:lnTo>
                      <a:lnTo>
                        <a:pt x="548363" y="501248"/>
                      </a:lnTo>
                      <a:lnTo>
                        <a:pt x="552904" y="503130"/>
                      </a:lnTo>
                      <a:lnTo>
                        <a:pt x="553342" y="506105"/>
                      </a:lnTo>
                      <a:lnTo>
                        <a:pt x="553657" y="505923"/>
                      </a:lnTo>
                      <a:lnTo>
                        <a:pt x="556268" y="505049"/>
                      </a:lnTo>
                      <a:lnTo>
                        <a:pt x="559935" y="507089"/>
                      </a:lnTo>
                      <a:lnTo>
                        <a:pt x="560421" y="508607"/>
                      </a:lnTo>
                      <a:lnTo>
                        <a:pt x="560773" y="510064"/>
                      </a:lnTo>
                      <a:lnTo>
                        <a:pt x="561793" y="512444"/>
                      </a:lnTo>
                      <a:lnTo>
                        <a:pt x="561951" y="513258"/>
                      </a:lnTo>
                      <a:lnTo>
                        <a:pt x="564695" y="512262"/>
                      </a:lnTo>
                      <a:lnTo>
                        <a:pt x="569042" y="512505"/>
                      </a:lnTo>
                      <a:lnTo>
                        <a:pt x="570633" y="516852"/>
                      </a:lnTo>
                      <a:lnTo>
                        <a:pt x="570414" y="520920"/>
                      </a:lnTo>
                      <a:lnTo>
                        <a:pt x="577603" y="520216"/>
                      </a:lnTo>
                      <a:lnTo>
                        <a:pt x="570803" y="535698"/>
                      </a:lnTo>
                      <a:lnTo>
                        <a:pt x="570293" y="538418"/>
                      </a:lnTo>
                      <a:lnTo>
                        <a:pt x="573887" y="541369"/>
                      </a:lnTo>
                      <a:lnTo>
                        <a:pt x="574312" y="545133"/>
                      </a:lnTo>
                      <a:lnTo>
                        <a:pt x="574227" y="548157"/>
                      </a:lnTo>
                      <a:lnTo>
                        <a:pt x="575454" y="548885"/>
                      </a:lnTo>
                      <a:lnTo>
                        <a:pt x="579121" y="549164"/>
                      </a:lnTo>
                      <a:lnTo>
                        <a:pt x="580250" y="549322"/>
                      </a:lnTo>
                      <a:lnTo>
                        <a:pt x="585812" y="555770"/>
                      </a:lnTo>
                      <a:lnTo>
                        <a:pt x="581477" y="557179"/>
                      </a:lnTo>
                      <a:lnTo>
                        <a:pt x="580967" y="558174"/>
                      </a:lnTo>
                      <a:lnTo>
                        <a:pt x="579558" y="561526"/>
                      </a:lnTo>
                      <a:lnTo>
                        <a:pt x="580275" y="561623"/>
                      </a:lnTo>
                      <a:lnTo>
                        <a:pt x="585496" y="568253"/>
                      </a:lnTo>
                      <a:lnTo>
                        <a:pt x="576668" y="571532"/>
                      </a:lnTo>
                      <a:lnTo>
                        <a:pt x="575381" y="573632"/>
                      </a:lnTo>
                      <a:lnTo>
                        <a:pt x="575466" y="578016"/>
                      </a:lnTo>
                      <a:lnTo>
                        <a:pt x="578611" y="591288"/>
                      </a:lnTo>
                      <a:lnTo>
                        <a:pt x="571447" y="586771"/>
                      </a:lnTo>
                      <a:lnTo>
                        <a:pt x="571945" y="589285"/>
                      </a:lnTo>
                      <a:lnTo>
                        <a:pt x="570718" y="593231"/>
                      </a:lnTo>
                      <a:lnTo>
                        <a:pt x="571544" y="594008"/>
                      </a:lnTo>
                      <a:lnTo>
                        <a:pt x="573912" y="595223"/>
                      </a:lnTo>
                      <a:lnTo>
                        <a:pt x="576619" y="597870"/>
                      </a:lnTo>
                      <a:lnTo>
                        <a:pt x="578393" y="602642"/>
                      </a:lnTo>
                      <a:lnTo>
                        <a:pt x="580930" y="607378"/>
                      </a:lnTo>
                      <a:lnTo>
                        <a:pt x="581780" y="612915"/>
                      </a:lnTo>
                      <a:lnTo>
                        <a:pt x="582023" y="615076"/>
                      </a:lnTo>
                      <a:lnTo>
                        <a:pt x="576753" y="617553"/>
                      </a:lnTo>
                      <a:lnTo>
                        <a:pt x="573584" y="621694"/>
                      </a:lnTo>
                      <a:lnTo>
                        <a:pt x="572272" y="625386"/>
                      </a:lnTo>
                      <a:lnTo>
                        <a:pt x="569322" y="628980"/>
                      </a:lnTo>
                      <a:lnTo>
                        <a:pt x="565497" y="630146"/>
                      </a:lnTo>
                      <a:lnTo>
                        <a:pt x="562169" y="628871"/>
                      </a:lnTo>
                      <a:lnTo>
                        <a:pt x="561016" y="628567"/>
                      </a:lnTo>
                      <a:lnTo>
                        <a:pt x="560591" y="628628"/>
                      </a:lnTo>
                      <a:lnTo>
                        <a:pt x="556268" y="633181"/>
                      </a:lnTo>
                      <a:lnTo>
                        <a:pt x="554167" y="634505"/>
                      </a:lnTo>
                      <a:lnTo>
                        <a:pt x="546991" y="636096"/>
                      </a:lnTo>
                      <a:lnTo>
                        <a:pt x="545400" y="637322"/>
                      </a:lnTo>
                      <a:lnTo>
                        <a:pt x="543397" y="638403"/>
                      </a:lnTo>
                      <a:lnTo>
                        <a:pt x="541235" y="639131"/>
                      </a:lnTo>
                      <a:lnTo>
                        <a:pt x="540446" y="639168"/>
                      </a:lnTo>
                      <a:lnTo>
                        <a:pt x="539644" y="639569"/>
                      </a:lnTo>
                      <a:lnTo>
                        <a:pt x="538636" y="640224"/>
                      </a:lnTo>
                      <a:lnTo>
                        <a:pt x="533099" y="645507"/>
                      </a:lnTo>
                      <a:lnTo>
                        <a:pt x="528169" y="644632"/>
                      </a:lnTo>
                      <a:lnTo>
                        <a:pt x="526311" y="647049"/>
                      </a:lnTo>
                      <a:lnTo>
                        <a:pt x="524526" y="648396"/>
                      </a:lnTo>
                      <a:lnTo>
                        <a:pt x="522741" y="648700"/>
                      </a:lnTo>
                      <a:lnTo>
                        <a:pt x="521138" y="648312"/>
                      </a:lnTo>
                      <a:lnTo>
                        <a:pt x="519354" y="647328"/>
                      </a:lnTo>
                      <a:lnTo>
                        <a:pt x="518078" y="645616"/>
                      </a:lnTo>
                      <a:lnTo>
                        <a:pt x="515868" y="647668"/>
                      </a:lnTo>
                      <a:lnTo>
                        <a:pt x="511084" y="647219"/>
                      </a:lnTo>
                      <a:lnTo>
                        <a:pt x="509542" y="645009"/>
                      </a:lnTo>
                      <a:lnTo>
                        <a:pt x="508643" y="646101"/>
                      </a:lnTo>
                      <a:lnTo>
                        <a:pt x="505595" y="648312"/>
                      </a:lnTo>
                      <a:lnTo>
                        <a:pt x="501686" y="648603"/>
                      </a:lnTo>
                      <a:lnTo>
                        <a:pt x="497253" y="647607"/>
                      </a:lnTo>
                      <a:lnTo>
                        <a:pt x="490660" y="644936"/>
                      </a:lnTo>
                      <a:lnTo>
                        <a:pt x="489870" y="644911"/>
                      </a:lnTo>
                      <a:lnTo>
                        <a:pt x="489239" y="645142"/>
                      </a:lnTo>
                      <a:lnTo>
                        <a:pt x="488498" y="646539"/>
                      </a:lnTo>
                      <a:lnTo>
                        <a:pt x="488510" y="646964"/>
                      </a:lnTo>
                      <a:lnTo>
                        <a:pt x="488620" y="647121"/>
                      </a:lnTo>
                      <a:lnTo>
                        <a:pt x="493550" y="649380"/>
                      </a:lnTo>
                      <a:lnTo>
                        <a:pt x="495808" y="651238"/>
                      </a:lnTo>
                      <a:lnTo>
                        <a:pt x="496573" y="651930"/>
                      </a:lnTo>
                      <a:lnTo>
                        <a:pt x="497350" y="656180"/>
                      </a:lnTo>
                      <a:lnTo>
                        <a:pt x="494218" y="659021"/>
                      </a:lnTo>
                      <a:lnTo>
                        <a:pt x="483580" y="660127"/>
                      </a:lnTo>
                      <a:lnTo>
                        <a:pt x="482548" y="660697"/>
                      </a:lnTo>
                      <a:lnTo>
                        <a:pt x="480569" y="662992"/>
                      </a:lnTo>
                      <a:lnTo>
                        <a:pt x="478784" y="667789"/>
                      </a:lnTo>
                      <a:lnTo>
                        <a:pt x="475858" y="671711"/>
                      </a:lnTo>
                      <a:lnTo>
                        <a:pt x="468232" y="671444"/>
                      </a:lnTo>
                      <a:lnTo>
                        <a:pt x="463739" y="673289"/>
                      </a:lnTo>
                      <a:lnTo>
                        <a:pt x="462500" y="673727"/>
                      </a:lnTo>
                      <a:close/>
                    </a:path>
                  </a:pathLst>
                </a:custGeom>
                <a:solidFill>
                  <a:srgbClr val="D7D7D2"/>
                </a:solidFill>
                <a:ln w="12138" cap="flat">
                  <a:noFill/>
                  <a:prstDash val="solid"/>
                  <a:miter/>
                </a:ln>
              </p:spPr>
              <p:txBody>
                <a:bodyPr rtlCol="0" anchor="ctr"/>
                <a:lstStyle/>
                <a:p>
                  <a:endParaRPr lang="en-US"/>
                </a:p>
              </p:txBody>
            </p:sp>
            <p:sp>
              <p:nvSpPr>
                <p:cNvPr id="317" name="Freeform: Shape 316">
                  <a:extLst>
                    <a:ext uri="{FF2B5EF4-FFF2-40B4-BE49-F238E27FC236}">
                      <a16:creationId xmlns:a16="http://schemas.microsoft.com/office/drawing/2014/main" id="{6D40BEEB-D2C0-45A2-96DE-885B2DB73705}"/>
                    </a:ext>
                  </a:extLst>
                </p:cNvPr>
                <p:cNvSpPr/>
                <p:nvPr/>
              </p:nvSpPr>
              <p:spPr>
                <a:xfrm>
                  <a:off x="4537174" y="1943119"/>
                  <a:ext cx="599011" cy="680138"/>
                </a:xfrm>
                <a:custGeom>
                  <a:avLst/>
                  <a:gdLst>
                    <a:gd name="connsiteX0" fmla="*/ 446994 w 599011"/>
                    <a:gd name="connsiteY0" fmla="*/ 6217 h 680138"/>
                    <a:gd name="connsiteX1" fmla="*/ 448196 w 599011"/>
                    <a:gd name="connsiteY1" fmla="*/ 6509 h 680138"/>
                    <a:gd name="connsiteX2" fmla="*/ 448937 w 599011"/>
                    <a:gd name="connsiteY2" fmla="*/ 7225 h 680138"/>
                    <a:gd name="connsiteX3" fmla="*/ 450539 w 599011"/>
                    <a:gd name="connsiteY3" fmla="*/ 10844 h 680138"/>
                    <a:gd name="connsiteX4" fmla="*/ 452155 w 599011"/>
                    <a:gd name="connsiteY4" fmla="*/ 12629 h 680138"/>
                    <a:gd name="connsiteX5" fmla="*/ 453939 w 599011"/>
                    <a:gd name="connsiteY5" fmla="*/ 13576 h 680138"/>
                    <a:gd name="connsiteX6" fmla="*/ 456757 w 599011"/>
                    <a:gd name="connsiteY6" fmla="*/ 13964 h 680138"/>
                    <a:gd name="connsiteX7" fmla="*/ 459452 w 599011"/>
                    <a:gd name="connsiteY7" fmla="*/ 13187 h 680138"/>
                    <a:gd name="connsiteX8" fmla="*/ 461917 w 599011"/>
                    <a:gd name="connsiteY8" fmla="*/ 12932 h 680138"/>
                    <a:gd name="connsiteX9" fmla="*/ 464904 w 599011"/>
                    <a:gd name="connsiteY9" fmla="*/ 13454 h 680138"/>
                    <a:gd name="connsiteX10" fmla="*/ 468292 w 599011"/>
                    <a:gd name="connsiteY10" fmla="*/ 16952 h 680138"/>
                    <a:gd name="connsiteX11" fmla="*/ 470175 w 599011"/>
                    <a:gd name="connsiteY11" fmla="*/ 19429 h 680138"/>
                    <a:gd name="connsiteX12" fmla="*/ 471219 w 599011"/>
                    <a:gd name="connsiteY12" fmla="*/ 21663 h 680138"/>
                    <a:gd name="connsiteX13" fmla="*/ 472093 w 599011"/>
                    <a:gd name="connsiteY13" fmla="*/ 25512 h 680138"/>
                    <a:gd name="connsiteX14" fmla="*/ 473004 w 599011"/>
                    <a:gd name="connsiteY14" fmla="*/ 27868 h 680138"/>
                    <a:gd name="connsiteX15" fmla="*/ 474437 w 599011"/>
                    <a:gd name="connsiteY15" fmla="*/ 29641 h 680138"/>
                    <a:gd name="connsiteX16" fmla="*/ 475870 w 599011"/>
                    <a:gd name="connsiteY16" fmla="*/ 30649 h 680138"/>
                    <a:gd name="connsiteX17" fmla="*/ 478335 w 599011"/>
                    <a:gd name="connsiteY17" fmla="*/ 31292 h 680138"/>
                    <a:gd name="connsiteX18" fmla="*/ 480132 w 599011"/>
                    <a:gd name="connsiteY18" fmla="*/ 32240 h 680138"/>
                    <a:gd name="connsiteX19" fmla="*/ 481613 w 599011"/>
                    <a:gd name="connsiteY19" fmla="*/ 33527 h 680138"/>
                    <a:gd name="connsiteX20" fmla="*/ 482354 w 599011"/>
                    <a:gd name="connsiteY20" fmla="*/ 35955 h 680138"/>
                    <a:gd name="connsiteX21" fmla="*/ 482293 w 599011"/>
                    <a:gd name="connsiteY21" fmla="*/ 37230 h 680138"/>
                    <a:gd name="connsiteX22" fmla="*/ 482876 w 599011"/>
                    <a:gd name="connsiteY22" fmla="*/ 38615 h 680138"/>
                    <a:gd name="connsiteX23" fmla="*/ 485001 w 599011"/>
                    <a:gd name="connsiteY23" fmla="*/ 40035 h 680138"/>
                    <a:gd name="connsiteX24" fmla="*/ 490745 w 599011"/>
                    <a:gd name="connsiteY24" fmla="*/ 42087 h 680138"/>
                    <a:gd name="connsiteX25" fmla="*/ 498905 w 599011"/>
                    <a:gd name="connsiteY25" fmla="*/ 46677 h 680138"/>
                    <a:gd name="connsiteX26" fmla="*/ 504175 w 599011"/>
                    <a:gd name="connsiteY26" fmla="*/ 50005 h 680138"/>
                    <a:gd name="connsiteX27" fmla="*/ 506251 w 599011"/>
                    <a:gd name="connsiteY27" fmla="*/ 52215 h 680138"/>
                    <a:gd name="connsiteX28" fmla="*/ 509068 w 599011"/>
                    <a:gd name="connsiteY28" fmla="*/ 56003 h 680138"/>
                    <a:gd name="connsiteX29" fmla="*/ 510441 w 599011"/>
                    <a:gd name="connsiteY29" fmla="*/ 58905 h 680138"/>
                    <a:gd name="connsiteX30" fmla="*/ 510781 w 599011"/>
                    <a:gd name="connsiteY30" fmla="*/ 62002 h 680138"/>
                    <a:gd name="connsiteX31" fmla="*/ 510040 w 599011"/>
                    <a:gd name="connsiteY31" fmla="*/ 67430 h 680138"/>
                    <a:gd name="connsiteX32" fmla="*/ 510380 w 599011"/>
                    <a:gd name="connsiteY32" fmla="*/ 73173 h 680138"/>
                    <a:gd name="connsiteX33" fmla="*/ 509870 w 599011"/>
                    <a:gd name="connsiteY33" fmla="*/ 76051 h 680138"/>
                    <a:gd name="connsiteX34" fmla="*/ 508716 w 599011"/>
                    <a:gd name="connsiteY34" fmla="*/ 78601 h 680138"/>
                    <a:gd name="connsiteX35" fmla="*/ 507004 w 599011"/>
                    <a:gd name="connsiteY35" fmla="*/ 81649 h 680138"/>
                    <a:gd name="connsiteX36" fmla="*/ 507745 w 599011"/>
                    <a:gd name="connsiteY36" fmla="*/ 84600 h 680138"/>
                    <a:gd name="connsiteX37" fmla="*/ 510319 w 599011"/>
                    <a:gd name="connsiteY37" fmla="*/ 87818 h 680138"/>
                    <a:gd name="connsiteX38" fmla="*/ 520374 w 599011"/>
                    <a:gd name="connsiteY38" fmla="*/ 95735 h 680138"/>
                    <a:gd name="connsiteX39" fmla="*/ 520604 w 599011"/>
                    <a:gd name="connsiteY39" fmla="*/ 98297 h 680138"/>
                    <a:gd name="connsiteX40" fmla="*/ 520883 w 599011"/>
                    <a:gd name="connsiteY40" fmla="*/ 99305 h 680138"/>
                    <a:gd name="connsiteX41" fmla="*/ 521636 w 599011"/>
                    <a:gd name="connsiteY41" fmla="*/ 100531 h 680138"/>
                    <a:gd name="connsiteX42" fmla="*/ 522839 w 599011"/>
                    <a:gd name="connsiteY42" fmla="*/ 100799 h 680138"/>
                    <a:gd name="connsiteX43" fmla="*/ 527793 w 599011"/>
                    <a:gd name="connsiteY43" fmla="*/ 97981 h 680138"/>
                    <a:gd name="connsiteX44" fmla="*/ 534435 w 599011"/>
                    <a:gd name="connsiteY44" fmla="*/ 101139 h 680138"/>
                    <a:gd name="connsiteX45" fmla="*/ 537374 w 599011"/>
                    <a:gd name="connsiteY45" fmla="*/ 103118 h 680138"/>
                    <a:gd name="connsiteX46" fmla="*/ 539486 w 599011"/>
                    <a:gd name="connsiteY46" fmla="*/ 103956 h 680138"/>
                    <a:gd name="connsiteX47" fmla="*/ 548339 w 599011"/>
                    <a:gd name="connsiteY47" fmla="*/ 105449 h 680138"/>
                    <a:gd name="connsiteX48" fmla="*/ 549954 w 599011"/>
                    <a:gd name="connsiteY48" fmla="*/ 106105 h 680138"/>
                    <a:gd name="connsiteX49" fmla="*/ 551083 w 599011"/>
                    <a:gd name="connsiteY49" fmla="*/ 107538 h 680138"/>
                    <a:gd name="connsiteX50" fmla="*/ 552127 w 599011"/>
                    <a:gd name="connsiteY50" fmla="*/ 109031 h 680138"/>
                    <a:gd name="connsiteX51" fmla="*/ 553961 w 599011"/>
                    <a:gd name="connsiteY51" fmla="*/ 110355 h 680138"/>
                    <a:gd name="connsiteX52" fmla="*/ 557070 w 599011"/>
                    <a:gd name="connsiteY52" fmla="*/ 110185 h 680138"/>
                    <a:gd name="connsiteX53" fmla="*/ 559874 w 599011"/>
                    <a:gd name="connsiteY53" fmla="*/ 109031 h 680138"/>
                    <a:gd name="connsiteX54" fmla="*/ 566019 w 599011"/>
                    <a:gd name="connsiteY54" fmla="*/ 105194 h 680138"/>
                    <a:gd name="connsiteX55" fmla="*/ 567391 w 599011"/>
                    <a:gd name="connsiteY55" fmla="*/ 105097 h 680138"/>
                    <a:gd name="connsiteX56" fmla="*/ 567755 w 599011"/>
                    <a:gd name="connsiteY56" fmla="*/ 106360 h 680138"/>
                    <a:gd name="connsiteX57" fmla="*/ 566942 w 599011"/>
                    <a:gd name="connsiteY57" fmla="*/ 107829 h 680138"/>
                    <a:gd name="connsiteX58" fmla="*/ 563894 w 599011"/>
                    <a:gd name="connsiteY58" fmla="*/ 111132 h 680138"/>
                    <a:gd name="connsiteX59" fmla="*/ 564076 w 599011"/>
                    <a:gd name="connsiteY59" fmla="*/ 112019 h 680138"/>
                    <a:gd name="connsiteX60" fmla="*/ 565448 w 599011"/>
                    <a:gd name="connsiteY60" fmla="*/ 112650 h 680138"/>
                    <a:gd name="connsiteX61" fmla="*/ 569127 w 599011"/>
                    <a:gd name="connsiteY61" fmla="*/ 112796 h 680138"/>
                    <a:gd name="connsiteX62" fmla="*/ 571653 w 599011"/>
                    <a:gd name="connsiteY62" fmla="*/ 112589 h 680138"/>
                    <a:gd name="connsiteX63" fmla="*/ 574118 w 599011"/>
                    <a:gd name="connsiteY63" fmla="*/ 112079 h 680138"/>
                    <a:gd name="connsiteX64" fmla="*/ 575855 w 599011"/>
                    <a:gd name="connsiteY64" fmla="*/ 111302 h 680138"/>
                    <a:gd name="connsiteX65" fmla="*/ 578890 w 599011"/>
                    <a:gd name="connsiteY65" fmla="*/ 111241 h 680138"/>
                    <a:gd name="connsiteX66" fmla="*/ 583590 w 599011"/>
                    <a:gd name="connsiteY66" fmla="*/ 115589 h 680138"/>
                    <a:gd name="connsiteX67" fmla="*/ 592090 w 599011"/>
                    <a:gd name="connsiteY67" fmla="*/ 120033 h 680138"/>
                    <a:gd name="connsiteX68" fmla="*/ 592320 w 599011"/>
                    <a:gd name="connsiteY68" fmla="*/ 119887 h 680138"/>
                    <a:gd name="connsiteX69" fmla="*/ 592612 w 599011"/>
                    <a:gd name="connsiteY69" fmla="*/ 120349 h 680138"/>
                    <a:gd name="connsiteX70" fmla="*/ 592891 w 599011"/>
                    <a:gd name="connsiteY70" fmla="*/ 122437 h 680138"/>
                    <a:gd name="connsiteX71" fmla="*/ 592320 w 599011"/>
                    <a:gd name="connsiteY71" fmla="*/ 131775 h 680138"/>
                    <a:gd name="connsiteX72" fmla="*/ 589515 w 599011"/>
                    <a:gd name="connsiteY72" fmla="*/ 141417 h 680138"/>
                    <a:gd name="connsiteX73" fmla="*/ 586006 w 599011"/>
                    <a:gd name="connsiteY73" fmla="*/ 144902 h 680138"/>
                    <a:gd name="connsiteX74" fmla="*/ 578138 w 599011"/>
                    <a:gd name="connsiteY74" fmla="*/ 150864 h 680138"/>
                    <a:gd name="connsiteX75" fmla="*/ 565910 w 599011"/>
                    <a:gd name="connsiteY75" fmla="*/ 162922 h 680138"/>
                    <a:gd name="connsiteX76" fmla="*/ 560275 w 599011"/>
                    <a:gd name="connsiteY76" fmla="*/ 167281 h 680138"/>
                    <a:gd name="connsiteX77" fmla="*/ 558672 w 599011"/>
                    <a:gd name="connsiteY77" fmla="*/ 169528 h 680138"/>
                    <a:gd name="connsiteX78" fmla="*/ 558211 w 599011"/>
                    <a:gd name="connsiteY78" fmla="*/ 175405 h 680138"/>
                    <a:gd name="connsiteX79" fmla="*/ 552018 w 599011"/>
                    <a:gd name="connsiteY79" fmla="*/ 178805 h 680138"/>
                    <a:gd name="connsiteX80" fmla="*/ 546153 w 599011"/>
                    <a:gd name="connsiteY80" fmla="*/ 184281 h 680138"/>
                    <a:gd name="connsiteX81" fmla="*/ 543227 w 599011"/>
                    <a:gd name="connsiteY81" fmla="*/ 185374 h 680138"/>
                    <a:gd name="connsiteX82" fmla="*/ 542644 w 599011"/>
                    <a:gd name="connsiteY82" fmla="*/ 186261 h 680138"/>
                    <a:gd name="connsiteX83" fmla="*/ 542486 w 599011"/>
                    <a:gd name="connsiteY83" fmla="*/ 187414 h 680138"/>
                    <a:gd name="connsiteX84" fmla="*/ 542255 w 599011"/>
                    <a:gd name="connsiteY84" fmla="*/ 190304 h 680138"/>
                    <a:gd name="connsiteX85" fmla="*/ 541733 w 599011"/>
                    <a:gd name="connsiteY85" fmla="*/ 190486 h 680138"/>
                    <a:gd name="connsiteX86" fmla="*/ 540931 w 599011"/>
                    <a:gd name="connsiteY86" fmla="*/ 190304 h 680138"/>
                    <a:gd name="connsiteX87" fmla="*/ 539839 w 599011"/>
                    <a:gd name="connsiteY87" fmla="*/ 190778 h 680138"/>
                    <a:gd name="connsiteX88" fmla="*/ 539025 w 599011"/>
                    <a:gd name="connsiteY88" fmla="*/ 190996 h 680138"/>
                    <a:gd name="connsiteX89" fmla="*/ 536851 w 599011"/>
                    <a:gd name="connsiteY89" fmla="*/ 190632 h 680138"/>
                    <a:gd name="connsiteX90" fmla="*/ 535989 w 599011"/>
                    <a:gd name="connsiteY90" fmla="*/ 190778 h 680138"/>
                    <a:gd name="connsiteX91" fmla="*/ 535127 w 599011"/>
                    <a:gd name="connsiteY91" fmla="*/ 191834 h 680138"/>
                    <a:gd name="connsiteX92" fmla="*/ 534957 w 599011"/>
                    <a:gd name="connsiteY92" fmla="*/ 193036 h 680138"/>
                    <a:gd name="connsiteX93" fmla="*/ 534957 w 599011"/>
                    <a:gd name="connsiteY93" fmla="*/ 194166 h 680138"/>
                    <a:gd name="connsiteX94" fmla="*/ 534617 w 599011"/>
                    <a:gd name="connsiteY94" fmla="*/ 194991 h 680138"/>
                    <a:gd name="connsiteX95" fmla="*/ 527611 w 599011"/>
                    <a:gd name="connsiteY95" fmla="*/ 201998 h 680138"/>
                    <a:gd name="connsiteX96" fmla="*/ 525716 w 599011"/>
                    <a:gd name="connsiteY96" fmla="*/ 203406 h 680138"/>
                    <a:gd name="connsiteX97" fmla="*/ 524053 w 599011"/>
                    <a:gd name="connsiteY97" fmla="*/ 206649 h 680138"/>
                    <a:gd name="connsiteX98" fmla="*/ 521928 w 599011"/>
                    <a:gd name="connsiteY98" fmla="*/ 213194 h 680138"/>
                    <a:gd name="connsiteX99" fmla="*/ 516415 w 599011"/>
                    <a:gd name="connsiteY99" fmla="*/ 238779 h 680138"/>
                    <a:gd name="connsiteX100" fmla="*/ 512966 w 599011"/>
                    <a:gd name="connsiteY100" fmla="*/ 245554 h 680138"/>
                    <a:gd name="connsiteX101" fmla="*/ 511874 w 599011"/>
                    <a:gd name="connsiteY101" fmla="*/ 245980 h 680138"/>
                    <a:gd name="connsiteX102" fmla="*/ 510441 w 599011"/>
                    <a:gd name="connsiteY102" fmla="*/ 245785 h 680138"/>
                    <a:gd name="connsiteX103" fmla="*/ 508947 w 599011"/>
                    <a:gd name="connsiteY103" fmla="*/ 245846 h 680138"/>
                    <a:gd name="connsiteX104" fmla="*/ 507745 w 599011"/>
                    <a:gd name="connsiteY104" fmla="*/ 246927 h 680138"/>
                    <a:gd name="connsiteX105" fmla="*/ 507393 w 599011"/>
                    <a:gd name="connsiteY105" fmla="*/ 248675 h 680138"/>
                    <a:gd name="connsiteX106" fmla="*/ 507915 w 599011"/>
                    <a:gd name="connsiteY106" fmla="*/ 250375 h 680138"/>
                    <a:gd name="connsiteX107" fmla="*/ 508716 w 599011"/>
                    <a:gd name="connsiteY107" fmla="*/ 251954 h 680138"/>
                    <a:gd name="connsiteX108" fmla="*/ 509117 w 599011"/>
                    <a:gd name="connsiteY108" fmla="*/ 253302 h 680138"/>
                    <a:gd name="connsiteX109" fmla="*/ 508376 w 599011"/>
                    <a:gd name="connsiteY109" fmla="*/ 255463 h 680138"/>
                    <a:gd name="connsiteX110" fmla="*/ 506640 w 599011"/>
                    <a:gd name="connsiteY110" fmla="*/ 257212 h 680138"/>
                    <a:gd name="connsiteX111" fmla="*/ 502633 w 599011"/>
                    <a:gd name="connsiteY111" fmla="*/ 259677 h 680138"/>
                    <a:gd name="connsiteX112" fmla="*/ 503956 w 599011"/>
                    <a:gd name="connsiteY112" fmla="*/ 263793 h 680138"/>
                    <a:gd name="connsiteX113" fmla="*/ 499063 w 599011"/>
                    <a:gd name="connsiteY113" fmla="*/ 268638 h 680138"/>
                    <a:gd name="connsiteX114" fmla="*/ 500155 w 599011"/>
                    <a:gd name="connsiteY114" fmla="*/ 272257 h 680138"/>
                    <a:gd name="connsiteX115" fmla="*/ 498723 w 599011"/>
                    <a:gd name="connsiteY115" fmla="*/ 275706 h 680138"/>
                    <a:gd name="connsiteX116" fmla="*/ 499306 w 599011"/>
                    <a:gd name="connsiteY116" fmla="*/ 278255 h 680138"/>
                    <a:gd name="connsiteX117" fmla="*/ 500556 w 599011"/>
                    <a:gd name="connsiteY117" fmla="*/ 280466 h 680138"/>
                    <a:gd name="connsiteX118" fmla="*/ 501309 w 599011"/>
                    <a:gd name="connsiteY118" fmla="*/ 282882 h 680138"/>
                    <a:gd name="connsiteX119" fmla="*/ 500095 w 599011"/>
                    <a:gd name="connsiteY119" fmla="*/ 284485 h 680138"/>
                    <a:gd name="connsiteX120" fmla="*/ 497411 w 599011"/>
                    <a:gd name="connsiteY120" fmla="*/ 285456 h 680138"/>
                    <a:gd name="connsiteX121" fmla="*/ 494703 w 599011"/>
                    <a:gd name="connsiteY121" fmla="*/ 286865 h 680138"/>
                    <a:gd name="connsiteX122" fmla="*/ 493501 w 599011"/>
                    <a:gd name="connsiteY122" fmla="*/ 289743 h 680138"/>
                    <a:gd name="connsiteX123" fmla="*/ 493950 w 599011"/>
                    <a:gd name="connsiteY123" fmla="*/ 291151 h 680138"/>
                    <a:gd name="connsiteX124" fmla="*/ 495796 w 599011"/>
                    <a:gd name="connsiteY124" fmla="*/ 293653 h 680138"/>
                    <a:gd name="connsiteX125" fmla="*/ 496197 w 599011"/>
                    <a:gd name="connsiteY125" fmla="*/ 295401 h 680138"/>
                    <a:gd name="connsiteX126" fmla="*/ 495918 w 599011"/>
                    <a:gd name="connsiteY126" fmla="*/ 298814 h 680138"/>
                    <a:gd name="connsiteX127" fmla="*/ 495505 w 599011"/>
                    <a:gd name="connsiteY127" fmla="*/ 300477 h 680138"/>
                    <a:gd name="connsiteX128" fmla="*/ 494934 w 599011"/>
                    <a:gd name="connsiteY128" fmla="*/ 300331 h 680138"/>
                    <a:gd name="connsiteX129" fmla="*/ 497120 w 599011"/>
                    <a:gd name="connsiteY129" fmla="*/ 302687 h 680138"/>
                    <a:gd name="connsiteX130" fmla="*/ 502341 w 599011"/>
                    <a:gd name="connsiteY130" fmla="*/ 302031 h 680138"/>
                    <a:gd name="connsiteX131" fmla="*/ 505158 w 599011"/>
                    <a:gd name="connsiteY131" fmla="*/ 304411 h 680138"/>
                    <a:gd name="connsiteX132" fmla="*/ 502742 w 599011"/>
                    <a:gd name="connsiteY132" fmla="*/ 307399 h 680138"/>
                    <a:gd name="connsiteX133" fmla="*/ 496258 w 599011"/>
                    <a:gd name="connsiteY133" fmla="*/ 313373 h 680138"/>
                    <a:gd name="connsiteX134" fmla="*/ 494934 w 599011"/>
                    <a:gd name="connsiteY134" fmla="*/ 316469 h 680138"/>
                    <a:gd name="connsiteX135" fmla="*/ 497059 w 599011"/>
                    <a:gd name="connsiteY135" fmla="*/ 316676 h 680138"/>
                    <a:gd name="connsiteX136" fmla="*/ 501892 w 599011"/>
                    <a:gd name="connsiteY136" fmla="*/ 316032 h 680138"/>
                    <a:gd name="connsiteX137" fmla="*/ 507101 w 599011"/>
                    <a:gd name="connsiteY137" fmla="*/ 316154 h 680138"/>
                    <a:gd name="connsiteX138" fmla="*/ 510380 w 599011"/>
                    <a:gd name="connsiteY138" fmla="*/ 318497 h 680138"/>
                    <a:gd name="connsiteX139" fmla="*/ 510732 w 599011"/>
                    <a:gd name="connsiteY139" fmla="*/ 320865 h 680138"/>
                    <a:gd name="connsiteX140" fmla="*/ 509870 w 599011"/>
                    <a:gd name="connsiteY140" fmla="*/ 322468 h 680138"/>
                    <a:gd name="connsiteX141" fmla="*/ 508595 w 599011"/>
                    <a:gd name="connsiteY141" fmla="*/ 323877 h 680138"/>
                    <a:gd name="connsiteX142" fmla="*/ 507745 w 599011"/>
                    <a:gd name="connsiteY142" fmla="*/ 325589 h 680138"/>
                    <a:gd name="connsiteX143" fmla="*/ 507514 w 599011"/>
                    <a:gd name="connsiteY143" fmla="*/ 327240 h 680138"/>
                    <a:gd name="connsiteX144" fmla="*/ 507745 w 599011"/>
                    <a:gd name="connsiteY144" fmla="*/ 333299 h 680138"/>
                    <a:gd name="connsiteX145" fmla="*/ 508486 w 599011"/>
                    <a:gd name="connsiteY145" fmla="*/ 335157 h 680138"/>
                    <a:gd name="connsiteX146" fmla="*/ 509931 w 599011"/>
                    <a:gd name="connsiteY146" fmla="*/ 337137 h 680138"/>
                    <a:gd name="connsiteX147" fmla="*/ 510732 w 599011"/>
                    <a:gd name="connsiteY147" fmla="*/ 339286 h 680138"/>
                    <a:gd name="connsiteX148" fmla="*/ 509748 w 599011"/>
                    <a:gd name="connsiteY148" fmla="*/ 341678 h 680138"/>
                    <a:gd name="connsiteX149" fmla="*/ 507745 w 599011"/>
                    <a:gd name="connsiteY149" fmla="*/ 344204 h 680138"/>
                    <a:gd name="connsiteX150" fmla="*/ 507101 w 599011"/>
                    <a:gd name="connsiteY150" fmla="*/ 345989 h 680138"/>
                    <a:gd name="connsiteX151" fmla="*/ 509117 w 599011"/>
                    <a:gd name="connsiteY151" fmla="*/ 376674 h 680138"/>
                    <a:gd name="connsiteX152" fmla="*/ 508886 w 599011"/>
                    <a:gd name="connsiteY152" fmla="*/ 377937 h 680138"/>
                    <a:gd name="connsiteX153" fmla="*/ 508437 w 599011"/>
                    <a:gd name="connsiteY153" fmla="*/ 378568 h 680138"/>
                    <a:gd name="connsiteX154" fmla="*/ 507915 w 599011"/>
                    <a:gd name="connsiteY154" fmla="*/ 378993 h 680138"/>
                    <a:gd name="connsiteX155" fmla="*/ 507745 w 599011"/>
                    <a:gd name="connsiteY155" fmla="*/ 379515 h 680138"/>
                    <a:gd name="connsiteX156" fmla="*/ 508085 w 599011"/>
                    <a:gd name="connsiteY156" fmla="*/ 381130 h 680138"/>
                    <a:gd name="connsiteX157" fmla="*/ 508886 w 599011"/>
                    <a:gd name="connsiteY157" fmla="*/ 381895 h 680138"/>
                    <a:gd name="connsiteX158" fmla="*/ 509809 w 599011"/>
                    <a:gd name="connsiteY158" fmla="*/ 382333 h 680138"/>
                    <a:gd name="connsiteX159" fmla="*/ 510380 w 599011"/>
                    <a:gd name="connsiteY159" fmla="*/ 382928 h 680138"/>
                    <a:gd name="connsiteX160" fmla="*/ 514338 w 599011"/>
                    <a:gd name="connsiteY160" fmla="*/ 395823 h 680138"/>
                    <a:gd name="connsiteX161" fmla="*/ 519281 w 599011"/>
                    <a:gd name="connsiteY161" fmla="*/ 403777 h 680138"/>
                    <a:gd name="connsiteX162" fmla="*/ 518200 w 599011"/>
                    <a:gd name="connsiteY162" fmla="*/ 405671 h 680138"/>
                    <a:gd name="connsiteX163" fmla="*/ 515893 w 599011"/>
                    <a:gd name="connsiteY163" fmla="*/ 407226 h 680138"/>
                    <a:gd name="connsiteX164" fmla="*/ 515492 w 599011"/>
                    <a:gd name="connsiteY164" fmla="*/ 410808 h 680138"/>
                    <a:gd name="connsiteX165" fmla="*/ 520556 w 599011"/>
                    <a:gd name="connsiteY165" fmla="*/ 414997 h 680138"/>
                    <a:gd name="connsiteX166" fmla="*/ 521928 w 599011"/>
                    <a:gd name="connsiteY166" fmla="*/ 416491 h 680138"/>
                    <a:gd name="connsiteX167" fmla="*/ 523300 w 599011"/>
                    <a:gd name="connsiteY167" fmla="*/ 418858 h 680138"/>
                    <a:gd name="connsiteX168" fmla="*/ 523992 w 599011"/>
                    <a:gd name="connsiteY168" fmla="*/ 420741 h 680138"/>
                    <a:gd name="connsiteX169" fmla="*/ 523871 w 599011"/>
                    <a:gd name="connsiteY169" fmla="*/ 422441 h 680138"/>
                    <a:gd name="connsiteX170" fmla="*/ 522559 w 599011"/>
                    <a:gd name="connsiteY170" fmla="*/ 424250 h 680138"/>
                    <a:gd name="connsiteX171" fmla="*/ 520252 w 599011"/>
                    <a:gd name="connsiteY171" fmla="*/ 428415 h 680138"/>
                    <a:gd name="connsiteX172" fmla="*/ 511703 w 599011"/>
                    <a:gd name="connsiteY172" fmla="*/ 431487 h 680138"/>
                    <a:gd name="connsiteX173" fmla="*/ 510562 w 599011"/>
                    <a:gd name="connsiteY173" fmla="*/ 431426 h 680138"/>
                    <a:gd name="connsiteX174" fmla="*/ 508085 w 599011"/>
                    <a:gd name="connsiteY174" fmla="*/ 430674 h 680138"/>
                    <a:gd name="connsiteX175" fmla="*/ 505620 w 599011"/>
                    <a:gd name="connsiteY175" fmla="*/ 429654 h 680138"/>
                    <a:gd name="connsiteX176" fmla="*/ 497059 w 599011"/>
                    <a:gd name="connsiteY176" fmla="*/ 427346 h 680138"/>
                    <a:gd name="connsiteX177" fmla="*/ 495347 w 599011"/>
                    <a:gd name="connsiteY177" fmla="*/ 427322 h 680138"/>
                    <a:gd name="connsiteX178" fmla="*/ 493793 w 599011"/>
                    <a:gd name="connsiteY178" fmla="*/ 429010 h 680138"/>
                    <a:gd name="connsiteX179" fmla="*/ 492821 w 599011"/>
                    <a:gd name="connsiteY179" fmla="*/ 430479 h 680138"/>
                    <a:gd name="connsiteX180" fmla="*/ 489360 w 599011"/>
                    <a:gd name="connsiteY180" fmla="*/ 433211 h 680138"/>
                    <a:gd name="connsiteX181" fmla="*/ 483289 w 599011"/>
                    <a:gd name="connsiteY181" fmla="*/ 432981 h 680138"/>
                    <a:gd name="connsiteX182" fmla="*/ 478578 w 599011"/>
                    <a:gd name="connsiteY182" fmla="*/ 434474 h 680138"/>
                    <a:gd name="connsiteX183" fmla="*/ 474036 w 599011"/>
                    <a:gd name="connsiteY183" fmla="*/ 436818 h 680138"/>
                    <a:gd name="connsiteX184" fmla="*/ 472032 w 599011"/>
                    <a:gd name="connsiteY184" fmla="*/ 438724 h 680138"/>
                    <a:gd name="connsiteX185" fmla="*/ 470697 w 599011"/>
                    <a:gd name="connsiteY185" fmla="*/ 441080 h 680138"/>
                    <a:gd name="connsiteX186" fmla="*/ 470418 w 599011"/>
                    <a:gd name="connsiteY186" fmla="*/ 443144 h 680138"/>
                    <a:gd name="connsiteX187" fmla="*/ 470247 w 599011"/>
                    <a:gd name="connsiteY187" fmla="*/ 445719 h 680138"/>
                    <a:gd name="connsiteX188" fmla="*/ 470927 w 599011"/>
                    <a:gd name="connsiteY188" fmla="*/ 456234 h 680138"/>
                    <a:gd name="connsiteX189" fmla="*/ 470697 w 599011"/>
                    <a:gd name="connsiteY189" fmla="*/ 459331 h 680138"/>
                    <a:gd name="connsiteX190" fmla="*/ 470988 w 599011"/>
                    <a:gd name="connsiteY190" fmla="*/ 460594 h 680138"/>
                    <a:gd name="connsiteX191" fmla="*/ 472190 w 599011"/>
                    <a:gd name="connsiteY191" fmla="*/ 462865 h 680138"/>
                    <a:gd name="connsiteX192" fmla="*/ 472712 w 599011"/>
                    <a:gd name="connsiteY192" fmla="*/ 465208 h 680138"/>
                    <a:gd name="connsiteX193" fmla="*/ 471280 w 599011"/>
                    <a:gd name="connsiteY193" fmla="*/ 467540 h 680138"/>
                    <a:gd name="connsiteX194" fmla="*/ 468013 w 599011"/>
                    <a:gd name="connsiteY194" fmla="*/ 470381 h 680138"/>
                    <a:gd name="connsiteX195" fmla="*/ 467321 w 599011"/>
                    <a:gd name="connsiteY195" fmla="*/ 472081 h 680138"/>
                    <a:gd name="connsiteX196" fmla="*/ 466860 w 599011"/>
                    <a:gd name="connsiteY196" fmla="*/ 476222 h 680138"/>
                    <a:gd name="connsiteX197" fmla="*/ 465767 w 599011"/>
                    <a:gd name="connsiteY197" fmla="*/ 477302 h 680138"/>
                    <a:gd name="connsiteX198" fmla="*/ 464091 w 599011"/>
                    <a:gd name="connsiteY198" fmla="*/ 477740 h 680138"/>
                    <a:gd name="connsiteX199" fmla="*/ 460715 w 599011"/>
                    <a:gd name="connsiteY199" fmla="*/ 478250 h 680138"/>
                    <a:gd name="connsiteX200" fmla="*/ 458639 w 599011"/>
                    <a:gd name="connsiteY200" fmla="*/ 479088 h 680138"/>
                    <a:gd name="connsiteX201" fmla="*/ 457728 w 599011"/>
                    <a:gd name="connsiteY201" fmla="*/ 480144 h 680138"/>
                    <a:gd name="connsiteX202" fmla="*/ 455955 w 599011"/>
                    <a:gd name="connsiteY202" fmla="*/ 483678 h 680138"/>
                    <a:gd name="connsiteX203" fmla="*/ 451984 w 599011"/>
                    <a:gd name="connsiteY203" fmla="*/ 487418 h 680138"/>
                    <a:gd name="connsiteX204" fmla="*/ 451414 w 599011"/>
                    <a:gd name="connsiteY204" fmla="*/ 489105 h 680138"/>
                    <a:gd name="connsiteX205" fmla="*/ 451644 w 599011"/>
                    <a:gd name="connsiteY205" fmla="*/ 490684 h 680138"/>
                    <a:gd name="connsiteX206" fmla="*/ 453138 w 599011"/>
                    <a:gd name="connsiteY206" fmla="*/ 492384 h 680138"/>
                    <a:gd name="connsiteX207" fmla="*/ 455955 w 599011"/>
                    <a:gd name="connsiteY207" fmla="*/ 494849 h 680138"/>
                    <a:gd name="connsiteX208" fmla="*/ 456975 w 599011"/>
                    <a:gd name="connsiteY208" fmla="*/ 496027 h 680138"/>
                    <a:gd name="connsiteX209" fmla="*/ 457728 w 599011"/>
                    <a:gd name="connsiteY209" fmla="*/ 497265 h 680138"/>
                    <a:gd name="connsiteX210" fmla="*/ 458129 w 599011"/>
                    <a:gd name="connsiteY210" fmla="*/ 498383 h 680138"/>
                    <a:gd name="connsiteX211" fmla="*/ 458238 w 599011"/>
                    <a:gd name="connsiteY211" fmla="*/ 499354 h 680138"/>
                    <a:gd name="connsiteX212" fmla="*/ 458699 w 599011"/>
                    <a:gd name="connsiteY212" fmla="*/ 501200 h 680138"/>
                    <a:gd name="connsiteX213" fmla="*/ 465196 w 599011"/>
                    <a:gd name="connsiteY213" fmla="*/ 499439 h 680138"/>
                    <a:gd name="connsiteX214" fmla="*/ 475590 w 599011"/>
                    <a:gd name="connsiteY214" fmla="*/ 498638 h 680138"/>
                    <a:gd name="connsiteX215" fmla="*/ 478395 w 599011"/>
                    <a:gd name="connsiteY215" fmla="*/ 498116 h 680138"/>
                    <a:gd name="connsiteX216" fmla="*/ 479767 w 599011"/>
                    <a:gd name="connsiteY216" fmla="*/ 497496 h 680138"/>
                    <a:gd name="connsiteX217" fmla="*/ 479828 w 599011"/>
                    <a:gd name="connsiteY217" fmla="*/ 495080 h 680138"/>
                    <a:gd name="connsiteX218" fmla="*/ 480921 w 599011"/>
                    <a:gd name="connsiteY218" fmla="*/ 493355 h 680138"/>
                    <a:gd name="connsiteX219" fmla="*/ 482135 w 599011"/>
                    <a:gd name="connsiteY219" fmla="*/ 493040 h 680138"/>
                    <a:gd name="connsiteX220" fmla="*/ 483228 w 599011"/>
                    <a:gd name="connsiteY220" fmla="*/ 493149 h 680138"/>
                    <a:gd name="connsiteX221" fmla="*/ 495918 w 599011"/>
                    <a:gd name="connsiteY221" fmla="*/ 499354 h 680138"/>
                    <a:gd name="connsiteX222" fmla="*/ 496828 w 599011"/>
                    <a:gd name="connsiteY222" fmla="*/ 500277 h 680138"/>
                    <a:gd name="connsiteX223" fmla="*/ 497460 w 599011"/>
                    <a:gd name="connsiteY223" fmla="*/ 501540 h 680138"/>
                    <a:gd name="connsiteX224" fmla="*/ 499354 w 599011"/>
                    <a:gd name="connsiteY224" fmla="*/ 507247 h 680138"/>
                    <a:gd name="connsiteX225" fmla="*/ 500095 w 599011"/>
                    <a:gd name="connsiteY225" fmla="*/ 508631 h 680138"/>
                    <a:gd name="connsiteX226" fmla="*/ 501491 w 599011"/>
                    <a:gd name="connsiteY226" fmla="*/ 510125 h 680138"/>
                    <a:gd name="connsiteX227" fmla="*/ 503895 w 599011"/>
                    <a:gd name="connsiteY227" fmla="*/ 511849 h 680138"/>
                    <a:gd name="connsiteX228" fmla="*/ 508316 w 599011"/>
                    <a:gd name="connsiteY228" fmla="*/ 514229 h 680138"/>
                    <a:gd name="connsiteX229" fmla="*/ 511181 w 599011"/>
                    <a:gd name="connsiteY229" fmla="*/ 516148 h 680138"/>
                    <a:gd name="connsiteX230" fmla="*/ 518880 w 599011"/>
                    <a:gd name="connsiteY230" fmla="*/ 518880 h 680138"/>
                    <a:gd name="connsiteX231" fmla="*/ 524842 w 599011"/>
                    <a:gd name="connsiteY231" fmla="*/ 517848 h 680138"/>
                    <a:gd name="connsiteX232" fmla="*/ 526639 w 599011"/>
                    <a:gd name="connsiteY232" fmla="*/ 516791 h 680138"/>
                    <a:gd name="connsiteX233" fmla="*/ 527611 w 599011"/>
                    <a:gd name="connsiteY233" fmla="*/ 515832 h 680138"/>
                    <a:gd name="connsiteX234" fmla="*/ 527732 w 599011"/>
                    <a:gd name="connsiteY234" fmla="*/ 514800 h 680138"/>
                    <a:gd name="connsiteX235" fmla="*/ 527210 w 599011"/>
                    <a:gd name="connsiteY235" fmla="*/ 513598 h 680138"/>
                    <a:gd name="connsiteX236" fmla="*/ 526226 w 599011"/>
                    <a:gd name="connsiteY236" fmla="*/ 512226 h 680138"/>
                    <a:gd name="connsiteX237" fmla="*/ 524963 w 599011"/>
                    <a:gd name="connsiteY237" fmla="*/ 511096 h 680138"/>
                    <a:gd name="connsiteX238" fmla="*/ 524393 w 599011"/>
                    <a:gd name="connsiteY238" fmla="*/ 509748 h 680138"/>
                    <a:gd name="connsiteX239" fmla="*/ 525024 w 599011"/>
                    <a:gd name="connsiteY239" fmla="*/ 508340 h 680138"/>
                    <a:gd name="connsiteX240" fmla="*/ 527829 w 599011"/>
                    <a:gd name="connsiteY240" fmla="*/ 505668 h 680138"/>
                    <a:gd name="connsiteX241" fmla="*/ 530938 w 599011"/>
                    <a:gd name="connsiteY241" fmla="*/ 503944 h 680138"/>
                    <a:gd name="connsiteX242" fmla="*/ 533184 w 599011"/>
                    <a:gd name="connsiteY242" fmla="*/ 503058 h 680138"/>
                    <a:gd name="connsiteX243" fmla="*/ 544028 w 599011"/>
                    <a:gd name="connsiteY243" fmla="*/ 501139 h 680138"/>
                    <a:gd name="connsiteX244" fmla="*/ 545473 w 599011"/>
                    <a:gd name="connsiteY244" fmla="*/ 503543 h 680138"/>
                    <a:gd name="connsiteX245" fmla="*/ 547027 w 599011"/>
                    <a:gd name="connsiteY245" fmla="*/ 505498 h 680138"/>
                    <a:gd name="connsiteX246" fmla="*/ 548800 w 599011"/>
                    <a:gd name="connsiteY246" fmla="*/ 506822 h 680138"/>
                    <a:gd name="connsiteX247" fmla="*/ 550743 w 599011"/>
                    <a:gd name="connsiteY247" fmla="*/ 507308 h 680138"/>
                    <a:gd name="connsiteX248" fmla="*/ 553269 w 599011"/>
                    <a:gd name="connsiteY248" fmla="*/ 508376 h 680138"/>
                    <a:gd name="connsiteX249" fmla="*/ 553621 w 599011"/>
                    <a:gd name="connsiteY249" fmla="*/ 510781 h 680138"/>
                    <a:gd name="connsiteX250" fmla="*/ 553111 w 599011"/>
                    <a:gd name="connsiteY250" fmla="*/ 513136 h 680138"/>
                    <a:gd name="connsiteX251" fmla="*/ 553330 w 599011"/>
                    <a:gd name="connsiteY251" fmla="*/ 514229 h 680138"/>
                    <a:gd name="connsiteX252" fmla="*/ 554823 w 599011"/>
                    <a:gd name="connsiteY252" fmla="*/ 513768 h 680138"/>
                    <a:gd name="connsiteX253" fmla="*/ 558053 w 599011"/>
                    <a:gd name="connsiteY253" fmla="*/ 511813 h 680138"/>
                    <a:gd name="connsiteX254" fmla="*/ 559073 w 599011"/>
                    <a:gd name="connsiteY254" fmla="*/ 511473 h 680138"/>
                    <a:gd name="connsiteX255" fmla="*/ 560518 w 599011"/>
                    <a:gd name="connsiteY255" fmla="*/ 512274 h 680138"/>
                    <a:gd name="connsiteX256" fmla="*/ 560858 w 599011"/>
                    <a:gd name="connsiteY256" fmla="*/ 513343 h 680138"/>
                    <a:gd name="connsiteX257" fmla="*/ 560919 w 599011"/>
                    <a:gd name="connsiteY257" fmla="*/ 514521 h 680138"/>
                    <a:gd name="connsiteX258" fmla="*/ 562230 w 599011"/>
                    <a:gd name="connsiteY258" fmla="*/ 516986 h 680138"/>
                    <a:gd name="connsiteX259" fmla="*/ 562352 w 599011"/>
                    <a:gd name="connsiteY259" fmla="*/ 518249 h 680138"/>
                    <a:gd name="connsiteX260" fmla="*/ 562922 w 599011"/>
                    <a:gd name="connsiteY260" fmla="*/ 519256 h 680138"/>
                    <a:gd name="connsiteX261" fmla="*/ 564877 w 599011"/>
                    <a:gd name="connsiteY261" fmla="*/ 519681 h 680138"/>
                    <a:gd name="connsiteX262" fmla="*/ 568265 w 599011"/>
                    <a:gd name="connsiteY262" fmla="*/ 518443 h 680138"/>
                    <a:gd name="connsiteX263" fmla="*/ 569990 w 599011"/>
                    <a:gd name="connsiteY263" fmla="*/ 518540 h 680138"/>
                    <a:gd name="connsiteX264" fmla="*/ 570682 w 599011"/>
                    <a:gd name="connsiteY264" fmla="*/ 520434 h 680138"/>
                    <a:gd name="connsiteX265" fmla="*/ 570378 w 599011"/>
                    <a:gd name="connsiteY265" fmla="*/ 526178 h 680138"/>
                    <a:gd name="connsiteX266" fmla="*/ 571823 w 599011"/>
                    <a:gd name="connsiteY266" fmla="*/ 527258 h 680138"/>
                    <a:gd name="connsiteX267" fmla="*/ 575855 w 599011"/>
                    <a:gd name="connsiteY267" fmla="*/ 526858 h 680138"/>
                    <a:gd name="connsiteX268" fmla="*/ 571131 w 599011"/>
                    <a:gd name="connsiteY268" fmla="*/ 537592 h 680138"/>
                    <a:gd name="connsiteX269" fmla="*/ 570099 w 599011"/>
                    <a:gd name="connsiteY269" fmla="*/ 542741 h 680138"/>
                    <a:gd name="connsiteX270" fmla="*/ 574118 w 599011"/>
                    <a:gd name="connsiteY270" fmla="*/ 546044 h 680138"/>
                    <a:gd name="connsiteX271" fmla="*/ 574410 w 599011"/>
                    <a:gd name="connsiteY271" fmla="*/ 548594 h 680138"/>
                    <a:gd name="connsiteX272" fmla="*/ 574300 w 599011"/>
                    <a:gd name="connsiteY272" fmla="*/ 551411 h 680138"/>
                    <a:gd name="connsiteX273" fmla="*/ 574640 w 599011"/>
                    <a:gd name="connsiteY273" fmla="*/ 553220 h 680138"/>
                    <a:gd name="connsiteX274" fmla="*/ 577045 w 599011"/>
                    <a:gd name="connsiteY274" fmla="*/ 554617 h 680138"/>
                    <a:gd name="connsiteX275" fmla="*/ 581817 w 599011"/>
                    <a:gd name="connsiteY275" fmla="*/ 555284 h 680138"/>
                    <a:gd name="connsiteX276" fmla="*/ 583650 w 599011"/>
                    <a:gd name="connsiteY276" fmla="*/ 557409 h 680138"/>
                    <a:gd name="connsiteX277" fmla="*/ 582497 w 599011"/>
                    <a:gd name="connsiteY277" fmla="*/ 557786 h 680138"/>
                    <a:gd name="connsiteX278" fmla="*/ 581695 w 599011"/>
                    <a:gd name="connsiteY278" fmla="*/ 558442 h 680138"/>
                    <a:gd name="connsiteX279" fmla="*/ 581246 w 599011"/>
                    <a:gd name="connsiteY279" fmla="*/ 559474 h 680138"/>
                    <a:gd name="connsiteX280" fmla="*/ 581064 w 599011"/>
                    <a:gd name="connsiteY280" fmla="*/ 560907 h 680138"/>
                    <a:gd name="connsiteX281" fmla="*/ 580262 w 599011"/>
                    <a:gd name="connsiteY281" fmla="*/ 562631 h 680138"/>
                    <a:gd name="connsiteX282" fmla="*/ 578478 w 599011"/>
                    <a:gd name="connsiteY282" fmla="*/ 563408 h 680138"/>
                    <a:gd name="connsiteX283" fmla="*/ 576705 w 599011"/>
                    <a:gd name="connsiteY283" fmla="*/ 563785 h 680138"/>
                    <a:gd name="connsiteX284" fmla="*/ 575855 w 599011"/>
                    <a:gd name="connsiteY284" fmla="*/ 564331 h 680138"/>
                    <a:gd name="connsiteX285" fmla="*/ 576644 w 599011"/>
                    <a:gd name="connsiteY285" fmla="*/ 566832 h 680138"/>
                    <a:gd name="connsiteX286" fmla="*/ 581756 w 599011"/>
                    <a:gd name="connsiteY286" fmla="*/ 567573 h 680138"/>
                    <a:gd name="connsiteX287" fmla="*/ 583650 w 599011"/>
                    <a:gd name="connsiteY287" fmla="*/ 569977 h 680138"/>
                    <a:gd name="connsiteX288" fmla="*/ 577737 w 599011"/>
                    <a:gd name="connsiteY288" fmla="*/ 572175 h 680138"/>
                    <a:gd name="connsiteX289" fmla="*/ 575442 w 599011"/>
                    <a:gd name="connsiteY289" fmla="*/ 575928 h 680138"/>
                    <a:gd name="connsiteX290" fmla="*/ 575551 w 599011"/>
                    <a:gd name="connsiteY290" fmla="*/ 581185 h 680138"/>
                    <a:gd name="connsiteX291" fmla="*/ 577105 w 599011"/>
                    <a:gd name="connsiteY291" fmla="*/ 587900 h 680138"/>
                    <a:gd name="connsiteX292" fmla="*/ 570682 w 599011"/>
                    <a:gd name="connsiteY292" fmla="*/ 583845 h 680138"/>
                    <a:gd name="connsiteX293" fmla="*/ 570839 w 599011"/>
                    <a:gd name="connsiteY293" fmla="*/ 586577 h 680138"/>
                    <a:gd name="connsiteX294" fmla="*/ 571932 w 599011"/>
                    <a:gd name="connsiteY294" fmla="*/ 592236 h 680138"/>
                    <a:gd name="connsiteX295" fmla="*/ 570378 w 599011"/>
                    <a:gd name="connsiteY295" fmla="*/ 597238 h 680138"/>
                    <a:gd name="connsiteX296" fmla="*/ 572564 w 599011"/>
                    <a:gd name="connsiteY296" fmla="*/ 599327 h 680138"/>
                    <a:gd name="connsiteX297" fmla="*/ 575551 w 599011"/>
                    <a:gd name="connsiteY297" fmla="*/ 600990 h 680138"/>
                    <a:gd name="connsiteX298" fmla="*/ 577105 w 599011"/>
                    <a:gd name="connsiteY298" fmla="*/ 602630 h 680138"/>
                    <a:gd name="connsiteX299" fmla="*/ 578660 w 599011"/>
                    <a:gd name="connsiteY299" fmla="*/ 606819 h 680138"/>
                    <a:gd name="connsiteX300" fmla="*/ 581355 w 599011"/>
                    <a:gd name="connsiteY300" fmla="*/ 611907 h 680138"/>
                    <a:gd name="connsiteX301" fmla="*/ 581878 w 599011"/>
                    <a:gd name="connsiteY301" fmla="*/ 616376 h 680138"/>
                    <a:gd name="connsiteX302" fmla="*/ 577907 w 599011"/>
                    <a:gd name="connsiteY302" fmla="*/ 618246 h 680138"/>
                    <a:gd name="connsiteX303" fmla="*/ 575211 w 599011"/>
                    <a:gd name="connsiteY303" fmla="*/ 621779 h 680138"/>
                    <a:gd name="connsiteX304" fmla="*/ 574300 w 599011"/>
                    <a:gd name="connsiteY304" fmla="*/ 622957 h 680138"/>
                    <a:gd name="connsiteX305" fmla="*/ 572564 w 599011"/>
                    <a:gd name="connsiteY305" fmla="*/ 627401 h 680138"/>
                    <a:gd name="connsiteX306" fmla="*/ 570742 w 599011"/>
                    <a:gd name="connsiteY306" fmla="*/ 629441 h 680138"/>
                    <a:gd name="connsiteX307" fmla="*/ 568727 w 599011"/>
                    <a:gd name="connsiteY307" fmla="*/ 630049 h 680138"/>
                    <a:gd name="connsiteX308" fmla="*/ 566371 w 599011"/>
                    <a:gd name="connsiteY308" fmla="*/ 629150 h 680138"/>
                    <a:gd name="connsiteX309" fmla="*/ 564295 w 599011"/>
                    <a:gd name="connsiteY309" fmla="*/ 628591 h 680138"/>
                    <a:gd name="connsiteX310" fmla="*/ 562230 w 599011"/>
                    <a:gd name="connsiteY310" fmla="*/ 628895 h 680138"/>
                    <a:gd name="connsiteX311" fmla="*/ 557179 w 599011"/>
                    <a:gd name="connsiteY311" fmla="*/ 634213 h 680138"/>
                    <a:gd name="connsiteX312" fmla="*/ 555807 w 599011"/>
                    <a:gd name="connsiteY312" fmla="*/ 634979 h 680138"/>
                    <a:gd name="connsiteX313" fmla="*/ 548800 w 599011"/>
                    <a:gd name="connsiteY313" fmla="*/ 636399 h 680138"/>
                    <a:gd name="connsiteX314" fmla="*/ 546675 w 599011"/>
                    <a:gd name="connsiteY314" fmla="*/ 638026 h 680138"/>
                    <a:gd name="connsiteX315" fmla="*/ 545121 w 599011"/>
                    <a:gd name="connsiteY315" fmla="*/ 638828 h 680138"/>
                    <a:gd name="connsiteX316" fmla="*/ 543809 w 599011"/>
                    <a:gd name="connsiteY316" fmla="*/ 639241 h 680138"/>
                    <a:gd name="connsiteX317" fmla="*/ 542765 w 599011"/>
                    <a:gd name="connsiteY317" fmla="*/ 639289 h 680138"/>
                    <a:gd name="connsiteX318" fmla="*/ 541393 w 599011"/>
                    <a:gd name="connsiteY318" fmla="*/ 639981 h 680138"/>
                    <a:gd name="connsiteX319" fmla="*/ 540130 w 599011"/>
                    <a:gd name="connsiteY319" fmla="*/ 640783 h 680138"/>
                    <a:gd name="connsiteX320" fmla="*/ 535249 w 599011"/>
                    <a:gd name="connsiteY320" fmla="*/ 645373 h 680138"/>
                    <a:gd name="connsiteX321" fmla="*/ 530015 w 599011"/>
                    <a:gd name="connsiteY321" fmla="*/ 644438 h 680138"/>
                    <a:gd name="connsiteX322" fmla="*/ 527271 w 599011"/>
                    <a:gd name="connsiteY322" fmla="*/ 647984 h 680138"/>
                    <a:gd name="connsiteX323" fmla="*/ 526396 w 599011"/>
                    <a:gd name="connsiteY323" fmla="*/ 648652 h 680138"/>
                    <a:gd name="connsiteX324" fmla="*/ 525716 w 599011"/>
                    <a:gd name="connsiteY324" fmla="*/ 648761 h 680138"/>
                    <a:gd name="connsiteX325" fmla="*/ 524514 w 599011"/>
                    <a:gd name="connsiteY325" fmla="*/ 648105 h 680138"/>
                    <a:gd name="connsiteX326" fmla="*/ 523470 w 599011"/>
                    <a:gd name="connsiteY326" fmla="*/ 646696 h 680138"/>
                    <a:gd name="connsiteX327" fmla="*/ 522268 w 599011"/>
                    <a:gd name="connsiteY327" fmla="*/ 644717 h 680138"/>
                    <a:gd name="connsiteX328" fmla="*/ 521187 w 599011"/>
                    <a:gd name="connsiteY328" fmla="*/ 643746 h 680138"/>
                    <a:gd name="connsiteX329" fmla="*/ 519973 w 599011"/>
                    <a:gd name="connsiteY329" fmla="*/ 644001 h 680138"/>
                    <a:gd name="connsiteX330" fmla="*/ 518880 w 599011"/>
                    <a:gd name="connsiteY330" fmla="*/ 646733 h 680138"/>
                    <a:gd name="connsiteX331" fmla="*/ 517908 w 599011"/>
                    <a:gd name="connsiteY331" fmla="*/ 647644 h 680138"/>
                    <a:gd name="connsiteX332" fmla="*/ 515893 w 599011"/>
                    <a:gd name="connsiteY332" fmla="*/ 647449 h 680138"/>
                    <a:gd name="connsiteX333" fmla="*/ 515031 w 599011"/>
                    <a:gd name="connsiteY333" fmla="*/ 646211 h 680138"/>
                    <a:gd name="connsiteX334" fmla="*/ 514338 w 599011"/>
                    <a:gd name="connsiteY334" fmla="*/ 644656 h 680138"/>
                    <a:gd name="connsiteX335" fmla="*/ 513488 w 599011"/>
                    <a:gd name="connsiteY335" fmla="*/ 643746 h 680138"/>
                    <a:gd name="connsiteX336" fmla="*/ 512214 w 599011"/>
                    <a:gd name="connsiteY336" fmla="*/ 643855 h 680138"/>
                    <a:gd name="connsiteX337" fmla="*/ 509408 w 599011"/>
                    <a:gd name="connsiteY337" fmla="*/ 647304 h 680138"/>
                    <a:gd name="connsiteX338" fmla="*/ 507684 w 599011"/>
                    <a:gd name="connsiteY338" fmla="*/ 648457 h 680138"/>
                    <a:gd name="connsiteX339" fmla="*/ 504575 w 599011"/>
                    <a:gd name="connsiteY339" fmla="*/ 648688 h 680138"/>
                    <a:gd name="connsiteX340" fmla="*/ 501139 w 599011"/>
                    <a:gd name="connsiteY340" fmla="*/ 647789 h 680138"/>
                    <a:gd name="connsiteX341" fmla="*/ 494934 w 599011"/>
                    <a:gd name="connsiteY341" fmla="*/ 645239 h 680138"/>
                    <a:gd name="connsiteX342" fmla="*/ 492457 w 599011"/>
                    <a:gd name="connsiteY342" fmla="*/ 644984 h 680138"/>
                    <a:gd name="connsiteX343" fmla="*/ 490223 w 599011"/>
                    <a:gd name="connsiteY343" fmla="*/ 645810 h 680138"/>
                    <a:gd name="connsiteX344" fmla="*/ 488559 w 599011"/>
                    <a:gd name="connsiteY344" fmla="*/ 648943 h 680138"/>
                    <a:gd name="connsiteX345" fmla="*/ 488620 w 599011"/>
                    <a:gd name="connsiteY345" fmla="*/ 651068 h 680138"/>
                    <a:gd name="connsiteX346" fmla="*/ 489713 w 599011"/>
                    <a:gd name="connsiteY346" fmla="*/ 652647 h 680138"/>
                    <a:gd name="connsiteX347" fmla="*/ 495395 w 599011"/>
                    <a:gd name="connsiteY347" fmla="*/ 655257 h 680138"/>
                    <a:gd name="connsiteX348" fmla="*/ 496889 w 599011"/>
                    <a:gd name="connsiteY348" fmla="*/ 656605 h 680138"/>
                    <a:gd name="connsiteX349" fmla="*/ 497180 w 599011"/>
                    <a:gd name="connsiteY349" fmla="*/ 658184 h 680138"/>
                    <a:gd name="connsiteX350" fmla="*/ 496027 w 599011"/>
                    <a:gd name="connsiteY350" fmla="*/ 659228 h 680138"/>
                    <a:gd name="connsiteX351" fmla="*/ 486373 w 599011"/>
                    <a:gd name="connsiteY351" fmla="*/ 660224 h 680138"/>
                    <a:gd name="connsiteX352" fmla="*/ 483690 w 599011"/>
                    <a:gd name="connsiteY352" fmla="*/ 661450 h 680138"/>
                    <a:gd name="connsiteX353" fmla="*/ 481383 w 599011"/>
                    <a:gd name="connsiteY353" fmla="*/ 664134 h 680138"/>
                    <a:gd name="connsiteX354" fmla="*/ 479087 w 599011"/>
                    <a:gd name="connsiteY354" fmla="*/ 669756 h 680138"/>
                    <a:gd name="connsiteX355" fmla="*/ 477533 w 599011"/>
                    <a:gd name="connsiteY355" fmla="*/ 671735 h 680138"/>
                    <a:gd name="connsiteX356" fmla="*/ 471450 w 599011"/>
                    <a:gd name="connsiteY356" fmla="*/ 671529 h 680138"/>
                    <a:gd name="connsiteX357" fmla="*/ 465827 w 599011"/>
                    <a:gd name="connsiteY357" fmla="*/ 673545 h 680138"/>
                    <a:gd name="connsiteX358" fmla="*/ 463812 w 599011"/>
                    <a:gd name="connsiteY358" fmla="*/ 672512 h 680138"/>
                    <a:gd name="connsiteX359" fmla="*/ 463022 w 599011"/>
                    <a:gd name="connsiteY359" fmla="*/ 671881 h 680138"/>
                    <a:gd name="connsiteX360" fmla="*/ 462209 w 599011"/>
                    <a:gd name="connsiteY360" fmla="*/ 670812 h 680138"/>
                    <a:gd name="connsiteX361" fmla="*/ 461978 w 599011"/>
                    <a:gd name="connsiteY361" fmla="*/ 669635 h 680138"/>
                    <a:gd name="connsiteX362" fmla="*/ 462658 w 599011"/>
                    <a:gd name="connsiteY362" fmla="*/ 668299 h 680138"/>
                    <a:gd name="connsiteX363" fmla="*/ 463472 w 599011"/>
                    <a:gd name="connsiteY363" fmla="*/ 667655 h 680138"/>
                    <a:gd name="connsiteX364" fmla="*/ 467090 w 599011"/>
                    <a:gd name="connsiteY364" fmla="*/ 666514 h 680138"/>
                    <a:gd name="connsiteX365" fmla="*/ 467491 w 599011"/>
                    <a:gd name="connsiteY365" fmla="*/ 666028 h 680138"/>
                    <a:gd name="connsiteX366" fmla="*/ 467382 w 599011"/>
                    <a:gd name="connsiteY366" fmla="*/ 665154 h 680138"/>
                    <a:gd name="connsiteX367" fmla="*/ 466459 w 599011"/>
                    <a:gd name="connsiteY367" fmla="*/ 663867 h 680138"/>
                    <a:gd name="connsiteX368" fmla="*/ 465536 w 599011"/>
                    <a:gd name="connsiteY368" fmla="*/ 662980 h 680138"/>
                    <a:gd name="connsiteX369" fmla="*/ 464735 w 599011"/>
                    <a:gd name="connsiteY369" fmla="*/ 661887 h 680138"/>
                    <a:gd name="connsiteX370" fmla="*/ 463994 w 599011"/>
                    <a:gd name="connsiteY370" fmla="*/ 660564 h 680138"/>
                    <a:gd name="connsiteX371" fmla="*/ 463994 w 599011"/>
                    <a:gd name="connsiteY371" fmla="*/ 658609 h 680138"/>
                    <a:gd name="connsiteX372" fmla="*/ 466738 w 599011"/>
                    <a:gd name="connsiteY372" fmla="*/ 644207 h 680138"/>
                    <a:gd name="connsiteX373" fmla="*/ 467430 w 599011"/>
                    <a:gd name="connsiteY373" fmla="*/ 642653 h 680138"/>
                    <a:gd name="connsiteX374" fmla="*/ 470879 w 599011"/>
                    <a:gd name="connsiteY374" fmla="*/ 637856 h 680138"/>
                    <a:gd name="connsiteX375" fmla="*/ 471450 w 599011"/>
                    <a:gd name="connsiteY375" fmla="*/ 636727 h 680138"/>
                    <a:gd name="connsiteX376" fmla="*/ 471790 w 599011"/>
                    <a:gd name="connsiteY376" fmla="*/ 635586 h 680138"/>
                    <a:gd name="connsiteX377" fmla="*/ 472032 w 599011"/>
                    <a:gd name="connsiteY377" fmla="*/ 634068 h 680138"/>
                    <a:gd name="connsiteX378" fmla="*/ 471340 w 599011"/>
                    <a:gd name="connsiteY378" fmla="*/ 626916 h 680138"/>
                    <a:gd name="connsiteX379" fmla="*/ 471911 w 599011"/>
                    <a:gd name="connsiteY379" fmla="*/ 623904 h 680138"/>
                    <a:gd name="connsiteX380" fmla="*/ 471850 w 599011"/>
                    <a:gd name="connsiteY380" fmla="*/ 622241 h 680138"/>
                    <a:gd name="connsiteX381" fmla="*/ 471450 w 599011"/>
                    <a:gd name="connsiteY381" fmla="*/ 620261 h 680138"/>
                    <a:gd name="connsiteX382" fmla="*/ 470296 w 599011"/>
                    <a:gd name="connsiteY382" fmla="*/ 617068 h 680138"/>
                    <a:gd name="connsiteX383" fmla="*/ 470175 w 599011"/>
                    <a:gd name="connsiteY383" fmla="*/ 614918 h 680138"/>
                    <a:gd name="connsiteX384" fmla="*/ 470296 w 599011"/>
                    <a:gd name="connsiteY384" fmla="*/ 613255 h 680138"/>
                    <a:gd name="connsiteX385" fmla="*/ 470636 w 599011"/>
                    <a:gd name="connsiteY385" fmla="*/ 611931 h 680138"/>
                    <a:gd name="connsiteX386" fmla="*/ 470879 w 599011"/>
                    <a:gd name="connsiteY386" fmla="*/ 610668 h 680138"/>
                    <a:gd name="connsiteX387" fmla="*/ 470600 w 599011"/>
                    <a:gd name="connsiteY387" fmla="*/ 609005 h 680138"/>
                    <a:gd name="connsiteX388" fmla="*/ 470078 w 599011"/>
                    <a:gd name="connsiteY388" fmla="*/ 607050 h 680138"/>
                    <a:gd name="connsiteX389" fmla="*/ 468523 w 599011"/>
                    <a:gd name="connsiteY389" fmla="*/ 603456 h 680138"/>
                    <a:gd name="connsiteX390" fmla="*/ 467770 w 599011"/>
                    <a:gd name="connsiteY390" fmla="*/ 599934 h 680138"/>
                    <a:gd name="connsiteX391" fmla="*/ 467661 w 599011"/>
                    <a:gd name="connsiteY391" fmla="*/ 596279 h 680138"/>
                    <a:gd name="connsiteX392" fmla="*/ 468232 w 599011"/>
                    <a:gd name="connsiteY392" fmla="*/ 592952 h 680138"/>
                    <a:gd name="connsiteX393" fmla="*/ 471450 w 599011"/>
                    <a:gd name="connsiteY393" fmla="*/ 581793 h 680138"/>
                    <a:gd name="connsiteX394" fmla="*/ 471632 w 599011"/>
                    <a:gd name="connsiteY394" fmla="*/ 579267 h 680138"/>
                    <a:gd name="connsiteX395" fmla="*/ 471280 w 599011"/>
                    <a:gd name="connsiteY395" fmla="*/ 577045 h 680138"/>
                    <a:gd name="connsiteX396" fmla="*/ 470296 w 599011"/>
                    <a:gd name="connsiteY396" fmla="*/ 574871 h 680138"/>
                    <a:gd name="connsiteX397" fmla="*/ 468584 w 599011"/>
                    <a:gd name="connsiteY397" fmla="*/ 572977 h 680138"/>
                    <a:gd name="connsiteX398" fmla="*/ 461407 w 599011"/>
                    <a:gd name="connsiteY398" fmla="*/ 567342 h 680138"/>
                    <a:gd name="connsiteX399" fmla="*/ 459732 w 599011"/>
                    <a:gd name="connsiteY399" fmla="*/ 565569 h 680138"/>
                    <a:gd name="connsiteX400" fmla="*/ 457850 w 599011"/>
                    <a:gd name="connsiteY400" fmla="*/ 562485 h 680138"/>
                    <a:gd name="connsiteX401" fmla="*/ 457097 w 599011"/>
                    <a:gd name="connsiteY401" fmla="*/ 561514 h 680138"/>
                    <a:gd name="connsiteX402" fmla="*/ 455712 w 599011"/>
                    <a:gd name="connsiteY402" fmla="*/ 560251 h 680138"/>
                    <a:gd name="connsiteX403" fmla="*/ 454401 w 599011"/>
                    <a:gd name="connsiteY403" fmla="*/ 559583 h 680138"/>
                    <a:gd name="connsiteX404" fmla="*/ 453077 w 599011"/>
                    <a:gd name="connsiteY404" fmla="*/ 559255 h 680138"/>
                    <a:gd name="connsiteX405" fmla="*/ 451353 w 599011"/>
                    <a:gd name="connsiteY405" fmla="*/ 559352 h 680138"/>
                    <a:gd name="connsiteX406" fmla="*/ 449799 w 599011"/>
                    <a:gd name="connsiteY406" fmla="*/ 559874 h 680138"/>
                    <a:gd name="connsiteX407" fmla="*/ 445840 w 599011"/>
                    <a:gd name="connsiteY407" fmla="*/ 562267 h 680138"/>
                    <a:gd name="connsiteX408" fmla="*/ 444395 w 599011"/>
                    <a:gd name="connsiteY408" fmla="*/ 563785 h 680138"/>
                    <a:gd name="connsiteX409" fmla="*/ 443144 w 599011"/>
                    <a:gd name="connsiteY409" fmla="*/ 565630 h 680138"/>
                    <a:gd name="connsiteX410" fmla="*/ 441882 w 599011"/>
                    <a:gd name="connsiteY410" fmla="*/ 568836 h 680138"/>
                    <a:gd name="connsiteX411" fmla="*/ 437231 w 599011"/>
                    <a:gd name="connsiteY411" fmla="*/ 574312 h 680138"/>
                    <a:gd name="connsiteX412" fmla="*/ 433199 w 599011"/>
                    <a:gd name="connsiteY412" fmla="*/ 576729 h 680138"/>
                    <a:gd name="connsiteX413" fmla="*/ 431888 w 599011"/>
                    <a:gd name="connsiteY413" fmla="*/ 577931 h 680138"/>
                    <a:gd name="connsiteX414" fmla="*/ 428391 w 599011"/>
                    <a:gd name="connsiteY414" fmla="*/ 580578 h 680138"/>
                    <a:gd name="connsiteX415" fmla="*/ 426314 w 599011"/>
                    <a:gd name="connsiteY415" fmla="*/ 581501 h 680138"/>
                    <a:gd name="connsiteX416" fmla="*/ 425100 w 599011"/>
                    <a:gd name="connsiteY416" fmla="*/ 582302 h 680138"/>
                    <a:gd name="connsiteX417" fmla="*/ 423157 w 599011"/>
                    <a:gd name="connsiteY417" fmla="*/ 584391 h 680138"/>
                    <a:gd name="connsiteX418" fmla="*/ 421603 w 599011"/>
                    <a:gd name="connsiteY418" fmla="*/ 585654 h 680138"/>
                    <a:gd name="connsiteX419" fmla="*/ 418798 w 599011"/>
                    <a:gd name="connsiteY419" fmla="*/ 587184 h 680138"/>
                    <a:gd name="connsiteX420" fmla="*/ 417304 w 599011"/>
                    <a:gd name="connsiteY420" fmla="*/ 588423 h 680138"/>
                    <a:gd name="connsiteX421" fmla="*/ 416381 w 599011"/>
                    <a:gd name="connsiteY421" fmla="*/ 589394 h 680138"/>
                    <a:gd name="connsiteX422" fmla="*/ 415871 w 599011"/>
                    <a:gd name="connsiteY422" fmla="*/ 590548 h 680138"/>
                    <a:gd name="connsiteX423" fmla="*/ 415580 w 599011"/>
                    <a:gd name="connsiteY423" fmla="*/ 591750 h 680138"/>
                    <a:gd name="connsiteX424" fmla="*/ 415519 w 599011"/>
                    <a:gd name="connsiteY424" fmla="*/ 592976 h 680138"/>
                    <a:gd name="connsiteX425" fmla="*/ 415811 w 599011"/>
                    <a:gd name="connsiteY425" fmla="*/ 594616 h 680138"/>
                    <a:gd name="connsiteX426" fmla="*/ 416503 w 599011"/>
                    <a:gd name="connsiteY426" fmla="*/ 596510 h 680138"/>
                    <a:gd name="connsiteX427" fmla="*/ 418458 w 599011"/>
                    <a:gd name="connsiteY427" fmla="*/ 600820 h 680138"/>
                    <a:gd name="connsiteX428" fmla="*/ 418737 w 599011"/>
                    <a:gd name="connsiteY428" fmla="*/ 602423 h 680138"/>
                    <a:gd name="connsiteX429" fmla="*/ 418458 w 599011"/>
                    <a:gd name="connsiteY429" fmla="*/ 603298 h 680138"/>
                    <a:gd name="connsiteX430" fmla="*/ 416843 w 599011"/>
                    <a:gd name="connsiteY430" fmla="*/ 603978 h 680138"/>
                    <a:gd name="connsiteX431" fmla="*/ 414439 w 599011"/>
                    <a:gd name="connsiteY431" fmla="*/ 604500 h 680138"/>
                    <a:gd name="connsiteX432" fmla="*/ 410359 w 599011"/>
                    <a:gd name="connsiteY432" fmla="*/ 604888 h 680138"/>
                    <a:gd name="connsiteX433" fmla="*/ 408233 w 599011"/>
                    <a:gd name="connsiteY433" fmla="*/ 605496 h 680138"/>
                    <a:gd name="connsiteX434" fmla="*/ 405817 w 599011"/>
                    <a:gd name="connsiteY434" fmla="*/ 606540 h 680138"/>
                    <a:gd name="connsiteX435" fmla="*/ 405186 w 599011"/>
                    <a:gd name="connsiteY435" fmla="*/ 606965 h 680138"/>
                    <a:gd name="connsiteX436" fmla="*/ 404433 w 599011"/>
                    <a:gd name="connsiteY436" fmla="*/ 607705 h 680138"/>
                    <a:gd name="connsiteX437" fmla="*/ 401458 w 599011"/>
                    <a:gd name="connsiteY437" fmla="*/ 611531 h 680138"/>
                    <a:gd name="connsiteX438" fmla="*/ 399964 w 599011"/>
                    <a:gd name="connsiteY438" fmla="*/ 612563 h 680138"/>
                    <a:gd name="connsiteX439" fmla="*/ 398762 w 599011"/>
                    <a:gd name="connsiteY439" fmla="*/ 612563 h 680138"/>
                    <a:gd name="connsiteX440" fmla="*/ 397038 w 599011"/>
                    <a:gd name="connsiteY440" fmla="*/ 611045 h 680138"/>
                    <a:gd name="connsiteX441" fmla="*/ 396176 w 599011"/>
                    <a:gd name="connsiteY441" fmla="*/ 609721 h 680138"/>
                    <a:gd name="connsiteX442" fmla="*/ 395483 w 599011"/>
                    <a:gd name="connsiteY442" fmla="*/ 608118 h 680138"/>
                    <a:gd name="connsiteX443" fmla="*/ 393650 w 599011"/>
                    <a:gd name="connsiteY443" fmla="*/ 600699 h 680138"/>
                    <a:gd name="connsiteX444" fmla="*/ 392897 w 599011"/>
                    <a:gd name="connsiteY444" fmla="*/ 598963 h 680138"/>
                    <a:gd name="connsiteX445" fmla="*/ 391925 w 599011"/>
                    <a:gd name="connsiteY445" fmla="*/ 598185 h 680138"/>
                    <a:gd name="connsiteX446" fmla="*/ 390711 w 599011"/>
                    <a:gd name="connsiteY446" fmla="*/ 597979 h 680138"/>
                    <a:gd name="connsiteX447" fmla="*/ 388185 w 599011"/>
                    <a:gd name="connsiteY447" fmla="*/ 598125 h 680138"/>
                    <a:gd name="connsiteX448" fmla="*/ 386352 w 599011"/>
                    <a:gd name="connsiteY448" fmla="*/ 597894 h 680138"/>
                    <a:gd name="connsiteX449" fmla="*/ 379406 w 599011"/>
                    <a:gd name="connsiteY449" fmla="*/ 594713 h 680138"/>
                    <a:gd name="connsiteX450" fmla="*/ 378592 w 599011"/>
                    <a:gd name="connsiteY450" fmla="*/ 593608 h 680138"/>
                    <a:gd name="connsiteX451" fmla="*/ 378835 w 599011"/>
                    <a:gd name="connsiteY451" fmla="*/ 592466 h 680138"/>
                    <a:gd name="connsiteX452" fmla="*/ 379977 w 599011"/>
                    <a:gd name="connsiteY452" fmla="*/ 591665 h 680138"/>
                    <a:gd name="connsiteX453" fmla="*/ 383547 w 599011"/>
                    <a:gd name="connsiteY453" fmla="*/ 590572 h 680138"/>
                    <a:gd name="connsiteX454" fmla="*/ 384348 w 599011"/>
                    <a:gd name="connsiteY454" fmla="*/ 590086 h 680138"/>
                    <a:gd name="connsiteX455" fmla="*/ 384397 w 599011"/>
                    <a:gd name="connsiteY455" fmla="*/ 589540 h 680138"/>
                    <a:gd name="connsiteX456" fmla="*/ 383826 w 599011"/>
                    <a:gd name="connsiteY456" fmla="*/ 588848 h 680138"/>
                    <a:gd name="connsiteX457" fmla="*/ 383134 w 599011"/>
                    <a:gd name="connsiteY457" fmla="*/ 588180 h 680138"/>
                    <a:gd name="connsiteX458" fmla="*/ 378775 w 599011"/>
                    <a:gd name="connsiteY458" fmla="*/ 585605 h 680138"/>
                    <a:gd name="connsiteX459" fmla="*/ 377912 w 599011"/>
                    <a:gd name="connsiteY459" fmla="*/ 584306 h 680138"/>
                    <a:gd name="connsiteX460" fmla="*/ 377560 w 599011"/>
                    <a:gd name="connsiteY460" fmla="*/ 582995 h 680138"/>
                    <a:gd name="connsiteX461" fmla="*/ 377852 w 599011"/>
                    <a:gd name="connsiteY461" fmla="*/ 581962 h 680138"/>
                    <a:gd name="connsiteX462" fmla="*/ 378592 w 599011"/>
                    <a:gd name="connsiteY462" fmla="*/ 581695 h 680138"/>
                    <a:gd name="connsiteX463" fmla="*/ 379807 w 599011"/>
                    <a:gd name="connsiteY463" fmla="*/ 581865 h 680138"/>
                    <a:gd name="connsiteX464" fmla="*/ 381993 w 599011"/>
                    <a:gd name="connsiteY464" fmla="*/ 582679 h 680138"/>
                    <a:gd name="connsiteX465" fmla="*/ 383547 w 599011"/>
                    <a:gd name="connsiteY465" fmla="*/ 583128 h 680138"/>
                    <a:gd name="connsiteX466" fmla="*/ 385040 w 599011"/>
                    <a:gd name="connsiteY466" fmla="*/ 583225 h 680138"/>
                    <a:gd name="connsiteX467" fmla="*/ 385611 w 599011"/>
                    <a:gd name="connsiteY467" fmla="*/ 582897 h 680138"/>
                    <a:gd name="connsiteX468" fmla="*/ 385551 w 599011"/>
                    <a:gd name="connsiteY468" fmla="*/ 581962 h 680138"/>
                    <a:gd name="connsiteX469" fmla="*/ 384858 w 599011"/>
                    <a:gd name="connsiteY469" fmla="*/ 580578 h 680138"/>
                    <a:gd name="connsiteX470" fmla="*/ 380086 w 599011"/>
                    <a:gd name="connsiteY470" fmla="*/ 573693 h 680138"/>
                    <a:gd name="connsiteX471" fmla="*/ 378495 w 599011"/>
                    <a:gd name="connsiteY471" fmla="*/ 572685 h 680138"/>
                    <a:gd name="connsiteX472" fmla="*/ 376128 w 599011"/>
                    <a:gd name="connsiteY472" fmla="*/ 572600 h 680138"/>
                    <a:gd name="connsiteX473" fmla="*/ 372740 w 599011"/>
                    <a:gd name="connsiteY473" fmla="*/ 573596 h 680138"/>
                    <a:gd name="connsiteX474" fmla="*/ 364070 w 599011"/>
                    <a:gd name="connsiteY474" fmla="*/ 575005 h 680138"/>
                    <a:gd name="connsiteX475" fmla="*/ 363098 w 599011"/>
                    <a:gd name="connsiteY475" fmla="*/ 574725 h 680138"/>
                    <a:gd name="connsiteX476" fmla="*/ 362066 w 599011"/>
                    <a:gd name="connsiteY476" fmla="*/ 573997 h 680138"/>
                    <a:gd name="connsiteX477" fmla="*/ 361325 w 599011"/>
                    <a:gd name="connsiteY477" fmla="*/ 573086 h 680138"/>
                    <a:gd name="connsiteX478" fmla="*/ 360682 w 599011"/>
                    <a:gd name="connsiteY478" fmla="*/ 571945 h 680138"/>
                    <a:gd name="connsiteX479" fmla="*/ 360172 w 599011"/>
                    <a:gd name="connsiteY479" fmla="*/ 570585 h 680138"/>
                    <a:gd name="connsiteX480" fmla="*/ 359480 w 599011"/>
                    <a:gd name="connsiteY480" fmla="*/ 569346 h 680138"/>
                    <a:gd name="connsiteX481" fmla="*/ 358557 w 599011"/>
                    <a:gd name="connsiteY481" fmla="*/ 568375 h 680138"/>
                    <a:gd name="connsiteX482" fmla="*/ 357355 w 599011"/>
                    <a:gd name="connsiteY482" fmla="*/ 567634 h 680138"/>
                    <a:gd name="connsiteX483" fmla="*/ 355120 w 599011"/>
                    <a:gd name="connsiteY483" fmla="*/ 566905 h 680138"/>
                    <a:gd name="connsiteX484" fmla="*/ 352935 w 599011"/>
                    <a:gd name="connsiteY484" fmla="*/ 565934 h 680138"/>
                    <a:gd name="connsiteX485" fmla="*/ 351781 w 599011"/>
                    <a:gd name="connsiteY485" fmla="*/ 566310 h 680138"/>
                    <a:gd name="connsiteX486" fmla="*/ 350809 w 599011"/>
                    <a:gd name="connsiteY486" fmla="*/ 567682 h 680138"/>
                    <a:gd name="connsiteX487" fmla="*/ 351210 w 599011"/>
                    <a:gd name="connsiteY487" fmla="*/ 570937 h 680138"/>
                    <a:gd name="connsiteX488" fmla="*/ 352412 w 599011"/>
                    <a:gd name="connsiteY488" fmla="*/ 572855 h 680138"/>
                    <a:gd name="connsiteX489" fmla="*/ 353967 w 599011"/>
                    <a:gd name="connsiteY489" fmla="*/ 574288 h 680138"/>
                    <a:gd name="connsiteX490" fmla="*/ 357185 w 599011"/>
                    <a:gd name="connsiteY490" fmla="*/ 576012 h 680138"/>
                    <a:gd name="connsiteX491" fmla="*/ 358387 w 599011"/>
                    <a:gd name="connsiteY491" fmla="*/ 576996 h 680138"/>
                    <a:gd name="connsiteX492" fmla="*/ 358957 w 599011"/>
                    <a:gd name="connsiteY492" fmla="*/ 578368 h 680138"/>
                    <a:gd name="connsiteX493" fmla="*/ 358557 w 599011"/>
                    <a:gd name="connsiteY493" fmla="*/ 579801 h 680138"/>
                    <a:gd name="connsiteX494" fmla="*/ 357695 w 599011"/>
                    <a:gd name="connsiteY494" fmla="*/ 580602 h 680138"/>
                    <a:gd name="connsiteX495" fmla="*/ 354258 w 599011"/>
                    <a:gd name="connsiteY495" fmla="*/ 581307 h 680138"/>
                    <a:gd name="connsiteX496" fmla="*/ 353044 w 599011"/>
                    <a:gd name="connsiteY496" fmla="*/ 581841 h 680138"/>
                    <a:gd name="connsiteX497" fmla="*/ 352133 w 599011"/>
                    <a:gd name="connsiteY497" fmla="*/ 582873 h 680138"/>
                    <a:gd name="connsiteX498" fmla="*/ 352595 w 599011"/>
                    <a:gd name="connsiteY498" fmla="*/ 584743 h 680138"/>
                    <a:gd name="connsiteX499" fmla="*/ 353687 w 599011"/>
                    <a:gd name="connsiteY499" fmla="*/ 585775 h 680138"/>
                    <a:gd name="connsiteX500" fmla="*/ 356553 w 599011"/>
                    <a:gd name="connsiteY500" fmla="*/ 586893 h 680138"/>
                    <a:gd name="connsiteX501" fmla="*/ 358168 w 599011"/>
                    <a:gd name="connsiteY501" fmla="*/ 587755 h 680138"/>
                    <a:gd name="connsiteX502" fmla="*/ 359540 w 599011"/>
                    <a:gd name="connsiteY502" fmla="*/ 589309 h 680138"/>
                    <a:gd name="connsiteX503" fmla="*/ 360050 w 599011"/>
                    <a:gd name="connsiteY503" fmla="*/ 591349 h 680138"/>
                    <a:gd name="connsiteX504" fmla="*/ 359419 w 599011"/>
                    <a:gd name="connsiteY504" fmla="*/ 593838 h 680138"/>
                    <a:gd name="connsiteX505" fmla="*/ 357464 w 599011"/>
                    <a:gd name="connsiteY505" fmla="*/ 596230 h 680138"/>
                    <a:gd name="connsiteX506" fmla="*/ 354719 w 599011"/>
                    <a:gd name="connsiteY506" fmla="*/ 596825 h 680138"/>
                    <a:gd name="connsiteX507" fmla="*/ 352194 w 599011"/>
                    <a:gd name="connsiteY507" fmla="*/ 596825 h 680138"/>
                    <a:gd name="connsiteX508" fmla="*/ 345066 w 599011"/>
                    <a:gd name="connsiteY508" fmla="*/ 590997 h 680138"/>
                    <a:gd name="connsiteX509" fmla="*/ 342649 w 599011"/>
                    <a:gd name="connsiteY509" fmla="*/ 590450 h 680138"/>
                    <a:gd name="connsiteX510" fmla="*/ 341399 w 599011"/>
                    <a:gd name="connsiteY510" fmla="*/ 590548 h 680138"/>
                    <a:gd name="connsiteX511" fmla="*/ 340427 w 599011"/>
                    <a:gd name="connsiteY511" fmla="*/ 590997 h 680138"/>
                    <a:gd name="connsiteX512" fmla="*/ 338533 w 599011"/>
                    <a:gd name="connsiteY512" fmla="*/ 592320 h 680138"/>
                    <a:gd name="connsiteX513" fmla="*/ 337270 w 599011"/>
                    <a:gd name="connsiteY513" fmla="*/ 592721 h 680138"/>
                    <a:gd name="connsiteX514" fmla="*/ 335558 w 599011"/>
                    <a:gd name="connsiteY514" fmla="*/ 592891 h 680138"/>
                    <a:gd name="connsiteX515" fmla="*/ 334113 w 599011"/>
                    <a:gd name="connsiteY515" fmla="*/ 592721 h 680138"/>
                    <a:gd name="connsiteX516" fmla="*/ 330081 w 599011"/>
                    <a:gd name="connsiteY516" fmla="*/ 591628 h 680138"/>
                    <a:gd name="connsiteX517" fmla="*/ 329001 w 599011"/>
                    <a:gd name="connsiteY517" fmla="*/ 591689 h 680138"/>
                    <a:gd name="connsiteX518" fmla="*/ 327908 w 599011"/>
                    <a:gd name="connsiteY518" fmla="*/ 591944 h 680138"/>
                    <a:gd name="connsiteX519" fmla="*/ 326937 w 599011"/>
                    <a:gd name="connsiteY519" fmla="*/ 592527 h 680138"/>
                    <a:gd name="connsiteX520" fmla="*/ 326305 w 599011"/>
                    <a:gd name="connsiteY520" fmla="*/ 593523 h 680138"/>
                    <a:gd name="connsiteX521" fmla="*/ 325674 w 599011"/>
                    <a:gd name="connsiteY521" fmla="*/ 594992 h 680138"/>
                    <a:gd name="connsiteX522" fmla="*/ 324969 w 599011"/>
                    <a:gd name="connsiteY522" fmla="*/ 597748 h 680138"/>
                    <a:gd name="connsiteX523" fmla="*/ 324581 w 599011"/>
                    <a:gd name="connsiteY523" fmla="*/ 599958 h 680138"/>
                    <a:gd name="connsiteX524" fmla="*/ 324629 w 599011"/>
                    <a:gd name="connsiteY524" fmla="*/ 602739 h 680138"/>
                    <a:gd name="connsiteX525" fmla="*/ 326123 w 599011"/>
                    <a:gd name="connsiteY525" fmla="*/ 608458 h 680138"/>
                    <a:gd name="connsiteX526" fmla="*/ 328649 w 599011"/>
                    <a:gd name="connsiteY526" fmla="*/ 615356 h 680138"/>
                    <a:gd name="connsiteX527" fmla="*/ 329001 w 599011"/>
                    <a:gd name="connsiteY527" fmla="*/ 618221 h 680138"/>
                    <a:gd name="connsiteX528" fmla="*/ 328770 w 599011"/>
                    <a:gd name="connsiteY528" fmla="*/ 622386 h 680138"/>
                    <a:gd name="connsiteX529" fmla="*/ 328831 w 599011"/>
                    <a:gd name="connsiteY529" fmla="*/ 625082 h 680138"/>
                    <a:gd name="connsiteX530" fmla="*/ 329924 w 599011"/>
                    <a:gd name="connsiteY530" fmla="*/ 627353 h 680138"/>
                    <a:gd name="connsiteX531" fmla="*/ 332207 w 599011"/>
                    <a:gd name="connsiteY531" fmla="*/ 629016 h 680138"/>
                    <a:gd name="connsiteX532" fmla="*/ 332850 w 599011"/>
                    <a:gd name="connsiteY532" fmla="*/ 629927 h 680138"/>
                    <a:gd name="connsiteX533" fmla="*/ 333311 w 599011"/>
                    <a:gd name="connsiteY533" fmla="*/ 631457 h 680138"/>
                    <a:gd name="connsiteX534" fmla="*/ 333591 w 599011"/>
                    <a:gd name="connsiteY534" fmla="*/ 634238 h 680138"/>
                    <a:gd name="connsiteX535" fmla="*/ 334052 w 599011"/>
                    <a:gd name="connsiteY535" fmla="*/ 636241 h 680138"/>
                    <a:gd name="connsiteX536" fmla="*/ 334684 w 599011"/>
                    <a:gd name="connsiteY536" fmla="*/ 637711 h 680138"/>
                    <a:gd name="connsiteX537" fmla="*/ 335376 w 599011"/>
                    <a:gd name="connsiteY537" fmla="*/ 638864 h 680138"/>
                    <a:gd name="connsiteX538" fmla="*/ 335036 w 599011"/>
                    <a:gd name="connsiteY538" fmla="*/ 640261 h 680138"/>
                    <a:gd name="connsiteX539" fmla="*/ 334283 w 599011"/>
                    <a:gd name="connsiteY539" fmla="*/ 641730 h 680138"/>
                    <a:gd name="connsiteX540" fmla="*/ 328649 w 599011"/>
                    <a:gd name="connsiteY540" fmla="*/ 645725 h 680138"/>
                    <a:gd name="connsiteX541" fmla="*/ 321885 w 599011"/>
                    <a:gd name="connsiteY541" fmla="*/ 641014 h 680138"/>
                    <a:gd name="connsiteX542" fmla="*/ 317635 w 599011"/>
                    <a:gd name="connsiteY542" fmla="*/ 636764 h 680138"/>
                    <a:gd name="connsiteX543" fmla="*/ 312353 w 599011"/>
                    <a:gd name="connsiteY543" fmla="*/ 636278 h 680138"/>
                    <a:gd name="connsiteX544" fmla="*/ 295073 w 599011"/>
                    <a:gd name="connsiteY544" fmla="*/ 638634 h 680138"/>
                    <a:gd name="connsiteX545" fmla="*/ 292706 w 599011"/>
                    <a:gd name="connsiteY545" fmla="*/ 637565 h 680138"/>
                    <a:gd name="connsiteX546" fmla="*/ 291333 w 599011"/>
                    <a:gd name="connsiteY546" fmla="*/ 635938 h 680138"/>
                    <a:gd name="connsiteX547" fmla="*/ 290471 w 599011"/>
                    <a:gd name="connsiteY547" fmla="*/ 632975 h 680138"/>
                    <a:gd name="connsiteX548" fmla="*/ 290180 w 599011"/>
                    <a:gd name="connsiteY548" fmla="*/ 631020 h 680138"/>
                    <a:gd name="connsiteX549" fmla="*/ 290058 w 599011"/>
                    <a:gd name="connsiteY549" fmla="*/ 629332 h 680138"/>
                    <a:gd name="connsiteX550" fmla="*/ 289269 w 599011"/>
                    <a:gd name="connsiteY550" fmla="*/ 628093 h 680138"/>
                    <a:gd name="connsiteX551" fmla="*/ 288176 w 599011"/>
                    <a:gd name="connsiteY551" fmla="*/ 626891 h 680138"/>
                    <a:gd name="connsiteX552" fmla="*/ 282202 w 599011"/>
                    <a:gd name="connsiteY552" fmla="*/ 623358 h 680138"/>
                    <a:gd name="connsiteX553" fmla="*/ 281231 w 599011"/>
                    <a:gd name="connsiteY553" fmla="*/ 619399 h 680138"/>
                    <a:gd name="connsiteX554" fmla="*/ 282263 w 599011"/>
                    <a:gd name="connsiteY554" fmla="*/ 616181 h 680138"/>
                    <a:gd name="connsiteX555" fmla="*/ 283003 w 599011"/>
                    <a:gd name="connsiteY555" fmla="*/ 615720 h 680138"/>
                    <a:gd name="connsiteX556" fmla="*/ 287314 w 599011"/>
                    <a:gd name="connsiteY556" fmla="*/ 616376 h 680138"/>
                    <a:gd name="connsiteX557" fmla="*/ 289026 w 599011"/>
                    <a:gd name="connsiteY557" fmla="*/ 615951 h 680138"/>
                    <a:gd name="connsiteX558" fmla="*/ 290022 w 599011"/>
                    <a:gd name="connsiteY558" fmla="*/ 615295 h 680138"/>
                    <a:gd name="connsiteX559" fmla="*/ 290641 w 599011"/>
                    <a:gd name="connsiteY559" fmla="*/ 614251 h 680138"/>
                    <a:gd name="connsiteX560" fmla="*/ 292426 w 599011"/>
                    <a:gd name="connsiteY560" fmla="*/ 612696 h 680138"/>
                    <a:gd name="connsiteX561" fmla="*/ 292645 w 599011"/>
                    <a:gd name="connsiteY561" fmla="*/ 611263 h 680138"/>
                    <a:gd name="connsiteX562" fmla="*/ 291673 w 599011"/>
                    <a:gd name="connsiteY562" fmla="*/ 609175 h 680138"/>
                    <a:gd name="connsiteX563" fmla="*/ 290532 w 599011"/>
                    <a:gd name="connsiteY563" fmla="*/ 608058 h 680138"/>
                    <a:gd name="connsiteX564" fmla="*/ 288686 w 599011"/>
                    <a:gd name="connsiteY564" fmla="*/ 606795 h 680138"/>
                    <a:gd name="connsiteX565" fmla="*/ 288747 w 599011"/>
                    <a:gd name="connsiteY565" fmla="*/ 606479 h 680138"/>
                    <a:gd name="connsiteX566" fmla="*/ 288978 w 599011"/>
                    <a:gd name="connsiteY566" fmla="*/ 605957 h 680138"/>
                    <a:gd name="connsiteX567" fmla="*/ 289779 w 599011"/>
                    <a:gd name="connsiteY567" fmla="*/ 604633 h 680138"/>
                    <a:gd name="connsiteX568" fmla="*/ 290702 w 599011"/>
                    <a:gd name="connsiteY568" fmla="*/ 603868 h 680138"/>
                    <a:gd name="connsiteX569" fmla="*/ 291843 w 599011"/>
                    <a:gd name="connsiteY569" fmla="*/ 602654 h 680138"/>
                    <a:gd name="connsiteX570" fmla="*/ 292426 w 599011"/>
                    <a:gd name="connsiteY570" fmla="*/ 601185 h 680138"/>
                    <a:gd name="connsiteX571" fmla="*/ 292948 w 599011"/>
                    <a:gd name="connsiteY571" fmla="*/ 598125 h 680138"/>
                    <a:gd name="connsiteX572" fmla="*/ 293689 w 599011"/>
                    <a:gd name="connsiteY572" fmla="*/ 596461 h 680138"/>
                    <a:gd name="connsiteX573" fmla="*/ 297247 w 599011"/>
                    <a:gd name="connsiteY573" fmla="*/ 593389 h 680138"/>
                    <a:gd name="connsiteX574" fmla="*/ 300064 w 599011"/>
                    <a:gd name="connsiteY574" fmla="*/ 589892 h 680138"/>
                    <a:gd name="connsiteX575" fmla="*/ 300866 w 599011"/>
                    <a:gd name="connsiteY575" fmla="*/ 588010 h 680138"/>
                    <a:gd name="connsiteX576" fmla="*/ 300683 w 599011"/>
                    <a:gd name="connsiteY576" fmla="*/ 586006 h 680138"/>
                    <a:gd name="connsiteX577" fmla="*/ 299311 w 599011"/>
                    <a:gd name="connsiteY577" fmla="*/ 584719 h 680138"/>
                    <a:gd name="connsiteX578" fmla="*/ 297878 w 599011"/>
                    <a:gd name="connsiteY578" fmla="*/ 584342 h 680138"/>
                    <a:gd name="connsiteX579" fmla="*/ 296567 w 599011"/>
                    <a:gd name="connsiteY579" fmla="*/ 584743 h 680138"/>
                    <a:gd name="connsiteX580" fmla="*/ 295462 w 599011"/>
                    <a:gd name="connsiteY580" fmla="*/ 585399 h 680138"/>
                    <a:gd name="connsiteX581" fmla="*/ 294831 w 599011"/>
                    <a:gd name="connsiteY581" fmla="*/ 586067 h 680138"/>
                    <a:gd name="connsiteX582" fmla="*/ 293228 w 599011"/>
                    <a:gd name="connsiteY582" fmla="*/ 588277 h 680138"/>
                    <a:gd name="connsiteX583" fmla="*/ 292305 w 599011"/>
                    <a:gd name="connsiteY583" fmla="*/ 589115 h 680138"/>
                    <a:gd name="connsiteX584" fmla="*/ 291151 w 599011"/>
                    <a:gd name="connsiteY584" fmla="*/ 589503 h 680138"/>
                    <a:gd name="connsiteX585" fmla="*/ 290119 w 599011"/>
                    <a:gd name="connsiteY585" fmla="*/ 589163 h 680138"/>
                    <a:gd name="connsiteX586" fmla="*/ 285420 w 599011"/>
                    <a:gd name="connsiteY586" fmla="*/ 585800 h 680138"/>
                    <a:gd name="connsiteX587" fmla="*/ 284388 w 599011"/>
                    <a:gd name="connsiteY587" fmla="*/ 584391 h 680138"/>
                    <a:gd name="connsiteX588" fmla="*/ 284096 w 599011"/>
                    <a:gd name="connsiteY588" fmla="*/ 582849 h 680138"/>
                    <a:gd name="connsiteX589" fmla="*/ 284958 w 599011"/>
                    <a:gd name="connsiteY589" fmla="*/ 580748 h 680138"/>
                    <a:gd name="connsiteX590" fmla="*/ 286161 w 599011"/>
                    <a:gd name="connsiteY590" fmla="*/ 579570 h 680138"/>
                    <a:gd name="connsiteX591" fmla="*/ 287885 w 599011"/>
                    <a:gd name="connsiteY591" fmla="*/ 578429 h 680138"/>
                    <a:gd name="connsiteX592" fmla="*/ 290022 w 599011"/>
                    <a:gd name="connsiteY592" fmla="*/ 577482 h 680138"/>
                    <a:gd name="connsiteX593" fmla="*/ 294029 w 599011"/>
                    <a:gd name="connsiteY593" fmla="*/ 576097 h 680138"/>
                    <a:gd name="connsiteX594" fmla="*/ 295231 w 599011"/>
                    <a:gd name="connsiteY594" fmla="*/ 575357 h 680138"/>
                    <a:gd name="connsiteX595" fmla="*/ 296676 w 599011"/>
                    <a:gd name="connsiteY595" fmla="*/ 574057 h 680138"/>
                    <a:gd name="connsiteX596" fmla="*/ 298680 w 599011"/>
                    <a:gd name="connsiteY596" fmla="*/ 570585 h 680138"/>
                    <a:gd name="connsiteX597" fmla="*/ 299882 w 599011"/>
                    <a:gd name="connsiteY597" fmla="*/ 569176 h 680138"/>
                    <a:gd name="connsiteX598" fmla="*/ 301157 w 599011"/>
                    <a:gd name="connsiteY598" fmla="*/ 568605 h 680138"/>
                    <a:gd name="connsiteX599" fmla="*/ 302420 w 599011"/>
                    <a:gd name="connsiteY599" fmla="*/ 569091 h 680138"/>
                    <a:gd name="connsiteX600" fmla="*/ 305273 w 599011"/>
                    <a:gd name="connsiteY600" fmla="*/ 572394 h 680138"/>
                    <a:gd name="connsiteX601" fmla="*/ 307010 w 599011"/>
                    <a:gd name="connsiteY601" fmla="*/ 573827 h 680138"/>
                    <a:gd name="connsiteX602" fmla="*/ 308904 w 599011"/>
                    <a:gd name="connsiteY602" fmla="*/ 574543 h 680138"/>
                    <a:gd name="connsiteX603" fmla="*/ 310167 w 599011"/>
                    <a:gd name="connsiteY603" fmla="*/ 573548 h 680138"/>
                    <a:gd name="connsiteX604" fmla="*/ 310337 w 599011"/>
                    <a:gd name="connsiteY604" fmla="*/ 571301 h 680138"/>
                    <a:gd name="connsiteX605" fmla="*/ 308321 w 599011"/>
                    <a:gd name="connsiteY605" fmla="*/ 567027 h 680138"/>
                    <a:gd name="connsiteX606" fmla="*/ 307010 w 599011"/>
                    <a:gd name="connsiteY606" fmla="*/ 564987 h 680138"/>
                    <a:gd name="connsiteX607" fmla="*/ 305006 w 599011"/>
                    <a:gd name="connsiteY607" fmla="*/ 562947 h 680138"/>
                    <a:gd name="connsiteX608" fmla="*/ 304023 w 599011"/>
                    <a:gd name="connsiteY608" fmla="*/ 561805 h 680138"/>
                    <a:gd name="connsiteX609" fmla="*/ 302420 w 599011"/>
                    <a:gd name="connsiteY609" fmla="*/ 557640 h 680138"/>
                    <a:gd name="connsiteX610" fmla="*/ 299943 w 599011"/>
                    <a:gd name="connsiteY610" fmla="*/ 553500 h 680138"/>
                    <a:gd name="connsiteX611" fmla="*/ 287132 w 599011"/>
                    <a:gd name="connsiteY611" fmla="*/ 536997 h 680138"/>
                    <a:gd name="connsiteX612" fmla="*/ 278523 w 599011"/>
                    <a:gd name="connsiteY612" fmla="*/ 528619 h 680138"/>
                    <a:gd name="connsiteX613" fmla="*/ 273872 w 599011"/>
                    <a:gd name="connsiteY613" fmla="*/ 524709 h 680138"/>
                    <a:gd name="connsiteX614" fmla="*/ 271346 w 599011"/>
                    <a:gd name="connsiteY614" fmla="*/ 523883 h 680138"/>
                    <a:gd name="connsiteX615" fmla="*/ 268590 w 599011"/>
                    <a:gd name="connsiteY615" fmla="*/ 523264 h 680138"/>
                    <a:gd name="connsiteX616" fmla="*/ 263939 w 599011"/>
                    <a:gd name="connsiteY616" fmla="*/ 521551 h 680138"/>
                    <a:gd name="connsiteX617" fmla="*/ 260952 w 599011"/>
                    <a:gd name="connsiteY617" fmla="*/ 519220 h 680138"/>
                    <a:gd name="connsiteX618" fmla="*/ 258766 w 599011"/>
                    <a:gd name="connsiteY618" fmla="*/ 518795 h 680138"/>
                    <a:gd name="connsiteX619" fmla="*/ 257455 w 599011"/>
                    <a:gd name="connsiteY619" fmla="*/ 518795 h 680138"/>
                    <a:gd name="connsiteX620" fmla="*/ 255900 w 599011"/>
                    <a:gd name="connsiteY620" fmla="*/ 519572 h 680138"/>
                    <a:gd name="connsiteX621" fmla="*/ 254115 w 599011"/>
                    <a:gd name="connsiteY621" fmla="*/ 519742 h 680138"/>
                    <a:gd name="connsiteX622" fmla="*/ 252464 w 599011"/>
                    <a:gd name="connsiteY622" fmla="*/ 518880 h 680138"/>
                    <a:gd name="connsiteX623" fmla="*/ 251650 w 599011"/>
                    <a:gd name="connsiteY623" fmla="*/ 516269 h 680138"/>
                    <a:gd name="connsiteX624" fmla="*/ 252100 w 599011"/>
                    <a:gd name="connsiteY624" fmla="*/ 514193 h 680138"/>
                    <a:gd name="connsiteX625" fmla="*/ 252743 w 599011"/>
                    <a:gd name="connsiteY625" fmla="*/ 512675 h 680138"/>
                    <a:gd name="connsiteX626" fmla="*/ 252525 w 599011"/>
                    <a:gd name="connsiteY626" fmla="*/ 511303 h 680138"/>
                    <a:gd name="connsiteX627" fmla="*/ 250667 w 599011"/>
                    <a:gd name="connsiteY627" fmla="*/ 509518 h 680138"/>
                    <a:gd name="connsiteX628" fmla="*/ 246951 w 599011"/>
                    <a:gd name="connsiteY628" fmla="*/ 507684 h 680138"/>
                    <a:gd name="connsiteX629" fmla="*/ 238499 w 599011"/>
                    <a:gd name="connsiteY629" fmla="*/ 500969 h 680138"/>
                    <a:gd name="connsiteX630" fmla="*/ 233630 w 599011"/>
                    <a:gd name="connsiteY630" fmla="*/ 493926 h 680138"/>
                    <a:gd name="connsiteX631" fmla="*/ 231554 w 599011"/>
                    <a:gd name="connsiteY631" fmla="*/ 492056 h 680138"/>
                    <a:gd name="connsiteX632" fmla="*/ 230643 w 599011"/>
                    <a:gd name="connsiteY632" fmla="*/ 491461 h 680138"/>
                    <a:gd name="connsiteX633" fmla="*/ 229271 w 599011"/>
                    <a:gd name="connsiteY633" fmla="*/ 489883 h 680138"/>
                    <a:gd name="connsiteX634" fmla="*/ 224547 w 599011"/>
                    <a:gd name="connsiteY634" fmla="*/ 483253 h 680138"/>
                    <a:gd name="connsiteX635" fmla="*/ 221961 w 599011"/>
                    <a:gd name="connsiteY635" fmla="*/ 480496 h 680138"/>
                    <a:gd name="connsiteX636" fmla="*/ 218804 w 599011"/>
                    <a:gd name="connsiteY636" fmla="*/ 476125 h 680138"/>
                    <a:gd name="connsiteX637" fmla="*/ 216278 w 599011"/>
                    <a:gd name="connsiteY637" fmla="*/ 470903 h 680138"/>
                    <a:gd name="connsiteX638" fmla="*/ 210656 w 599011"/>
                    <a:gd name="connsiteY638" fmla="*/ 453417 h 680138"/>
                    <a:gd name="connsiteX639" fmla="*/ 206928 w 599011"/>
                    <a:gd name="connsiteY639" fmla="*/ 445609 h 680138"/>
                    <a:gd name="connsiteX640" fmla="*/ 206236 w 599011"/>
                    <a:gd name="connsiteY640" fmla="*/ 443169 h 680138"/>
                    <a:gd name="connsiteX641" fmla="*/ 206527 w 599011"/>
                    <a:gd name="connsiteY641" fmla="*/ 439951 h 680138"/>
                    <a:gd name="connsiteX642" fmla="*/ 206005 w 599011"/>
                    <a:gd name="connsiteY642" fmla="*/ 437049 h 680138"/>
                    <a:gd name="connsiteX643" fmla="*/ 202605 w 599011"/>
                    <a:gd name="connsiteY643" fmla="*/ 431657 h 680138"/>
                    <a:gd name="connsiteX644" fmla="*/ 201524 w 599011"/>
                    <a:gd name="connsiteY644" fmla="*/ 428184 h 680138"/>
                    <a:gd name="connsiteX645" fmla="*/ 199921 w 599011"/>
                    <a:gd name="connsiteY645" fmla="*/ 422234 h 680138"/>
                    <a:gd name="connsiteX646" fmla="*/ 198658 w 599011"/>
                    <a:gd name="connsiteY646" fmla="*/ 418215 h 680138"/>
                    <a:gd name="connsiteX647" fmla="*/ 198889 w 599011"/>
                    <a:gd name="connsiteY647" fmla="*/ 416952 h 680138"/>
                    <a:gd name="connsiteX648" fmla="*/ 199290 w 599011"/>
                    <a:gd name="connsiteY648" fmla="*/ 415629 h 680138"/>
                    <a:gd name="connsiteX649" fmla="*/ 200322 w 599011"/>
                    <a:gd name="connsiteY649" fmla="*/ 414742 h 680138"/>
                    <a:gd name="connsiteX650" fmla="*/ 202726 w 599011"/>
                    <a:gd name="connsiteY650" fmla="*/ 413224 h 680138"/>
                    <a:gd name="connsiteX651" fmla="*/ 204341 w 599011"/>
                    <a:gd name="connsiteY651" fmla="*/ 411961 h 680138"/>
                    <a:gd name="connsiteX652" fmla="*/ 205204 w 599011"/>
                    <a:gd name="connsiteY652" fmla="*/ 410116 h 680138"/>
                    <a:gd name="connsiteX653" fmla="*/ 205313 w 599011"/>
                    <a:gd name="connsiteY653" fmla="*/ 407796 h 680138"/>
                    <a:gd name="connsiteX654" fmla="*/ 204803 w 599011"/>
                    <a:gd name="connsiteY654" fmla="*/ 405562 h 680138"/>
                    <a:gd name="connsiteX655" fmla="*/ 204098 w 599011"/>
                    <a:gd name="connsiteY655" fmla="*/ 404008 h 680138"/>
                    <a:gd name="connsiteX656" fmla="*/ 203248 w 599011"/>
                    <a:gd name="connsiteY656" fmla="*/ 403182 h 680138"/>
                    <a:gd name="connsiteX657" fmla="*/ 201864 w 599011"/>
                    <a:gd name="connsiteY657" fmla="*/ 402478 h 680138"/>
                    <a:gd name="connsiteX658" fmla="*/ 193886 w 599011"/>
                    <a:gd name="connsiteY658" fmla="*/ 399649 h 680138"/>
                    <a:gd name="connsiteX659" fmla="*/ 192283 w 599011"/>
                    <a:gd name="connsiteY659" fmla="*/ 398410 h 680138"/>
                    <a:gd name="connsiteX660" fmla="*/ 186989 w 599011"/>
                    <a:gd name="connsiteY660" fmla="*/ 390286 h 680138"/>
                    <a:gd name="connsiteX661" fmla="*/ 183771 w 599011"/>
                    <a:gd name="connsiteY661" fmla="*/ 386315 h 680138"/>
                    <a:gd name="connsiteX662" fmla="*/ 182180 w 599011"/>
                    <a:gd name="connsiteY662" fmla="*/ 383875 h 680138"/>
                    <a:gd name="connsiteX663" fmla="*/ 181197 w 599011"/>
                    <a:gd name="connsiteY663" fmla="*/ 381641 h 680138"/>
                    <a:gd name="connsiteX664" fmla="*/ 181027 w 599011"/>
                    <a:gd name="connsiteY664" fmla="*/ 379770 h 680138"/>
                    <a:gd name="connsiteX665" fmla="*/ 181088 w 599011"/>
                    <a:gd name="connsiteY665" fmla="*/ 378022 h 680138"/>
                    <a:gd name="connsiteX666" fmla="*/ 181488 w 599011"/>
                    <a:gd name="connsiteY666" fmla="*/ 376589 h 680138"/>
                    <a:gd name="connsiteX667" fmla="*/ 181306 w 599011"/>
                    <a:gd name="connsiteY667" fmla="*/ 375435 h 680138"/>
                    <a:gd name="connsiteX668" fmla="*/ 180687 w 599011"/>
                    <a:gd name="connsiteY668" fmla="*/ 374087 h 680138"/>
                    <a:gd name="connsiteX669" fmla="*/ 179011 w 599011"/>
                    <a:gd name="connsiteY669" fmla="*/ 371938 h 680138"/>
                    <a:gd name="connsiteX670" fmla="*/ 178380 w 599011"/>
                    <a:gd name="connsiteY670" fmla="*/ 370080 h 680138"/>
                    <a:gd name="connsiteX671" fmla="*/ 178100 w 599011"/>
                    <a:gd name="connsiteY671" fmla="*/ 368550 h 680138"/>
                    <a:gd name="connsiteX672" fmla="*/ 178331 w 599011"/>
                    <a:gd name="connsiteY672" fmla="*/ 367287 h 680138"/>
                    <a:gd name="connsiteX673" fmla="*/ 178902 w 599011"/>
                    <a:gd name="connsiteY673" fmla="*/ 366425 h 680138"/>
                    <a:gd name="connsiteX674" fmla="*/ 180056 w 599011"/>
                    <a:gd name="connsiteY674" fmla="*/ 365818 h 680138"/>
                    <a:gd name="connsiteX675" fmla="*/ 182800 w 599011"/>
                    <a:gd name="connsiteY675" fmla="*/ 365333 h 680138"/>
                    <a:gd name="connsiteX676" fmla="*/ 183613 w 599011"/>
                    <a:gd name="connsiteY676" fmla="*/ 364993 h 680138"/>
                    <a:gd name="connsiteX677" fmla="*/ 184063 w 599011"/>
                    <a:gd name="connsiteY677" fmla="*/ 364385 h 680138"/>
                    <a:gd name="connsiteX678" fmla="*/ 184354 w 599011"/>
                    <a:gd name="connsiteY678" fmla="*/ 363353 h 680138"/>
                    <a:gd name="connsiteX679" fmla="*/ 184415 w 599011"/>
                    <a:gd name="connsiteY679" fmla="*/ 362175 h 680138"/>
                    <a:gd name="connsiteX680" fmla="*/ 184245 w 599011"/>
                    <a:gd name="connsiteY680" fmla="*/ 360913 h 680138"/>
                    <a:gd name="connsiteX681" fmla="*/ 183832 w 599011"/>
                    <a:gd name="connsiteY681" fmla="*/ 359674 h 680138"/>
                    <a:gd name="connsiteX682" fmla="*/ 181488 w 599011"/>
                    <a:gd name="connsiteY682" fmla="*/ 355509 h 680138"/>
                    <a:gd name="connsiteX683" fmla="*/ 180906 w 599011"/>
                    <a:gd name="connsiteY683" fmla="*/ 351672 h 680138"/>
                    <a:gd name="connsiteX684" fmla="*/ 180274 w 599011"/>
                    <a:gd name="connsiteY684" fmla="*/ 350664 h 680138"/>
                    <a:gd name="connsiteX685" fmla="*/ 178963 w 599011"/>
                    <a:gd name="connsiteY685" fmla="*/ 350494 h 680138"/>
                    <a:gd name="connsiteX686" fmla="*/ 175793 w 599011"/>
                    <a:gd name="connsiteY686" fmla="*/ 351805 h 680138"/>
                    <a:gd name="connsiteX687" fmla="*/ 174178 w 599011"/>
                    <a:gd name="connsiteY687" fmla="*/ 353105 h 680138"/>
                    <a:gd name="connsiteX688" fmla="*/ 172928 w 599011"/>
                    <a:gd name="connsiteY688" fmla="*/ 354428 h 680138"/>
                    <a:gd name="connsiteX689" fmla="*/ 171895 w 599011"/>
                    <a:gd name="connsiteY689" fmla="*/ 355290 h 680138"/>
                    <a:gd name="connsiteX690" fmla="*/ 170924 w 599011"/>
                    <a:gd name="connsiteY690" fmla="*/ 355375 h 680138"/>
                    <a:gd name="connsiteX691" fmla="*/ 169248 w 599011"/>
                    <a:gd name="connsiteY691" fmla="*/ 354307 h 680138"/>
                    <a:gd name="connsiteX692" fmla="*/ 168386 w 599011"/>
                    <a:gd name="connsiteY692" fmla="*/ 352935 h 680138"/>
                    <a:gd name="connsiteX693" fmla="*/ 168095 w 599011"/>
                    <a:gd name="connsiteY693" fmla="*/ 351441 h 680138"/>
                    <a:gd name="connsiteX694" fmla="*/ 168216 w 599011"/>
                    <a:gd name="connsiteY694" fmla="*/ 350057 h 680138"/>
                    <a:gd name="connsiteX695" fmla="*/ 169491 w 599011"/>
                    <a:gd name="connsiteY695" fmla="*/ 345491 h 680138"/>
                    <a:gd name="connsiteX696" fmla="*/ 169600 w 599011"/>
                    <a:gd name="connsiteY696" fmla="*/ 344082 h 680138"/>
                    <a:gd name="connsiteX697" fmla="*/ 169090 w 599011"/>
                    <a:gd name="connsiteY697" fmla="*/ 342759 h 680138"/>
                    <a:gd name="connsiteX698" fmla="*/ 167998 w 599011"/>
                    <a:gd name="connsiteY698" fmla="*/ 342164 h 680138"/>
                    <a:gd name="connsiteX699" fmla="*/ 166334 w 599011"/>
                    <a:gd name="connsiteY699" fmla="*/ 342225 h 680138"/>
                    <a:gd name="connsiteX700" fmla="*/ 159437 w 599011"/>
                    <a:gd name="connsiteY700" fmla="*/ 345637 h 680138"/>
                    <a:gd name="connsiteX701" fmla="*/ 158684 w 599011"/>
                    <a:gd name="connsiteY701" fmla="*/ 346377 h 680138"/>
                    <a:gd name="connsiteX702" fmla="*/ 158283 w 599011"/>
                    <a:gd name="connsiteY702" fmla="*/ 347337 h 680138"/>
                    <a:gd name="connsiteX703" fmla="*/ 158113 w 599011"/>
                    <a:gd name="connsiteY703" fmla="*/ 348357 h 680138"/>
                    <a:gd name="connsiteX704" fmla="*/ 157712 w 599011"/>
                    <a:gd name="connsiteY704" fmla="*/ 349292 h 680138"/>
                    <a:gd name="connsiteX705" fmla="*/ 156620 w 599011"/>
                    <a:gd name="connsiteY705" fmla="*/ 350057 h 680138"/>
                    <a:gd name="connsiteX706" fmla="*/ 154325 w 599011"/>
                    <a:gd name="connsiteY706" fmla="*/ 350919 h 680138"/>
                    <a:gd name="connsiteX707" fmla="*/ 150305 w 599011"/>
                    <a:gd name="connsiteY707" fmla="*/ 351611 h 680138"/>
                    <a:gd name="connsiteX708" fmla="*/ 147670 w 599011"/>
                    <a:gd name="connsiteY708" fmla="*/ 351465 h 680138"/>
                    <a:gd name="connsiteX709" fmla="*/ 144562 w 599011"/>
                    <a:gd name="connsiteY709" fmla="*/ 349340 h 680138"/>
                    <a:gd name="connsiteX710" fmla="*/ 143129 w 599011"/>
                    <a:gd name="connsiteY710" fmla="*/ 348077 h 680138"/>
                    <a:gd name="connsiteX711" fmla="*/ 141575 w 599011"/>
                    <a:gd name="connsiteY711" fmla="*/ 347482 h 680138"/>
                    <a:gd name="connsiteX712" fmla="*/ 140142 w 599011"/>
                    <a:gd name="connsiteY712" fmla="*/ 347677 h 680138"/>
                    <a:gd name="connsiteX713" fmla="*/ 137385 w 599011"/>
                    <a:gd name="connsiteY713" fmla="*/ 350457 h 680138"/>
                    <a:gd name="connsiteX714" fmla="*/ 135673 w 599011"/>
                    <a:gd name="connsiteY714" fmla="*/ 351696 h 680138"/>
                    <a:gd name="connsiteX715" fmla="*/ 131872 w 599011"/>
                    <a:gd name="connsiteY715" fmla="*/ 352327 h 680138"/>
                    <a:gd name="connsiteX716" fmla="*/ 130257 w 599011"/>
                    <a:gd name="connsiteY716" fmla="*/ 352935 h 680138"/>
                    <a:gd name="connsiteX717" fmla="*/ 127513 w 599011"/>
                    <a:gd name="connsiteY717" fmla="*/ 354635 h 680138"/>
                    <a:gd name="connsiteX718" fmla="*/ 125959 w 599011"/>
                    <a:gd name="connsiteY718" fmla="*/ 354999 h 680138"/>
                    <a:gd name="connsiteX719" fmla="*/ 124174 w 599011"/>
                    <a:gd name="connsiteY719" fmla="*/ 355193 h 680138"/>
                    <a:gd name="connsiteX720" fmla="*/ 122401 w 599011"/>
                    <a:gd name="connsiteY720" fmla="*/ 355023 h 680138"/>
                    <a:gd name="connsiteX721" fmla="*/ 120907 w 599011"/>
                    <a:gd name="connsiteY721" fmla="*/ 354246 h 680138"/>
                    <a:gd name="connsiteX722" fmla="*/ 119632 w 599011"/>
                    <a:gd name="connsiteY722" fmla="*/ 352898 h 680138"/>
                    <a:gd name="connsiteX723" fmla="*/ 117859 w 599011"/>
                    <a:gd name="connsiteY723" fmla="*/ 348454 h 680138"/>
                    <a:gd name="connsiteX724" fmla="*/ 116706 w 599011"/>
                    <a:gd name="connsiteY724" fmla="*/ 346438 h 680138"/>
                    <a:gd name="connsiteX725" fmla="*/ 115394 w 599011"/>
                    <a:gd name="connsiteY725" fmla="*/ 344920 h 680138"/>
                    <a:gd name="connsiteX726" fmla="*/ 112978 w 599011"/>
                    <a:gd name="connsiteY726" fmla="*/ 343912 h 680138"/>
                    <a:gd name="connsiteX727" fmla="*/ 110804 w 599011"/>
                    <a:gd name="connsiteY727" fmla="*/ 344034 h 680138"/>
                    <a:gd name="connsiteX728" fmla="*/ 107064 w 599011"/>
                    <a:gd name="connsiteY728" fmla="*/ 346074 h 680138"/>
                    <a:gd name="connsiteX729" fmla="*/ 106263 w 599011"/>
                    <a:gd name="connsiteY729" fmla="*/ 346183 h 680138"/>
                    <a:gd name="connsiteX730" fmla="*/ 104830 w 599011"/>
                    <a:gd name="connsiteY730" fmla="*/ 346098 h 680138"/>
                    <a:gd name="connsiteX731" fmla="*/ 102924 w 599011"/>
                    <a:gd name="connsiteY731" fmla="*/ 345697 h 680138"/>
                    <a:gd name="connsiteX732" fmla="*/ 101794 w 599011"/>
                    <a:gd name="connsiteY732" fmla="*/ 345212 h 680138"/>
                    <a:gd name="connsiteX733" fmla="*/ 100519 w 599011"/>
                    <a:gd name="connsiteY733" fmla="*/ 343888 h 680138"/>
                    <a:gd name="connsiteX734" fmla="*/ 99256 w 599011"/>
                    <a:gd name="connsiteY734" fmla="*/ 341957 h 680138"/>
                    <a:gd name="connsiteX735" fmla="*/ 97071 w 599011"/>
                    <a:gd name="connsiteY735" fmla="*/ 337513 h 680138"/>
                    <a:gd name="connsiteX736" fmla="*/ 95407 w 599011"/>
                    <a:gd name="connsiteY736" fmla="*/ 332911 h 680138"/>
                    <a:gd name="connsiteX737" fmla="*/ 95067 w 599011"/>
                    <a:gd name="connsiteY737" fmla="*/ 331199 h 680138"/>
                    <a:gd name="connsiteX738" fmla="*/ 94557 w 599011"/>
                    <a:gd name="connsiteY738" fmla="*/ 329899 h 680138"/>
                    <a:gd name="connsiteX739" fmla="*/ 93513 w 599011"/>
                    <a:gd name="connsiteY739" fmla="*/ 328491 h 680138"/>
                    <a:gd name="connsiteX740" fmla="*/ 90076 w 599011"/>
                    <a:gd name="connsiteY740" fmla="*/ 325977 h 680138"/>
                    <a:gd name="connsiteX741" fmla="*/ 88340 w 599011"/>
                    <a:gd name="connsiteY741" fmla="*/ 325079 h 680138"/>
                    <a:gd name="connsiteX742" fmla="*/ 85875 w 599011"/>
                    <a:gd name="connsiteY742" fmla="*/ 324217 h 680138"/>
                    <a:gd name="connsiteX743" fmla="*/ 82256 w 599011"/>
                    <a:gd name="connsiteY743" fmla="*/ 323391 h 680138"/>
                    <a:gd name="connsiteX744" fmla="*/ 80641 w 599011"/>
                    <a:gd name="connsiteY744" fmla="*/ 322784 h 680138"/>
                    <a:gd name="connsiteX745" fmla="*/ 77715 w 599011"/>
                    <a:gd name="connsiteY745" fmla="*/ 321035 h 680138"/>
                    <a:gd name="connsiteX746" fmla="*/ 75833 w 599011"/>
                    <a:gd name="connsiteY746" fmla="*/ 320768 h 680138"/>
                    <a:gd name="connsiteX747" fmla="*/ 73987 w 599011"/>
                    <a:gd name="connsiteY747" fmla="*/ 320950 h 680138"/>
                    <a:gd name="connsiteX748" fmla="*/ 71631 w 599011"/>
                    <a:gd name="connsiteY748" fmla="*/ 321922 h 680138"/>
                    <a:gd name="connsiteX749" fmla="*/ 69688 w 599011"/>
                    <a:gd name="connsiteY749" fmla="*/ 323282 h 680138"/>
                    <a:gd name="connsiteX750" fmla="*/ 67393 w 599011"/>
                    <a:gd name="connsiteY750" fmla="*/ 325309 h 680138"/>
                    <a:gd name="connsiteX751" fmla="*/ 65608 w 599011"/>
                    <a:gd name="connsiteY751" fmla="*/ 327264 h 680138"/>
                    <a:gd name="connsiteX752" fmla="*/ 63835 w 599011"/>
                    <a:gd name="connsiteY752" fmla="*/ 328467 h 680138"/>
                    <a:gd name="connsiteX753" fmla="*/ 62220 w 599011"/>
                    <a:gd name="connsiteY753" fmla="*/ 328867 h 680138"/>
                    <a:gd name="connsiteX754" fmla="*/ 59343 w 599011"/>
                    <a:gd name="connsiteY754" fmla="*/ 328758 h 680138"/>
                    <a:gd name="connsiteX755" fmla="*/ 52967 w 599011"/>
                    <a:gd name="connsiteY755" fmla="*/ 327471 h 680138"/>
                    <a:gd name="connsiteX756" fmla="*/ 51996 w 599011"/>
                    <a:gd name="connsiteY756" fmla="*/ 327495 h 680138"/>
                    <a:gd name="connsiteX757" fmla="*/ 46605 w 599011"/>
                    <a:gd name="connsiteY757" fmla="*/ 328357 h 680138"/>
                    <a:gd name="connsiteX758" fmla="*/ 44127 w 599011"/>
                    <a:gd name="connsiteY758" fmla="*/ 328357 h 680138"/>
                    <a:gd name="connsiteX759" fmla="*/ 42986 w 599011"/>
                    <a:gd name="connsiteY759" fmla="*/ 328527 h 680138"/>
                    <a:gd name="connsiteX760" fmla="*/ 41650 w 599011"/>
                    <a:gd name="connsiteY760" fmla="*/ 329013 h 680138"/>
                    <a:gd name="connsiteX761" fmla="*/ 40910 w 599011"/>
                    <a:gd name="connsiteY761" fmla="*/ 330021 h 680138"/>
                    <a:gd name="connsiteX762" fmla="*/ 40460 w 599011"/>
                    <a:gd name="connsiteY762" fmla="*/ 331429 h 680138"/>
                    <a:gd name="connsiteX763" fmla="*/ 39938 w 599011"/>
                    <a:gd name="connsiteY763" fmla="*/ 334040 h 680138"/>
                    <a:gd name="connsiteX764" fmla="*/ 39307 w 599011"/>
                    <a:gd name="connsiteY764" fmla="*/ 335072 h 680138"/>
                    <a:gd name="connsiteX765" fmla="*/ 38396 w 599011"/>
                    <a:gd name="connsiteY765" fmla="*/ 335594 h 680138"/>
                    <a:gd name="connsiteX766" fmla="*/ 36660 w 599011"/>
                    <a:gd name="connsiteY766" fmla="*/ 335619 h 680138"/>
                    <a:gd name="connsiteX767" fmla="*/ 34887 w 599011"/>
                    <a:gd name="connsiteY767" fmla="*/ 335303 h 680138"/>
                    <a:gd name="connsiteX768" fmla="*/ 33454 w 599011"/>
                    <a:gd name="connsiteY768" fmla="*/ 334149 h 680138"/>
                    <a:gd name="connsiteX769" fmla="*/ 32252 w 599011"/>
                    <a:gd name="connsiteY769" fmla="*/ 332425 h 680138"/>
                    <a:gd name="connsiteX770" fmla="*/ 30515 w 599011"/>
                    <a:gd name="connsiteY770" fmla="*/ 328357 h 680138"/>
                    <a:gd name="connsiteX771" fmla="*/ 29022 w 599011"/>
                    <a:gd name="connsiteY771" fmla="*/ 326038 h 680138"/>
                    <a:gd name="connsiteX772" fmla="*/ 26156 w 599011"/>
                    <a:gd name="connsiteY772" fmla="*/ 322553 h 680138"/>
                    <a:gd name="connsiteX773" fmla="*/ 25294 w 599011"/>
                    <a:gd name="connsiteY773" fmla="*/ 320914 h 680138"/>
                    <a:gd name="connsiteX774" fmla="*/ 24152 w 599011"/>
                    <a:gd name="connsiteY774" fmla="*/ 318218 h 680138"/>
                    <a:gd name="connsiteX775" fmla="*/ 21967 w 599011"/>
                    <a:gd name="connsiteY775" fmla="*/ 315206 h 680138"/>
                    <a:gd name="connsiteX776" fmla="*/ 21104 w 599011"/>
                    <a:gd name="connsiteY776" fmla="*/ 314259 h 680138"/>
                    <a:gd name="connsiteX777" fmla="*/ 20643 w 599011"/>
                    <a:gd name="connsiteY777" fmla="*/ 313081 h 680138"/>
                    <a:gd name="connsiteX778" fmla="*/ 20764 w 599011"/>
                    <a:gd name="connsiteY778" fmla="*/ 311503 h 680138"/>
                    <a:gd name="connsiteX779" fmla="*/ 21687 w 599011"/>
                    <a:gd name="connsiteY779" fmla="*/ 309232 h 680138"/>
                    <a:gd name="connsiteX780" fmla="*/ 23181 w 599011"/>
                    <a:gd name="connsiteY780" fmla="*/ 308163 h 680138"/>
                    <a:gd name="connsiteX781" fmla="*/ 24541 w 599011"/>
                    <a:gd name="connsiteY781" fmla="*/ 307739 h 680138"/>
                    <a:gd name="connsiteX782" fmla="*/ 30005 w 599011"/>
                    <a:gd name="connsiteY782" fmla="*/ 307994 h 680138"/>
                    <a:gd name="connsiteX783" fmla="*/ 31499 w 599011"/>
                    <a:gd name="connsiteY783" fmla="*/ 307739 h 680138"/>
                    <a:gd name="connsiteX784" fmla="*/ 32883 w 599011"/>
                    <a:gd name="connsiteY784" fmla="*/ 307131 h 680138"/>
                    <a:gd name="connsiteX785" fmla="*/ 33745 w 599011"/>
                    <a:gd name="connsiteY785" fmla="*/ 305711 h 680138"/>
                    <a:gd name="connsiteX786" fmla="*/ 34377 w 599011"/>
                    <a:gd name="connsiteY786" fmla="*/ 303610 h 680138"/>
                    <a:gd name="connsiteX787" fmla="*/ 35057 w 599011"/>
                    <a:gd name="connsiteY787" fmla="*/ 296943 h 680138"/>
                    <a:gd name="connsiteX788" fmla="*/ 34717 w 599011"/>
                    <a:gd name="connsiteY788" fmla="*/ 294818 h 680138"/>
                    <a:gd name="connsiteX789" fmla="*/ 32992 w 599011"/>
                    <a:gd name="connsiteY789" fmla="*/ 292159 h 680138"/>
                    <a:gd name="connsiteX790" fmla="*/ 29714 w 599011"/>
                    <a:gd name="connsiteY790" fmla="*/ 288565 h 680138"/>
                    <a:gd name="connsiteX791" fmla="*/ 28451 w 599011"/>
                    <a:gd name="connsiteY791" fmla="*/ 286148 h 680138"/>
                    <a:gd name="connsiteX792" fmla="*/ 27771 w 599011"/>
                    <a:gd name="connsiteY792" fmla="*/ 282736 h 680138"/>
                    <a:gd name="connsiteX793" fmla="*/ 29386 w 599011"/>
                    <a:gd name="connsiteY793" fmla="*/ 265384 h 680138"/>
                    <a:gd name="connsiteX794" fmla="*/ 30236 w 599011"/>
                    <a:gd name="connsiteY794" fmla="*/ 261948 h 680138"/>
                    <a:gd name="connsiteX795" fmla="*/ 32992 w 599011"/>
                    <a:gd name="connsiteY795" fmla="*/ 254747 h 680138"/>
                    <a:gd name="connsiteX796" fmla="*/ 33624 w 599011"/>
                    <a:gd name="connsiteY796" fmla="*/ 251468 h 680138"/>
                    <a:gd name="connsiteX797" fmla="*/ 33393 w 599011"/>
                    <a:gd name="connsiteY797" fmla="*/ 248857 h 680138"/>
                    <a:gd name="connsiteX798" fmla="*/ 32069 w 599011"/>
                    <a:gd name="connsiteY798" fmla="*/ 246757 h 680138"/>
                    <a:gd name="connsiteX799" fmla="*/ 30928 w 599011"/>
                    <a:gd name="connsiteY799" fmla="*/ 245980 h 680138"/>
                    <a:gd name="connsiteX800" fmla="*/ 29544 w 599011"/>
                    <a:gd name="connsiteY800" fmla="*/ 245749 h 680138"/>
                    <a:gd name="connsiteX801" fmla="*/ 28633 w 599011"/>
                    <a:gd name="connsiteY801" fmla="*/ 246125 h 680138"/>
                    <a:gd name="connsiteX802" fmla="*/ 27892 w 599011"/>
                    <a:gd name="connsiteY802" fmla="*/ 246817 h 680138"/>
                    <a:gd name="connsiteX803" fmla="*/ 26617 w 599011"/>
                    <a:gd name="connsiteY803" fmla="*/ 248250 h 680138"/>
                    <a:gd name="connsiteX804" fmla="*/ 25925 w 599011"/>
                    <a:gd name="connsiteY804" fmla="*/ 248602 h 680138"/>
                    <a:gd name="connsiteX805" fmla="*/ 25002 w 599011"/>
                    <a:gd name="connsiteY805" fmla="*/ 248736 h 680138"/>
                    <a:gd name="connsiteX806" fmla="*/ 22719 w 599011"/>
                    <a:gd name="connsiteY806" fmla="*/ 248712 h 680138"/>
                    <a:gd name="connsiteX807" fmla="*/ 21335 w 599011"/>
                    <a:gd name="connsiteY807" fmla="*/ 249003 h 680138"/>
                    <a:gd name="connsiteX808" fmla="*/ 20072 w 599011"/>
                    <a:gd name="connsiteY808" fmla="*/ 249780 h 680138"/>
                    <a:gd name="connsiteX809" fmla="*/ 18069 w 599011"/>
                    <a:gd name="connsiteY809" fmla="*/ 251407 h 680138"/>
                    <a:gd name="connsiteX810" fmla="*/ 16575 w 599011"/>
                    <a:gd name="connsiteY810" fmla="*/ 252124 h 680138"/>
                    <a:gd name="connsiteX811" fmla="*/ 14899 w 599011"/>
                    <a:gd name="connsiteY811" fmla="*/ 252585 h 680138"/>
                    <a:gd name="connsiteX812" fmla="*/ 13406 w 599011"/>
                    <a:gd name="connsiteY812" fmla="*/ 252707 h 680138"/>
                    <a:gd name="connsiteX813" fmla="*/ 11572 w 599011"/>
                    <a:gd name="connsiteY813" fmla="*/ 252537 h 680138"/>
                    <a:gd name="connsiteX814" fmla="*/ 9569 w 599011"/>
                    <a:gd name="connsiteY814" fmla="*/ 251954 h 680138"/>
                    <a:gd name="connsiteX815" fmla="*/ 7723 w 599011"/>
                    <a:gd name="connsiteY815" fmla="*/ 251043 h 680138"/>
                    <a:gd name="connsiteX816" fmla="*/ 6521 w 599011"/>
                    <a:gd name="connsiteY816" fmla="*/ 249513 h 680138"/>
                    <a:gd name="connsiteX817" fmla="*/ 6120 w 599011"/>
                    <a:gd name="connsiteY817" fmla="*/ 247218 h 680138"/>
                    <a:gd name="connsiteX818" fmla="*/ 6460 w 599011"/>
                    <a:gd name="connsiteY818" fmla="*/ 243284 h 680138"/>
                    <a:gd name="connsiteX819" fmla="*/ 7444 w 599011"/>
                    <a:gd name="connsiteY819" fmla="*/ 239872 h 680138"/>
                    <a:gd name="connsiteX820" fmla="*/ 9217 w 599011"/>
                    <a:gd name="connsiteY820" fmla="*/ 236229 h 680138"/>
                    <a:gd name="connsiteX821" fmla="*/ 10309 w 599011"/>
                    <a:gd name="connsiteY821" fmla="*/ 234820 h 680138"/>
                    <a:gd name="connsiteX822" fmla="*/ 11062 w 599011"/>
                    <a:gd name="connsiteY822" fmla="*/ 234164 h 680138"/>
                    <a:gd name="connsiteX823" fmla="*/ 12665 w 599011"/>
                    <a:gd name="connsiteY823" fmla="*/ 233727 h 680138"/>
                    <a:gd name="connsiteX824" fmla="*/ 18348 w 599011"/>
                    <a:gd name="connsiteY824" fmla="*/ 231250 h 680138"/>
                    <a:gd name="connsiteX825" fmla="*/ 20194 w 599011"/>
                    <a:gd name="connsiteY825" fmla="*/ 230109 h 680138"/>
                    <a:gd name="connsiteX826" fmla="*/ 21566 w 599011"/>
                    <a:gd name="connsiteY826" fmla="*/ 228761 h 680138"/>
                    <a:gd name="connsiteX827" fmla="*/ 22537 w 599011"/>
                    <a:gd name="connsiteY827" fmla="*/ 227170 h 680138"/>
                    <a:gd name="connsiteX828" fmla="*/ 23059 w 599011"/>
                    <a:gd name="connsiteY828" fmla="*/ 225397 h 680138"/>
                    <a:gd name="connsiteX829" fmla="*/ 22877 w 599011"/>
                    <a:gd name="connsiteY829" fmla="*/ 223442 h 680138"/>
                    <a:gd name="connsiteX830" fmla="*/ 22137 w 599011"/>
                    <a:gd name="connsiteY830" fmla="*/ 221609 h 680138"/>
                    <a:gd name="connsiteX831" fmla="*/ 20303 w 599011"/>
                    <a:gd name="connsiteY831" fmla="*/ 219824 h 680138"/>
                    <a:gd name="connsiteX832" fmla="*/ 18639 w 599011"/>
                    <a:gd name="connsiteY832" fmla="*/ 218767 h 680138"/>
                    <a:gd name="connsiteX833" fmla="*/ 17146 w 599011"/>
                    <a:gd name="connsiteY833" fmla="*/ 217128 h 680138"/>
                    <a:gd name="connsiteX834" fmla="*/ 16393 w 599011"/>
                    <a:gd name="connsiteY834" fmla="*/ 215986 h 680138"/>
                    <a:gd name="connsiteX835" fmla="*/ 16806 w 599011"/>
                    <a:gd name="connsiteY835" fmla="*/ 209429 h 680138"/>
                    <a:gd name="connsiteX836" fmla="*/ 28342 w 599011"/>
                    <a:gd name="connsiteY836" fmla="*/ 212198 h 680138"/>
                    <a:gd name="connsiteX837" fmla="*/ 38615 w 599011"/>
                    <a:gd name="connsiteY837" fmla="*/ 216096 h 680138"/>
                    <a:gd name="connsiteX838" fmla="*/ 42015 w 599011"/>
                    <a:gd name="connsiteY838" fmla="*/ 216242 h 680138"/>
                    <a:gd name="connsiteX839" fmla="*/ 42695 w 599011"/>
                    <a:gd name="connsiteY839" fmla="*/ 215610 h 680138"/>
                    <a:gd name="connsiteX840" fmla="*/ 43617 w 599011"/>
                    <a:gd name="connsiteY840" fmla="*/ 214238 h 680138"/>
                    <a:gd name="connsiteX841" fmla="*/ 45111 w 599011"/>
                    <a:gd name="connsiteY841" fmla="*/ 211384 h 680138"/>
                    <a:gd name="connsiteX842" fmla="*/ 46034 w 599011"/>
                    <a:gd name="connsiteY842" fmla="*/ 210206 h 680138"/>
                    <a:gd name="connsiteX843" fmla="*/ 47127 w 599011"/>
                    <a:gd name="connsiteY843" fmla="*/ 209199 h 680138"/>
                    <a:gd name="connsiteX844" fmla="*/ 53259 w 599011"/>
                    <a:gd name="connsiteY844" fmla="*/ 205106 h 680138"/>
                    <a:gd name="connsiteX845" fmla="*/ 54862 w 599011"/>
                    <a:gd name="connsiteY845" fmla="*/ 204463 h 680138"/>
                    <a:gd name="connsiteX846" fmla="*/ 56137 w 599011"/>
                    <a:gd name="connsiteY846" fmla="*/ 204208 h 680138"/>
                    <a:gd name="connsiteX847" fmla="*/ 59695 w 599011"/>
                    <a:gd name="connsiteY847" fmla="*/ 204269 h 680138"/>
                    <a:gd name="connsiteX848" fmla="*/ 63835 w 599011"/>
                    <a:gd name="connsiteY848" fmla="*/ 203807 h 680138"/>
                    <a:gd name="connsiteX849" fmla="*/ 71182 w 599011"/>
                    <a:gd name="connsiteY849" fmla="*/ 201621 h 680138"/>
                    <a:gd name="connsiteX850" fmla="*/ 73003 w 599011"/>
                    <a:gd name="connsiteY850" fmla="*/ 201391 h 680138"/>
                    <a:gd name="connsiteX851" fmla="*/ 74400 w 599011"/>
                    <a:gd name="connsiteY851" fmla="*/ 201682 h 680138"/>
                    <a:gd name="connsiteX852" fmla="*/ 75019 w 599011"/>
                    <a:gd name="connsiteY852" fmla="*/ 202423 h 680138"/>
                    <a:gd name="connsiteX853" fmla="*/ 76112 w 599011"/>
                    <a:gd name="connsiteY853" fmla="*/ 204147 h 680138"/>
                    <a:gd name="connsiteX854" fmla="*/ 76926 w 599011"/>
                    <a:gd name="connsiteY854" fmla="*/ 205046 h 680138"/>
                    <a:gd name="connsiteX855" fmla="*/ 77776 w 599011"/>
                    <a:gd name="connsiteY855" fmla="*/ 205677 h 680138"/>
                    <a:gd name="connsiteX856" fmla="*/ 79791 w 599011"/>
                    <a:gd name="connsiteY856" fmla="*/ 206248 h 680138"/>
                    <a:gd name="connsiteX857" fmla="*/ 89384 w 599011"/>
                    <a:gd name="connsiteY857" fmla="*/ 207887 h 680138"/>
                    <a:gd name="connsiteX858" fmla="*/ 91266 w 599011"/>
                    <a:gd name="connsiteY858" fmla="*/ 208604 h 680138"/>
                    <a:gd name="connsiteX859" fmla="*/ 92250 w 599011"/>
                    <a:gd name="connsiteY859" fmla="*/ 209199 h 680138"/>
                    <a:gd name="connsiteX860" fmla="*/ 93914 w 599011"/>
                    <a:gd name="connsiteY860" fmla="*/ 210644 h 680138"/>
                    <a:gd name="connsiteX861" fmla="*/ 94606 w 599011"/>
                    <a:gd name="connsiteY861" fmla="*/ 211615 h 680138"/>
                    <a:gd name="connsiteX862" fmla="*/ 94885 w 599011"/>
                    <a:gd name="connsiteY862" fmla="*/ 212392 h 680138"/>
                    <a:gd name="connsiteX863" fmla="*/ 95346 w 599011"/>
                    <a:gd name="connsiteY863" fmla="*/ 214724 h 680138"/>
                    <a:gd name="connsiteX864" fmla="*/ 95747 w 599011"/>
                    <a:gd name="connsiteY864" fmla="*/ 215986 h 680138"/>
                    <a:gd name="connsiteX865" fmla="*/ 96500 w 599011"/>
                    <a:gd name="connsiteY865" fmla="*/ 217128 h 680138"/>
                    <a:gd name="connsiteX866" fmla="*/ 97301 w 599011"/>
                    <a:gd name="connsiteY866" fmla="*/ 217966 h 680138"/>
                    <a:gd name="connsiteX867" fmla="*/ 101734 w 599011"/>
                    <a:gd name="connsiteY867" fmla="*/ 220662 h 680138"/>
                    <a:gd name="connsiteX868" fmla="*/ 102705 w 599011"/>
                    <a:gd name="connsiteY868" fmla="*/ 221548 h 680138"/>
                    <a:gd name="connsiteX869" fmla="*/ 103737 w 599011"/>
                    <a:gd name="connsiteY869" fmla="*/ 222665 h 680138"/>
                    <a:gd name="connsiteX870" fmla="*/ 104599 w 599011"/>
                    <a:gd name="connsiteY870" fmla="*/ 223479 h 680138"/>
                    <a:gd name="connsiteX871" fmla="*/ 106664 w 599011"/>
                    <a:gd name="connsiteY871" fmla="*/ 224644 h 680138"/>
                    <a:gd name="connsiteX872" fmla="*/ 108327 w 599011"/>
                    <a:gd name="connsiteY872" fmla="*/ 224705 h 680138"/>
                    <a:gd name="connsiteX873" fmla="*/ 111144 w 599011"/>
                    <a:gd name="connsiteY873" fmla="*/ 224134 h 680138"/>
                    <a:gd name="connsiteX874" fmla="*/ 116366 w 599011"/>
                    <a:gd name="connsiteY874" fmla="*/ 222434 h 680138"/>
                    <a:gd name="connsiteX875" fmla="*/ 118722 w 599011"/>
                    <a:gd name="connsiteY875" fmla="*/ 222009 h 680138"/>
                    <a:gd name="connsiteX876" fmla="*/ 120215 w 599011"/>
                    <a:gd name="connsiteY876" fmla="*/ 221524 h 680138"/>
                    <a:gd name="connsiteX877" fmla="*/ 121126 w 599011"/>
                    <a:gd name="connsiteY877" fmla="*/ 220941 h 680138"/>
                    <a:gd name="connsiteX878" fmla="*/ 121818 w 599011"/>
                    <a:gd name="connsiteY878" fmla="*/ 219945 h 680138"/>
                    <a:gd name="connsiteX879" fmla="*/ 122170 w 599011"/>
                    <a:gd name="connsiteY879" fmla="*/ 218913 h 680138"/>
                    <a:gd name="connsiteX880" fmla="*/ 122462 w 599011"/>
                    <a:gd name="connsiteY880" fmla="*/ 217553 h 680138"/>
                    <a:gd name="connsiteX881" fmla="*/ 122462 w 599011"/>
                    <a:gd name="connsiteY881" fmla="*/ 216436 h 680138"/>
                    <a:gd name="connsiteX882" fmla="*/ 122862 w 599011"/>
                    <a:gd name="connsiteY882" fmla="*/ 215039 h 680138"/>
                    <a:gd name="connsiteX883" fmla="*/ 123603 w 599011"/>
                    <a:gd name="connsiteY883" fmla="*/ 214141 h 680138"/>
                    <a:gd name="connsiteX884" fmla="*/ 125388 w 599011"/>
                    <a:gd name="connsiteY884" fmla="*/ 213424 h 680138"/>
                    <a:gd name="connsiteX885" fmla="*/ 126639 w 599011"/>
                    <a:gd name="connsiteY885" fmla="*/ 214238 h 680138"/>
                    <a:gd name="connsiteX886" fmla="*/ 127331 w 599011"/>
                    <a:gd name="connsiteY886" fmla="*/ 215404 h 680138"/>
                    <a:gd name="connsiteX887" fmla="*/ 127513 w 599011"/>
                    <a:gd name="connsiteY887" fmla="*/ 216994 h 680138"/>
                    <a:gd name="connsiteX888" fmla="*/ 127513 w 599011"/>
                    <a:gd name="connsiteY888" fmla="*/ 218706 h 680138"/>
                    <a:gd name="connsiteX889" fmla="*/ 127392 w 599011"/>
                    <a:gd name="connsiteY889" fmla="*/ 220576 h 680138"/>
                    <a:gd name="connsiteX890" fmla="*/ 127052 w 599011"/>
                    <a:gd name="connsiteY890" fmla="*/ 222155 h 680138"/>
                    <a:gd name="connsiteX891" fmla="*/ 126590 w 599011"/>
                    <a:gd name="connsiteY891" fmla="*/ 223309 h 680138"/>
                    <a:gd name="connsiteX892" fmla="*/ 126019 w 599011"/>
                    <a:gd name="connsiteY892" fmla="*/ 223928 h 680138"/>
                    <a:gd name="connsiteX893" fmla="*/ 125388 w 599011"/>
                    <a:gd name="connsiteY893" fmla="*/ 224414 h 680138"/>
                    <a:gd name="connsiteX894" fmla="*/ 124987 w 599011"/>
                    <a:gd name="connsiteY894" fmla="*/ 224863 h 680138"/>
                    <a:gd name="connsiteX895" fmla="*/ 124866 w 599011"/>
                    <a:gd name="connsiteY895" fmla="*/ 225422 h 680138"/>
                    <a:gd name="connsiteX896" fmla="*/ 125048 w 599011"/>
                    <a:gd name="connsiteY896" fmla="*/ 225859 h 680138"/>
                    <a:gd name="connsiteX897" fmla="*/ 126080 w 599011"/>
                    <a:gd name="connsiteY897" fmla="*/ 227462 h 680138"/>
                    <a:gd name="connsiteX898" fmla="*/ 126359 w 599011"/>
                    <a:gd name="connsiteY898" fmla="*/ 228239 h 680138"/>
                    <a:gd name="connsiteX899" fmla="*/ 126481 w 599011"/>
                    <a:gd name="connsiteY899" fmla="*/ 229247 h 680138"/>
                    <a:gd name="connsiteX900" fmla="*/ 125910 w 599011"/>
                    <a:gd name="connsiteY900" fmla="*/ 232671 h 680138"/>
                    <a:gd name="connsiteX901" fmla="*/ 126299 w 599011"/>
                    <a:gd name="connsiteY901" fmla="*/ 234128 h 680138"/>
                    <a:gd name="connsiteX902" fmla="*/ 127222 w 599011"/>
                    <a:gd name="connsiteY902" fmla="*/ 235245 h 680138"/>
                    <a:gd name="connsiteX903" fmla="*/ 131642 w 599011"/>
                    <a:gd name="connsiteY903" fmla="*/ 237455 h 680138"/>
                    <a:gd name="connsiteX904" fmla="*/ 132625 w 599011"/>
                    <a:gd name="connsiteY904" fmla="*/ 238427 h 680138"/>
                    <a:gd name="connsiteX905" fmla="*/ 133815 w 599011"/>
                    <a:gd name="connsiteY905" fmla="*/ 240042 h 680138"/>
                    <a:gd name="connsiteX906" fmla="*/ 134629 w 599011"/>
                    <a:gd name="connsiteY906" fmla="*/ 240904 h 680138"/>
                    <a:gd name="connsiteX907" fmla="*/ 135200 w 599011"/>
                    <a:gd name="connsiteY907" fmla="*/ 241098 h 680138"/>
                    <a:gd name="connsiteX908" fmla="*/ 135612 w 599011"/>
                    <a:gd name="connsiteY908" fmla="*/ 240904 h 680138"/>
                    <a:gd name="connsiteX909" fmla="*/ 135892 w 599011"/>
                    <a:gd name="connsiteY909" fmla="*/ 240382 h 680138"/>
                    <a:gd name="connsiteX910" fmla="*/ 136584 w 599011"/>
                    <a:gd name="connsiteY910" fmla="*/ 236132 h 680138"/>
                    <a:gd name="connsiteX911" fmla="*/ 136924 w 599011"/>
                    <a:gd name="connsiteY911" fmla="*/ 235391 h 680138"/>
                    <a:gd name="connsiteX912" fmla="*/ 137494 w 599011"/>
                    <a:gd name="connsiteY912" fmla="*/ 234650 h 680138"/>
                    <a:gd name="connsiteX913" fmla="*/ 138478 w 599011"/>
                    <a:gd name="connsiteY913" fmla="*/ 234007 h 680138"/>
                    <a:gd name="connsiteX914" fmla="*/ 141235 w 599011"/>
                    <a:gd name="connsiteY914" fmla="*/ 232829 h 680138"/>
                    <a:gd name="connsiteX915" fmla="*/ 142728 w 599011"/>
                    <a:gd name="connsiteY915" fmla="*/ 232513 h 680138"/>
                    <a:gd name="connsiteX916" fmla="*/ 143700 w 599011"/>
                    <a:gd name="connsiteY916" fmla="*/ 232926 h 680138"/>
                    <a:gd name="connsiteX917" fmla="*/ 144331 w 599011"/>
                    <a:gd name="connsiteY917" fmla="*/ 233958 h 680138"/>
                    <a:gd name="connsiteX918" fmla="*/ 144622 w 599011"/>
                    <a:gd name="connsiteY918" fmla="*/ 236678 h 680138"/>
                    <a:gd name="connsiteX919" fmla="*/ 145023 w 599011"/>
                    <a:gd name="connsiteY919" fmla="*/ 238208 h 680138"/>
                    <a:gd name="connsiteX920" fmla="*/ 145715 w 599011"/>
                    <a:gd name="connsiteY920" fmla="*/ 239580 h 680138"/>
                    <a:gd name="connsiteX921" fmla="*/ 147367 w 599011"/>
                    <a:gd name="connsiteY921" fmla="*/ 242227 h 680138"/>
                    <a:gd name="connsiteX922" fmla="*/ 150827 w 599011"/>
                    <a:gd name="connsiteY922" fmla="*/ 246647 h 680138"/>
                    <a:gd name="connsiteX923" fmla="*/ 151799 w 599011"/>
                    <a:gd name="connsiteY923" fmla="*/ 248445 h 680138"/>
                    <a:gd name="connsiteX924" fmla="*/ 152200 w 599011"/>
                    <a:gd name="connsiteY924" fmla="*/ 249513 h 680138"/>
                    <a:gd name="connsiteX925" fmla="*/ 152200 w 599011"/>
                    <a:gd name="connsiteY925" fmla="*/ 250145 h 680138"/>
                    <a:gd name="connsiteX926" fmla="*/ 151799 w 599011"/>
                    <a:gd name="connsiteY926" fmla="*/ 250412 h 680138"/>
                    <a:gd name="connsiteX927" fmla="*/ 151107 w 599011"/>
                    <a:gd name="connsiteY927" fmla="*/ 250606 h 680138"/>
                    <a:gd name="connsiteX928" fmla="*/ 150075 w 599011"/>
                    <a:gd name="connsiteY928" fmla="*/ 250715 h 680138"/>
                    <a:gd name="connsiteX929" fmla="*/ 149103 w 599011"/>
                    <a:gd name="connsiteY929" fmla="*/ 250715 h 680138"/>
                    <a:gd name="connsiteX930" fmla="*/ 148460 w 599011"/>
                    <a:gd name="connsiteY930" fmla="*/ 250630 h 680138"/>
                    <a:gd name="connsiteX931" fmla="*/ 147670 w 599011"/>
                    <a:gd name="connsiteY931" fmla="*/ 250497 h 680138"/>
                    <a:gd name="connsiteX932" fmla="*/ 146978 w 599011"/>
                    <a:gd name="connsiteY932" fmla="*/ 250436 h 680138"/>
                    <a:gd name="connsiteX933" fmla="*/ 146492 w 599011"/>
                    <a:gd name="connsiteY933" fmla="*/ 250545 h 680138"/>
                    <a:gd name="connsiteX934" fmla="*/ 146165 w 599011"/>
                    <a:gd name="connsiteY934" fmla="*/ 250982 h 680138"/>
                    <a:gd name="connsiteX935" fmla="*/ 145982 w 599011"/>
                    <a:gd name="connsiteY935" fmla="*/ 251760 h 680138"/>
                    <a:gd name="connsiteX936" fmla="*/ 145922 w 599011"/>
                    <a:gd name="connsiteY936" fmla="*/ 253168 h 680138"/>
                    <a:gd name="connsiteX937" fmla="*/ 146322 w 599011"/>
                    <a:gd name="connsiteY937" fmla="*/ 256410 h 680138"/>
                    <a:gd name="connsiteX938" fmla="*/ 146383 w 599011"/>
                    <a:gd name="connsiteY938" fmla="*/ 257904 h 680138"/>
                    <a:gd name="connsiteX939" fmla="*/ 146322 w 599011"/>
                    <a:gd name="connsiteY939" fmla="*/ 258560 h 680138"/>
                    <a:gd name="connsiteX940" fmla="*/ 146043 w 599011"/>
                    <a:gd name="connsiteY940" fmla="*/ 259045 h 680138"/>
                    <a:gd name="connsiteX941" fmla="*/ 144890 w 599011"/>
                    <a:gd name="connsiteY941" fmla="*/ 259847 h 680138"/>
                    <a:gd name="connsiteX942" fmla="*/ 142024 w 599011"/>
                    <a:gd name="connsiteY942" fmla="*/ 261425 h 680138"/>
                    <a:gd name="connsiteX943" fmla="*/ 141222 w 599011"/>
                    <a:gd name="connsiteY943" fmla="*/ 261692 h 680138"/>
                    <a:gd name="connsiteX944" fmla="*/ 140190 w 599011"/>
                    <a:gd name="connsiteY944" fmla="*/ 262142 h 680138"/>
                    <a:gd name="connsiteX945" fmla="*/ 139777 w 599011"/>
                    <a:gd name="connsiteY945" fmla="*/ 262555 h 680138"/>
                    <a:gd name="connsiteX946" fmla="*/ 139777 w 599011"/>
                    <a:gd name="connsiteY946" fmla="*/ 263210 h 680138"/>
                    <a:gd name="connsiteX947" fmla="*/ 140190 w 599011"/>
                    <a:gd name="connsiteY947" fmla="*/ 264279 h 680138"/>
                    <a:gd name="connsiteX948" fmla="*/ 143578 w 599011"/>
                    <a:gd name="connsiteY948" fmla="*/ 267655 h 680138"/>
                    <a:gd name="connsiteX949" fmla="*/ 143857 w 599011"/>
                    <a:gd name="connsiteY949" fmla="*/ 268432 h 680138"/>
                    <a:gd name="connsiteX950" fmla="*/ 143857 w 599011"/>
                    <a:gd name="connsiteY950" fmla="*/ 269148 h 680138"/>
                    <a:gd name="connsiteX951" fmla="*/ 143627 w 599011"/>
                    <a:gd name="connsiteY951" fmla="*/ 269695 h 680138"/>
                    <a:gd name="connsiteX952" fmla="*/ 142995 w 599011"/>
                    <a:gd name="connsiteY952" fmla="*/ 270703 h 680138"/>
                    <a:gd name="connsiteX953" fmla="*/ 143177 w 599011"/>
                    <a:gd name="connsiteY953" fmla="*/ 271504 h 680138"/>
                    <a:gd name="connsiteX954" fmla="*/ 143918 w 599011"/>
                    <a:gd name="connsiteY954" fmla="*/ 272706 h 680138"/>
                    <a:gd name="connsiteX955" fmla="*/ 146274 w 599011"/>
                    <a:gd name="connsiteY955" fmla="*/ 274807 h 680138"/>
                    <a:gd name="connsiteX956" fmla="*/ 147537 w 599011"/>
                    <a:gd name="connsiteY956" fmla="*/ 276240 h 680138"/>
                    <a:gd name="connsiteX957" fmla="*/ 148338 w 599011"/>
                    <a:gd name="connsiteY957" fmla="*/ 277624 h 680138"/>
                    <a:gd name="connsiteX958" fmla="*/ 148569 w 599011"/>
                    <a:gd name="connsiteY958" fmla="*/ 278595 h 680138"/>
                    <a:gd name="connsiteX959" fmla="*/ 148690 w 599011"/>
                    <a:gd name="connsiteY959" fmla="*/ 279603 h 680138"/>
                    <a:gd name="connsiteX960" fmla="*/ 148909 w 599011"/>
                    <a:gd name="connsiteY960" fmla="*/ 280380 h 680138"/>
                    <a:gd name="connsiteX961" fmla="*/ 149941 w 599011"/>
                    <a:gd name="connsiteY961" fmla="*/ 282530 h 680138"/>
                    <a:gd name="connsiteX962" fmla="*/ 150354 w 599011"/>
                    <a:gd name="connsiteY962" fmla="*/ 283768 h 680138"/>
                    <a:gd name="connsiteX963" fmla="*/ 151495 w 599011"/>
                    <a:gd name="connsiteY963" fmla="*/ 288443 h 680138"/>
                    <a:gd name="connsiteX964" fmla="*/ 154082 w 599011"/>
                    <a:gd name="connsiteY964" fmla="*/ 288844 h 680138"/>
                    <a:gd name="connsiteX965" fmla="*/ 157761 w 599011"/>
                    <a:gd name="connsiteY965" fmla="*/ 286841 h 680138"/>
                    <a:gd name="connsiteX966" fmla="*/ 162873 w 599011"/>
                    <a:gd name="connsiteY966" fmla="*/ 285784 h 680138"/>
                    <a:gd name="connsiteX967" fmla="*/ 164075 w 599011"/>
                    <a:gd name="connsiteY967" fmla="*/ 284631 h 680138"/>
                    <a:gd name="connsiteX968" fmla="*/ 164415 w 599011"/>
                    <a:gd name="connsiteY968" fmla="*/ 282846 h 680138"/>
                    <a:gd name="connsiteX969" fmla="*/ 163663 w 599011"/>
                    <a:gd name="connsiteY969" fmla="*/ 281097 h 680138"/>
                    <a:gd name="connsiteX970" fmla="*/ 162582 w 599011"/>
                    <a:gd name="connsiteY970" fmla="*/ 279543 h 680138"/>
                    <a:gd name="connsiteX971" fmla="*/ 161841 w 599011"/>
                    <a:gd name="connsiteY971" fmla="*/ 278255 h 680138"/>
                    <a:gd name="connsiteX972" fmla="*/ 161999 w 599011"/>
                    <a:gd name="connsiteY972" fmla="*/ 276215 h 680138"/>
                    <a:gd name="connsiteX973" fmla="*/ 163153 w 599011"/>
                    <a:gd name="connsiteY973" fmla="*/ 273666 h 680138"/>
                    <a:gd name="connsiteX974" fmla="*/ 165909 w 599011"/>
                    <a:gd name="connsiteY974" fmla="*/ 269124 h 680138"/>
                    <a:gd name="connsiteX975" fmla="*/ 167803 w 599011"/>
                    <a:gd name="connsiteY975" fmla="*/ 267800 h 680138"/>
                    <a:gd name="connsiteX976" fmla="*/ 169358 w 599011"/>
                    <a:gd name="connsiteY976" fmla="*/ 267776 h 680138"/>
                    <a:gd name="connsiteX977" fmla="*/ 170450 w 599011"/>
                    <a:gd name="connsiteY977" fmla="*/ 268153 h 680138"/>
                    <a:gd name="connsiteX978" fmla="*/ 171762 w 599011"/>
                    <a:gd name="connsiteY978" fmla="*/ 267740 h 680138"/>
                    <a:gd name="connsiteX979" fmla="*/ 172163 w 599011"/>
                    <a:gd name="connsiteY979" fmla="*/ 266088 h 680138"/>
                    <a:gd name="connsiteX980" fmla="*/ 172053 w 599011"/>
                    <a:gd name="connsiteY980" fmla="*/ 264388 h 680138"/>
                    <a:gd name="connsiteX981" fmla="*/ 172223 w 599011"/>
                    <a:gd name="connsiteY981" fmla="*/ 262810 h 680138"/>
                    <a:gd name="connsiteX982" fmla="*/ 173838 w 599011"/>
                    <a:gd name="connsiteY982" fmla="*/ 261061 h 680138"/>
                    <a:gd name="connsiteX983" fmla="*/ 178149 w 599011"/>
                    <a:gd name="connsiteY983" fmla="*/ 257503 h 680138"/>
                    <a:gd name="connsiteX984" fmla="*/ 179643 w 599011"/>
                    <a:gd name="connsiteY984" fmla="*/ 255572 h 680138"/>
                    <a:gd name="connsiteX985" fmla="*/ 184172 w 599011"/>
                    <a:gd name="connsiteY985" fmla="*/ 247570 h 680138"/>
                    <a:gd name="connsiteX986" fmla="*/ 188410 w 599011"/>
                    <a:gd name="connsiteY986" fmla="*/ 242543 h 680138"/>
                    <a:gd name="connsiteX987" fmla="*/ 191069 w 599011"/>
                    <a:gd name="connsiteY987" fmla="*/ 238366 h 680138"/>
                    <a:gd name="connsiteX988" fmla="*/ 192332 w 599011"/>
                    <a:gd name="connsiteY988" fmla="*/ 237747 h 680138"/>
                    <a:gd name="connsiteX989" fmla="*/ 193983 w 599011"/>
                    <a:gd name="connsiteY989" fmla="*/ 238026 h 680138"/>
                    <a:gd name="connsiteX990" fmla="*/ 197153 w 599011"/>
                    <a:gd name="connsiteY990" fmla="*/ 239532 h 680138"/>
                    <a:gd name="connsiteX991" fmla="*/ 203346 w 599011"/>
                    <a:gd name="connsiteY991" fmla="*/ 242130 h 680138"/>
                    <a:gd name="connsiteX992" fmla="*/ 206916 w 599011"/>
                    <a:gd name="connsiteY992" fmla="*/ 242422 h 680138"/>
                    <a:gd name="connsiteX993" fmla="*/ 208689 w 599011"/>
                    <a:gd name="connsiteY993" fmla="*/ 242191 h 680138"/>
                    <a:gd name="connsiteX994" fmla="*/ 210291 w 599011"/>
                    <a:gd name="connsiteY994" fmla="*/ 242798 h 680138"/>
                    <a:gd name="connsiteX995" fmla="*/ 215404 w 599011"/>
                    <a:gd name="connsiteY995" fmla="*/ 245894 h 680138"/>
                    <a:gd name="connsiteX996" fmla="*/ 220868 w 599011"/>
                    <a:gd name="connsiteY996" fmla="*/ 246878 h 680138"/>
                    <a:gd name="connsiteX997" fmla="*/ 224474 w 599011"/>
                    <a:gd name="connsiteY997" fmla="*/ 246380 h 680138"/>
                    <a:gd name="connsiteX998" fmla="*/ 227862 w 599011"/>
                    <a:gd name="connsiteY998" fmla="*/ 245154 h 680138"/>
                    <a:gd name="connsiteX999" fmla="*/ 231882 w 599011"/>
                    <a:gd name="connsiteY999" fmla="*/ 244692 h 680138"/>
                    <a:gd name="connsiteX1000" fmla="*/ 238487 w 599011"/>
                    <a:gd name="connsiteY1000" fmla="*/ 245980 h 680138"/>
                    <a:gd name="connsiteX1001" fmla="*/ 240794 w 599011"/>
                    <a:gd name="connsiteY1001" fmla="*/ 245530 h 680138"/>
                    <a:gd name="connsiteX1002" fmla="*/ 242106 w 599011"/>
                    <a:gd name="connsiteY1002" fmla="*/ 244146 h 680138"/>
                    <a:gd name="connsiteX1003" fmla="*/ 242337 w 599011"/>
                    <a:gd name="connsiteY1003" fmla="*/ 242507 h 680138"/>
                    <a:gd name="connsiteX1004" fmla="*/ 242045 w 599011"/>
                    <a:gd name="connsiteY1004" fmla="*/ 240782 h 680138"/>
                    <a:gd name="connsiteX1005" fmla="*/ 242567 w 599011"/>
                    <a:gd name="connsiteY1005" fmla="*/ 239082 h 680138"/>
                    <a:gd name="connsiteX1006" fmla="*/ 243952 w 599011"/>
                    <a:gd name="connsiteY1006" fmla="*/ 237516 h 680138"/>
                    <a:gd name="connsiteX1007" fmla="*/ 249865 w 599011"/>
                    <a:gd name="connsiteY1007" fmla="*/ 234759 h 680138"/>
                    <a:gd name="connsiteX1008" fmla="*/ 254917 w 599011"/>
                    <a:gd name="connsiteY1008" fmla="*/ 233290 h 680138"/>
                    <a:gd name="connsiteX1009" fmla="*/ 256981 w 599011"/>
                    <a:gd name="connsiteY1009" fmla="*/ 233436 h 680138"/>
                    <a:gd name="connsiteX1010" fmla="*/ 258693 w 599011"/>
                    <a:gd name="connsiteY1010" fmla="*/ 233752 h 680138"/>
                    <a:gd name="connsiteX1011" fmla="*/ 261462 w 599011"/>
                    <a:gd name="connsiteY1011" fmla="*/ 234553 h 680138"/>
                    <a:gd name="connsiteX1012" fmla="*/ 263125 w 599011"/>
                    <a:gd name="connsiteY1012" fmla="*/ 235306 h 680138"/>
                    <a:gd name="connsiteX1013" fmla="*/ 267254 w 599011"/>
                    <a:gd name="connsiteY1013" fmla="*/ 238597 h 680138"/>
                    <a:gd name="connsiteX1014" fmla="*/ 268468 w 599011"/>
                    <a:gd name="connsiteY1014" fmla="*/ 240357 h 680138"/>
                    <a:gd name="connsiteX1015" fmla="*/ 271225 w 599011"/>
                    <a:gd name="connsiteY1015" fmla="*/ 246987 h 680138"/>
                    <a:gd name="connsiteX1016" fmla="*/ 271686 w 599011"/>
                    <a:gd name="connsiteY1016" fmla="*/ 247728 h 680138"/>
                    <a:gd name="connsiteX1017" fmla="*/ 273811 w 599011"/>
                    <a:gd name="connsiteY1017" fmla="*/ 250035 h 680138"/>
                    <a:gd name="connsiteX1018" fmla="*/ 277770 w 599011"/>
                    <a:gd name="connsiteY1018" fmla="*/ 250266 h 680138"/>
                    <a:gd name="connsiteX1019" fmla="*/ 283744 w 599011"/>
                    <a:gd name="connsiteY1019" fmla="*/ 252245 h 680138"/>
                    <a:gd name="connsiteX1020" fmla="*/ 286962 w 599011"/>
                    <a:gd name="connsiteY1020" fmla="*/ 252209 h 680138"/>
                    <a:gd name="connsiteX1021" fmla="*/ 289536 w 599011"/>
                    <a:gd name="connsiteY1021" fmla="*/ 251322 h 680138"/>
                    <a:gd name="connsiteX1022" fmla="*/ 293446 w 599011"/>
                    <a:gd name="connsiteY1022" fmla="*/ 249343 h 680138"/>
                    <a:gd name="connsiteX1023" fmla="*/ 295802 w 599011"/>
                    <a:gd name="connsiteY1023" fmla="*/ 248542 h 680138"/>
                    <a:gd name="connsiteX1024" fmla="*/ 301023 w 599011"/>
                    <a:gd name="connsiteY1024" fmla="*/ 248882 h 680138"/>
                    <a:gd name="connsiteX1025" fmla="*/ 303258 w 599011"/>
                    <a:gd name="connsiteY1025" fmla="*/ 248226 h 680138"/>
                    <a:gd name="connsiteX1026" fmla="*/ 304812 w 599011"/>
                    <a:gd name="connsiteY1026" fmla="*/ 246927 h 680138"/>
                    <a:gd name="connsiteX1027" fmla="*/ 310835 w 599011"/>
                    <a:gd name="connsiteY1027" fmla="*/ 239204 h 680138"/>
                    <a:gd name="connsiteX1028" fmla="*/ 318655 w 599011"/>
                    <a:gd name="connsiteY1028" fmla="*/ 235852 h 680138"/>
                    <a:gd name="connsiteX1029" fmla="*/ 322674 w 599011"/>
                    <a:gd name="connsiteY1029" fmla="*/ 234869 h 680138"/>
                    <a:gd name="connsiteX1030" fmla="*/ 325321 w 599011"/>
                    <a:gd name="connsiteY1030" fmla="*/ 233460 h 680138"/>
                    <a:gd name="connsiteX1031" fmla="*/ 329559 w 599011"/>
                    <a:gd name="connsiteY1031" fmla="*/ 230339 h 680138"/>
                    <a:gd name="connsiteX1032" fmla="*/ 335121 w 599011"/>
                    <a:gd name="connsiteY1032" fmla="*/ 227583 h 680138"/>
                    <a:gd name="connsiteX1033" fmla="*/ 337367 w 599011"/>
                    <a:gd name="connsiteY1033" fmla="*/ 225458 h 680138"/>
                    <a:gd name="connsiteX1034" fmla="*/ 337489 w 599011"/>
                    <a:gd name="connsiteY1034" fmla="*/ 223588 h 680138"/>
                    <a:gd name="connsiteX1035" fmla="*/ 336104 w 599011"/>
                    <a:gd name="connsiteY1035" fmla="*/ 222094 h 680138"/>
                    <a:gd name="connsiteX1036" fmla="*/ 332607 w 599011"/>
                    <a:gd name="connsiteY1036" fmla="*/ 220054 h 680138"/>
                    <a:gd name="connsiteX1037" fmla="*/ 331284 w 599011"/>
                    <a:gd name="connsiteY1037" fmla="*/ 218913 h 680138"/>
                    <a:gd name="connsiteX1038" fmla="*/ 330312 w 599011"/>
                    <a:gd name="connsiteY1038" fmla="*/ 217189 h 680138"/>
                    <a:gd name="connsiteX1039" fmla="*/ 329790 w 599011"/>
                    <a:gd name="connsiteY1039" fmla="*/ 215343 h 680138"/>
                    <a:gd name="connsiteX1040" fmla="*/ 328989 w 599011"/>
                    <a:gd name="connsiteY1040" fmla="*/ 213364 h 680138"/>
                    <a:gd name="connsiteX1041" fmla="*/ 328527 w 599011"/>
                    <a:gd name="connsiteY1041" fmla="*/ 211761 h 680138"/>
                    <a:gd name="connsiteX1042" fmla="*/ 328248 w 599011"/>
                    <a:gd name="connsiteY1042" fmla="*/ 209781 h 680138"/>
                    <a:gd name="connsiteX1043" fmla="*/ 328467 w 599011"/>
                    <a:gd name="connsiteY1043" fmla="*/ 207911 h 680138"/>
                    <a:gd name="connsiteX1044" fmla="*/ 329499 w 599011"/>
                    <a:gd name="connsiteY1044" fmla="*/ 204038 h 680138"/>
                    <a:gd name="connsiteX1045" fmla="*/ 333178 w 599011"/>
                    <a:gd name="connsiteY1045" fmla="*/ 194166 h 680138"/>
                    <a:gd name="connsiteX1046" fmla="*/ 334502 w 599011"/>
                    <a:gd name="connsiteY1046" fmla="*/ 191725 h 680138"/>
                    <a:gd name="connsiteX1047" fmla="*/ 336104 w 599011"/>
                    <a:gd name="connsiteY1047" fmla="*/ 189879 h 680138"/>
                    <a:gd name="connsiteX1048" fmla="*/ 336675 w 599011"/>
                    <a:gd name="connsiteY1048" fmla="*/ 189078 h 680138"/>
                    <a:gd name="connsiteX1049" fmla="*/ 336918 w 599011"/>
                    <a:gd name="connsiteY1049" fmla="*/ 188191 h 680138"/>
                    <a:gd name="connsiteX1050" fmla="*/ 336566 w 599011"/>
                    <a:gd name="connsiteY1050" fmla="*/ 187366 h 680138"/>
                    <a:gd name="connsiteX1051" fmla="*/ 336056 w 599011"/>
                    <a:gd name="connsiteY1051" fmla="*/ 186358 h 680138"/>
                    <a:gd name="connsiteX1052" fmla="*/ 335764 w 599011"/>
                    <a:gd name="connsiteY1052" fmla="*/ 185520 h 680138"/>
                    <a:gd name="connsiteX1053" fmla="*/ 335582 w 599011"/>
                    <a:gd name="connsiteY1053" fmla="*/ 184488 h 680138"/>
                    <a:gd name="connsiteX1054" fmla="*/ 335643 w 599011"/>
                    <a:gd name="connsiteY1054" fmla="*/ 183164 h 680138"/>
                    <a:gd name="connsiteX1055" fmla="*/ 336226 w 599011"/>
                    <a:gd name="connsiteY1055" fmla="*/ 182338 h 680138"/>
                    <a:gd name="connsiteX1056" fmla="*/ 337197 w 599011"/>
                    <a:gd name="connsiteY1056" fmla="*/ 181816 h 680138"/>
                    <a:gd name="connsiteX1057" fmla="*/ 341217 w 599011"/>
                    <a:gd name="connsiteY1057" fmla="*/ 181185 h 680138"/>
                    <a:gd name="connsiteX1058" fmla="*/ 342431 w 599011"/>
                    <a:gd name="connsiteY1058" fmla="*/ 180408 h 680138"/>
                    <a:gd name="connsiteX1059" fmla="*/ 342188 w 599011"/>
                    <a:gd name="connsiteY1059" fmla="*/ 179606 h 680138"/>
                    <a:gd name="connsiteX1060" fmla="*/ 340937 w 599011"/>
                    <a:gd name="connsiteY1060" fmla="*/ 178805 h 680138"/>
                    <a:gd name="connsiteX1061" fmla="*/ 335764 w 599011"/>
                    <a:gd name="connsiteY1061" fmla="*/ 176996 h 680138"/>
                    <a:gd name="connsiteX1062" fmla="*/ 334732 w 599011"/>
                    <a:gd name="connsiteY1062" fmla="*/ 176352 h 680138"/>
                    <a:gd name="connsiteX1063" fmla="*/ 333639 w 599011"/>
                    <a:gd name="connsiteY1063" fmla="*/ 175380 h 680138"/>
                    <a:gd name="connsiteX1064" fmla="*/ 333008 w 599011"/>
                    <a:gd name="connsiteY1064" fmla="*/ 174324 h 680138"/>
                    <a:gd name="connsiteX1065" fmla="*/ 332838 w 599011"/>
                    <a:gd name="connsiteY1065" fmla="*/ 172794 h 680138"/>
                    <a:gd name="connsiteX1066" fmla="*/ 333639 w 599011"/>
                    <a:gd name="connsiteY1066" fmla="*/ 171713 h 680138"/>
                    <a:gd name="connsiteX1067" fmla="*/ 335121 w 599011"/>
                    <a:gd name="connsiteY1067" fmla="*/ 170366 h 680138"/>
                    <a:gd name="connsiteX1068" fmla="*/ 336457 w 599011"/>
                    <a:gd name="connsiteY1068" fmla="*/ 169868 h 680138"/>
                    <a:gd name="connsiteX1069" fmla="*/ 337950 w 599011"/>
                    <a:gd name="connsiteY1069" fmla="*/ 170135 h 680138"/>
                    <a:gd name="connsiteX1070" fmla="*/ 343402 w 599011"/>
                    <a:gd name="connsiteY1070" fmla="*/ 174239 h 680138"/>
                    <a:gd name="connsiteX1071" fmla="*/ 345066 w 599011"/>
                    <a:gd name="connsiteY1071" fmla="*/ 175247 h 680138"/>
                    <a:gd name="connsiteX1072" fmla="*/ 346499 w 599011"/>
                    <a:gd name="connsiteY1072" fmla="*/ 175636 h 680138"/>
                    <a:gd name="connsiteX1073" fmla="*/ 348794 w 599011"/>
                    <a:gd name="connsiteY1073" fmla="*/ 175903 h 680138"/>
                    <a:gd name="connsiteX1074" fmla="*/ 351210 w 599011"/>
                    <a:gd name="connsiteY1074" fmla="*/ 176643 h 680138"/>
                    <a:gd name="connsiteX1075" fmla="*/ 352813 w 599011"/>
                    <a:gd name="connsiteY1075" fmla="*/ 176838 h 680138"/>
                    <a:gd name="connsiteX1076" fmla="*/ 354537 w 599011"/>
                    <a:gd name="connsiteY1076" fmla="*/ 176704 h 680138"/>
                    <a:gd name="connsiteX1077" fmla="*/ 356310 w 599011"/>
                    <a:gd name="connsiteY1077" fmla="*/ 175611 h 680138"/>
                    <a:gd name="connsiteX1078" fmla="*/ 356942 w 599011"/>
                    <a:gd name="connsiteY1078" fmla="*/ 174616 h 680138"/>
                    <a:gd name="connsiteX1079" fmla="*/ 356893 w 599011"/>
                    <a:gd name="connsiteY1079" fmla="*/ 173256 h 680138"/>
                    <a:gd name="connsiteX1080" fmla="*/ 356492 w 599011"/>
                    <a:gd name="connsiteY1080" fmla="*/ 171823 h 680138"/>
                    <a:gd name="connsiteX1081" fmla="*/ 356553 w 599011"/>
                    <a:gd name="connsiteY1081" fmla="*/ 170074 h 680138"/>
                    <a:gd name="connsiteX1082" fmla="*/ 357585 w 599011"/>
                    <a:gd name="connsiteY1082" fmla="*/ 169528 h 680138"/>
                    <a:gd name="connsiteX1083" fmla="*/ 358617 w 599011"/>
                    <a:gd name="connsiteY1083" fmla="*/ 169588 h 680138"/>
                    <a:gd name="connsiteX1084" fmla="*/ 359929 w 599011"/>
                    <a:gd name="connsiteY1084" fmla="*/ 170560 h 680138"/>
                    <a:gd name="connsiteX1085" fmla="*/ 362115 w 599011"/>
                    <a:gd name="connsiteY1085" fmla="*/ 173207 h 680138"/>
                    <a:gd name="connsiteX1086" fmla="*/ 363268 w 599011"/>
                    <a:gd name="connsiteY1086" fmla="*/ 174263 h 680138"/>
                    <a:gd name="connsiteX1087" fmla="*/ 364130 w 599011"/>
                    <a:gd name="connsiteY1087" fmla="*/ 174664 h 680138"/>
                    <a:gd name="connsiteX1088" fmla="*/ 365102 w 599011"/>
                    <a:gd name="connsiteY1088" fmla="*/ 174579 h 680138"/>
                    <a:gd name="connsiteX1089" fmla="*/ 366207 w 599011"/>
                    <a:gd name="connsiteY1089" fmla="*/ 173972 h 680138"/>
                    <a:gd name="connsiteX1090" fmla="*/ 366887 w 599011"/>
                    <a:gd name="connsiteY1090" fmla="*/ 172794 h 680138"/>
                    <a:gd name="connsiteX1091" fmla="*/ 368672 w 599011"/>
                    <a:gd name="connsiteY1091" fmla="*/ 168872 h 680138"/>
                    <a:gd name="connsiteX1092" fmla="*/ 368951 w 599011"/>
                    <a:gd name="connsiteY1092" fmla="*/ 167925 h 680138"/>
                    <a:gd name="connsiteX1093" fmla="*/ 368951 w 599011"/>
                    <a:gd name="connsiteY1093" fmla="*/ 166856 h 680138"/>
                    <a:gd name="connsiteX1094" fmla="*/ 368550 w 599011"/>
                    <a:gd name="connsiteY1094" fmla="*/ 165824 h 680138"/>
                    <a:gd name="connsiteX1095" fmla="*/ 367931 w 599011"/>
                    <a:gd name="connsiteY1095" fmla="*/ 164561 h 680138"/>
                    <a:gd name="connsiteX1096" fmla="*/ 367457 w 599011"/>
                    <a:gd name="connsiteY1096" fmla="*/ 163323 h 680138"/>
                    <a:gd name="connsiteX1097" fmla="*/ 367810 w 599011"/>
                    <a:gd name="connsiteY1097" fmla="*/ 161610 h 680138"/>
                    <a:gd name="connsiteX1098" fmla="*/ 369060 w 599011"/>
                    <a:gd name="connsiteY1098" fmla="*/ 160675 h 680138"/>
                    <a:gd name="connsiteX1099" fmla="*/ 370445 w 599011"/>
                    <a:gd name="connsiteY1099" fmla="*/ 160287 h 680138"/>
                    <a:gd name="connsiteX1100" fmla="*/ 371829 w 599011"/>
                    <a:gd name="connsiteY1100" fmla="*/ 160420 h 680138"/>
                    <a:gd name="connsiteX1101" fmla="*/ 372922 w 599011"/>
                    <a:gd name="connsiteY1101" fmla="*/ 161088 h 680138"/>
                    <a:gd name="connsiteX1102" fmla="*/ 373723 w 599011"/>
                    <a:gd name="connsiteY1102" fmla="*/ 162205 h 680138"/>
                    <a:gd name="connsiteX1103" fmla="*/ 375605 w 599011"/>
                    <a:gd name="connsiteY1103" fmla="*/ 169746 h 680138"/>
                    <a:gd name="connsiteX1104" fmla="*/ 377099 w 599011"/>
                    <a:gd name="connsiteY1104" fmla="*/ 173086 h 680138"/>
                    <a:gd name="connsiteX1105" fmla="*/ 379175 w 599011"/>
                    <a:gd name="connsiteY1105" fmla="*/ 176388 h 680138"/>
                    <a:gd name="connsiteX1106" fmla="*/ 380317 w 599011"/>
                    <a:gd name="connsiteY1106" fmla="*/ 177736 h 680138"/>
                    <a:gd name="connsiteX1107" fmla="*/ 381701 w 599011"/>
                    <a:gd name="connsiteY1107" fmla="*/ 178683 h 680138"/>
                    <a:gd name="connsiteX1108" fmla="*/ 386291 w 599011"/>
                    <a:gd name="connsiteY1108" fmla="*/ 179946 h 680138"/>
                    <a:gd name="connsiteX1109" fmla="*/ 388246 w 599011"/>
                    <a:gd name="connsiteY1109" fmla="*/ 181100 h 680138"/>
                    <a:gd name="connsiteX1110" fmla="*/ 394682 w 599011"/>
                    <a:gd name="connsiteY1110" fmla="*/ 181355 h 680138"/>
                    <a:gd name="connsiteX1111" fmla="*/ 405647 w 599011"/>
                    <a:gd name="connsiteY1111" fmla="*/ 173122 h 680138"/>
                    <a:gd name="connsiteX1112" fmla="*/ 412253 w 599011"/>
                    <a:gd name="connsiteY1112" fmla="*/ 169260 h 680138"/>
                    <a:gd name="connsiteX1113" fmla="*/ 413042 w 599011"/>
                    <a:gd name="connsiteY1113" fmla="*/ 168289 h 680138"/>
                    <a:gd name="connsiteX1114" fmla="*/ 412945 w 599011"/>
                    <a:gd name="connsiteY1114" fmla="*/ 165994 h 680138"/>
                    <a:gd name="connsiteX1115" fmla="*/ 413224 w 599011"/>
                    <a:gd name="connsiteY1115" fmla="*/ 164330 h 680138"/>
                    <a:gd name="connsiteX1116" fmla="*/ 414839 w 599011"/>
                    <a:gd name="connsiteY1116" fmla="*/ 161198 h 680138"/>
                    <a:gd name="connsiteX1117" fmla="*/ 415240 w 599011"/>
                    <a:gd name="connsiteY1117" fmla="*/ 159449 h 680138"/>
                    <a:gd name="connsiteX1118" fmla="*/ 415349 w 599011"/>
                    <a:gd name="connsiteY1118" fmla="*/ 157931 h 680138"/>
                    <a:gd name="connsiteX1119" fmla="*/ 414997 w 599011"/>
                    <a:gd name="connsiteY1119" fmla="*/ 157069 h 680138"/>
                    <a:gd name="connsiteX1120" fmla="*/ 414596 w 599011"/>
                    <a:gd name="connsiteY1120" fmla="*/ 156401 h 680138"/>
                    <a:gd name="connsiteX1121" fmla="*/ 413856 w 599011"/>
                    <a:gd name="connsiteY1121" fmla="*/ 155770 h 680138"/>
                    <a:gd name="connsiteX1122" fmla="*/ 412884 w 599011"/>
                    <a:gd name="connsiteY1122" fmla="*/ 155308 h 680138"/>
                    <a:gd name="connsiteX1123" fmla="*/ 410419 w 599011"/>
                    <a:gd name="connsiteY1123" fmla="*/ 154592 h 680138"/>
                    <a:gd name="connsiteX1124" fmla="*/ 409326 w 599011"/>
                    <a:gd name="connsiteY1124" fmla="*/ 153875 h 680138"/>
                    <a:gd name="connsiteX1125" fmla="*/ 408573 w 599011"/>
                    <a:gd name="connsiteY1125" fmla="*/ 153098 h 680138"/>
                    <a:gd name="connsiteX1126" fmla="*/ 408051 w 599011"/>
                    <a:gd name="connsiteY1126" fmla="*/ 152127 h 680138"/>
                    <a:gd name="connsiteX1127" fmla="*/ 407651 w 599011"/>
                    <a:gd name="connsiteY1127" fmla="*/ 151070 h 680138"/>
                    <a:gd name="connsiteX1128" fmla="*/ 407420 w 599011"/>
                    <a:gd name="connsiteY1128" fmla="*/ 150002 h 680138"/>
                    <a:gd name="connsiteX1129" fmla="*/ 407141 w 599011"/>
                    <a:gd name="connsiteY1129" fmla="*/ 149249 h 680138"/>
                    <a:gd name="connsiteX1130" fmla="*/ 406558 w 599011"/>
                    <a:gd name="connsiteY1130" fmla="*/ 148508 h 680138"/>
                    <a:gd name="connsiteX1131" fmla="*/ 405878 w 599011"/>
                    <a:gd name="connsiteY1131" fmla="*/ 147913 h 680138"/>
                    <a:gd name="connsiteX1132" fmla="*/ 405003 w 599011"/>
                    <a:gd name="connsiteY1132" fmla="*/ 147622 h 680138"/>
                    <a:gd name="connsiteX1133" fmla="*/ 404275 w 599011"/>
                    <a:gd name="connsiteY1133" fmla="*/ 147792 h 680138"/>
                    <a:gd name="connsiteX1134" fmla="*/ 403340 w 599011"/>
                    <a:gd name="connsiteY1134" fmla="*/ 148532 h 680138"/>
                    <a:gd name="connsiteX1135" fmla="*/ 400304 w 599011"/>
                    <a:gd name="connsiteY1135" fmla="*/ 152418 h 680138"/>
                    <a:gd name="connsiteX1136" fmla="*/ 399320 w 599011"/>
                    <a:gd name="connsiteY1136" fmla="*/ 153220 h 680138"/>
                    <a:gd name="connsiteX1137" fmla="*/ 398179 w 599011"/>
                    <a:gd name="connsiteY1137" fmla="*/ 153742 h 680138"/>
                    <a:gd name="connsiteX1138" fmla="*/ 397317 w 599011"/>
                    <a:gd name="connsiteY1138" fmla="*/ 153851 h 680138"/>
                    <a:gd name="connsiteX1139" fmla="*/ 396176 w 599011"/>
                    <a:gd name="connsiteY1139" fmla="*/ 153414 h 680138"/>
                    <a:gd name="connsiteX1140" fmla="*/ 395483 w 599011"/>
                    <a:gd name="connsiteY1140" fmla="*/ 152358 h 680138"/>
                    <a:gd name="connsiteX1141" fmla="*/ 395022 w 599011"/>
                    <a:gd name="connsiteY1141" fmla="*/ 150402 h 680138"/>
                    <a:gd name="connsiteX1142" fmla="*/ 396176 w 599011"/>
                    <a:gd name="connsiteY1142" fmla="*/ 148217 h 680138"/>
                    <a:gd name="connsiteX1143" fmla="*/ 398240 w 599011"/>
                    <a:gd name="connsiteY1143" fmla="*/ 146298 h 680138"/>
                    <a:gd name="connsiteX1144" fmla="*/ 400936 w 599011"/>
                    <a:gd name="connsiteY1144" fmla="*/ 144780 h 680138"/>
                    <a:gd name="connsiteX1145" fmla="*/ 408622 w 599011"/>
                    <a:gd name="connsiteY1145" fmla="*/ 142194 h 680138"/>
                    <a:gd name="connsiteX1146" fmla="*/ 410699 w 599011"/>
                    <a:gd name="connsiteY1146" fmla="*/ 141162 h 680138"/>
                    <a:gd name="connsiteX1147" fmla="*/ 414487 w 599011"/>
                    <a:gd name="connsiteY1147" fmla="*/ 138806 h 680138"/>
                    <a:gd name="connsiteX1148" fmla="*/ 416964 w 599011"/>
                    <a:gd name="connsiteY1148" fmla="*/ 137604 h 680138"/>
                    <a:gd name="connsiteX1149" fmla="*/ 429022 w 599011"/>
                    <a:gd name="connsiteY1149" fmla="*/ 129310 h 680138"/>
                    <a:gd name="connsiteX1150" fmla="*/ 431888 w 599011"/>
                    <a:gd name="connsiteY1150" fmla="*/ 126748 h 680138"/>
                    <a:gd name="connsiteX1151" fmla="*/ 433260 w 599011"/>
                    <a:gd name="connsiteY1151" fmla="*/ 125194 h 680138"/>
                    <a:gd name="connsiteX1152" fmla="*/ 433843 w 599011"/>
                    <a:gd name="connsiteY1152" fmla="*/ 124016 h 680138"/>
                    <a:gd name="connsiteX1153" fmla="*/ 433673 w 599011"/>
                    <a:gd name="connsiteY1153" fmla="*/ 123239 h 680138"/>
                    <a:gd name="connsiteX1154" fmla="*/ 432689 w 599011"/>
                    <a:gd name="connsiteY1154" fmla="*/ 122692 h 680138"/>
                    <a:gd name="connsiteX1155" fmla="*/ 430516 w 599011"/>
                    <a:gd name="connsiteY1155" fmla="*/ 122207 h 680138"/>
                    <a:gd name="connsiteX1156" fmla="*/ 429884 w 599011"/>
                    <a:gd name="connsiteY1156" fmla="*/ 121842 h 680138"/>
                    <a:gd name="connsiteX1157" fmla="*/ 429532 w 599011"/>
                    <a:gd name="connsiteY1157" fmla="*/ 121150 h 680138"/>
                    <a:gd name="connsiteX1158" fmla="*/ 429423 w 599011"/>
                    <a:gd name="connsiteY1158" fmla="*/ 120227 h 680138"/>
                    <a:gd name="connsiteX1159" fmla="*/ 430334 w 599011"/>
                    <a:gd name="connsiteY1159" fmla="*/ 114204 h 680138"/>
                    <a:gd name="connsiteX1160" fmla="*/ 430856 w 599011"/>
                    <a:gd name="connsiteY1160" fmla="*/ 112966 h 680138"/>
                    <a:gd name="connsiteX1161" fmla="*/ 431548 w 599011"/>
                    <a:gd name="connsiteY1161" fmla="*/ 112249 h 680138"/>
                    <a:gd name="connsiteX1162" fmla="*/ 436247 w 599011"/>
                    <a:gd name="connsiteY1162" fmla="*/ 110100 h 680138"/>
                    <a:gd name="connsiteX1163" fmla="*/ 438894 w 599011"/>
                    <a:gd name="connsiteY1163" fmla="*/ 110064 h 680138"/>
                    <a:gd name="connsiteX1164" fmla="*/ 442574 w 599011"/>
                    <a:gd name="connsiteY1164" fmla="*/ 111654 h 680138"/>
                    <a:gd name="connsiteX1165" fmla="*/ 444808 w 599011"/>
                    <a:gd name="connsiteY1165" fmla="*/ 111667 h 680138"/>
                    <a:gd name="connsiteX1166" fmla="*/ 450600 w 599011"/>
                    <a:gd name="connsiteY1166" fmla="*/ 110780 h 680138"/>
                    <a:gd name="connsiteX1167" fmla="*/ 452337 w 599011"/>
                    <a:gd name="connsiteY1167" fmla="*/ 111387 h 680138"/>
                    <a:gd name="connsiteX1168" fmla="*/ 453587 w 599011"/>
                    <a:gd name="connsiteY1168" fmla="*/ 112771 h 680138"/>
                    <a:gd name="connsiteX1169" fmla="*/ 454680 w 599011"/>
                    <a:gd name="connsiteY1169" fmla="*/ 115407 h 680138"/>
                    <a:gd name="connsiteX1170" fmla="*/ 456356 w 599011"/>
                    <a:gd name="connsiteY1170" fmla="*/ 121150 h 680138"/>
                    <a:gd name="connsiteX1171" fmla="*/ 458068 w 599011"/>
                    <a:gd name="connsiteY1171" fmla="*/ 124113 h 680138"/>
                    <a:gd name="connsiteX1172" fmla="*/ 460193 w 599011"/>
                    <a:gd name="connsiteY1172" fmla="*/ 124963 h 680138"/>
                    <a:gd name="connsiteX1173" fmla="*/ 462148 w 599011"/>
                    <a:gd name="connsiteY1173" fmla="*/ 124332 h 680138"/>
                    <a:gd name="connsiteX1174" fmla="*/ 463933 w 599011"/>
                    <a:gd name="connsiteY1174" fmla="*/ 122134 h 680138"/>
                    <a:gd name="connsiteX1175" fmla="*/ 464735 w 599011"/>
                    <a:gd name="connsiteY1175" fmla="*/ 119657 h 680138"/>
                    <a:gd name="connsiteX1176" fmla="*/ 465135 w 599011"/>
                    <a:gd name="connsiteY1176" fmla="*/ 117240 h 680138"/>
                    <a:gd name="connsiteX1177" fmla="*/ 465026 w 599011"/>
                    <a:gd name="connsiteY1177" fmla="*/ 115200 h 680138"/>
                    <a:gd name="connsiteX1178" fmla="*/ 463290 w 599011"/>
                    <a:gd name="connsiteY1178" fmla="*/ 107720 h 680138"/>
                    <a:gd name="connsiteX1179" fmla="*/ 463022 w 599011"/>
                    <a:gd name="connsiteY1179" fmla="*/ 104927 h 680138"/>
                    <a:gd name="connsiteX1180" fmla="*/ 463120 w 599011"/>
                    <a:gd name="connsiteY1180" fmla="*/ 98552 h 680138"/>
                    <a:gd name="connsiteX1181" fmla="*/ 463472 w 599011"/>
                    <a:gd name="connsiteY1181" fmla="*/ 96998 h 680138"/>
                    <a:gd name="connsiteX1182" fmla="*/ 463872 w 599011"/>
                    <a:gd name="connsiteY1182" fmla="*/ 96136 h 680138"/>
                    <a:gd name="connsiteX1183" fmla="*/ 464965 w 599011"/>
                    <a:gd name="connsiteY1183" fmla="*/ 94484 h 680138"/>
                    <a:gd name="connsiteX1184" fmla="*/ 465767 w 599011"/>
                    <a:gd name="connsiteY1184" fmla="*/ 92869 h 680138"/>
                    <a:gd name="connsiteX1185" fmla="*/ 465645 w 599011"/>
                    <a:gd name="connsiteY1185" fmla="*/ 91570 h 680138"/>
                    <a:gd name="connsiteX1186" fmla="*/ 464904 w 599011"/>
                    <a:gd name="connsiteY1186" fmla="*/ 90259 h 680138"/>
                    <a:gd name="connsiteX1187" fmla="*/ 463472 w 599011"/>
                    <a:gd name="connsiteY1187" fmla="*/ 88534 h 680138"/>
                    <a:gd name="connsiteX1188" fmla="*/ 462537 w 599011"/>
                    <a:gd name="connsiteY1188" fmla="*/ 86749 h 680138"/>
                    <a:gd name="connsiteX1189" fmla="*/ 462780 w 599011"/>
                    <a:gd name="connsiteY1189" fmla="*/ 83203 h 680138"/>
                    <a:gd name="connsiteX1190" fmla="*/ 464091 w 599011"/>
                    <a:gd name="connsiteY1190" fmla="*/ 76707 h 680138"/>
                    <a:gd name="connsiteX1191" fmla="*/ 464091 w 599011"/>
                    <a:gd name="connsiteY1191" fmla="*/ 75432 h 680138"/>
                    <a:gd name="connsiteX1192" fmla="*/ 463751 w 599011"/>
                    <a:gd name="connsiteY1192" fmla="*/ 74181 h 680138"/>
                    <a:gd name="connsiteX1193" fmla="*/ 463120 w 599011"/>
                    <a:gd name="connsiteY1193" fmla="*/ 73003 h 680138"/>
                    <a:gd name="connsiteX1194" fmla="*/ 462148 w 599011"/>
                    <a:gd name="connsiteY1194" fmla="*/ 69555 h 680138"/>
                    <a:gd name="connsiteX1195" fmla="*/ 461347 w 599011"/>
                    <a:gd name="connsiteY1195" fmla="*/ 68243 h 680138"/>
                    <a:gd name="connsiteX1196" fmla="*/ 459975 w 599011"/>
                    <a:gd name="connsiteY1196" fmla="*/ 67430 h 680138"/>
                    <a:gd name="connsiteX1197" fmla="*/ 458530 w 599011"/>
                    <a:gd name="connsiteY1197" fmla="*/ 67235 h 680138"/>
                    <a:gd name="connsiteX1198" fmla="*/ 457437 w 599011"/>
                    <a:gd name="connsiteY1198" fmla="*/ 66774 h 680138"/>
                    <a:gd name="connsiteX1199" fmla="*/ 456465 w 599011"/>
                    <a:gd name="connsiteY1199" fmla="*/ 65851 h 680138"/>
                    <a:gd name="connsiteX1200" fmla="*/ 455263 w 599011"/>
                    <a:gd name="connsiteY1200" fmla="*/ 59658 h 680138"/>
                    <a:gd name="connsiteX1201" fmla="*/ 454959 w 599011"/>
                    <a:gd name="connsiteY1201" fmla="*/ 58905 h 680138"/>
                    <a:gd name="connsiteX1202" fmla="*/ 454680 w 599011"/>
                    <a:gd name="connsiteY1202" fmla="*/ 58359 h 680138"/>
                    <a:gd name="connsiteX1203" fmla="*/ 454279 w 599011"/>
                    <a:gd name="connsiteY1203" fmla="*/ 58213 h 680138"/>
                    <a:gd name="connsiteX1204" fmla="*/ 453770 w 599011"/>
                    <a:gd name="connsiteY1204" fmla="*/ 58274 h 680138"/>
                    <a:gd name="connsiteX1205" fmla="*/ 452956 w 599011"/>
                    <a:gd name="connsiteY1205" fmla="*/ 58760 h 680138"/>
                    <a:gd name="connsiteX1206" fmla="*/ 452215 w 599011"/>
                    <a:gd name="connsiteY1206" fmla="*/ 58930 h 680138"/>
                    <a:gd name="connsiteX1207" fmla="*/ 450212 w 599011"/>
                    <a:gd name="connsiteY1207" fmla="*/ 58529 h 680138"/>
                    <a:gd name="connsiteX1208" fmla="*/ 448597 w 599011"/>
                    <a:gd name="connsiteY1208" fmla="*/ 53903 h 680138"/>
                    <a:gd name="connsiteX1209" fmla="*/ 449228 w 599011"/>
                    <a:gd name="connsiteY1209" fmla="*/ 50005 h 680138"/>
                    <a:gd name="connsiteX1210" fmla="*/ 450090 w 599011"/>
                    <a:gd name="connsiteY1210" fmla="*/ 47273 h 680138"/>
                    <a:gd name="connsiteX1211" fmla="*/ 450029 w 599011"/>
                    <a:gd name="connsiteY1211" fmla="*/ 45694 h 680138"/>
                    <a:gd name="connsiteX1212" fmla="*/ 449629 w 599011"/>
                    <a:gd name="connsiteY1212" fmla="*/ 44310 h 680138"/>
                    <a:gd name="connsiteX1213" fmla="*/ 448718 w 599011"/>
                    <a:gd name="connsiteY1213" fmla="*/ 42853 h 680138"/>
                    <a:gd name="connsiteX1214" fmla="*/ 447564 w 599011"/>
                    <a:gd name="connsiteY1214" fmla="*/ 40072 h 680138"/>
                    <a:gd name="connsiteX1215" fmla="*/ 447285 w 599011"/>
                    <a:gd name="connsiteY1215" fmla="*/ 38554 h 680138"/>
                    <a:gd name="connsiteX1216" fmla="*/ 447856 w 599011"/>
                    <a:gd name="connsiteY1216" fmla="*/ 36198 h 680138"/>
                    <a:gd name="connsiteX1217" fmla="*/ 450661 w 599011"/>
                    <a:gd name="connsiteY1217" fmla="*/ 32118 h 680138"/>
                    <a:gd name="connsiteX1218" fmla="*/ 451584 w 599011"/>
                    <a:gd name="connsiteY1218" fmla="*/ 29313 h 680138"/>
                    <a:gd name="connsiteX1219" fmla="*/ 451815 w 599011"/>
                    <a:gd name="connsiteY1219" fmla="*/ 27892 h 680138"/>
                    <a:gd name="connsiteX1220" fmla="*/ 451705 w 599011"/>
                    <a:gd name="connsiteY1220" fmla="*/ 26545 h 680138"/>
                    <a:gd name="connsiteX1221" fmla="*/ 451244 w 599011"/>
                    <a:gd name="connsiteY1221" fmla="*/ 25221 h 680138"/>
                    <a:gd name="connsiteX1222" fmla="*/ 450491 w 599011"/>
                    <a:gd name="connsiteY1222" fmla="*/ 24395 h 680138"/>
                    <a:gd name="connsiteX1223" fmla="*/ 449289 w 599011"/>
                    <a:gd name="connsiteY1223" fmla="*/ 23812 h 680138"/>
                    <a:gd name="connsiteX1224" fmla="*/ 446702 w 599011"/>
                    <a:gd name="connsiteY1224" fmla="*/ 23132 h 680138"/>
                    <a:gd name="connsiteX1225" fmla="*/ 445427 w 599011"/>
                    <a:gd name="connsiteY1225" fmla="*/ 22355 h 680138"/>
                    <a:gd name="connsiteX1226" fmla="*/ 444516 w 599011"/>
                    <a:gd name="connsiteY1226" fmla="*/ 21153 h 680138"/>
                    <a:gd name="connsiteX1227" fmla="*/ 442392 w 599011"/>
                    <a:gd name="connsiteY1227" fmla="*/ 16357 h 680138"/>
                    <a:gd name="connsiteX1228" fmla="*/ 440898 w 599011"/>
                    <a:gd name="connsiteY1228" fmla="*/ 13855 h 680138"/>
                    <a:gd name="connsiteX1229" fmla="*/ 439125 w 599011"/>
                    <a:gd name="connsiteY1229" fmla="*/ 11730 h 680138"/>
                    <a:gd name="connsiteX1230" fmla="*/ 439927 w 599011"/>
                    <a:gd name="connsiteY1230" fmla="*/ 10637 h 680138"/>
                    <a:gd name="connsiteX1231" fmla="*/ 441590 w 599011"/>
                    <a:gd name="connsiteY1231" fmla="*/ 9083 h 680138"/>
                    <a:gd name="connsiteX1232" fmla="*/ 444395 w 599011"/>
                    <a:gd name="connsiteY1232" fmla="*/ 7031 h 680138"/>
                    <a:gd name="connsiteX1233" fmla="*/ 445670 w 599011"/>
                    <a:gd name="connsiteY1233" fmla="*/ 6484 h 680138"/>
                    <a:gd name="connsiteX1234" fmla="*/ 446994 w 599011"/>
                    <a:gd name="connsiteY1234" fmla="*/ 6217 h 680138"/>
                    <a:gd name="connsiteX1235" fmla="*/ 447115 w 599011"/>
                    <a:gd name="connsiteY1235" fmla="*/ 0 h 680138"/>
                    <a:gd name="connsiteX1236" fmla="*/ 445792 w 599011"/>
                    <a:gd name="connsiteY1236" fmla="*/ 267 h 680138"/>
                    <a:gd name="connsiteX1237" fmla="*/ 444468 w 599011"/>
                    <a:gd name="connsiteY1237" fmla="*/ 534 h 680138"/>
                    <a:gd name="connsiteX1238" fmla="*/ 443861 w 599011"/>
                    <a:gd name="connsiteY1238" fmla="*/ 656 h 680138"/>
                    <a:gd name="connsiteX1239" fmla="*/ 443290 w 599011"/>
                    <a:gd name="connsiteY1239" fmla="*/ 911 h 680138"/>
                    <a:gd name="connsiteX1240" fmla="*/ 442015 w 599011"/>
                    <a:gd name="connsiteY1240" fmla="*/ 1457 h 680138"/>
                    <a:gd name="connsiteX1241" fmla="*/ 441384 w 599011"/>
                    <a:gd name="connsiteY1241" fmla="*/ 1724 h 680138"/>
                    <a:gd name="connsiteX1242" fmla="*/ 440825 w 599011"/>
                    <a:gd name="connsiteY1242" fmla="*/ 2137 h 680138"/>
                    <a:gd name="connsiteX1243" fmla="*/ 438020 w 599011"/>
                    <a:gd name="connsiteY1243" fmla="*/ 4189 h 680138"/>
                    <a:gd name="connsiteX1244" fmla="*/ 437729 w 599011"/>
                    <a:gd name="connsiteY1244" fmla="*/ 4408 h 680138"/>
                    <a:gd name="connsiteX1245" fmla="*/ 437474 w 599011"/>
                    <a:gd name="connsiteY1245" fmla="*/ 4651 h 680138"/>
                    <a:gd name="connsiteX1246" fmla="*/ 435810 w 599011"/>
                    <a:gd name="connsiteY1246" fmla="*/ 6205 h 680138"/>
                    <a:gd name="connsiteX1247" fmla="*/ 435385 w 599011"/>
                    <a:gd name="connsiteY1247" fmla="*/ 6606 h 680138"/>
                    <a:gd name="connsiteX1248" fmla="*/ 435045 w 599011"/>
                    <a:gd name="connsiteY1248" fmla="*/ 7067 h 680138"/>
                    <a:gd name="connsiteX1249" fmla="*/ 434244 w 599011"/>
                    <a:gd name="connsiteY1249" fmla="*/ 8160 h 680138"/>
                    <a:gd name="connsiteX1250" fmla="*/ 431451 w 599011"/>
                    <a:gd name="connsiteY1250" fmla="*/ 11997 h 680138"/>
                    <a:gd name="connsiteX1251" fmla="*/ 434487 w 599011"/>
                    <a:gd name="connsiteY1251" fmla="*/ 15628 h 680138"/>
                    <a:gd name="connsiteX1252" fmla="*/ 435956 w 599011"/>
                    <a:gd name="connsiteY1252" fmla="*/ 17389 h 680138"/>
                    <a:gd name="connsiteX1253" fmla="*/ 437012 w 599011"/>
                    <a:gd name="connsiteY1253" fmla="*/ 19162 h 680138"/>
                    <a:gd name="connsiteX1254" fmla="*/ 438992 w 599011"/>
                    <a:gd name="connsiteY1254" fmla="*/ 23618 h 680138"/>
                    <a:gd name="connsiteX1255" fmla="*/ 439271 w 599011"/>
                    <a:gd name="connsiteY1255" fmla="*/ 24274 h 680138"/>
                    <a:gd name="connsiteX1256" fmla="*/ 439696 w 599011"/>
                    <a:gd name="connsiteY1256" fmla="*/ 24832 h 680138"/>
                    <a:gd name="connsiteX1257" fmla="*/ 440607 w 599011"/>
                    <a:gd name="connsiteY1257" fmla="*/ 26035 h 680138"/>
                    <a:gd name="connsiteX1258" fmla="*/ 441299 w 599011"/>
                    <a:gd name="connsiteY1258" fmla="*/ 26945 h 680138"/>
                    <a:gd name="connsiteX1259" fmla="*/ 442282 w 599011"/>
                    <a:gd name="connsiteY1259" fmla="*/ 27540 h 680138"/>
                    <a:gd name="connsiteX1260" fmla="*/ 443557 w 599011"/>
                    <a:gd name="connsiteY1260" fmla="*/ 28317 h 680138"/>
                    <a:gd name="connsiteX1261" fmla="*/ 444322 w 599011"/>
                    <a:gd name="connsiteY1261" fmla="*/ 28791 h 680138"/>
                    <a:gd name="connsiteX1262" fmla="*/ 445184 w 599011"/>
                    <a:gd name="connsiteY1262" fmla="*/ 29022 h 680138"/>
                    <a:gd name="connsiteX1263" fmla="*/ 445306 w 599011"/>
                    <a:gd name="connsiteY1263" fmla="*/ 29046 h 680138"/>
                    <a:gd name="connsiteX1264" fmla="*/ 445184 w 599011"/>
                    <a:gd name="connsiteY1264" fmla="*/ 29398 h 680138"/>
                    <a:gd name="connsiteX1265" fmla="*/ 442877 w 599011"/>
                    <a:gd name="connsiteY1265" fmla="*/ 32750 h 680138"/>
                    <a:gd name="connsiteX1266" fmla="*/ 442234 w 599011"/>
                    <a:gd name="connsiteY1266" fmla="*/ 33672 h 680138"/>
                    <a:gd name="connsiteX1267" fmla="*/ 441979 w 599011"/>
                    <a:gd name="connsiteY1267" fmla="*/ 34765 h 680138"/>
                    <a:gd name="connsiteX1268" fmla="*/ 441408 w 599011"/>
                    <a:gd name="connsiteY1268" fmla="*/ 37121 h 680138"/>
                    <a:gd name="connsiteX1269" fmla="*/ 441104 w 599011"/>
                    <a:gd name="connsiteY1269" fmla="*/ 38372 h 680138"/>
                    <a:gd name="connsiteX1270" fmla="*/ 441335 w 599011"/>
                    <a:gd name="connsiteY1270" fmla="*/ 39635 h 680138"/>
                    <a:gd name="connsiteX1271" fmla="*/ 441614 w 599011"/>
                    <a:gd name="connsiteY1271" fmla="*/ 41152 h 680138"/>
                    <a:gd name="connsiteX1272" fmla="*/ 441736 w 599011"/>
                    <a:gd name="connsiteY1272" fmla="*/ 41784 h 680138"/>
                    <a:gd name="connsiteX1273" fmla="*/ 441979 w 599011"/>
                    <a:gd name="connsiteY1273" fmla="*/ 42379 h 680138"/>
                    <a:gd name="connsiteX1274" fmla="*/ 443132 w 599011"/>
                    <a:gd name="connsiteY1274" fmla="*/ 45160 h 680138"/>
                    <a:gd name="connsiteX1275" fmla="*/ 443327 w 599011"/>
                    <a:gd name="connsiteY1275" fmla="*/ 45621 h 680138"/>
                    <a:gd name="connsiteX1276" fmla="*/ 443582 w 599011"/>
                    <a:gd name="connsiteY1276" fmla="*/ 46046 h 680138"/>
                    <a:gd name="connsiteX1277" fmla="*/ 443934 w 599011"/>
                    <a:gd name="connsiteY1277" fmla="*/ 46617 h 680138"/>
                    <a:gd name="connsiteX1278" fmla="*/ 443448 w 599011"/>
                    <a:gd name="connsiteY1278" fmla="*/ 48159 h 680138"/>
                    <a:gd name="connsiteX1279" fmla="*/ 443314 w 599011"/>
                    <a:gd name="connsiteY1279" fmla="*/ 48572 h 680138"/>
                    <a:gd name="connsiteX1280" fmla="*/ 443242 w 599011"/>
                    <a:gd name="connsiteY1280" fmla="*/ 48997 h 680138"/>
                    <a:gd name="connsiteX1281" fmla="*/ 442610 w 599011"/>
                    <a:gd name="connsiteY1281" fmla="*/ 52895 h 680138"/>
                    <a:gd name="connsiteX1282" fmla="*/ 442355 w 599011"/>
                    <a:gd name="connsiteY1282" fmla="*/ 54413 h 680138"/>
                    <a:gd name="connsiteX1283" fmla="*/ 442865 w 599011"/>
                    <a:gd name="connsiteY1283" fmla="*/ 55870 h 680138"/>
                    <a:gd name="connsiteX1284" fmla="*/ 444480 w 599011"/>
                    <a:gd name="connsiteY1284" fmla="*/ 60496 h 680138"/>
                    <a:gd name="connsiteX1285" fmla="*/ 445634 w 599011"/>
                    <a:gd name="connsiteY1285" fmla="*/ 63775 h 680138"/>
                    <a:gd name="connsiteX1286" fmla="*/ 449034 w 599011"/>
                    <a:gd name="connsiteY1286" fmla="*/ 64443 h 680138"/>
                    <a:gd name="connsiteX1287" fmla="*/ 450054 w 599011"/>
                    <a:gd name="connsiteY1287" fmla="*/ 64649 h 680138"/>
                    <a:gd name="connsiteX1288" fmla="*/ 450503 w 599011"/>
                    <a:gd name="connsiteY1288" fmla="*/ 66956 h 680138"/>
                    <a:gd name="connsiteX1289" fmla="*/ 450867 w 599011"/>
                    <a:gd name="connsiteY1289" fmla="*/ 68863 h 680138"/>
                    <a:gd name="connsiteX1290" fmla="*/ 452276 w 599011"/>
                    <a:gd name="connsiteY1290" fmla="*/ 70198 h 680138"/>
                    <a:gd name="connsiteX1291" fmla="*/ 453247 w 599011"/>
                    <a:gd name="connsiteY1291" fmla="*/ 71121 h 680138"/>
                    <a:gd name="connsiteX1292" fmla="*/ 454049 w 599011"/>
                    <a:gd name="connsiteY1292" fmla="*/ 71886 h 680138"/>
                    <a:gd name="connsiteX1293" fmla="*/ 455069 w 599011"/>
                    <a:gd name="connsiteY1293" fmla="*/ 72323 h 680138"/>
                    <a:gd name="connsiteX1294" fmla="*/ 456162 w 599011"/>
                    <a:gd name="connsiteY1294" fmla="*/ 72785 h 680138"/>
                    <a:gd name="connsiteX1295" fmla="*/ 456830 w 599011"/>
                    <a:gd name="connsiteY1295" fmla="*/ 73064 h 680138"/>
                    <a:gd name="connsiteX1296" fmla="*/ 457267 w 599011"/>
                    <a:gd name="connsiteY1296" fmla="*/ 74606 h 680138"/>
                    <a:gd name="connsiteX1297" fmla="*/ 457449 w 599011"/>
                    <a:gd name="connsiteY1297" fmla="*/ 75238 h 680138"/>
                    <a:gd name="connsiteX1298" fmla="*/ 457752 w 599011"/>
                    <a:gd name="connsiteY1298" fmla="*/ 75821 h 680138"/>
                    <a:gd name="connsiteX1299" fmla="*/ 457971 w 599011"/>
                    <a:gd name="connsiteY1299" fmla="*/ 76233 h 680138"/>
                    <a:gd name="connsiteX1300" fmla="*/ 456805 w 599011"/>
                    <a:gd name="connsiteY1300" fmla="*/ 81953 h 680138"/>
                    <a:gd name="connsiteX1301" fmla="*/ 456732 w 599011"/>
                    <a:gd name="connsiteY1301" fmla="*/ 82341 h 680138"/>
                    <a:gd name="connsiteX1302" fmla="*/ 456708 w 599011"/>
                    <a:gd name="connsiteY1302" fmla="*/ 82742 h 680138"/>
                    <a:gd name="connsiteX1303" fmla="*/ 456465 w 599011"/>
                    <a:gd name="connsiteY1303" fmla="*/ 86288 h 680138"/>
                    <a:gd name="connsiteX1304" fmla="*/ 456356 w 599011"/>
                    <a:gd name="connsiteY1304" fmla="*/ 88000 h 680138"/>
                    <a:gd name="connsiteX1305" fmla="*/ 457145 w 599011"/>
                    <a:gd name="connsiteY1305" fmla="*/ 89518 h 680138"/>
                    <a:gd name="connsiteX1306" fmla="*/ 458080 w 599011"/>
                    <a:gd name="connsiteY1306" fmla="*/ 91303 h 680138"/>
                    <a:gd name="connsiteX1307" fmla="*/ 458384 w 599011"/>
                    <a:gd name="connsiteY1307" fmla="*/ 91873 h 680138"/>
                    <a:gd name="connsiteX1308" fmla="*/ 458797 w 599011"/>
                    <a:gd name="connsiteY1308" fmla="*/ 92371 h 680138"/>
                    <a:gd name="connsiteX1309" fmla="*/ 458930 w 599011"/>
                    <a:gd name="connsiteY1309" fmla="*/ 92541 h 680138"/>
                    <a:gd name="connsiteX1310" fmla="*/ 458797 w 599011"/>
                    <a:gd name="connsiteY1310" fmla="*/ 92748 h 680138"/>
                    <a:gd name="connsiteX1311" fmla="*/ 458542 w 599011"/>
                    <a:gd name="connsiteY1311" fmla="*/ 93124 h 680138"/>
                    <a:gd name="connsiteX1312" fmla="*/ 458347 w 599011"/>
                    <a:gd name="connsiteY1312" fmla="*/ 93537 h 680138"/>
                    <a:gd name="connsiteX1313" fmla="*/ 457947 w 599011"/>
                    <a:gd name="connsiteY1313" fmla="*/ 94399 h 680138"/>
                    <a:gd name="connsiteX1314" fmla="*/ 457667 w 599011"/>
                    <a:gd name="connsiteY1314" fmla="*/ 94994 h 680138"/>
                    <a:gd name="connsiteX1315" fmla="*/ 457522 w 599011"/>
                    <a:gd name="connsiteY1315" fmla="*/ 95626 h 680138"/>
                    <a:gd name="connsiteX1316" fmla="*/ 457170 w 599011"/>
                    <a:gd name="connsiteY1316" fmla="*/ 97180 h 680138"/>
                    <a:gd name="connsiteX1317" fmla="*/ 457036 w 599011"/>
                    <a:gd name="connsiteY1317" fmla="*/ 97787 h 680138"/>
                    <a:gd name="connsiteX1318" fmla="*/ 457024 w 599011"/>
                    <a:gd name="connsiteY1318" fmla="*/ 98419 h 680138"/>
                    <a:gd name="connsiteX1319" fmla="*/ 456951 w 599011"/>
                    <a:gd name="connsiteY1319" fmla="*/ 104830 h 680138"/>
                    <a:gd name="connsiteX1320" fmla="*/ 456951 w 599011"/>
                    <a:gd name="connsiteY1320" fmla="*/ 105170 h 680138"/>
                    <a:gd name="connsiteX1321" fmla="*/ 456987 w 599011"/>
                    <a:gd name="connsiteY1321" fmla="*/ 105498 h 680138"/>
                    <a:gd name="connsiteX1322" fmla="*/ 457194 w 599011"/>
                    <a:gd name="connsiteY1322" fmla="*/ 107696 h 680138"/>
                    <a:gd name="connsiteX1323" fmla="*/ 456854 w 599011"/>
                    <a:gd name="connsiteY1323" fmla="*/ 107319 h 680138"/>
                    <a:gd name="connsiteX1324" fmla="*/ 455822 w 599011"/>
                    <a:gd name="connsiteY1324" fmla="*/ 106166 h 680138"/>
                    <a:gd name="connsiteX1325" fmla="*/ 454352 w 599011"/>
                    <a:gd name="connsiteY1325" fmla="*/ 105656 h 680138"/>
                    <a:gd name="connsiteX1326" fmla="*/ 452616 w 599011"/>
                    <a:gd name="connsiteY1326" fmla="*/ 105049 h 680138"/>
                    <a:gd name="connsiteX1327" fmla="*/ 451183 w 599011"/>
                    <a:gd name="connsiteY1327" fmla="*/ 104551 h 680138"/>
                    <a:gd name="connsiteX1328" fmla="*/ 449689 w 599011"/>
                    <a:gd name="connsiteY1328" fmla="*/ 104781 h 680138"/>
                    <a:gd name="connsiteX1329" fmla="*/ 444371 w 599011"/>
                    <a:gd name="connsiteY1329" fmla="*/ 105595 h 680138"/>
                    <a:gd name="connsiteX1330" fmla="*/ 443861 w 599011"/>
                    <a:gd name="connsiteY1330" fmla="*/ 105595 h 680138"/>
                    <a:gd name="connsiteX1331" fmla="*/ 441323 w 599011"/>
                    <a:gd name="connsiteY1331" fmla="*/ 104490 h 680138"/>
                    <a:gd name="connsiteX1332" fmla="*/ 440133 w 599011"/>
                    <a:gd name="connsiteY1332" fmla="*/ 103980 h 680138"/>
                    <a:gd name="connsiteX1333" fmla="*/ 438834 w 599011"/>
                    <a:gd name="connsiteY1333" fmla="*/ 103992 h 680138"/>
                    <a:gd name="connsiteX1334" fmla="*/ 436187 w 599011"/>
                    <a:gd name="connsiteY1334" fmla="*/ 104029 h 680138"/>
                    <a:gd name="connsiteX1335" fmla="*/ 434911 w 599011"/>
                    <a:gd name="connsiteY1335" fmla="*/ 104041 h 680138"/>
                    <a:gd name="connsiteX1336" fmla="*/ 433746 w 599011"/>
                    <a:gd name="connsiteY1336" fmla="*/ 104575 h 680138"/>
                    <a:gd name="connsiteX1337" fmla="*/ 429047 w 599011"/>
                    <a:gd name="connsiteY1337" fmla="*/ 106724 h 680138"/>
                    <a:gd name="connsiteX1338" fmla="*/ 428014 w 599011"/>
                    <a:gd name="connsiteY1338" fmla="*/ 107210 h 680138"/>
                    <a:gd name="connsiteX1339" fmla="*/ 427225 w 599011"/>
                    <a:gd name="connsiteY1339" fmla="*/ 108024 h 680138"/>
                    <a:gd name="connsiteX1340" fmla="*/ 426533 w 599011"/>
                    <a:gd name="connsiteY1340" fmla="*/ 108740 h 680138"/>
                    <a:gd name="connsiteX1341" fmla="*/ 425744 w 599011"/>
                    <a:gd name="connsiteY1341" fmla="*/ 109554 h 680138"/>
                    <a:gd name="connsiteX1342" fmla="*/ 425294 w 599011"/>
                    <a:gd name="connsiteY1342" fmla="*/ 110598 h 680138"/>
                    <a:gd name="connsiteX1343" fmla="*/ 424772 w 599011"/>
                    <a:gd name="connsiteY1343" fmla="*/ 111837 h 680138"/>
                    <a:gd name="connsiteX1344" fmla="*/ 424481 w 599011"/>
                    <a:gd name="connsiteY1344" fmla="*/ 112541 h 680138"/>
                    <a:gd name="connsiteX1345" fmla="*/ 424359 w 599011"/>
                    <a:gd name="connsiteY1345" fmla="*/ 113294 h 680138"/>
                    <a:gd name="connsiteX1346" fmla="*/ 423448 w 599011"/>
                    <a:gd name="connsiteY1346" fmla="*/ 119317 h 680138"/>
                    <a:gd name="connsiteX1347" fmla="*/ 423327 w 599011"/>
                    <a:gd name="connsiteY1347" fmla="*/ 120118 h 680138"/>
                    <a:gd name="connsiteX1348" fmla="*/ 423424 w 599011"/>
                    <a:gd name="connsiteY1348" fmla="*/ 120919 h 680138"/>
                    <a:gd name="connsiteX1349" fmla="*/ 423534 w 599011"/>
                    <a:gd name="connsiteY1349" fmla="*/ 121842 h 680138"/>
                    <a:gd name="connsiteX1350" fmla="*/ 423655 w 599011"/>
                    <a:gd name="connsiteY1350" fmla="*/ 122911 h 680138"/>
                    <a:gd name="connsiteX1351" fmla="*/ 424141 w 599011"/>
                    <a:gd name="connsiteY1351" fmla="*/ 123882 h 680138"/>
                    <a:gd name="connsiteX1352" fmla="*/ 424493 w 599011"/>
                    <a:gd name="connsiteY1352" fmla="*/ 124574 h 680138"/>
                    <a:gd name="connsiteX1353" fmla="*/ 424675 w 599011"/>
                    <a:gd name="connsiteY1353" fmla="*/ 124951 h 680138"/>
                    <a:gd name="connsiteX1354" fmla="*/ 413928 w 599011"/>
                    <a:gd name="connsiteY1354" fmla="*/ 132346 h 680138"/>
                    <a:gd name="connsiteX1355" fmla="*/ 411864 w 599011"/>
                    <a:gd name="connsiteY1355" fmla="*/ 133354 h 680138"/>
                    <a:gd name="connsiteX1356" fmla="*/ 411573 w 599011"/>
                    <a:gd name="connsiteY1356" fmla="*/ 133487 h 680138"/>
                    <a:gd name="connsiteX1357" fmla="*/ 411306 w 599011"/>
                    <a:gd name="connsiteY1357" fmla="*/ 133657 h 680138"/>
                    <a:gd name="connsiteX1358" fmla="*/ 407517 w 599011"/>
                    <a:gd name="connsiteY1358" fmla="*/ 136013 h 680138"/>
                    <a:gd name="connsiteX1359" fmla="*/ 406376 w 599011"/>
                    <a:gd name="connsiteY1359" fmla="*/ 136560 h 680138"/>
                    <a:gd name="connsiteX1360" fmla="*/ 399029 w 599011"/>
                    <a:gd name="connsiteY1360" fmla="*/ 139025 h 680138"/>
                    <a:gd name="connsiteX1361" fmla="*/ 398495 w 599011"/>
                    <a:gd name="connsiteY1361" fmla="*/ 139207 h 680138"/>
                    <a:gd name="connsiteX1362" fmla="*/ 397997 w 599011"/>
                    <a:gd name="connsiteY1362" fmla="*/ 139486 h 680138"/>
                    <a:gd name="connsiteX1363" fmla="*/ 395301 w 599011"/>
                    <a:gd name="connsiteY1363" fmla="*/ 141004 h 680138"/>
                    <a:gd name="connsiteX1364" fmla="*/ 394670 w 599011"/>
                    <a:gd name="connsiteY1364" fmla="*/ 141356 h 680138"/>
                    <a:gd name="connsiteX1365" fmla="*/ 394136 w 599011"/>
                    <a:gd name="connsiteY1365" fmla="*/ 141854 h 680138"/>
                    <a:gd name="connsiteX1366" fmla="*/ 392071 w 599011"/>
                    <a:gd name="connsiteY1366" fmla="*/ 143772 h 680138"/>
                    <a:gd name="connsiteX1367" fmla="*/ 391318 w 599011"/>
                    <a:gd name="connsiteY1367" fmla="*/ 144477 h 680138"/>
                    <a:gd name="connsiteX1368" fmla="*/ 390833 w 599011"/>
                    <a:gd name="connsiteY1368" fmla="*/ 145400 h 680138"/>
                    <a:gd name="connsiteX1369" fmla="*/ 389679 w 599011"/>
                    <a:gd name="connsiteY1369" fmla="*/ 147585 h 680138"/>
                    <a:gd name="connsiteX1370" fmla="*/ 388623 w 599011"/>
                    <a:gd name="connsiteY1370" fmla="*/ 149589 h 680138"/>
                    <a:gd name="connsiteX1371" fmla="*/ 389133 w 599011"/>
                    <a:gd name="connsiteY1371" fmla="*/ 151799 h 680138"/>
                    <a:gd name="connsiteX1372" fmla="*/ 389594 w 599011"/>
                    <a:gd name="connsiteY1372" fmla="*/ 153754 h 680138"/>
                    <a:gd name="connsiteX1373" fmla="*/ 389837 w 599011"/>
                    <a:gd name="connsiteY1373" fmla="*/ 154798 h 680138"/>
                    <a:gd name="connsiteX1374" fmla="*/ 390420 w 599011"/>
                    <a:gd name="connsiteY1374" fmla="*/ 155697 h 680138"/>
                    <a:gd name="connsiteX1375" fmla="*/ 391112 w 599011"/>
                    <a:gd name="connsiteY1375" fmla="*/ 156753 h 680138"/>
                    <a:gd name="connsiteX1376" fmla="*/ 392193 w 599011"/>
                    <a:gd name="connsiteY1376" fmla="*/ 158417 h 680138"/>
                    <a:gd name="connsiteX1377" fmla="*/ 394038 w 599011"/>
                    <a:gd name="connsiteY1377" fmla="*/ 159121 h 680138"/>
                    <a:gd name="connsiteX1378" fmla="*/ 395180 w 599011"/>
                    <a:gd name="connsiteY1378" fmla="*/ 159558 h 680138"/>
                    <a:gd name="connsiteX1379" fmla="*/ 396588 w 599011"/>
                    <a:gd name="connsiteY1379" fmla="*/ 160080 h 680138"/>
                    <a:gd name="connsiteX1380" fmla="*/ 398082 w 599011"/>
                    <a:gd name="connsiteY1380" fmla="*/ 159898 h 680138"/>
                    <a:gd name="connsiteX1381" fmla="*/ 398944 w 599011"/>
                    <a:gd name="connsiteY1381" fmla="*/ 159789 h 680138"/>
                    <a:gd name="connsiteX1382" fmla="*/ 399867 w 599011"/>
                    <a:gd name="connsiteY1382" fmla="*/ 159680 h 680138"/>
                    <a:gd name="connsiteX1383" fmla="*/ 400717 w 599011"/>
                    <a:gd name="connsiteY1383" fmla="*/ 159291 h 680138"/>
                    <a:gd name="connsiteX1384" fmla="*/ 401858 w 599011"/>
                    <a:gd name="connsiteY1384" fmla="*/ 158769 h 680138"/>
                    <a:gd name="connsiteX1385" fmla="*/ 402575 w 599011"/>
                    <a:gd name="connsiteY1385" fmla="*/ 158441 h 680138"/>
                    <a:gd name="connsiteX1386" fmla="*/ 403182 w 599011"/>
                    <a:gd name="connsiteY1386" fmla="*/ 157943 h 680138"/>
                    <a:gd name="connsiteX1387" fmla="*/ 404093 w 599011"/>
                    <a:gd name="connsiteY1387" fmla="*/ 157203 h 680138"/>
                    <a:gd name="connsiteX1388" fmla="*/ 404239 w 599011"/>
                    <a:gd name="connsiteY1388" fmla="*/ 157348 h 680138"/>
                    <a:gd name="connsiteX1389" fmla="*/ 404991 w 599011"/>
                    <a:gd name="connsiteY1389" fmla="*/ 158125 h 680138"/>
                    <a:gd name="connsiteX1390" fmla="*/ 405453 w 599011"/>
                    <a:gd name="connsiteY1390" fmla="*/ 158611 h 680138"/>
                    <a:gd name="connsiteX1391" fmla="*/ 406011 w 599011"/>
                    <a:gd name="connsiteY1391" fmla="*/ 158975 h 680138"/>
                    <a:gd name="connsiteX1392" fmla="*/ 407104 w 599011"/>
                    <a:gd name="connsiteY1392" fmla="*/ 159692 h 680138"/>
                    <a:gd name="connsiteX1393" fmla="*/ 407869 w 599011"/>
                    <a:gd name="connsiteY1393" fmla="*/ 160190 h 680138"/>
                    <a:gd name="connsiteX1394" fmla="*/ 408476 w 599011"/>
                    <a:gd name="connsiteY1394" fmla="*/ 160372 h 680138"/>
                    <a:gd name="connsiteX1395" fmla="*/ 407845 w 599011"/>
                    <a:gd name="connsiteY1395" fmla="*/ 161586 h 680138"/>
                    <a:gd name="connsiteX1396" fmla="*/ 407420 w 599011"/>
                    <a:gd name="connsiteY1396" fmla="*/ 162412 h 680138"/>
                    <a:gd name="connsiteX1397" fmla="*/ 407262 w 599011"/>
                    <a:gd name="connsiteY1397" fmla="*/ 163335 h 680138"/>
                    <a:gd name="connsiteX1398" fmla="*/ 406983 w 599011"/>
                    <a:gd name="connsiteY1398" fmla="*/ 164998 h 680138"/>
                    <a:gd name="connsiteX1399" fmla="*/ 406910 w 599011"/>
                    <a:gd name="connsiteY1399" fmla="*/ 165399 h 680138"/>
                    <a:gd name="connsiteX1400" fmla="*/ 402611 w 599011"/>
                    <a:gd name="connsiteY1400" fmla="*/ 167913 h 680138"/>
                    <a:gd name="connsiteX1401" fmla="*/ 402308 w 599011"/>
                    <a:gd name="connsiteY1401" fmla="*/ 168095 h 680138"/>
                    <a:gd name="connsiteX1402" fmla="*/ 402028 w 599011"/>
                    <a:gd name="connsiteY1402" fmla="*/ 168301 h 680138"/>
                    <a:gd name="connsiteX1403" fmla="*/ 392788 w 599011"/>
                    <a:gd name="connsiteY1403" fmla="*/ 175235 h 680138"/>
                    <a:gd name="connsiteX1404" fmla="*/ 390031 w 599011"/>
                    <a:gd name="connsiteY1404" fmla="*/ 175126 h 680138"/>
                    <a:gd name="connsiteX1405" fmla="*/ 389388 w 599011"/>
                    <a:gd name="connsiteY1405" fmla="*/ 174749 h 680138"/>
                    <a:gd name="connsiteX1406" fmla="*/ 388695 w 599011"/>
                    <a:gd name="connsiteY1406" fmla="*/ 174348 h 680138"/>
                    <a:gd name="connsiteX1407" fmla="*/ 387931 w 599011"/>
                    <a:gd name="connsiteY1407" fmla="*/ 174130 h 680138"/>
                    <a:gd name="connsiteX1408" fmla="*/ 384385 w 599011"/>
                    <a:gd name="connsiteY1408" fmla="*/ 173146 h 680138"/>
                    <a:gd name="connsiteX1409" fmla="*/ 384118 w 599011"/>
                    <a:gd name="connsiteY1409" fmla="*/ 172830 h 680138"/>
                    <a:gd name="connsiteX1410" fmla="*/ 382491 w 599011"/>
                    <a:gd name="connsiteY1410" fmla="*/ 170244 h 680138"/>
                    <a:gd name="connsiteX1411" fmla="*/ 381385 w 599011"/>
                    <a:gd name="connsiteY1411" fmla="*/ 167779 h 680138"/>
                    <a:gd name="connsiteX1412" fmla="*/ 379625 w 599011"/>
                    <a:gd name="connsiteY1412" fmla="*/ 160760 h 680138"/>
                    <a:gd name="connsiteX1413" fmla="*/ 379345 w 599011"/>
                    <a:gd name="connsiteY1413" fmla="*/ 159631 h 680138"/>
                    <a:gd name="connsiteX1414" fmla="*/ 378665 w 599011"/>
                    <a:gd name="connsiteY1414" fmla="*/ 158684 h 680138"/>
                    <a:gd name="connsiteX1415" fmla="*/ 377864 w 599011"/>
                    <a:gd name="connsiteY1415" fmla="*/ 157567 h 680138"/>
                    <a:gd name="connsiteX1416" fmla="*/ 377148 w 599011"/>
                    <a:gd name="connsiteY1416" fmla="*/ 156571 h 680138"/>
                    <a:gd name="connsiteX1417" fmla="*/ 376103 w 599011"/>
                    <a:gd name="connsiteY1417" fmla="*/ 155928 h 680138"/>
                    <a:gd name="connsiteX1418" fmla="*/ 375010 w 599011"/>
                    <a:gd name="connsiteY1418" fmla="*/ 155260 h 680138"/>
                    <a:gd name="connsiteX1419" fmla="*/ 373808 w 599011"/>
                    <a:gd name="connsiteY1419" fmla="*/ 154519 h 680138"/>
                    <a:gd name="connsiteX1420" fmla="*/ 372400 w 599011"/>
                    <a:gd name="connsiteY1420" fmla="*/ 154385 h 680138"/>
                    <a:gd name="connsiteX1421" fmla="*/ 371015 w 599011"/>
                    <a:gd name="connsiteY1421" fmla="*/ 154252 h 680138"/>
                    <a:gd name="connsiteX1422" fmla="*/ 369898 w 599011"/>
                    <a:gd name="connsiteY1422" fmla="*/ 154155 h 680138"/>
                    <a:gd name="connsiteX1423" fmla="*/ 368817 w 599011"/>
                    <a:gd name="connsiteY1423" fmla="*/ 154446 h 680138"/>
                    <a:gd name="connsiteX1424" fmla="*/ 367433 w 599011"/>
                    <a:gd name="connsiteY1424" fmla="*/ 154835 h 680138"/>
                    <a:gd name="connsiteX1425" fmla="*/ 366340 w 599011"/>
                    <a:gd name="connsiteY1425" fmla="*/ 155138 h 680138"/>
                    <a:gd name="connsiteX1426" fmla="*/ 365430 w 599011"/>
                    <a:gd name="connsiteY1426" fmla="*/ 155818 h 680138"/>
                    <a:gd name="connsiteX1427" fmla="*/ 364179 w 599011"/>
                    <a:gd name="connsiteY1427" fmla="*/ 156753 h 680138"/>
                    <a:gd name="connsiteX1428" fmla="*/ 362333 w 599011"/>
                    <a:gd name="connsiteY1428" fmla="*/ 158138 h 680138"/>
                    <a:gd name="connsiteX1429" fmla="*/ 361872 w 599011"/>
                    <a:gd name="connsiteY1429" fmla="*/ 160396 h 680138"/>
                    <a:gd name="connsiteX1430" fmla="*/ 361520 w 599011"/>
                    <a:gd name="connsiteY1430" fmla="*/ 162108 h 680138"/>
                    <a:gd name="connsiteX1431" fmla="*/ 361167 w 599011"/>
                    <a:gd name="connsiteY1431" fmla="*/ 163833 h 680138"/>
                    <a:gd name="connsiteX1432" fmla="*/ 361216 w 599011"/>
                    <a:gd name="connsiteY1432" fmla="*/ 163966 h 680138"/>
                    <a:gd name="connsiteX1433" fmla="*/ 360791 w 599011"/>
                    <a:gd name="connsiteY1433" fmla="*/ 163650 h 680138"/>
                    <a:gd name="connsiteX1434" fmla="*/ 359018 w 599011"/>
                    <a:gd name="connsiteY1434" fmla="*/ 163541 h 680138"/>
                    <a:gd name="connsiteX1435" fmla="*/ 357986 w 599011"/>
                    <a:gd name="connsiteY1435" fmla="*/ 163480 h 680138"/>
                    <a:gd name="connsiteX1436" fmla="*/ 356274 w 599011"/>
                    <a:gd name="connsiteY1436" fmla="*/ 163371 h 680138"/>
                    <a:gd name="connsiteX1437" fmla="*/ 354756 w 599011"/>
                    <a:gd name="connsiteY1437" fmla="*/ 164173 h 680138"/>
                    <a:gd name="connsiteX1438" fmla="*/ 353724 w 599011"/>
                    <a:gd name="connsiteY1438" fmla="*/ 164719 h 680138"/>
                    <a:gd name="connsiteX1439" fmla="*/ 350627 w 599011"/>
                    <a:gd name="connsiteY1439" fmla="*/ 166358 h 680138"/>
                    <a:gd name="connsiteX1440" fmla="*/ 350494 w 599011"/>
                    <a:gd name="connsiteY1440" fmla="*/ 169868 h 680138"/>
                    <a:gd name="connsiteX1441" fmla="*/ 350482 w 599011"/>
                    <a:gd name="connsiteY1441" fmla="*/ 170098 h 680138"/>
                    <a:gd name="connsiteX1442" fmla="*/ 350045 w 599011"/>
                    <a:gd name="connsiteY1442" fmla="*/ 169965 h 680138"/>
                    <a:gd name="connsiteX1443" fmla="*/ 349510 w 599011"/>
                    <a:gd name="connsiteY1443" fmla="*/ 169904 h 680138"/>
                    <a:gd name="connsiteX1444" fmla="*/ 347652 w 599011"/>
                    <a:gd name="connsiteY1444" fmla="*/ 169685 h 680138"/>
                    <a:gd name="connsiteX1445" fmla="*/ 347482 w 599011"/>
                    <a:gd name="connsiteY1445" fmla="*/ 169637 h 680138"/>
                    <a:gd name="connsiteX1446" fmla="*/ 346559 w 599011"/>
                    <a:gd name="connsiteY1446" fmla="*/ 169078 h 680138"/>
                    <a:gd name="connsiteX1447" fmla="*/ 341605 w 599011"/>
                    <a:gd name="connsiteY1447" fmla="*/ 165314 h 680138"/>
                    <a:gd name="connsiteX1448" fmla="*/ 340439 w 599011"/>
                    <a:gd name="connsiteY1448" fmla="*/ 164440 h 680138"/>
                    <a:gd name="connsiteX1449" fmla="*/ 339019 w 599011"/>
                    <a:gd name="connsiteY1449" fmla="*/ 164185 h 680138"/>
                    <a:gd name="connsiteX1450" fmla="*/ 337525 w 599011"/>
                    <a:gd name="connsiteY1450" fmla="*/ 163918 h 680138"/>
                    <a:gd name="connsiteX1451" fmla="*/ 335886 w 599011"/>
                    <a:gd name="connsiteY1451" fmla="*/ 163626 h 680138"/>
                    <a:gd name="connsiteX1452" fmla="*/ 334332 w 599011"/>
                    <a:gd name="connsiteY1452" fmla="*/ 164209 h 680138"/>
                    <a:gd name="connsiteX1453" fmla="*/ 332996 w 599011"/>
                    <a:gd name="connsiteY1453" fmla="*/ 164707 h 680138"/>
                    <a:gd name="connsiteX1454" fmla="*/ 331903 w 599011"/>
                    <a:gd name="connsiteY1454" fmla="*/ 165120 h 680138"/>
                    <a:gd name="connsiteX1455" fmla="*/ 331041 w 599011"/>
                    <a:gd name="connsiteY1455" fmla="*/ 165897 h 680138"/>
                    <a:gd name="connsiteX1456" fmla="*/ 329559 w 599011"/>
                    <a:gd name="connsiteY1456" fmla="*/ 167245 h 680138"/>
                    <a:gd name="connsiteX1457" fmla="*/ 329110 w 599011"/>
                    <a:gd name="connsiteY1457" fmla="*/ 167645 h 680138"/>
                    <a:gd name="connsiteX1458" fmla="*/ 328758 w 599011"/>
                    <a:gd name="connsiteY1458" fmla="*/ 168131 h 680138"/>
                    <a:gd name="connsiteX1459" fmla="*/ 327969 w 599011"/>
                    <a:gd name="connsiteY1459" fmla="*/ 169212 h 680138"/>
                    <a:gd name="connsiteX1460" fmla="*/ 326548 w 599011"/>
                    <a:gd name="connsiteY1460" fmla="*/ 171118 h 680138"/>
                    <a:gd name="connsiteX1461" fmla="*/ 326803 w 599011"/>
                    <a:gd name="connsiteY1461" fmla="*/ 173486 h 680138"/>
                    <a:gd name="connsiteX1462" fmla="*/ 326973 w 599011"/>
                    <a:gd name="connsiteY1462" fmla="*/ 175004 h 680138"/>
                    <a:gd name="connsiteX1463" fmla="*/ 327119 w 599011"/>
                    <a:gd name="connsiteY1463" fmla="*/ 176328 h 680138"/>
                    <a:gd name="connsiteX1464" fmla="*/ 327811 w 599011"/>
                    <a:gd name="connsiteY1464" fmla="*/ 177469 h 680138"/>
                    <a:gd name="connsiteX1465" fmla="*/ 328442 w 599011"/>
                    <a:gd name="connsiteY1465" fmla="*/ 178526 h 680138"/>
                    <a:gd name="connsiteX1466" fmla="*/ 328928 w 599011"/>
                    <a:gd name="connsiteY1466" fmla="*/ 179315 h 680138"/>
                    <a:gd name="connsiteX1467" fmla="*/ 329620 w 599011"/>
                    <a:gd name="connsiteY1467" fmla="*/ 179934 h 680138"/>
                    <a:gd name="connsiteX1468" fmla="*/ 330179 w 599011"/>
                    <a:gd name="connsiteY1468" fmla="*/ 180432 h 680138"/>
                    <a:gd name="connsiteX1469" fmla="*/ 329669 w 599011"/>
                    <a:gd name="connsiteY1469" fmla="*/ 181148 h 680138"/>
                    <a:gd name="connsiteX1470" fmla="*/ 329596 w 599011"/>
                    <a:gd name="connsiteY1470" fmla="*/ 182921 h 680138"/>
                    <a:gd name="connsiteX1471" fmla="*/ 329535 w 599011"/>
                    <a:gd name="connsiteY1471" fmla="*/ 184245 h 680138"/>
                    <a:gd name="connsiteX1472" fmla="*/ 329511 w 599011"/>
                    <a:gd name="connsiteY1472" fmla="*/ 184901 h 680138"/>
                    <a:gd name="connsiteX1473" fmla="*/ 329620 w 599011"/>
                    <a:gd name="connsiteY1473" fmla="*/ 185544 h 680138"/>
                    <a:gd name="connsiteX1474" fmla="*/ 329802 w 599011"/>
                    <a:gd name="connsiteY1474" fmla="*/ 186576 h 680138"/>
                    <a:gd name="connsiteX1475" fmla="*/ 329887 w 599011"/>
                    <a:gd name="connsiteY1475" fmla="*/ 187074 h 680138"/>
                    <a:gd name="connsiteX1476" fmla="*/ 330057 w 599011"/>
                    <a:gd name="connsiteY1476" fmla="*/ 187548 h 680138"/>
                    <a:gd name="connsiteX1477" fmla="*/ 330081 w 599011"/>
                    <a:gd name="connsiteY1477" fmla="*/ 187621 h 680138"/>
                    <a:gd name="connsiteX1478" fmla="*/ 329948 w 599011"/>
                    <a:gd name="connsiteY1478" fmla="*/ 187766 h 680138"/>
                    <a:gd name="connsiteX1479" fmla="*/ 329499 w 599011"/>
                    <a:gd name="connsiteY1479" fmla="*/ 188276 h 680138"/>
                    <a:gd name="connsiteX1480" fmla="*/ 329183 w 599011"/>
                    <a:gd name="connsiteY1480" fmla="*/ 188871 h 680138"/>
                    <a:gd name="connsiteX1481" fmla="*/ 327859 w 599011"/>
                    <a:gd name="connsiteY1481" fmla="*/ 191312 h 680138"/>
                    <a:gd name="connsiteX1482" fmla="*/ 327653 w 599011"/>
                    <a:gd name="connsiteY1482" fmla="*/ 191688 h 680138"/>
                    <a:gd name="connsiteX1483" fmla="*/ 327507 w 599011"/>
                    <a:gd name="connsiteY1483" fmla="*/ 192089 h 680138"/>
                    <a:gd name="connsiteX1484" fmla="*/ 323828 w 599011"/>
                    <a:gd name="connsiteY1484" fmla="*/ 201961 h 680138"/>
                    <a:gd name="connsiteX1485" fmla="*/ 322614 w 599011"/>
                    <a:gd name="connsiteY1485" fmla="*/ 206381 h 680138"/>
                    <a:gd name="connsiteX1486" fmla="*/ 322492 w 599011"/>
                    <a:gd name="connsiteY1486" fmla="*/ 206819 h 680138"/>
                    <a:gd name="connsiteX1487" fmla="*/ 322444 w 599011"/>
                    <a:gd name="connsiteY1487" fmla="*/ 207268 h 680138"/>
                    <a:gd name="connsiteX1488" fmla="*/ 322225 w 599011"/>
                    <a:gd name="connsiteY1488" fmla="*/ 209138 h 680138"/>
                    <a:gd name="connsiteX1489" fmla="*/ 322140 w 599011"/>
                    <a:gd name="connsiteY1489" fmla="*/ 209903 h 680138"/>
                    <a:gd name="connsiteX1490" fmla="*/ 322249 w 599011"/>
                    <a:gd name="connsiteY1490" fmla="*/ 210668 h 680138"/>
                    <a:gd name="connsiteX1491" fmla="*/ 322529 w 599011"/>
                    <a:gd name="connsiteY1491" fmla="*/ 212647 h 680138"/>
                    <a:gd name="connsiteX1492" fmla="*/ 322589 w 599011"/>
                    <a:gd name="connsiteY1492" fmla="*/ 213072 h 680138"/>
                    <a:gd name="connsiteX1493" fmla="*/ 322711 w 599011"/>
                    <a:gd name="connsiteY1493" fmla="*/ 213485 h 680138"/>
                    <a:gd name="connsiteX1494" fmla="*/ 323172 w 599011"/>
                    <a:gd name="connsiteY1494" fmla="*/ 215088 h 680138"/>
                    <a:gd name="connsiteX1495" fmla="*/ 323257 w 599011"/>
                    <a:gd name="connsiteY1495" fmla="*/ 215392 h 680138"/>
                    <a:gd name="connsiteX1496" fmla="*/ 323379 w 599011"/>
                    <a:gd name="connsiteY1496" fmla="*/ 215683 h 680138"/>
                    <a:gd name="connsiteX1497" fmla="*/ 324059 w 599011"/>
                    <a:gd name="connsiteY1497" fmla="*/ 217346 h 680138"/>
                    <a:gd name="connsiteX1498" fmla="*/ 324484 w 599011"/>
                    <a:gd name="connsiteY1498" fmla="*/ 218876 h 680138"/>
                    <a:gd name="connsiteX1499" fmla="*/ 324690 w 599011"/>
                    <a:gd name="connsiteY1499" fmla="*/ 219581 h 680138"/>
                    <a:gd name="connsiteX1500" fmla="*/ 325042 w 599011"/>
                    <a:gd name="connsiteY1500" fmla="*/ 220212 h 680138"/>
                    <a:gd name="connsiteX1501" fmla="*/ 326014 w 599011"/>
                    <a:gd name="connsiteY1501" fmla="*/ 221936 h 680138"/>
                    <a:gd name="connsiteX1502" fmla="*/ 326536 w 599011"/>
                    <a:gd name="connsiteY1502" fmla="*/ 222859 h 680138"/>
                    <a:gd name="connsiteX1503" fmla="*/ 327337 w 599011"/>
                    <a:gd name="connsiteY1503" fmla="*/ 223552 h 680138"/>
                    <a:gd name="connsiteX1504" fmla="*/ 328187 w 599011"/>
                    <a:gd name="connsiteY1504" fmla="*/ 224292 h 680138"/>
                    <a:gd name="connsiteX1505" fmla="*/ 326876 w 599011"/>
                    <a:gd name="connsiteY1505" fmla="*/ 224948 h 680138"/>
                    <a:gd name="connsiteX1506" fmla="*/ 326402 w 599011"/>
                    <a:gd name="connsiteY1506" fmla="*/ 225179 h 680138"/>
                    <a:gd name="connsiteX1507" fmla="*/ 325977 w 599011"/>
                    <a:gd name="connsiteY1507" fmla="*/ 225494 h 680138"/>
                    <a:gd name="connsiteX1508" fmla="*/ 322091 w 599011"/>
                    <a:gd name="connsiteY1508" fmla="*/ 228348 h 680138"/>
                    <a:gd name="connsiteX1509" fmla="*/ 320513 w 599011"/>
                    <a:gd name="connsiteY1509" fmla="*/ 229198 h 680138"/>
                    <a:gd name="connsiteX1510" fmla="*/ 317234 w 599011"/>
                    <a:gd name="connsiteY1510" fmla="*/ 229987 h 680138"/>
                    <a:gd name="connsiteX1511" fmla="*/ 316736 w 599011"/>
                    <a:gd name="connsiteY1511" fmla="*/ 230109 h 680138"/>
                    <a:gd name="connsiteX1512" fmla="*/ 316263 w 599011"/>
                    <a:gd name="connsiteY1512" fmla="*/ 230315 h 680138"/>
                    <a:gd name="connsiteX1513" fmla="*/ 308443 w 599011"/>
                    <a:gd name="connsiteY1513" fmla="*/ 233667 h 680138"/>
                    <a:gd name="connsiteX1514" fmla="*/ 307010 w 599011"/>
                    <a:gd name="connsiteY1514" fmla="*/ 234286 h 680138"/>
                    <a:gd name="connsiteX1515" fmla="*/ 306051 w 599011"/>
                    <a:gd name="connsiteY1515" fmla="*/ 235512 h 680138"/>
                    <a:gd name="connsiteX1516" fmla="*/ 300428 w 599011"/>
                    <a:gd name="connsiteY1516" fmla="*/ 242725 h 680138"/>
                    <a:gd name="connsiteX1517" fmla="*/ 300343 w 599011"/>
                    <a:gd name="connsiteY1517" fmla="*/ 242798 h 680138"/>
                    <a:gd name="connsiteX1518" fmla="*/ 296203 w 599011"/>
                    <a:gd name="connsiteY1518" fmla="*/ 242531 h 680138"/>
                    <a:gd name="connsiteX1519" fmla="*/ 295001 w 599011"/>
                    <a:gd name="connsiteY1519" fmla="*/ 242458 h 680138"/>
                    <a:gd name="connsiteX1520" fmla="*/ 293859 w 599011"/>
                    <a:gd name="connsiteY1520" fmla="*/ 242847 h 680138"/>
                    <a:gd name="connsiteX1521" fmla="*/ 291503 w 599011"/>
                    <a:gd name="connsiteY1521" fmla="*/ 243636 h 680138"/>
                    <a:gd name="connsiteX1522" fmla="*/ 291103 w 599011"/>
                    <a:gd name="connsiteY1522" fmla="*/ 243782 h 680138"/>
                    <a:gd name="connsiteX1523" fmla="*/ 290714 w 599011"/>
                    <a:gd name="connsiteY1523" fmla="*/ 243976 h 680138"/>
                    <a:gd name="connsiteX1524" fmla="*/ 287181 w 599011"/>
                    <a:gd name="connsiteY1524" fmla="*/ 245761 h 680138"/>
                    <a:gd name="connsiteX1525" fmla="*/ 285918 w 599011"/>
                    <a:gd name="connsiteY1525" fmla="*/ 246198 h 680138"/>
                    <a:gd name="connsiteX1526" fmla="*/ 284691 w 599011"/>
                    <a:gd name="connsiteY1526" fmla="*/ 246210 h 680138"/>
                    <a:gd name="connsiteX1527" fmla="*/ 279676 w 599011"/>
                    <a:gd name="connsiteY1527" fmla="*/ 244559 h 680138"/>
                    <a:gd name="connsiteX1528" fmla="*/ 278923 w 599011"/>
                    <a:gd name="connsiteY1528" fmla="*/ 244304 h 680138"/>
                    <a:gd name="connsiteX1529" fmla="*/ 278134 w 599011"/>
                    <a:gd name="connsiteY1529" fmla="*/ 244255 h 680138"/>
                    <a:gd name="connsiteX1530" fmla="*/ 276628 w 599011"/>
                    <a:gd name="connsiteY1530" fmla="*/ 244170 h 680138"/>
                    <a:gd name="connsiteX1531" fmla="*/ 276616 w 599011"/>
                    <a:gd name="connsiteY1531" fmla="*/ 244158 h 680138"/>
                    <a:gd name="connsiteX1532" fmla="*/ 274090 w 599011"/>
                    <a:gd name="connsiteY1532" fmla="*/ 238087 h 680138"/>
                    <a:gd name="connsiteX1533" fmla="*/ 273848 w 599011"/>
                    <a:gd name="connsiteY1533" fmla="*/ 237492 h 680138"/>
                    <a:gd name="connsiteX1534" fmla="*/ 273483 w 599011"/>
                    <a:gd name="connsiteY1534" fmla="*/ 236970 h 680138"/>
                    <a:gd name="connsiteX1535" fmla="*/ 272269 w 599011"/>
                    <a:gd name="connsiteY1535" fmla="*/ 235209 h 680138"/>
                    <a:gd name="connsiteX1536" fmla="*/ 271759 w 599011"/>
                    <a:gd name="connsiteY1536" fmla="*/ 234468 h 680138"/>
                    <a:gd name="connsiteX1537" fmla="*/ 271055 w 599011"/>
                    <a:gd name="connsiteY1537" fmla="*/ 233909 h 680138"/>
                    <a:gd name="connsiteX1538" fmla="*/ 266926 w 599011"/>
                    <a:gd name="connsiteY1538" fmla="*/ 230619 h 680138"/>
                    <a:gd name="connsiteX1539" fmla="*/ 266343 w 599011"/>
                    <a:gd name="connsiteY1539" fmla="*/ 230145 h 680138"/>
                    <a:gd name="connsiteX1540" fmla="*/ 265651 w 599011"/>
                    <a:gd name="connsiteY1540" fmla="*/ 229842 h 680138"/>
                    <a:gd name="connsiteX1541" fmla="*/ 263987 w 599011"/>
                    <a:gd name="connsiteY1541" fmla="*/ 229089 h 680138"/>
                    <a:gd name="connsiteX1542" fmla="*/ 263587 w 599011"/>
                    <a:gd name="connsiteY1542" fmla="*/ 228907 h 680138"/>
                    <a:gd name="connsiteX1543" fmla="*/ 263162 w 599011"/>
                    <a:gd name="connsiteY1543" fmla="*/ 228785 h 680138"/>
                    <a:gd name="connsiteX1544" fmla="*/ 260393 w 599011"/>
                    <a:gd name="connsiteY1544" fmla="*/ 227984 h 680138"/>
                    <a:gd name="connsiteX1545" fmla="*/ 258098 w 599011"/>
                    <a:gd name="connsiteY1545" fmla="*/ 227534 h 680138"/>
                    <a:gd name="connsiteX1546" fmla="*/ 257770 w 599011"/>
                    <a:gd name="connsiteY1546" fmla="*/ 227474 h 680138"/>
                    <a:gd name="connsiteX1547" fmla="*/ 257442 w 599011"/>
                    <a:gd name="connsiteY1547" fmla="*/ 227449 h 680138"/>
                    <a:gd name="connsiteX1548" fmla="*/ 255378 w 599011"/>
                    <a:gd name="connsiteY1548" fmla="*/ 227304 h 680138"/>
                    <a:gd name="connsiteX1549" fmla="*/ 254297 w 599011"/>
                    <a:gd name="connsiteY1549" fmla="*/ 227231 h 680138"/>
                    <a:gd name="connsiteX1550" fmla="*/ 253253 w 599011"/>
                    <a:gd name="connsiteY1550" fmla="*/ 227534 h 680138"/>
                    <a:gd name="connsiteX1551" fmla="*/ 248202 w 599011"/>
                    <a:gd name="connsiteY1551" fmla="*/ 229004 h 680138"/>
                    <a:gd name="connsiteX1552" fmla="*/ 247752 w 599011"/>
                    <a:gd name="connsiteY1552" fmla="*/ 229137 h 680138"/>
                    <a:gd name="connsiteX1553" fmla="*/ 247327 w 599011"/>
                    <a:gd name="connsiteY1553" fmla="*/ 229332 h 680138"/>
                    <a:gd name="connsiteX1554" fmla="*/ 241414 w 599011"/>
                    <a:gd name="connsiteY1554" fmla="*/ 232088 h 680138"/>
                    <a:gd name="connsiteX1555" fmla="*/ 240260 w 599011"/>
                    <a:gd name="connsiteY1555" fmla="*/ 232622 h 680138"/>
                    <a:gd name="connsiteX1556" fmla="*/ 239422 w 599011"/>
                    <a:gd name="connsiteY1556" fmla="*/ 233569 h 680138"/>
                    <a:gd name="connsiteX1557" fmla="*/ 238038 w 599011"/>
                    <a:gd name="connsiteY1557" fmla="*/ 235136 h 680138"/>
                    <a:gd name="connsiteX1558" fmla="*/ 237176 w 599011"/>
                    <a:gd name="connsiteY1558" fmla="*/ 236119 h 680138"/>
                    <a:gd name="connsiteX1559" fmla="*/ 236787 w 599011"/>
                    <a:gd name="connsiteY1559" fmla="*/ 237382 h 680138"/>
                    <a:gd name="connsiteX1560" fmla="*/ 236265 w 599011"/>
                    <a:gd name="connsiteY1560" fmla="*/ 239082 h 680138"/>
                    <a:gd name="connsiteX1561" fmla="*/ 236168 w 599011"/>
                    <a:gd name="connsiteY1561" fmla="*/ 239410 h 680138"/>
                    <a:gd name="connsiteX1562" fmla="*/ 233072 w 599011"/>
                    <a:gd name="connsiteY1562" fmla="*/ 238803 h 680138"/>
                    <a:gd name="connsiteX1563" fmla="*/ 232149 w 599011"/>
                    <a:gd name="connsiteY1563" fmla="*/ 238621 h 680138"/>
                    <a:gd name="connsiteX1564" fmla="*/ 231214 w 599011"/>
                    <a:gd name="connsiteY1564" fmla="*/ 238730 h 680138"/>
                    <a:gd name="connsiteX1565" fmla="*/ 227194 w 599011"/>
                    <a:gd name="connsiteY1565" fmla="*/ 239192 h 680138"/>
                    <a:gd name="connsiteX1566" fmla="*/ 226490 w 599011"/>
                    <a:gd name="connsiteY1566" fmla="*/ 239264 h 680138"/>
                    <a:gd name="connsiteX1567" fmla="*/ 225822 w 599011"/>
                    <a:gd name="connsiteY1567" fmla="*/ 239507 h 680138"/>
                    <a:gd name="connsiteX1568" fmla="*/ 223029 w 599011"/>
                    <a:gd name="connsiteY1568" fmla="*/ 240515 h 680138"/>
                    <a:gd name="connsiteX1569" fmla="*/ 221014 w 599011"/>
                    <a:gd name="connsiteY1569" fmla="*/ 240794 h 680138"/>
                    <a:gd name="connsiteX1570" fmla="*/ 217614 w 599011"/>
                    <a:gd name="connsiteY1570" fmla="*/ 240187 h 680138"/>
                    <a:gd name="connsiteX1571" fmla="*/ 213461 w 599011"/>
                    <a:gd name="connsiteY1571" fmla="*/ 237674 h 680138"/>
                    <a:gd name="connsiteX1572" fmla="*/ 212987 w 599011"/>
                    <a:gd name="connsiteY1572" fmla="*/ 237382 h 680138"/>
                    <a:gd name="connsiteX1573" fmla="*/ 212465 w 599011"/>
                    <a:gd name="connsiteY1573" fmla="*/ 237188 h 680138"/>
                    <a:gd name="connsiteX1574" fmla="*/ 210862 w 599011"/>
                    <a:gd name="connsiteY1574" fmla="*/ 236581 h 680138"/>
                    <a:gd name="connsiteX1575" fmla="*/ 209454 w 599011"/>
                    <a:gd name="connsiteY1575" fmla="*/ 236047 h 680138"/>
                    <a:gd name="connsiteX1576" fmla="*/ 207948 w 599011"/>
                    <a:gd name="connsiteY1576" fmla="*/ 236241 h 680138"/>
                    <a:gd name="connsiteX1577" fmla="*/ 206806 w 599011"/>
                    <a:gd name="connsiteY1577" fmla="*/ 236387 h 680138"/>
                    <a:gd name="connsiteX1578" fmla="*/ 204827 w 599011"/>
                    <a:gd name="connsiteY1578" fmla="*/ 236229 h 680138"/>
                    <a:gd name="connsiteX1579" fmla="*/ 199521 w 599011"/>
                    <a:gd name="connsiteY1579" fmla="*/ 234007 h 680138"/>
                    <a:gd name="connsiteX1580" fmla="*/ 196618 w 599011"/>
                    <a:gd name="connsiteY1580" fmla="*/ 232610 h 680138"/>
                    <a:gd name="connsiteX1581" fmla="*/ 195853 w 599011"/>
                    <a:gd name="connsiteY1581" fmla="*/ 232246 h 680138"/>
                    <a:gd name="connsiteX1582" fmla="*/ 195016 w 599011"/>
                    <a:gd name="connsiteY1582" fmla="*/ 232100 h 680138"/>
                    <a:gd name="connsiteX1583" fmla="*/ 193364 w 599011"/>
                    <a:gd name="connsiteY1583" fmla="*/ 231821 h 680138"/>
                    <a:gd name="connsiteX1584" fmla="*/ 191446 w 599011"/>
                    <a:gd name="connsiteY1584" fmla="*/ 231505 h 680138"/>
                    <a:gd name="connsiteX1585" fmla="*/ 189697 w 599011"/>
                    <a:gd name="connsiteY1585" fmla="*/ 232355 h 680138"/>
                    <a:gd name="connsiteX1586" fmla="*/ 188434 w 599011"/>
                    <a:gd name="connsiteY1586" fmla="*/ 232974 h 680138"/>
                    <a:gd name="connsiteX1587" fmla="*/ 186892 w 599011"/>
                    <a:gd name="connsiteY1587" fmla="*/ 233727 h 680138"/>
                    <a:gd name="connsiteX1588" fmla="*/ 185969 w 599011"/>
                    <a:gd name="connsiteY1588" fmla="*/ 235172 h 680138"/>
                    <a:gd name="connsiteX1589" fmla="*/ 183528 w 599011"/>
                    <a:gd name="connsiteY1589" fmla="*/ 239010 h 680138"/>
                    <a:gd name="connsiteX1590" fmla="*/ 179546 w 599011"/>
                    <a:gd name="connsiteY1590" fmla="*/ 243721 h 680138"/>
                    <a:gd name="connsiteX1591" fmla="*/ 179181 w 599011"/>
                    <a:gd name="connsiteY1591" fmla="*/ 244158 h 680138"/>
                    <a:gd name="connsiteX1592" fmla="*/ 178902 w 599011"/>
                    <a:gd name="connsiteY1592" fmla="*/ 244644 h 680138"/>
                    <a:gd name="connsiteX1593" fmla="*/ 174591 w 599011"/>
                    <a:gd name="connsiteY1593" fmla="*/ 252270 h 680138"/>
                    <a:gd name="connsiteX1594" fmla="*/ 173778 w 599011"/>
                    <a:gd name="connsiteY1594" fmla="*/ 253314 h 680138"/>
                    <a:gd name="connsiteX1595" fmla="*/ 169989 w 599011"/>
                    <a:gd name="connsiteY1595" fmla="*/ 256435 h 680138"/>
                    <a:gd name="connsiteX1596" fmla="*/ 169673 w 599011"/>
                    <a:gd name="connsiteY1596" fmla="*/ 256702 h 680138"/>
                    <a:gd name="connsiteX1597" fmla="*/ 169394 w 599011"/>
                    <a:gd name="connsiteY1597" fmla="*/ 257005 h 680138"/>
                    <a:gd name="connsiteX1598" fmla="*/ 167779 w 599011"/>
                    <a:gd name="connsiteY1598" fmla="*/ 258754 h 680138"/>
                    <a:gd name="connsiteX1599" fmla="*/ 166431 w 599011"/>
                    <a:gd name="connsiteY1599" fmla="*/ 260223 h 680138"/>
                    <a:gd name="connsiteX1600" fmla="*/ 166249 w 599011"/>
                    <a:gd name="connsiteY1600" fmla="*/ 261814 h 680138"/>
                    <a:gd name="connsiteX1601" fmla="*/ 165873 w 599011"/>
                    <a:gd name="connsiteY1601" fmla="*/ 261814 h 680138"/>
                    <a:gd name="connsiteX1602" fmla="*/ 164343 w 599011"/>
                    <a:gd name="connsiteY1602" fmla="*/ 262883 h 680138"/>
                    <a:gd name="connsiteX1603" fmla="*/ 162448 w 599011"/>
                    <a:gd name="connsiteY1603" fmla="*/ 264206 h 680138"/>
                    <a:gd name="connsiteX1604" fmla="*/ 161404 w 599011"/>
                    <a:gd name="connsiteY1604" fmla="*/ 264935 h 680138"/>
                    <a:gd name="connsiteX1605" fmla="*/ 160736 w 599011"/>
                    <a:gd name="connsiteY1605" fmla="*/ 266027 h 680138"/>
                    <a:gd name="connsiteX1606" fmla="*/ 157980 w 599011"/>
                    <a:gd name="connsiteY1606" fmla="*/ 270569 h 680138"/>
                    <a:gd name="connsiteX1607" fmla="*/ 157785 w 599011"/>
                    <a:gd name="connsiteY1607" fmla="*/ 270873 h 680138"/>
                    <a:gd name="connsiteX1608" fmla="*/ 157628 w 599011"/>
                    <a:gd name="connsiteY1608" fmla="*/ 271200 h 680138"/>
                    <a:gd name="connsiteX1609" fmla="*/ 156474 w 599011"/>
                    <a:gd name="connsiteY1609" fmla="*/ 273750 h 680138"/>
                    <a:gd name="connsiteX1610" fmla="*/ 156037 w 599011"/>
                    <a:gd name="connsiteY1610" fmla="*/ 274734 h 680138"/>
                    <a:gd name="connsiteX1611" fmla="*/ 155952 w 599011"/>
                    <a:gd name="connsiteY1611" fmla="*/ 275803 h 680138"/>
                    <a:gd name="connsiteX1612" fmla="*/ 155794 w 599011"/>
                    <a:gd name="connsiteY1612" fmla="*/ 277843 h 680138"/>
                    <a:gd name="connsiteX1613" fmla="*/ 155648 w 599011"/>
                    <a:gd name="connsiteY1613" fmla="*/ 279713 h 680138"/>
                    <a:gd name="connsiteX1614" fmla="*/ 156377 w 599011"/>
                    <a:gd name="connsiteY1614" fmla="*/ 280975 h 680138"/>
                    <a:gd name="connsiteX1615" fmla="*/ 155842 w 599011"/>
                    <a:gd name="connsiteY1615" fmla="*/ 281085 h 680138"/>
                    <a:gd name="connsiteX1616" fmla="*/ 155709 w 599011"/>
                    <a:gd name="connsiteY1616" fmla="*/ 280672 h 680138"/>
                    <a:gd name="connsiteX1617" fmla="*/ 155588 w 599011"/>
                    <a:gd name="connsiteY1617" fmla="*/ 280308 h 680138"/>
                    <a:gd name="connsiteX1618" fmla="*/ 155418 w 599011"/>
                    <a:gd name="connsiteY1618" fmla="*/ 279955 h 680138"/>
                    <a:gd name="connsiteX1619" fmla="*/ 154652 w 599011"/>
                    <a:gd name="connsiteY1619" fmla="*/ 278353 h 680138"/>
                    <a:gd name="connsiteX1620" fmla="*/ 154592 w 599011"/>
                    <a:gd name="connsiteY1620" fmla="*/ 277891 h 680138"/>
                    <a:gd name="connsiteX1621" fmla="*/ 154555 w 599011"/>
                    <a:gd name="connsiteY1621" fmla="*/ 277551 h 680138"/>
                    <a:gd name="connsiteX1622" fmla="*/ 154482 w 599011"/>
                    <a:gd name="connsiteY1622" fmla="*/ 277223 h 680138"/>
                    <a:gd name="connsiteX1623" fmla="*/ 154252 w 599011"/>
                    <a:gd name="connsiteY1623" fmla="*/ 276252 h 680138"/>
                    <a:gd name="connsiteX1624" fmla="*/ 154045 w 599011"/>
                    <a:gd name="connsiteY1624" fmla="*/ 275390 h 680138"/>
                    <a:gd name="connsiteX1625" fmla="*/ 153608 w 599011"/>
                    <a:gd name="connsiteY1625" fmla="*/ 274625 h 680138"/>
                    <a:gd name="connsiteX1626" fmla="*/ 152807 w 599011"/>
                    <a:gd name="connsiteY1626" fmla="*/ 273240 h 680138"/>
                    <a:gd name="connsiteX1627" fmla="*/ 152503 w 599011"/>
                    <a:gd name="connsiteY1627" fmla="*/ 272718 h 680138"/>
                    <a:gd name="connsiteX1628" fmla="*/ 152102 w 599011"/>
                    <a:gd name="connsiteY1628" fmla="*/ 272269 h 680138"/>
                    <a:gd name="connsiteX1629" fmla="*/ 150840 w 599011"/>
                    <a:gd name="connsiteY1629" fmla="*/ 270836 h 680138"/>
                    <a:gd name="connsiteX1630" fmla="*/ 150597 w 599011"/>
                    <a:gd name="connsiteY1630" fmla="*/ 270557 h 680138"/>
                    <a:gd name="connsiteX1631" fmla="*/ 150330 w 599011"/>
                    <a:gd name="connsiteY1631" fmla="*/ 270314 h 680138"/>
                    <a:gd name="connsiteX1632" fmla="*/ 149856 w 599011"/>
                    <a:gd name="connsiteY1632" fmla="*/ 269889 h 680138"/>
                    <a:gd name="connsiteX1633" fmla="*/ 149941 w 599011"/>
                    <a:gd name="connsiteY1633" fmla="*/ 269185 h 680138"/>
                    <a:gd name="connsiteX1634" fmla="*/ 149941 w 599011"/>
                    <a:gd name="connsiteY1634" fmla="*/ 268468 h 680138"/>
                    <a:gd name="connsiteX1635" fmla="*/ 149941 w 599011"/>
                    <a:gd name="connsiteY1635" fmla="*/ 267412 h 680138"/>
                    <a:gd name="connsiteX1636" fmla="*/ 149589 w 599011"/>
                    <a:gd name="connsiteY1636" fmla="*/ 266416 h 680138"/>
                    <a:gd name="connsiteX1637" fmla="*/ 149310 w 599011"/>
                    <a:gd name="connsiteY1637" fmla="*/ 265639 h 680138"/>
                    <a:gd name="connsiteX1638" fmla="*/ 148897 w 599011"/>
                    <a:gd name="connsiteY1638" fmla="*/ 264498 h 680138"/>
                    <a:gd name="connsiteX1639" fmla="*/ 149516 w 599011"/>
                    <a:gd name="connsiteY1639" fmla="*/ 264060 h 680138"/>
                    <a:gd name="connsiteX1640" fmla="*/ 150633 w 599011"/>
                    <a:gd name="connsiteY1640" fmla="*/ 263283 h 680138"/>
                    <a:gd name="connsiteX1641" fmla="*/ 151313 w 599011"/>
                    <a:gd name="connsiteY1641" fmla="*/ 262093 h 680138"/>
                    <a:gd name="connsiteX1642" fmla="*/ 151957 w 599011"/>
                    <a:gd name="connsiteY1642" fmla="*/ 260976 h 680138"/>
                    <a:gd name="connsiteX1643" fmla="*/ 152370 w 599011"/>
                    <a:gd name="connsiteY1643" fmla="*/ 259203 h 680138"/>
                    <a:gd name="connsiteX1644" fmla="*/ 152430 w 599011"/>
                    <a:gd name="connsiteY1644" fmla="*/ 258547 h 680138"/>
                    <a:gd name="connsiteX1645" fmla="*/ 152467 w 599011"/>
                    <a:gd name="connsiteY1645" fmla="*/ 258110 h 680138"/>
                    <a:gd name="connsiteX1646" fmla="*/ 152455 w 599011"/>
                    <a:gd name="connsiteY1646" fmla="*/ 257673 h 680138"/>
                    <a:gd name="connsiteX1647" fmla="*/ 152406 w 599011"/>
                    <a:gd name="connsiteY1647" fmla="*/ 256580 h 680138"/>
                    <a:gd name="connsiteX1648" fmla="*/ 152746 w 599011"/>
                    <a:gd name="connsiteY1648" fmla="*/ 256483 h 680138"/>
                    <a:gd name="connsiteX1649" fmla="*/ 153438 w 599011"/>
                    <a:gd name="connsiteY1649" fmla="*/ 256289 h 680138"/>
                    <a:gd name="connsiteX1650" fmla="*/ 154349 w 599011"/>
                    <a:gd name="connsiteY1650" fmla="*/ 256034 h 680138"/>
                    <a:gd name="connsiteX1651" fmla="*/ 155138 w 599011"/>
                    <a:gd name="connsiteY1651" fmla="*/ 255512 h 680138"/>
                    <a:gd name="connsiteX1652" fmla="*/ 157858 w 599011"/>
                    <a:gd name="connsiteY1652" fmla="*/ 253715 h 680138"/>
                    <a:gd name="connsiteX1653" fmla="*/ 158259 w 599011"/>
                    <a:gd name="connsiteY1653" fmla="*/ 250181 h 680138"/>
                    <a:gd name="connsiteX1654" fmla="*/ 158259 w 599011"/>
                    <a:gd name="connsiteY1654" fmla="*/ 249550 h 680138"/>
                    <a:gd name="connsiteX1655" fmla="*/ 158259 w 599011"/>
                    <a:gd name="connsiteY1655" fmla="*/ 248445 h 680138"/>
                    <a:gd name="connsiteX1656" fmla="*/ 157870 w 599011"/>
                    <a:gd name="connsiteY1656" fmla="*/ 247412 h 680138"/>
                    <a:gd name="connsiteX1657" fmla="*/ 157470 w 599011"/>
                    <a:gd name="connsiteY1657" fmla="*/ 246344 h 680138"/>
                    <a:gd name="connsiteX1658" fmla="*/ 157324 w 599011"/>
                    <a:gd name="connsiteY1658" fmla="*/ 245955 h 680138"/>
                    <a:gd name="connsiteX1659" fmla="*/ 157130 w 599011"/>
                    <a:gd name="connsiteY1659" fmla="*/ 245603 h 680138"/>
                    <a:gd name="connsiteX1660" fmla="*/ 156158 w 599011"/>
                    <a:gd name="connsiteY1660" fmla="*/ 243806 h 680138"/>
                    <a:gd name="connsiteX1661" fmla="*/ 155915 w 599011"/>
                    <a:gd name="connsiteY1661" fmla="*/ 243357 h 680138"/>
                    <a:gd name="connsiteX1662" fmla="*/ 155600 w 599011"/>
                    <a:gd name="connsiteY1662" fmla="*/ 242956 h 680138"/>
                    <a:gd name="connsiteX1663" fmla="*/ 152345 w 599011"/>
                    <a:gd name="connsiteY1663" fmla="*/ 238791 h 680138"/>
                    <a:gd name="connsiteX1664" fmla="*/ 150864 w 599011"/>
                    <a:gd name="connsiteY1664" fmla="*/ 236411 h 680138"/>
                    <a:gd name="connsiteX1665" fmla="*/ 150755 w 599011"/>
                    <a:gd name="connsiteY1665" fmla="*/ 236180 h 680138"/>
                    <a:gd name="connsiteX1666" fmla="*/ 150609 w 599011"/>
                    <a:gd name="connsiteY1666" fmla="*/ 235634 h 680138"/>
                    <a:gd name="connsiteX1667" fmla="*/ 150366 w 599011"/>
                    <a:gd name="connsiteY1667" fmla="*/ 233351 h 680138"/>
                    <a:gd name="connsiteX1668" fmla="*/ 150220 w 599011"/>
                    <a:gd name="connsiteY1668" fmla="*/ 231991 h 680138"/>
                    <a:gd name="connsiteX1669" fmla="*/ 149492 w 599011"/>
                    <a:gd name="connsiteY1669" fmla="*/ 230825 h 680138"/>
                    <a:gd name="connsiteX1670" fmla="*/ 148860 w 599011"/>
                    <a:gd name="connsiteY1670" fmla="*/ 229793 h 680138"/>
                    <a:gd name="connsiteX1671" fmla="*/ 147852 w 599011"/>
                    <a:gd name="connsiteY1671" fmla="*/ 228142 h 680138"/>
                    <a:gd name="connsiteX1672" fmla="*/ 146080 w 599011"/>
                    <a:gd name="connsiteY1672" fmla="*/ 227389 h 680138"/>
                    <a:gd name="connsiteX1673" fmla="*/ 145108 w 599011"/>
                    <a:gd name="connsiteY1673" fmla="*/ 226976 h 680138"/>
                    <a:gd name="connsiteX1674" fmla="*/ 143335 w 599011"/>
                    <a:gd name="connsiteY1674" fmla="*/ 226223 h 680138"/>
                    <a:gd name="connsiteX1675" fmla="*/ 141453 w 599011"/>
                    <a:gd name="connsiteY1675" fmla="*/ 226624 h 680138"/>
                    <a:gd name="connsiteX1676" fmla="*/ 139960 w 599011"/>
                    <a:gd name="connsiteY1676" fmla="*/ 226939 h 680138"/>
                    <a:gd name="connsiteX1677" fmla="*/ 139389 w 599011"/>
                    <a:gd name="connsiteY1677" fmla="*/ 227061 h 680138"/>
                    <a:gd name="connsiteX1678" fmla="*/ 138854 w 599011"/>
                    <a:gd name="connsiteY1678" fmla="*/ 227292 h 680138"/>
                    <a:gd name="connsiteX1679" fmla="*/ 136098 w 599011"/>
                    <a:gd name="connsiteY1679" fmla="*/ 228469 h 680138"/>
                    <a:gd name="connsiteX1680" fmla="*/ 135588 w 599011"/>
                    <a:gd name="connsiteY1680" fmla="*/ 228688 h 680138"/>
                    <a:gd name="connsiteX1681" fmla="*/ 135127 w 599011"/>
                    <a:gd name="connsiteY1681" fmla="*/ 228992 h 680138"/>
                    <a:gd name="connsiteX1682" fmla="*/ 134143 w 599011"/>
                    <a:gd name="connsiteY1682" fmla="*/ 229635 h 680138"/>
                    <a:gd name="connsiteX1683" fmla="*/ 133305 w 599011"/>
                    <a:gd name="connsiteY1683" fmla="*/ 230182 h 680138"/>
                    <a:gd name="connsiteX1684" fmla="*/ 132686 w 599011"/>
                    <a:gd name="connsiteY1684" fmla="*/ 230971 h 680138"/>
                    <a:gd name="connsiteX1685" fmla="*/ 132540 w 599011"/>
                    <a:gd name="connsiteY1685" fmla="*/ 231165 h 680138"/>
                    <a:gd name="connsiteX1686" fmla="*/ 132322 w 599011"/>
                    <a:gd name="connsiteY1686" fmla="*/ 231056 h 680138"/>
                    <a:gd name="connsiteX1687" fmla="*/ 132455 w 599011"/>
                    <a:gd name="connsiteY1687" fmla="*/ 230279 h 680138"/>
                    <a:gd name="connsiteX1688" fmla="*/ 132601 w 599011"/>
                    <a:gd name="connsiteY1688" fmla="*/ 229429 h 680138"/>
                    <a:gd name="connsiteX1689" fmla="*/ 132504 w 599011"/>
                    <a:gd name="connsiteY1689" fmla="*/ 228579 h 680138"/>
                    <a:gd name="connsiteX1690" fmla="*/ 132382 w 599011"/>
                    <a:gd name="connsiteY1690" fmla="*/ 227571 h 680138"/>
                    <a:gd name="connsiteX1691" fmla="*/ 132297 w 599011"/>
                    <a:gd name="connsiteY1691" fmla="*/ 226867 h 680138"/>
                    <a:gd name="connsiteX1692" fmla="*/ 132054 w 599011"/>
                    <a:gd name="connsiteY1692" fmla="*/ 226199 h 680138"/>
                    <a:gd name="connsiteX1693" fmla="*/ 132018 w 599011"/>
                    <a:gd name="connsiteY1693" fmla="*/ 226102 h 680138"/>
                    <a:gd name="connsiteX1694" fmla="*/ 132212 w 599011"/>
                    <a:gd name="connsiteY1694" fmla="*/ 225604 h 680138"/>
                    <a:gd name="connsiteX1695" fmla="*/ 132674 w 599011"/>
                    <a:gd name="connsiteY1695" fmla="*/ 224450 h 680138"/>
                    <a:gd name="connsiteX1696" fmla="*/ 132856 w 599011"/>
                    <a:gd name="connsiteY1696" fmla="*/ 223976 h 680138"/>
                    <a:gd name="connsiteX1697" fmla="*/ 132965 w 599011"/>
                    <a:gd name="connsiteY1697" fmla="*/ 223479 h 680138"/>
                    <a:gd name="connsiteX1698" fmla="*/ 133305 w 599011"/>
                    <a:gd name="connsiteY1698" fmla="*/ 221900 h 680138"/>
                    <a:gd name="connsiteX1699" fmla="*/ 133402 w 599011"/>
                    <a:gd name="connsiteY1699" fmla="*/ 221451 h 680138"/>
                    <a:gd name="connsiteX1700" fmla="*/ 133427 w 599011"/>
                    <a:gd name="connsiteY1700" fmla="*/ 220989 h 680138"/>
                    <a:gd name="connsiteX1701" fmla="*/ 133548 w 599011"/>
                    <a:gd name="connsiteY1701" fmla="*/ 219119 h 680138"/>
                    <a:gd name="connsiteX1702" fmla="*/ 133560 w 599011"/>
                    <a:gd name="connsiteY1702" fmla="*/ 217019 h 680138"/>
                    <a:gd name="connsiteX1703" fmla="*/ 133560 w 599011"/>
                    <a:gd name="connsiteY1703" fmla="*/ 216666 h 680138"/>
                    <a:gd name="connsiteX1704" fmla="*/ 133524 w 599011"/>
                    <a:gd name="connsiteY1704" fmla="*/ 216314 h 680138"/>
                    <a:gd name="connsiteX1705" fmla="*/ 133342 w 599011"/>
                    <a:gd name="connsiteY1705" fmla="*/ 214724 h 680138"/>
                    <a:gd name="connsiteX1706" fmla="*/ 133196 w 599011"/>
                    <a:gd name="connsiteY1706" fmla="*/ 213449 h 680138"/>
                    <a:gd name="connsiteX1707" fmla="*/ 132540 w 599011"/>
                    <a:gd name="connsiteY1707" fmla="*/ 212344 h 680138"/>
                    <a:gd name="connsiteX1708" fmla="*/ 131848 w 599011"/>
                    <a:gd name="connsiteY1708" fmla="*/ 211178 h 680138"/>
                    <a:gd name="connsiteX1709" fmla="*/ 131120 w 599011"/>
                    <a:gd name="connsiteY1709" fmla="*/ 209951 h 680138"/>
                    <a:gd name="connsiteX1710" fmla="*/ 129917 w 599011"/>
                    <a:gd name="connsiteY1710" fmla="*/ 209174 h 680138"/>
                    <a:gd name="connsiteX1711" fmla="*/ 128667 w 599011"/>
                    <a:gd name="connsiteY1711" fmla="*/ 208361 h 680138"/>
                    <a:gd name="connsiteX1712" fmla="*/ 126019 w 599011"/>
                    <a:gd name="connsiteY1712" fmla="*/ 206649 h 680138"/>
                    <a:gd name="connsiteX1713" fmla="*/ 123093 w 599011"/>
                    <a:gd name="connsiteY1713" fmla="*/ 207826 h 680138"/>
                    <a:gd name="connsiteX1714" fmla="*/ 121308 w 599011"/>
                    <a:gd name="connsiteY1714" fmla="*/ 208543 h 680138"/>
                    <a:gd name="connsiteX1715" fmla="*/ 119875 w 599011"/>
                    <a:gd name="connsiteY1715" fmla="*/ 209114 h 680138"/>
                    <a:gd name="connsiteX1716" fmla="*/ 118892 w 599011"/>
                    <a:gd name="connsiteY1716" fmla="*/ 210304 h 680138"/>
                    <a:gd name="connsiteX1717" fmla="*/ 118151 w 599011"/>
                    <a:gd name="connsiteY1717" fmla="*/ 211202 h 680138"/>
                    <a:gd name="connsiteX1718" fmla="*/ 117349 w 599011"/>
                    <a:gd name="connsiteY1718" fmla="*/ 212174 h 680138"/>
                    <a:gd name="connsiteX1719" fmla="*/ 116997 w 599011"/>
                    <a:gd name="connsiteY1719" fmla="*/ 213388 h 680138"/>
                    <a:gd name="connsiteX1720" fmla="*/ 116596 w 599011"/>
                    <a:gd name="connsiteY1720" fmla="*/ 214784 h 680138"/>
                    <a:gd name="connsiteX1721" fmla="*/ 116354 w 599011"/>
                    <a:gd name="connsiteY1721" fmla="*/ 215610 h 680138"/>
                    <a:gd name="connsiteX1722" fmla="*/ 116354 w 599011"/>
                    <a:gd name="connsiteY1722" fmla="*/ 216290 h 680138"/>
                    <a:gd name="connsiteX1723" fmla="*/ 115261 w 599011"/>
                    <a:gd name="connsiteY1723" fmla="*/ 216484 h 680138"/>
                    <a:gd name="connsiteX1724" fmla="*/ 114848 w 599011"/>
                    <a:gd name="connsiteY1724" fmla="*/ 216557 h 680138"/>
                    <a:gd name="connsiteX1725" fmla="*/ 114447 w 599011"/>
                    <a:gd name="connsiteY1725" fmla="*/ 216691 h 680138"/>
                    <a:gd name="connsiteX1726" fmla="*/ 109554 w 599011"/>
                    <a:gd name="connsiteY1726" fmla="*/ 218282 h 680138"/>
                    <a:gd name="connsiteX1727" fmla="*/ 108169 w 599011"/>
                    <a:gd name="connsiteY1727" fmla="*/ 218561 h 680138"/>
                    <a:gd name="connsiteX1728" fmla="*/ 107866 w 599011"/>
                    <a:gd name="connsiteY1728" fmla="*/ 218282 h 680138"/>
                    <a:gd name="connsiteX1729" fmla="*/ 107125 w 599011"/>
                    <a:gd name="connsiteY1729" fmla="*/ 217456 h 680138"/>
                    <a:gd name="connsiteX1730" fmla="*/ 105789 w 599011"/>
                    <a:gd name="connsiteY1730" fmla="*/ 216205 h 680138"/>
                    <a:gd name="connsiteX1731" fmla="*/ 105352 w 599011"/>
                    <a:gd name="connsiteY1731" fmla="*/ 215804 h 680138"/>
                    <a:gd name="connsiteX1732" fmla="*/ 104842 w 599011"/>
                    <a:gd name="connsiteY1732" fmla="*/ 215501 h 680138"/>
                    <a:gd name="connsiteX1733" fmla="*/ 101211 w 599011"/>
                    <a:gd name="connsiteY1733" fmla="*/ 213291 h 680138"/>
                    <a:gd name="connsiteX1734" fmla="*/ 101199 w 599011"/>
                    <a:gd name="connsiteY1734" fmla="*/ 213254 h 680138"/>
                    <a:gd name="connsiteX1735" fmla="*/ 100799 w 599011"/>
                    <a:gd name="connsiteY1735" fmla="*/ 211251 h 680138"/>
                    <a:gd name="connsiteX1736" fmla="*/ 100714 w 599011"/>
                    <a:gd name="connsiteY1736" fmla="*/ 210801 h 680138"/>
                    <a:gd name="connsiteX1737" fmla="*/ 100556 w 599011"/>
                    <a:gd name="connsiteY1737" fmla="*/ 210376 h 680138"/>
                    <a:gd name="connsiteX1738" fmla="*/ 100276 w 599011"/>
                    <a:gd name="connsiteY1738" fmla="*/ 209599 h 680138"/>
                    <a:gd name="connsiteX1739" fmla="*/ 99997 w 599011"/>
                    <a:gd name="connsiteY1739" fmla="*/ 208810 h 680138"/>
                    <a:gd name="connsiteX1740" fmla="*/ 99511 w 599011"/>
                    <a:gd name="connsiteY1740" fmla="*/ 208118 h 680138"/>
                    <a:gd name="connsiteX1741" fmla="*/ 98819 w 599011"/>
                    <a:gd name="connsiteY1741" fmla="*/ 207146 h 680138"/>
                    <a:gd name="connsiteX1742" fmla="*/ 98406 w 599011"/>
                    <a:gd name="connsiteY1742" fmla="*/ 206564 h 680138"/>
                    <a:gd name="connsiteX1743" fmla="*/ 97872 w 599011"/>
                    <a:gd name="connsiteY1743" fmla="*/ 206090 h 680138"/>
                    <a:gd name="connsiteX1744" fmla="*/ 96209 w 599011"/>
                    <a:gd name="connsiteY1744" fmla="*/ 204645 h 680138"/>
                    <a:gd name="connsiteX1745" fmla="*/ 95808 w 599011"/>
                    <a:gd name="connsiteY1745" fmla="*/ 204293 h 680138"/>
                    <a:gd name="connsiteX1746" fmla="*/ 95346 w 599011"/>
                    <a:gd name="connsiteY1746" fmla="*/ 204026 h 680138"/>
                    <a:gd name="connsiteX1747" fmla="*/ 94363 w 599011"/>
                    <a:gd name="connsiteY1747" fmla="*/ 203431 h 680138"/>
                    <a:gd name="connsiteX1748" fmla="*/ 93901 w 599011"/>
                    <a:gd name="connsiteY1748" fmla="*/ 203151 h 680138"/>
                    <a:gd name="connsiteX1749" fmla="*/ 93391 w 599011"/>
                    <a:gd name="connsiteY1749" fmla="*/ 202957 h 680138"/>
                    <a:gd name="connsiteX1750" fmla="*/ 91509 w 599011"/>
                    <a:gd name="connsiteY1750" fmla="*/ 202241 h 680138"/>
                    <a:gd name="connsiteX1751" fmla="*/ 90963 w 599011"/>
                    <a:gd name="connsiteY1751" fmla="*/ 202022 h 680138"/>
                    <a:gd name="connsiteX1752" fmla="*/ 90380 w 599011"/>
                    <a:gd name="connsiteY1752" fmla="*/ 201925 h 680138"/>
                    <a:gd name="connsiteX1753" fmla="*/ 81115 w 599011"/>
                    <a:gd name="connsiteY1753" fmla="*/ 200346 h 680138"/>
                    <a:gd name="connsiteX1754" fmla="*/ 80799 w 599011"/>
                    <a:gd name="connsiteY1754" fmla="*/ 200261 h 680138"/>
                    <a:gd name="connsiteX1755" fmla="*/ 80131 w 599011"/>
                    <a:gd name="connsiteY1755" fmla="*/ 199205 h 680138"/>
                    <a:gd name="connsiteX1756" fmla="*/ 79913 w 599011"/>
                    <a:gd name="connsiteY1756" fmla="*/ 198853 h 680138"/>
                    <a:gd name="connsiteX1757" fmla="*/ 79646 w 599011"/>
                    <a:gd name="connsiteY1757" fmla="*/ 198537 h 680138"/>
                    <a:gd name="connsiteX1758" fmla="*/ 79026 w 599011"/>
                    <a:gd name="connsiteY1758" fmla="*/ 197796 h 680138"/>
                    <a:gd name="connsiteX1759" fmla="*/ 77678 w 599011"/>
                    <a:gd name="connsiteY1759" fmla="*/ 196194 h 680138"/>
                    <a:gd name="connsiteX1760" fmla="*/ 75626 w 599011"/>
                    <a:gd name="connsiteY1760" fmla="*/ 195768 h 680138"/>
                    <a:gd name="connsiteX1761" fmla="*/ 74230 w 599011"/>
                    <a:gd name="connsiteY1761" fmla="*/ 195477 h 680138"/>
                    <a:gd name="connsiteX1762" fmla="*/ 73234 w 599011"/>
                    <a:gd name="connsiteY1762" fmla="*/ 195271 h 680138"/>
                    <a:gd name="connsiteX1763" fmla="*/ 72226 w 599011"/>
                    <a:gd name="connsiteY1763" fmla="*/ 195392 h 680138"/>
                    <a:gd name="connsiteX1764" fmla="*/ 70405 w 599011"/>
                    <a:gd name="connsiteY1764" fmla="*/ 195623 h 680138"/>
                    <a:gd name="connsiteX1765" fmla="*/ 69907 w 599011"/>
                    <a:gd name="connsiteY1765" fmla="*/ 195684 h 680138"/>
                    <a:gd name="connsiteX1766" fmla="*/ 69433 w 599011"/>
                    <a:gd name="connsiteY1766" fmla="*/ 195829 h 680138"/>
                    <a:gd name="connsiteX1767" fmla="*/ 62609 w 599011"/>
                    <a:gd name="connsiteY1767" fmla="*/ 197857 h 680138"/>
                    <a:gd name="connsiteX1768" fmla="*/ 59403 w 599011"/>
                    <a:gd name="connsiteY1768" fmla="*/ 198221 h 680138"/>
                    <a:gd name="connsiteX1769" fmla="*/ 56246 w 599011"/>
                    <a:gd name="connsiteY1769" fmla="*/ 198161 h 680138"/>
                    <a:gd name="connsiteX1770" fmla="*/ 55590 w 599011"/>
                    <a:gd name="connsiteY1770" fmla="*/ 198148 h 680138"/>
                    <a:gd name="connsiteX1771" fmla="*/ 54947 w 599011"/>
                    <a:gd name="connsiteY1771" fmla="*/ 198282 h 680138"/>
                    <a:gd name="connsiteX1772" fmla="*/ 53672 w 599011"/>
                    <a:gd name="connsiteY1772" fmla="*/ 198537 h 680138"/>
                    <a:gd name="connsiteX1773" fmla="*/ 53101 w 599011"/>
                    <a:gd name="connsiteY1773" fmla="*/ 198622 h 680138"/>
                    <a:gd name="connsiteX1774" fmla="*/ 52579 w 599011"/>
                    <a:gd name="connsiteY1774" fmla="*/ 198828 h 680138"/>
                    <a:gd name="connsiteX1775" fmla="*/ 50976 w 599011"/>
                    <a:gd name="connsiteY1775" fmla="*/ 199472 h 680138"/>
                    <a:gd name="connsiteX1776" fmla="*/ 50393 w 599011"/>
                    <a:gd name="connsiteY1776" fmla="*/ 199715 h 680138"/>
                    <a:gd name="connsiteX1777" fmla="*/ 49883 w 599011"/>
                    <a:gd name="connsiteY1777" fmla="*/ 200055 h 680138"/>
                    <a:gd name="connsiteX1778" fmla="*/ 43751 w 599011"/>
                    <a:gd name="connsiteY1778" fmla="*/ 204147 h 680138"/>
                    <a:gd name="connsiteX1779" fmla="*/ 43350 w 599011"/>
                    <a:gd name="connsiteY1779" fmla="*/ 204414 h 680138"/>
                    <a:gd name="connsiteX1780" fmla="*/ 42998 w 599011"/>
                    <a:gd name="connsiteY1780" fmla="*/ 204742 h 680138"/>
                    <a:gd name="connsiteX1781" fmla="*/ 41905 w 599011"/>
                    <a:gd name="connsiteY1781" fmla="*/ 205750 h 680138"/>
                    <a:gd name="connsiteX1782" fmla="*/ 41553 w 599011"/>
                    <a:gd name="connsiteY1782" fmla="*/ 206078 h 680138"/>
                    <a:gd name="connsiteX1783" fmla="*/ 41250 w 599011"/>
                    <a:gd name="connsiteY1783" fmla="*/ 206454 h 680138"/>
                    <a:gd name="connsiteX1784" fmla="*/ 40327 w 599011"/>
                    <a:gd name="connsiteY1784" fmla="*/ 207632 h 680138"/>
                    <a:gd name="connsiteX1785" fmla="*/ 39987 w 599011"/>
                    <a:gd name="connsiteY1785" fmla="*/ 208069 h 680138"/>
                    <a:gd name="connsiteX1786" fmla="*/ 39732 w 599011"/>
                    <a:gd name="connsiteY1786" fmla="*/ 208567 h 680138"/>
                    <a:gd name="connsiteX1787" fmla="*/ 39100 w 599011"/>
                    <a:gd name="connsiteY1787" fmla="*/ 209781 h 680138"/>
                    <a:gd name="connsiteX1788" fmla="*/ 30503 w 599011"/>
                    <a:gd name="connsiteY1788" fmla="*/ 206515 h 680138"/>
                    <a:gd name="connsiteX1789" fmla="*/ 30139 w 599011"/>
                    <a:gd name="connsiteY1789" fmla="*/ 206369 h 680138"/>
                    <a:gd name="connsiteX1790" fmla="*/ 29762 w 599011"/>
                    <a:gd name="connsiteY1790" fmla="*/ 206284 h 680138"/>
                    <a:gd name="connsiteX1791" fmla="*/ 18227 w 599011"/>
                    <a:gd name="connsiteY1791" fmla="*/ 203516 h 680138"/>
                    <a:gd name="connsiteX1792" fmla="*/ 11196 w 599011"/>
                    <a:gd name="connsiteY1792" fmla="*/ 201828 h 680138"/>
                    <a:gd name="connsiteX1793" fmla="*/ 10747 w 599011"/>
                    <a:gd name="connsiteY1793" fmla="*/ 209041 h 680138"/>
                    <a:gd name="connsiteX1794" fmla="*/ 10334 w 599011"/>
                    <a:gd name="connsiteY1794" fmla="*/ 215598 h 680138"/>
                    <a:gd name="connsiteX1795" fmla="*/ 10212 w 599011"/>
                    <a:gd name="connsiteY1795" fmla="*/ 217626 h 680138"/>
                    <a:gd name="connsiteX1796" fmla="*/ 11329 w 599011"/>
                    <a:gd name="connsiteY1796" fmla="*/ 219326 h 680138"/>
                    <a:gd name="connsiteX1797" fmla="*/ 12082 w 599011"/>
                    <a:gd name="connsiteY1797" fmla="*/ 220467 h 680138"/>
                    <a:gd name="connsiteX1798" fmla="*/ 12337 w 599011"/>
                    <a:gd name="connsiteY1798" fmla="*/ 220856 h 680138"/>
                    <a:gd name="connsiteX1799" fmla="*/ 12653 w 599011"/>
                    <a:gd name="connsiteY1799" fmla="*/ 221196 h 680138"/>
                    <a:gd name="connsiteX1800" fmla="*/ 14147 w 599011"/>
                    <a:gd name="connsiteY1800" fmla="*/ 222835 h 680138"/>
                    <a:gd name="connsiteX1801" fmla="*/ 14693 w 599011"/>
                    <a:gd name="connsiteY1801" fmla="*/ 223442 h 680138"/>
                    <a:gd name="connsiteX1802" fmla="*/ 15385 w 599011"/>
                    <a:gd name="connsiteY1802" fmla="*/ 223879 h 680138"/>
                    <a:gd name="connsiteX1803" fmla="*/ 16514 w 599011"/>
                    <a:gd name="connsiteY1803" fmla="*/ 224608 h 680138"/>
                    <a:gd name="connsiteX1804" fmla="*/ 16806 w 599011"/>
                    <a:gd name="connsiteY1804" fmla="*/ 224887 h 680138"/>
                    <a:gd name="connsiteX1805" fmla="*/ 16769 w 599011"/>
                    <a:gd name="connsiteY1805" fmla="*/ 224948 h 680138"/>
                    <a:gd name="connsiteX1806" fmla="*/ 16417 w 599011"/>
                    <a:gd name="connsiteY1806" fmla="*/ 225300 h 680138"/>
                    <a:gd name="connsiteX1807" fmla="*/ 15531 w 599011"/>
                    <a:gd name="connsiteY1807" fmla="*/ 225847 h 680138"/>
                    <a:gd name="connsiteX1808" fmla="*/ 10637 w 599011"/>
                    <a:gd name="connsiteY1808" fmla="*/ 227984 h 680138"/>
                    <a:gd name="connsiteX1809" fmla="*/ 9459 w 599011"/>
                    <a:gd name="connsiteY1809" fmla="*/ 228299 h 680138"/>
                    <a:gd name="connsiteX1810" fmla="*/ 8136 w 599011"/>
                    <a:gd name="connsiteY1810" fmla="*/ 228664 h 680138"/>
                    <a:gd name="connsiteX1811" fmla="*/ 7104 w 599011"/>
                    <a:gd name="connsiteY1811" fmla="*/ 229562 h 680138"/>
                    <a:gd name="connsiteX1812" fmla="*/ 6351 w 599011"/>
                    <a:gd name="connsiteY1812" fmla="*/ 230218 h 680138"/>
                    <a:gd name="connsiteX1813" fmla="*/ 5889 w 599011"/>
                    <a:gd name="connsiteY1813" fmla="*/ 230607 h 680138"/>
                    <a:gd name="connsiteX1814" fmla="*/ 5525 w 599011"/>
                    <a:gd name="connsiteY1814" fmla="*/ 231080 h 680138"/>
                    <a:gd name="connsiteX1815" fmla="*/ 4432 w 599011"/>
                    <a:gd name="connsiteY1815" fmla="*/ 232489 h 680138"/>
                    <a:gd name="connsiteX1816" fmla="*/ 4044 w 599011"/>
                    <a:gd name="connsiteY1816" fmla="*/ 232987 h 680138"/>
                    <a:gd name="connsiteX1817" fmla="*/ 3764 w 599011"/>
                    <a:gd name="connsiteY1817" fmla="*/ 233557 h 680138"/>
                    <a:gd name="connsiteX1818" fmla="*/ 1991 w 599011"/>
                    <a:gd name="connsiteY1818" fmla="*/ 237200 h 680138"/>
                    <a:gd name="connsiteX1819" fmla="*/ 1761 w 599011"/>
                    <a:gd name="connsiteY1819" fmla="*/ 237674 h 680138"/>
                    <a:gd name="connsiteX1820" fmla="*/ 1615 w 599011"/>
                    <a:gd name="connsiteY1820" fmla="*/ 238184 h 680138"/>
                    <a:gd name="connsiteX1821" fmla="*/ 631 w 599011"/>
                    <a:gd name="connsiteY1821" fmla="*/ 241596 h 680138"/>
                    <a:gd name="connsiteX1822" fmla="*/ 461 w 599011"/>
                    <a:gd name="connsiteY1822" fmla="*/ 242154 h 680138"/>
                    <a:gd name="connsiteX1823" fmla="*/ 413 w 599011"/>
                    <a:gd name="connsiteY1823" fmla="*/ 242737 h 680138"/>
                    <a:gd name="connsiteX1824" fmla="*/ 73 w 599011"/>
                    <a:gd name="connsiteY1824" fmla="*/ 246672 h 680138"/>
                    <a:gd name="connsiteX1825" fmla="*/ 0 w 599011"/>
                    <a:gd name="connsiteY1825" fmla="*/ 247461 h 680138"/>
                    <a:gd name="connsiteX1826" fmla="*/ 134 w 599011"/>
                    <a:gd name="connsiteY1826" fmla="*/ 248238 h 680138"/>
                    <a:gd name="connsiteX1827" fmla="*/ 534 w 599011"/>
                    <a:gd name="connsiteY1827" fmla="*/ 250533 h 680138"/>
                    <a:gd name="connsiteX1828" fmla="*/ 801 w 599011"/>
                    <a:gd name="connsiteY1828" fmla="*/ 252039 h 680138"/>
                    <a:gd name="connsiteX1829" fmla="*/ 1736 w 599011"/>
                    <a:gd name="connsiteY1829" fmla="*/ 253241 h 680138"/>
                    <a:gd name="connsiteX1830" fmla="*/ 2939 w 599011"/>
                    <a:gd name="connsiteY1830" fmla="*/ 254771 h 680138"/>
                    <a:gd name="connsiteX1831" fmla="*/ 3789 w 599011"/>
                    <a:gd name="connsiteY1831" fmla="*/ 255864 h 680138"/>
                    <a:gd name="connsiteX1832" fmla="*/ 5039 w 599011"/>
                    <a:gd name="connsiteY1832" fmla="*/ 256471 h 680138"/>
                    <a:gd name="connsiteX1833" fmla="*/ 6885 w 599011"/>
                    <a:gd name="connsiteY1833" fmla="*/ 257382 h 680138"/>
                    <a:gd name="connsiteX1834" fmla="*/ 7371 w 599011"/>
                    <a:gd name="connsiteY1834" fmla="*/ 257612 h 680138"/>
                    <a:gd name="connsiteX1835" fmla="*/ 7881 w 599011"/>
                    <a:gd name="connsiteY1835" fmla="*/ 257770 h 680138"/>
                    <a:gd name="connsiteX1836" fmla="*/ 9884 w 599011"/>
                    <a:gd name="connsiteY1836" fmla="*/ 258353 h 680138"/>
                    <a:gd name="connsiteX1837" fmla="*/ 10431 w 599011"/>
                    <a:gd name="connsiteY1837" fmla="*/ 258511 h 680138"/>
                    <a:gd name="connsiteX1838" fmla="*/ 11001 w 599011"/>
                    <a:gd name="connsiteY1838" fmla="*/ 258572 h 680138"/>
                    <a:gd name="connsiteX1839" fmla="*/ 12835 w 599011"/>
                    <a:gd name="connsiteY1839" fmla="*/ 258742 h 680138"/>
                    <a:gd name="connsiteX1840" fmla="*/ 13357 w 599011"/>
                    <a:gd name="connsiteY1840" fmla="*/ 258790 h 680138"/>
                    <a:gd name="connsiteX1841" fmla="*/ 13879 w 599011"/>
                    <a:gd name="connsiteY1841" fmla="*/ 258754 h 680138"/>
                    <a:gd name="connsiteX1842" fmla="*/ 15373 w 599011"/>
                    <a:gd name="connsiteY1842" fmla="*/ 258632 h 680138"/>
                    <a:gd name="connsiteX1843" fmla="*/ 15944 w 599011"/>
                    <a:gd name="connsiteY1843" fmla="*/ 258584 h 680138"/>
                    <a:gd name="connsiteX1844" fmla="*/ 16502 w 599011"/>
                    <a:gd name="connsiteY1844" fmla="*/ 258426 h 680138"/>
                    <a:gd name="connsiteX1845" fmla="*/ 18178 w 599011"/>
                    <a:gd name="connsiteY1845" fmla="*/ 257965 h 680138"/>
                    <a:gd name="connsiteX1846" fmla="*/ 18700 w 599011"/>
                    <a:gd name="connsiteY1846" fmla="*/ 257819 h 680138"/>
                    <a:gd name="connsiteX1847" fmla="*/ 19198 w 599011"/>
                    <a:gd name="connsiteY1847" fmla="*/ 257576 h 680138"/>
                    <a:gd name="connsiteX1848" fmla="*/ 20692 w 599011"/>
                    <a:gd name="connsiteY1848" fmla="*/ 256860 h 680138"/>
                    <a:gd name="connsiteX1849" fmla="*/ 21323 w 599011"/>
                    <a:gd name="connsiteY1849" fmla="*/ 256556 h 680138"/>
                    <a:gd name="connsiteX1850" fmla="*/ 21869 w 599011"/>
                    <a:gd name="connsiteY1850" fmla="*/ 256107 h 680138"/>
                    <a:gd name="connsiteX1851" fmla="*/ 23509 w 599011"/>
                    <a:gd name="connsiteY1851" fmla="*/ 254771 h 680138"/>
                    <a:gd name="connsiteX1852" fmla="*/ 24917 w 599011"/>
                    <a:gd name="connsiteY1852" fmla="*/ 254783 h 680138"/>
                    <a:gd name="connsiteX1853" fmla="*/ 25379 w 599011"/>
                    <a:gd name="connsiteY1853" fmla="*/ 254783 h 680138"/>
                    <a:gd name="connsiteX1854" fmla="*/ 25840 w 599011"/>
                    <a:gd name="connsiteY1854" fmla="*/ 254722 h 680138"/>
                    <a:gd name="connsiteX1855" fmla="*/ 26508 w 599011"/>
                    <a:gd name="connsiteY1855" fmla="*/ 254625 h 680138"/>
                    <a:gd name="connsiteX1856" fmla="*/ 24541 w 599011"/>
                    <a:gd name="connsiteY1856" fmla="*/ 259762 h 680138"/>
                    <a:gd name="connsiteX1857" fmla="*/ 24407 w 599011"/>
                    <a:gd name="connsiteY1857" fmla="*/ 260102 h 680138"/>
                    <a:gd name="connsiteX1858" fmla="*/ 24322 w 599011"/>
                    <a:gd name="connsiteY1858" fmla="*/ 260454 h 680138"/>
                    <a:gd name="connsiteX1859" fmla="*/ 23472 w 599011"/>
                    <a:gd name="connsiteY1859" fmla="*/ 263890 h 680138"/>
                    <a:gd name="connsiteX1860" fmla="*/ 23363 w 599011"/>
                    <a:gd name="connsiteY1860" fmla="*/ 264340 h 680138"/>
                    <a:gd name="connsiteX1861" fmla="*/ 23314 w 599011"/>
                    <a:gd name="connsiteY1861" fmla="*/ 264801 h 680138"/>
                    <a:gd name="connsiteX1862" fmla="*/ 21699 w 599011"/>
                    <a:gd name="connsiteY1862" fmla="*/ 282153 h 680138"/>
                    <a:gd name="connsiteX1863" fmla="*/ 21627 w 599011"/>
                    <a:gd name="connsiteY1863" fmla="*/ 283028 h 680138"/>
                    <a:gd name="connsiteX1864" fmla="*/ 21797 w 599011"/>
                    <a:gd name="connsiteY1864" fmla="*/ 283890 h 680138"/>
                    <a:gd name="connsiteX1865" fmla="*/ 22477 w 599011"/>
                    <a:gd name="connsiteY1865" fmla="*/ 287302 h 680138"/>
                    <a:gd name="connsiteX1866" fmla="*/ 22647 w 599011"/>
                    <a:gd name="connsiteY1866" fmla="*/ 288164 h 680138"/>
                    <a:gd name="connsiteX1867" fmla="*/ 23059 w 599011"/>
                    <a:gd name="connsiteY1867" fmla="*/ 288941 h 680138"/>
                    <a:gd name="connsiteX1868" fmla="*/ 24322 w 599011"/>
                    <a:gd name="connsiteY1868" fmla="*/ 291358 h 680138"/>
                    <a:gd name="connsiteX1869" fmla="*/ 24687 w 599011"/>
                    <a:gd name="connsiteY1869" fmla="*/ 292050 h 680138"/>
                    <a:gd name="connsiteX1870" fmla="*/ 25209 w 599011"/>
                    <a:gd name="connsiteY1870" fmla="*/ 292633 h 680138"/>
                    <a:gd name="connsiteX1871" fmla="*/ 28147 w 599011"/>
                    <a:gd name="connsiteY1871" fmla="*/ 295851 h 680138"/>
                    <a:gd name="connsiteX1872" fmla="*/ 28912 w 599011"/>
                    <a:gd name="connsiteY1872" fmla="*/ 297028 h 680138"/>
                    <a:gd name="connsiteX1873" fmla="*/ 28925 w 599011"/>
                    <a:gd name="connsiteY1873" fmla="*/ 297101 h 680138"/>
                    <a:gd name="connsiteX1874" fmla="*/ 28439 w 599011"/>
                    <a:gd name="connsiteY1874" fmla="*/ 301825 h 680138"/>
                    <a:gd name="connsiteX1875" fmla="*/ 24808 w 599011"/>
                    <a:gd name="connsiteY1875" fmla="*/ 301655 h 680138"/>
                    <a:gd name="connsiteX1876" fmla="*/ 23739 w 599011"/>
                    <a:gd name="connsiteY1876" fmla="*/ 301606 h 680138"/>
                    <a:gd name="connsiteX1877" fmla="*/ 22732 w 599011"/>
                    <a:gd name="connsiteY1877" fmla="*/ 301922 h 680138"/>
                    <a:gd name="connsiteX1878" fmla="*/ 21372 w 599011"/>
                    <a:gd name="connsiteY1878" fmla="*/ 302347 h 680138"/>
                    <a:gd name="connsiteX1879" fmla="*/ 20424 w 599011"/>
                    <a:gd name="connsiteY1879" fmla="*/ 302638 h 680138"/>
                    <a:gd name="connsiteX1880" fmla="*/ 19623 w 599011"/>
                    <a:gd name="connsiteY1880" fmla="*/ 303209 h 680138"/>
                    <a:gd name="connsiteX1881" fmla="*/ 18129 w 599011"/>
                    <a:gd name="connsiteY1881" fmla="*/ 304278 h 680138"/>
                    <a:gd name="connsiteX1882" fmla="*/ 16709 w 599011"/>
                    <a:gd name="connsiteY1882" fmla="*/ 305298 h 680138"/>
                    <a:gd name="connsiteX1883" fmla="*/ 16053 w 599011"/>
                    <a:gd name="connsiteY1883" fmla="*/ 306925 h 680138"/>
                    <a:gd name="connsiteX1884" fmla="*/ 15130 w 599011"/>
                    <a:gd name="connsiteY1884" fmla="*/ 309196 h 680138"/>
                    <a:gd name="connsiteX1885" fmla="*/ 14766 w 599011"/>
                    <a:gd name="connsiteY1885" fmla="*/ 310082 h 680138"/>
                    <a:gd name="connsiteX1886" fmla="*/ 14693 w 599011"/>
                    <a:gd name="connsiteY1886" fmla="*/ 311029 h 680138"/>
                    <a:gd name="connsiteX1887" fmla="*/ 14572 w 599011"/>
                    <a:gd name="connsiteY1887" fmla="*/ 312608 h 680138"/>
                    <a:gd name="connsiteX1888" fmla="*/ 14474 w 599011"/>
                    <a:gd name="connsiteY1888" fmla="*/ 313980 h 680138"/>
                    <a:gd name="connsiteX1889" fmla="*/ 14972 w 599011"/>
                    <a:gd name="connsiteY1889" fmla="*/ 315255 h 680138"/>
                    <a:gd name="connsiteX1890" fmla="*/ 15434 w 599011"/>
                    <a:gd name="connsiteY1890" fmla="*/ 316433 h 680138"/>
                    <a:gd name="connsiteX1891" fmla="*/ 15847 w 599011"/>
                    <a:gd name="connsiteY1891" fmla="*/ 317489 h 680138"/>
                    <a:gd name="connsiteX1892" fmla="*/ 16612 w 599011"/>
                    <a:gd name="connsiteY1892" fmla="*/ 318327 h 680138"/>
                    <a:gd name="connsiteX1893" fmla="*/ 17243 w 599011"/>
                    <a:gd name="connsiteY1893" fmla="*/ 319031 h 680138"/>
                    <a:gd name="connsiteX1894" fmla="*/ 18822 w 599011"/>
                    <a:gd name="connsiteY1894" fmla="*/ 321205 h 680138"/>
                    <a:gd name="connsiteX1895" fmla="*/ 19696 w 599011"/>
                    <a:gd name="connsiteY1895" fmla="*/ 323257 h 680138"/>
                    <a:gd name="connsiteX1896" fmla="*/ 20764 w 599011"/>
                    <a:gd name="connsiteY1896" fmla="*/ 325358 h 680138"/>
                    <a:gd name="connsiteX1897" fmla="*/ 21056 w 599011"/>
                    <a:gd name="connsiteY1897" fmla="*/ 325904 h 680138"/>
                    <a:gd name="connsiteX1898" fmla="*/ 21457 w 599011"/>
                    <a:gd name="connsiteY1898" fmla="*/ 326390 h 680138"/>
                    <a:gd name="connsiteX1899" fmla="*/ 24104 w 599011"/>
                    <a:gd name="connsiteY1899" fmla="*/ 329608 h 680138"/>
                    <a:gd name="connsiteX1900" fmla="*/ 25124 w 599011"/>
                    <a:gd name="connsiteY1900" fmla="*/ 331199 h 680138"/>
                    <a:gd name="connsiteX1901" fmla="*/ 26654 w 599011"/>
                    <a:gd name="connsiteY1901" fmla="*/ 334793 h 680138"/>
                    <a:gd name="connsiteX1902" fmla="*/ 26897 w 599011"/>
                    <a:gd name="connsiteY1902" fmla="*/ 335364 h 680138"/>
                    <a:gd name="connsiteX1903" fmla="*/ 27249 w 599011"/>
                    <a:gd name="connsiteY1903" fmla="*/ 335874 h 680138"/>
                    <a:gd name="connsiteX1904" fmla="*/ 28451 w 599011"/>
                    <a:gd name="connsiteY1904" fmla="*/ 337598 h 680138"/>
                    <a:gd name="connsiteX1905" fmla="*/ 28949 w 599011"/>
                    <a:gd name="connsiteY1905" fmla="*/ 338314 h 680138"/>
                    <a:gd name="connsiteX1906" fmla="*/ 29629 w 599011"/>
                    <a:gd name="connsiteY1906" fmla="*/ 338861 h 680138"/>
                    <a:gd name="connsiteX1907" fmla="*/ 31062 w 599011"/>
                    <a:gd name="connsiteY1907" fmla="*/ 340014 h 680138"/>
                    <a:gd name="connsiteX1908" fmla="*/ 32276 w 599011"/>
                    <a:gd name="connsiteY1908" fmla="*/ 340998 h 680138"/>
                    <a:gd name="connsiteX1909" fmla="*/ 33806 w 599011"/>
                    <a:gd name="connsiteY1909" fmla="*/ 341265 h 680138"/>
                    <a:gd name="connsiteX1910" fmla="*/ 35579 w 599011"/>
                    <a:gd name="connsiteY1910" fmla="*/ 341581 h 680138"/>
                    <a:gd name="connsiteX1911" fmla="*/ 36149 w 599011"/>
                    <a:gd name="connsiteY1911" fmla="*/ 341678 h 680138"/>
                    <a:gd name="connsiteX1912" fmla="*/ 36720 w 599011"/>
                    <a:gd name="connsiteY1912" fmla="*/ 341678 h 680138"/>
                    <a:gd name="connsiteX1913" fmla="*/ 38457 w 599011"/>
                    <a:gd name="connsiteY1913" fmla="*/ 341654 h 680138"/>
                    <a:gd name="connsiteX1914" fmla="*/ 40035 w 599011"/>
                    <a:gd name="connsiteY1914" fmla="*/ 341630 h 680138"/>
                    <a:gd name="connsiteX1915" fmla="*/ 41407 w 599011"/>
                    <a:gd name="connsiteY1915" fmla="*/ 340852 h 680138"/>
                    <a:gd name="connsiteX1916" fmla="*/ 42318 w 599011"/>
                    <a:gd name="connsiteY1916" fmla="*/ 340330 h 680138"/>
                    <a:gd name="connsiteX1917" fmla="*/ 43654 w 599011"/>
                    <a:gd name="connsiteY1917" fmla="*/ 339565 h 680138"/>
                    <a:gd name="connsiteX1918" fmla="*/ 44455 w 599011"/>
                    <a:gd name="connsiteY1918" fmla="*/ 338254 h 680138"/>
                    <a:gd name="connsiteX1919" fmla="*/ 45087 w 599011"/>
                    <a:gd name="connsiteY1919" fmla="*/ 337222 h 680138"/>
                    <a:gd name="connsiteX1920" fmla="*/ 45657 w 599011"/>
                    <a:gd name="connsiteY1920" fmla="*/ 336299 h 680138"/>
                    <a:gd name="connsiteX1921" fmla="*/ 45876 w 599011"/>
                    <a:gd name="connsiteY1921" fmla="*/ 335230 h 680138"/>
                    <a:gd name="connsiteX1922" fmla="*/ 46034 w 599011"/>
                    <a:gd name="connsiteY1922" fmla="*/ 334429 h 680138"/>
                    <a:gd name="connsiteX1923" fmla="*/ 46580 w 599011"/>
                    <a:gd name="connsiteY1923" fmla="*/ 334429 h 680138"/>
                    <a:gd name="connsiteX1924" fmla="*/ 47066 w 599011"/>
                    <a:gd name="connsiteY1924" fmla="*/ 334429 h 680138"/>
                    <a:gd name="connsiteX1925" fmla="*/ 47540 w 599011"/>
                    <a:gd name="connsiteY1925" fmla="*/ 334356 h 680138"/>
                    <a:gd name="connsiteX1926" fmla="*/ 52457 w 599011"/>
                    <a:gd name="connsiteY1926" fmla="*/ 333579 h 680138"/>
                    <a:gd name="connsiteX1927" fmla="*/ 58128 w 599011"/>
                    <a:gd name="connsiteY1927" fmla="*/ 334720 h 680138"/>
                    <a:gd name="connsiteX1928" fmla="*/ 58614 w 599011"/>
                    <a:gd name="connsiteY1928" fmla="*/ 334817 h 680138"/>
                    <a:gd name="connsiteX1929" fmla="*/ 59112 w 599011"/>
                    <a:gd name="connsiteY1929" fmla="*/ 334829 h 680138"/>
                    <a:gd name="connsiteX1930" fmla="*/ 61990 w 599011"/>
                    <a:gd name="connsiteY1930" fmla="*/ 334939 h 680138"/>
                    <a:gd name="connsiteX1931" fmla="*/ 62840 w 599011"/>
                    <a:gd name="connsiteY1931" fmla="*/ 334975 h 680138"/>
                    <a:gd name="connsiteX1932" fmla="*/ 63665 w 599011"/>
                    <a:gd name="connsiteY1932" fmla="*/ 334769 h 680138"/>
                    <a:gd name="connsiteX1933" fmla="*/ 65280 w 599011"/>
                    <a:gd name="connsiteY1933" fmla="*/ 334368 h 680138"/>
                    <a:gd name="connsiteX1934" fmla="*/ 66337 w 599011"/>
                    <a:gd name="connsiteY1934" fmla="*/ 334113 h 680138"/>
                    <a:gd name="connsiteX1935" fmla="*/ 67235 w 599011"/>
                    <a:gd name="connsiteY1935" fmla="*/ 333506 h 680138"/>
                    <a:gd name="connsiteX1936" fmla="*/ 69008 w 599011"/>
                    <a:gd name="connsiteY1936" fmla="*/ 332304 h 680138"/>
                    <a:gd name="connsiteX1937" fmla="*/ 69603 w 599011"/>
                    <a:gd name="connsiteY1937" fmla="*/ 331903 h 680138"/>
                    <a:gd name="connsiteX1938" fmla="*/ 70089 w 599011"/>
                    <a:gd name="connsiteY1938" fmla="*/ 331381 h 680138"/>
                    <a:gd name="connsiteX1939" fmla="*/ 71643 w 599011"/>
                    <a:gd name="connsiteY1939" fmla="*/ 329669 h 680138"/>
                    <a:gd name="connsiteX1940" fmla="*/ 73441 w 599011"/>
                    <a:gd name="connsiteY1940" fmla="*/ 328090 h 680138"/>
                    <a:gd name="connsiteX1941" fmla="*/ 74558 w 599011"/>
                    <a:gd name="connsiteY1941" fmla="*/ 327313 h 680138"/>
                    <a:gd name="connsiteX1942" fmla="*/ 75468 w 599011"/>
                    <a:gd name="connsiteY1942" fmla="*/ 326937 h 680138"/>
                    <a:gd name="connsiteX1943" fmla="*/ 75663 w 599011"/>
                    <a:gd name="connsiteY1943" fmla="*/ 326924 h 680138"/>
                    <a:gd name="connsiteX1944" fmla="*/ 77521 w 599011"/>
                    <a:gd name="connsiteY1944" fmla="*/ 328029 h 680138"/>
                    <a:gd name="connsiteX1945" fmla="*/ 77994 w 599011"/>
                    <a:gd name="connsiteY1945" fmla="*/ 328309 h 680138"/>
                    <a:gd name="connsiteX1946" fmla="*/ 78504 w 599011"/>
                    <a:gd name="connsiteY1946" fmla="*/ 328503 h 680138"/>
                    <a:gd name="connsiteX1947" fmla="*/ 80119 w 599011"/>
                    <a:gd name="connsiteY1947" fmla="*/ 329110 h 680138"/>
                    <a:gd name="connsiteX1948" fmla="*/ 80496 w 599011"/>
                    <a:gd name="connsiteY1948" fmla="*/ 329256 h 680138"/>
                    <a:gd name="connsiteX1949" fmla="*/ 80884 w 599011"/>
                    <a:gd name="connsiteY1949" fmla="*/ 329341 h 680138"/>
                    <a:gd name="connsiteX1950" fmla="*/ 84175 w 599011"/>
                    <a:gd name="connsiteY1950" fmla="*/ 330094 h 680138"/>
                    <a:gd name="connsiteX1951" fmla="*/ 85911 w 599011"/>
                    <a:gd name="connsiteY1951" fmla="*/ 330701 h 680138"/>
                    <a:gd name="connsiteX1952" fmla="*/ 86858 w 599011"/>
                    <a:gd name="connsiteY1952" fmla="*/ 331187 h 680138"/>
                    <a:gd name="connsiteX1953" fmla="*/ 89178 w 599011"/>
                    <a:gd name="connsiteY1953" fmla="*/ 332887 h 680138"/>
                    <a:gd name="connsiteX1954" fmla="*/ 89190 w 599011"/>
                    <a:gd name="connsiteY1954" fmla="*/ 332899 h 680138"/>
                    <a:gd name="connsiteX1955" fmla="*/ 89202 w 599011"/>
                    <a:gd name="connsiteY1955" fmla="*/ 332935 h 680138"/>
                    <a:gd name="connsiteX1956" fmla="*/ 89433 w 599011"/>
                    <a:gd name="connsiteY1956" fmla="*/ 334113 h 680138"/>
                    <a:gd name="connsiteX1957" fmla="*/ 89530 w 599011"/>
                    <a:gd name="connsiteY1957" fmla="*/ 334574 h 680138"/>
                    <a:gd name="connsiteX1958" fmla="*/ 89688 w 599011"/>
                    <a:gd name="connsiteY1958" fmla="*/ 335011 h 680138"/>
                    <a:gd name="connsiteX1959" fmla="*/ 91351 w 599011"/>
                    <a:gd name="connsiteY1959" fmla="*/ 339614 h 680138"/>
                    <a:gd name="connsiteX1960" fmla="*/ 91461 w 599011"/>
                    <a:gd name="connsiteY1960" fmla="*/ 339917 h 680138"/>
                    <a:gd name="connsiteX1961" fmla="*/ 91606 w 599011"/>
                    <a:gd name="connsiteY1961" fmla="*/ 340209 h 680138"/>
                    <a:gd name="connsiteX1962" fmla="*/ 93792 w 599011"/>
                    <a:gd name="connsiteY1962" fmla="*/ 344653 h 680138"/>
                    <a:gd name="connsiteX1963" fmla="*/ 93950 w 599011"/>
                    <a:gd name="connsiteY1963" fmla="*/ 344993 h 680138"/>
                    <a:gd name="connsiteX1964" fmla="*/ 94156 w 599011"/>
                    <a:gd name="connsiteY1964" fmla="*/ 345297 h 680138"/>
                    <a:gd name="connsiteX1965" fmla="*/ 95419 w 599011"/>
                    <a:gd name="connsiteY1965" fmla="*/ 347227 h 680138"/>
                    <a:gd name="connsiteX1966" fmla="*/ 95735 w 599011"/>
                    <a:gd name="connsiteY1966" fmla="*/ 347713 h 680138"/>
                    <a:gd name="connsiteX1967" fmla="*/ 96136 w 599011"/>
                    <a:gd name="connsiteY1967" fmla="*/ 348126 h 680138"/>
                    <a:gd name="connsiteX1968" fmla="*/ 97411 w 599011"/>
                    <a:gd name="connsiteY1968" fmla="*/ 349450 h 680138"/>
                    <a:gd name="connsiteX1969" fmla="*/ 98261 w 599011"/>
                    <a:gd name="connsiteY1969" fmla="*/ 350324 h 680138"/>
                    <a:gd name="connsiteX1970" fmla="*/ 99390 w 599011"/>
                    <a:gd name="connsiteY1970" fmla="*/ 350810 h 680138"/>
                    <a:gd name="connsiteX1971" fmla="*/ 100519 w 599011"/>
                    <a:gd name="connsiteY1971" fmla="*/ 351295 h 680138"/>
                    <a:gd name="connsiteX1972" fmla="*/ 101078 w 599011"/>
                    <a:gd name="connsiteY1972" fmla="*/ 351538 h 680138"/>
                    <a:gd name="connsiteX1973" fmla="*/ 101673 w 599011"/>
                    <a:gd name="connsiteY1973" fmla="*/ 351659 h 680138"/>
                    <a:gd name="connsiteX1974" fmla="*/ 103579 w 599011"/>
                    <a:gd name="connsiteY1974" fmla="*/ 352060 h 680138"/>
                    <a:gd name="connsiteX1975" fmla="*/ 104004 w 599011"/>
                    <a:gd name="connsiteY1975" fmla="*/ 352157 h 680138"/>
                    <a:gd name="connsiteX1976" fmla="*/ 104441 w 599011"/>
                    <a:gd name="connsiteY1976" fmla="*/ 352182 h 680138"/>
                    <a:gd name="connsiteX1977" fmla="*/ 105874 w 599011"/>
                    <a:gd name="connsiteY1977" fmla="*/ 352267 h 680138"/>
                    <a:gd name="connsiteX1978" fmla="*/ 106481 w 599011"/>
                    <a:gd name="connsiteY1978" fmla="*/ 352303 h 680138"/>
                    <a:gd name="connsiteX1979" fmla="*/ 107089 w 599011"/>
                    <a:gd name="connsiteY1979" fmla="*/ 352218 h 680138"/>
                    <a:gd name="connsiteX1980" fmla="*/ 107890 w 599011"/>
                    <a:gd name="connsiteY1980" fmla="*/ 352109 h 680138"/>
                    <a:gd name="connsiteX1981" fmla="*/ 108983 w 599011"/>
                    <a:gd name="connsiteY1981" fmla="*/ 351951 h 680138"/>
                    <a:gd name="connsiteX1982" fmla="*/ 109954 w 599011"/>
                    <a:gd name="connsiteY1982" fmla="*/ 351429 h 680138"/>
                    <a:gd name="connsiteX1983" fmla="*/ 111921 w 599011"/>
                    <a:gd name="connsiteY1983" fmla="*/ 350360 h 680138"/>
                    <a:gd name="connsiteX1984" fmla="*/ 112371 w 599011"/>
                    <a:gd name="connsiteY1984" fmla="*/ 351137 h 680138"/>
                    <a:gd name="connsiteX1985" fmla="*/ 113986 w 599011"/>
                    <a:gd name="connsiteY1985" fmla="*/ 355181 h 680138"/>
                    <a:gd name="connsiteX1986" fmla="*/ 114423 w 599011"/>
                    <a:gd name="connsiteY1986" fmla="*/ 356262 h 680138"/>
                    <a:gd name="connsiteX1987" fmla="*/ 115224 w 599011"/>
                    <a:gd name="connsiteY1987" fmla="*/ 357099 h 680138"/>
                    <a:gd name="connsiteX1988" fmla="*/ 116487 w 599011"/>
                    <a:gd name="connsiteY1988" fmla="*/ 358447 h 680138"/>
                    <a:gd name="connsiteX1989" fmla="*/ 117192 w 599011"/>
                    <a:gd name="connsiteY1989" fmla="*/ 359188 h 680138"/>
                    <a:gd name="connsiteX1990" fmla="*/ 118090 w 599011"/>
                    <a:gd name="connsiteY1990" fmla="*/ 359662 h 680138"/>
                    <a:gd name="connsiteX1991" fmla="*/ 119584 w 599011"/>
                    <a:gd name="connsiteY1991" fmla="*/ 360439 h 680138"/>
                    <a:gd name="connsiteX1992" fmla="*/ 120640 w 599011"/>
                    <a:gd name="connsiteY1992" fmla="*/ 360997 h 680138"/>
                    <a:gd name="connsiteX1993" fmla="*/ 121830 w 599011"/>
                    <a:gd name="connsiteY1993" fmla="*/ 361107 h 680138"/>
                    <a:gd name="connsiteX1994" fmla="*/ 123603 w 599011"/>
                    <a:gd name="connsiteY1994" fmla="*/ 361277 h 680138"/>
                    <a:gd name="connsiteX1995" fmla="*/ 124210 w 599011"/>
                    <a:gd name="connsiteY1995" fmla="*/ 361325 h 680138"/>
                    <a:gd name="connsiteX1996" fmla="*/ 124829 w 599011"/>
                    <a:gd name="connsiteY1996" fmla="*/ 361265 h 680138"/>
                    <a:gd name="connsiteX1997" fmla="*/ 126614 w 599011"/>
                    <a:gd name="connsiteY1997" fmla="*/ 361070 h 680138"/>
                    <a:gd name="connsiteX1998" fmla="*/ 126967 w 599011"/>
                    <a:gd name="connsiteY1998" fmla="*/ 361034 h 680138"/>
                    <a:gd name="connsiteX1999" fmla="*/ 127319 w 599011"/>
                    <a:gd name="connsiteY1999" fmla="*/ 360949 h 680138"/>
                    <a:gd name="connsiteX2000" fmla="*/ 128873 w 599011"/>
                    <a:gd name="connsiteY2000" fmla="*/ 360585 h 680138"/>
                    <a:gd name="connsiteX2001" fmla="*/ 129844 w 599011"/>
                    <a:gd name="connsiteY2001" fmla="*/ 360354 h 680138"/>
                    <a:gd name="connsiteX2002" fmla="*/ 130694 w 599011"/>
                    <a:gd name="connsiteY2002" fmla="*/ 359832 h 680138"/>
                    <a:gd name="connsiteX2003" fmla="*/ 132929 w 599011"/>
                    <a:gd name="connsiteY2003" fmla="*/ 358447 h 680138"/>
                    <a:gd name="connsiteX2004" fmla="*/ 133439 w 599011"/>
                    <a:gd name="connsiteY2004" fmla="*/ 358265 h 680138"/>
                    <a:gd name="connsiteX2005" fmla="*/ 136657 w 599011"/>
                    <a:gd name="connsiteY2005" fmla="*/ 357731 h 680138"/>
                    <a:gd name="connsiteX2006" fmla="*/ 138053 w 599011"/>
                    <a:gd name="connsiteY2006" fmla="*/ 357500 h 680138"/>
                    <a:gd name="connsiteX2007" fmla="*/ 139207 w 599011"/>
                    <a:gd name="connsiteY2007" fmla="*/ 356675 h 680138"/>
                    <a:gd name="connsiteX2008" fmla="*/ 140919 w 599011"/>
                    <a:gd name="connsiteY2008" fmla="*/ 355436 h 680138"/>
                    <a:gd name="connsiteX2009" fmla="*/ 141332 w 599011"/>
                    <a:gd name="connsiteY2009" fmla="*/ 355145 h 680138"/>
                    <a:gd name="connsiteX2010" fmla="*/ 141684 w 599011"/>
                    <a:gd name="connsiteY2010" fmla="*/ 354792 h 680138"/>
                    <a:gd name="connsiteX2011" fmla="*/ 144222 w 599011"/>
                    <a:gd name="connsiteY2011" fmla="*/ 356541 h 680138"/>
                    <a:gd name="connsiteX2012" fmla="*/ 145630 w 599011"/>
                    <a:gd name="connsiteY2012" fmla="*/ 357500 h 680138"/>
                    <a:gd name="connsiteX2013" fmla="*/ 147330 w 599011"/>
                    <a:gd name="connsiteY2013" fmla="*/ 357585 h 680138"/>
                    <a:gd name="connsiteX2014" fmla="*/ 149965 w 599011"/>
                    <a:gd name="connsiteY2014" fmla="*/ 357731 h 680138"/>
                    <a:gd name="connsiteX2015" fmla="*/ 150645 w 599011"/>
                    <a:gd name="connsiteY2015" fmla="*/ 357767 h 680138"/>
                    <a:gd name="connsiteX2016" fmla="*/ 151325 w 599011"/>
                    <a:gd name="connsiteY2016" fmla="*/ 357646 h 680138"/>
                    <a:gd name="connsiteX2017" fmla="*/ 155345 w 599011"/>
                    <a:gd name="connsiteY2017" fmla="*/ 356954 h 680138"/>
                    <a:gd name="connsiteX2018" fmla="*/ 155903 w 599011"/>
                    <a:gd name="connsiteY2018" fmla="*/ 356857 h 680138"/>
                    <a:gd name="connsiteX2019" fmla="*/ 156438 w 599011"/>
                    <a:gd name="connsiteY2019" fmla="*/ 356650 h 680138"/>
                    <a:gd name="connsiteX2020" fmla="*/ 158732 w 599011"/>
                    <a:gd name="connsiteY2020" fmla="*/ 355788 h 680138"/>
                    <a:gd name="connsiteX2021" fmla="*/ 159461 w 599011"/>
                    <a:gd name="connsiteY2021" fmla="*/ 355521 h 680138"/>
                    <a:gd name="connsiteX2022" fmla="*/ 160092 w 599011"/>
                    <a:gd name="connsiteY2022" fmla="*/ 355072 h 680138"/>
                    <a:gd name="connsiteX2023" fmla="*/ 161185 w 599011"/>
                    <a:gd name="connsiteY2023" fmla="*/ 354307 h 680138"/>
                    <a:gd name="connsiteX2024" fmla="*/ 162290 w 599011"/>
                    <a:gd name="connsiteY2024" fmla="*/ 353530 h 680138"/>
                    <a:gd name="connsiteX2025" fmla="*/ 162424 w 599011"/>
                    <a:gd name="connsiteY2025" fmla="*/ 354161 h 680138"/>
                    <a:gd name="connsiteX2026" fmla="*/ 162643 w 599011"/>
                    <a:gd name="connsiteY2026" fmla="*/ 355254 h 680138"/>
                    <a:gd name="connsiteX2027" fmla="*/ 163238 w 599011"/>
                    <a:gd name="connsiteY2027" fmla="*/ 356201 h 680138"/>
                    <a:gd name="connsiteX2028" fmla="*/ 164100 w 599011"/>
                    <a:gd name="connsiteY2028" fmla="*/ 357573 h 680138"/>
                    <a:gd name="connsiteX2029" fmla="*/ 164828 w 599011"/>
                    <a:gd name="connsiteY2029" fmla="*/ 358739 h 680138"/>
                    <a:gd name="connsiteX2030" fmla="*/ 165982 w 599011"/>
                    <a:gd name="connsiteY2030" fmla="*/ 359479 h 680138"/>
                    <a:gd name="connsiteX2031" fmla="*/ 167658 w 599011"/>
                    <a:gd name="connsiteY2031" fmla="*/ 360548 h 680138"/>
                    <a:gd name="connsiteX2032" fmla="*/ 169394 w 599011"/>
                    <a:gd name="connsiteY2032" fmla="*/ 361653 h 680138"/>
                    <a:gd name="connsiteX2033" fmla="*/ 171434 w 599011"/>
                    <a:gd name="connsiteY2033" fmla="*/ 361471 h 680138"/>
                    <a:gd name="connsiteX2034" fmla="*/ 172405 w 599011"/>
                    <a:gd name="connsiteY2034" fmla="*/ 361386 h 680138"/>
                    <a:gd name="connsiteX2035" fmla="*/ 174324 w 599011"/>
                    <a:gd name="connsiteY2035" fmla="*/ 361228 h 680138"/>
                    <a:gd name="connsiteX2036" fmla="*/ 175793 w 599011"/>
                    <a:gd name="connsiteY2036" fmla="*/ 359990 h 680138"/>
                    <a:gd name="connsiteX2037" fmla="*/ 176619 w 599011"/>
                    <a:gd name="connsiteY2037" fmla="*/ 359297 h 680138"/>
                    <a:gd name="connsiteX2038" fmla="*/ 177275 w 599011"/>
                    <a:gd name="connsiteY2038" fmla="*/ 360463 h 680138"/>
                    <a:gd name="connsiteX2039" fmla="*/ 177214 w 599011"/>
                    <a:gd name="connsiteY2039" fmla="*/ 360499 h 680138"/>
                    <a:gd name="connsiteX2040" fmla="*/ 176060 w 599011"/>
                    <a:gd name="connsiteY2040" fmla="*/ 361107 h 680138"/>
                    <a:gd name="connsiteX2041" fmla="*/ 174688 w 599011"/>
                    <a:gd name="connsiteY2041" fmla="*/ 361835 h 680138"/>
                    <a:gd name="connsiteX2042" fmla="*/ 173826 w 599011"/>
                    <a:gd name="connsiteY2042" fmla="*/ 363122 h 680138"/>
                    <a:gd name="connsiteX2043" fmla="*/ 173255 w 599011"/>
                    <a:gd name="connsiteY2043" fmla="*/ 363985 h 680138"/>
                    <a:gd name="connsiteX2044" fmla="*/ 172575 w 599011"/>
                    <a:gd name="connsiteY2044" fmla="*/ 365017 h 680138"/>
                    <a:gd name="connsiteX2045" fmla="*/ 172345 w 599011"/>
                    <a:gd name="connsiteY2045" fmla="*/ 366243 h 680138"/>
                    <a:gd name="connsiteX2046" fmla="*/ 172114 w 599011"/>
                    <a:gd name="connsiteY2046" fmla="*/ 367506 h 680138"/>
                    <a:gd name="connsiteX2047" fmla="*/ 171908 w 599011"/>
                    <a:gd name="connsiteY2047" fmla="*/ 368599 h 680138"/>
                    <a:gd name="connsiteX2048" fmla="*/ 172114 w 599011"/>
                    <a:gd name="connsiteY2048" fmla="*/ 369692 h 680138"/>
                    <a:gd name="connsiteX2049" fmla="*/ 172393 w 599011"/>
                    <a:gd name="connsiteY2049" fmla="*/ 371222 h 680138"/>
                    <a:gd name="connsiteX2050" fmla="*/ 172466 w 599011"/>
                    <a:gd name="connsiteY2050" fmla="*/ 371671 h 680138"/>
                    <a:gd name="connsiteX2051" fmla="*/ 172612 w 599011"/>
                    <a:gd name="connsiteY2051" fmla="*/ 372096 h 680138"/>
                    <a:gd name="connsiteX2052" fmla="*/ 173243 w 599011"/>
                    <a:gd name="connsiteY2052" fmla="*/ 373954 h 680138"/>
                    <a:gd name="connsiteX2053" fmla="*/ 173571 w 599011"/>
                    <a:gd name="connsiteY2053" fmla="*/ 374913 h 680138"/>
                    <a:gd name="connsiteX2054" fmla="*/ 174190 w 599011"/>
                    <a:gd name="connsiteY2054" fmla="*/ 375715 h 680138"/>
                    <a:gd name="connsiteX2055" fmla="*/ 175089 w 599011"/>
                    <a:gd name="connsiteY2055" fmla="*/ 376880 h 680138"/>
                    <a:gd name="connsiteX2056" fmla="*/ 175016 w 599011"/>
                    <a:gd name="connsiteY2056" fmla="*/ 377147 h 680138"/>
                    <a:gd name="connsiteX2057" fmla="*/ 174992 w 599011"/>
                    <a:gd name="connsiteY2057" fmla="*/ 377876 h 680138"/>
                    <a:gd name="connsiteX2058" fmla="*/ 174931 w 599011"/>
                    <a:gd name="connsiteY2058" fmla="*/ 379625 h 680138"/>
                    <a:gd name="connsiteX2059" fmla="*/ 174919 w 599011"/>
                    <a:gd name="connsiteY2059" fmla="*/ 380001 h 680138"/>
                    <a:gd name="connsiteX2060" fmla="*/ 174956 w 599011"/>
                    <a:gd name="connsiteY2060" fmla="*/ 380365 h 680138"/>
                    <a:gd name="connsiteX2061" fmla="*/ 175126 w 599011"/>
                    <a:gd name="connsiteY2061" fmla="*/ 382235 h 680138"/>
                    <a:gd name="connsiteX2062" fmla="*/ 175210 w 599011"/>
                    <a:gd name="connsiteY2062" fmla="*/ 383231 h 680138"/>
                    <a:gd name="connsiteX2063" fmla="*/ 175611 w 599011"/>
                    <a:gd name="connsiteY2063" fmla="*/ 384154 h 680138"/>
                    <a:gd name="connsiteX2064" fmla="*/ 176595 w 599011"/>
                    <a:gd name="connsiteY2064" fmla="*/ 386388 h 680138"/>
                    <a:gd name="connsiteX2065" fmla="*/ 176801 w 599011"/>
                    <a:gd name="connsiteY2065" fmla="*/ 386838 h 680138"/>
                    <a:gd name="connsiteX2066" fmla="*/ 177068 w 599011"/>
                    <a:gd name="connsiteY2066" fmla="*/ 387250 h 680138"/>
                    <a:gd name="connsiteX2067" fmla="*/ 178659 w 599011"/>
                    <a:gd name="connsiteY2067" fmla="*/ 389691 h 680138"/>
                    <a:gd name="connsiteX2068" fmla="*/ 178829 w 599011"/>
                    <a:gd name="connsiteY2068" fmla="*/ 389958 h 680138"/>
                    <a:gd name="connsiteX2069" fmla="*/ 179023 w 599011"/>
                    <a:gd name="connsiteY2069" fmla="*/ 390201 h 680138"/>
                    <a:gd name="connsiteX2070" fmla="*/ 182047 w 599011"/>
                    <a:gd name="connsiteY2070" fmla="*/ 393929 h 680138"/>
                    <a:gd name="connsiteX2071" fmla="*/ 187171 w 599011"/>
                    <a:gd name="connsiteY2071" fmla="*/ 401786 h 680138"/>
                    <a:gd name="connsiteX2072" fmla="*/ 187730 w 599011"/>
                    <a:gd name="connsiteY2072" fmla="*/ 402648 h 680138"/>
                    <a:gd name="connsiteX2073" fmla="*/ 188543 w 599011"/>
                    <a:gd name="connsiteY2073" fmla="*/ 403279 h 680138"/>
                    <a:gd name="connsiteX2074" fmla="*/ 190146 w 599011"/>
                    <a:gd name="connsiteY2074" fmla="*/ 404518 h 680138"/>
                    <a:gd name="connsiteX2075" fmla="*/ 190911 w 599011"/>
                    <a:gd name="connsiteY2075" fmla="*/ 405113 h 680138"/>
                    <a:gd name="connsiteX2076" fmla="*/ 191834 w 599011"/>
                    <a:gd name="connsiteY2076" fmla="*/ 405441 h 680138"/>
                    <a:gd name="connsiteX2077" fmla="*/ 199108 w 599011"/>
                    <a:gd name="connsiteY2077" fmla="*/ 408015 h 680138"/>
                    <a:gd name="connsiteX2078" fmla="*/ 199181 w 599011"/>
                    <a:gd name="connsiteY2078" fmla="*/ 408343 h 680138"/>
                    <a:gd name="connsiteX2079" fmla="*/ 198974 w 599011"/>
                    <a:gd name="connsiteY2079" fmla="*/ 408513 h 680138"/>
                    <a:gd name="connsiteX2080" fmla="*/ 197068 w 599011"/>
                    <a:gd name="connsiteY2080" fmla="*/ 409678 h 680138"/>
                    <a:gd name="connsiteX2081" fmla="*/ 196691 w 599011"/>
                    <a:gd name="connsiteY2081" fmla="*/ 409921 h 680138"/>
                    <a:gd name="connsiteX2082" fmla="*/ 196363 w 599011"/>
                    <a:gd name="connsiteY2082" fmla="*/ 410201 h 680138"/>
                    <a:gd name="connsiteX2083" fmla="*/ 195331 w 599011"/>
                    <a:gd name="connsiteY2083" fmla="*/ 411087 h 680138"/>
                    <a:gd name="connsiteX2084" fmla="*/ 193996 w 599011"/>
                    <a:gd name="connsiteY2084" fmla="*/ 412241 h 680138"/>
                    <a:gd name="connsiteX2085" fmla="*/ 193473 w 599011"/>
                    <a:gd name="connsiteY2085" fmla="*/ 413929 h 680138"/>
                    <a:gd name="connsiteX2086" fmla="*/ 193073 w 599011"/>
                    <a:gd name="connsiteY2086" fmla="*/ 415252 h 680138"/>
                    <a:gd name="connsiteX2087" fmla="*/ 192976 w 599011"/>
                    <a:gd name="connsiteY2087" fmla="*/ 415592 h 680138"/>
                    <a:gd name="connsiteX2088" fmla="*/ 192915 w 599011"/>
                    <a:gd name="connsiteY2088" fmla="*/ 415932 h 680138"/>
                    <a:gd name="connsiteX2089" fmla="*/ 192684 w 599011"/>
                    <a:gd name="connsiteY2089" fmla="*/ 417195 h 680138"/>
                    <a:gd name="connsiteX2090" fmla="*/ 192417 w 599011"/>
                    <a:gd name="connsiteY2090" fmla="*/ 418676 h 680138"/>
                    <a:gd name="connsiteX2091" fmla="*/ 192866 w 599011"/>
                    <a:gd name="connsiteY2091" fmla="*/ 420109 h 680138"/>
                    <a:gd name="connsiteX2092" fmla="*/ 194129 w 599011"/>
                    <a:gd name="connsiteY2092" fmla="*/ 424129 h 680138"/>
                    <a:gd name="connsiteX2093" fmla="*/ 195659 w 599011"/>
                    <a:gd name="connsiteY2093" fmla="*/ 429848 h 680138"/>
                    <a:gd name="connsiteX2094" fmla="*/ 196801 w 599011"/>
                    <a:gd name="connsiteY2094" fmla="*/ 433539 h 680138"/>
                    <a:gd name="connsiteX2095" fmla="*/ 197043 w 599011"/>
                    <a:gd name="connsiteY2095" fmla="*/ 434292 h 680138"/>
                    <a:gd name="connsiteX2096" fmla="*/ 197468 w 599011"/>
                    <a:gd name="connsiteY2096" fmla="*/ 434972 h 680138"/>
                    <a:gd name="connsiteX2097" fmla="*/ 200237 w 599011"/>
                    <a:gd name="connsiteY2097" fmla="*/ 439368 h 680138"/>
                    <a:gd name="connsiteX2098" fmla="*/ 200407 w 599011"/>
                    <a:gd name="connsiteY2098" fmla="*/ 440303 h 680138"/>
                    <a:gd name="connsiteX2099" fmla="*/ 200188 w 599011"/>
                    <a:gd name="connsiteY2099" fmla="*/ 442707 h 680138"/>
                    <a:gd name="connsiteX2100" fmla="*/ 200091 w 599011"/>
                    <a:gd name="connsiteY2100" fmla="*/ 443825 h 680138"/>
                    <a:gd name="connsiteX2101" fmla="*/ 200395 w 599011"/>
                    <a:gd name="connsiteY2101" fmla="*/ 444905 h 680138"/>
                    <a:gd name="connsiteX2102" fmla="*/ 201087 w 599011"/>
                    <a:gd name="connsiteY2102" fmla="*/ 447346 h 680138"/>
                    <a:gd name="connsiteX2103" fmla="*/ 201233 w 599011"/>
                    <a:gd name="connsiteY2103" fmla="*/ 447844 h 680138"/>
                    <a:gd name="connsiteX2104" fmla="*/ 201451 w 599011"/>
                    <a:gd name="connsiteY2104" fmla="*/ 448317 h 680138"/>
                    <a:gd name="connsiteX2105" fmla="*/ 204997 w 599011"/>
                    <a:gd name="connsiteY2105" fmla="*/ 455749 h 680138"/>
                    <a:gd name="connsiteX2106" fmla="*/ 210498 w 599011"/>
                    <a:gd name="connsiteY2106" fmla="*/ 472846 h 680138"/>
                    <a:gd name="connsiteX2107" fmla="*/ 210631 w 599011"/>
                    <a:gd name="connsiteY2107" fmla="*/ 473259 h 680138"/>
                    <a:gd name="connsiteX2108" fmla="*/ 210814 w 599011"/>
                    <a:gd name="connsiteY2108" fmla="*/ 473635 h 680138"/>
                    <a:gd name="connsiteX2109" fmla="*/ 213339 w 599011"/>
                    <a:gd name="connsiteY2109" fmla="*/ 478857 h 680138"/>
                    <a:gd name="connsiteX2110" fmla="*/ 213570 w 599011"/>
                    <a:gd name="connsiteY2110" fmla="*/ 479330 h 680138"/>
                    <a:gd name="connsiteX2111" fmla="*/ 213874 w 599011"/>
                    <a:gd name="connsiteY2111" fmla="*/ 479768 h 680138"/>
                    <a:gd name="connsiteX2112" fmla="*/ 217031 w 599011"/>
                    <a:gd name="connsiteY2112" fmla="*/ 484139 h 680138"/>
                    <a:gd name="connsiteX2113" fmla="*/ 217274 w 599011"/>
                    <a:gd name="connsiteY2113" fmla="*/ 484455 h 680138"/>
                    <a:gd name="connsiteX2114" fmla="*/ 217541 w 599011"/>
                    <a:gd name="connsiteY2114" fmla="*/ 484746 h 680138"/>
                    <a:gd name="connsiteX2115" fmla="*/ 219836 w 599011"/>
                    <a:gd name="connsiteY2115" fmla="*/ 487199 h 680138"/>
                    <a:gd name="connsiteX2116" fmla="*/ 224316 w 599011"/>
                    <a:gd name="connsiteY2116" fmla="*/ 493404 h 680138"/>
                    <a:gd name="connsiteX2117" fmla="*/ 226065 w 599011"/>
                    <a:gd name="connsiteY2117" fmla="*/ 495444 h 680138"/>
                    <a:gd name="connsiteX2118" fmla="*/ 226612 w 599011"/>
                    <a:gd name="connsiteY2118" fmla="*/ 496076 h 680138"/>
                    <a:gd name="connsiteX2119" fmla="*/ 227316 w 599011"/>
                    <a:gd name="connsiteY2119" fmla="*/ 496537 h 680138"/>
                    <a:gd name="connsiteX2120" fmla="*/ 227826 w 599011"/>
                    <a:gd name="connsiteY2120" fmla="*/ 496877 h 680138"/>
                    <a:gd name="connsiteX2121" fmla="*/ 229028 w 599011"/>
                    <a:gd name="connsiteY2121" fmla="*/ 497958 h 680138"/>
                    <a:gd name="connsiteX2122" fmla="*/ 233497 w 599011"/>
                    <a:gd name="connsiteY2122" fmla="*/ 504406 h 680138"/>
                    <a:gd name="connsiteX2123" fmla="*/ 234007 w 599011"/>
                    <a:gd name="connsiteY2123" fmla="*/ 505146 h 680138"/>
                    <a:gd name="connsiteX2124" fmla="*/ 234711 w 599011"/>
                    <a:gd name="connsiteY2124" fmla="*/ 505705 h 680138"/>
                    <a:gd name="connsiteX2125" fmla="*/ 243162 w 599011"/>
                    <a:gd name="connsiteY2125" fmla="*/ 512420 h 680138"/>
                    <a:gd name="connsiteX2126" fmla="*/ 243672 w 599011"/>
                    <a:gd name="connsiteY2126" fmla="*/ 512833 h 680138"/>
                    <a:gd name="connsiteX2127" fmla="*/ 244255 w 599011"/>
                    <a:gd name="connsiteY2127" fmla="*/ 513124 h 680138"/>
                    <a:gd name="connsiteX2128" fmla="*/ 245931 w 599011"/>
                    <a:gd name="connsiteY2128" fmla="*/ 513950 h 680138"/>
                    <a:gd name="connsiteX2129" fmla="*/ 245700 w 599011"/>
                    <a:gd name="connsiteY2129" fmla="*/ 514970 h 680138"/>
                    <a:gd name="connsiteX2130" fmla="*/ 245360 w 599011"/>
                    <a:gd name="connsiteY2130" fmla="*/ 516536 h 680138"/>
                    <a:gd name="connsiteX2131" fmla="*/ 245834 w 599011"/>
                    <a:gd name="connsiteY2131" fmla="*/ 518054 h 680138"/>
                    <a:gd name="connsiteX2132" fmla="*/ 246647 w 599011"/>
                    <a:gd name="connsiteY2132" fmla="*/ 520665 h 680138"/>
                    <a:gd name="connsiteX2133" fmla="*/ 247400 w 599011"/>
                    <a:gd name="connsiteY2133" fmla="*/ 523069 h 680138"/>
                    <a:gd name="connsiteX2134" fmla="*/ 249635 w 599011"/>
                    <a:gd name="connsiteY2134" fmla="*/ 524247 h 680138"/>
                    <a:gd name="connsiteX2135" fmla="*/ 251286 w 599011"/>
                    <a:gd name="connsiteY2135" fmla="*/ 525109 h 680138"/>
                    <a:gd name="connsiteX2136" fmla="*/ 252889 w 599011"/>
                    <a:gd name="connsiteY2136" fmla="*/ 525947 h 680138"/>
                    <a:gd name="connsiteX2137" fmla="*/ 254686 w 599011"/>
                    <a:gd name="connsiteY2137" fmla="*/ 525765 h 680138"/>
                    <a:gd name="connsiteX2138" fmla="*/ 256471 w 599011"/>
                    <a:gd name="connsiteY2138" fmla="*/ 525595 h 680138"/>
                    <a:gd name="connsiteX2139" fmla="*/ 257600 w 599011"/>
                    <a:gd name="connsiteY2139" fmla="*/ 525486 h 680138"/>
                    <a:gd name="connsiteX2140" fmla="*/ 258535 w 599011"/>
                    <a:gd name="connsiteY2140" fmla="*/ 525012 h 680138"/>
                    <a:gd name="connsiteX2141" fmla="*/ 260187 w 599011"/>
                    <a:gd name="connsiteY2141" fmla="*/ 526311 h 680138"/>
                    <a:gd name="connsiteX2142" fmla="*/ 260940 w 599011"/>
                    <a:gd name="connsiteY2142" fmla="*/ 526894 h 680138"/>
                    <a:gd name="connsiteX2143" fmla="*/ 261826 w 599011"/>
                    <a:gd name="connsiteY2143" fmla="*/ 527222 h 680138"/>
                    <a:gd name="connsiteX2144" fmla="*/ 266477 w 599011"/>
                    <a:gd name="connsiteY2144" fmla="*/ 528934 h 680138"/>
                    <a:gd name="connsiteX2145" fmla="*/ 266853 w 599011"/>
                    <a:gd name="connsiteY2145" fmla="*/ 529068 h 680138"/>
                    <a:gd name="connsiteX2146" fmla="*/ 267242 w 599011"/>
                    <a:gd name="connsiteY2146" fmla="*/ 529153 h 680138"/>
                    <a:gd name="connsiteX2147" fmla="*/ 270010 w 599011"/>
                    <a:gd name="connsiteY2147" fmla="*/ 529772 h 680138"/>
                    <a:gd name="connsiteX2148" fmla="*/ 270812 w 599011"/>
                    <a:gd name="connsiteY2148" fmla="*/ 530052 h 680138"/>
                    <a:gd name="connsiteX2149" fmla="*/ 274600 w 599011"/>
                    <a:gd name="connsiteY2149" fmla="*/ 533233 h 680138"/>
                    <a:gd name="connsiteX2150" fmla="*/ 282578 w 599011"/>
                    <a:gd name="connsiteY2150" fmla="*/ 541029 h 680138"/>
                    <a:gd name="connsiteX2151" fmla="*/ 294916 w 599011"/>
                    <a:gd name="connsiteY2151" fmla="*/ 556912 h 680138"/>
                    <a:gd name="connsiteX2152" fmla="*/ 296943 w 599011"/>
                    <a:gd name="connsiteY2152" fmla="*/ 560287 h 680138"/>
                    <a:gd name="connsiteX2153" fmla="*/ 298097 w 599011"/>
                    <a:gd name="connsiteY2153" fmla="*/ 563299 h 680138"/>
                    <a:gd name="connsiteX2154" fmla="*/ 297405 w 599011"/>
                    <a:gd name="connsiteY2154" fmla="*/ 563614 h 680138"/>
                    <a:gd name="connsiteX2155" fmla="*/ 296142 w 599011"/>
                    <a:gd name="connsiteY2155" fmla="*/ 564173 h 680138"/>
                    <a:gd name="connsiteX2156" fmla="*/ 295243 w 599011"/>
                    <a:gd name="connsiteY2156" fmla="*/ 565217 h 680138"/>
                    <a:gd name="connsiteX2157" fmla="*/ 294041 w 599011"/>
                    <a:gd name="connsiteY2157" fmla="*/ 566626 h 680138"/>
                    <a:gd name="connsiteX2158" fmla="*/ 293689 w 599011"/>
                    <a:gd name="connsiteY2158" fmla="*/ 567051 h 680138"/>
                    <a:gd name="connsiteX2159" fmla="*/ 293410 w 599011"/>
                    <a:gd name="connsiteY2159" fmla="*/ 567525 h 680138"/>
                    <a:gd name="connsiteX2160" fmla="*/ 291892 w 599011"/>
                    <a:gd name="connsiteY2160" fmla="*/ 570160 h 680138"/>
                    <a:gd name="connsiteX2161" fmla="*/ 291576 w 599011"/>
                    <a:gd name="connsiteY2161" fmla="*/ 570439 h 680138"/>
                    <a:gd name="connsiteX2162" fmla="*/ 291406 w 599011"/>
                    <a:gd name="connsiteY2162" fmla="*/ 570548 h 680138"/>
                    <a:gd name="connsiteX2163" fmla="*/ 288031 w 599011"/>
                    <a:gd name="connsiteY2163" fmla="*/ 571714 h 680138"/>
                    <a:gd name="connsiteX2164" fmla="*/ 285420 w 599011"/>
                    <a:gd name="connsiteY2164" fmla="*/ 572855 h 680138"/>
                    <a:gd name="connsiteX2165" fmla="*/ 284958 w 599011"/>
                    <a:gd name="connsiteY2165" fmla="*/ 573062 h 680138"/>
                    <a:gd name="connsiteX2166" fmla="*/ 284533 w 599011"/>
                    <a:gd name="connsiteY2166" fmla="*/ 573329 h 680138"/>
                    <a:gd name="connsiteX2167" fmla="*/ 282809 w 599011"/>
                    <a:gd name="connsiteY2167" fmla="*/ 574470 h 680138"/>
                    <a:gd name="connsiteX2168" fmla="*/ 282323 w 599011"/>
                    <a:gd name="connsiteY2168" fmla="*/ 574798 h 680138"/>
                    <a:gd name="connsiteX2169" fmla="*/ 281898 w 599011"/>
                    <a:gd name="connsiteY2169" fmla="*/ 575211 h 680138"/>
                    <a:gd name="connsiteX2170" fmla="*/ 280696 w 599011"/>
                    <a:gd name="connsiteY2170" fmla="*/ 576389 h 680138"/>
                    <a:gd name="connsiteX2171" fmla="*/ 279798 w 599011"/>
                    <a:gd name="connsiteY2171" fmla="*/ 577263 h 680138"/>
                    <a:gd name="connsiteX2172" fmla="*/ 279324 w 599011"/>
                    <a:gd name="connsiteY2172" fmla="*/ 578429 h 680138"/>
                    <a:gd name="connsiteX2173" fmla="*/ 278462 w 599011"/>
                    <a:gd name="connsiteY2173" fmla="*/ 580530 h 680138"/>
                    <a:gd name="connsiteX2174" fmla="*/ 277782 w 599011"/>
                    <a:gd name="connsiteY2174" fmla="*/ 582193 h 680138"/>
                    <a:gd name="connsiteX2175" fmla="*/ 278110 w 599011"/>
                    <a:gd name="connsiteY2175" fmla="*/ 583966 h 680138"/>
                    <a:gd name="connsiteX2176" fmla="*/ 278401 w 599011"/>
                    <a:gd name="connsiteY2176" fmla="*/ 585508 h 680138"/>
                    <a:gd name="connsiteX2177" fmla="*/ 278656 w 599011"/>
                    <a:gd name="connsiteY2177" fmla="*/ 586856 h 680138"/>
                    <a:gd name="connsiteX2178" fmla="*/ 279458 w 599011"/>
                    <a:gd name="connsiteY2178" fmla="*/ 587961 h 680138"/>
                    <a:gd name="connsiteX2179" fmla="*/ 280490 w 599011"/>
                    <a:gd name="connsiteY2179" fmla="*/ 589370 h 680138"/>
                    <a:gd name="connsiteX2180" fmla="*/ 281073 w 599011"/>
                    <a:gd name="connsiteY2180" fmla="*/ 590159 h 680138"/>
                    <a:gd name="connsiteX2181" fmla="*/ 281862 w 599011"/>
                    <a:gd name="connsiteY2181" fmla="*/ 590730 h 680138"/>
                    <a:gd name="connsiteX2182" fmla="*/ 286561 w 599011"/>
                    <a:gd name="connsiteY2182" fmla="*/ 594093 h 680138"/>
                    <a:gd name="connsiteX2183" fmla="*/ 287314 w 599011"/>
                    <a:gd name="connsiteY2183" fmla="*/ 594628 h 680138"/>
                    <a:gd name="connsiteX2184" fmla="*/ 287763 w 599011"/>
                    <a:gd name="connsiteY2184" fmla="*/ 594773 h 680138"/>
                    <a:gd name="connsiteX2185" fmla="*/ 287375 w 599011"/>
                    <a:gd name="connsiteY2185" fmla="*/ 595636 h 680138"/>
                    <a:gd name="connsiteX2186" fmla="*/ 287059 w 599011"/>
                    <a:gd name="connsiteY2186" fmla="*/ 596340 h 680138"/>
                    <a:gd name="connsiteX2187" fmla="*/ 286925 w 599011"/>
                    <a:gd name="connsiteY2187" fmla="*/ 597093 h 680138"/>
                    <a:gd name="connsiteX2188" fmla="*/ 286537 w 599011"/>
                    <a:gd name="connsiteY2188" fmla="*/ 599388 h 680138"/>
                    <a:gd name="connsiteX2189" fmla="*/ 286501 w 599011"/>
                    <a:gd name="connsiteY2189" fmla="*/ 599424 h 680138"/>
                    <a:gd name="connsiteX2190" fmla="*/ 285869 w 599011"/>
                    <a:gd name="connsiteY2190" fmla="*/ 599946 h 680138"/>
                    <a:gd name="connsiteX2191" fmla="*/ 285092 w 599011"/>
                    <a:gd name="connsiteY2191" fmla="*/ 600590 h 680138"/>
                    <a:gd name="connsiteX2192" fmla="*/ 284570 w 599011"/>
                    <a:gd name="connsiteY2192" fmla="*/ 601464 h 680138"/>
                    <a:gd name="connsiteX2193" fmla="*/ 283768 w 599011"/>
                    <a:gd name="connsiteY2193" fmla="*/ 602788 h 680138"/>
                    <a:gd name="connsiteX2194" fmla="*/ 283562 w 599011"/>
                    <a:gd name="connsiteY2194" fmla="*/ 603116 h 680138"/>
                    <a:gd name="connsiteX2195" fmla="*/ 283404 w 599011"/>
                    <a:gd name="connsiteY2195" fmla="*/ 603468 h 680138"/>
                    <a:gd name="connsiteX2196" fmla="*/ 283125 w 599011"/>
                    <a:gd name="connsiteY2196" fmla="*/ 604111 h 680138"/>
                    <a:gd name="connsiteX2197" fmla="*/ 282761 w 599011"/>
                    <a:gd name="connsiteY2197" fmla="*/ 605325 h 680138"/>
                    <a:gd name="connsiteX2198" fmla="*/ 282020 w 599011"/>
                    <a:gd name="connsiteY2198" fmla="*/ 609223 h 680138"/>
                    <a:gd name="connsiteX2199" fmla="*/ 282299 w 599011"/>
                    <a:gd name="connsiteY2199" fmla="*/ 609454 h 680138"/>
                    <a:gd name="connsiteX2200" fmla="*/ 281680 w 599011"/>
                    <a:gd name="connsiteY2200" fmla="*/ 609357 h 680138"/>
                    <a:gd name="connsiteX2201" fmla="*/ 279773 w 599011"/>
                    <a:gd name="connsiteY2201" fmla="*/ 610547 h 680138"/>
                    <a:gd name="connsiteX2202" fmla="*/ 279033 w 599011"/>
                    <a:gd name="connsiteY2202" fmla="*/ 611008 h 680138"/>
                    <a:gd name="connsiteX2203" fmla="*/ 277138 w 599011"/>
                    <a:gd name="connsiteY2203" fmla="*/ 612186 h 680138"/>
                    <a:gd name="connsiteX2204" fmla="*/ 276458 w 599011"/>
                    <a:gd name="connsiteY2204" fmla="*/ 614311 h 680138"/>
                    <a:gd name="connsiteX2205" fmla="*/ 275426 w 599011"/>
                    <a:gd name="connsiteY2205" fmla="*/ 617529 h 680138"/>
                    <a:gd name="connsiteX2206" fmla="*/ 274904 w 599011"/>
                    <a:gd name="connsiteY2206" fmla="*/ 619168 h 680138"/>
                    <a:gd name="connsiteX2207" fmla="*/ 275317 w 599011"/>
                    <a:gd name="connsiteY2207" fmla="*/ 620844 h 680138"/>
                    <a:gd name="connsiteX2208" fmla="*/ 276288 w 599011"/>
                    <a:gd name="connsiteY2208" fmla="*/ 624791 h 680138"/>
                    <a:gd name="connsiteX2209" fmla="*/ 276895 w 599011"/>
                    <a:gd name="connsiteY2209" fmla="*/ 627268 h 680138"/>
                    <a:gd name="connsiteX2210" fmla="*/ 279093 w 599011"/>
                    <a:gd name="connsiteY2210" fmla="*/ 628567 h 680138"/>
                    <a:gd name="connsiteX2211" fmla="*/ 284121 w 599011"/>
                    <a:gd name="connsiteY2211" fmla="*/ 631542 h 680138"/>
                    <a:gd name="connsiteX2212" fmla="*/ 284448 w 599011"/>
                    <a:gd name="connsiteY2212" fmla="*/ 633849 h 680138"/>
                    <a:gd name="connsiteX2213" fmla="*/ 284509 w 599011"/>
                    <a:gd name="connsiteY2213" fmla="*/ 634262 h 680138"/>
                    <a:gd name="connsiteX2214" fmla="*/ 284631 w 599011"/>
                    <a:gd name="connsiteY2214" fmla="*/ 634663 h 680138"/>
                    <a:gd name="connsiteX2215" fmla="*/ 285493 w 599011"/>
                    <a:gd name="connsiteY2215" fmla="*/ 637626 h 680138"/>
                    <a:gd name="connsiteX2216" fmla="*/ 285857 w 599011"/>
                    <a:gd name="connsiteY2216" fmla="*/ 638864 h 680138"/>
                    <a:gd name="connsiteX2217" fmla="*/ 286683 w 599011"/>
                    <a:gd name="connsiteY2217" fmla="*/ 639848 h 680138"/>
                    <a:gd name="connsiteX2218" fmla="*/ 288055 w 599011"/>
                    <a:gd name="connsiteY2218" fmla="*/ 641475 h 680138"/>
                    <a:gd name="connsiteX2219" fmla="*/ 288941 w 599011"/>
                    <a:gd name="connsiteY2219" fmla="*/ 642519 h 680138"/>
                    <a:gd name="connsiteX2220" fmla="*/ 290192 w 599011"/>
                    <a:gd name="connsiteY2220" fmla="*/ 643090 h 680138"/>
                    <a:gd name="connsiteX2221" fmla="*/ 292560 w 599011"/>
                    <a:gd name="connsiteY2221" fmla="*/ 644159 h 680138"/>
                    <a:gd name="connsiteX2222" fmla="*/ 294151 w 599011"/>
                    <a:gd name="connsiteY2222" fmla="*/ 644887 h 680138"/>
                    <a:gd name="connsiteX2223" fmla="*/ 295887 w 599011"/>
                    <a:gd name="connsiteY2223" fmla="*/ 644644 h 680138"/>
                    <a:gd name="connsiteX2224" fmla="*/ 312486 w 599011"/>
                    <a:gd name="connsiteY2224" fmla="*/ 642374 h 680138"/>
                    <a:gd name="connsiteX2225" fmla="*/ 314891 w 599011"/>
                    <a:gd name="connsiteY2225" fmla="*/ 642604 h 680138"/>
                    <a:gd name="connsiteX2226" fmla="*/ 317586 w 599011"/>
                    <a:gd name="connsiteY2226" fmla="*/ 645300 h 680138"/>
                    <a:gd name="connsiteX2227" fmla="*/ 317975 w 599011"/>
                    <a:gd name="connsiteY2227" fmla="*/ 645676 h 680138"/>
                    <a:gd name="connsiteX2228" fmla="*/ 318424 w 599011"/>
                    <a:gd name="connsiteY2228" fmla="*/ 645980 h 680138"/>
                    <a:gd name="connsiteX2229" fmla="*/ 325188 w 599011"/>
                    <a:gd name="connsiteY2229" fmla="*/ 650692 h 680138"/>
                    <a:gd name="connsiteX2230" fmla="*/ 328685 w 599011"/>
                    <a:gd name="connsiteY2230" fmla="*/ 653132 h 680138"/>
                    <a:gd name="connsiteX2231" fmla="*/ 332170 w 599011"/>
                    <a:gd name="connsiteY2231" fmla="*/ 650655 h 680138"/>
                    <a:gd name="connsiteX2232" fmla="*/ 337804 w 599011"/>
                    <a:gd name="connsiteY2232" fmla="*/ 646660 h 680138"/>
                    <a:gd name="connsiteX2233" fmla="*/ 339019 w 599011"/>
                    <a:gd name="connsiteY2233" fmla="*/ 645798 h 680138"/>
                    <a:gd name="connsiteX2234" fmla="*/ 339699 w 599011"/>
                    <a:gd name="connsiteY2234" fmla="*/ 644474 h 680138"/>
                    <a:gd name="connsiteX2235" fmla="*/ 340452 w 599011"/>
                    <a:gd name="connsiteY2235" fmla="*/ 643005 h 680138"/>
                    <a:gd name="connsiteX2236" fmla="*/ 340779 w 599011"/>
                    <a:gd name="connsiteY2236" fmla="*/ 642374 h 680138"/>
                    <a:gd name="connsiteX2237" fmla="*/ 340949 w 599011"/>
                    <a:gd name="connsiteY2237" fmla="*/ 641681 h 680138"/>
                    <a:gd name="connsiteX2238" fmla="*/ 341289 w 599011"/>
                    <a:gd name="connsiteY2238" fmla="*/ 640285 h 680138"/>
                    <a:gd name="connsiteX2239" fmla="*/ 341884 w 599011"/>
                    <a:gd name="connsiteY2239" fmla="*/ 637856 h 680138"/>
                    <a:gd name="connsiteX2240" fmla="*/ 340597 w 599011"/>
                    <a:gd name="connsiteY2240" fmla="*/ 635707 h 680138"/>
                    <a:gd name="connsiteX2241" fmla="*/ 340112 w 599011"/>
                    <a:gd name="connsiteY2241" fmla="*/ 634906 h 680138"/>
                    <a:gd name="connsiteX2242" fmla="*/ 339857 w 599011"/>
                    <a:gd name="connsiteY2242" fmla="*/ 634323 h 680138"/>
                    <a:gd name="connsiteX2243" fmla="*/ 339602 w 599011"/>
                    <a:gd name="connsiteY2243" fmla="*/ 633230 h 680138"/>
                    <a:gd name="connsiteX2244" fmla="*/ 339359 w 599011"/>
                    <a:gd name="connsiteY2244" fmla="*/ 630826 h 680138"/>
                    <a:gd name="connsiteX2245" fmla="*/ 339298 w 599011"/>
                    <a:gd name="connsiteY2245" fmla="*/ 630243 h 680138"/>
                    <a:gd name="connsiteX2246" fmla="*/ 339128 w 599011"/>
                    <a:gd name="connsiteY2246" fmla="*/ 629684 h 680138"/>
                    <a:gd name="connsiteX2247" fmla="*/ 338667 w 599011"/>
                    <a:gd name="connsiteY2247" fmla="*/ 628154 h 680138"/>
                    <a:gd name="connsiteX2248" fmla="*/ 338387 w 599011"/>
                    <a:gd name="connsiteY2248" fmla="*/ 627195 h 680138"/>
                    <a:gd name="connsiteX2249" fmla="*/ 337804 w 599011"/>
                    <a:gd name="connsiteY2249" fmla="*/ 626381 h 680138"/>
                    <a:gd name="connsiteX2250" fmla="*/ 337161 w 599011"/>
                    <a:gd name="connsiteY2250" fmla="*/ 625471 h 680138"/>
                    <a:gd name="connsiteX2251" fmla="*/ 336590 w 599011"/>
                    <a:gd name="connsiteY2251" fmla="*/ 624669 h 680138"/>
                    <a:gd name="connsiteX2252" fmla="*/ 335801 w 599011"/>
                    <a:gd name="connsiteY2252" fmla="*/ 624086 h 680138"/>
                    <a:gd name="connsiteX2253" fmla="*/ 334878 w 599011"/>
                    <a:gd name="connsiteY2253" fmla="*/ 623418 h 680138"/>
                    <a:gd name="connsiteX2254" fmla="*/ 334854 w 599011"/>
                    <a:gd name="connsiteY2254" fmla="*/ 622228 h 680138"/>
                    <a:gd name="connsiteX2255" fmla="*/ 335072 w 599011"/>
                    <a:gd name="connsiteY2255" fmla="*/ 618537 h 680138"/>
                    <a:gd name="connsiteX2256" fmla="*/ 335097 w 599011"/>
                    <a:gd name="connsiteY2256" fmla="*/ 617991 h 680138"/>
                    <a:gd name="connsiteX2257" fmla="*/ 335036 w 599011"/>
                    <a:gd name="connsiteY2257" fmla="*/ 617456 h 680138"/>
                    <a:gd name="connsiteX2258" fmla="*/ 334684 w 599011"/>
                    <a:gd name="connsiteY2258" fmla="*/ 614591 h 680138"/>
                    <a:gd name="connsiteX2259" fmla="*/ 334599 w 599011"/>
                    <a:gd name="connsiteY2259" fmla="*/ 613898 h 680138"/>
                    <a:gd name="connsiteX2260" fmla="*/ 334356 w 599011"/>
                    <a:gd name="connsiteY2260" fmla="*/ 613243 h 680138"/>
                    <a:gd name="connsiteX2261" fmla="*/ 331830 w 599011"/>
                    <a:gd name="connsiteY2261" fmla="*/ 606345 h 680138"/>
                    <a:gd name="connsiteX2262" fmla="*/ 330689 w 599011"/>
                    <a:gd name="connsiteY2262" fmla="*/ 601901 h 680138"/>
                    <a:gd name="connsiteX2263" fmla="*/ 330664 w 599011"/>
                    <a:gd name="connsiteY2263" fmla="*/ 600408 h 680138"/>
                    <a:gd name="connsiteX2264" fmla="*/ 330944 w 599011"/>
                    <a:gd name="connsiteY2264" fmla="*/ 598768 h 680138"/>
                    <a:gd name="connsiteX2265" fmla="*/ 331101 w 599011"/>
                    <a:gd name="connsiteY2265" fmla="*/ 598161 h 680138"/>
                    <a:gd name="connsiteX2266" fmla="*/ 332522 w 599011"/>
                    <a:gd name="connsiteY2266" fmla="*/ 598538 h 680138"/>
                    <a:gd name="connsiteX2267" fmla="*/ 332947 w 599011"/>
                    <a:gd name="connsiteY2267" fmla="*/ 598659 h 680138"/>
                    <a:gd name="connsiteX2268" fmla="*/ 333384 w 599011"/>
                    <a:gd name="connsiteY2268" fmla="*/ 598708 h 680138"/>
                    <a:gd name="connsiteX2269" fmla="*/ 334829 w 599011"/>
                    <a:gd name="connsiteY2269" fmla="*/ 598878 h 680138"/>
                    <a:gd name="connsiteX2270" fmla="*/ 335485 w 599011"/>
                    <a:gd name="connsiteY2270" fmla="*/ 598950 h 680138"/>
                    <a:gd name="connsiteX2271" fmla="*/ 336153 w 599011"/>
                    <a:gd name="connsiteY2271" fmla="*/ 598890 h 680138"/>
                    <a:gd name="connsiteX2272" fmla="*/ 337865 w 599011"/>
                    <a:gd name="connsiteY2272" fmla="*/ 598720 h 680138"/>
                    <a:gd name="connsiteX2273" fmla="*/ 338484 w 599011"/>
                    <a:gd name="connsiteY2273" fmla="*/ 598659 h 680138"/>
                    <a:gd name="connsiteX2274" fmla="*/ 339079 w 599011"/>
                    <a:gd name="connsiteY2274" fmla="*/ 598477 h 680138"/>
                    <a:gd name="connsiteX2275" fmla="*/ 340342 w 599011"/>
                    <a:gd name="connsiteY2275" fmla="*/ 598076 h 680138"/>
                    <a:gd name="connsiteX2276" fmla="*/ 341241 w 599011"/>
                    <a:gd name="connsiteY2276" fmla="*/ 597797 h 680138"/>
                    <a:gd name="connsiteX2277" fmla="*/ 342006 w 599011"/>
                    <a:gd name="connsiteY2277" fmla="*/ 597263 h 680138"/>
                    <a:gd name="connsiteX2278" fmla="*/ 342637 w 599011"/>
                    <a:gd name="connsiteY2278" fmla="*/ 596813 h 680138"/>
                    <a:gd name="connsiteX2279" fmla="*/ 348357 w 599011"/>
                    <a:gd name="connsiteY2279" fmla="*/ 601488 h 680138"/>
                    <a:gd name="connsiteX2280" fmla="*/ 350032 w 599011"/>
                    <a:gd name="connsiteY2280" fmla="*/ 602861 h 680138"/>
                    <a:gd name="connsiteX2281" fmla="*/ 352194 w 599011"/>
                    <a:gd name="connsiteY2281" fmla="*/ 602861 h 680138"/>
                    <a:gd name="connsiteX2282" fmla="*/ 354719 w 599011"/>
                    <a:gd name="connsiteY2282" fmla="*/ 602861 h 680138"/>
                    <a:gd name="connsiteX2283" fmla="*/ 355363 w 599011"/>
                    <a:gd name="connsiteY2283" fmla="*/ 602861 h 680138"/>
                    <a:gd name="connsiteX2284" fmla="*/ 355995 w 599011"/>
                    <a:gd name="connsiteY2284" fmla="*/ 602727 h 680138"/>
                    <a:gd name="connsiteX2285" fmla="*/ 358739 w 599011"/>
                    <a:gd name="connsiteY2285" fmla="*/ 602132 h 680138"/>
                    <a:gd name="connsiteX2286" fmla="*/ 360815 w 599011"/>
                    <a:gd name="connsiteY2286" fmla="*/ 601683 h 680138"/>
                    <a:gd name="connsiteX2287" fmla="*/ 362151 w 599011"/>
                    <a:gd name="connsiteY2287" fmla="*/ 600043 h 680138"/>
                    <a:gd name="connsiteX2288" fmla="*/ 364106 w 599011"/>
                    <a:gd name="connsiteY2288" fmla="*/ 597651 h 680138"/>
                    <a:gd name="connsiteX2289" fmla="*/ 364968 w 599011"/>
                    <a:gd name="connsiteY2289" fmla="*/ 596607 h 680138"/>
                    <a:gd name="connsiteX2290" fmla="*/ 365296 w 599011"/>
                    <a:gd name="connsiteY2290" fmla="*/ 595296 h 680138"/>
                    <a:gd name="connsiteX2291" fmla="*/ 365927 w 599011"/>
                    <a:gd name="connsiteY2291" fmla="*/ 592806 h 680138"/>
                    <a:gd name="connsiteX2292" fmla="*/ 366304 w 599011"/>
                    <a:gd name="connsiteY2292" fmla="*/ 591325 h 680138"/>
                    <a:gd name="connsiteX2293" fmla="*/ 365927 w 599011"/>
                    <a:gd name="connsiteY2293" fmla="*/ 589843 h 680138"/>
                    <a:gd name="connsiteX2294" fmla="*/ 365417 w 599011"/>
                    <a:gd name="connsiteY2294" fmla="*/ 587803 h 680138"/>
                    <a:gd name="connsiteX2295" fmla="*/ 365065 w 599011"/>
                    <a:gd name="connsiteY2295" fmla="*/ 586370 h 680138"/>
                    <a:gd name="connsiteX2296" fmla="*/ 364082 w 599011"/>
                    <a:gd name="connsiteY2296" fmla="*/ 585265 h 680138"/>
                    <a:gd name="connsiteX2297" fmla="*/ 362940 w 599011"/>
                    <a:gd name="connsiteY2297" fmla="*/ 583978 h 680138"/>
                    <a:gd name="connsiteX2298" fmla="*/ 363924 w 599011"/>
                    <a:gd name="connsiteY2298" fmla="*/ 583055 h 680138"/>
                    <a:gd name="connsiteX2299" fmla="*/ 364385 w 599011"/>
                    <a:gd name="connsiteY2299" fmla="*/ 581416 h 680138"/>
                    <a:gd name="connsiteX2300" fmla="*/ 364482 w 599011"/>
                    <a:gd name="connsiteY2300" fmla="*/ 581064 h 680138"/>
                    <a:gd name="connsiteX2301" fmla="*/ 365017 w 599011"/>
                    <a:gd name="connsiteY2301" fmla="*/ 580979 h 680138"/>
                    <a:gd name="connsiteX2302" fmla="*/ 372120 w 599011"/>
                    <a:gd name="connsiteY2302" fmla="*/ 579825 h 680138"/>
                    <a:gd name="connsiteX2303" fmla="*/ 371987 w 599011"/>
                    <a:gd name="connsiteY2303" fmla="*/ 580299 h 680138"/>
                    <a:gd name="connsiteX2304" fmla="*/ 371695 w 599011"/>
                    <a:gd name="connsiteY2304" fmla="*/ 581331 h 680138"/>
                    <a:gd name="connsiteX2305" fmla="*/ 371246 w 599011"/>
                    <a:gd name="connsiteY2305" fmla="*/ 582934 h 680138"/>
                    <a:gd name="connsiteX2306" fmla="*/ 371683 w 599011"/>
                    <a:gd name="connsiteY2306" fmla="*/ 584537 h 680138"/>
                    <a:gd name="connsiteX2307" fmla="*/ 372035 w 599011"/>
                    <a:gd name="connsiteY2307" fmla="*/ 585848 h 680138"/>
                    <a:gd name="connsiteX2308" fmla="*/ 372290 w 599011"/>
                    <a:gd name="connsiteY2308" fmla="*/ 586808 h 680138"/>
                    <a:gd name="connsiteX2309" fmla="*/ 372837 w 599011"/>
                    <a:gd name="connsiteY2309" fmla="*/ 587633 h 680138"/>
                    <a:gd name="connsiteX2310" fmla="*/ 373565 w 599011"/>
                    <a:gd name="connsiteY2310" fmla="*/ 588726 h 680138"/>
                    <a:gd name="connsiteX2311" fmla="*/ 373383 w 599011"/>
                    <a:gd name="connsiteY2311" fmla="*/ 588848 h 680138"/>
                    <a:gd name="connsiteX2312" fmla="*/ 372885 w 599011"/>
                    <a:gd name="connsiteY2312" fmla="*/ 591179 h 680138"/>
                    <a:gd name="connsiteX2313" fmla="*/ 372643 w 599011"/>
                    <a:gd name="connsiteY2313" fmla="*/ 592320 h 680138"/>
                    <a:gd name="connsiteX2314" fmla="*/ 372084 w 599011"/>
                    <a:gd name="connsiteY2314" fmla="*/ 594992 h 680138"/>
                    <a:gd name="connsiteX2315" fmla="*/ 373699 w 599011"/>
                    <a:gd name="connsiteY2315" fmla="*/ 597190 h 680138"/>
                    <a:gd name="connsiteX2316" fmla="*/ 374512 w 599011"/>
                    <a:gd name="connsiteY2316" fmla="*/ 598295 h 680138"/>
                    <a:gd name="connsiteX2317" fmla="*/ 375448 w 599011"/>
                    <a:gd name="connsiteY2317" fmla="*/ 599558 h 680138"/>
                    <a:gd name="connsiteX2318" fmla="*/ 376868 w 599011"/>
                    <a:gd name="connsiteY2318" fmla="*/ 600213 h 680138"/>
                    <a:gd name="connsiteX2319" fmla="*/ 383814 w 599011"/>
                    <a:gd name="connsiteY2319" fmla="*/ 603395 h 680138"/>
                    <a:gd name="connsiteX2320" fmla="*/ 384676 w 599011"/>
                    <a:gd name="connsiteY2320" fmla="*/ 603783 h 680138"/>
                    <a:gd name="connsiteX2321" fmla="*/ 385611 w 599011"/>
                    <a:gd name="connsiteY2321" fmla="*/ 603893 h 680138"/>
                    <a:gd name="connsiteX2322" fmla="*/ 387445 w 599011"/>
                    <a:gd name="connsiteY2322" fmla="*/ 604123 h 680138"/>
                    <a:gd name="connsiteX2323" fmla="*/ 387979 w 599011"/>
                    <a:gd name="connsiteY2323" fmla="*/ 604196 h 680138"/>
                    <a:gd name="connsiteX2324" fmla="*/ 388246 w 599011"/>
                    <a:gd name="connsiteY2324" fmla="*/ 604184 h 680138"/>
                    <a:gd name="connsiteX2325" fmla="*/ 389570 w 599011"/>
                    <a:gd name="connsiteY2325" fmla="*/ 609563 h 680138"/>
                    <a:gd name="connsiteX2326" fmla="*/ 389691 w 599011"/>
                    <a:gd name="connsiteY2326" fmla="*/ 610061 h 680138"/>
                    <a:gd name="connsiteX2327" fmla="*/ 389898 w 599011"/>
                    <a:gd name="connsiteY2327" fmla="*/ 610523 h 680138"/>
                    <a:gd name="connsiteX2328" fmla="*/ 390590 w 599011"/>
                    <a:gd name="connsiteY2328" fmla="*/ 612125 h 680138"/>
                    <a:gd name="connsiteX2329" fmla="*/ 390796 w 599011"/>
                    <a:gd name="connsiteY2329" fmla="*/ 612599 h 680138"/>
                    <a:gd name="connsiteX2330" fmla="*/ 391075 w 599011"/>
                    <a:gd name="connsiteY2330" fmla="*/ 613024 h 680138"/>
                    <a:gd name="connsiteX2331" fmla="*/ 391938 w 599011"/>
                    <a:gd name="connsiteY2331" fmla="*/ 614348 h 680138"/>
                    <a:gd name="connsiteX2332" fmla="*/ 392387 w 599011"/>
                    <a:gd name="connsiteY2332" fmla="*/ 615040 h 680138"/>
                    <a:gd name="connsiteX2333" fmla="*/ 393006 w 599011"/>
                    <a:gd name="connsiteY2333" fmla="*/ 615586 h 680138"/>
                    <a:gd name="connsiteX2334" fmla="*/ 394731 w 599011"/>
                    <a:gd name="connsiteY2334" fmla="*/ 617104 h 680138"/>
                    <a:gd name="connsiteX2335" fmla="*/ 396455 w 599011"/>
                    <a:gd name="connsiteY2335" fmla="*/ 618622 h 680138"/>
                    <a:gd name="connsiteX2336" fmla="*/ 398750 w 599011"/>
                    <a:gd name="connsiteY2336" fmla="*/ 618622 h 680138"/>
                    <a:gd name="connsiteX2337" fmla="*/ 399952 w 599011"/>
                    <a:gd name="connsiteY2337" fmla="*/ 618622 h 680138"/>
                    <a:gd name="connsiteX2338" fmla="*/ 401846 w 599011"/>
                    <a:gd name="connsiteY2338" fmla="*/ 618622 h 680138"/>
                    <a:gd name="connsiteX2339" fmla="*/ 403401 w 599011"/>
                    <a:gd name="connsiteY2339" fmla="*/ 617553 h 680138"/>
                    <a:gd name="connsiteX2340" fmla="*/ 404894 w 599011"/>
                    <a:gd name="connsiteY2340" fmla="*/ 616521 h 680138"/>
                    <a:gd name="connsiteX2341" fmla="*/ 405659 w 599011"/>
                    <a:gd name="connsiteY2341" fmla="*/ 615987 h 680138"/>
                    <a:gd name="connsiteX2342" fmla="*/ 406230 w 599011"/>
                    <a:gd name="connsiteY2342" fmla="*/ 615246 h 680138"/>
                    <a:gd name="connsiteX2343" fmla="*/ 408913 w 599011"/>
                    <a:gd name="connsiteY2343" fmla="*/ 611798 h 680138"/>
                    <a:gd name="connsiteX2344" fmla="*/ 410261 w 599011"/>
                    <a:gd name="connsiteY2344" fmla="*/ 611215 h 680138"/>
                    <a:gd name="connsiteX2345" fmla="*/ 411463 w 599011"/>
                    <a:gd name="connsiteY2345" fmla="*/ 610863 h 680138"/>
                    <a:gd name="connsiteX2346" fmla="*/ 414985 w 599011"/>
                    <a:gd name="connsiteY2346" fmla="*/ 610535 h 680138"/>
                    <a:gd name="connsiteX2347" fmla="*/ 415349 w 599011"/>
                    <a:gd name="connsiteY2347" fmla="*/ 610511 h 680138"/>
                    <a:gd name="connsiteX2348" fmla="*/ 415701 w 599011"/>
                    <a:gd name="connsiteY2348" fmla="*/ 610438 h 680138"/>
                    <a:gd name="connsiteX2349" fmla="*/ 418106 w 599011"/>
                    <a:gd name="connsiteY2349" fmla="*/ 609916 h 680138"/>
                    <a:gd name="connsiteX2350" fmla="*/ 418652 w 599011"/>
                    <a:gd name="connsiteY2350" fmla="*/ 609794 h 680138"/>
                    <a:gd name="connsiteX2351" fmla="*/ 419174 w 599011"/>
                    <a:gd name="connsiteY2351" fmla="*/ 609576 h 680138"/>
                    <a:gd name="connsiteX2352" fmla="*/ 420789 w 599011"/>
                    <a:gd name="connsiteY2352" fmla="*/ 608896 h 680138"/>
                    <a:gd name="connsiteX2353" fmla="*/ 423351 w 599011"/>
                    <a:gd name="connsiteY2353" fmla="*/ 607815 h 680138"/>
                    <a:gd name="connsiteX2354" fmla="*/ 424201 w 599011"/>
                    <a:gd name="connsiteY2354" fmla="*/ 605156 h 680138"/>
                    <a:gd name="connsiteX2355" fmla="*/ 424481 w 599011"/>
                    <a:gd name="connsiteY2355" fmla="*/ 604281 h 680138"/>
                    <a:gd name="connsiteX2356" fmla="*/ 424942 w 599011"/>
                    <a:gd name="connsiteY2356" fmla="*/ 602861 h 680138"/>
                    <a:gd name="connsiteX2357" fmla="*/ 424687 w 599011"/>
                    <a:gd name="connsiteY2357" fmla="*/ 601391 h 680138"/>
                    <a:gd name="connsiteX2358" fmla="*/ 424408 w 599011"/>
                    <a:gd name="connsiteY2358" fmla="*/ 599788 h 680138"/>
                    <a:gd name="connsiteX2359" fmla="*/ 424274 w 599011"/>
                    <a:gd name="connsiteY2359" fmla="*/ 599023 h 680138"/>
                    <a:gd name="connsiteX2360" fmla="*/ 423946 w 599011"/>
                    <a:gd name="connsiteY2360" fmla="*/ 598319 h 680138"/>
                    <a:gd name="connsiteX2361" fmla="*/ 421991 w 599011"/>
                    <a:gd name="connsiteY2361" fmla="*/ 594008 h 680138"/>
                    <a:gd name="connsiteX2362" fmla="*/ 421676 w 599011"/>
                    <a:gd name="connsiteY2362" fmla="*/ 593085 h 680138"/>
                    <a:gd name="connsiteX2363" fmla="*/ 421615 w 599011"/>
                    <a:gd name="connsiteY2363" fmla="*/ 592721 h 680138"/>
                    <a:gd name="connsiteX2364" fmla="*/ 422198 w 599011"/>
                    <a:gd name="connsiteY2364" fmla="*/ 592236 h 680138"/>
                    <a:gd name="connsiteX2365" fmla="*/ 424481 w 599011"/>
                    <a:gd name="connsiteY2365" fmla="*/ 590985 h 680138"/>
                    <a:gd name="connsiteX2366" fmla="*/ 424979 w 599011"/>
                    <a:gd name="connsiteY2366" fmla="*/ 590718 h 680138"/>
                    <a:gd name="connsiteX2367" fmla="*/ 425416 w 599011"/>
                    <a:gd name="connsiteY2367" fmla="*/ 590365 h 680138"/>
                    <a:gd name="connsiteX2368" fmla="*/ 426970 w 599011"/>
                    <a:gd name="connsiteY2368" fmla="*/ 589103 h 680138"/>
                    <a:gd name="connsiteX2369" fmla="*/ 427298 w 599011"/>
                    <a:gd name="connsiteY2369" fmla="*/ 588835 h 680138"/>
                    <a:gd name="connsiteX2370" fmla="*/ 427589 w 599011"/>
                    <a:gd name="connsiteY2370" fmla="*/ 588532 h 680138"/>
                    <a:gd name="connsiteX2371" fmla="*/ 429034 w 599011"/>
                    <a:gd name="connsiteY2371" fmla="*/ 586977 h 680138"/>
                    <a:gd name="connsiteX2372" fmla="*/ 429229 w 599011"/>
                    <a:gd name="connsiteY2372" fmla="*/ 586856 h 680138"/>
                    <a:gd name="connsiteX2373" fmla="*/ 430856 w 599011"/>
                    <a:gd name="connsiteY2373" fmla="*/ 586128 h 680138"/>
                    <a:gd name="connsiteX2374" fmla="*/ 431499 w 599011"/>
                    <a:gd name="connsiteY2374" fmla="*/ 585848 h 680138"/>
                    <a:gd name="connsiteX2375" fmla="*/ 432058 w 599011"/>
                    <a:gd name="connsiteY2375" fmla="*/ 585423 h 680138"/>
                    <a:gd name="connsiteX2376" fmla="*/ 435555 w 599011"/>
                    <a:gd name="connsiteY2376" fmla="*/ 582776 h 680138"/>
                    <a:gd name="connsiteX2377" fmla="*/ 436818 w 599011"/>
                    <a:gd name="connsiteY2377" fmla="*/ 581647 h 680138"/>
                    <a:gd name="connsiteX2378" fmla="*/ 440352 w 599011"/>
                    <a:gd name="connsiteY2378" fmla="*/ 579522 h 680138"/>
                    <a:gd name="connsiteX2379" fmla="*/ 441202 w 599011"/>
                    <a:gd name="connsiteY2379" fmla="*/ 579012 h 680138"/>
                    <a:gd name="connsiteX2380" fmla="*/ 441845 w 599011"/>
                    <a:gd name="connsiteY2380" fmla="*/ 578247 h 680138"/>
                    <a:gd name="connsiteX2381" fmla="*/ 446496 w 599011"/>
                    <a:gd name="connsiteY2381" fmla="*/ 572770 h 680138"/>
                    <a:gd name="connsiteX2382" fmla="*/ 447152 w 599011"/>
                    <a:gd name="connsiteY2382" fmla="*/ 572005 h 680138"/>
                    <a:gd name="connsiteX2383" fmla="*/ 447528 w 599011"/>
                    <a:gd name="connsiteY2383" fmla="*/ 571058 h 680138"/>
                    <a:gd name="connsiteX2384" fmla="*/ 448536 w 599011"/>
                    <a:gd name="connsiteY2384" fmla="*/ 568484 h 680138"/>
                    <a:gd name="connsiteX2385" fmla="*/ 449131 w 599011"/>
                    <a:gd name="connsiteY2385" fmla="*/ 567609 h 680138"/>
                    <a:gd name="connsiteX2386" fmla="*/ 449665 w 599011"/>
                    <a:gd name="connsiteY2386" fmla="*/ 567051 h 680138"/>
                    <a:gd name="connsiteX2387" fmla="*/ 452349 w 599011"/>
                    <a:gd name="connsiteY2387" fmla="*/ 565424 h 680138"/>
                    <a:gd name="connsiteX2388" fmla="*/ 452604 w 599011"/>
                    <a:gd name="connsiteY2388" fmla="*/ 565654 h 680138"/>
                    <a:gd name="connsiteX2389" fmla="*/ 452835 w 599011"/>
                    <a:gd name="connsiteY2389" fmla="*/ 565946 h 680138"/>
                    <a:gd name="connsiteX2390" fmla="*/ 454547 w 599011"/>
                    <a:gd name="connsiteY2390" fmla="*/ 568739 h 680138"/>
                    <a:gd name="connsiteX2391" fmla="*/ 454875 w 599011"/>
                    <a:gd name="connsiteY2391" fmla="*/ 569285 h 680138"/>
                    <a:gd name="connsiteX2392" fmla="*/ 455312 w 599011"/>
                    <a:gd name="connsiteY2392" fmla="*/ 569759 h 680138"/>
                    <a:gd name="connsiteX2393" fmla="*/ 456987 w 599011"/>
                    <a:gd name="connsiteY2393" fmla="*/ 571532 h 680138"/>
                    <a:gd name="connsiteX2394" fmla="*/ 457291 w 599011"/>
                    <a:gd name="connsiteY2394" fmla="*/ 571860 h 680138"/>
                    <a:gd name="connsiteX2395" fmla="*/ 457643 w 599011"/>
                    <a:gd name="connsiteY2395" fmla="*/ 572127 h 680138"/>
                    <a:gd name="connsiteX2396" fmla="*/ 464407 w 599011"/>
                    <a:gd name="connsiteY2396" fmla="*/ 577445 h 680138"/>
                    <a:gd name="connsiteX2397" fmla="*/ 465135 w 599011"/>
                    <a:gd name="connsiteY2397" fmla="*/ 578259 h 680138"/>
                    <a:gd name="connsiteX2398" fmla="*/ 465390 w 599011"/>
                    <a:gd name="connsiteY2398" fmla="*/ 578817 h 680138"/>
                    <a:gd name="connsiteX2399" fmla="*/ 465500 w 599011"/>
                    <a:gd name="connsiteY2399" fmla="*/ 579546 h 680138"/>
                    <a:gd name="connsiteX2400" fmla="*/ 465415 w 599011"/>
                    <a:gd name="connsiteY2400" fmla="*/ 580748 h 680138"/>
                    <a:gd name="connsiteX2401" fmla="*/ 462379 w 599011"/>
                    <a:gd name="connsiteY2401" fmla="*/ 591288 h 680138"/>
                    <a:gd name="connsiteX2402" fmla="*/ 462282 w 599011"/>
                    <a:gd name="connsiteY2402" fmla="*/ 591616 h 680138"/>
                    <a:gd name="connsiteX2403" fmla="*/ 462233 w 599011"/>
                    <a:gd name="connsiteY2403" fmla="*/ 591944 h 680138"/>
                    <a:gd name="connsiteX2404" fmla="*/ 461662 w 599011"/>
                    <a:gd name="connsiteY2404" fmla="*/ 595271 h 680138"/>
                    <a:gd name="connsiteX2405" fmla="*/ 461553 w 599011"/>
                    <a:gd name="connsiteY2405" fmla="*/ 595866 h 680138"/>
                    <a:gd name="connsiteX2406" fmla="*/ 461565 w 599011"/>
                    <a:gd name="connsiteY2406" fmla="*/ 596473 h 680138"/>
                    <a:gd name="connsiteX2407" fmla="*/ 461675 w 599011"/>
                    <a:gd name="connsiteY2407" fmla="*/ 600128 h 680138"/>
                    <a:gd name="connsiteX2408" fmla="*/ 461687 w 599011"/>
                    <a:gd name="connsiteY2408" fmla="*/ 600675 h 680138"/>
                    <a:gd name="connsiteX2409" fmla="*/ 461808 w 599011"/>
                    <a:gd name="connsiteY2409" fmla="*/ 601209 h 680138"/>
                    <a:gd name="connsiteX2410" fmla="*/ 462561 w 599011"/>
                    <a:gd name="connsiteY2410" fmla="*/ 604730 h 680138"/>
                    <a:gd name="connsiteX2411" fmla="*/ 462682 w 599011"/>
                    <a:gd name="connsiteY2411" fmla="*/ 605313 h 680138"/>
                    <a:gd name="connsiteX2412" fmla="*/ 462925 w 599011"/>
                    <a:gd name="connsiteY2412" fmla="*/ 605860 h 680138"/>
                    <a:gd name="connsiteX2413" fmla="*/ 464297 w 599011"/>
                    <a:gd name="connsiteY2413" fmla="*/ 609041 h 680138"/>
                    <a:gd name="connsiteX2414" fmla="*/ 464698 w 599011"/>
                    <a:gd name="connsiteY2414" fmla="*/ 610523 h 680138"/>
                    <a:gd name="connsiteX2415" fmla="*/ 464650 w 599011"/>
                    <a:gd name="connsiteY2415" fmla="*/ 610778 h 680138"/>
                    <a:gd name="connsiteX2416" fmla="*/ 464395 w 599011"/>
                    <a:gd name="connsiteY2416" fmla="*/ 611749 h 680138"/>
                    <a:gd name="connsiteX2417" fmla="*/ 464261 w 599011"/>
                    <a:gd name="connsiteY2417" fmla="*/ 612283 h 680138"/>
                    <a:gd name="connsiteX2418" fmla="*/ 464224 w 599011"/>
                    <a:gd name="connsiteY2418" fmla="*/ 612818 h 680138"/>
                    <a:gd name="connsiteX2419" fmla="*/ 464103 w 599011"/>
                    <a:gd name="connsiteY2419" fmla="*/ 614481 h 680138"/>
                    <a:gd name="connsiteX2420" fmla="*/ 464079 w 599011"/>
                    <a:gd name="connsiteY2420" fmla="*/ 614870 h 680138"/>
                    <a:gd name="connsiteX2421" fmla="*/ 464103 w 599011"/>
                    <a:gd name="connsiteY2421" fmla="*/ 615258 h 680138"/>
                    <a:gd name="connsiteX2422" fmla="*/ 464224 w 599011"/>
                    <a:gd name="connsiteY2422" fmla="*/ 617408 h 680138"/>
                    <a:gd name="connsiteX2423" fmla="*/ 464273 w 599011"/>
                    <a:gd name="connsiteY2423" fmla="*/ 618294 h 680138"/>
                    <a:gd name="connsiteX2424" fmla="*/ 464577 w 599011"/>
                    <a:gd name="connsiteY2424" fmla="*/ 619132 h 680138"/>
                    <a:gd name="connsiteX2425" fmla="*/ 465584 w 599011"/>
                    <a:gd name="connsiteY2425" fmla="*/ 621901 h 680138"/>
                    <a:gd name="connsiteX2426" fmla="*/ 465803 w 599011"/>
                    <a:gd name="connsiteY2426" fmla="*/ 622969 h 680138"/>
                    <a:gd name="connsiteX2427" fmla="*/ 465815 w 599011"/>
                    <a:gd name="connsiteY2427" fmla="*/ 623455 h 680138"/>
                    <a:gd name="connsiteX2428" fmla="*/ 465366 w 599011"/>
                    <a:gd name="connsiteY2428" fmla="*/ 625786 h 680138"/>
                    <a:gd name="connsiteX2429" fmla="*/ 465208 w 599011"/>
                    <a:gd name="connsiteY2429" fmla="*/ 626636 h 680138"/>
                    <a:gd name="connsiteX2430" fmla="*/ 465293 w 599011"/>
                    <a:gd name="connsiteY2430" fmla="*/ 627511 h 680138"/>
                    <a:gd name="connsiteX2431" fmla="*/ 465912 w 599011"/>
                    <a:gd name="connsiteY2431" fmla="*/ 633886 h 680138"/>
                    <a:gd name="connsiteX2432" fmla="*/ 465852 w 599011"/>
                    <a:gd name="connsiteY2432" fmla="*/ 634238 h 680138"/>
                    <a:gd name="connsiteX2433" fmla="*/ 465791 w 599011"/>
                    <a:gd name="connsiteY2433" fmla="*/ 634469 h 680138"/>
                    <a:gd name="connsiteX2434" fmla="*/ 465682 w 599011"/>
                    <a:gd name="connsiteY2434" fmla="*/ 634699 h 680138"/>
                    <a:gd name="connsiteX2435" fmla="*/ 462500 w 599011"/>
                    <a:gd name="connsiteY2435" fmla="*/ 639119 h 680138"/>
                    <a:gd name="connsiteX2436" fmla="*/ 462148 w 599011"/>
                    <a:gd name="connsiteY2436" fmla="*/ 639617 h 680138"/>
                    <a:gd name="connsiteX2437" fmla="*/ 461893 w 599011"/>
                    <a:gd name="connsiteY2437" fmla="*/ 640176 h 680138"/>
                    <a:gd name="connsiteX2438" fmla="*/ 461201 w 599011"/>
                    <a:gd name="connsiteY2438" fmla="*/ 641730 h 680138"/>
                    <a:gd name="connsiteX2439" fmla="*/ 460910 w 599011"/>
                    <a:gd name="connsiteY2439" fmla="*/ 642374 h 680138"/>
                    <a:gd name="connsiteX2440" fmla="*/ 460776 w 599011"/>
                    <a:gd name="connsiteY2440" fmla="*/ 643066 h 680138"/>
                    <a:gd name="connsiteX2441" fmla="*/ 458032 w 599011"/>
                    <a:gd name="connsiteY2441" fmla="*/ 657467 h 680138"/>
                    <a:gd name="connsiteX2442" fmla="*/ 457922 w 599011"/>
                    <a:gd name="connsiteY2442" fmla="*/ 658026 h 680138"/>
                    <a:gd name="connsiteX2443" fmla="*/ 457922 w 599011"/>
                    <a:gd name="connsiteY2443" fmla="*/ 658597 h 680138"/>
                    <a:gd name="connsiteX2444" fmla="*/ 457922 w 599011"/>
                    <a:gd name="connsiteY2444" fmla="*/ 660552 h 680138"/>
                    <a:gd name="connsiteX2445" fmla="*/ 457922 w 599011"/>
                    <a:gd name="connsiteY2445" fmla="*/ 662130 h 680138"/>
                    <a:gd name="connsiteX2446" fmla="*/ 458687 w 599011"/>
                    <a:gd name="connsiteY2446" fmla="*/ 663515 h 680138"/>
                    <a:gd name="connsiteX2447" fmla="*/ 458748 w 599011"/>
                    <a:gd name="connsiteY2447" fmla="*/ 663636 h 680138"/>
                    <a:gd name="connsiteX2448" fmla="*/ 457837 w 599011"/>
                    <a:gd name="connsiteY2448" fmla="*/ 664364 h 680138"/>
                    <a:gd name="connsiteX2449" fmla="*/ 457242 w 599011"/>
                    <a:gd name="connsiteY2449" fmla="*/ 665530 h 680138"/>
                    <a:gd name="connsiteX2450" fmla="*/ 456562 w 599011"/>
                    <a:gd name="connsiteY2450" fmla="*/ 666866 h 680138"/>
                    <a:gd name="connsiteX2451" fmla="*/ 455603 w 599011"/>
                    <a:gd name="connsiteY2451" fmla="*/ 668736 h 680138"/>
                    <a:gd name="connsiteX2452" fmla="*/ 456004 w 599011"/>
                    <a:gd name="connsiteY2452" fmla="*/ 670800 h 680138"/>
                    <a:gd name="connsiteX2453" fmla="*/ 456235 w 599011"/>
                    <a:gd name="connsiteY2453" fmla="*/ 671978 h 680138"/>
                    <a:gd name="connsiteX2454" fmla="*/ 456502 w 599011"/>
                    <a:gd name="connsiteY2454" fmla="*/ 673362 h 680138"/>
                    <a:gd name="connsiteX2455" fmla="*/ 457352 w 599011"/>
                    <a:gd name="connsiteY2455" fmla="*/ 674480 h 680138"/>
                    <a:gd name="connsiteX2456" fmla="*/ 458165 w 599011"/>
                    <a:gd name="connsiteY2456" fmla="*/ 675548 h 680138"/>
                    <a:gd name="connsiteX2457" fmla="*/ 458627 w 599011"/>
                    <a:gd name="connsiteY2457" fmla="*/ 676143 h 680138"/>
                    <a:gd name="connsiteX2458" fmla="*/ 459210 w 599011"/>
                    <a:gd name="connsiteY2458" fmla="*/ 676617 h 680138"/>
                    <a:gd name="connsiteX2459" fmla="*/ 459999 w 599011"/>
                    <a:gd name="connsiteY2459" fmla="*/ 677248 h 680138"/>
                    <a:gd name="connsiteX2460" fmla="*/ 460472 w 599011"/>
                    <a:gd name="connsiteY2460" fmla="*/ 677625 h 680138"/>
                    <a:gd name="connsiteX2461" fmla="*/ 461007 w 599011"/>
                    <a:gd name="connsiteY2461" fmla="*/ 677904 h 680138"/>
                    <a:gd name="connsiteX2462" fmla="*/ 463022 w 599011"/>
                    <a:gd name="connsiteY2462" fmla="*/ 678936 h 680138"/>
                    <a:gd name="connsiteX2463" fmla="*/ 465366 w 599011"/>
                    <a:gd name="connsiteY2463" fmla="*/ 680138 h 680138"/>
                    <a:gd name="connsiteX2464" fmla="*/ 467843 w 599011"/>
                    <a:gd name="connsiteY2464" fmla="*/ 679252 h 680138"/>
                    <a:gd name="connsiteX2465" fmla="*/ 472385 w 599011"/>
                    <a:gd name="connsiteY2465" fmla="*/ 677625 h 680138"/>
                    <a:gd name="connsiteX2466" fmla="*/ 477303 w 599011"/>
                    <a:gd name="connsiteY2466" fmla="*/ 677795 h 680138"/>
                    <a:gd name="connsiteX2467" fmla="*/ 480387 w 599011"/>
                    <a:gd name="connsiteY2467" fmla="*/ 677904 h 680138"/>
                    <a:gd name="connsiteX2468" fmla="*/ 482293 w 599011"/>
                    <a:gd name="connsiteY2468" fmla="*/ 675475 h 680138"/>
                    <a:gd name="connsiteX2469" fmla="*/ 483848 w 599011"/>
                    <a:gd name="connsiteY2469" fmla="*/ 673496 h 680138"/>
                    <a:gd name="connsiteX2470" fmla="*/ 484370 w 599011"/>
                    <a:gd name="connsiteY2470" fmla="*/ 672828 h 680138"/>
                    <a:gd name="connsiteX2471" fmla="*/ 484685 w 599011"/>
                    <a:gd name="connsiteY2471" fmla="*/ 672051 h 680138"/>
                    <a:gd name="connsiteX2472" fmla="*/ 486604 w 599011"/>
                    <a:gd name="connsiteY2472" fmla="*/ 667340 h 680138"/>
                    <a:gd name="connsiteX2473" fmla="*/ 487393 w 599011"/>
                    <a:gd name="connsiteY2473" fmla="*/ 666417 h 680138"/>
                    <a:gd name="connsiteX2474" fmla="*/ 487964 w 599011"/>
                    <a:gd name="connsiteY2474" fmla="*/ 666162 h 680138"/>
                    <a:gd name="connsiteX2475" fmla="*/ 496622 w 599011"/>
                    <a:gd name="connsiteY2475" fmla="*/ 665275 h 680138"/>
                    <a:gd name="connsiteX2476" fmla="*/ 498601 w 599011"/>
                    <a:gd name="connsiteY2476" fmla="*/ 665069 h 680138"/>
                    <a:gd name="connsiteX2477" fmla="*/ 500083 w 599011"/>
                    <a:gd name="connsiteY2477" fmla="*/ 663733 h 680138"/>
                    <a:gd name="connsiteX2478" fmla="*/ 501236 w 599011"/>
                    <a:gd name="connsiteY2478" fmla="*/ 662689 h 680138"/>
                    <a:gd name="connsiteX2479" fmla="*/ 503738 w 599011"/>
                    <a:gd name="connsiteY2479" fmla="*/ 660418 h 680138"/>
                    <a:gd name="connsiteX2480" fmla="*/ 503131 w 599011"/>
                    <a:gd name="connsiteY2480" fmla="*/ 657091 h 680138"/>
                    <a:gd name="connsiteX2481" fmla="*/ 502839 w 599011"/>
                    <a:gd name="connsiteY2481" fmla="*/ 655512 h 680138"/>
                    <a:gd name="connsiteX2482" fmla="*/ 502645 w 599011"/>
                    <a:gd name="connsiteY2482" fmla="*/ 654468 h 680138"/>
                    <a:gd name="connsiteX2483" fmla="*/ 503021 w 599011"/>
                    <a:gd name="connsiteY2483" fmla="*/ 654565 h 680138"/>
                    <a:gd name="connsiteX2484" fmla="*/ 503993 w 599011"/>
                    <a:gd name="connsiteY2484" fmla="*/ 654820 h 680138"/>
                    <a:gd name="connsiteX2485" fmla="*/ 505000 w 599011"/>
                    <a:gd name="connsiteY2485" fmla="*/ 654747 h 680138"/>
                    <a:gd name="connsiteX2486" fmla="*/ 508109 w 599011"/>
                    <a:gd name="connsiteY2486" fmla="*/ 654517 h 680138"/>
                    <a:gd name="connsiteX2487" fmla="*/ 509712 w 599011"/>
                    <a:gd name="connsiteY2487" fmla="*/ 654407 h 680138"/>
                    <a:gd name="connsiteX2488" fmla="*/ 511048 w 599011"/>
                    <a:gd name="connsiteY2488" fmla="*/ 653509 h 680138"/>
                    <a:gd name="connsiteX2489" fmla="*/ 512165 w 599011"/>
                    <a:gd name="connsiteY2489" fmla="*/ 652756 h 680138"/>
                    <a:gd name="connsiteX2490" fmla="*/ 512493 w 599011"/>
                    <a:gd name="connsiteY2490" fmla="*/ 653241 h 680138"/>
                    <a:gd name="connsiteX2491" fmla="*/ 515298 w 599011"/>
                    <a:gd name="connsiteY2491" fmla="*/ 653509 h 680138"/>
                    <a:gd name="connsiteX2492" fmla="*/ 517314 w 599011"/>
                    <a:gd name="connsiteY2492" fmla="*/ 653703 h 680138"/>
                    <a:gd name="connsiteX2493" fmla="*/ 520034 w 599011"/>
                    <a:gd name="connsiteY2493" fmla="*/ 653958 h 680138"/>
                    <a:gd name="connsiteX2494" fmla="*/ 520956 w 599011"/>
                    <a:gd name="connsiteY2494" fmla="*/ 653096 h 680138"/>
                    <a:gd name="connsiteX2495" fmla="*/ 521588 w 599011"/>
                    <a:gd name="connsiteY2495" fmla="*/ 653436 h 680138"/>
                    <a:gd name="connsiteX2496" fmla="*/ 522790 w 599011"/>
                    <a:gd name="connsiteY2496" fmla="*/ 654092 h 680138"/>
                    <a:gd name="connsiteX2497" fmla="*/ 524623 w 599011"/>
                    <a:gd name="connsiteY2497" fmla="*/ 655099 h 680138"/>
                    <a:gd name="connsiteX2498" fmla="*/ 526688 w 599011"/>
                    <a:gd name="connsiteY2498" fmla="*/ 654759 h 680138"/>
                    <a:gd name="connsiteX2499" fmla="*/ 527368 w 599011"/>
                    <a:gd name="connsiteY2499" fmla="*/ 654650 h 680138"/>
                    <a:gd name="connsiteX2500" fmla="*/ 528861 w 599011"/>
                    <a:gd name="connsiteY2500" fmla="*/ 654407 h 680138"/>
                    <a:gd name="connsiteX2501" fmla="*/ 530064 w 599011"/>
                    <a:gd name="connsiteY2501" fmla="*/ 653484 h 680138"/>
                    <a:gd name="connsiteX2502" fmla="*/ 530938 w 599011"/>
                    <a:gd name="connsiteY2502" fmla="*/ 652829 h 680138"/>
                    <a:gd name="connsiteX2503" fmla="*/ 531569 w 599011"/>
                    <a:gd name="connsiteY2503" fmla="*/ 652343 h 680138"/>
                    <a:gd name="connsiteX2504" fmla="*/ 532067 w 599011"/>
                    <a:gd name="connsiteY2504" fmla="*/ 651712 h 680138"/>
                    <a:gd name="connsiteX2505" fmla="*/ 532565 w 599011"/>
                    <a:gd name="connsiteY2505" fmla="*/ 651068 h 680138"/>
                    <a:gd name="connsiteX2506" fmla="*/ 534180 w 599011"/>
                    <a:gd name="connsiteY2506" fmla="*/ 651347 h 680138"/>
                    <a:gd name="connsiteX2507" fmla="*/ 537179 w 599011"/>
                    <a:gd name="connsiteY2507" fmla="*/ 651881 h 680138"/>
                    <a:gd name="connsiteX2508" fmla="*/ 539402 w 599011"/>
                    <a:gd name="connsiteY2508" fmla="*/ 649793 h 680138"/>
                    <a:gd name="connsiteX2509" fmla="*/ 543858 w 599011"/>
                    <a:gd name="connsiteY2509" fmla="*/ 645604 h 680138"/>
                    <a:gd name="connsiteX2510" fmla="*/ 544344 w 599011"/>
                    <a:gd name="connsiteY2510" fmla="*/ 645300 h 680138"/>
                    <a:gd name="connsiteX2511" fmla="*/ 544878 w 599011"/>
                    <a:gd name="connsiteY2511" fmla="*/ 645276 h 680138"/>
                    <a:gd name="connsiteX2512" fmla="*/ 545631 w 599011"/>
                    <a:gd name="connsiteY2512" fmla="*/ 645033 h 680138"/>
                    <a:gd name="connsiteX2513" fmla="*/ 546942 w 599011"/>
                    <a:gd name="connsiteY2513" fmla="*/ 644620 h 680138"/>
                    <a:gd name="connsiteX2514" fmla="*/ 547440 w 599011"/>
                    <a:gd name="connsiteY2514" fmla="*/ 644462 h 680138"/>
                    <a:gd name="connsiteX2515" fmla="*/ 547902 w 599011"/>
                    <a:gd name="connsiteY2515" fmla="*/ 644219 h 680138"/>
                    <a:gd name="connsiteX2516" fmla="*/ 549456 w 599011"/>
                    <a:gd name="connsiteY2516" fmla="*/ 643418 h 680138"/>
                    <a:gd name="connsiteX2517" fmla="*/ 549942 w 599011"/>
                    <a:gd name="connsiteY2517" fmla="*/ 643163 h 680138"/>
                    <a:gd name="connsiteX2518" fmla="*/ 550367 w 599011"/>
                    <a:gd name="connsiteY2518" fmla="*/ 642835 h 680138"/>
                    <a:gd name="connsiteX2519" fmla="*/ 551374 w 599011"/>
                    <a:gd name="connsiteY2519" fmla="*/ 642070 h 680138"/>
                    <a:gd name="connsiteX2520" fmla="*/ 557009 w 599011"/>
                    <a:gd name="connsiteY2520" fmla="*/ 640929 h 680138"/>
                    <a:gd name="connsiteX2521" fmla="*/ 557932 w 599011"/>
                    <a:gd name="connsiteY2521" fmla="*/ 640734 h 680138"/>
                    <a:gd name="connsiteX2522" fmla="*/ 558757 w 599011"/>
                    <a:gd name="connsiteY2522" fmla="*/ 640273 h 680138"/>
                    <a:gd name="connsiteX2523" fmla="*/ 560130 w 599011"/>
                    <a:gd name="connsiteY2523" fmla="*/ 639508 h 680138"/>
                    <a:gd name="connsiteX2524" fmla="*/ 560943 w 599011"/>
                    <a:gd name="connsiteY2524" fmla="*/ 639059 h 680138"/>
                    <a:gd name="connsiteX2525" fmla="*/ 561587 w 599011"/>
                    <a:gd name="connsiteY2525" fmla="*/ 638379 h 680138"/>
                    <a:gd name="connsiteX2526" fmla="*/ 564768 w 599011"/>
                    <a:gd name="connsiteY2526" fmla="*/ 635027 h 680138"/>
                    <a:gd name="connsiteX2527" fmla="*/ 566553 w 599011"/>
                    <a:gd name="connsiteY2527" fmla="*/ 635707 h 680138"/>
                    <a:gd name="connsiteX2528" fmla="*/ 568496 w 599011"/>
                    <a:gd name="connsiteY2528" fmla="*/ 636460 h 680138"/>
                    <a:gd name="connsiteX2529" fmla="*/ 570487 w 599011"/>
                    <a:gd name="connsiteY2529" fmla="*/ 635853 h 680138"/>
                    <a:gd name="connsiteX2530" fmla="*/ 572503 w 599011"/>
                    <a:gd name="connsiteY2530" fmla="*/ 635246 h 680138"/>
                    <a:gd name="connsiteX2531" fmla="*/ 574130 w 599011"/>
                    <a:gd name="connsiteY2531" fmla="*/ 634748 h 680138"/>
                    <a:gd name="connsiteX2532" fmla="*/ 575272 w 599011"/>
                    <a:gd name="connsiteY2532" fmla="*/ 633473 h 680138"/>
                    <a:gd name="connsiteX2533" fmla="*/ 577093 w 599011"/>
                    <a:gd name="connsiteY2533" fmla="*/ 631433 h 680138"/>
                    <a:gd name="connsiteX2534" fmla="*/ 577822 w 599011"/>
                    <a:gd name="connsiteY2534" fmla="*/ 630619 h 680138"/>
                    <a:gd name="connsiteX2535" fmla="*/ 578222 w 599011"/>
                    <a:gd name="connsiteY2535" fmla="*/ 629611 h 680138"/>
                    <a:gd name="connsiteX2536" fmla="*/ 579643 w 599011"/>
                    <a:gd name="connsiteY2536" fmla="*/ 625981 h 680138"/>
                    <a:gd name="connsiteX2537" fmla="*/ 580020 w 599011"/>
                    <a:gd name="connsiteY2537" fmla="*/ 625495 h 680138"/>
                    <a:gd name="connsiteX2538" fmla="*/ 581841 w 599011"/>
                    <a:gd name="connsiteY2538" fmla="*/ 623103 h 680138"/>
                    <a:gd name="connsiteX2539" fmla="*/ 584464 w 599011"/>
                    <a:gd name="connsiteY2539" fmla="*/ 621864 h 680138"/>
                    <a:gd name="connsiteX2540" fmla="*/ 588410 w 599011"/>
                    <a:gd name="connsiteY2540" fmla="*/ 620006 h 680138"/>
                    <a:gd name="connsiteX2541" fmla="*/ 587900 w 599011"/>
                    <a:gd name="connsiteY2541" fmla="*/ 615671 h 680138"/>
                    <a:gd name="connsiteX2542" fmla="*/ 587390 w 599011"/>
                    <a:gd name="connsiteY2542" fmla="*/ 611203 h 680138"/>
                    <a:gd name="connsiteX2543" fmla="*/ 587257 w 599011"/>
                    <a:gd name="connsiteY2543" fmla="*/ 610073 h 680138"/>
                    <a:gd name="connsiteX2544" fmla="*/ 586723 w 599011"/>
                    <a:gd name="connsiteY2544" fmla="*/ 609065 h 680138"/>
                    <a:gd name="connsiteX2545" fmla="*/ 584209 w 599011"/>
                    <a:gd name="connsiteY2545" fmla="*/ 604330 h 680138"/>
                    <a:gd name="connsiteX2546" fmla="*/ 582788 w 599011"/>
                    <a:gd name="connsiteY2546" fmla="*/ 600517 h 680138"/>
                    <a:gd name="connsiteX2547" fmla="*/ 582351 w 599011"/>
                    <a:gd name="connsiteY2547" fmla="*/ 599351 h 680138"/>
                    <a:gd name="connsiteX2548" fmla="*/ 581501 w 599011"/>
                    <a:gd name="connsiteY2548" fmla="*/ 598453 h 680138"/>
                    <a:gd name="connsiteX2549" fmla="*/ 580105 w 599011"/>
                    <a:gd name="connsiteY2549" fmla="*/ 596983 h 680138"/>
                    <a:gd name="connsiteX2550" fmla="*/ 586334 w 599011"/>
                    <a:gd name="connsiteY2550" fmla="*/ 600918 h 680138"/>
                    <a:gd name="connsiteX2551" fmla="*/ 583007 w 599011"/>
                    <a:gd name="connsiteY2551" fmla="*/ 586528 h 680138"/>
                    <a:gd name="connsiteX2552" fmla="*/ 581598 w 599011"/>
                    <a:gd name="connsiteY2552" fmla="*/ 580433 h 680138"/>
                    <a:gd name="connsiteX2553" fmla="*/ 581538 w 599011"/>
                    <a:gd name="connsiteY2553" fmla="*/ 577579 h 680138"/>
                    <a:gd name="connsiteX2554" fmla="*/ 581805 w 599011"/>
                    <a:gd name="connsiteY2554" fmla="*/ 577130 h 680138"/>
                    <a:gd name="connsiteX2555" fmla="*/ 585751 w 599011"/>
                    <a:gd name="connsiteY2555" fmla="*/ 575660 h 680138"/>
                    <a:gd name="connsiteX2556" fmla="*/ 593559 w 599011"/>
                    <a:gd name="connsiteY2556" fmla="*/ 572758 h 680138"/>
                    <a:gd name="connsiteX2557" fmla="*/ 588398 w 599011"/>
                    <a:gd name="connsiteY2557" fmla="*/ 566213 h 680138"/>
                    <a:gd name="connsiteX2558" fmla="*/ 586504 w 599011"/>
                    <a:gd name="connsiteY2558" fmla="*/ 563809 h 680138"/>
                    <a:gd name="connsiteX2559" fmla="*/ 586431 w 599011"/>
                    <a:gd name="connsiteY2559" fmla="*/ 563712 h 680138"/>
                    <a:gd name="connsiteX2560" fmla="*/ 586553 w 599011"/>
                    <a:gd name="connsiteY2560" fmla="*/ 563457 h 680138"/>
                    <a:gd name="connsiteX2561" fmla="*/ 586880 w 599011"/>
                    <a:gd name="connsiteY2561" fmla="*/ 562728 h 680138"/>
                    <a:gd name="connsiteX2562" fmla="*/ 594178 w 599011"/>
                    <a:gd name="connsiteY2562" fmla="*/ 560360 h 680138"/>
                    <a:gd name="connsiteX2563" fmla="*/ 588228 w 599011"/>
                    <a:gd name="connsiteY2563" fmla="*/ 553439 h 680138"/>
                    <a:gd name="connsiteX2564" fmla="*/ 586395 w 599011"/>
                    <a:gd name="connsiteY2564" fmla="*/ 551314 h 680138"/>
                    <a:gd name="connsiteX2565" fmla="*/ 584901 w 599011"/>
                    <a:gd name="connsiteY2565" fmla="*/ 549577 h 680138"/>
                    <a:gd name="connsiteX2566" fmla="*/ 582630 w 599011"/>
                    <a:gd name="connsiteY2566" fmla="*/ 549262 h 680138"/>
                    <a:gd name="connsiteX2567" fmla="*/ 580445 w 599011"/>
                    <a:gd name="connsiteY2567" fmla="*/ 548958 h 680138"/>
                    <a:gd name="connsiteX2568" fmla="*/ 580445 w 599011"/>
                    <a:gd name="connsiteY2568" fmla="*/ 548824 h 680138"/>
                    <a:gd name="connsiteX2569" fmla="*/ 580457 w 599011"/>
                    <a:gd name="connsiteY2569" fmla="*/ 548351 h 680138"/>
                    <a:gd name="connsiteX2570" fmla="*/ 580408 w 599011"/>
                    <a:gd name="connsiteY2570" fmla="*/ 547889 h 680138"/>
                    <a:gd name="connsiteX2571" fmla="*/ 580117 w 599011"/>
                    <a:gd name="connsiteY2571" fmla="*/ 545339 h 680138"/>
                    <a:gd name="connsiteX2572" fmla="*/ 579838 w 599011"/>
                    <a:gd name="connsiteY2572" fmla="*/ 542899 h 680138"/>
                    <a:gd name="connsiteX2573" fmla="*/ 577943 w 599011"/>
                    <a:gd name="connsiteY2573" fmla="*/ 541344 h 680138"/>
                    <a:gd name="connsiteX2574" fmla="*/ 576741 w 599011"/>
                    <a:gd name="connsiteY2574" fmla="*/ 540349 h 680138"/>
                    <a:gd name="connsiteX2575" fmla="*/ 576923 w 599011"/>
                    <a:gd name="connsiteY2575" fmla="*/ 539414 h 680138"/>
                    <a:gd name="connsiteX2576" fmla="*/ 581380 w 599011"/>
                    <a:gd name="connsiteY2576" fmla="*/ 529286 h 680138"/>
                    <a:gd name="connsiteX2577" fmla="*/ 585557 w 599011"/>
                    <a:gd name="connsiteY2577" fmla="*/ 519778 h 680138"/>
                    <a:gd name="connsiteX2578" fmla="*/ 576717 w 599011"/>
                    <a:gd name="connsiteY2578" fmla="*/ 520653 h 680138"/>
                    <a:gd name="connsiteX2579" fmla="*/ 576778 w 599011"/>
                    <a:gd name="connsiteY2579" fmla="*/ 519487 h 680138"/>
                    <a:gd name="connsiteX2580" fmla="*/ 576340 w 599011"/>
                    <a:gd name="connsiteY2580" fmla="*/ 518321 h 680138"/>
                    <a:gd name="connsiteX2581" fmla="*/ 575648 w 599011"/>
                    <a:gd name="connsiteY2581" fmla="*/ 516427 h 680138"/>
                    <a:gd name="connsiteX2582" fmla="*/ 574276 w 599011"/>
                    <a:gd name="connsiteY2582" fmla="*/ 512675 h 680138"/>
                    <a:gd name="connsiteX2583" fmla="*/ 570281 w 599011"/>
                    <a:gd name="connsiteY2583" fmla="*/ 512456 h 680138"/>
                    <a:gd name="connsiteX2584" fmla="*/ 568557 w 599011"/>
                    <a:gd name="connsiteY2584" fmla="*/ 512359 h 680138"/>
                    <a:gd name="connsiteX2585" fmla="*/ 567318 w 599011"/>
                    <a:gd name="connsiteY2585" fmla="*/ 512286 h 680138"/>
                    <a:gd name="connsiteX2586" fmla="*/ 566857 w 599011"/>
                    <a:gd name="connsiteY2586" fmla="*/ 512456 h 680138"/>
                    <a:gd name="connsiteX2587" fmla="*/ 566845 w 599011"/>
                    <a:gd name="connsiteY2587" fmla="*/ 512226 h 680138"/>
                    <a:gd name="connsiteX2588" fmla="*/ 566602 w 599011"/>
                    <a:gd name="connsiteY2588" fmla="*/ 511473 h 680138"/>
                    <a:gd name="connsiteX2589" fmla="*/ 566262 w 599011"/>
                    <a:gd name="connsiteY2589" fmla="*/ 510404 h 680138"/>
                    <a:gd name="connsiteX2590" fmla="*/ 565533 w 599011"/>
                    <a:gd name="connsiteY2590" fmla="*/ 508097 h 680138"/>
                    <a:gd name="connsiteX2591" fmla="*/ 563420 w 599011"/>
                    <a:gd name="connsiteY2591" fmla="*/ 506919 h 680138"/>
                    <a:gd name="connsiteX2592" fmla="*/ 561975 w 599011"/>
                    <a:gd name="connsiteY2592" fmla="*/ 506118 h 680138"/>
                    <a:gd name="connsiteX2593" fmla="*/ 559644 w 599011"/>
                    <a:gd name="connsiteY2593" fmla="*/ 504830 h 680138"/>
                    <a:gd name="connsiteX2594" fmla="*/ 558891 w 599011"/>
                    <a:gd name="connsiteY2594" fmla="*/ 505086 h 680138"/>
                    <a:gd name="connsiteX2595" fmla="*/ 558745 w 599011"/>
                    <a:gd name="connsiteY2595" fmla="*/ 504078 h 680138"/>
                    <a:gd name="connsiteX2596" fmla="*/ 555600 w 599011"/>
                    <a:gd name="connsiteY2596" fmla="*/ 502754 h 680138"/>
                    <a:gd name="connsiteX2597" fmla="*/ 553074 w 599011"/>
                    <a:gd name="connsiteY2597" fmla="*/ 501686 h 680138"/>
                    <a:gd name="connsiteX2598" fmla="*/ 552637 w 599011"/>
                    <a:gd name="connsiteY2598" fmla="*/ 501503 h 680138"/>
                    <a:gd name="connsiteX2599" fmla="*/ 552176 w 599011"/>
                    <a:gd name="connsiteY2599" fmla="*/ 501394 h 680138"/>
                    <a:gd name="connsiteX2600" fmla="*/ 551423 w 599011"/>
                    <a:gd name="connsiteY2600" fmla="*/ 501200 h 680138"/>
                    <a:gd name="connsiteX2601" fmla="*/ 551253 w 599011"/>
                    <a:gd name="connsiteY2601" fmla="*/ 501066 h 680138"/>
                    <a:gd name="connsiteX2602" fmla="*/ 550439 w 599011"/>
                    <a:gd name="connsiteY2602" fmla="*/ 500046 h 680138"/>
                    <a:gd name="connsiteX2603" fmla="*/ 549201 w 599011"/>
                    <a:gd name="connsiteY2603" fmla="*/ 497982 h 680138"/>
                    <a:gd name="connsiteX2604" fmla="*/ 547051 w 599011"/>
                    <a:gd name="connsiteY2604" fmla="*/ 494400 h 680138"/>
                    <a:gd name="connsiteX2605" fmla="*/ 542935 w 599011"/>
                    <a:gd name="connsiteY2605" fmla="*/ 495128 h 680138"/>
                    <a:gd name="connsiteX2606" fmla="*/ 532091 w 599011"/>
                    <a:gd name="connsiteY2606" fmla="*/ 497047 h 680138"/>
                    <a:gd name="connsiteX2607" fmla="*/ 531496 w 599011"/>
                    <a:gd name="connsiteY2607" fmla="*/ 497156 h 680138"/>
                    <a:gd name="connsiteX2608" fmla="*/ 530926 w 599011"/>
                    <a:gd name="connsiteY2608" fmla="*/ 497375 h 680138"/>
                    <a:gd name="connsiteX2609" fmla="*/ 528679 w 599011"/>
                    <a:gd name="connsiteY2609" fmla="*/ 498261 h 680138"/>
                    <a:gd name="connsiteX2610" fmla="*/ 528303 w 599011"/>
                    <a:gd name="connsiteY2610" fmla="*/ 498407 h 680138"/>
                    <a:gd name="connsiteX2611" fmla="*/ 527951 w 599011"/>
                    <a:gd name="connsiteY2611" fmla="*/ 498601 h 680138"/>
                    <a:gd name="connsiteX2612" fmla="*/ 524842 w 599011"/>
                    <a:gd name="connsiteY2612" fmla="*/ 500326 h 680138"/>
                    <a:gd name="connsiteX2613" fmla="*/ 524162 w 599011"/>
                    <a:gd name="connsiteY2613" fmla="*/ 500702 h 680138"/>
                    <a:gd name="connsiteX2614" fmla="*/ 523603 w 599011"/>
                    <a:gd name="connsiteY2614" fmla="*/ 501236 h 680138"/>
                    <a:gd name="connsiteX2615" fmla="*/ 520799 w 599011"/>
                    <a:gd name="connsiteY2615" fmla="*/ 503908 h 680138"/>
                    <a:gd name="connsiteX2616" fmla="*/ 519936 w 599011"/>
                    <a:gd name="connsiteY2616" fmla="*/ 504733 h 680138"/>
                    <a:gd name="connsiteX2617" fmla="*/ 519439 w 599011"/>
                    <a:gd name="connsiteY2617" fmla="*/ 505826 h 680138"/>
                    <a:gd name="connsiteX2618" fmla="*/ 518807 w 599011"/>
                    <a:gd name="connsiteY2618" fmla="*/ 507235 h 680138"/>
                    <a:gd name="connsiteX2619" fmla="*/ 517726 w 599011"/>
                    <a:gd name="connsiteY2619" fmla="*/ 509651 h 680138"/>
                    <a:gd name="connsiteX2620" fmla="*/ 518759 w 599011"/>
                    <a:gd name="connsiteY2620" fmla="*/ 512080 h 680138"/>
                    <a:gd name="connsiteX2621" fmla="*/ 518904 w 599011"/>
                    <a:gd name="connsiteY2621" fmla="*/ 512420 h 680138"/>
                    <a:gd name="connsiteX2622" fmla="*/ 513877 w 599011"/>
                    <a:gd name="connsiteY2622" fmla="*/ 510647 h 680138"/>
                    <a:gd name="connsiteX2623" fmla="*/ 511631 w 599011"/>
                    <a:gd name="connsiteY2623" fmla="*/ 509141 h 680138"/>
                    <a:gd name="connsiteX2624" fmla="*/ 507077 w 599011"/>
                    <a:gd name="connsiteY2624" fmla="*/ 506664 h 680138"/>
                    <a:gd name="connsiteX2625" fmla="*/ 505523 w 599011"/>
                    <a:gd name="connsiteY2625" fmla="*/ 505547 h 680138"/>
                    <a:gd name="connsiteX2626" fmla="*/ 505086 w 599011"/>
                    <a:gd name="connsiteY2626" fmla="*/ 505073 h 680138"/>
                    <a:gd name="connsiteX2627" fmla="*/ 504964 w 599011"/>
                    <a:gd name="connsiteY2627" fmla="*/ 504843 h 680138"/>
                    <a:gd name="connsiteX2628" fmla="*/ 503228 w 599011"/>
                    <a:gd name="connsiteY2628" fmla="*/ 499633 h 680138"/>
                    <a:gd name="connsiteX2629" fmla="*/ 503094 w 599011"/>
                    <a:gd name="connsiteY2629" fmla="*/ 499221 h 680138"/>
                    <a:gd name="connsiteX2630" fmla="*/ 502900 w 599011"/>
                    <a:gd name="connsiteY2630" fmla="*/ 498844 h 680138"/>
                    <a:gd name="connsiteX2631" fmla="*/ 502268 w 599011"/>
                    <a:gd name="connsiteY2631" fmla="*/ 497581 h 680138"/>
                    <a:gd name="connsiteX2632" fmla="*/ 501831 w 599011"/>
                    <a:gd name="connsiteY2632" fmla="*/ 496707 h 680138"/>
                    <a:gd name="connsiteX2633" fmla="*/ 501151 w 599011"/>
                    <a:gd name="connsiteY2633" fmla="*/ 496015 h 680138"/>
                    <a:gd name="connsiteX2634" fmla="*/ 500240 w 599011"/>
                    <a:gd name="connsiteY2634" fmla="*/ 495092 h 680138"/>
                    <a:gd name="connsiteX2635" fmla="*/ 499512 w 599011"/>
                    <a:gd name="connsiteY2635" fmla="*/ 494351 h 680138"/>
                    <a:gd name="connsiteX2636" fmla="*/ 498589 w 599011"/>
                    <a:gd name="connsiteY2636" fmla="*/ 493890 h 680138"/>
                    <a:gd name="connsiteX2637" fmla="*/ 485900 w 599011"/>
                    <a:gd name="connsiteY2637" fmla="*/ 487685 h 680138"/>
                    <a:gd name="connsiteX2638" fmla="*/ 484928 w 599011"/>
                    <a:gd name="connsiteY2638" fmla="*/ 487211 h 680138"/>
                    <a:gd name="connsiteX2639" fmla="*/ 483860 w 599011"/>
                    <a:gd name="connsiteY2639" fmla="*/ 487102 h 680138"/>
                    <a:gd name="connsiteX2640" fmla="*/ 482767 w 599011"/>
                    <a:gd name="connsiteY2640" fmla="*/ 486993 h 680138"/>
                    <a:gd name="connsiteX2641" fmla="*/ 481686 w 599011"/>
                    <a:gd name="connsiteY2641" fmla="*/ 486883 h 680138"/>
                    <a:gd name="connsiteX2642" fmla="*/ 480630 w 599011"/>
                    <a:gd name="connsiteY2642" fmla="*/ 487150 h 680138"/>
                    <a:gd name="connsiteX2643" fmla="*/ 479415 w 599011"/>
                    <a:gd name="connsiteY2643" fmla="*/ 487466 h 680138"/>
                    <a:gd name="connsiteX2644" fmla="*/ 477084 w 599011"/>
                    <a:gd name="connsiteY2644" fmla="*/ 488061 h 680138"/>
                    <a:gd name="connsiteX2645" fmla="*/ 475809 w 599011"/>
                    <a:gd name="connsiteY2645" fmla="*/ 490089 h 680138"/>
                    <a:gd name="connsiteX2646" fmla="*/ 474716 w 599011"/>
                    <a:gd name="connsiteY2646" fmla="*/ 491813 h 680138"/>
                    <a:gd name="connsiteX2647" fmla="*/ 474194 w 599011"/>
                    <a:gd name="connsiteY2647" fmla="*/ 492627 h 680138"/>
                    <a:gd name="connsiteX2648" fmla="*/ 464747 w 599011"/>
                    <a:gd name="connsiteY2648" fmla="*/ 493355 h 680138"/>
                    <a:gd name="connsiteX2649" fmla="*/ 464176 w 599011"/>
                    <a:gd name="connsiteY2649" fmla="*/ 493392 h 680138"/>
                    <a:gd name="connsiteX2650" fmla="*/ 463630 w 599011"/>
                    <a:gd name="connsiteY2650" fmla="*/ 493550 h 680138"/>
                    <a:gd name="connsiteX2651" fmla="*/ 462755 w 599011"/>
                    <a:gd name="connsiteY2651" fmla="*/ 493793 h 680138"/>
                    <a:gd name="connsiteX2652" fmla="*/ 462184 w 599011"/>
                    <a:gd name="connsiteY2652" fmla="*/ 492845 h 680138"/>
                    <a:gd name="connsiteX2653" fmla="*/ 461930 w 599011"/>
                    <a:gd name="connsiteY2653" fmla="*/ 492408 h 680138"/>
                    <a:gd name="connsiteX2654" fmla="*/ 461602 w 599011"/>
                    <a:gd name="connsiteY2654" fmla="*/ 492020 h 680138"/>
                    <a:gd name="connsiteX2655" fmla="*/ 460582 w 599011"/>
                    <a:gd name="connsiteY2655" fmla="*/ 490842 h 680138"/>
                    <a:gd name="connsiteX2656" fmla="*/ 460302 w 599011"/>
                    <a:gd name="connsiteY2656" fmla="*/ 490526 h 680138"/>
                    <a:gd name="connsiteX2657" fmla="*/ 459987 w 599011"/>
                    <a:gd name="connsiteY2657" fmla="*/ 490247 h 680138"/>
                    <a:gd name="connsiteX2658" fmla="*/ 458870 w 599011"/>
                    <a:gd name="connsiteY2658" fmla="*/ 489275 h 680138"/>
                    <a:gd name="connsiteX2659" fmla="*/ 460157 w 599011"/>
                    <a:gd name="connsiteY2659" fmla="*/ 488061 h 680138"/>
                    <a:gd name="connsiteX2660" fmla="*/ 460934 w 599011"/>
                    <a:gd name="connsiteY2660" fmla="*/ 487320 h 680138"/>
                    <a:gd name="connsiteX2661" fmla="*/ 461420 w 599011"/>
                    <a:gd name="connsiteY2661" fmla="*/ 486361 h 680138"/>
                    <a:gd name="connsiteX2662" fmla="*/ 462561 w 599011"/>
                    <a:gd name="connsiteY2662" fmla="*/ 484078 h 680138"/>
                    <a:gd name="connsiteX2663" fmla="*/ 465038 w 599011"/>
                    <a:gd name="connsiteY2663" fmla="*/ 483714 h 680138"/>
                    <a:gd name="connsiteX2664" fmla="*/ 465354 w 599011"/>
                    <a:gd name="connsiteY2664" fmla="*/ 483665 h 680138"/>
                    <a:gd name="connsiteX2665" fmla="*/ 465670 w 599011"/>
                    <a:gd name="connsiteY2665" fmla="*/ 483580 h 680138"/>
                    <a:gd name="connsiteX2666" fmla="*/ 467345 w 599011"/>
                    <a:gd name="connsiteY2666" fmla="*/ 483143 h 680138"/>
                    <a:gd name="connsiteX2667" fmla="*/ 468912 w 599011"/>
                    <a:gd name="connsiteY2667" fmla="*/ 482730 h 680138"/>
                    <a:gd name="connsiteX2668" fmla="*/ 470065 w 599011"/>
                    <a:gd name="connsiteY2668" fmla="*/ 481601 h 680138"/>
                    <a:gd name="connsiteX2669" fmla="*/ 471158 w 599011"/>
                    <a:gd name="connsiteY2669" fmla="*/ 480520 h 680138"/>
                    <a:gd name="connsiteX2670" fmla="*/ 472700 w 599011"/>
                    <a:gd name="connsiteY2670" fmla="*/ 479002 h 680138"/>
                    <a:gd name="connsiteX2671" fmla="*/ 472943 w 599011"/>
                    <a:gd name="connsiteY2671" fmla="*/ 476853 h 680138"/>
                    <a:gd name="connsiteX2672" fmla="*/ 473271 w 599011"/>
                    <a:gd name="connsiteY2672" fmla="*/ 473854 h 680138"/>
                    <a:gd name="connsiteX2673" fmla="*/ 475311 w 599011"/>
                    <a:gd name="connsiteY2673" fmla="*/ 472081 h 680138"/>
                    <a:gd name="connsiteX2674" fmla="*/ 476003 w 599011"/>
                    <a:gd name="connsiteY2674" fmla="*/ 471474 h 680138"/>
                    <a:gd name="connsiteX2675" fmla="*/ 476489 w 599011"/>
                    <a:gd name="connsiteY2675" fmla="*/ 470685 h 680138"/>
                    <a:gd name="connsiteX2676" fmla="*/ 477922 w 599011"/>
                    <a:gd name="connsiteY2676" fmla="*/ 468353 h 680138"/>
                    <a:gd name="connsiteX2677" fmla="*/ 479209 w 599011"/>
                    <a:gd name="connsiteY2677" fmla="*/ 466253 h 680138"/>
                    <a:gd name="connsiteX2678" fmla="*/ 478675 w 599011"/>
                    <a:gd name="connsiteY2678" fmla="*/ 463848 h 680138"/>
                    <a:gd name="connsiteX2679" fmla="*/ 478152 w 599011"/>
                    <a:gd name="connsiteY2679" fmla="*/ 461505 h 680138"/>
                    <a:gd name="connsiteX2680" fmla="*/ 477970 w 599011"/>
                    <a:gd name="connsiteY2680" fmla="*/ 460703 h 680138"/>
                    <a:gd name="connsiteX2681" fmla="*/ 477594 w 599011"/>
                    <a:gd name="connsiteY2681" fmla="*/ 459974 h 680138"/>
                    <a:gd name="connsiteX2682" fmla="*/ 476865 w 599011"/>
                    <a:gd name="connsiteY2682" fmla="*/ 458614 h 680138"/>
                    <a:gd name="connsiteX2683" fmla="*/ 477011 w 599011"/>
                    <a:gd name="connsiteY2683" fmla="*/ 456635 h 680138"/>
                    <a:gd name="connsiteX2684" fmla="*/ 477035 w 599011"/>
                    <a:gd name="connsiteY2684" fmla="*/ 456210 h 680138"/>
                    <a:gd name="connsiteX2685" fmla="*/ 477011 w 599011"/>
                    <a:gd name="connsiteY2685" fmla="*/ 455785 h 680138"/>
                    <a:gd name="connsiteX2686" fmla="*/ 476355 w 599011"/>
                    <a:gd name="connsiteY2686" fmla="*/ 445670 h 680138"/>
                    <a:gd name="connsiteX2687" fmla="*/ 476501 w 599011"/>
                    <a:gd name="connsiteY2687" fmla="*/ 443497 h 680138"/>
                    <a:gd name="connsiteX2688" fmla="*/ 476562 w 599011"/>
                    <a:gd name="connsiteY2688" fmla="*/ 443023 h 680138"/>
                    <a:gd name="connsiteX2689" fmla="*/ 476890 w 599011"/>
                    <a:gd name="connsiteY2689" fmla="*/ 442452 h 680138"/>
                    <a:gd name="connsiteX2690" fmla="*/ 477606 w 599011"/>
                    <a:gd name="connsiteY2690" fmla="*/ 441772 h 680138"/>
                    <a:gd name="connsiteX2691" fmla="*/ 480921 w 599011"/>
                    <a:gd name="connsiteY2691" fmla="*/ 440060 h 680138"/>
                    <a:gd name="connsiteX2692" fmla="*/ 484139 w 599011"/>
                    <a:gd name="connsiteY2692" fmla="*/ 439040 h 680138"/>
                    <a:gd name="connsiteX2693" fmla="*/ 489154 w 599011"/>
                    <a:gd name="connsiteY2693" fmla="*/ 439234 h 680138"/>
                    <a:gd name="connsiteX2694" fmla="*/ 491388 w 599011"/>
                    <a:gd name="connsiteY2694" fmla="*/ 439319 h 680138"/>
                    <a:gd name="connsiteX2695" fmla="*/ 493149 w 599011"/>
                    <a:gd name="connsiteY2695" fmla="*/ 437935 h 680138"/>
                    <a:gd name="connsiteX2696" fmla="*/ 496610 w 599011"/>
                    <a:gd name="connsiteY2696" fmla="*/ 435203 h 680138"/>
                    <a:gd name="connsiteX2697" fmla="*/ 497375 w 599011"/>
                    <a:gd name="connsiteY2697" fmla="*/ 434596 h 680138"/>
                    <a:gd name="connsiteX2698" fmla="*/ 497897 w 599011"/>
                    <a:gd name="connsiteY2698" fmla="*/ 433806 h 680138"/>
                    <a:gd name="connsiteX2699" fmla="*/ 503689 w 599011"/>
                    <a:gd name="connsiteY2699" fmla="*/ 435361 h 680138"/>
                    <a:gd name="connsiteX2700" fmla="*/ 505790 w 599011"/>
                    <a:gd name="connsiteY2700" fmla="*/ 436235 h 680138"/>
                    <a:gd name="connsiteX2701" fmla="*/ 508826 w 599011"/>
                    <a:gd name="connsiteY2701" fmla="*/ 437194 h 680138"/>
                    <a:gd name="connsiteX2702" fmla="*/ 509542 w 599011"/>
                    <a:gd name="connsiteY2702" fmla="*/ 437413 h 680138"/>
                    <a:gd name="connsiteX2703" fmla="*/ 510283 w 599011"/>
                    <a:gd name="connsiteY2703" fmla="*/ 437449 h 680138"/>
                    <a:gd name="connsiteX2704" fmla="*/ 511424 w 599011"/>
                    <a:gd name="connsiteY2704" fmla="*/ 437510 h 680138"/>
                    <a:gd name="connsiteX2705" fmla="*/ 512651 w 599011"/>
                    <a:gd name="connsiteY2705" fmla="*/ 437571 h 680138"/>
                    <a:gd name="connsiteX2706" fmla="*/ 513792 w 599011"/>
                    <a:gd name="connsiteY2706" fmla="*/ 437158 h 680138"/>
                    <a:gd name="connsiteX2707" fmla="*/ 522341 w 599011"/>
                    <a:gd name="connsiteY2707" fmla="*/ 434086 h 680138"/>
                    <a:gd name="connsiteX2708" fmla="*/ 524490 w 599011"/>
                    <a:gd name="connsiteY2708" fmla="*/ 433309 h 680138"/>
                    <a:gd name="connsiteX2709" fmla="*/ 525595 w 599011"/>
                    <a:gd name="connsiteY2709" fmla="*/ 431305 h 680138"/>
                    <a:gd name="connsiteX2710" fmla="*/ 527720 w 599011"/>
                    <a:gd name="connsiteY2710" fmla="*/ 427456 h 680138"/>
                    <a:gd name="connsiteX2711" fmla="*/ 528813 w 599011"/>
                    <a:gd name="connsiteY2711" fmla="*/ 425950 h 680138"/>
                    <a:gd name="connsiteX2712" fmla="*/ 529833 w 599011"/>
                    <a:gd name="connsiteY2712" fmla="*/ 424541 h 680138"/>
                    <a:gd name="connsiteX2713" fmla="*/ 529954 w 599011"/>
                    <a:gd name="connsiteY2713" fmla="*/ 422805 h 680138"/>
                    <a:gd name="connsiteX2714" fmla="*/ 530076 w 599011"/>
                    <a:gd name="connsiteY2714" fmla="*/ 421105 h 680138"/>
                    <a:gd name="connsiteX2715" fmla="*/ 530173 w 599011"/>
                    <a:gd name="connsiteY2715" fmla="*/ 419818 h 680138"/>
                    <a:gd name="connsiteX2716" fmla="*/ 529724 w 599011"/>
                    <a:gd name="connsiteY2716" fmla="*/ 418603 h 680138"/>
                    <a:gd name="connsiteX2717" fmla="*/ 529031 w 599011"/>
                    <a:gd name="connsiteY2717" fmla="*/ 416721 h 680138"/>
                    <a:gd name="connsiteX2718" fmla="*/ 528849 w 599011"/>
                    <a:gd name="connsiteY2718" fmla="*/ 416211 h 680138"/>
                    <a:gd name="connsiteX2719" fmla="*/ 528582 w 599011"/>
                    <a:gd name="connsiteY2719" fmla="*/ 415750 h 680138"/>
                    <a:gd name="connsiteX2720" fmla="*/ 527210 w 599011"/>
                    <a:gd name="connsiteY2720" fmla="*/ 413382 h 680138"/>
                    <a:gd name="connsiteX2721" fmla="*/ 526882 w 599011"/>
                    <a:gd name="connsiteY2721" fmla="*/ 412823 h 680138"/>
                    <a:gd name="connsiteX2722" fmla="*/ 526433 w 599011"/>
                    <a:gd name="connsiteY2722" fmla="*/ 412338 h 680138"/>
                    <a:gd name="connsiteX2723" fmla="*/ 525061 w 599011"/>
                    <a:gd name="connsiteY2723" fmla="*/ 410844 h 680138"/>
                    <a:gd name="connsiteX2724" fmla="*/ 524781 w 599011"/>
                    <a:gd name="connsiteY2724" fmla="*/ 410541 h 680138"/>
                    <a:gd name="connsiteX2725" fmla="*/ 524466 w 599011"/>
                    <a:gd name="connsiteY2725" fmla="*/ 410274 h 680138"/>
                    <a:gd name="connsiteX2726" fmla="*/ 523179 w 599011"/>
                    <a:gd name="connsiteY2726" fmla="*/ 409205 h 680138"/>
                    <a:gd name="connsiteX2727" fmla="*/ 523506 w 599011"/>
                    <a:gd name="connsiteY2727" fmla="*/ 408634 h 680138"/>
                    <a:gd name="connsiteX2728" fmla="*/ 524587 w 599011"/>
                    <a:gd name="connsiteY2728" fmla="*/ 406740 h 680138"/>
                    <a:gd name="connsiteX2729" fmla="*/ 526384 w 599011"/>
                    <a:gd name="connsiteY2729" fmla="*/ 403595 h 680138"/>
                    <a:gd name="connsiteX2730" fmla="*/ 524478 w 599011"/>
                    <a:gd name="connsiteY2730" fmla="*/ 400523 h 680138"/>
                    <a:gd name="connsiteX2731" fmla="*/ 519948 w 599011"/>
                    <a:gd name="connsiteY2731" fmla="*/ 393237 h 680138"/>
                    <a:gd name="connsiteX2732" fmla="*/ 516221 w 599011"/>
                    <a:gd name="connsiteY2732" fmla="*/ 381094 h 680138"/>
                    <a:gd name="connsiteX2733" fmla="*/ 515796 w 599011"/>
                    <a:gd name="connsiteY2733" fmla="*/ 379698 h 680138"/>
                    <a:gd name="connsiteX2734" fmla="*/ 514934 w 599011"/>
                    <a:gd name="connsiteY2734" fmla="*/ 378799 h 680138"/>
                    <a:gd name="connsiteX2735" fmla="*/ 515128 w 599011"/>
                    <a:gd name="connsiteY2735" fmla="*/ 377718 h 680138"/>
                    <a:gd name="connsiteX2736" fmla="*/ 515261 w 599011"/>
                    <a:gd name="connsiteY2736" fmla="*/ 376978 h 680138"/>
                    <a:gd name="connsiteX2737" fmla="*/ 515213 w 599011"/>
                    <a:gd name="connsiteY2737" fmla="*/ 376225 h 680138"/>
                    <a:gd name="connsiteX2738" fmla="*/ 513294 w 599011"/>
                    <a:gd name="connsiteY2738" fmla="*/ 346972 h 680138"/>
                    <a:gd name="connsiteX2739" fmla="*/ 514545 w 599011"/>
                    <a:gd name="connsiteY2739" fmla="*/ 345394 h 680138"/>
                    <a:gd name="connsiteX2740" fmla="*/ 515079 w 599011"/>
                    <a:gd name="connsiteY2740" fmla="*/ 344726 h 680138"/>
                    <a:gd name="connsiteX2741" fmla="*/ 515407 w 599011"/>
                    <a:gd name="connsiteY2741" fmla="*/ 343937 h 680138"/>
                    <a:gd name="connsiteX2742" fmla="*/ 516391 w 599011"/>
                    <a:gd name="connsiteY2742" fmla="*/ 341545 h 680138"/>
                    <a:gd name="connsiteX2743" fmla="*/ 517301 w 599011"/>
                    <a:gd name="connsiteY2743" fmla="*/ 339347 h 680138"/>
                    <a:gd name="connsiteX2744" fmla="*/ 516463 w 599011"/>
                    <a:gd name="connsiteY2744" fmla="*/ 337112 h 680138"/>
                    <a:gd name="connsiteX2745" fmla="*/ 515662 w 599011"/>
                    <a:gd name="connsiteY2745" fmla="*/ 334963 h 680138"/>
                    <a:gd name="connsiteX2746" fmla="*/ 515371 w 599011"/>
                    <a:gd name="connsiteY2746" fmla="*/ 334186 h 680138"/>
                    <a:gd name="connsiteX2747" fmla="*/ 514873 w 599011"/>
                    <a:gd name="connsiteY2747" fmla="*/ 333506 h 680138"/>
                    <a:gd name="connsiteX2748" fmla="*/ 513877 w 599011"/>
                    <a:gd name="connsiteY2748" fmla="*/ 332146 h 680138"/>
                    <a:gd name="connsiteX2749" fmla="*/ 513816 w 599011"/>
                    <a:gd name="connsiteY2749" fmla="*/ 331976 h 680138"/>
                    <a:gd name="connsiteX2750" fmla="*/ 513646 w 599011"/>
                    <a:gd name="connsiteY2750" fmla="*/ 327507 h 680138"/>
                    <a:gd name="connsiteX2751" fmla="*/ 513658 w 599011"/>
                    <a:gd name="connsiteY2751" fmla="*/ 327362 h 680138"/>
                    <a:gd name="connsiteX2752" fmla="*/ 513695 w 599011"/>
                    <a:gd name="connsiteY2752" fmla="*/ 327289 h 680138"/>
                    <a:gd name="connsiteX2753" fmla="*/ 514399 w 599011"/>
                    <a:gd name="connsiteY2753" fmla="*/ 326524 h 680138"/>
                    <a:gd name="connsiteX2754" fmla="*/ 514909 w 599011"/>
                    <a:gd name="connsiteY2754" fmla="*/ 325965 h 680138"/>
                    <a:gd name="connsiteX2755" fmla="*/ 515261 w 599011"/>
                    <a:gd name="connsiteY2755" fmla="*/ 325309 h 680138"/>
                    <a:gd name="connsiteX2756" fmla="*/ 516123 w 599011"/>
                    <a:gd name="connsiteY2756" fmla="*/ 323706 h 680138"/>
                    <a:gd name="connsiteX2757" fmla="*/ 517083 w 599011"/>
                    <a:gd name="connsiteY2757" fmla="*/ 321934 h 680138"/>
                    <a:gd name="connsiteX2758" fmla="*/ 516791 w 599011"/>
                    <a:gd name="connsiteY2758" fmla="*/ 319942 h 680138"/>
                    <a:gd name="connsiteX2759" fmla="*/ 516439 w 599011"/>
                    <a:gd name="connsiteY2759" fmla="*/ 317574 h 680138"/>
                    <a:gd name="connsiteX2760" fmla="*/ 516063 w 599011"/>
                    <a:gd name="connsiteY2760" fmla="*/ 315024 h 680138"/>
                    <a:gd name="connsiteX2761" fmla="*/ 513962 w 599011"/>
                    <a:gd name="connsiteY2761" fmla="*/ 313519 h 680138"/>
                    <a:gd name="connsiteX2762" fmla="*/ 510683 w 599011"/>
                    <a:gd name="connsiteY2762" fmla="*/ 311175 h 680138"/>
                    <a:gd name="connsiteX2763" fmla="*/ 509166 w 599011"/>
                    <a:gd name="connsiteY2763" fmla="*/ 310094 h 680138"/>
                    <a:gd name="connsiteX2764" fmla="*/ 508413 w 599011"/>
                    <a:gd name="connsiteY2764" fmla="*/ 310082 h 680138"/>
                    <a:gd name="connsiteX2765" fmla="*/ 509931 w 599011"/>
                    <a:gd name="connsiteY2765" fmla="*/ 308212 h 680138"/>
                    <a:gd name="connsiteX2766" fmla="*/ 513683 w 599011"/>
                    <a:gd name="connsiteY2766" fmla="*/ 303598 h 680138"/>
                    <a:gd name="connsiteX2767" fmla="*/ 509141 w 599011"/>
                    <a:gd name="connsiteY2767" fmla="*/ 299761 h 680138"/>
                    <a:gd name="connsiteX2768" fmla="*/ 506336 w 599011"/>
                    <a:gd name="connsiteY2768" fmla="*/ 297381 h 680138"/>
                    <a:gd name="connsiteX2769" fmla="*/ 504296 w 599011"/>
                    <a:gd name="connsiteY2769" fmla="*/ 295656 h 680138"/>
                    <a:gd name="connsiteX2770" fmla="*/ 502317 w 599011"/>
                    <a:gd name="connsiteY2770" fmla="*/ 295911 h 680138"/>
                    <a:gd name="connsiteX2771" fmla="*/ 502317 w 599011"/>
                    <a:gd name="connsiteY2771" fmla="*/ 295899 h 680138"/>
                    <a:gd name="connsiteX2772" fmla="*/ 502402 w 599011"/>
                    <a:gd name="connsiteY2772" fmla="*/ 294952 h 680138"/>
                    <a:gd name="connsiteX2773" fmla="*/ 502183 w 599011"/>
                    <a:gd name="connsiteY2773" fmla="*/ 294029 h 680138"/>
                    <a:gd name="connsiteX2774" fmla="*/ 501783 w 599011"/>
                    <a:gd name="connsiteY2774" fmla="*/ 292281 h 680138"/>
                    <a:gd name="connsiteX2775" fmla="*/ 501503 w 599011"/>
                    <a:gd name="connsiteY2775" fmla="*/ 291054 h 680138"/>
                    <a:gd name="connsiteX2776" fmla="*/ 501151 w 599011"/>
                    <a:gd name="connsiteY2776" fmla="*/ 290581 h 680138"/>
                    <a:gd name="connsiteX2777" fmla="*/ 502232 w 599011"/>
                    <a:gd name="connsiteY2777" fmla="*/ 290192 h 680138"/>
                    <a:gd name="connsiteX2778" fmla="*/ 503920 w 599011"/>
                    <a:gd name="connsiteY2778" fmla="*/ 289585 h 680138"/>
                    <a:gd name="connsiteX2779" fmla="*/ 505000 w 599011"/>
                    <a:gd name="connsiteY2779" fmla="*/ 288152 h 680138"/>
                    <a:gd name="connsiteX2780" fmla="*/ 506215 w 599011"/>
                    <a:gd name="connsiteY2780" fmla="*/ 286549 h 680138"/>
                    <a:gd name="connsiteX2781" fmla="*/ 508097 w 599011"/>
                    <a:gd name="connsiteY2781" fmla="*/ 284060 h 680138"/>
                    <a:gd name="connsiteX2782" fmla="*/ 507174 w 599011"/>
                    <a:gd name="connsiteY2782" fmla="*/ 281073 h 680138"/>
                    <a:gd name="connsiteX2783" fmla="*/ 506421 w 599011"/>
                    <a:gd name="connsiteY2783" fmla="*/ 278656 h 680138"/>
                    <a:gd name="connsiteX2784" fmla="*/ 506227 w 599011"/>
                    <a:gd name="connsiteY2784" fmla="*/ 278037 h 680138"/>
                    <a:gd name="connsiteX2785" fmla="*/ 505911 w 599011"/>
                    <a:gd name="connsiteY2785" fmla="*/ 277478 h 680138"/>
                    <a:gd name="connsiteX2786" fmla="*/ 505171 w 599011"/>
                    <a:gd name="connsiteY2786" fmla="*/ 276179 h 680138"/>
                    <a:gd name="connsiteX2787" fmla="*/ 505826 w 599011"/>
                    <a:gd name="connsiteY2787" fmla="*/ 274588 h 680138"/>
                    <a:gd name="connsiteX2788" fmla="*/ 506652 w 599011"/>
                    <a:gd name="connsiteY2788" fmla="*/ 272585 h 680138"/>
                    <a:gd name="connsiteX2789" fmla="*/ 506020 w 599011"/>
                    <a:gd name="connsiteY2789" fmla="*/ 270508 h 680138"/>
                    <a:gd name="connsiteX2790" fmla="*/ 505984 w 599011"/>
                    <a:gd name="connsiteY2790" fmla="*/ 270387 h 680138"/>
                    <a:gd name="connsiteX2791" fmla="*/ 508279 w 599011"/>
                    <a:gd name="connsiteY2791" fmla="*/ 268116 h 680138"/>
                    <a:gd name="connsiteX2792" fmla="*/ 510926 w 599011"/>
                    <a:gd name="connsiteY2792" fmla="*/ 265493 h 680138"/>
                    <a:gd name="connsiteX2793" fmla="*/ 509918 w 599011"/>
                    <a:gd name="connsiteY2793" fmla="*/ 262360 h 680138"/>
                    <a:gd name="connsiteX2794" fmla="*/ 510489 w 599011"/>
                    <a:gd name="connsiteY2794" fmla="*/ 262008 h 680138"/>
                    <a:gd name="connsiteX2795" fmla="*/ 510999 w 599011"/>
                    <a:gd name="connsiteY2795" fmla="*/ 261498 h 680138"/>
                    <a:gd name="connsiteX2796" fmla="*/ 512736 w 599011"/>
                    <a:gd name="connsiteY2796" fmla="*/ 259750 h 680138"/>
                    <a:gd name="connsiteX2797" fmla="*/ 513719 w 599011"/>
                    <a:gd name="connsiteY2797" fmla="*/ 258754 h 680138"/>
                    <a:gd name="connsiteX2798" fmla="*/ 514168 w 599011"/>
                    <a:gd name="connsiteY2798" fmla="*/ 257442 h 680138"/>
                    <a:gd name="connsiteX2799" fmla="*/ 514921 w 599011"/>
                    <a:gd name="connsiteY2799" fmla="*/ 255281 h 680138"/>
                    <a:gd name="connsiteX2800" fmla="*/ 515553 w 599011"/>
                    <a:gd name="connsiteY2800" fmla="*/ 253435 h 680138"/>
                    <a:gd name="connsiteX2801" fmla="*/ 514994 w 599011"/>
                    <a:gd name="connsiteY2801" fmla="*/ 251565 h 680138"/>
                    <a:gd name="connsiteX2802" fmla="*/ 514921 w 599011"/>
                    <a:gd name="connsiteY2802" fmla="*/ 251322 h 680138"/>
                    <a:gd name="connsiteX2803" fmla="*/ 515213 w 599011"/>
                    <a:gd name="connsiteY2803" fmla="*/ 251213 h 680138"/>
                    <a:gd name="connsiteX2804" fmla="*/ 517386 w 599011"/>
                    <a:gd name="connsiteY2804" fmla="*/ 250375 h 680138"/>
                    <a:gd name="connsiteX2805" fmla="*/ 518443 w 599011"/>
                    <a:gd name="connsiteY2805" fmla="*/ 248299 h 680138"/>
                    <a:gd name="connsiteX2806" fmla="*/ 521891 w 599011"/>
                    <a:gd name="connsiteY2806" fmla="*/ 241523 h 680138"/>
                    <a:gd name="connsiteX2807" fmla="*/ 522243 w 599011"/>
                    <a:gd name="connsiteY2807" fmla="*/ 240819 h 680138"/>
                    <a:gd name="connsiteX2808" fmla="*/ 522414 w 599011"/>
                    <a:gd name="connsiteY2808" fmla="*/ 240054 h 680138"/>
                    <a:gd name="connsiteX2809" fmla="*/ 527866 w 599011"/>
                    <a:gd name="connsiteY2809" fmla="*/ 214772 h 680138"/>
                    <a:gd name="connsiteX2810" fmla="*/ 529748 w 599011"/>
                    <a:gd name="connsiteY2810" fmla="*/ 208980 h 680138"/>
                    <a:gd name="connsiteX2811" fmla="*/ 530537 w 599011"/>
                    <a:gd name="connsiteY2811" fmla="*/ 207438 h 680138"/>
                    <a:gd name="connsiteX2812" fmla="*/ 531290 w 599011"/>
                    <a:gd name="connsiteY2812" fmla="*/ 206879 h 680138"/>
                    <a:gd name="connsiteX2813" fmla="*/ 531654 w 599011"/>
                    <a:gd name="connsiteY2813" fmla="*/ 206612 h 680138"/>
                    <a:gd name="connsiteX2814" fmla="*/ 531970 w 599011"/>
                    <a:gd name="connsiteY2814" fmla="*/ 206296 h 680138"/>
                    <a:gd name="connsiteX2815" fmla="*/ 538976 w 599011"/>
                    <a:gd name="connsiteY2815" fmla="*/ 199290 h 680138"/>
                    <a:gd name="connsiteX2816" fmla="*/ 539826 w 599011"/>
                    <a:gd name="connsiteY2816" fmla="*/ 198440 h 680138"/>
                    <a:gd name="connsiteX2817" fmla="*/ 540288 w 599011"/>
                    <a:gd name="connsiteY2817" fmla="*/ 197335 h 680138"/>
                    <a:gd name="connsiteX2818" fmla="*/ 540458 w 599011"/>
                    <a:gd name="connsiteY2818" fmla="*/ 196922 h 680138"/>
                    <a:gd name="connsiteX2819" fmla="*/ 540677 w 599011"/>
                    <a:gd name="connsiteY2819" fmla="*/ 196861 h 680138"/>
                    <a:gd name="connsiteX2820" fmla="*/ 541478 w 599011"/>
                    <a:gd name="connsiteY2820" fmla="*/ 196643 h 680138"/>
                    <a:gd name="connsiteX2821" fmla="*/ 542158 w 599011"/>
                    <a:gd name="connsiteY2821" fmla="*/ 196801 h 680138"/>
                    <a:gd name="connsiteX2822" fmla="*/ 543809 w 599011"/>
                    <a:gd name="connsiteY2822" fmla="*/ 196218 h 680138"/>
                    <a:gd name="connsiteX2823" fmla="*/ 547537 w 599011"/>
                    <a:gd name="connsiteY2823" fmla="*/ 194906 h 680138"/>
                    <a:gd name="connsiteX2824" fmla="*/ 548363 w 599011"/>
                    <a:gd name="connsiteY2824" fmla="*/ 190790 h 680138"/>
                    <a:gd name="connsiteX2825" fmla="*/ 548424 w 599011"/>
                    <a:gd name="connsiteY2825" fmla="*/ 189952 h 680138"/>
                    <a:gd name="connsiteX2826" fmla="*/ 549456 w 599011"/>
                    <a:gd name="connsiteY2826" fmla="*/ 189563 h 680138"/>
                    <a:gd name="connsiteX2827" fmla="*/ 550342 w 599011"/>
                    <a:gd name="connsiteY2827" fmla="*/ 188738 h 680138"/>
                    <a:gd name="connsiteX2828" fmla="*/ 555649 w 599011"/>
                    <a:gd name="connsiteY2828" fmla="*/ 183783 h 680138"/>
                    <a:gd name="connsiteX2829" fmla="*/ 561174 w 599011"/>
                    <a:gd name="connsiteY2829" fmla="*/ 180748 h 680138"/>
                    <a:gd name="connsiteX2830" fmla="*/ 564052 w 599011"/>
                    <a:gd name="connsiteY2830" fmla="*/ 179169 h 680138"/>
                    <a:gd name="connsiteX2831" fmla="*/ 564307 w 599011"/>
                    <a:gd name="connsiteY2831" fmla="*/ 175890 h 680138"/>
                    <a:gd name="connsiteX2832" fmla="*/ 564635 w 599011"/>
                    <a:gd name="connsiteY2832" fmla="*/ 171701 h 680138"/>
                    <a:gd name="connsiteX2833" fmla="*/ 564744 w 599011"/>
                    <a:gd name="connsiteY2833" fmla="*/ 171556 h 680138"/>
                    <a:gd name="connsiteX2834" fmla="*/ 569674 w 599011"/>
                    <a:gd name="connsiteY2834" fmla="*/ 167743 h 680138"/>
                    <a:gd name="connsiteX2835" fmla="*/ 569953 w 599011"/>
                    <a:gd name="connsiteY2835" fmla="*/ 167512 h 680138"/>
                    <a:gd name="connsiteX2836" fmla="*/ 570208 w 599011"/>
                    <a:gd name="connsiteY2836" fmla="*/ 167257 h 680138"/>
                    <a:gd name="connsiteX2837" fmla="*/ 582157 w 599011"/>
                    <a:gd name="connsiteY2837" fmla="*/ 155478 h 680138"/>
                    <a:gd name="connsiteX2838" fmla="*/ 589710 w 599011"/>
                    <a:gd name="connsiteY2838" fmla="*/ 149747 h 680138"/>
                    <a:gd name="connsiteX2839" fmla="*/ 590025 w 599011"/>
                    <a:gd name="connsiteY2839" fmla="*/ 149504 h 680138"/>
                    <a:gd name="connsiteX2840" fmla="*/ 590317 w 599011"/>
                    <a:gd name="connsiteY2840" fmla="*/ 149225 h 680138"/>
                    <a:gd name="connsiteX2841" fmla="*/ 593826 w 599011"/>
                    <a:gd name="connsiteY2841" fmla="*/ 145740 h 680138"/>
                    <a:gd name="connsiteX2842" fmla="*/ 594931 w 599011"/>
                    <a:gd name="connsiteY2842" fmla="*/ 144635 h 680138"/>
                    <a:gd name="connsiteX2843" fmla="*/ 595368 w 599011"/>
                    <a:gd name="connsiteY2843" fmla="*/ 143129 h 680138"/>
                    <a:gd name="connsiteX2844" fmla="*/ 598173 w 599011"/>
                    <a:gd name="connsiteY2844" fmla="*/ 133487 h 680138"/>
                    <a:gd name="connsiteX2845" fmla="*/ 598368 w 599011"/>
                    <a:gd name="connsiteY2845" fmla="*/ 132832 h 680138"/>
                    <a:gd name="connsiteX2846" fmla="*/ 598404 w 599011"/>
                    <a:gd name="connsiteY2846" fmla="*/ 132152 h 680138"/>
                    <a:gd name="connsiteX2847" fmla="*/ 598975 w 599011"/>
                    <a:gd name="connsiteY2847" fmla="*/ 122814 h 680138"/>
                    <a:gd name="connsiteX2848" fmla="*/ 599011 w 599011"/>
                    <a:gd name="connsiteY2848" fmla="*/ 122231 h 680138"/>
                    <a:gd name="connsiteX2849" fmla="*/ 598938 w 599011"/>
                    <a:gd name="connsiteY2849" fmla="*/ 121648 h 680138"/>
                    <a:gd name="connsiteX2850" fmla="*/ 598659 w 599011"/>
                    <a:gd name="connsiteY2850" fmla="*/ 119559 h 680138"/>
                    <a:gd name="connsiteX2851" fmla="*/ 598489 w 599011"/>
                    <a:gd name="connsiteY2851" fmla="*/ 118260 h 680138"/>
                    <a:gd name="connsiteX2852" fmla="*/ 597785 w 599011"/>
                    <a:gd name="connsiteY2852" fmla="*/ 117143 h 680138"/>
                    <a:gd name="connsiteX2853" fmla="*/ 594530 w 599011"/>
                    <a:gd name="connsiteY2853" fmla="*/ 111958 h 680138"/>
                    <a:gd name="connsiteX2854" fmla="*/ 592126 w 599011"/>
                    <a:gd name="connsiteY2854" fmla="*/ 113221 h 680138"/>
                    <a:gd name="connsiteX2855" fmla="*/ 587147 w 599011"/>
                    <a:gd name="connsiteY2855" fmla="*/ 110622 h 680138"/>
                    <a:gd name="connsiteX2856" fmla="*/ 583043 w 599011"/>
                    <a:gd name="connsiteY2856" fmla="*/ 106821 h 680138"/>
                    <a:gd name="connsiteX2857" fmla="*/ 581246 w 599011"/>
                    <a:gd name="connsiteY2857" fmla="*/ 105158 h 680138"/>
                    <a:gd name="connsiteX2858" fmla="*/ 578805 w 599011"/>
                    <a:gd name="connsiteY2858" fmla="*/ 105206 h 680138"/>
                    <a:gd name="connsiteX2859" fmla="*/ 575770 w 599011"/>
                    <a:gd name="connsiteY2859" fmla="*/ 105267 h 680138"/>
                    <a:gd name="connsiteX2860" fmla="*/ 574531 w 599011"/>
                    <a:gd name="connsiteY2860" fmla="*/ 105291 h 680138"/>
                    <a:gd name="connsiteX2861" fmla="*/ 573875 w 599011"/>
                    <a:gd name="connsiteY2861" fmla="*/ 105583 h 680138"/>
                    <a:gd name="connsiteX2862" fmla="*/ 573620 w 599011"/>
                    <a:gd name="connsiteY2862" fmla="*/ 104721 h 680138"/>
                    <a:gd name="connsiteX2863" fmla="*/ 573256 w 599011"/>
                    <a:gd name="connsiteY2863" fmla="*/ 103458 h 680138"/>
                    <a:gd name="connsiteX2864" fmla="*/ 571908 w 599011"/>
                    <a:gd name="connsiteY2864" fmla="*/ 98734 h 680138"/>
                    <a:gd name="connsiteX2865" fmla="*/ 567002 w 599011"/>
                    <a:gd name="connsiteY2865" fmla="*/ 99074 h 680138"/>
                    <a:gd name="connsiteX2866" fmla="*/ 565630 w 599011"/>
                    <a:gd name="connsiteY2866" fmla="*/ 99171 h 680138"/>
                    <a:gd name="connsiteX2867" fmla="*/ 564125 w 599011"/>
                    <a:gd name="connsiteY2867" fmla="*/ 99281 h 680138"/>
                    <a:gd name="connsiteX2868" fmla="*/ 562837 w 599011"/>
                    <a:gd name="connsiteY2868" fmla="*/ 100082 h 680138"/>
                    <a:gd name="connsiteX2869" fmla="*/ 557118 w 599011"/>
                    <a:gd name="connsiteY2869" fmla="*/ 103652 h 680138"/>
                    <a:gd name="connsiteX2870" fmla="*/ 556074 w 599011"/>
                    <a:gd name="connsiteY2870" fmla="*/ 104089 h 680138"/>
                    <a:gd name="connsiteX2871" fmla="*/ 554750 w 599011"/>
                    <a:gd name="connsiteY2871" fmla="*/ 102389 h 680138"/>
                    <a:gd name="connsiteX2872" fmla="*/ 553754 w 599011"/>
                    <a:gd name="connsiteY2872" fmla="*/ 101126 h 680138"/>
                    <a:gd name="connsiteX2873" fmla="*/ 552273 w 599011"/>
                    <a:gd name="connsiteY2873" fmla="*/ 100519 h 680138"/>
                    <a:gd name="connsiteX2874" fmla="*/ 550658 w 599011"/>
                    <a:gd name="connsiteY2874" fmla="*/ 99864 h 680138"/>
                    <a:gd name="connsiteX2875" fmla="*/ 550039 w 599011"/>
                    <a:gd name="connsiteY2875" fmla="*/ 99609 h 680138"/>
                    <a:gd name="connsiteX2876" fmla="*/ 549371 w 599011"/>
                    <a:gd name="connsiteY2876" fmla="*/ 99499 h 680138"/>
                    <a:gd name="connsiteX2877" fmla="*/ 541150 w 599011"/>
                    <a:gd name="connsiteY2877" fmla="*/ 98115 h 680138"/>
                    <a:gd name="connsiteX2878" fmla="*/ 540239 w 599011"/>
                    <a:gd name="connsiteY2878" fmla="*/ 97763 h 680138"/>
                    <a:gd name="connsiteX2879" fmla="*/ 537859 w 599011"/>
                    <a:gd name="connsiteY2879" fmla="*/ 96148 h 680138"/>
                    <a:gd name="connsiteX2880" fmla="*/ 537483 w 599011"/>
                    <a:gd name="connsiteY2880" fmla="*/ 95893 h 680138"/>
                    <a:gd name="connsiteX2881" fmla="*/ 537070 w 599011"/>
                    <a:gd name="connsiteY2881" fmla="*/ 95699 h 680138"/>
                    <a:gd name="connsiteX2882" fmla="*/ 530428 w 599011"/>
                    <a:gd name="connsiteY2882" fmla="*/ 92541 h 680138"/>
                    <a:gd name="connsiteX2883" fmla="*/ 527574 w 599011"/>
                    <a:gd name="connsiteY2883" fmla="*/ 91181 h 680138"/>
                    <a:gd name="connsiteX2884" fmla="*/ 525729 w 599011"/>
                    <a:gd name="connsiteY2884" fmla="*/ 92238 h 680138"/>
                    <a:gd name="connsiteX2885" fmla="*/ 524174 w 599011"/>
                    <a:gd name="connsiteY2885" fmla="*/ 91011 h 680138"/>
                    <a:gd name="connsiteX2886" fmla="*/ 514666 w 599011"/>
                    <a:gd name="connsiteY2886" fmla="*/ 83519 h 680138"/>
                    <a:gd name="connsiteX2887" fmla="*/ 513671 w 599011"/>
                    <a:gd name="connsiteY2887" fmla="*/ 82281 h 680138"/>
                    <a:gd name="connsiteX2888" fmla="*/ 514047 w 599011"/>
                    <a:gd name="connsiteY2888" fmla="*/ 81613 h 680138"/>
                    <a:gd name="connsiteX2889" fmla="*/ 515443 w 599011"/>
                    <a:gd name="connsiteY2889" fmla="*/ 78589 h 680138"/>
                    <a:gd name="connsiteX2890" fmla="*/ 515759 w 599011"/>
                    <a:gd name="connsiteY2890" fmla="*/ 77885 h 680138"/>
                    <a:gd name="connsiteX2891" fmla="*/ 515893 w 599011"/>
                    <a:gd name="connsiteY2891" fmla="*/ 77132 h 680138"/>
                    <a:gd name="connsiteX2892" fmla="*/ 516403 w 599011"/>
                    <a:gd name="connsiteY2892" fmla="*/ 74254 h 680138"/>
                    <a:gd name="connsiteX2893" fmla="*/ 516524 w 599011"/>
                    <a:gd name="connsiteY2893" fmla="*/ 73550 h 680138"/>
                    <a:gd name="connsiteX2894" fmla="*/ 516488 w 599011"/>
                    <a:gd name="connsiteY2894" fmla="*/ 72833 h 680138"/>
                    <a:gd name="connsiteX2895" fmla="*/ 516184 w 599011"/>
                    <a:gd name="connsiteY2895" fmla="*/ 67685 h 680138"/>
                    <a:gd name="connsiteX2896" fmla="*/ 516852 w 599011"/>
                    <a:gd name="connsiteY2896" fmla="*/ 62840 h 680138"/>
                    <a:gd name="connsiteX2897" fmla="*/ 516949 w 599011"/>
                    <a:gd name="connsiteY2897" fmla="*/ 62099 h 680138"/>
                    <a:gd name="connsiteX2898" fmla="*/ 516864 w 599011"/>
                    <a:gd name="connsiteY2898" fmla="*/ 61358 h 680138"/>
                    <a:gd name="connsiteX2899" fmla="*/ 516524 w 599011"/>
                    <a:gd name="connsiteY2899" fmla="*/ 58262 h 680138"/>
                    <a:gd name="connsiteX2900" fmla="*/ 516415 w 599011"/>
                    <a:gd name="connsiteY2900" fmla="*/ 57242 h 680138"/>
                    <a:gd name="connsiteX2901" fmla="*/ 515978 w 599011"/>
                    <a:gd name="connsiteY2901" fmla="*/ 56319 h 680138"/>
                    <a:gd name="connsiteX2902" fmla="*/ 514606 w 599011"/>
                    <a:gd name="connsiteY2902" fmla="*/ 53417 h 680138"/>
                    <a:gd name="connsiteX2903" fmla="*/ 514351 w 599011"/>
                    <a:gd name="connsiteY2903" fmla="*/ 52883 h 680138"/>
                    <a:gd name="connsiteX2904" fmla="*/ 513998 w 599011"/>
                    <a:gd name="connsiteY2904" fmla="*/ 52397 h 680138"/>
                    <a:gd name="connsiteX2905" fmla="*/ 511181 w 599011"/>
                    <a:gd name="connsiteY2905" fmla="*/ 48608 h 680138"/>
                    <a:gd name="connsiteX2906" fmla="*/ 510975 w 599011"/>
                    <a:gd name="connsiteY2906" fmla="*/ 48329 h 680138"/>
                    <a:gd name="connsiteX2907" fmla="*/ 510732 w 599011"/>
                    <a:gd name="connsiteY2907" fmla="*/ 48074 h 680138"/>
                    <a:gd name="connsiteX2908" fmla="*/ 508656 w 599011"/>
                    <a:gd name="connsiteY2908" fmla="*/ 45864 h 680138"/>
                    <a:gd name="connsiteX2909" fmla="*/ 508121 w 599011"/>
                    <a:gd name="connsiteY2909" fmla="*/ 45305 h 680138"/>
                    <a:gd name="connsiteX2910" fmla="*/ 507466 w 599011"/>
                    <a:gd name="connsiteY2910" fmla="*/ 44893 h 680138"/>
                    <a:gd name="connsiteX2911" fmla="*/ 502183 w 599011"/>
                    <a:gd name="connsiteY2911" fmla="*/ 41565 h 680138"/>
                    <a:gd name="connsiteX2912" fmla="*/ 493768 w 599011"/>
                    <a:gd name="connsiteY2912" fmla="*/ 36817 h 680138"/>
                    <a:gd name="connsiteX2913" fmla="*/ 493319 w 599011"/>
                    <a:gd name="connsiteY2913" fmla="*/ 36562 h 680138"/>
                    <a:gd name="connsiteX2914" fmla="*/ 492833 w 599011"/>
                    <a:gd name="connsiteY2914" fmla="*/ 36392 h 680138"/>
                    <a:gd name="connsiteX2915" fmla="*/ 488389 w 599011"/>
                    <a:gd name="connsiteY2915" fmla="*/ 34802 h 680138"/>
                    <a:gd name="connsiteX2916" fmla="*/ 488207 w 599011"/>
                    <a:gd name="connsiteY2916" fmla="*/ 34207 h 680138"/>
                    <a:gd name="connsiteX2917" fmla="*/ 487466 w 599011"/>
                    <a:gd name="connsiteY2917" fmla="*/ 31778 h 680138"/>
                    <a:gd name="connsiteX2918" fmla="*/ 486956 w 599011"/>
                    <a:gd name="connsiteY2918" fmla="*/ 30102 h 680138"/>
                    <a:gd name="connsiteX2919" fmla="*/ 485645 w 599011"/>
                    <a:gd name="connsiteY2919" fmla="*/ 28961 h 680138"/>
                    <a:gd name="connsiteX2920" fmla="*/ 484163 w 599011"/>
                    <a:gd name="connsiteY2920" fmla="*/ 27674 h 680138"/>
                    <a:gd name="connsiteX2921" fmla="*/ 483641 w 599011"/>
                    <a:gd name="connsiteY2921" fmla="*/ 27212 h 680138"/>
                    <a:gd name="connsiteX2922" fmla="*/ 483022 w 599011"/>
                    <a:gd name="connsiteY2922" fmla="*/ 26885 h 680138"/>
                    <a:gd name="connsiteX2923" fmla="*/ 481225 w 599011"/>
                    <a:gd name="connsiteY2923" fmla="*/ 25937 h 680138"/>
                    <a:gd name="connsiteX2924" fmla="*/ 480605 w 599011"/>
                    <a:gd name="connsiteY2924" fmla="*/ 25609 h 680138"/>
                    <a:gd name="connsiteX2925" fmla="*/ 479925 w 599011"/>
                    <a:gd name="connsiteY2925" fmla="*/ 25427 h 680138"/>
                    <a:gd name="connsiteX2926" fmla="*/ 478614 w 599011"/>
                    <a:gd name="connsiteY2926" fmla="*/ 25087 h 680138"/>
                    <a:gd name="connsiteX2927" fmla="*/ 478383 w 599011"/>
                    <a:gd name="connsiteY2927" fmla="*/ 24796 h 680138"/>
                    <a:gd name="connsiteX2928" fmla="*/ 477970 w 599011"/>
                    <a:gd name="connsiteY2928" fmla="*/ 23752 h 680138"/>
                    <a:gd name="connsiteX2929" fmla="*/ 477205 w 599011"/>
                    <a:gd name="connsiteY2929" fmla="*/ 20339 h 680138"/>
                    <a:gd name="connsiteX2930" fmla="*/ 477060 w 599011"/>
                    <a:gd name="connsiteY2930" fmla="*/ 19696 h 680138"/>
                    <a:gd name="connsiteX2931" fmla="*/ 476792 w 599011"/>
                    <a:gd name="connsiteY2931" fmla="*/ 19113 h 680138"/>
                    <a:gd name="connsiteX2932" fmla="*/ 475748 w 599011"/>
                    <a:gd name="connsiteY2932" fmla="*/ 16879 h 680138"/>
                    <a:gd name="connsiteX2933" fmla="*/ 475469 w 599011"/>
                    <a:gd name="connsiteY2933" fmla="*/ 16284 h 680138"/>
                    <a:gd name="connsiteX2934" fmla="*/ 475080 w 599011"/>
                    <a:gd name="connsiteY2934" fmla="*/ 15774 h 680138"/>
                    <a:gd name="connsiteX2935" fmla="*/ 473198 w 599011"/>
                    <a:gd name="connsiteY2935" fmla="*/ 13297 h 680138"/>
                    <a:gd name="connsiteX2936" fmla="*/ 472980 w 599011"/>
                    <a:gd name="connsiteY2936" fmla="*/ 13017 h 680138"/>
                    <a:gd name="connsiteX2937" fmla="*/ 472725 w 599011"/>
                    <a:gd name="connsiteY2937" fmla="*/ 12762 h 680138"/>
                    <a:gd name="connsiteX2938" fmla="*/ 469337 w 599011"/>
                    <a:gd name="connsiteY2938" fmla="*/ 9265 h 680138"/>
                    <a:gd name="connsiteX2939" fmla="*/ 467964 w 599011"/>
                    <a:gd name="connsiteY2939" fmla="*/ 7844 h 680138"/>
                    <a:gd name="connsiteX2940" fmla="*/ 466022 w 599011"/>
                    <a:gd name="connsiteY2940" fmla="*/ 7504 h 680138"/>
                    <a:gd name="connsiteX2941" fmla="*/ 463035 w 599011"/>
                    <a:gd name="connsiteY2941" fmla="*/ 6982 h 680138"/>
                    <a:gd name="connsiteX2942" fmla="*/ 462209 w 599011"/>
                    <a:gd name="connsiteY2942" fmla="*/ 6837 h 680138"/>
                    <a:gd name="connsiteX2943" fmla="*/ 461371 w 599011"/>
                    <a:gd name="connsiteY2943" fmla="*/ 6921 h 680138"/>
                    <a:gd name="connsiteX2944" fmla="*/ 458906 w 599011"/>
                    <a:gd name="connsiteY2944" fmla="*/ 7177 h 680138"/>
                    <a:gd name="connsiteX2945" fmla="*/ 458372 w 599011"/>
                    <a:gd name="connsiteY2945" fmla="*/ 7237 h 680138"/>
                    <a:gd name="connsiteX2946" fmla="*/ 457850 w 599011"/>
                    <a:gd name="connsiteY2946" fmla="*/ 7383 h 680138"/>
                    <a:gd name="connsiteX2947" fmla="*/ 456392 w 599011"/>
                    <a:gd name="connsiteY2947" fmla="*/ 7808 h 680138"/>
                    <a:gd name="connsiteX2948" fmla="*/ 455979 w 599011"/>
                    <a:gd name="connsiteY2948" fmla="*/ 7759 h 680138"/>
                    <a:gd name="connsiteX2949" fmla="*/ 455773 w 599011"/>
                    <a:gd name="connsiteY2949" fmla="*/ 7529 h 680138"/>
                    <a:gd name="connsiteX2950" fmla="*/ 454559 w 599011"/>
                    <a:gd name="connsiteY2950" fmla="*/ 4797 h 680138"/>
                    <a:gd name="connsiteX2951" fmla="*/ 454085 w 599011"/>
                    <a:gd name="connsiteY2951" fmla="*/ 3716 h 680138"/>
                    <a:gd name="connsiteX2952" fmla="*/ 453235 w 599011"/>
                    <a:gd name="connsiteY2952" fmla="*/ 2890 h 680138"/>
                    <a:gd name="connsiteX2953" fmla="*/ 452495 w 599011"/>
                    <a:gd name="connsiteY2953" fmla="*/ 2174 h 680138"/>
                    <a:gd name="connsiteX2954" fmla="*/ 451304 w 599011"/>
                    <a:gd name="connsiteY2954" fmla="*/ 1020 h 680138"/>
                    <a:gd name="connsiteX2955" fmla="*/ 449689 w 599011"/>
                    <a:gd name="connsiteY2955" fmla="*/ 631 h 680138"/>
                    <a:gd name="connsiteX2956" fmla="*/ 448487 w 599011"/>
                    <a:gd name="connsiteY2956" fmla="*/ 340 h 680138"/>
                    <a:gd name="connsiteX2957" fmla="*/ 447115 w 599011"/>
                    <a:gd name="connsiteY2957" fmla="*/ 0 h 680138"/>
                    <a:gd name="connsiteX2958" fmla="*/ 447115 w 599011"/>
                    <a:gd name="connsiteY2958" fmla="*/ 0 h 680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Lst>
                  <a:rect l="l" t="t" r="r" b="b"/>
                  <a:pathLst>
                    <a:path w="599011" h="680138">
                      <a:moveTo>
                        <a:pt x="446994" y="6217"/>
                      </a:moveTo>
                      <a:lnTo>
                        <a:pt x="448196" y="6509"/>
                      </a:lnTo>
                      <a:lnTo>
                        <a:pt x="448937" y="7225"/>
                      </a:lnTo>
                      <a:lnTo>
                        <a:pt x="450539" y="10844"/>
                      </a:lnTo>
                      <a:lnTo>
                        <a:pt x="452155" y="12629"/>
                      </a:lnTo>
                      <a:lnTo>
                        <a:pt x="453939" y="13576"/>
                      </a:lnTo>
                      <a:lnTo>
                        <a:pt x="456757" y="13964"/>
                      </a:lnTo>
                      <a:lnTo>
                        <a:pt x="459452" y="13187"/>
                      </a:lnTo>
                      <a:lnTo>
                        <a:pt x="461917" y="12932"/>
                      </a:lnTo>
                      <a:lnTo>
                        <a:pt x="464904" y="13454"/>
                      </a:lnTo>
                      <a:lnTo>
                        <a:pt x="468292" y="16952"/>
                      </a:lnTo>
                      <a:lnTo>
                        <a:pt x="470175" y="19429"/>
                      </a:lnTo>
                      <a:lnTo>
                        <a:pt x="471219" y="21663"/>
                      </a:lnTo>
                      <a:lnTo>
                        <a:pt x="472093" y="25512"/>
                      </a:lnTo>
                      <a:lnTo>
                        <a:pt x="473004" y="27868"/>
                      </a:lnTo>
                      <a:lnTo>
                        <a:pt x="474437" y="29641"/>
                      </a:lnTo>
                      <a:lnTo>
                        <a:pt x="475870" y="30649"/>
                      </a:lnTo>
                      <a:lnTo>
                        <a:pt x="478335" y="31292"/>
                      </a:lnTo>
                      <a:lnTo>
                        <a:pt x="480132" y="32240"/>
                      </a:lnTo>
                      <a:lnTo>
                        <a:pt x="481613" y="33527"/>
                      </a:lnTo>
                      <a:lnTo>
                        <a:pt x="482354" y="35955"/>
                      </a:lnTo>
                      <a:lnTo>
                        <a:pt x="482293" y="37230"/>
                      </a:lnTo>
                      <a:lnTo>
                        <a:pt x="482876" y="38615"/>
                      </a:lnTo>
                      <a:lnTo>
                        <a:pt x="485001" y="40035"/>
                      </a:lnTo>
                      <a:lnTo>
                        <a:pt x="490745" y="42087"/>
                      </a:lnTo>
                      <a:lnTo>
                        <a:pt x="498905" y="46677"/>
                      </a:lnTo>
                      <a:lnTo>
                        <a:pt x="504175" y="50005"/>
                      </a:lnTo>
                      <a:lnTo>
                        <a:pt x="506251" y="52215"/>
                      </a:lnTo>
                      <a:lnTo>
                        <a:pt x="509068" y="56003"/>
                      </a:lnTo>
                      <a:lnTo>
                        <a:pt x="510441" y="58905"/>
                      </a:lnTo>
                      <a:lnTo>
                        <a:pt x="510781" y="62002"/>
                      </a:lnTo>
                      <a:lnTo>
                        <a:pt x="510040" y="67430"/>
                      </a:lnTo>
                      <a:lnTo>
                        <a:pt x="510380" y="73173"/>
                      </a:lnTo>
                      <a:lnTo>
                        <a:pt x="509870" y="76051"/>
                      </a:lnTo>
                      <a:lnTo>
                        <a:pt x="508716" y="78601"/>
                      </a:lnTo>
                      <a:lnTo>
                        <a:pt x="507004" y="81649"/>
                      </a:lnTo>
                      <a:lnTo>
                        <a:pt x="507745" y="84600"/>
                      </a:lnTo>
                      <a:lnTo>
                        <a:pt x="510319" y="87818"/>
                      </a:lnTo>
                      <a:lnTo>
                        <a:pt x="520374" y="95735"/>
                      </a:lnTo>
                      <a:lnTo>
                        <a:pt x="520604" y="98297"/>
                      </a:lnTo>
                      <a:lnTo>
                        <a:pt x="520883" y="99305"/>
                      </a:lnTo>
                      <a:lnTo>
                        <a:pt x="521636" y="100531"/>
                      </a:lnTo>
                      <a:lnTo>
                        <a:pt x="522839" y="100799"/>
                      </a:lnTo>
                      <a:lnTo>
                        <a:pt x="527793" y="97981"/>
                      </a:lnTo>
                      <a:lnTo>
                        <a:pt x="534435" y="101139"/>
                      </a:lnTo>
                      <a:lnTo>
                        <a:pt x="537374" y="103118"/>
                      </a:lnTo>
                      <a:lnTo>
                        <a:pt x="539486" y="103956"/>
                      </a:lnTo>
                      <a:lnTo>
                        <a:pt x="548339" y="105449"/>
                      </a:lnTo>
                      <a:lnTo>
                        <a:pt x="549954" y="106105"/>
                      </a:lnTo>
                      <a:lnTo>
                        <a:pt x="551083" y="107538"/>
                      </a:lnTo>
                      <a:lnTo>
                        <a:pt x="552127" y="109031"/>
                      </a:lnTo>
                      <a:lnTo>
                        <a:pt x="553961" y="110355"/>
                      </a:lnTo>
                      <a:lnTo>
                        <a:pt x="557070" y="110185"/>
                      </a:lnTo>
                      <a:lnTo>
                        <a:pt x="559874" y="109031"/>
                      </a:lnTo>
                      <a:lnTo>
                        <a:pt x="566019" y="105194"/>
                      </a:lnTo>
                      <a:lnTo>
                        <a:pt x="567391" y="105097"/>
                      </a:lnTo>
                      <a:lnTo>
                        <a:pt x="567755" y="106360"/>
                      </a:lnTo>
                      <a:lnTo>
                        <a:pt x="566942" y="107829"/>
                      </a:lnTo>
                      <a:lnTo>
                        <a:pt x="563894" y="111132"/>
                      </a:lnTo>
                      <a:lnTo>
                        <a:pt x="564076" y="112019"/>
                      </a:lnTo>
                      <a:lnTo>
                        <a:pt x="565448" y="112650"/>
                      </a:lnTo>
                      <a:lnTo>
                        <a:pt x="569127" y="112796"/>
                      </a:lnTo>
                      <a:lnTo>
                        <a:pt x="571653" y="112589"/>
                      </a:lnTo>
                      <a:lnTo>
                        <a:pt x="574118" y="112079"/>
                      </a:lnTo>
                      <a:lnTo>
                        <a:pt x="575855" y="111302"/>
                      </a:lnTo>
                      <a:lnTo>
                        <a:pt x="578890" y="111241"/>
                      </a:lnTo>
                      <a:lnTo>
                        <a:pt x="583590" y="115589"/>
                      </a:lnTo>
                      <a:lnTo>
                        <a:pt x="592090" y="120033"/>
                      </a:lnTo>
                      <a:lnTo>
                        <a:pt x="592320" y="119887"/>
                      </a:lnTo>
                      <a:lnTo>
                        <a:pt x="592612" y="120349"/>
                      </a:lnTo>
                      <a:lnTo>
                        <a:pt x="592891" y="122437"/>
                      </a:lnTo>
                      <a:lnTo>
                        <a:pt x="592320" y="131775"/>
                      </a:lnTo>
                      <a:lnTo>
                        <a:pt x="589515" y="141417"/>
                      </a:lnTo>
                      <a:lnTo>
                        <a:pt x="586006" y="144902"/>
                      </a:lnTo>
                      <a:lnTo>
                        <a:pt x="578138" y="150864"/>
                      </a:lnTo>
                      <a:lnTo>
                        <a:pt x="565910" y="162922"/>
                      </a:lnTo>
                      <a:lnTo>
                        <a:pt x="560275" y="167281"/>
                      </a:lnTo>
                      <a:lnTo>
                        <a:pt x="558672" y="169528"/>
                      </a:lnTo>
                      <a:lnTo>
                        <a:pt x="558211" y="175405"/>
                      </a:lnTo>
                      <a:lnTo>
                        <a:pt x="552018" y="178805"/>
                      </a:lnTo>
                      <a:lnTo>
                        <a:pt x="546153" y="184281"/>
                      </a:lnTo>
                      <a:lnTo>
                        <a:pt x="543227" y="185374"/>
                      </a:lnTo>
                      <a:lnTo>
                        <a:pt x="542644" y="186261"/>
                      </a:lnTo>
                      <a:lnTo>
                        <a:pt x="542486" y="187414"/>
                      </a:lnTo>
                      <a:lnTo>
                        <a:pt x="542255" y="190304"/>
                      </a:lnTo>
                      <a:lnTo>
                        <a:pt x="541733" y="190486"/>
                      </a:lnTo>
                      <a:lnTo>
                        <a:pt x="540931" y="190304"/>
                      </a:lnTo>
                      <a:lnTo>
                        <a:pt x="539839" y="190778"/>
                      </a:lnTo>
                      <a:lnTo>
                        <a:pt x="539025" y="190996"/>
                      </a:lnTo>
                      <a:lnTo>
                        <a:pt x="536851" y="190632"/>
                      </a:lnTo>
                      <a:lnTo>
                        <a:pt x="535989" y="190778"/>
                      </a:lnTo>
                      <a:lnTo>
                        <a:pt x="535127" y="191834"/>
                      </a:lnTo>
                      <a:lnTo>
                        <a:pt x="534957" y="193036"/>
                      </a:lnTo>
                      <a:lnTo>
                        <a:pt x="534957" y="194166"/>
                      </a:lnTo>
                      <a:lnTo>
                        <a:pt x="534617" y="194991"/>
                      </a:lnTo>
                      <a:lnTo>
                        <a:pt x="527611" y="201998"/>
                      </a:lnTo>
                      <a:lnTo>
                        <a:pt x="525716" y="203406"/>
                      </a:lnTo>
                      <a:lnTo>
                        <a:pt x="524053" y="206649"/>
                      </a:lnTo>
                      <a:lnTo>
                        <a:pt x="521928" y="213194"/>
                      </a:lnTo>
                      <a:lnTo>
                        <a:pt x="516415" y="238779"/>
                      </a:lnTo>
                      <a:lnTo>
                        <a:pt x="512966" y="245554"/>
                      </a:lnTo>
                      <a:lnTo>
                        <a:pt x="511874" y="245980"/>
                      </a:lnTo>
                      <a:lnTo>
                        <a:pt x="510441" y="245785"/>
                      </a:lnTo>
                      <a:lnTo>
                        <a:pt x="508947" y="245846"/>
                      </a:lnTo>
                      <a:lnTo>
                        <a:pt x="507745" y="246927"/>
                      </a:lnTo>
                      <a:lnTo>
                        <a:pt x="507393" y="248675"/>
                      </a:lnTo>
                      <a:lnTo>
                        <a:pt x="507915" y="250375"/>
                      </a:lnTo>
                      <a:lnTo>
                        <a:pt x="508716" y="251954"/>
                      </a:lnTo>
                      <a:lnTo>
                        <a:pt x="509117" y="253302"/>
                      </a:lnTo>
                      <a:lnTo>
                        <a:pt x="508376" y="255463"/>
                      </a:lnTo>
                      <a:lnTo>
                        <a:pt x="506640" y="257212"/>
                      </a:lnTo>
                      <a:lnTo>
                        <a:pt x="502633" y="259677"/>
                      </a:lnTo>
                      <a:lnTo>
                        <a:pt x="503956" y="263793"/>
                      </a:lnTo>
                      <a:lnTo>
                        <a:pt x="499063" y="268638"/>
                      </a:lnTo>
                      <a:lnTo>
                        <a:pt x="500155" y="272257"/>
                      </a:lnTo>
                      <a:lnTo>
                        <a:pt x="498723" y="275706"/>
                      </a:lnTo>
                      <a:lnTo>
                        <a:pt x="499306" y="278255"/>
                      </a:lnTo>
                      <a:lnTo>
                        <a:pt x="500556" y="280466"/>
                      </a:lnTo>
                      <a:lnTo>
                        <a:pt x="501309" y="282882"/>
                      </a:lnTo>
                      <a:lnTo>
                        <a:pt x="500095" y="284485"/>
                      </a:lnTo>
                      <a:lnTo>
                        <a:pt x="497411" y="285456"/>
                      </a:lnTo>
                      <a:lnTo>
                        <a:pt x="494703" y="286865"/>
                      </a:lnTo>
                      <a:lnTo>
                        <a:pt x="493501" y="289743"/>
                      </a:lnTo>
                      <a:lnTo>
                        <a:pt x="493950" y="291151"/>
                      </a:lnTo>
                      <a:lnTo>
                        <a:pt x="495796" y="293653"/>
                      </a:lnTo>
                      <a:lnTo>
                        <a:pt x="496197" y="295401"/>
                      </a:lnTo>
                      <a:lnTo>
                        <a:pt x="495918" y="298814"/>
                      </a:lnTo>
                      <a:lnTo>
                        <a:pt x="495505" y="300477"/>
                      </a:lnTo>
                      <a:lnTo>
                        <a:pt x="494934" y="300331"/>
                      </a:lnTo>
                      <a:lnTo>
                        <a:pt x="497120" y="302687"/>
                      </a:lnTo>
                      <a:lnTo>
                        <a:pt x="502341" y="302031"/>
                      </a:lnTo>
                      <a:lnTo>
                        <a:pt x="505158" y="304411"/>
                      </a:lnTo>
                      <a:lnTo>
                        <a:pt x="502742" y="307399"/>
                      </a:lnTo>
                      <a:lnTo>
                        <a:pt x="496258" y="313373"/>
                      </a:lnTo>
                      <a:lnTo>
                        <a:pt x="494934" y="316469"/>
                      </a:lnTo>
                      <a:lnTo>
                        <a:pt x="497059" y="316676"/>
                      </a:lnTo>
                      <a:lnTo>
                        <a:pt x="501892" y="316032"/>
                      </a:lnTo>
                      <a:lnTo>
                        <a:pt x="507101" y="316154"/>
                      </a:lnTo>
                      <a:lnTo>
                        <a:pt x="510380" y="318497"/>
                      </a:lnTo>
                      <a:lnTo>
                        <a:pt x="510732" y="320865"/>
                      </a:lnTo>
                      <a:lnTo>
                        <a:pt x="509870" y="322468"/>
                      </a:lnTo>
                      <a:lnTo>
                        <a:pt x="508595" y="323877"/>
                      </a:lnTo>
                      <a:lnTo>
                        <a:pt x="507745" y="325589"/>
                      </a:lnTo>
                      <a:lnTo>
                        <a:pt x="507514" y="327240"/>
                      </a:lnTo>
                      <a:lnTo>
                        <a:pt x="507745" y="333299"/>
                      </a:lnTo>
                      <a:lnTo>
                        <a:pt x="508486" y="335157"/>
                      </a:lnTo>
                      <a:lnTo>
                        <a:pt x="509931" y="337137"/>
                      </a:lnTo>
                      <a:lnTo>
                        <a:pt x="510732" y="339286"/>
                      </a:lnTo>
                      <a:lnTo>
                        <a:pt x="509748" y="341678"/>
                      </a:lnTo>
                      <a:lnTo>
                        <a:pt x="507745" y="344204"/>
                      </a:lnTo>
                      <a:lnTo>
                        <a:pt x="507101" y="345989"/>
                      </a:lnTo>
                      <a:lnTo>
                        <a:pt x="509117" y="376674"/>
                      </a:lnTo>
                      <a:lnTo>
                        <a:pt x="508886" y="377937"/>
                      </a:lnTo>
                      <a:lnTo>
                        <a:pt x="508437" y="378568"/>
                      </a:lnTo>
                      <a:lnTo>
                        <a:pt x="507915" y="378993"/>
                      </a:lnTo>
                      <a:lnTo>
                        <a:pt x="507745" y="379515"/>
                      </a:lnTo>
                      <a:lnTo>
                        <a:pt x="508085" y="381130"/>
                      </a:lnTo>
                      <a:lnTo>
                        <a:pt x="508886" y="381895"/>
                      </a:lnTo>
                      <a:lnTo>
                        <a:pt x="509809" y="382333"/>
                      </a:lnTo>
                      <a:lnTo>
                        <a:pt x="510380" y="382928"/>
                      </a:lnTo>
                      <a:lnTo>
                        <a:pt x="514338" y="395823"/>
                      </a:lnTo>
                      <a:lnTo>
                        <a:pt x="519281" y="403777"/>
                      </a:lnTo>
                      <a:lnTo>
                        <a:pt x="518200" y="405671"/>
                      </a:lnTo>
                      <a:lnTo>
                        <a:pt x="515893" y="407226"/>
                      </a:lnTo>
                      <a:lnTo>
                        <a:pt x="515492" y="410808"/>
                      </a:lnTo>
                      <a:lnTo>
                        <a:pt x="520556" y="414997"/>
                      </a:lnTo>
                      <a:lnTo>
                        <a:pt x="521928" y="416491"/>
                      </a:lnTo>
                      <a:lnTo>
                        <a:pt x="523300" y="418858"/>
                      </a:lnTo>
                      <a:lnTo>
                        <a:pt x="523992" y="420741"/>
                      </a:lnTo>
                      <a:lnTo>
                        <a:pt x="523871" y="422441"/>
                      </a:lnTo>
                      <a:lnTo>
                        <a:pt x="522559" y="424250"/>
                      </a:lnTo>
                      <a:lnTo>
                        <a:pt x="520252" y="428415"/>
                      </a:lnTo>
                      <a:lnTo>
                        <a:pt x="511703" y="431487"/>
                      </a:lnTo>
                      <a:lnTo>
                        <a:pt x="510562" y="431426"/>
                      </a:lnTo>
                      <a:lnTo>
                        <a:pt x="508085" y="430674"/>
                      </a:lnTo>
                      <a:lnTo>
                        <a:pt x="505620" y="429654"/>
                      </a:lnTo>
                      <a:lnTo>
                        <a:pt x="497059" y="427346"/>
                      </a:lnTo>
                      <a:lnTo>
                        <a:pt x="495347" y="427322"/>
                      </a:lnTo>
                      <a:lnTo>
                        <a:pt x="493793" y="429010"/>
                      </a:lnTo>
                      <a:lnTo>
                        <a:pt x="492821" y="430479"/>
                      </a:lnTo>
                      <a:lnTo>
                        <a:pt x="489360" y="433211"/>
                      </a:lnTo>
                      <a:lnTo>
                        <a:pt x="483289" y="432981"/>
                      </a:lnTo>
                      <a:lnTo>
                        <a:pt x="478578" y="434474"/>
                      </a:lnTo>
                      <a:lnTo>
                        <a:pt x="474036" y="436818"/>
                      </a:lnTo>
                      <a:lnTo>
                        <a:pt x="472032" y="438724"/>
                      </a:lnTo>
                      <a:lnTo>
                        <a:pt x="470697" y="441080"/>
                      </a:lnTo>
                      <a:lnTo>
                        <a:pt x="470418" y="443144"/>
                      </a:lnTo>
                      <a:lnTo>
                        <a:pt x="470247" y="445719"/>
                      </a:lnTo>
                      <a:lnTo>
                        <a:pt x="470927" y="456234"/>
                      </a:lnTo>
                      <a:lnTo>
                        <a:pt x="470697" y="459331"/>
                      </a:lnTo>
                      <a:lnTo>
                        <a:pt x="470988" y="460594"/>
                      </a:lnTo>
                      <a:lnTo>
                        <a:pt x="472190" y="462865"/>
                      </a:lnTo>
                      <a:lnTo>
                        <a:pt x="472712" y="465208"/>
                      </a:lnTo>
                      <a:lnTo>
                        <a:pt x="471280" y="467540"/>
                      </a:lnTo>
                      <a:lnTo>
                        <a:pt x="468013" y="470381"/>
                      </a:lnTo>
                      <a:lnTo>
                        <a:pt x="467321" y="472081"/>
                      </a:lnTo>
                      <a:lnTo>
                        <a:pt x="466860" y="476222"/>
                      </a:lnTo>
                      <a:lnTo>
                        <a:pt x="465767" y="477302"/>
                      </a:lnTo>
                      <a:lnTo>
                        <a:pt x="464091" y="477740"/>
                      </a:lnTo>
                      <a:lnTo>
                        <a:pt x="460715" y="478250"/>
                      </a:lnTo>
                      <a:lnTo>
                        <a:pt x="458639" y="479088"/>
                      </a:lnTo>
                      <a:lnTo>
                        <a:pt x="457728" y="480144"/>
                      </a:lnTo>
                      <a:lnTo>
                        <a:pt x="455955" y="483678"/>
                      </a:lnTo>
                      <a:lnTo>
                        <a:pt x="451984" y="487418"/>
                      </a:lnTo>
                      <a:lnTo>
                        <a:pt x="451414" y="489105"/>
                      </a:lnTo>
                      <a:lnTo>
                        <a:pt x="451644" y="490684"/>
                      </a:lnTo>
                      <a:lnTo>
                        <a:pt x="453138" y="492384"/>
                      </a:lnTo>
                      <a:lnTo>
                        <a:pt x="455955" y="494849"/>
                      </a:lnTo>
                      <a:lnTo>
                        <a:pt x="456975" y="496027"/>
                      </a:lnTo>
                      <a:lnTo>
                        <a:pt x="457728" y="497265"/>
                      </a:lnTo>
                      <a:lnTo>
                        <a:pt x="458129" y="498383"/>
                      </a:lnTo>
                      <a:lnTo>
                        <a:pt x="458238" y="499354"/>
                      </a:lnTo>
                      <a:lnTo>
                        <a:pt x="458699" y="501200"/>
                      </a:lnTo>
                      <a:lnTo>
                        <a:pt x="465196" y="499439"/>
                      </a:lnTo>
                      <a:lnTo>
                        <a:pt x="475590" y="498638"/>
                      </a:lnTo>
                      <a:lnTo>
                        <a:pt x="478395" y="498116"/>
                      </a:lnTo>
                      <a:lnTo>
                        <a:pt x="479767" y="497496"/>
                      </a:lnTo>
                      <a:lnTo>
                        <a:pt x="479828" y="495080"/>
                      </a:lnTo>
                      <a:lnTo>
                        <a:pt x="480921" y="493355"/>
                      </a:lnTo>
                      <a:lnTo>
                        <a:pt x="482135" y="493040"/>
                      </a:lnTo>
                      <a:lnTo>
                        <a:pt x="483228" y="493149"/>
                      </a:lnTo>
                      <a:lnTo>
                        <a:pt x="495918" y="499354"/>
                      </a:lnTo>
                      <a:lnTo>
                        <a:pt x="496828" y="500277"/>
                      </a:lnTo>
                      <a:lnTo>
                        <a:pt x="497460" y="501540"/>
                      </a:lnTo>
                      <a:lnTo>
                        <a:pt x="499354" y="507247"/>
                      </a:lnTo>
                      <a:lnTo>
                        <a:pt x="500095" y="508631"/>
                      </a:lnTo>
                      <a:lnTo>
                        <a:pt x="501491" y="510125"/>
                      </a:lnTo>
                      <a:lnTo>
                        <a:pt x="503895" y="511849"/>
                      </a:lnTo>
                      <a:lnTo>
                        <a:pt x="508316" y="514229"/>
                      </a:lnTo>
                      <a:lnTo>
                        <a:pt x="511181" y="516148"/>
                      </a:lnTo>
                      <a:lnTo>
                        <a:pt x="518880" y="518880"/>
                      </a:lnTo>
                      <a:lnTo>
                        <a:pt x="524842" y="517848"/>
                      </a:lnTo>
                      <a:lnTo>
                        <a:pt x="526639" y="516791"/>
                      </a:lnTo>
                      <a:lnTo>
                        <a:pt x="527611" y="515832"/>
                      </a:lnTo>
                      <a:lnTo>
                        <a:pt x="527732" y="514800"/>
                      </a:lnTo>
                      <a:lnTo>
                        <a:pt x="527210" y="513598"/>
                      </a:lnTo>
                      <a:lnTo>
                        <a:pt x="526226" y="512226"/>
                      </a:lnTo>
                      <a:lnTo>
                        <a:pt x="524963" y="511096"/>
                      </a:lnTo>
                      <a:lnTo>
                        <a:pt x="524393" y="509748"/>
                      </a:lnTo>
                      <a:lnTo>
                        <a:pt x="525024" y="508340"/>
                      </a:lnTo>
                      <a:lnTo>
                        <a:pt x="527829" y="505668"/>
                      </a:lnTo>
                      <a:lnTo>
                        <a:pt x="530938" y="503944"/>
                      </a:lnTo>
                      <a:lnTo>
                        <a:pt x="533184" y="503058"/>
                      </a:lnTo>
                      <a:lnTo>
                        <a:pt x="544028" y="501139"/>
                      </a:lnTo>
                      <a:lnTo>
                        <a:pt x="545473" y="503543"/>
                      </a:lnTo>
                      <a:lnTo>
                        <a:pt x="547027" y="505498"/>
                      </a:lnTo>
                      <a:lnTo>
                        <a:pt x="548800" y="506822"/>
                      </a:lnTo>
                      <a:lnTo>
                        <a:pt x="550743" y="507308"/>
                      </a:lnTo>
                      <a:lnTo>
                        <a:pt x="553269" y="508376"/>
                      </a:lnTo>
                      <a:lnTo>
                        <a:pt x="553621" y="510781"/>
                      </a:lnTo>
                      <a:lnTo>
                        <a:pt x="553111" y="513136"/>
                      </a:lnTo>
                      <a:lnTo>
                        <a:pt x="553330" y="514229"/>
                      </a:lnTo>
                      <a:lnTo>
                        <a:pt x="554823" y="513768"/>
                      </a:lnTo>
                      <a:lnTo>
                        <a:pt x="558053" y="511813"/>
                      </a:lnTo>
                      <a:lnTo>
                        <a:pt x="559073" y="511473"/>
                      </a:lnTo>
                      <a:lnTo>
                        <a:pt x="560518" y="512274"/>
                      </a:lnTo>
                      <a:lnTo>
                        <a:pt x="560858" y="513343"/>
                      </a:lnTo>
                      <a:lnTo>
                        <a:pt x="560919" y="514521"/>
                      </a:lnTo>
                      <a:lnTo>
                        <a:pt x="562230" y="516986"/>
                      </a:lnTo>
                      <a:lnTo>
                        <a:pt x="562352" y="518249"/>
                      </a:lnTo>
                      <a:lnTo>
                        <a:pt x="562922" y="519256"/>
                      </a:lnTo>
                      <a:lnTo>
                        <a:pt x="564877" y="519681"/>
                      </a:lnTo>
                      <a:lnTo>
                        <a:pt x="568265" y="518443"/>
                      </a:lnTo>
                      <a:lnTo>
                        <a:pt x="569990" y="518540"/>
                      </a:lnTo>
                      <a:lnTo>
                        <a:pt x="570682" y="520434"/>
                      </a:lnTo>
                      <a:lnTo>
                        <a:pt x="570378" y="526178"/>
                      </a:lnTo>
                      <a:lnTo>
                        <a:pt x="571823" y="527258"/>
                      </a:lnTo>
                      <a:lnTo>
                        <a:pt x="575855" y="526858"/>
                      </a:lnTo>
                      <a:lnTo>
                        <a:pt x="571131" y="537592"/>
                      </a:lnTo>
                      <a:lnTo>
                        <a:pt x="570099" y="542741"/>
                      </a:lnTo>
                      <a:lnTo>
                        <a:pt x="574118" y="546044"/>
                      </a:lnTo>
                      <a:lnTo>
                        <a:pt x="574410" y="548594"/>
                      </a:lnTo>
                      <a:lnTo>
                        <a:pt x="574300" y="551411"/>
                      </a:lnTo>
                      <a:lnTo>
                        <a:pt x="574640" y="553220"/>
                      </a:lnTo>
                      <a:lnTo>
                        <a:pt x="577045" y="554617"/>
                      </a:lnTo>
                      <a:lnTo>
                        <a:pt x="581817" y="555284"/>
                      </a:lnTo>
                      <a:lnTo>
                        <a:pt x="583650" y="557409"/>
                      </a:lnTo>
                      <a:lnTo>
                        <a:pt x="582497" y="557786"/>
                      </a:lnTo>
                      <a:lnTo>
                        <a:pt x="581695" y="558442"/>
                      </a:lnTo>
                      <a:lnTo>
                        <a:pt x="581246" y="559474"/>
                      </a:lnTo>
                      <a:lnTo>
                        <a:pt x="581064" y="560907"/>
                      </a:lnTo>
                      <a:lnTo>
                        <a:pt x="580262" y="562631"/>
                      </a:lnTo>
                      <a:lnTo>
                        <a:pt x="578478" y="563408"/>
                      </a:lnTo>
                      <a:lnTo>
                        <a:pt x="576705" y="563785"/>
                      </a:lnTo>
                      <a:lnTo>
                        <a:pt x="575855" y="564331"/>
                      </a:lnTo>
                      <a:lnTo>
                        <a:pt x="576644" y="566832"/>
                      </a:lnTo>
                      <a:lnTo>
                        <a:pt x="581756" y="567573"/>
                      </a:lnTo>
                      <a:lnTo>
                        <a:pt x="583650" y="569977"/>
                      </a:lnTo>
                      <a:lnTo>
                        <a:pt x="577737" y="572175"/>
                      </a:lnTo>
                      <a:lnTo>
                        <a:pt x="575442" y="575928"/>
                      </a:lnTo>
                      <a:lnTo>
                        <a:pt x="575551" y="581185"/>
                      </a:lnTo>
                      <a:lnTo>
                        <a:pt x="577105" y="587900"/>
                      </a:lnTo>
                      <a:lnTo>
                        <a:pt x="570682" y="583845"/>
                      </a:lnTo>
                      <a:lnTo>
                        <a:pt x="570839" y="586577"/>
                      </a:lnTo>
                      <a:lnTo>
                        <a:pt x="571932" y="592236"/>
                      </a:lnTo>
                      <a:lnTo>
                        <a:pt x="570378" y="597238"/>
                      </a:lnTo>
                      <a:lnTo>
                        <a:pt x="572564" y="599327"/>
                      </a:lnTo>
                      <a:lnTo>
                        <a:pt x="575551" y="600990"/>
                      </a:lnTo>
                      <a:lnTo>
                        <a:pt x="577105" y="602630"/>
                      </a:lnTo>
                      <a:lnTo>
                        <a:pt x="578660" y="606819"/>
                      </a:lnTo>
                      <a:lnTo>
                        <a:pt x="581355" y="611907"/>
                      </a:lnTo>
                      <a:lnTo>
                        <a:pt x="581878" y="616376"/>
                      </a:lnTo>
                      <a:lnTo>
                        <a:pt x="577907" y="618246"/>
                      </a:lnTo>
                      <a:lnTo>
                        <a:pt x="575211" y="621779"/>
                      </a:lnTo>
                      <a:lnTo>
                        <a:pt x="574300" y="622957"/>
                      </a:lnTo>
                      <a:lnTo>
                        <a:pt x="572564" y="627401"/>
                      </a:lnTo>
                      <a:lnTo>
                        <a:pt x="570742" y="629441"/>
                      </a:lnTo>
                      <a:lnTo>
                        <a:pt x="568727" y="630049"/>
                      </a:lnTo>
                      <a:lnTo>
                        <a:pt x="566371" y="629150"/>
                      </a:lnTo>
                      <a:lnTo>
                        <a:pt x="564295" y="628591"/>
                      </a:lnTo>
                      <a:lnTo>
                        <a:pt x="562230" y="628895"/>
                      </a:lnTo>
                      <a:lnTo>
                        <a:pt x="557179" y="634213"/>
                      </a:lnTo>
                      <a:lnTo>
                        <a:pt x="555807" y="634979"/>
                      </a:lnTo>
                      <a:lnTo>
                        <a:pt x="548800" y="636399"/>
                      </a:lnTo>
                      <a:lnTo>
                        <a:pt x="546675" y="638026"/>
                      </a:lnTo>
                      <a:lnTo>
                        <a:pt x="545121" y="638828"/>
                      </a:lnTo>
                      <a:lnTo>
                        <a:pt x="543809" y="639241"/>
                      </a:lnTo>
                      <a:lnTo>
                        <a:pt x="542765" y="639289"/>
                      </a:lnTo>
                      <a:lnTo>
                        <a:pt x="541393" y="639981"/>
                      </a:lnTo>
                      <a:lnTo>
                        <a:pt x="540130" y="640783"/>
                      </a:lnTo>
                      <a:lnTo>
                        <a:pt x="535249" y="645373"/>
                      </a:lnTo>
                      <a:lnTo>
                        <a:pt x="530015" y="644438"/>
                      </a:lnTo>
                      <a:lnTo>
                        <a:pt x="527271" y="647984"/>
                      </a:lnTo>
                      <a:lnTo>
                        <a:pt x="526396" y="648652"/>
                      </a:lnTo>
                      <a:lnTo>
                        <a:pt x="525716" y="648761"/>
                      </a:lnTo>
                      <a:lnTo>
                        <a:pt x="524514" y="648105"/>
                      </a:lnTo>
                      <a:lnTo>
                        <a:pt x="523470" y="646696"/>
                      </a:lnTo>
                      <a:lnTo>
                        <a:pt x="522268" y="644717"/>
                      </a:lnTo>
                      <a:lnTo>
                        <a:pt x="521187" y="643746"/>
                      </a:lnTo>
                      <a:lnTo>
                        <a:pt x="519973" y="644001"/>
                      </a:lnTo>
                      <a:lnTo>
                        <a:pt x="518880" y="646733"/>
                      </a:lnTo>
                      <a:lnTo>
                        <a:pt x="517908" y="647644"/>
                      </a:lnTo>
                      <a:lnTo>
                        <a:pt x="515893" y="647449"/>
                      </a:lnTo>
                      <a:lnTo>
                        <a:pt x="515031" y="646211"/>
                      </a:lnTo>
                      <a:lnTo>
                        <a:pt x="514338" y="644656"/>
                      </a:lnTo>
                      <a:lnTo>
                        <a:pt x="513488" y="643746"/>
                      </a:lnTo>
                      <a:lnTo>
                        <a:pt x="512214" y="643855"/>
                      </a:lnTo>
                      <a:lnTo>
                        <a:pt x="509408" y="647304"/>
                      </a:lnTo>
                      <a:lnTo>
                        <a:pt x="507684" y="648457"/>
                      </a:lnTo>
                      <a:lnTo>
                        <a:pt x="504575" y="648688"/>
                      </a:lnTo>
                      <a:lnTo>
                        <a:pt x="501139" y="647789"/>
                      </a:lnTo>
                      <a:lnTo>
                        <a:pt x="494934" y="645239"/>
                      </a:lnTo>
                      <a:lnTo>
                        <a:pt x="492457" y="644984"/>
                      </a:lnTo>
                      <a:lnTo>
                        <a:pt x="490223" y="645810"/>
                      </a:lnTo>
                      <a:lnTo>
                        <a:pt x="488559" y="648943"/>
                      </a:lnTo>
                      <a:lnTo>
                        <a:pt x="488620" y="651068"/>
                      </a:lnTo>
                      <a:lnTo>
                        <a:pt x="489713" y="652647"/>
                      </a:lnTo>
                      <a:lnTo>
                        <a:pt x="495395" y="655257"/>
                      </a:lnTo>
                      <a:lnTo>
                        <a:pt x="496889" y="656605"/>
                      </a:lnTo>
                      <a:lnTo>
                        <a:pt x="497180" y="658184"/>
                      </a:lnTo>
                      <a:lnTo>
                        <a:pt x="496027" y="659228"/>
                      </a:lnTo>
                      <a:lnTo>
                        <a:pt x="486373" y="660224"/>
                      </a:lnTo>
                      <a:lnTo>
                        <a:pt x="483690" y="661450"/>
                      </a:lnTo>
                      <a:lnTo>
                        <a:pt x="481383" y="664134"/>
                      </a:lnTo>
                      <a:lnTo>
                        <a:pt x="479087" y="669756"/>
                      </a:lnTo>
                      <a:lnTo>
                        <a:pt x="477533" y="671735"/>
                      </a:lnTo>
                      <a:lnTo>
                        <a:pt x="471450" y="671529"/>
                      </a:lnTo>
                      <a:lnTo>
                        <a:pt x="465827" y="673545"/>
                      </a:lnTo>
                      <a:lnTo>
                        <a:pt x="463812" y="672512"/>
                      </a:lnTo>
                      <a:lnTo>
                        <a:pt x="463022" y="671881"/>
                      </a:lnTo>
                      <a:lnTo>
                        <a:pt x="462209" y="670812"/>
                      </a:lnTo>
                      <a:lnTo>
                        <a:pt x="461978" y="669635"/>
                      </a:lnTo>
                      <a:lnTo>
                        <a:pt x="462658" y="668299"/>
                      </a:lnTo>
                      <a:lnTo>
                        <a:pt x="463472" y="667655"/>
                      </a:lnTo>
                      <a:lnTo>
                        <a:pt x="467090" y="666514"/>
                      </a:lnTo>
                      <a:lnTo>
                        <a:pt x="467491" y="666028"/>
                      </a:lnTo>
                      <a:lnTo>
                        <a:pt x="467382" y="665154"/>
                      </a:lnTo>
                      <a:lnTo>
                        <a:pt x="466459" y="663867"/>
                      </a:lnTo>
                      <a:lnTo>
                        <a:pt x="465536" y="662980"/>
                      </a:lnTo>
                      <a:lnTo>
                        <a:pt x="464735" y="661887"/>
                      </a:lnTo>
                      <a:lnTo>
                        <a:pt x="463994" y="660564"/>
                      </a:lnTo>
                      <a:lnTo>
                        <a:pt x="463994" y="658609"/>
                      </a:lnTo>
                      <a:lnTo>
                        <a:pt x="466738" y="644207"/>
                      </a:lnTo>
                      <a:lnTo>
                        <a:pt x="467430" y="642653"/>
                      </a:lnTo>
                      <a:lnTo>
                        <a:pt x="470879" y="637856"/>
                      </a:lnTo>
                      <a:lnTo>
                        <a:pt x="471450" y="636727"/>
                      </a:lnTo>
                      <a:lnTo>
                        <a:pt x="471790" y="635586"/>
                      </a:lnTo>
                      <a:lnTo>
                        <a:pt x="472032" y="634068"/>
                      </a:lnTo>
                      <a:lnTo>
                        <a:pt x="471340" y="626916"/>
                      </a:lnTo>
                      <a:lnTo>
                        <a:pt x="471911" y="623904"/>
                      </a:lnTo>
                      <a:lnTo>
                        <a:pt x="471850" y="622241"/>
                      </a:lnTo>
                      <a:lnTo>
                        <a:pt x="471450" y="620261"/>
                      </a:lnTo>
                      <a:lnTo>
                        <a:pt x="470296" y="617068"/>
                      </a:lnTo>
                      <a:lnTo>
                        <a:pt x="470175" y="614918"/>
                      </a:lnTo>
                      <a:lnTo>
                        <a:pt x="470296" y="613255"/>
                      </a:lnTo>
                      <a:lnTo>
                        <a:pt x="470636" y="611931"/>
                      </a:lnTo>
                      <a:lnTo>
                        <a:pt x="470879" y="610668"/>
                      </a:lnTo>
                      <a:lnTo>
                        <a:pt x="470600" y="609005"/>
                      </a:lnTo>
                      <a:lnTo>
                        <a:pt x="470078" y="607050"/>
                      </a:lnTo>
                      <a:lnTo>
                        <a:pt x="468523" y="603456"/>
                      </a:lnTo>
                      <a:lnTo>
                        <a:pt x="467770" y="599934"/>
                      </a:lnTo>
                      <a:lnTo>
                        <a:pt x="467661" y="596279"/>
                      </a:lnTo>
                      <a:lnTo>
                        <a:pt x="468232" y="592952"/>
                      </a:lnTo>
                      <a:lnTo>
                        <a:pt x="471450" y="581793"/>
                      </a:lnTo>
                      <a:lnTo>
                        <a:pt x="471632" y="579267"/>
                      </a:lnTo>
                      <a:lnTo>
                        <a:pt x="471280" y="577045"/>
                      </a:lnTo>
                      <a:lnTo>
                        <a:pt x="470296" y="574871"/>
                      </a:lnTo>
                      <a:lnTo>
                        <a:pt x="468584" y="572977"/>
                      </a:lnTo>
                      <a:lnTo>
                        <a:pt x="461407" y="567342"/>
                      </a:lnTo>
                      <a:lnTo>
                        <a:pt x="459732" y="565569"/>
                      </a:lnTo>
                      <a:lnTo>
                        <a:pt x="457850" y="562485"/>
                      </a:lnTo>
                      <a:lnTo>
                        <a:pt x="457097" y="561514"/>
                      </a:lnTo>
                      <a:lnTo>
                        <a:pt x="455712" y="560251"/>
                      </a:lnTo>
                      <a:lnTo>
                        <a:pt x="454401" y="559583"/>
                      </a:lnTo>
                      <a:lnTo>
                        <a:pt x="453077" y="559255"/>
                      </a:lnTo>
                      <a:lnTo>
                        <a:pt x="451353" y="559352"/>
                      </a:lnTo>
                      <a:lnTo>
                        <a:pt x="449799" y="559874"/>
                      </a:lnTo>
                      <a:lnTo>
                        <a:pt x="445840" y="562267"/>
                      </a:lnTo>
                      <a:lnTo>
                        <a:pt x="444395" y="563785"/>
                      </a:lnTo>
                      <a:lnTo>
                        <a:pt x="443144" y="565630"/>
                      </a:lnTo>
                      <a:lnTo>
                        <a:pt x="441882" y="568836"/>
                      </a:lnTo>
                      <a:lnTo>
                        <a:pt x="437231" y="574312"/>
                      </a:lnTo>
                      <a:lnTo>
                        <a:pt x="433199" y="576729"/>
                      </a:lnTo>
                      <a:lnTo>
                        <a:pt x="431888" y="577931"/>
                      </a:lnTo>
                      <a:lnTo>
                        <a:pt x="428391" y="580578"/>
                      </a:lnTo>
                      <a:lnTo>
                        <a:pt x="426314" y="581501"/>
                      </a:lnTo>
                      <a:lnTo>
                        <a:pt x="425100" y="582302"/>
                      </a:lnTo>
                      <a:lnTo>
                        <a:pt x="423157" y="584391"/>
                      </a:lnTo>
                      <a:lnTo>
                        <a:pt x="421603" y="585654"/>
                      </a:lnTo>
                      <a:lnTo>
                        <a:pt x="418798" y="587184"/>
                      </a:lnTo>
                      <a:lnTo>
                        <a:pt x="417304" y="588423"/>
                      </a:lnTo>
                      <a:lnTo>
                        <a:pt x="416381" y="589394"/>
                      </a:lnTo>
                      <a:lnTo>
                        <a:pt x="415871" y="590548"/>
                      </a:lnTo>
                      <a:lnTo>
                        <a:pt x="415580" y="591750"/>
                      </a:lnTo>
                      <a:lnTo>
                        <a:pt x="415519" y="592976"/>
                      </a:lnTo>
                      <a:lnTo>
                        <a:pt x="415811" y="594616"/>
                      </a:lnTo>
                      <a:lnTo>
                        <a:pt x="416503" y="596510"/>
                      </a:lnTo>
                      <a:lnTo>
                        <a:pt x="418458" y="600820"/>
                      </a:lnTo>
                      <a:lnTo>
                        <a:pt x="418737" y="602423"/>
                      </a:lnTo>
                      <a:lnTo>
                        <a:pt x="418458" y="603298"/>
                      </a:lnTo>
                      <a:lnTo>
                        <a:pt x="416843" y="603978"/>
                      </a:lnTo>
                      <a:lnTo>
                        <a:pt x="414439" y="604500"/>
                      </a:lnTo>
                      <a:lnTo>
                        <a:pt x="410359" y="604888"/>
                      </a:lnTo>
                      <a:lnTo>
                        <a:pt x="408233" y="605496"/>
                      </a:lnTo>
                      <a:lnTo>
                        <a:pt x="405817" y="606540"/>
                      </a:lnTo>
                      <a:lnTo>
                        <a:pt x="405186" y="606965"/>
                      </a:lnTo>
                      <a:lnTo>
                        <a:pt x="404433" y="607705"/>
                      </a:lnTo>
                      <a:lnTo>
                        <a:pt x="401458" y="611531"/>
                      </a:lnTo>
                      <a:lnTo>
                        <a:pt x="399964" y="612563"/>
                      </a:lnTo>
                      <a:lnTo>
                        <a:pt x="398762" y="612563"/>
                      </a:lnTo>
                      <a:lnTo>
                        <a:pt x="397038" y="611045"/>
                      </a:lnTo>
                      <a:lnTo>
                        <a:pt x="396176" y="609721"/>
                      </a:lnTo>
                      <a:lnTo>
                        <a:pt x="395483" y="608118"/>
                      </a:lnTo>
                      <a:lnTo>
                        <a:pt x="393650" y="600699"/>
                      </a:lnTo>
                      <a:lnTo>
                        <a:pt x="392897" y="598963"/>
                      </a:lnTo>
                      <a:lnTo>
                        <a:pt x="391925" y="598185"/>
                      </a:lnTo>
                      <a:lnTo>
                        <a:pt x="390711" y="597979"/>
                      </a:lnTo>
                      <a:lnTo>
                        <a:pt x="388185" y="598125"/>
                      </a:lnTo>
                      <a:lnTo>
                        <a:pt x="386352" y="597894"/>
                      </a:lnTo>
                      <a:lnTo>
                        <a:pt x="379406" y="594713"/>
                      </a:lnTo>
                      <a:lnTo>
                        <a:pt x="378592" y="593608"/>
                      </a:lnTo>
                      <a:lnTo>
                        <a:pt x="378835" y="592466"/>
                      </a:lnTo>
                      <a:lnTo>
                        <a:pt x="379977" y="591665"/>
                      </a:lnTo>
                      <a:lnTo>
                        <a:pt x="383547" y="590572"/>
                      </a:lnTo>
                      <a:lnTo>
                        <a:pt x="384348" y="590086"/>
                      </a:lnTo>
                      <a:lnTo>
                        <a:pt x="384397" y="589540"/>
                      </a:lnTo>
                      <a:lnTo>
                        <a:pt x="383826" y="588848"/>
                      </a:lnTo>
                      <a:lnTo>
                        <a:pt x="383134" y="588180"/>
                      </a:lnTo>
                      <a:lnTo>
                        <a:pt x="378775" y="585605"/>
                      </a:lnTo>
                      <a:lnTo>
                        <a:pt x="377912" y="584306"/>
                      </a:lnTo>
                      <a:lnTo>
                        <a:pt x="377560" y="582995"/>
                      </a:lnTo>
                      <a:lnTo>
                        <a:pt x="377852" y="581962"/>
                      </a:lnTo>
                      <a:lnTo>
                        <a:pt x="378592" y="581695"/>
                      </a:lnTo>
                      <a:lnTo>
                        <a:pt x="379807" y="581865"/>
                      </a:lnTo>
                      <a:lnTo>
                        <a:pt x="381993" y="582679"/>
                      </a:lnTo>
                      <a:lnTo>
                        <a:pt x="383547" y="583128"/>
                      </a:lnTo>
                      <a:lnTo>
                        <a:pt x="385040" y="583225"/>
                      </a:lnTo>
                      <a:lnTo>
                        <a:pt x="385611" y="582897"/>
                      </a:lnTo>
                      <a:lnTo>
                        <a:pt x="385551" y="581962"/>
                      </a:lnTo>
                      <a:lnTo>
                        <a:pt x="384858" y="580578"/>
                      </a:lnTo>
                      <a:lnTo>
                        <a:pt x="380086" y="573693"/>
                      </a:lnTo>
                      <a:lnTo>
                        <a:pt x="378495" y="572685"/>
                      </a:lnTo>
                      <a:lnTo>
                        <a:pt x="376128" y="572600"/>
                      </a:lnTo>
                      <a:lnTo>
                        <a:pt x="372740" y="573596"/>
                      </a:lnTo>
                      <a:lnTo>
                        <a:pt x="364070" y="575005"/>
                      </a:lnTo>
                      <a:lnTo>
                        <a:pt x="363098" y="574725"/>
                      </a:lnTo>
                      <a:lnTo>
                        <a:pt x="362066" y="573997"/>
                      </a:lnTo>
                      <a:lnTo>
                        <a:pt x="361325" y="573086"/>
                      </a:lnTo>
                      <a:lnTo>
                        <a:pt x="360682" y="571945"/>
                      </a:lnTo>
                      <a:lnTo>
                        <a:pt x="360172" y="570585"/>
                      </a:lnTo>
                      <a:lnTo>
                        <a:pt x="359480" y="569346"/>
                      </a:lnTo>
                      <a:lnTo>
                        <a:pt x="358557" y="568375"/>
                      </a:lnTo>
                      <a:lnTo>
                        <a:pt x="357355" y="567634"/>
                      </a:lnTo>
                      <a:lnTo>
                        <a:pt x="355120" y="566905"/>
                      </a:lnTo>
                      <a:lnTo>
                        <a:pt x="352935" y="565934"/>
                      </a:lnTo>
                      <a:lnTo>
                        <a:pt x="351781" y="566310"/>
                      </a:lnTo>
                      <a:lnTo>
                        <a:pt x="350809" y="567682"/>
                      </a:lnTo>
                      <a:lnTo>
                        <a:pt x="351210" y="570937"/>
                      </a:lnTo>
                      <a:lnTo>
                        <a:pt x="352412" y="572855"/>
                      </a:lnTo>
                      <a:lnTo>
                        <a:pt x="353967" y="574288"/>
                      </a:lnTo>
                      <a:lnTo>
                        <a:pt x="357185" y="576012"/>
                      </a:lnTo>
                      <a:lnTo>
                        <a:pt x="358387" y="576996"/>
                      </a:lnTo>
                      <a:lnTo>
                        <a:pt x="358957" y="578368"/>
                      </a:lnTo>
                      <a:lnTo>
                        <a:pt x="358557" y="579801"/>
                      </a:lnTo>
                      <a:lnTo>
                        <a:pt x="357695" y="580602"/>
                      </a:lnTo>
                      <a:lnTo>
                        <a:pt x="354258" y="581307"/>
                      </a:lnTo>
                      <a:lnTo>
                        <a:pt x="353044" y="581841"/>
                      </a:lnTo>
                      <a:lnTo>
                        <a:pt x="352133" y="582873"/>
                      </a:lnTo>
                      <a:lnTo>
                        <a:pt x="352595" y="584743"/>
                      </a:lnTo>
                      <a:lnTo>
                        <a:pt x="353687" y="585775"/>
                      </a:lnTo>
                      <a:lnTo>
                        <a:pt x="356553" y="586893"/>
                      </a:lnTo>
                      <a:lnTo>
                        <a:pt x="358168" y="587755"/>
                      </a:lnTo>
                      <a:lnTo>
                        <a:pt x="359540" y="589309"/>
                      </a:lnTo>
                      <a:lnTo>
                        <a:pt x="360050" y="591349"/>
                      </a:lnTo>
                      <a:lnTo>
                        <a:pt x="359419" y="593838"/>
                      </a:lnTo>
                      <a:lnTo>
                        <a:pt x="357464" y="596230"/>
                      </a:lnTo>
                      <a:lnTo>
                        <a:pt x="354719" y="596825"/>
                      </a:lnTo>
                      <a:lnTo>
                        <a:pt x="352194" y="596825"/>
                      </a:lnTo>
                      <a:lnTo>
                        <a:pt x="345066" y="590997"/>
                      </a:lnTo>
                      <a:lnTo>
                        <a:pt x="342649" y="590450"/>
                      </a:lnTo>
                      <a:lnTo>
                        <a:pt x="341399" y="590548"/>
                      </a:lnTo>
                      <a:lnTo>
                        <a:pt x="340427" y="590997"/>
                      </a:lnTo>
                      <a:lnTo>
                        <a:pt x="338533" y="592320"/>
                      </a:lnTo>
                      <a:lnTo>
                        <a:pt x="337270" y="592721"/>
                      </a:lnTo>
                      <a:lnTo>
                        <a:pt x="335558" y="592891"/>
                      </a:lnTo>
                      <a:lnTo>
                        <a:pt x="334113" y="592721"/>
                      </a:lnTo>
                      <a:lnTo>
                        <a:pt x="330081" y="591628"/>
                      </a:lnTo>
                      <a:lnTo>
                        <a:pt x="329001" y="591689"/>
                      </a:lnTo>
                      <a:lnTo>
                        <a:pt x="327908" y="591944"/>
                      </a:lnTo>
                      <a:lnTo>
                        <a:pt x="326937" y="592527"/>
                      </a:lnTo>
                      <a:lnTo>
                        <a:pt x="326305" y="593523"/>
                      </a:lnTo>
                      <a:lnTo>
                        <a:pt x="325674" y="594992"/>
                      </a:lnTo>
                      <a:lnTo>
                        <a:pt x="324969" y="597748"/>
                      </a:lnTo>
                      <a:lnTo>
                        <a:pt x="324581" y="599958"/>
                      </a:lnTo>
                      <a:lnTo>
                        <a:pt x="324629" y="602739"/>
                      </a:lnTo>
                      <a:lnTo>
                        <a:pt x="326123" y="608458"/>
                      </a:lnTo>
                      <a:lnTo>
                        <a:pt x="328649" y="615356"/>
                      </a:lnTo>
                      <a:lnTo>
                        <a:pt x="329001" y="618221"/>
                      </a:lnTo>
                      <a:lnTo>
                        <a:pt x="328770" y="622386"/>
                      </a:lnTo>
                      <a:lnTo>
                        <a:pt x="328831" y="625082"/>
                      </a:lnTo>
                      <a:lnTo>
                        <a:pt x="329924" y="627353"/>
                      </a:lnTo>
                      <a:lnTo>
                        <a:pt x="332207" y="629016"/>
                      </a:lnTo>
                      <a:lnTo>
                        <a:pt x="332850" y="629927"/>
                      </a:lnTo>
                      <a:lnTo>
                        <a:pt x="333311" y="631457"/>
                      </a:lnTo>
                      <a:lnTo>
                        <a:pt x="333591" y="634238"/>
                      </a:lnTo>
                      <a:lnTo>
                        <a:pt x="334052" y="636241"/>
                      </a:lnTo>
                      <a:lnTo>
                        <a:pt x="334684" y="637711"/>
                      </a:lnTo>
                      <a:lnTo>
                        <a:pt x="335376" y="638864"/>
                      </a:lnTo>
                      <a:lnTo>
                        <a:pt x="335036" y="640261"/>
                      </a:lnTo>
                      <a:lnTo>
                        <a:pt x="334283" y="641730"/>
                      </a:lnTo>
                      <a:lnTo>
                        <a:pt x="328649" y="645725"/>
                      </a:lnTo>
                      <a:lnTo>
                        <a:pt x="321885" y="641014"/>
                      </a:lnTo>
                      <a:lnTo>
                        <a:pt x="317635" y="636764"/>
                      </a:lnTo>
                      <a:lnTo>
                        <a:pt x="312353" y="636278"/>
                      </a:lnTo>
                      <a:lnTo>
                        <a:pt x="295073" y="638634"/>
                      </a:lnTo>
                      <a:lnTo>
                        <a:pt x="292706" y="637565"/>
                      </a:lnTo>
                      <a:lnTo>
                        <a:pt x="291333" y="635938"/>
                      </a:lnTo>
                      <a:lnTo>
                        <a:pt x="290471" y="632975"/>
                      </a:lnTo>
                      <a:lnTo>
                        <a:pt x="290180" y="631020"/>
                      </a:lnTo>
                      <a:lnTo>
                        <a:pt x="290058" y="629332"/>
                      </a:lnTo>
                      <a:lnTo>
                        <a:pt x="289269" y="628093"/>
                      </a:lnTo>
                      <a:lnTo>
                        <a:pt x="288176" y="626891"/>
                      </a:lnTo>
                      <a:lnTo>
                        <a:pt x="282202" y="623358"/>
                      </a:lnTo>
                      <a:lnTo>
                        <a:pt x="281231" y="619399"/>
                      </a:lnTo>
                      <a:lnTo>
                        <a:pt x="282263" y="616181"/>
                      </a:lnTo>
                      <a:lnTo>
                        <a:pt x="283003" y="615720"/>
                      </a:lnTo>
                      <a:lnTo>
                        <a:pt x="287314" y="616376"/>
                      </a:lnTo>
                      <a:lnTo>
                        <a:pt x="289026" y="615951"/>
                      </a:lnTo>
                      <a:lnTo>
                        <a:pt x="290022" y="615295"/>
                      </a:lnTo>
                      <a:lnTo>
                        <a:pt x="290641" y="614251"/>
                      </a:lnTo>
                      <a:lnTo>
                        <a:pt x="292426" y="612696"/>
                      </a:lnTo>
                      <a:lnTo>
                        <a:pt x="292645" y="611263"/>
                      </a:lnTo>
                      <a:lnTo>
                        <a:pt x="291673" y="609175"/>
                      </a:lnTo>
                      <a:lnTo>
                        <a:pt x="290532" y="608058"/>
                      </a:lnTo>
                      <a:lnTo>
                        <a:pt x="288686" y="606795"/>
                      </a:lnTo>
                      <a:lnTo>
                        <a:pt x="288747" y="606479"/>
                      </a:lnTo>
                      <a:lnTo>
                        <a:pt x="288978" y="605957"/>
                      </a:lnTo>
                      <a:lnTo>
                        <a:pt x="289779" y="604633"/>
                      </a:lnTo>
                      <a:lnTo>
                        <a:pt x="290702" y="603868"/>
                      </a:lnTo>
                      <a:lnTo>
                        <a:pt x="291843" y="602654"/>
                      </a:lnTo>
                      <a:lnTo>
                        <a:pt x="292426" y="601185"/>
                      </a:lnTo>
                      <a:lnTo>
                        <a:pt x="292948" y="598125"/>
                      </a:lnTo>
                      <a:lnTo>
                        <a:pt x="293689" y="596461"/>
                      </a:lnTo>
                      <a:lnTo>
                        <a:pt x="297247" y="593389"/>
                      </a:lnTo>
                      <a:lnTo>
                        <a:pt x="300064" y="589892"/>
                      </a:lnTo>
                      <a:lnTo>
                        <a:pt x="300866" y="588010"/>
                      </a:lnTo>
                      <a:lnTo>
                        <a:pt x="300683" y="586006"/>
                      </a:lnTo>
                      <a:lnTo>
                        <a:pt x="299311" y="584719"/>
                      </a:lnTo>
                      <a:lnTo>
                        <a:pt x="297878" y="584342"/>
                      </a:lnTo>
                      <a:lnTo>
                        <a:pt x="296567" y="584743"/>
                      </a:lnTo>
                      <a:lnTo>
                        <a:pt x="295462" y="585399"/>
                      </a:lnTo>
                      <a:lnTo>
                        <a:pt x="294831" y="586067"/>
                      </a:lnTo>
                      <a:lnTo>
                        <a:pt x="293228" y="588277"/>
                      </a:lnTo>
                      <a:lnTo>
                        <a:pt x="292305" y="589115"/>
                      </a:lnTo>
                      <a:lnTo>
                        <a:pt x="291151" y="589503"/>
                      </a:lnTo>
                      <a:lnTo>
                        <a:pt x="290119" y="589163"/>
                      </a:lnTo>
                      <a:lnTo>
                        <a:pt x="285420" y="585800"/>
                      </a:lnTo>
                      <a:lnTo>
                        <a:pt x="284388" y="584391"/>
                      </a:lnTo>
                      <a:lnTo>
                        <a:pt x="284096" y="582849"/>
                      </a:lnTo>
                      <a:lnTo>
                        <a:pt x="284958" y="580748"/>
                      </a:lnTo>
                      <a:lnTo>
                        <a:pt x="286161" y="579570"/>
                      </a:lnTo>
                      <a:lnTo>
                        <a:pt x="287885" y="578429"/>
                      </a:lnTo>
                      <a:lnTo>
                        <a:pt x="290022" y="577482"/>
                      </a:lnTo>
                      <a:lnTo>
                        <a:pt x="294029" y="576097"/>
                      </a:lnTo>
                      <a:lnTo>
                        <a:pt x="295231" y="575357"/>
                      </a:lnTo>
                      <a:lnTo>
                        <a:pt x="296676" y="574057"/>
                      </a:lnTo>
                      <a:lnTo>
                        <a:pt x="298680" y="570585"/>
                      </a:lnTo>
                      <a:lnTo>
                        <a:pt x="299882" y="569176"/>
                      </a:lnTo>
                      <a:lnTo>
                        <a:pt x="301157" y="568605"/>
                      </a:lnTo>
                      <a:lnTo>
                        <a:pt x="302420" y="569091"/>
                      </a:lnTo>
                      <a:lnTo>
                        <a:pt x="305273" y="572394"/>
                      </a:lnTo>
                      <a:lnTo>
                        <a:pt x="307010" y="573827"/>
                      </a:lnTo>
                      <a:lnTo>
                        <a:pt x="308904" y="574543"/>
                      </a:lnTo>
                      <a:lnTo>
                        <a:pt x="310167" y="573548"/>
                      </a:lnTo>
                      <a:lnTo>
                        <a:pt x="310337" y="571301"/>
                      </a:lnTo>
                      <a:lnTo>
                        <a:pt x="308321" y="567027"/>
                      </a:lnTo>
                      <a:lnTo>
                        <a:pt x="307010" y="564987"/>
                      </a:lnTo>
                      <a:lnTo>
                        <a:pt x="305006" y="562947"/>
                      </a:lnTo>
                      <a:lnTo>
                        <a:pt x="304023" y="561805"/>
                      </a:lnTo>
                      <a:lnTo>
                        <a:pt x="302420" y="557640"/>
                      </a:lnTo>
                      <a:lnTo>
                        <a:pt x="299943" y="553500"/>
                      </a:lnTo>
                      <a:lnTo>
                        <a:pt x="287132" y="536997"/>
                      </a:lnTo>
                      <a:lnTo>
                        <a:pt x="278523" y="528619"/>
                      </a:lnTo>
                      <a:lnTo>
                        <a:pt x="273872" y="524709"/>
                      </a:lnTo>
                      <a:lnTo>
                        <a:pt x="271346" y="523883"/>
                      </a:lnTo>
                      <a:lnTo>
                        <a:pt x="268590" y="523264"/>
                      </a:lnTo>
                      <a:lnTo>
                        <a:pt x="263939" y="521551"/>
                      </a:lnTo>
                      <a:lnTo>
                        <a:pt x="260952" y="519220"/>
                      </a:lnTo>
                      <a:lnTo>
                        <a:pt x="258766" y="518795"/>
                      </a:lnTo>
                      <a:lnTo>
                        <a:pt x="257455" y="518795"/>
                      </a:lnTo>
                      <a:lnTo>
                        <a:pt x="255900" y="519572"/>
                      </a:lnTo>
                      <a:lnTo>
                        <a:pt x="254115" y="519742"/>
                      </a:lnTo>
                      <a:lnTo>
                        <a:pt x="252464" y="518880"/>
                      </a:lnTo>
                      <a:lnTo>
                        <a:pt x="251650" y="516269"/>
                      </a:lnTo>
                      <a:lnTo>
                        <a:pt x="252100" y="514193"/>
                      </a:lnTo>
                      <a:lnTo>
                        <a:pt x="252743" y="512675"/>
                      </a:lnTo>
                      <a:lnTo>
                        <a:pt x="252525" y="511303"/>
                      </a:lnTo>
                      <a:lnTo>
                        <a:pt x="250667" y="509518"/>
                      </a:lnTo>
                      <a:lnTo>
                        <a:pt x="246951" y="507684"/>
                      </a:lnTo>
                      <a:lnTo>
                        <a:pt x="238499" y="500969"/>
                      </a:lnTo>
                      <a:lnTo>
                        <a:pt x="233630" y="493926"/>
                      </a:lnTo>
                      <a:lnTo>
                        <a:pt x="231554" y="492056"/>
                      </a:lnTo>
                      <a:lnTo>
                        <a:pt x="230643" y="491461"/>
                      </a:lnTo>
                      <a:lnTo>
                        <a:pt x="229271" y="489883"/>
                      </a:lnTo>
                      <a:lnTo>
                        <a:pt x="224547" y="483253"/>
                      </a:lnTo>
                      <a:lnTo>
                        <a:pt x="221961" y="480496"/>
                      </a:lnTo>
                      <a:lnTo>
                        <a:pt x="218804" y="476125"/>
                      </a:lnTo>
                      <a:lnTo>
                        <a:pt x="216278" y="470903"/>
                      </a:lnTo>
                      <a:lnTo>
                        <a:pt x="210656" y="453417"/>
                      </a:lnTo>
                      <a:lnTo>
                        <a:pt x="206928" y="445609"/>
                      </a:lnTo>
                      <a:lnTo>
                        <a:pt x="206236" y="443169"/>
                      </a:lnTo>
                      <a:lnTo>
                        <a:pt x="206527" y="439951"/>
                      </a:lnTo>
                      <a:lnTo>
                        <a:pt x="206005" y="437049"/>
                      </a:lnTo>
                      <a:lnTo>
                        <a:pt x="202605" y="431657"/>
                      </a:lnTo>
                      <a:lnTo>
                        <a:pt x="201524" y="428184"/>
                      </a:lnTo>
                      <a:lnTo>
                        <a:pt x="199921" y="422234"/>
                      </a:lnTo>
                      <a:lnTo>
                        <a:pt x="198658" y="418215"/>
                      </a:lnTo>
                      <a:lnTo>
                        <a:pt x="198889" y="416952"/>
                      </a:lnTo>
                      <a:lnTo>
                        <a:pt x="199290" y="415629"/>
                      </a:lnTo>
                      <a:lnTo>
                        <a:pt x="200322" y="414742"/>
                      </a:lnTo>
                      <a:lnTo>
                        <a:pt x="202726" y="413224"/>
                      </a:lnTo>
                      <a:lnTo>
                        <a:pt x="204341" y="411961"/>
                      </a:lnTo>
                      <a:lnTo>
                        <a:pt x="205204" y="410116"/>
                      </a:lnTo>
                      <a:lnTo>
                        <a:pt x="205313" y="407796"/>
                      </a:lnTo>
                      <a:lnTo>
                        <a:pt x="204803" y="405562"/>
                      </a:lnTo>
                      <a:lnTo>
                        <a:pt x="204098" y="404008"/>
                      </a:lnTo>
                      <a:lnTo>
                        <a:pt x="203248" y="403182"/>
                      </a:lnTo>
                      <a:lnTo>
                        <a:pt x="201864" y="402478"/>
                      </a:lnTo>
                      <a:lnTo>
                        <a:pt x="193886" y="399649"/>
                      </a:lnTo>
                      <a:lnTo>
                        <a:pt x="192283" y="398410"/>
                      </a:lnTo>
                      <a:lnTo>
                        <a:pt x="186989" y="390286"/>
                      </a:lnTo>
                      <a:lnTo>
                        <a:pt x="183771" y="386315"/>
                      </a:lnTo>
                      <a:lnTo>
                        <a:pt x="182180" y="383875"/>
                      </a:lnTo>
                      <a:lnTo>
                        <a:pt x="181197" y="381641"/>
                      </a:lnTo>
                      <a:lnTo>
                        <a:pt x="181027" y="379770"/>
                      </a:lnTo>
                      <a:lnTo>
                        <a:pt x="181088" y="378022"/>
                      </a:lnTo>
                      <a:lnTo>
                        <a:pt x="181488" y="376589"/>
                      </a:lnTo>
                      <a:lnTo>
                        <a:pt x="181306" y="375435"/>
                      </a:lnTo>
                      <a:lnTo>
                        <a:pt x="180687" y="374087"/>
                      </a:lnTo>
                      <a:lnTo>
                        <a:pt x="179011" y="371938"/>
                      </a:lnTo>
                      <a:lnTo>
                        <a:pt x="178380" y="370080"/>
                      </a:lnTo>
                      <a:lnTo>
                        <a:pt x="178100" y="368550"/>
                      </a:lnTo>
                      <a:lnTo>
                        <a:pt x="178331" y="367287"/>
                      </a:lnTo>
                      <a:lnTo>
                        <a:pt x="178902" y="366425"/>
                      </a:lnTo>
                      <a:lnTo>
                        <a:pt x="180056" y="365818"/>
                      </a:lnTo>
                      <a:lnTo>
                        <a:pt x="182800" y="365333"/>
                      </a:lnTo>
                      <a:lnTo>
                        <a:pt x="183613" y="364993"/>
                      </a:lnTo>
                      <a:lnTo>
                        <a:pt x="184063" y="364385"/>
                      </a:lnTo>
                      <a:lnTo>
                        <a:pt x="184354" y="363353"/>
                      </a:lnTo>
                      <a:lnTo>
                        <a:pt x="184415" y="362175"/>
                      </a:lnTo>
                      <a:lnTo>
                        <a:pt x="184245" y="360913"/>
                      </a:lnTo>
                      <a:lnTo>
                        <a:pt x="183832" y="359674"/>
                      </a:lnTo>
                      <a:lnTo>
                        <a:pt x="181488" y="355509"/>
                      </a:lnTo>
                      <a:lnTo>
                        <a:pt x="180906" y="351672"/>
                      </a:lnTo>
                      <a:lnTo>
                        <a:pt x="180274" y="350664"/>
                      </a:lnTo>
                      <a:lnTo>
                        <a:pt x="178963" y="350494"/>
                      </a:lnTo>
                      <a:lnTo>
                        <a:pt x="175793" y="351805"/>
                      </a:lnTo>
                      <a:lnTo>
                        <a:pt x="174178" y="353105"/>
                      </a:lnTo>
                      <a:lnTo>
                        <a:pt x="172928" y="354428"/>
                      </a:lnTo>
                      <a:lnTo>
                        <a:pt x="171895" y="355290"/>
                      </a:lnTo>
                      <a:lnTo>
                        <a:pt x="170924" y="355375"/>
                      </a:lnTo>
                      <a:lnTo>
                        <a:pt x="169248" y="354307"/>
                      </a:lnTo>
                      <a:lnTo>
                        <a:pt x="168386" y="352935"/>
                      </a:lnTo>
                      <a:lnTo>
                        <a:pt x="168095" y="351441"/>
                      </a:lnTo>
                      <a:lnTo>
                        <a:pt x="168216" y="350057"/>
                      </a:lnTo>
                      <a:lnTo>
                        <a:pt x="169491" y="345491"/>
                      </a:lnTo>
                      <a:lnTo>
                        <a:pt x="169600" y="344082"/>
                      </a:lnTo>
                      <a:lnTo>
                        <a:pt x="169090" y="342759"/>
                      </a:lnTo>
                      <a:lnTo>
                        <a:pt x="167998" y="342164"/>
                      </a:lnTo>
                      <a:lnTo>
                        <a:pt x="166334" y="342225"/>
                      </a:lnTo>
                      <a:lnTo>
                        <a:pt x="159437" y="345637"/>
                      </a:lnTo>
                      <a:lnTo>
                        <a:pt x="158684" y="346377"/>
                      </a:lnTo>
                      <a:lnTo>
                        <a:pt x="158283" y="347337"/>
                      </a:lnTo>
                      <a:lnTo>
                        <a:pt x="158113" y="348357"/>
                      </a:lnTo>
                      <a:lnTo>
                        <a:pt x="157712" y="349292"/>
                      </a:lnTo>
                      <a:lnTo>
                        <a:pt x="156620" y="350057"/>
                      </a:lnTo>
                      <a:lnTo>
                        <a:pt x="154325" y="350919"/>
                      </a:lnTo>
                      <a:lnTo>
                        <a:pt x="150305" y="351611"/>
                      </a:lnTo>
                      <a:lnTo>
                        <a:pt x="147670" y="351465"/>
                      </a:lnTo>
                      <a:lnTo>
                        <a:pt x="144562" y="349340"/>
                      </a:lnTo>
                      <a:lnTo>
                        <a:pt x="143129" y="348077"/>
                      </a:lnTo>
                      <a:lnTo>
                        <a:pt x="141575" y="347482"/>
                      </a:lnTo>
                      <a:lnTo>
                        <a:pt x="140142" y="347677"/>
                      </a:lnTo>
                      <a:lnTo>
                        <a:pt x="137385" y="350457"/>
                      </a:lnTo>
                      <a:lnTo>
                        <a:pt x="135673" y="351696"/>
                      </a:lnTo>
                      <a:lnTo>
                        <a:pt x="131872" y="352327"/>
                      </a:lnTo>
                      <a:lnTo>
                        <a:pt x="130257" y="352935"/>
                      </a:lnTo>
                      <a:lnTo>
                        <a:pt x="127513" y="354635"/>
                      </a:lnTo>
                      <a:lnTo>
                        <a:pt x="125959" y="354999"/>
                      </a:lnTo>
                      <a:lnTo>
                        <a:pt x="124174" y="355193"/>
                      </a:lnTo>
                      <a:lnTo>
                        <a:pt x="122401" y="355023"/>
                      </a:lnTo>
                      <a:lnTo>
                        <a:pt x="120907" y="354246"/>
                      </a:lnTo>
                      <a:lnTo>
                        <a:pt x="119632" y="352898"/>
                      </a:lnTo>
                      <a:lnTo>
                        <a:pt x="117859" y="348454"/>
                      </a:lnTo>
                      <a:lnTo>
                        <a:pt x="116706" y="346438"/>
                      </a:lnTo>
                      <a:lnTo>
                        <a:pt x="115394" y="344920"/>
                      </a:lnTo>
                      <a:lnTo>
                        <a:pt x="112978" y="343912"/>
                      </a:lnTo>
                      <a:lnTo>
                        <a:pt x="110804" y="344034"/>
                      </a:lnTo>
                      <a:lnTo>
                        <a:pt x="107064" y="346074"/>
                      </a:lnTo>
                      <a:lnTo>
                        <a:pt x="106263" y="346183"/>
                      </a:lnTo>
                      <a:lnTo>
                        <a:pt x="104830" y="346098"/>
                      </a:lnTo>
                      <a:lnTo>
                        <a:pt x="102924" y="345697"/>
                      </a:lnTo>
                      <a:lnTo>
                        <a:pt x="101794" y="345212"/>
                      </a:lnTo>
                      <a:lnTo>
                        <a:pt x="100519" y="343888"/>
                      </a:lnTo>
                      <a:lnTo>
                        <a:pt x="99256" y="341957"/>
                      </a:lnTo>
                      <a:lnTo>
                        <a:pt x="97071" y="337513"/>
                      </a:lnTo>
                      <a:lnTo>
                        <a:pt x="95407" y="332911"/>
                      </a:lnTo>
                      <a:lnTo>
                        <a:pt x="95067" y="331199"/>
                      </a:lnTo>
                      <a:lnTo>
                        <a:pt x="94557" y="329899"/>
                      </a:lnTo>
                      <a:lnTo>
                        <a:pt x="93513" y="328491"/>
                      </a:lnTo>
                      <a:lnTo>
                        <a:pt x="90076" y="325977"/>
                      </a:lnTo>
                      <a:lnTo>
                        <a:pt x="88340" y="325079"/>
                      </a:lnTo>
                      <a:lnTo>
                        <a:pt x="85875" y="324217"/>
                      </a:lnTo>
                      <a:lnTo>
                        <a:pt x="82256" y="323391"/>
                      </a:lnTo>
                      <a:lnTo>
                        <a:pt x="80641" y="322784"/>
                      </a:lnTo>
                      <a:lnTo>
                        <a:pt x="77715" y="321035"/>
                      </a:lnTo>
                      <a:lnTo>
                        <a:pt x="75833" y="320768"/>
                      </a:lnTo>
                      <a:lnTo>
                        <a:pt x="73987" y="320950"/>
                      </a:lnTo>
                      <a:lnTo>
                        <a:pt x="71631" y="321922"/>
                      </a:lnTo>
                      <a:lnTo>
                        <a:pt x="69688" y="323282"/>
                      </a:lnTo>
                      <a:lnTo>
                        <a:pt x="67393" y="325309"/>
                      </a:lnTo>
                      <a:lnTo>
                        <a:pt x="65608" y="327264"/>
                      </a:lnTo>
                      <a:lnTo>
                        <a:pt x="63835" y="328467"/>
                      </a:lnTo>
                      <a:lnTo>
                        <a:pt x="62220" y="328867"/>
                      </a:lnTo>
                      <a:lnTo>
                        <a:pt x="59343" y="328758"/>
                      </a:lnTo>
                      <a:lnTo>
                        <a:pt x="52967" y="327471"/>
                      </a:lnTo>
                      <a:lnTo>
                        <a:pt x="51996" y="327495"/>
                      </a:lnTo>
                      <a:lnTo>
                        <a:pt x="46605" y="328357"/>
                      </a:lnTo>
                      <a:lnTo>
                        <a:pt x="44127" y="328357"/>
                      </a:lnTo>
                      <a:lnTo>
                        <a:pt x="42986" y="328527"/>
                      </a:lnTo>
                      <a:lnTo>
                        <a:pt x="41650" y="329013"/>
                      </a:lnTo>
                      <a:lnTo>
                        <a:pt x="40910" y="330021"/>
                      </a:lnTo>
                      <a:lnTo>
                        <a:pt x="40460" y="331429"/>
                      </a:lnTo>
                      <a:lnTo>
                        <a:pt x="39938" y="334040"/>
                      </a:lnTo>
                      <a:lnTo>
                        <a:pt x="39307" y="335072"/>
                      </a:lnTo>
                      <a:lnTo>
                        <a:pt x="38396" y="335594"/>
                      </a:lnTo>
                      <a:lnTo>
                        <a:pt x="36660" y="335619"/>
                      </a:lnTo>
                      <a:lnTo>
                        <a:pt x="34887" y="335303"/>
                      </a:lnTo>
                      <a:lnTo>
                        <a:pt x="33454" y="334149"/>
                      </a:lnTo>
                      <a:lnTo>
                        <a:pt x="32252" y="332425"/>
                      </a:lnTo>
                      <a:lnTo>
                        <a:pt x="30515" y="328357"/>
                      </a:lnTo>
                      <a:lnTo>
                        <a:pt x="29022" y="326038"/>
                      </a:lnTo>
                      <a:lnTo>
                        <a:pt x="26156" y="322553"/>
                      </a:lnTo>
                      <a:lnTo>
                        <a:pt x="25294" y="320914"/>
                      </a:lnTo>
                      <a:lnTo>
                        <a:pt x="24152" y="318218"/>
                      </a:lnTo>
                      <a:lnTo>
                        <a:pt x="21967" y="315206"/>
                      </a:lnTo>
                      <a:lnTo>
                        <a:pt x="21104" y="314259"/>
                      </a:lnTo>
                      <a:lnTo>
                        <a:pt x="20643" y="313081"/>
                      </a:lnTo>
                      <a:lnTo>
                        <a:pt x="20764" y="311503"/>
                      </a:lnTo>
                      <a:lnTo>
                        <a:pt x="21687" y="309232"/>
                      </a:lnTo>
                      <a:lnTo>
                        <a:pt x="23181" y="308163"/>
                      </a:lnTo>
                      <a:lnTo>
                        <a:pt x="24541" y="307739"/>
                      </a:lnTo>
                      <a:lnTo>
                        <a:pt x="30005" y="307994"/>
                      </a:lnTo>
                      <a:lnTo>
                        <a:pt x="31499" y="307739"/>
                      </a:lnTo>
                      <a:lnTo>
                        <a:pt x="32883" y="307131"/>
                      </a:lnTo>
                      <a:lnTo>
                        <a:pt x="33745" y="305711"/>
                      </a:lnTo>
                      <a:lnTo>
                        <a:pt x="34377" y="303610"/>
                      </a:lnTo>
                      <a:lnTo>
                        <a:pt x="35057" y="296943"/>
                      </a:lnTo>
                      <a:lnTo>
                        <a:pt x="34717" y="294818"/>
                      </a:lnTo>
                      <a:lnTo>
                        <a:pt x="32992" y="292159"/>
                      </a:lnTo>
                      <a:lnTo>
                        <a:pt x="29714" y="288565"/>
                      </a:lnTo>
                      <a:lnTo>
                        <a:pt x="28451" y="286148"/>
                      </a:lnTo>
                      <a:lnTo>
                        <a:pt x="27771" y="282736"/>
                      </a:lnTo>
                      <a:lnTo>
                        <a:pt x="29386" y="265384"/>
                      </a:lnTo>
                      <a:lnTo>
                        <a:pt x="30236" y="261948"/>
                      </a:lnTo>
                      <a:lnTo>
                        <a:pt x="32992" y="254747"/>
                      </a:lnTo>
                      <a:lnTo>
                        <a:pt x="33624" y="251468"/>
                      </a:lnTo>
                      <a:lnTo>
                        <a:pt x="33393" y="248857"/>
                      </a:lnTo>
                      <a:lnTo>
                        <a:pt x="32069" y="246757"/>
                      </a:lnTo>
                      <a:lnTo>
                        <a:pt x="30928" y="245980"/>
                      </a:lnTo>
                      <a:lnTo>
                        <a:pt x="29544" y="245749"/>
                      </a:lnTo>
                      <a:lnTo>
                        <a:pt x="28633" y="246125"/>
                      </a:lnTo>
                      <a:lnTo>
                        <a:pt x="27892" y="246817"/>
                      </a:lnTo>
                      <a:lnTo>
                        <a:pt x="26617" y="248250"/>
                      </a:lnTo>
                      <a:lnTo>
                        <a:pt x="25925" y="248602"/>
                      </a:lnTo>
                      <a:lnTo>
                        <a:pt x="25002" y="248736"/>
                      </a:lnTo>
                      <a:lnTo>
                        <a:pt x="22719" y="248712"/>
                      </a:lnTo>
                      <a:lnTo>
                        <a:pt x="21335" y="249003"/>
                      </a:lnTo>
                      <a:lnTo>
                        <a:pt x="20072" y="249780"/>
                      </a:lnTo>
                      <a:lnTo>
                        <a:pt x="18069" y="251407"/>
                      </a:lnTo>
                      <a:lnTo>
                        <a:pt x="16575" y="252124"/>
                      </a:lnTo>
                      <a:lnTo>
                        <a:pt x="14899" y="252585"/>
                      </a:lnTo>
                      <a:lnTo>
                        <a:pt x="13406" y="252707"/>
                      </a:lnTo>
                      <a:lnTo>
                        <a:pt x="11572" y="252537"/>
                      </a:lnTo>
                      <a:lnTo>
                        <a:pt x="9569" y="251954"/>
                      </a:lnTo>
                      <a:lnTo>
                        <a:pt x="7723" y="251043"/>
                      </a:lnTo>
                      <a:lnTo>
                        <a:pt x="6521" y="249513"/>
                      </a:lnTo>
                      <a:lnTo>
                        <a:pt x="6120" y="247218"/>
                      </a:lnTo>
                      <a:lnTo>
                        <a:pt x="6460" y="243284"/>
                      </a:lnTo>
                      <a:lnTo>
                        <a:pt x="7444" y="239872"/>
                      </a:lnTo>
                      <a:lnTo>
                        <a:pt x="9217" y="236229"/>
                      </a:lnTo>
                      <a:lnTo>
                        <a:pt x="10309" y="234820"/>
                      </a:lnTo>
                      <a:lnTo>
                        <a:pt x="11062" y="234164"/>
                      </a:lnTo>
                      <a:lnTo>
                        <a:pt x="12665" y="233727"/>
                      </a:lnTo>
                      <a:lnTo>
                        <a:pt x="18348" y="231250"/>
                      </a:lnTo>
                      <a:lnTo>
                        <a:pt x="20194" y="230109"/>
                      </a:lnTo>
                      <a:lnTo>
                        <a:pt x="21566" y="228761"/>
                      </a:lnTo>
                      <a:lnTo>
                        <a:pt x="22537" y="227170"/>
                      </a:lnTo>
                      <a:lnTo>
                        <a:pt x="23059" y="225397"/>
                      </a:lnTo>
                      <a:lnTo>
                        <a:pt x="22877" y="223442"/>
                      </a:lnTo>
                      <a:lnTo>
                        <a:pt x="22137" y="221609"/>
                      </a:lnTo>
                      <a:lnTo>
                        <a:pt x="20303" y="219824"/>
                      </a:lnTo>
                      <a:lnTo>
                        <a:pt x="18639" y="218767"/>
                      </a:lnTo>
                      <a:lnTo>
                        <a:pt x="17146" y="217128"/>
                      </a:lnTo>
                      <a:lnTo>
                        <a:pt x="16393" y="215986"/>
                      </a:lnTo>
                      <a:lnTo>
                        <a:pt x="16806" y="209429"/>
                      </a:lnTo>
                      <a:lnTo>
                        <a:pt x="28342" y="212198"/>
                      </a:lnTo>
                      <a:lnTo>
                        <a:pt x="38615" y="216096"/>
                      </a:lnTo>
                      <a:lnTo>
                        <a:pt x="42015" y="216242"/>
                      </a:lnTo>
                      <a:lnTo>
                        <a:pt x="42695" y="215610"/>
                      </a:lnTo>
                      <a:lnTo>
                        <a:pt x="43617" y="214238"/>
                      </a:lnTo>
                      <a:lnTo>
                        <a:pt x="45111" y="211384"/>
                      </a:lnTo>
                      <a:lnTo>
                        <a:pt x="46034" y="210206"/>
                      </a:lnTo>
                      <a:lnTo>
                        <a:pt x="47127" y="209199"/>
                      </a:lnTo>
                      <a:lnTo>
                        <a:pt x="53259" y="205106"/>
                      </a:lnTo>
                      <a:lnTo>
                        <a:pt x="54862" y="204463"/>
                      </a:lnTo>
                      <a:lnTo>
                        <a:pt x="56137" y="204208"/>
                      </a:lnTo>
                      <a:lnTo>
                        <a:pt x="59695" y="204269"/>
                      </a:lnTo>
                      <a:lnTo>
                        <a:pt x="63835" y="203807"/>
                      </a:lnTo>
                      <a:lnTo>
                        <a:pt x="71182" y="201621"/>
                      </a:lnTo>
                      <a:lnTo>
                        <a:pt x="73003" y="201391"/>
                      </a:lnTo>
                      <a:lnTo>
                        <a:pt x="74400" y="201682"/>
                      </a:lnTo>
                      <a:lnTo>
                        <a:pt x="75019" y="202423"/>
                      </a:lnTo>
                      <a:lnTo>
                        <a:pt x="76112" y="204147"/>
                      </a:lnTo>
                      <a:lnTo>
                        <a:pt x="76926" y="205046"/>
                      </a:lnTo>
                      <a:lnTo>
                        <a:pt x="77776" y="205677"/>
                      </a:lnTo>
                      <a:lnTo>
                        <a:pt x="79791" y="206248"/>
                      </a:lnTo>
                      <a:lnTo>
                        <a:pt x="89384" y="207887"/>
                      </a:lnTo>
                      <a:lnTo>
                        <a:pt x="91266" y="208604"/>
                      </a:lnTo>
                      <a:lnTo>
                        <a:pt x="92250" y="209199"/>
                      </a:lnTo>
                      <a:lnTo>
                        <a:pt x="93914" y="210644"/>
                      </a:lnTo>
                      <a:lnTo>
                        <a:pt x="94606" y="211615"/>
                      </a:lnTo>
                      <a:lnTo>
                        <a:pt x="94885" y="212392"/>
                      </a:lnTo>
                      <a:lnTo>
                        <a:pt x="95346" y="214724"/>
                      </a:lnTo>
                      <a:lnTo>
                        <a:pt x="95747" y="215986"/>
                      </a:lnTo>
                      <a:lnTo>
                        <a:pt x="96500" y="217128"/>
                      </a:lnTo>
                      <a:lnTo>
                        <a:pt x="97301" y="217966"/>
                      </a:lnTo>
                      <a:lnTo>
                        <a:pt x="101734" y="220662"/>
                      </a:lnTo>
                      <a:lnTo>
                        <a:pt x="102705" y="221548"/>
                      </a:lnTo>
                      <a:lnTo>
                        <a:pt x="103737" y="222665"/>
                      </a:lnTo>
                      <a:lnTo>
                        <a:pt x="104599" y="223479"/>
                      </a:lnTo>
                      <a:lnTo>
                        <a:pt x="106664" y="224644"/>
                      </a:lnTo>
                      <a:lnTo>
                        <a:pt x="108327" y="224705"/>
                      </a:lnTo>
                      <a:lnTo>
                        <a:pt x="111144" y="224134"/>
                      </a:lnTo>
                      <a:lnTo>
                        <a:pt x="116366" y="222434"/>
                      </a:lnTo>
                      <a:lnTo>
                        <a:pt x="118722" y="222009"/>
                      </a:lnTo>
                      <a:lnTo>
                        <a:pt x="120215" y="221524"/>
                      </a:lnTo>
                      <a:lnTo>
                        <a:pt x="121126" y="220941"/>
                      </a:lnTo>
                      <a:lnTo>
                        <a:pt x="121818" y="219945"/>
                      </a:lnTo>
                      <a:lnTo>
                        <a:pt x="122170" y="218913"/>
                      </a:lnTo>
                      <a:lnTo>
                        <a:pt x="122462" y="217553"/>
                      </a:lnTo>
                      <a:lnTo>
                        <a:pt x="122462" y="216436"/>
                      </a:lnTo>
                      <a:lnTo>
                        <a:pt x="122862" y="215039"/>
                      </a:lnTo>
                      <a:lnTo>
                        <a:pt x="123603" y="214141"/>
                      </a:lnTo>
                      <a:lnTo>
                        <a:pt x="125388" y="213424"/>
                      </a:lnTo>
                      <a:lnTo>
                        <a:pt x="126639" y="214238"/>
                      </a:lnTo>
                      <a:lnTo>
                        <a:pt x="127331" y="215404"/>
                      </a:lnTo>
                      <a:lnTo>
                        <a:pt x="127513" y="216994"/>
                      </a:lnTo>
                      <a:lnTo>
                        <a:pt x="127513" y="218706"/>
                      </a:lnTo>
                      <a:lnTo>
                        <a:pt x="127392" y="220576"/>
                      </a:lnTo>
                      <a:lnTo>
                        <a:pt x="127052" y="222155"/>
                      </a:lnTo>
                      <a:lnTo>
                        <a:pt x="126590" y="223309"/>
                      </a:lnTo>
                      <a:lnTo>
                        <a:pt x="126019" y="223928"/>
                      </a:lnTo>
                      <a:lnTo>
                        <a:pt x="125388" y="224414"/>
                      </a:lnTo>
                      <a:lnTo>
                        <a:pt x="124987" y="224863"/>
                      </a:lnTo>
                      <a:lnTo>
                        <a:pt x="124866" y="225422"/>
                      </a:lnTo>
                      <a:lnTo>
                        <a:pt x="125048" y="225859"/>
                      </a:lnTo>
                      <a:lnTo>
                        <a:pt x="126080" y="227462"/>
                      </a:lnTo>
                      <a:lnTo>
                        <a:pt x="126359" y="228239"/>
                      </a:lnTo>
                      <a:lnTo>
                        <a:pt x="126481" y="229247"/>
                      </a:lnTo>
                      <a:lnTo>
                        <a:pt x="125910" y="232671"/>
                      </a:lnTo>
                      <a:lnTo>
                        <a:pt x="126299" y="234128"/>
                      </a:lnTo>
                      <a:lnTo>
                        <a:pt x="127222" y="235245"/>
                      </a:lnTo>
                      <a:lnTo>
                        <a:pt x="131642" y="237455"/>
                      </a:lnTo>
                      <a:lnTo>
                        <a:pt x="132625" y="238427"/>
                      </a:lnTo>
                      <a:lnTo>
                        <a:pt x="133815" y="240042"/>
                      </a:lnTo>
                      <a:lnTo>
                        <a:pt x="134629" y="240904"/>
                      </a:lnTo>
                      <a:lnTo>
                        <a:pt x="135200" y="241098"/>
                      </a:lnTo>
                      <a:lnTo>
                        <a:pt x="135612" y="240904"/>
                      </a:lnTo>
                      <a:lnTo>
                        <a:pt x="135892" y="240382"/>
                      </a:lnTo>
                      <a:lnTo>
                        <a:pt x="136584" y="236132"/>
                      </a:lnTo>
                      <a:lnTo>
                        <a:pt x="136924" y="235391"/>
                      </a:lnTo>
                      <a:lnTo>
                        <a:pt x="137494" y="234650"/>
                      </a:lnTo>
                      <a:lnTo>
                        <a:pt x="138478" y="234007"/>
                      </a:lnTo>
                      <a:lnTo>
                        <a:pt x="141235" y="232829"/>
                      </a:lnTo>
                      <a:lnTo>
                        <a:pt x="142728" y="232513"/>
                      </a:lnTo>
                      <a:lnTo>
                        <a:pt x="143700" y="232926"/>
                      </a:lnTo>
                      <a:lnTo>
                        <a:pt x="144331" y="233958"/>
                      </a:lnTo>
                      <a:lnTo>
                        <a:pt x="144622" y="236678"/>
                      </a:lnTo>
                      <a:lnTo>
                        <a:pt x="145023" y="238208"/>
                      </a:lnTo>
                      <a:lnTo>
                        <a:pt x="145715" y="239580"/>
                      </a:lnTo>
                      <a:lnTo>
                        <a:pt x="147367" y="242227"/>
                      </a:lnTo>
                      <a:lnTo>
                        <a:pt x="150827" y="246647"/>
                      </a:lnTo>
                      <a:lnTo>
                        <a:pt x="151799" y="248445"/>
                      </a:lnTo>
                      <a:lnTo>
                        <a:pt x="152200" y="249513"/>
                      </a:lnTo>
                      <a:lnTo>
                        <a:pt x="152200" y="250145"/>
                      </a:lnTo>
                      <a:lnTo>
                        <a:pt x="151799" y="250412"/>
                      </a:lnTo>
                      <a:lnTo>
                        <a:pt x="151107" y="250606"/>
                      </a:lnTo>
                      <a:lnTo>
                        <a:pt x="150075" y="250715"/>
                      </a:lnTo>
                      <a:lnTo>
                        <a:pt x="149103" y="250715"/>
                      </a:lnTo>
                      <a:lnTo>
                        <a:pt x="148460" y="250630"/>
                      </a:lnTo>
                      <a:lnTo>
                        <a:pt x="147670" y="250497"/>
                      </a:lnTo>
                      <a:lnTo>
                        <a:pt x="146978" y="250436"/>
                      </a:lnTo>
                      <a:lnTo>
                        <a:pt x="146492" y="250545"/>
                      </a:lnTo>
                      <a:lnTo>
                        <a:pt x="146165" y="250982"/>
                      </a:lnTo>
                      <a:lnTo>
                        <a:pt x="145982" y="251760"/>
                      </a:lnTo>
                      <a:lnTo>
                        <a:pt x="145922" y="253168"/>
                      </a:lnTo>
                      <a:lnTo>
                        <a:pt x="146322" y="256410"/>
                      </a:lnTo>
                      <a:lnTo>
                        <a:pt x="146383" y="257904"/>
                      </a:lnTo>
                      <a:lnTo>
                        <a:pt x="146322" y="258560"/>
                      </a:lnTo>
                      <a:lnTo>
                        <a:pt x="146043" y="259045"/>
                      </a:lnTo>
                      <a:lnTo>
                        <a:pt x="144890" y="259847"/>
                      </a:lnTo>
                      <a:lnTo>
                        <a:pt x="142024" y="261425"/>
                      </a:lnTo>
                      <a:lnTo>
                        <a:pt x="141222" y="261692"/>
                      </a:lnTo>
                      <a:lnTo>
                        <a:pt x="140190" y="262142"/>
                      </a:lnTo>
                      <a:lnTo>
                        <a:pt x="139777" y="262555"/>
                      </a:lnTo>
                      <a:lnTo>
                        <a:pt x="139777" y="263210"/>
                      </a:lnTo>
                      <a:lnTo>
                        <a:pt x="140190" y="264279"/>
                      </a:lnTo>
                      <a:lnTo>
                        <a:pt x="143578" y="267655"/>
                      </a:lnTo>
                      <a:lnTo>
                        <a:pt x="143857" y="268432"/>
                      </a:lnTo>
                      <a:lnTo>
                        <a:pt x="143857" y="269148"/>
                      </a:lnTo>
                      <a:lnTo>
                        <a:pt x="143627" y="269695"/>
                      </a:lnTo>
                      <a:lnTo>
                        <a:pt x="142995" y="270703"/>
                      </a:lnTo>
                      <a:lnTo>
                        <a:pt x="143177" y="271504"/>
                      </a:lnTo>
                      <a:lnTo>
                        <a:pt x="143918" y="272706"/>
                      </a:lnTo>
                      <a:lnTo>
                        <a:pt x="146274" y="274807"/>
                      </a:lnTo>
                      <a:lnTo>
                        <a:pt x="147537" y="276240"/>
                      </a:lnTo>
                      <a:lnTo>
                        <a:pt x="148338" y="277624"/>
                      </a:lnTo>
                      <a:lnTo>
                        <a:pt x="148569" y="278595"/>
                      </a:lnTo>
                      <a:lnTo>
                        <a:pt x="148690" y="279603"/>
                      </a:lnTo>
                      <a:lnTo>
                        <a:pt x="148909" y="280380"/>
                      </a:lnTo>
                      <a:lnTo>
                        <a:pt x="149941" y="282530"/>
                      </a:lnTo>
                      <a:lnTo>
                        <a:pt x="150354" y="283768"/>
                      </a:lnTo>
                      <a:lnTo>
                        <a:pt x="151495" y="288443"/>
                      </a:lnTo>
                      <a:lnTo>
                        <a:pt x="154082" y="288844"/>
                      </a:lnTo>
                      <a:lnTo>
                        <a:pt x="157761" y="286841"/>
                      </a:lnTo>
                      <a:lnTo>
                        <a:pt x="162873" y="285784"/>
                      </a:lnTo>
                      <a:lnTo>
                        <a:pt x="164075" y="284631"/>
                      </a:lnTo>
                      <a:lnTo>
                        <a:pt x="164415" y="282846"/>
                      </a:lnTo>
                      <a:lnTo>
                        <a:pt x="163663" y="281097"/>
                      </a:lnTo>
                      <a:lnTo>
                        <a:pt x="162582" y="279543"/>
                      </a:lnTo>
                      <a:lnTo>
                        <a:pt x="161841" y="278255"/>
                      </a:lnTo>
                      <a:lnTo>
                        <a:pt x="161999" y="276215"/>
                      </a:lnTo>
                      <a:lnTo>
                        <a:pt x="163153" y="273666"/>
                      </a:lnTo>
                      <a:lnTo>
                        <a:pt x="165909" y="269124"/>
                      </a:lnTo>
                      <a:lnTo>
                        <a:pt x="167803" y="267800"/>
                      </a:lnTo>
                      <a:lnTo>
                        <a:pt x="169358" y="267776"/>
                      </a:lnTo>
                      <a:lnTo>
                        <a:pt x="170450" y="268153"/>
                      </a:lnTo>
                      <a:lnTo>
                        <a:pt x="171762" y="267740"/>
                      </a:lnTo>
                      <a:lnTo>
                        <a:pt x="172163" y="266088"/>
                      </a:lnTo>
                      <a:lnTo>
                        <a:pt x="172053" y="264388"/>
                      </a:lnTo>
                      <a:lnTo>
                        <a:pt x="172223" y="262810"/>
                      </a:lnTo>
                      <a:lnTo>
                        <a:pt x="173838" y="261061"/>
                      </a:lnTo>
                      <a:lnTo>
                        <a:pt x="178149" y="257503"/>
                      </a:lnTo>
                      <a:lnTo>
                        <a:pt x="179643" y="255572"/>
                      </a:lnTo>
                      <a:lnTo>
                        <a:pt x="184172" y="247570"/>
                      </a:lnTo>
                      <a:lnTo>
                        <a:pt x="188410" y="242543"/>
                      </a:lnTo>
                      <a:lnTo>
                        <a:pt x="191069" y="238366"/>
                      </a:lnTo>
                      <a:lnTo>
                        <a:pt x="192332" y="237747"/>
                      </a:lnTo>
                      <a:lnTo>
                        <a:pt x="193983" y="238026"/>
                      </a:lnTo>
                      <a:lnTo>
                        <a:pt x="197153" y="239532"/>
                      </a:lnTo>
                      <a:lnTo>
                        <a:pt x="203346" y="242130"/>
                      </a:lnTo>
                      <a:lnTo>
                        <a:pt x="206916" y="242422"/>
                      </a:lnTo>
                      <a:lnTo>
                        <a:pt x="208689" y="242191"/>
                      </a:lnTo>
                      <a:lnTo>
                        <a:pt x="210291" y="242798"/>
                      </a:lnTo>
                      <a:lnTo>
                        <a:pt x="215404" y="245894"/>
                      </a:lnTo>
                      <a:lnTo>
                        <a:pt x="220868" y="246878"/>
                      </a:lnTo>
                      <a:lnTo>
                        <a:pt x="224474" y="246380"/>
                      </a:lnTo>
                      <a:lnTo>
                        <a:pt x="227862" y="245154"/>
                      </a:lnTo>
                      <a:lnTo>
                        <a:pt x="231882" y="244692"/>
                      </a:lnTo>
                      <a:lnTo>
                        <a:pt x="238487" y="245980"/>
                      </a:lnTo>
                      <a:lnTo>
                        <a:pt x="240794" y="245530"/>
                      </a:lnTo>
                      <a:lnTo>
                        <a:pt x="242106" y="244146"/>
                      </a:lnTo>
                      <a:lnTo>
                        <a:pt x="242337" y="242507"/>
                      </a:lnTo>
                      <a:lnTo>
                        <a:pt x="242045" y="240782"/>
                      </a:lnTo>
                      <a:lnTo>
                        <a:pt x="242567" y="239082"/>
                      </a:lnTo>
                      <a:lnTo>
                        <a:pt x="243952" y="237516"/>
                      </a:lnTo>
                      <a:lnTo>
                        <a:pt x="249865" y="234759"/>
                      </a:lnTo>
                      <a:lnTo>
                        <a:pt x="254917" y="233290"/>
                      </a:lnTo>
                      <a:lnTo>
                        <a:pt x="256981" y="233436"/>
                      </a:lnTo>
                      <a:lnTo>
                        <a:pt x="258693" y="233752"/>
                      </a:lnTo>
                      <a:lnTo>
                        <a:pt x="261462" y="234553"/>
                      </a:lnTo>
                      <a:lnTo>
                        <a:pt x="263125" y="235306"/>
                      </a:lnTo>
                      <a:lnTo>
                        <a:pt x="267254" y="238597"/>
                      </a:lnTo>
                      <a:lnTo>
                        <a:pt x="268468" y="240357"/>
                      </a:lnTo>
                      <a:lnTo>
                        <a:pt x="271225" y="246987"/>
                      </a:lnTo>
                      <a:lnTo>
                        <a:pt x="271686" y="247728"/>
                      </a:lnTo>
                      <a:lnTo>
                        <a:pt x="273811" y="250035"/>
                      </a:lnTo>
                      <a:lnTo>
                        <a:pt x="277770" y="250266"/>
                      </a:lnTo>
                      <a:lnTo>
                        <a:pt x="283744" y="252245"/>
                      </a:lnTo>
                      <a:lnTo>
                        <a:pt x="286962" y="252209"/>
                      </a:lnTo>
                      <a:lnTo>
                        <a:pt x="289536" y="251322"/>
                      </a:lnTo>
                      <a:lnTo>
                        <a:pt x="293446" y="249343"/>
                      </a:lnTo>
                      <a:lnTo>
                        <a:pt x="295802" y="248542"/>
                      </a:lnTo>
                      <a:lnTo>
                        <a:pt x="301023" y="248882"/>
                      </a:lnTo>
                      <a:lnTo>
                        <a:pt x="303258" y="248226"/>
                      </a:lnTo>
                      <a:lnTo>
                        <a:pt x="304812" y="246927"/>
                      </a:lnTo>
                      <a:lnTo>
                        <a:pt x="310835" y="239204"/>
                      </a:lnTo>
                      <a:lnTo>
                        <a:pt x="318655" y="235852"/>
                      </a:lnTo>
                      <a:lnTo>
                        <a:pt x="322674" y="234869"/>
                      </a:lnTo>
                      <a:lnTo>
                        <a:pt x="325321" y="233460"/>
                      </a:lnTo>
                      <a:lnTo>
                        <a:pt x="329559" y="230339"/>
                      </a:lnTo>
                      <a:lnTo>
                        <a:pt x="335121" y="227583"/>
                      </a:lnTo>
                      <a:lnTo>
                        <a:pt x="337367" y="225458"/>
                      </a:lnTo>
                      <a:lnTo>
                        <a:pt x="337489" y="223588"/>
                      </a:lnTo>
                      <a:lnTo>
                        <a:pt x="336104" y="222094"/>
                      </a:lnTo>
                      <a:lnTo>
                        <a:pt x="332607" y="220054"/>
                      </a:lnTo>
                      <a:lnTo>
                        <a:pt x="331284" y="218913"/>
                      </a:lnTo>
                      <a:lnTo>
                        <a:pt x="330312" y="217189"/>
                      </a:lnTo>
                      <a:lnTo>
                        <a:pt x="329790" y="215343"/>
                      </a:lnTo>
                      <a:lnTo>
                        <a:pt x="328989" y="213364"/>
                      </a:lnTo>
                      <a:lnTo>
                        <a:pt x="328527" y="211761"/>
                      </a:lnTo>
                      <a:lnTo>
                        <a:pt x="328248" y="209781"/>
                      </a:lnTo>
                      <a:lnTo>
                        <a:pt x="328467" y="207911"/>
                      </a:lnTo>
                      <a:lnTo>
                        <a:pt x="329499" y="204038"/>
                      </a:lnTo>
                      <a:lnTo>
                        <a:pt x="333178" y="194166"/>
                      </a:lnTo>
                      <a:lnTo>
                        <a:pt x="334502" y="191725"/>
                      </a:lnTo>
                      <a:lnTo>
                        <a:pt x="336104" y="189879"/>
                      </a:lnTo>
                      <a:lnTo>
                        <a:pt x="336675" y="189078"/>
                      </a:lnTo>
                      <a:lnTo>
                        <a:pt x="336918" y="188191"/>
                      </a:lnTo>
                      <a:lnTo>
                        <a:pt x="336566" y="187366"/>
                      </a:lnTo>
                      <a:lnTo>
                        <a:pt x="336056" y="186358"/>
                      </a:lnTo>
                      <a:lnTo>
                        <a:pt x="335764" y="185520"/>
                      </a:lnTo>
                      <a:lnTo>
                        <a:pt x="335582" y="184488"/>
                      </a:lnTo>
                      <a:lnTo>
                        <a:pt x="335643" y="183164"/>
                      </a:lnTo>
                      <a:lnTo>
                        <a:pt x="336226" y="182338"/>
                      </a:lnTo>
                      <a:lnTo>
                        <a:pt x="337197" y="181816"/>
                      </a:lnTo>
                      <a:lnTo>
                        <a:pt x="341217" y="181185"/>
                      </a:lnTo>
                      <a:lnTo>
                        <a:pt x="342431" y="180408"/>
                      </a:lnTo>
                      <a:lnTo>
                        <a:pt x="342188" y="179606"/>
                      </a:lnTo>
                      <a:lnTo>
                        <a:pt x="340937" y="178805"/>
                      </a:lnTo>
                      <a:lnTo>
                        <a:pt x="335764" y="176996"/>
                      </a:lnTo>
                      <a:lnTo>
                        <a:pt x="334732" y="176352"/>
                      </a:lnTo>
                      <a:lnTo>
                        <a:pt x="333639" y="175380"/>
                      </a:lnTo>
                      <a:lnTo>
                        <a:pt x="333008" y="174324"/>
                      </a:lnTo>
                      <a:lnTo>
                        <a:pt x="332838" y="172794"/>
                      </a:lnTo>
                      <a:lnTo>
                        <a:pt x="333639" y="171713"/>
                      </a:lnTo>
                      <a:lnTo>
                        <a:pt x="335121" y="170366"/>
                      </a:lnTo>
                      <a:lnTo>
                        <a:pt x="336457" y="169868"/>
                      </a:lnTo>
                      <a:lnTo>
                        <a:pt x="337950" y="170135"/>
                      </a:lnTo>
                      <a:lnTo>
                        <a:pt x="343402" y="174239"/>
                      </a:lnTo>
                      <a:lnTo>
                        <a:pt x="345066" y="175247"/>
                      </a:lnTo>
                      <a:lnTo>
                        <a:pt x="346499" y="175636"/>
                      </a:lnTo>
                      <a:lnTo>
                        <a:pt x="348794" y="175903"/>
                      </a:lnTo>
                      <a:lnTo>
                        <a:pt x="351210" y="176643"/>
                      </a:lnTo>
                      <a:lnTo>
                        <a:pt x="352813" y="176838"/>
                      </a:lnTo>
                      <a:lnTo>
                        <a:pt x="354537" y="176704"/>
                      </a:lnTo>
                      <a:lnTo>
                        <a:pt x="356310" y="175611"/>
                      </a:lnTo>
                      <a:lnTo>
                        <a:pt x="356942" y="174616"/>
                      </a:lnTo>
                      <a:lnTo>
                        <a:pt x="356893" y="173256"/>
                      </a:lnTo>
                      <a:lnTo>
                        <a:pt x="356492" y="171823"/>
                      </a:lnTo>
                      <a:lnTo>
                        <a:pt x="356553" y="170074"/>
                      </a:lnTo>
                      <a:lnTo>
                        <a:pt x="357585" y="169528"/>
                      </a:lnTo>
                      <a:lnTo>
                        <a:pt x="358617" y="169588"/>
                      </a:lnTo>
                      <a:lnTo>
                        <a:pt x="359929" y="170560"/>
                      </a:lnTo>
                      <a:lnTo>
                        <a:pt x="362115" y="173207"/>
                      </a:lnTo>
                      <a:lnTo>
                        <a:pt x="363268" y="174263"/>
                      </a:lnTo>
                      <a:lnTo>
                        <a:pt x="364130" y="174664"/>
                      </a:lnTo>
                      <a:lnTo>
                        <a:pt x="365102" y="174579"/>
                      </a:lnTo>
                      <a:lnTo>
                        <a:pt x="366207" y="173972"/>
                      </a:lnTo>
                      <a:lnTo>
                        <a:pt x="366887" y="172794"/>
                      </a:lnTo>
                      <a:lnTo>
                        <a:pt x="368672" y="168872"/>
                      </a:lnTo>
                      <a:lnTo>
                        <a:pt x="368951" y="167925"/>
                      </a:lnTo>
                      <a:lnTo>
                        <a:pt x="368951" y="166856"/>
                      </a:lnTo>
                      <a:lnTo>
                        <a:pt x="368550" y="165824"/>
                      </a:lnTo>
                      <a:lnTo>
                        <a:pt x="367931" y="164561"/>
                      </a:lnTo>
                      <a:lnTo>
                        <a:pt x="367457" y="163323"/>
                      </a:lnTo>
                      <a:lnTo>
                        <a:pt x="367810" y="161610"/>
                      </a:lnTo>
                      <a:lnTo>
                        <a:pt x="369060" y="160675"/>
                      </a:lnTo>
                      <a:lnTo>
                        <a:pt x="370445" y="160287"/>
                      </a:lnTo>
                      <a:lnTo>
                        <a:pt x="371829" y="160420"/>
                      </a:lnTo>
                      <a:lnTo>
                        <a:pt x="372922" y="161088"/>
                      </a:lnTo>
                      <a:lnTo>
                        <a:pt x="373723" y="162205"/>
                      </a:lnTo>
                      <a:lnTo>
                        <a:pt x="375605" y="169746"/>
                      </a:lnTo>
                      <a:lnTo>
                        <a:pt x="377099" y="173086"/>
                      </a:lnTo>
                      <a:lnTo>
                        <a:pt x="379175" y="176388"/>
                      </a:lnTo>
                      <a:lnTo>
                        <a:pt x="380317" y="177736"/>
                      </a:lnTo>
                      <a:lnTo>
                        <a:pt x="381701" y="178683"/>
                      </a:lnTo>
                      <a:lnTo>
                        <a:pt x="386291" y="179946"/>
                      </a:lnTo>
                      <a:lnTo>
                        <a:pt x="388246" y="181100"/>
                      </a:lnTo>
                      <a:lnTo>
                        <a:pt x="394682" y="181355"/>
                      </a:lnTo>
                      <a:lnTo>
                        <a:pt x="405647" y="173122"/>
                      </a:lnTo>
                      <a:lnTo>
                        <a:pt x="412253" y="169260"/>
                      </a:lnTo>
                      <a:lnTo>
                        <a:pt x="413042" y="168289"/>
                      </a:lnTo>
                      <a:lnTo>
                        <a:pt x="412945" y="165994"/>
                      </a:lnTo>
                      <a:lnTo>
                        <a:pt x="413224" y="164330"/>
                      </a:lnTo>
                      <a:lnTo>
                        <a:pt x="414839" y="161198"/>
                      </a:lnTo>
                      <a:lnTo>
                        <a:pt x="415240" y="159449"/>
                      </a:lnTo>
                      <a:lnTo>
                        <a:pt x="415349" y="157931"/>
                      </a:lnTo>
                      <a:lnTo>
                        <a:pt x="414997" y="157069"/>
                      </a:lnTo>
                      <a:lnTo>
                        <a:pt x="414596" y="156401"/>
                      </a:lnTo>
                      <a:lnTo>
                        <a:pt x="413856" y="155770"/>
                      </a:lnTo>
                      <a:lnTo>
                        <a:pt x="412884" y="155308"/>
                      </a:lnTo>
                      <a:lnTo>
                        <a:pt x="410419" y="154592"/>
                      </a:lnTo>
                      <a:lnTo>
                        <a:pt x="409326" y="153875"/>
                      </a:lnTo>
                      <a:lnTo>
                        <a:pt x="408573" y="153098"/>
                      </a:lnTo>
                      <a:lnTo>
                        <a:pt x="408051" y="152127"/>
                      </a:lnTo>
                      <a:lnTo>
                        <a:pt x="407651" y="151070"/>
                      </a:lnTo>
                      <a:lnTo>
                        <a:pt x="407420" y="150002"/>
                      </a:lnTo>
                      <a:lnTo>
                        <a:pt x="407141" y="149249"/>
                      </a:lnTo>
                      <a:lnTo>
                        <a:pt x="406558" y="148508"/>
                      </a:lnTo>
                      <a:lnTo>
                        <a:pt x="405878" y="147913"/>
                      </a:lnTo>
                      <a:lnTo>
                        <a:pt x="405003" y="147622"/>
                      </a:lnTo>
                      <a:lnTo>
                        <a:pt x="404275" y="147792"/>
                      </a:lnTo>
                      <a:lnTo>
                        <a:pt x="403340" y="148532"/>
                      </a:lnTo>
                      <a:lnTo>
                        <a:pt x="400304" y="152418"/>
                      </a:lnTo>
                      <a:lnTo>
                        <a:pt x="399320" y="153220"/>
                      </a:lnTo>
                      <a:lnTo>
                        <a:pt x="398179" y="153742"/>
                      </a:lnTo>
                      <a:lnTo>
                        <a:pt x="397317" y="153851"/>
                      </a:lnTo>
                      <a:lnTo>
                        <a:pt x="396176" y="153414"/>
                      </a:lnTo>
                      <a:lnTo>
                        <a:pt x="395483" y="152358"/>
                      </a:lnTo>
                      <a:lnTo>
                        <a:pt x="395022" y="150402"/>
                      </a:lnTo>
                      <a:lnTo>
                        <a:pt x="396176" y="148217"/>
                      </a:lnTo>
                      <a:lnTo>
                        <a:pt x="398240" y="146298"/>
                      </a:lnTo>
                      <a:lnTo>
                        <a:pt x="400936" y="144780"/>
                      </a:lnTo>
                      <a:lnTo>
                        <a:pt x="408622" y="142194"/>
                      </a:lnTo>
                      <a:lnTo>
                        <a:pt x="410699" y="141162"/>
                      </a:lnTo>
                      <a:lnTo>
                        <a:pt x="414487" y="138806"/>
                      </a:lnTo>
                      <a:lnTo>
                        <a:pt x="416964" y="137604"/>
                      </a:lnTo>
                      <a:lnTo>
                        <a:pt x="429022" y="129310"/>
                      </a:lnTo>
                      <a:lnTo>
                        <a:pt x="431888" y="126748"/>
                      </a:lnTo>
                      <a:lnTo>
                        <a:pt x="433260" y="125194"/>
                      </a:lnTo>
                      <a:lnTo>
                        <a:pt x="433843" y="124016"/>
                      </a:lnTo>
                      <a:lnTo>
                        <a:pt x="433673" y="123239"/>
                      </a:lnTo>
                      <a:lnTo>
                        <a:pt x="432689" y="122692"/>
                      </a:lnTo>
                      <a:lnTo>
                        <a:pt x="430516" y="122207"/>
                      </a:lnTo>
                      <a:lnTo>
                        <a:pt x="429884" y="121842"/>
                      </a:lnTo>
                      <a:lnTo>
                        <a:pt x="429532" y="121150"/>
                      </a:lnTo>
                      <a:lnTo>
                        <a:pt x="429423" y="120227"/>
                      </a:lnTo>
                      <a:lnTo>
                        <a:pt x="430334" y="114204"/>
                      </a:lnTo>
                      <a:lnTo>
                        <a:pt x="430856" y="112966"/>
                      </a:lnTo>
                      <a:lnTo>
                        <a:pt x="431548" y="112249"/>
                      </a:lnTo>
                      <a:lnTo>
                        <a:pt x="436247" y="110100"/>
                      </a:lnTo>
                      <a:lnTo>
                        <a:pt x="438894" y="110064"/>
                      </a:lnTo>
                      <a:lnTo>
                        <a:pt x="442574" y="111654"/>
                      </a:lnTo>
                      <a:lnTo>
                        <a:pt x="444808" y="111667"/>
                      </a:lnTo>
                      <a:lnTo>
                        <a:pt x="450600" y="110780"/>
                      </a:lnTo>
                      <a:lnTo>
                        <a:pt x="452337" y="111387"/>
                      </a:lnTo>
                      <a:lnTo>
                        <a:pt x="453587" y="112771"/>
                      </a:lnTo>
                      <a:lnTo>
                        <a:pt x="454680" y="115407"/>
                      </a:lnTo>
                      <a:lnTo>
                        <a:pt x="456356" y="121150"/>
                      </a:lnTo>
                      <a:lnTo>
                        <a:pt x="458068" y="124113"/>
                      </a:lnTo>
                      <a:lnTo>
                        <a:pt x="460193" y="124963"/>
                      </a:lnTo>
                      <a:lnTo>
                        <a:pt x="462148" y="124332"/>
                      </a:lnTo>
                      <a:lnTo>
                        <a:pt x="463933" y="122134"/>
                      </a:lnTo>
                      <a:lnTo>
                        <a:pt x="464735" y="119657"/>
                      </a:lnTo>
                      <a:lnTo>
                        <a:pt x="465135" y="117240"/>
                      </a:lnTo>
                      <a:lnTo>
                        <a:pt x="465026" y="115200"/>
                      </a:lnTo>
                      <a:lnTo>
                        <a:pt x="463290" y="107720"/>
                      </a:lnTo>
                      <a:lnTo>
                        <a:pt x="463022" y="104927"/>
                      </a:lnTo>
                      <a:lnTo>
                        <a:pt x="463120" y="98552"/>
                      </a:lnTo>
                      <a:lnTo>
                        <a:pt x="463472" y="96998"/>
                      </a:lnTo>
                      <a:lnTo>
                        <a:pt x="463872" y="96136"/>
                      </a:lnTo>
                      <a:lnTo>
                        <a:pt x="464965" y="94484"/>
                      </a:lnTo>
                      <a:lnTo>
                        <a:pt x="465767" y="92869"/>
                      </a:lnTo>
                      <a:lnTo>
                        <a:pt x="465645" y="91570"/>
                      </a:lnTo>
                      <a:lnTo>
                        <a:pt x="464904" y="90259"/>
                      </a:lnTo>
                      <a:lnTo>
                        <a:pt x="463472" y="88534"/>
                      </a:lnTo>
                      <a:lnTo>
                        <a:pt x="462537" y="86749"/>
                      </a:lnTo>
                      <a:lnTo>
                        <a:pt x="462780" y="83203"/>
                      </a:lnTo>
                      <a:lnTo>
                        <a:pt x="464091" y="76707"/>
                      </a:lnTo>
                      <a:lnTo>
                        <a:pt x="464091" y="75432"/>
                      </a:lnTo>
                      <a:lnTo>
                        <a:pt x="463751" y="74181"/>
                      </a:lnTo>
                      <a:lnTo>
                        <a:pt x="463120" y="73003"/>
                      </a:lnTo>
                      <a:lnTo>
                        <a:pt x="462148" y="69555"/>
                      </a:lnTo>
                      <a:lnTo>
                        <a:pt x="461347" y="68243"/>
                      </a:lnTo>
                      <a:lnTo>
                        <a:pt x="459975" y="67430"/>
                      </a:lnTo>
                      <a:lnTo>
                        <a:pt x="458530" y="67235"/>
                      </a:lnTo>
                      <a:lnTo>
                        <a:pt x="457437" y="66774"/>
                      </a:lnTo>
                      <a:lnTo>
                        <a:pt x="456465" y="65851"/>
                      </a:lnTo>
                      <a:lnTo>
                        <a:pt x="455263" y="59658"/>
                      </a:lnTo>
                      <a:lnTo>
                        <a:pt x="454959" y="58905"/>
                      </a:lnTo>
                      <a:lnTo>
                        <a:pt x="454680" y="58359"/>
                      </a:lnTo>
                      <a:lnTo>
                        <a:pt x="454279" y="58213"/>
                      </a:lnTo>
                      <a:lnTo>
                        <a:pt x="453770" y="58274"/>
                      </a:lnTo>
                      <a:lnTo>
                        <a:pt x="452956" y="58760"/>
                      </a:lnTo>
                      <a:lnTo>
                        <a:pt x="452215" y="58930"/>
                      </a:lnTo>
                      <a:lnTo>
                        <a:pt x="450212" y="58529"/>
                      </a:lnTo>
                      <a:lnTo>
                        <a:pt x="448597" y="53903"/>
                      </a:lnTo>
                      <a:lnTo>
                        <a:pt x="449228" y="50005"/>
                      </a:lnTo>
                      <a:lnTo>
                        <a:pt x="450090" y="47273"/>
                      </a:lnTo>
                      <a:lnTo>
                        <a:pt x="450029" y="45694"/>
                      </a:lnTo>
                      <a:lnTo>
                        <a:pt x="449629" y="44310"/>
                      </a:lnTo>
                      <a:lnTo>
                        <a:pt x="448718" y="42853"/>
                      </a:lnTo>
                      <a:lnTo>
                        <a:pt x="447564" y="40072"/>
                      </a:lnTo>
                      <a:lnTo>
                        <a:pt x="447285" y="38554"/>
                      </a:lnTo>
                      <a:lnTo>
                        <a:pt x="447856" y="36198"/>
                      </a:lnTo>
                      <a:lnTo>
                        <a:pt x="450661" y="32118"/>
                      </a:lnTo>
                      <a:lnTo>
                        <a:pt x="451584" y="29313"/>
                      </a:lnTo>
                      <a:lnTo>
                        <a:pt x="451815" y="27892"/>
                      </a:lnTo>
                      <a:lnTo>
                        <a:pt x="451705" y="26545"/>
                      </a:lnTo>
                      <a:lnTo>
                        <a:pt x="451244" y="25221"/>
                      </a:lnTo>
                      <a:lnTo>
                        <a:pt x="450491" y="24395"/>
                      </a:lnTo>
                      <a:lnTo>
                        <a:pt x="449289" y="23812"/>
                      </a:lnTo>
                      <a:lnTo>
                        <a:pt x="446702" y="23132"/>
                      </a:lnTo>
                      <a:lnTo>
                        <a:pt x="445427" y="22355"/>
                      </a:lnTo>
                      <a:lnTo>
                        <a:pt x="444516" y="21153"/>
                      </a:lnTo>
                      <a:lnTo>
                        <a:pt x="442392" y="16357"/>
                      </a:lnTo>
                      <a:lnTo>
                        <a:pt x="440898" y="13855"/>
                      </a:lnTo>
                      <a:lnTo>
                        <a:pt x="439125" y="11730"/>
                      </a:lnTo>
                      <a:lnTo>
                        <a:pt x="439927" y="10637"/>
                      </a:lnTo>
                      <a:lnTo>
                        <a:pt x="441590" y="9083"/>
                      </a:lnTo>
                      <a:lnTo>
                        <a:pt x="444395" y="7031"/>
                      </a:lnTo>
                      <a:lnTo>
                        <a:pt x="445670" y="6484"/>
                      </a:lnTo>
                      <a:lnTo>
                        <a:pt x="446994" y="6217"/>
                      </a:lnTo>
                      <a:moveTo>
                        <a:pt x="447115" y="0"/>
                      </a:moveTo>
                      <a:lnTo>
                        <a:pt x="445792" y="267"/>
                      </a:lnTo>
                      <a:lnTo>
                        <a:pt x="444468" y="534"/>
                      </a:lnTo>
                      <a:lnTo>
                        <a:pt x="443861" y="656"/>
                      </a:lnTo>
                      <a:lnTo>
                        <a:pt x="443290" y="911"/>
                      </a:lnTo>
                      <a:lnTo>
                        <a:pt x="442015" y="1457"/>
                      </a:lnTo>
                      <a:lnTo>
                        <a:pt x="441384" y="1724"/>
                      </a:lnTo>
                      <a:lnTo>
                        <a:pt x="440825" y="2137"/>
                      </a:lnTo>
                      <a:lnTo>
                        <a:pt x="438020" y="4189"/>
                      </a:lnTo>
                      <a:lnTo>
                        <a:pt x="437729" y="4408"/>
                      </a:lnTo>
                      <a:lnTo>
                        <a:pt x="437474" y="4651"/>
                      </a:lnTo>
                      <a:lnTo>
                        <a:pt x="435810" y="6205"/>
                      </a:lnTo>
                      <a:lnTo>
                        <a:pt x="435385" y="6606"/>
                      </a:lnTo>
                      <a:lnTo>
                        <a:pt x="435045" y="7067"/>
                      </a:lnTo>
                      <a:lnTo>
                        <a:pt x="434244" y="8160"/>
                      </a:lnTo>
                      <a:lnTo>
                        <a:pt x="431451" y="11997"/>
                      </a:lnTo>
                      <a:lnTo>
                        <a:pt x="434487" y="15628"/>
                      </a:lnTo>
                      <a:lnTo>
                        <a:pt x="435956" y="17389"/>
                      </a:lnTo>
                      <a:lnTo>
                        <a:pt x="437012" y="19162"/>
                      </a:lnTo>
                      <a:lnTo>
                        <a:pt x="438992" y="23618"/>
                      </a:lnTo>
                      <a:lnTo>
                        <a:pt x="439271" y="24274"/>
                      </a:lnTo>
                      <a:lnTo>
                        <a:pt x="439696" y="24832"/>
                      </a:lnTo>
                      <a:lnTo>
                        <a:pt x="440607" y="26035"/>
                      </a:lnTo>
                      <a:lnTo>
                        <a:pt x="441299" y="26945"/>
                      </a:lnTo>
                      <a:lnTo>
                        <a:pt x="442282" y="27540"/>
                      </a:lnTo>
                      <a:lnTo>
                        <a:pt x="443557" y="28317"/>
                      </a:lnTo>
                      <a:lnTo>
                        <a:pt x="444322" y="28791"/>
                      </a:lnTo>
                      <a:lnTo>
                        <a:pt x="445184" y="29022"/>
                      </a:lnTo>
                      <a:lnTo>
                        <a:pt x="445306" y="29046"/>
                      </a:lnTo>
                      <a:lnTo>
                        <a:pt x="445184" y="29398"/>
                      </a:lnTo>
                      <a:lnTo>
                        <a:pt x="442877" y="32750"/>
                      </a:lnTo>
                      <a:lnTo>
                        <a:pt x="442234" y="33672"/>
                      </a:lnTo>
                      <a:lnTo>
                        <a:pt x="441979" y="34765"/>
                      </a:lnTo>
                      <a:lnTo>
                        <a:pt x="441408" y="37121"/>
                      </a:lnTo>
                      <a:lnTo>
                        <a:pt x="441104" y="38372"/>
                      </a:lnTo>
                      <a:lnTo>
                        <a:pt x="441335" y="39635"/>
                      </a:lnTo>
                      <a:lnTo>
                        <a:pt x="441614" y="41152"/>
                      </a:lnTo>
                      <a:lnTo>
                        <a:pt x="441736" y="41784"/>
                      </a:lnTo>
                      <a:lnTo>
                        <a:pt x="441979" y="42379"/>
                      </a:lnTo>
                      <a:lnTo>
                        <a:pt x="443132" y="45160"/>
                      </a:lnTo>
                      <a:lnTo>
                        <a:pt x="443327" y="45621"/>
                      </a:lnTo>
                      <a:lnTo>
                        <a:pt x="443582" y="46046"/>
                      </a:lnTo>
                      <a:lnTo>
                        <a:pt x="443934" y="46617"/>
                      </a:lnTo>
                      <a:lnTo>
                        <a:pt x="443448" y="48159"/>
                      </a:lnTo>
                      <a:lnTo>
                        <a:pt x="443314" y="48572"/>
                      </a:lnTo>
                      <a:lnTo>
                        <a:pt x="443242" y="48997"/>
                      </a:lnTo>
                      <a:lnTo>
                        <a:pt x="442610" y="52895"/>
                      </a:lnTo>
                      <a:lnTo>
                        <a:pt x="442355" y="54413"/>
                      </a:lnTo>
                      <a:lnTo>
                        <a:pt x="442865" y="55870"/>
                      </a:lnTo>
                      <a:lnTo>
                        <a:pt x="444480" y="60496"/>
                      </a:lnTo>
                      <a:lnTo>
                        <a:pt x="445634" y="63775"/>
                      </a:lnTo>
                      <a:lnTo>
                        <a:pt x="449034" y="64443"/>
                      </a:lnTo>
                      <a:lnTo>
                        <a:pt x="450054" y="64649"/>
                      </a:lnTo>
                      <a:lnTo>
                        <a:pt x="450503" y="66956"/>
                      </a:lnTo>
                      <a:lnTo>
                        <a:pt x="450867" y="68863"/>
                      </a:lnTo>
                      <a:lnTo>
                        <a:pt x="452276" y="70198"/>
                      </a:lnTo>
                      <a:lnTo>
                        <a:pt x="453247" y="71121"/>
                      </a:lnTo>
                      <a:lnTo>
                        <a:pt x="454049" y="71886"/>
                      </a:lnTo>
                      <a:lnTo>
                        <a:pt x="455069" y="72323"/>
                      </a:lnTo>
                      <a:lnTo>
                        <a:pt x="456162" y="72785"/>
                      </a:lnTo>
                      <a:lnTo>
                        <a:pt x="456830" y="73064"/>
                      </a:lnTo>
                      <a:lnTo>
                        <a:pt x="457267" y="74606"/>
                      </a:lnTo>
                      <a:lnTo>
                        <a:pt x="457449" y="75238"/>
                      </a:lnTo>
                      <a:lnTo>
                        <a:pt x="457752" y="75821"/>
                      </a:lnTo>
                      <a:lnTo>
                        <a:pt x="457971" y="76233"/>
                      </a:lnTo>
                      <a:lnTo>
                        <a:pt x="456805" y="81953"/>
                      </a:lnTo>
                      <a:lnTo>
                        <a:pt x="456732" y="82341"/>
                      </a:lnTo>
                      <a:lnTo>
                        <a:pt x="456708" y="82742"/>
                      </a:lnTo>
                      <a:lnTo>
                        <a:pt x="456465" y="86288"/>
                      </a:lnTo>
                      <a:lnTo>
                        <a:pt x="456356" y="88000"/>
                      </a:lnTo>
                      <a:lnTo>
                        <a:pt x="457145" y="89518"/>
                      </a:lnTo>
                      <a:lnTo>
                        <a:pt x="458080" y="91303"/>
                      </a:lnTo>
                      <a:lnTo>
                        <a:pt x="458384" y="91873"/>
                      </a:lnTo>
                      <a:lnTo>
                        <a:pt x="458797" y="92371"/>
                      </a:lnTo>
                      <a:lnTo>
                        <a:pt x="458930" y="92541"/>
                      </a:lnTo>
                      <a:lnTo>
                        <a:pt x="458797" y="92748"/>
                      </a:lnTo>
                      <a:lnTo>
                        <a:pt x="458542" y="93124"/>
                      </a:lnTo>
                      <a:lnTo>
                        <a:pt x="458347" y="93537"/>
                      </a:lnTo>
                      <a:lnTo>
                        <a:pt x="457947" y="94399"/>
                      </a:lnTo>
                      <a:lnTo>
                        <a:pt x="457667" y="94994"/>
                      </a:lnTo>
                      <a:lnTo>
                        <a:pt x="457522" y="95626"/>
                      </a:lnTo>
                      <a:lnTo>
                        <a:pt x="457170" y="97180"/>
                      </a:lnTo>
                      <a:lnTo>
                        <a:pt x="457036" y="97787"/>
                      </a:lnTo>
                      <a:lnTo>
                        <a:pt x="457024" y="98419"/>
                      </a:lnTo>
                      <a:lnTo>
                        <a:pt x="456951" y="104830"/>
                      </a:lnTo>
                      <a:lnTo>
                        <a:pt x="456951" y="105170"/>
                      </a:lnTo>
                      <a:lnTo>
                        <a:pt x="456987" y="105498"/>
                      </a:lnTo>
                      <a:lnTo>
                        <a:pt x="457194" y="107696"/>
                      </a:lnTo>
                      <a:lnTo>
                        <a:pt x="456854" y="107319"/>
                      </a:lnTo>
                      <a:lnTo>
                        <a:pt x="455822" y="106166"/>
                      </a:lnTo>
                      <a:lnTo>
                        <a:pt x="454352" y="105656"/>
                      </a:lnTo>
                      <a:lnTo>
                        <a:pt x="452616" y="105049"/>
                      </a:lnTo>
                      <a:lnTo>
                        <a:pt x="451183" y="104551"/>
                      </a:lnTo>
                      <a:lnTo>
                        <a:pt x="449689" y="104781"/>
                      </a:lnTo>
                      <a:lnTo>
                        <a:pt x="444371" y="105595"/>
                      </a:lnTo>
                      <a:lnTo>
                        <a:pt x="443861" y="105595"/>
                      </a:lnTo>
                      <a:lnTo>
                        <a:pt x="441323" y="104490"/>
                      </a:lnTo>
                      <a:lnTo>
                        <a:pt x="440133" y="103980"/>
                      </a:lnTo>
                      <a:lnTo>
                        <a:pt x="438834" y="103992"/>
                      </a:lnTo>
                      <a:lnTo>
                        <a:pt x="436187" y="104029"/>
                      </a:lnTo>
                      <a:lnTo>
                        <a:pt x="434911" y="104041"/>
                      </a:lnTo>
                      <a:lnTo>
                        <a:pt x="433746" y="104575"/>
                      </a:lnTo>
                      <a:lnTo>
                        <a:pt x="429047" y="106724"/>
                      </a:lnTo>
                      <a:lnTo>
                        <a:pt x="428014" y="107210"/>
                      </a:lnTo>
                      <a:lnTo>
                        <a:pt x="427225" y="108024"/>
                      </a:lnTo>
                      <a:lnTo>
                        <a:pt x="426533" y="108740"/>
                      </a:lnTo>
                      <a:lnTo>
                        <a:pt x="425744" y="109554"/>
                      </a:lnTo>
                      <a:lnTo>
                        <a:pt x="425294" y="110598"/>
                      </a:lnTo>
                      <a:lnTo>
                        <a:pt x="424772" y="111837"/>
                      </a:lnTo>
                      <a:lnTo>
                        <a:pt x="424481" y="112541"/>
                      </a:lnTo>
                      <a:lnTo>
                        <a:pt x="424359" y="113294"/>
                      </a:lnTo>
                      <a:lnTo>
                        <a:pt x="423448" y="119317"/>
                      </a:lnTo>
                      <a:lnTo>
                        <a:pt x="423327" y="120118"/>
                      </a:lnTo>
                      <a:lnTo>
                        <a:pt x="423424" y="120919"/>
                      </a:lnTo>
                      <a:lnTo>
                        <a:pt x="423534" y="121842"/>
                      </a:lnTo>
                      <a:lnTo>
                        <a:pt x="423655" y="122911"/>
                      </a:lnTo>
                      <a:lnTo>
                        <a:pt x="424141" y="123882"/>
                      </a:lnTo>
                      <a:lnTo>
                        <a:pt x="424493" y="124574"/>
                      </a:lnTo>
                      <a:lnTo>
                        <a:pt x="424675" y="124951"/>
                      </a:lnTo>
                      <a:lnTo>
                        <a:pt x="413928" y="132346"/>
                      </a:lnTo>
                      <a:lnTo>
                        <a:pt x="411864" y="133354"/>
                      </a:lnTo>
                      <a:lnTo>
                        <a:pt x="411573" y="133487"/>
                      </a:lnTo>
                      <a:lnTo>
                        <a:pt x="411306" y="133657"/>
                      </a:lnTo>
                      <a:lnTo>
                        <a:pt x="407517" y="136013"/>
                      </a:lnTo>
                      <a:lnTo>
                        <a:pt x="406376" y="136560"/>
                      </a:lnTo>
                      <a:lnTo>
                        <a:pt x="399029" y="139025"/>
                      </a:lnTo>
                      <a:lnTo>
                        <a:pt x="398495" y="139207"/>
                      </a:lnTo>
                      <a:lnTo>
                        <a:pt x="397997" y="139486"/>
                      </a:lnTo>
                      <a:lnTo>
                        <a:pt x="395301" y="141004"/>
                      </a:lnTo>
                      <a:lnTo>
                        <a:pt x="394670" y="141356"/>
                      </a:lnTo>
                      <a:lnTo>
                        <a:pt x="394136" y="141854"/>
                      </a:lnTo>
                      <a:lnTo>
                        <a:pt x="392071" y="143772"/>
                      </a:lnTo>
                      <a:lnTo>
                        <a:pt x="391318" y="144477"/>
                      </a:lnTo>
                      <a:lnTo>
                        <a:pt x="390833" y="145400"/>
                      </a:lnTo>
                      <a:lnTo>
                        <a:pt x="389679" y="147585"/>
                      </a:lnTo>
                      <a:lnTo>
                        <a:pt x="388623" y="149589"/>
                      </a:lnTo>
                      <a:lnTo>
                        <a:pt x="389133" y="151799"/>
                      </a:lnTo>
                      <a:lnTo>
                        <a:pt x="389594" y="153754"/>
                      </a:lnTo>
                      <a:lnTo>
                        <a:pt x="389837" y="154798"/>
                      </a:lnTo>
                      <a:lnTo>
                        <a:pt x="390420" y="155697"/>
                      </a:lnTo>
                      <a:lnTo>
                        <a:pt x="391112" y="156753"/>
                      </a:lnTo>
                      <a:lnTo>
                        <a:pt x="392193" y="158417"/>
                      </a:lnTo>
                      <a:lnTo>
                        <a:pt x="394038" y="159121"/>
                      </a:lnTo>
                      <a:lnTo>
                        <a:pt x="395180" y="159558"/>
                      </a:lnTo>
                      <a:lnTo>
                        <a:pt x="396588" y="160080"/>
                      </a:lnTo>
                      <a:lnTo>
                        <a:pt x="398082" y="159898"/>
                      </a:lnTo>
                      <a:lnTo>
                        <a:pt x="398944" y="159789"/>
                      </a:lnTo>
                      <a:lnTo>
                        <a:pt x="399867" y="159680"/>
                      </a:lnTo>
                      <a:lnTo>
                        <a:pt x="400717" y="159291"/>
                      </a:lnTo>
                      <a:lnTo>
                        <a:pt x="401858" y="158769"/>
                      </a:lnTo>
                      <a:lnTo>
                        <a:pt x="402575" y="158441"/>
                      </a:lnTo>
                      <a:lnTo>
                        <a:pt x="403182" y="157943"/>
                      </a:lnTo>
                      <a:lnTo>
                        <a:pt x="404093" y="157203"/>
                      </a:lnTo>
                      <a:lnTo>
                        <a:pt x="404239" y="157348"/>
                      </a:lnTo>
                      <a:lnTo>
                        <a:pt x="404991" y="158125"/>
                      </a:lnTo>
                      <a:lnTo>
                        <a:pt x="405453" y="158611"/>
                      </a:lnTo>
                      <a:lnTo>
                        <a:pt x="406011" y="158975"/>
                      </a:lnTo>
                      <a:lnTo>
                        <a:pt x="407104" y="159692"/>
                      </a:lnTo>
                      <a:lnTo>
                        <a:pt x="407869" y="160190"/>
                      </a:lnTo>
                      <a:lnTo>
                        <a:pt x="408476" y="160372"/>
                      </a:lnTo>
                      <a:lnTo>
                        <a:pt x="407845" y="161586"/>
                      </a:lnTo>
                      <a:lnTo>
                        <a:pt x="407420" y="162412"/>
                      </a:lnTo>
                      <a:lnTo>
                        <a:pt x="407262" y="163335"/>
                      </a:lnTo>
                      <a:lnTo>
                        <a:pt x="406983" y="164998"/>
                      </a:lnTo>
                      <a:lnTo>
                        <a:pt x="406910" y="165399"/>
                      </a:lnTo>
                      <a:lnTo>
                        <a:pt x="402611" y="167913"/>
                      </a:lnTo>
                      <a:lnTo>
                        <a:pt x="402308" y="168095"/>
                      </a:lnTo>
                      <a:lnTo>
                        <a:pt x="402028" y="168301"/>
                      </a:lnTo>
                      <a:lnTo>
                        <a:pt x="392788" y="175235"/>
                      </a:lnTo>
                      <a:lnTo>
                        <a:pt x="390031" y="175126"/>
                      </a:lnTo>
                      <a:lnTo>
                        <a:pt x="389388" y="174749"/>
                      </a:lnTo>
                      <a:lnTo>
                        <a:pt x="388695" y="174348"/>
                      </a:lnTo>
                      <a:lnTo>
                        <a:pt x="387931" y="174130"/>
                      </a:lnTo>
                      <a:lnTo>
                        <a:pt x="384385" y="173146"/>
                      </a:lnTo>
                      <a:lnTo>
                        <a:pt x="384118" y="172830"/>
                      </a:lnTo>
                      <a:lnTo>
                        <a:pt x="382491" y="170244"/>
                      </a:lnTo>
                      <a:lnTo>
                        <a:pt x="381385" y="167779"/>
                      </a:lnTo>
                      <a:lnTo>
                        <a:pt x="379625" y="160760"/>
                      </a:lnTo>
                      <a:lnTo>
                        <a:pt x="379345" y="159631"/>
                      </a:lnTo>
                      <a:lnTo>
                        <a:pt x="378665" y="158684"/>
                      </a:lnTo>
                      <a:lnTo>
                        <a:pt x="377864" y="157567"/>
                      </a:lnTo>
                      <a:lnTo>
                        <a:pt x="377148" y="156571"/>
                      </a:lnTo>
                      <a:lnTo>
                        <a:pt x="376103" y="155928"/>
                      </a:lnTo>
                      <a:lnTo>
                        <a:pt x="375010" y="155260"/>
                      </a:lnTo>
                      <a:lnTo>
                        <a:pt x="373808" y="154519"/>
                      </a:lnTo>
                      <a:lnTo>
                        <a:pt x="372400" y="154385"/>
                      </a:lnTo>
                      <a:lnTo>
                        <a:pt x="371015" y="154252"/>
                      </a:lnTo>
                      <a:lnTo>
                        <a:pt x="369898" y="154155"/>
                      </a:lnTo>
                      <a:lnTo>
                        <a:pt x="368817" y="154446"/>
                      </a:lnTo>
                      <a:lnTo>
                        <a:pt x="367433" y="154835"/>
                      </a:lnTo>
                      <a:lnTo>
                        <a:pt x="366340" y="155138"/>
                      </a:lnTo>
                      <a:lnTo>
                        <a:pt x="365430" y="155818"/>
                      </a:lnTo>
                      <a:lnTo>
                        <a:pt x="364179" y="156753"/>
                      </a:lnTo>
                      <a:lnTo>
                        <a:pt x="362333" y="158138"/>
                      </a:lnTo>
                      <a:lnTo>
                        <a:pt x="361872" y="160396"/>
                      </a:lnTo>
                      <a:lnTo>
                        <a:pt x="361520" y="162108"/>
                      </a:lnTo>
                      <a:lnTo>
                        <a:pt x="361167" y="163833"/>
                      </a:lnTo>
                      <a:lnTo>
                        <a:pt x="361216" y="163966"/>
                      </a:lnTo>
                      <a:lnTo>
                        <a:pt x="360791" y="163650"/>
                      </a:lnTo>
                      <a:lnTo>
                        <a:pt x="359018" y="163541"/>
                      </a:lnTo>
                      <a:lnTo>
                        <a:pt x="357986" y="163480"/>
                      </a:lnTo>
                      <a:lnTo>
                        <a:pt x="356274" y="163371"/>
                      </a:lnTo>
                      <a:lnTo>
                        <a:pt x="354756" y="164173"/>
                      </a:lnTo>
                      <a:lnTo>
                        <a:pt x="353724" y="164719"/>
                      </a:lnTo>
                      <a:lnTo>
                        <a:pt x="350627" y="166358"/>
                      </a:lnTo>
                      <a:lnTo>
                        <a:pt x="350494" y="169868"/>
                      </a:lnTo>
                      <a:lnTo>
                        <a:pt x="350482" y="170098"/>
                      </a:lnTo>
                      <a:lnTo>
                        <a:pt x="350045" y="169965"/>
                      </a:lnTo>
                      <a:lnTo>
                        <a:pt x="349510" y="169904"/>
                      </a:lnTo>
                      <a:lnTo>
                        <a:pt x="347652" y="169685"/>
                      </a:lnTo>
                      <a:lnTo>
                        <a:pt x="347482" y="169637"/>
                      </a:lnTo>
                      <a:lnTo>
                        <a:pt x="346559" y="169078"/>
                      </a:lnTo>
                      <a:lnTo>
                        <a:pt x="341605" y="165314"/>
                      </a:lnTo>
                      <a:lnTo>
                        <a:pt x="340439" y="164440"/>
                      </a:lnTo>
                      <a:lnTo>
                        <a:pt x="339019" y="164185"/>
                      </a:lnTo>
                      <a:lnTo>
                        <a:pt x="337525" y="163918"/>
                      </a:lnTo>
                      <a:lnTo>
                        <a:pt x="335886" y="163626"/>
                      </a:lnTo>
                      <a:lnTo>
                        <a:pt x="334332" y="164209"/>
                      </a:lnTo>
                      <a:lnTo>
                        <a:pt x="332996" y="164707"/>
                      </a:lnTo>
                      <a:lnTo>
                        <a:pt x="331903" y="165120"/>
                      </a:lnTo>
                      <a:lnTo>
                        <a:pt x="331041" y="165897"/>
                      </a:lnTo>
                      <a:lnTo>
                        <a:pt x="329559" y="167245"/>
                      </a:lnTo>
                      <a:lnTo>
                        <a:pt x="329110" y="167645"/>
                      </a:lnTo>
                      <a:lnTo>
                        <a:pt x="328758" y="168131"/>
                      </a:lnTo>
                      <a:lnTo>
                        <a:pt x="327969" y="169212"/>
                      </a:lnTo>
                      <a:lnTo>
                        <a:pt x="326548" y="171118"/>
                      </a:lnTo>
                      <a:lnTo>
                        <a:pt x="326803" y="173486"/>
                      </a:lnTo>
                      <a:lnTo>
                        <a:pt x="326973" y="175004"/>
                      </a:lnTo>
                      <a:lnTo>
                        <a:pt x="327119" y="176328"/>
                      </a:lnTo>
                      <a:lnTo>
                        <a:pt x="327811" y="177469"/>
                      </a:lnTo>
                      <a:lnTo>
                        <a:pt x="328442" y="178526"/>
                      </a:lnTo>
                      <a:lnTo>
                        <a:pt x="328928" y="179315"/>
                      </a:lnTo>
                      <a:lnTo>
                        <a:pt x="329620" y="179934"/>
                      </a:lnTo>
                      <a:lnTo>
                        <a:pt x="330179" y="180432"/>
                      </a:lnTo>
                      <a:lnTo>
                        <a:pt x="329669" y="181148"/>
                      </a:lnTo>
                      <a:lnTo>
                        <a:pt x="329596" y="182921"/>
                      </a:lnTo>
                      <a:lnTo>
                        <a:pt x="329535" y="184245"/>
                      </a:lnTo>
                      <a:lnTo>
                        <a:pt x="329511" y="184901"/>
                      </a:lnTo>
                      <a:lnTo>
                        <a:pt x="329620" y="185544"/>
                      </a:lnTo>
                      <a:lnTo>
                        <a:pt x="329802" y="186576"/>
                      </a:lnTo>
                      <a:lnTo>
                        <a:pt x="329887" y="187074"/>
                      </a:lnTo>
                      <a:lnTo>
                        <a:pt x="330057" y="187548"/>
                      </a:lnTo>
                      <a:lnTo>
                        <a:pt x="330081" y="187621"/>
                      </a:lnTo>
                      <a:lnTo>
                        <a:pt x="329948" y="187766"/>
                      </a:lnTo>
                      <a:lnTo>
                        <a:pt x="329499" y="188276"/>
                      </a:lnTo>
                      <a:lnTo>
                        <a:pt x="329183" y="188871"/>
                      </a:lnTo>
                      <a:lnTo>
                        <a:pt x="327859" y="191312"/>
                      </a:lnTo>
                      <a:lnTo>
                        <a:pt x="327653" y="191688"/>
                      </a:lnTo>
                      <a:lnTo>
                        <a:pt x="327507" y="192089"/>
                      </a:lnTo>
                      <a:lnTo>
                        <a:pt x="323828" y="201961"/>
                      </a:lnTo>
                      <a:lnTo>
                        <a:pt x="322614" y="206381"/>
                      </a:lnTo>
                      <a:lnTo>
                        <a:pt x="322492" y="206819"/>
                      </a:lnTo>
                      <a:lnTo>
                        <a:pt x="322444" y="207268"/>
                      </a:lnTo>
                      <a:lnTo>
                        <a:pt x="322225" y="209138"/>
                      </a:lnTo>
                      <a:lnTo>
                        <a:pt x="322140" y="209903"/>
                      </a:lnTo>
                      <a:lnTo>
                        <a:pt x="322249" y="210668"/>
                      </a:lnTo>
                      <a:lnTo>
                        <a:pt x="322529" y="212647"/>
                      </a:lnTo>
                      <a:lnTo>
                        <a:pt x="322589" y="213072"/>
                      </a:lnTo>
                      <a:lnTo>
                        <a:pt x="322711" y="213485"/>
                      </a:lnTo>
                      <a:lnTo>
                        <a:pt x="323172" y="215088"/>
                      </a:lnTo>
                      <a:lnTo>
                        <a:pt x="323257" y="215392"/>
                      </a:lnTo>
                      <a:lnTo>
                        <a:pt x="323379" y="215683"/>
                      </a:lnTo>
                      <a:lnTo>
                        <a:pt x="324059" y="217346"/>
                      </a:lnTo>
                      <a:lnTo>
                        <a:pt x="324484" y="218876"/>
                      </a:lnTo>
                      <a:lnTo>
                        <a:pt x="324690" y="219581"/>
                      </a:lnTo>
                      <a:lnTo>
                        <a:pt x="325042" y="220212"/>
                      </a:lnTo>
                      <a:lnTo>
                        <a:pt x="326014" y="221936"/>
                      </a:lnTo>
                      <a:lnTo>
                        <a:pt x="326536" y="222859"/>
                      </a:lnTo>
                      <a:lnTo>
                        <a:pt x="327337" y="223552"/>
                      </a:lnTo>
                      <a:lnTo>
                        <a:pt x="328187" y="224292"/>
                      </a:lnTo>
                      <a:lnTo>
                        <a:pt x="326876" y="224948"/>
                      </a:lnTo>
                      <a:lnTo>
                        <a:pt x="326402" y="225179"/>
                      </a:lnTo>
                      <a:lnTo>
                        <a:pt x="325977" y="225494"/>
                      </a:lnTo>
                      <a:lnTo>
                        <a:pt x="322091" y="228348"/>
                      </a:lnTo>
                      <a:lnTo>
                        <a:pt x="320513" y="229198"/>
                      </a:lnTo>
                      <a:lnTo>
                        <a:pt x="317234" y="229987"/>
                      </a:lnTo>
                      <a:lnTo>
                        <a:pt x="316736" y="230109"/>
                      </a:lnTo>
                      <a:lnTo>
                        <a:pt x="316263" y="230315"/>
                      </a:lnTo>
                      <a:lnTo>
                        <a:pt x="308443" y="233667"/>
                      </a:lnTo>
                      <a:lnTo>
                        <a:pt x="307010" y="234286"/>
                      </a:lnTo>
                      <a:lnTo>
                        <a:pt x="306051" y="235512"/>
                      </a:lnTo>
                      <a:lnTo>
                        <a:pt x="300428" y="242725"/>
                      </a:lnTo>
                      <a:lnTo>
                        <a:pt x="300343" y="242798"/>
                      </a:lnTo>
                      <a:lnTo>
                        <a:pt x="296203" y="242531"/>
                      </a:lnTo>
                      <a:lnTo>
                        <a:pt x="295001" y="242458"/>
                      </a:lnTo>
                      <a:lnTo>
                        <a:pt x="293859" y="242847"/>
                      </a:lnTo>
                      <a:lnTo>
                        <a:pt x="291503" y="243636"/>
                      </a:lnTo>
                      <a:lnTo>
                        <a:pt x="291103" y="243782"/>
                      </a:lnTo>
                      <a:lnTo>
                        <a:pt x="290714" y="243976"/>
                      </a:lnTo>
                      <a:lnTo>
                        <a:pt x="287181" y="245761"/>
                      </a:lnTo>
                      <a:lnTo>
                        <a:pt x="285918" y="246198"/>
                      </a:lnTo>
                      <a:lnTo>
                        <a:pt x="284691" y="246210"/>
                      </a:lnTo>
                      <a:lnTo>
                        <a:pt x="279676" y="244559"/>
                      </a:lnTo>
                      <a:lnTo>
                        <a:pt x="278923" y="244304"/>
                      </a:lnTo>
                      <a:lnTo>
                        <a:pt x="278134" y="244255"/>
                      </a:lnTo>
                      <a:lnTo>
                        <a:pt x="276628" y="244170"/>
                      </a:lnTo>
                      <a:lnTo>
                        <a:pt x="276616" y="244158"/>
                      </a:lnTo>
                      <a:lnTo>
                        <a:pt x="274090" y="238087"/>
                      </a:lnTo>
                      <a:lnTo>
                        <a:pt x="273848" y="237492"/>
                      </a:lnTo>
                      <a:lnTo>
                        <a:pt x="273483" y="236970"/>
                      </a:lnTo>
                      <a:lnTo>
                        <a:pt x="272269" y="235209"/>
                      </a:lnTo>
                      <a:lnTo>
                        <a:pt x="271759" y="234468"/>
                      </a:lnTo>
                      <a:lnTo>
                        <a:pt x="271055" y="233909"/>
                      </a:lnTo>
                      <a:lnTo>
                        <a:pt x="266926" y="230619"/>
                      </a:lnTo>
                      <a:lnTo>
                        <a:pt x="266343" y="230145"/>
                      </a:lnTo>
                      <a:lnTo>
                        <a:pt x="265651" y="229842"/>
                      </a:lnTo>
                      <a:lnTo>
                        <a:pt x="263987" y="229089"/>
                      </a:lnTo>
                      <a:lnTo>
                        <a:pt x="263587" y="228907"/>
                      </a:lnTo>
                      <a:lnTo>
                        <a:pt x="263162" y="228785"/>
                      </a:lnTo>
                      <a:lnTo>
                        <a:pt x="260393" y="227984"/>
                      </a:lnTo>
                      <a:lnTo>
                        <a:pt x="258098" y="227534"/>
                      </a:lnTo>
                      <a:lnTo>
                        <a:pt x="257770" y="227474"/>
                      </a:lnTo>
                      <a:lnTo>
                        <a:pt x="257442" y="227449"/>
                      </a:lnTo>
                      <a:lnTo>
                        <a:pt x="255378" y="227304"/>
                      </a:lnTo>
                      <a:lnTo>
                        <a:pt x="254297" y="227231"/>
                      </a:lnTo>
                      <a:lnTo>
                        <a:pt x="253253" y="227534"/>
                      </a:lnTo>
                      <a:lnTo>
                        <a:pt x="248202" y="229004"/>
                      </a:lnTo>
                      <a:lnTo>
                        <a:pt x="247752" y="229137"/>
                      </a:lnTo>
                      <a:lnTo>
                        <a:pt x="247327" y="229332"/>
                      </a:lnTo>
                      <a:lnTo>
                        <a:pt x="241414" y="232088"/>
                      </a:lnTo>
                      <a:lnTo>
                        <a:pt x="240260" y="232622"/>
                      </a:lnTo>
                      <a:lnTo>
                        <a:pt x="239422" y="233569"/>
                      </a:lnTo>
                      <a:lnTo>
                        <a:pt x="238038" y="235136"/>
                      </a:lnTo>
                      <a:lnTo>
                        <a:pt x="237176" y="236119"/>
                      </a:lnTo>
                      <a:lnTo>
                        <a:pt x="236787" y="237382"/>
                      </a:lnTo>
                      <a:lnTo>
                        <a:pt x="236265" y="239082"/>
                      </a:lnTo>
                      <a:lnTo>
                        <a:pt x="236168" y="239410"/>
                      </a:lnTo>
                      <a:lnTo>
                        <a:pt x="233072" y="238803"/>
                      </a:lnTo>
                      <a:lnTo>
                        <a:pt x="232149" y="238621"/>
                      </a:lnTo>
                      <a:lnTo>
                        <a:pt x="231214" y="238730"/>
                      </a:lnTo>
                      <a:lnTo>
                        <a:pt x="227194" y="239192"/>
                      </a:lnTo>
                      <a:lnTo>
                        <a:pt x="226490" y="239264"/>
                      </a:lnTo>
                      <a:lnTo>
                        <a:pt x="225822" y="239507"/>
                      </a:lnTo>
                      <a:lnTo>
                        <a:pt x="223029" y="240515"/>
                      </a:lnTo>
                      <a:lnTo>
                        <a:pt x="221014" y="240794"/>
                      </a:lnTo>
                      <a:lnTo>
                        <a:pt x="217614" y="240187"/>
                      </a:lnTo>
                      <a:lnTo>
                        <a:pt x="213461" y="237674"/>
                      </a:lnTo>
                      <a:lnTo>
                        <a:pt x="212987" y="237382"/>
                      </a:lnTo>
                      <a:lnTo>
                        <a:pt x="212465" y="237188"/>
                      </a:lnTo>
                      <a:lnTo>
                        <a:pt x="210862" y="236581"/>
                      </a:lnTo>
                      <a:lnTo>
                        <a:pt x="209454" y="236047"/>
                      </a:lnTo>
                      <a:lnTo>
                        <a:pt x="207948" y="236241"/>
                      </a:lnTo>
                      <a:lnTo>
                        <a:pt x="206806" y="236387"/>
                      </a:lnTo>
                      <a:lnTo>
                        <a:pt x="204827" y="236229"/>
                      </a:lnTo>
                      <a:lnTo>
                        <a:pt x="199521" y="234007"/>
                      </a:lnTo>
                      <a:lnTo>
                        <a:pt x="196618" y="232610"/>
                      </a:lnTo>
                      <a:lnTo>
                        <a:pt x="195853" y="232246"/>
                      </a:lnTo>
                      <a:lnTo>
                        <a:pt x="195016" y="232100"/>
                      </a:lnTo>
                      <a:lnTo>
                        <a:pt x="193364" y="231821"/>
                      </a:lnTo>
                      <a:lnTo>
                        <a:pt x="191446" y="231505"/>
                      </a:lnTo>
                      <a:lnTo>
                        <a:pt x="189697" y="232355"/>
                      </a:lnTo>
                      <a:lnTo>
                        <a:pt x="188434" y="232974"/>
                      </a:lnTo>
                      <a:lnTo>
                        <a:pt x="186892" y="233727"/>
                      </a:lnTo>
                      <a:lnTo>
                        <a:pt x="185969" y="235172"/>
                      </a:lnTo>
                      <a:lnTo>
                        <a:pt x="183528" y="239010"/>
                      </a:lnTo>
                      <a:lnTo>
                        <a:pt x="179546" y="243721"/>
                      </a:lnTo>
                      <a:lnTo>
                        <a:pt x="179181" y="244158"/>
                      </a:lnTo>
                      <a:lnTo>
                        <a:pt x="178902" y="244644"/>
                      </a:lnTo>
                      <a:lnTo>
                        <a:pt x="174591" y="252270"/>
                      </a:lnTo>
                      <a:lnTo>
                        <a:pt x="173778" y="253314"/>
                      </a:lnTo>
                      <a:lnTo>
                        <a:pt x="169989" y="256435"/>
                      </a:lnTo>
                      <a:lnTo>
                        <a:pt x="169673" y="256702"/>
                      </a:lnTo>
                      <a:lnTo>
                        <a:pt x="169394" y="257005"/>
                      </a:lnTo>
                      <a:lnTo>
                        <a:pt x="167779" y="258754"/>
                      </a:lnTo>
                      <a:lnTo>
                        <a:pt x="166431" y="260223"/>
                      </a:lnTo>
                      <a:lnTo>
                        <a:pt x="166249" y="261814"/>
                      </a:lnTo>
                      <a:lnTo>
                        <a:pt x="165873" y="261814"/>
                      </a:lnTo>
                      <a:lnTo>
                        <a:pt x="164343" y="262883"/>
                      </a:lnTo>
                      <a:lnTo>
                        <a:pt x="162448" y="264206"/>
                      </a:lnTo>
                      <a:lnTo>
                        <a:pt x="161404" y="264935"/>
                      </a:lnTo>
                      <a:lnTo>
                        <a:pt x="160736" y="266027"/>
                      </a:lnTo>
                      <a:lnTo>
                        <a:pt x="157980" y="270569"/>
                      </a:lnTo>
                      <a:lnTo>
                        <a:pt x="157785" y="270873"/>
                      </a:lnTo>
                      <a:lnTo>
                        <a:pt x="157628" y="271200"/>
                      </a:lnTo>
                      <a:lnTo>
                        <a:pt x="156474" y="273750"/>
                      </a:lnTo>
                      <a:lnTo>
                        <a:pt x="156037" y="274734"/>
                      </a:lnTo>
                      <a:lnTo>
                        <a:pt x="155952" y="275803"/>
                      </a:lnTo>
                      <a:lnTo>
                        <a:pt x="155794" y="277843"/>
                      </a:lnTo>
                      <a:lnTo>
                        <a:pt x="155648" y="279713"/>
                      </a:lnTo>
                      <a:lnTo>
                        <a:pt x="156377" y="280975"/>
                      </a:lnTo>
                      <a:lnTo>
                        <a:pt x="155842" y="281085"/>
                      </a:lnTo>
                      <a:lnTo>
                        <a:pt x="155709" y="280672"/>
                      </a:lnTo>
                      <a:lnTo>
                        <a:pt x="155588" y="280308"/>
                      </a:lnTo>
                      <a:lnTo>
                        <a:pt x="155418" y="279955"/>
                      </a:lnTo>
                      <a:lnTo>
                        <a:pt x="154652" y="278353"/>
                      </a:lnTo>
                      <a:lnTo>
                        <a:pt x="154592" y="277891"/>
                      </a:lnTo>
                      <a:lnTo>
                        <a:pt x="154555" y="277551"/>
                      </a:lnTo>
                      <a:lnTo>
                        <a:pt x="154482" y="277223"/>
                      </a:lnTo>
                      <a:lnTo>
                        <a:pt x="154252" y="276252"/>
                      </a:lnTo>
                      <a:lnTo>
                        <a:pt x="154045" y="275390"/>
                      </a:lnTo>
                      <a:lnTo>
                        <a:pt x="153608" y="274625"/>
                      </a:lnTo>
                      <a:lnTo>
                        <a:pt x="152807" y="273240"/>
                      </a:lnTo>
                      <a:lnTo>
                        <a:pt x="152503" y="272718"/>
                      </a:lnTo>
                      <a:lnTo>
                        <a:pt x="152102" y="272269"/>
                      </a:lnTo>
                      <a:lnTo>
                        <a:pt x="150840" y="270836"/>
                      </a:lnTo>
                      <a:lnTo>
                        <a:pt x="150597" y="270557"/>
                      </a:lnTo>
                      <a:lnTo>
                        <a:pt x="150330" y="270314"/>
                      </a:lnTo>
                      <a:lnTo>
                        <a:pt x="149856" y="269889"/>
                      </a:lnTo>
                      <a:lnTo>
                        <a:pt x="149941" y="269185"/>
                      </a:lnTo>
                      <a:lnTo>
                        <a:pt x="149941" y="268468"/>
                      </a:lnTo>
                      <a:lnTo>
                        <a:pt x="149941" y="267412"/>
                      </a:lnTo>
                      <a:lnTo>
                        <a:pt x="149589" y="266416"/>
                      </a:lnTo>
                      <a:lnTo>
                        <a:pt x="149310" y="265639"/>
                      </a:lnTo>
                      <a:lnTo>
                        <a:pt x="148897" y="264498"/>
                      </a:lnTo>
                      <a:lnTo>
                        <a:pt x="149516" y="264060"/>
                      </a:lnTo>
                      <a:lnTo>
                        <a:pt x="150633" y="263283"/>
                      </a:lnTo>
                      <a:lnTo>
                        <a:pt x="151313" y="262093"/>
                      </a:lnTo>
                      <a:lnTo>
                        <a:pt x="151957" y="260976"/>
                      </a:lnTo>
                      <a:lnTo>
                        <a:pt x="152370" y="259203"/>
                      </a:lnTo>
                      <a:lnTo>
                        <a:pt x="152430" y="258547"/>
                      </a:lnTo>
                      <a:lnTo>
                        <a:pt x="152467" y="258110"/>
                      </a:lnTo>
                      <a:lnTo>
                        <a:pt x="152455" y="257673"/>
                      </a:lnTo>
                      <a:lnTo>
                        <a:pt x="152406" y="256580"/>
                      </a:lnTo>
                      <a:lnTo>
                        <a:pt x="152746" y="256483"/>
                      </a:lnTo>
                      <a:lnTo>
                        <a:pt x="153438" y="256289"/>
                      </a:lnTo>
                      <a:lnTo>
                        <a:pt x="154349" y="256034"/>
                      </a:lnTo>
                      <a:lnTo>
                        <a:pt x="155138" y="255512"/>
                      </a:lnTo>
                      <a:lnTo>
                        <a:pt x="157858" y="253715"/>
                      </a:lnTo>
                      <a:lnTo>
                        <a:pt x="158259" y="250181"/>
                      </a:lnTo>
                      <a:lnTo>
                        <a:pt x="158259" y="249550"/>
                      </a:lnTo>
                      <a:lnTo>
                        <a:pt x="158259" y="248445"/>
                      </a:lnTo>
                      <a:lnTo>
                        <a:pt x="157870" y="247412"/>
                      </a:lnTo>
                      <a:lnTo>
                        <a:pt x="157470" y="246344"/>
                      </a:lnTo>
                      <a:lnTo>
                        <a:pt x="157324" y="245955"/>
                      </a:lnTo>
                      <a:lnTo>
                        <a:pt x="157130" y="245603"/>
                      </a:lnTo>
                      <a:lnTo>
                        <a:pt x="156158" y="243806"/>
                      </a:lnTo>
                      <a:lnTo>
                        <a:pt x="155915" y="243357"/>
                      </a:lnTo>
                      <a:lnTo>
                        <a:pt x="155600" y="242956"/>
                      </a:lnTo>
                      <a:lnTo>
                        <a:pt x="152345" y="238791"/>
                      </a:lnTo>
                      <a:lnTo>
                        <a:pt x="150864" y="236411"/>
                      </a:lnTo>
                      <a:lnTo>
                        <a:pt x="150755" y="236180"/>
                      </a:lnTo>
                      <a:lnTo>
                        <a:pt x="150609" y="235634"/>
                      </a:lnTo>
                      <a:lnTo>
                        <a:pt x="150366" y="233351"/>
                      </a:lnTo>
                      <a:lnTo>
                        <a:pt x="150220" y="231991"/>
                      </a:lnTo>
                      <a:lnTo>
                        <a:pt x="149492" y="230825"/>
                      </a:lnTo>
                      <a:lnTo>
                        <a:pt x="148860" y="229793"/>
                      </a:lnTo>
                      <a:lnTo>
                        <a:pt x="147852" y="228142"/>
                      </a:lnTo>
                      <a:lnTo>
                        <a:pt x="146080" y="227389"/>
                      </a:lnTo>
                      <a:lnTo>
                        <a:pt x="145108" y="226976"/>
                      </a:lnTo>
                      <a:lnTo>
                        <a:pt x="143335" y="226223"/>
                      </a:lnTo>
                      <a:lnTo>
                        <a:pt x="141453" y="226624"/>
                      </a:lnTo>
                      <a:lnTo>
                        <a:pt x="139960" y="226939"/>
                      </a:lnTo>
                      <a:lnTo>
                        <a:pt x="139389" y="227061"/>
                      </a:lnTo>
                      <a:lnTo>
                        <a:pt x="138854" y="227292"/>
                      </a:lnTo>
                      <a:lnTo>
                        <a:pt x="136098" y="228469"/>
                      </a:lnTo>
                      <a:lnTo>
                        <a:pt x="135588" y="228688"/>
                      </a:lnTo>
                      <a:lnTo>
                        <a:pt x="135127" y="228992"/>
                      </a:lnTo>
                      <a:lnTo>
                        <a:pt x="134143" y="229635"/>
                      </a:lnTo>
                      <a:lnTo>
                        <a:pt x="133305" y="230182"/>
                      </a:lnTo>
                      <a:lnTo>
                        <a:pt x="132686" y="230971"/>
                      </a:lnTo>
                      <a:lnTo>
                        <a:pt x="132540" y="231165"/>
                      </a:lnTo>
                      <a:lnTo>
                        <a:pt x="132322" y="231056"/>
                      </a:lnTo>
                      <a:lnTo>
                        <a:pt x="132455" y="230279"/>
                      </a:lnTo>
                      <a:lnTo>
                        <a:pt x="132601" y="229429"/>
                      </a:lnTo>
                      <a:lnTo>
                        <a:pt x="132504" y="228579"/>
                      </a:lnTo>
                      <a:lnTo>
                        <a:pt x="132382" y="227571"/>
                      </a:lnTo>
                      <a:lnTo>
                        <a:pt x="132297" y="226867"/>
                      </a:lnTo>
                      <a:lnTo>
                        <a:pt x="132054" y="226199"/>
                      </a:lnTo>
                      <a:lnTo>
                        <a:pt x="132018" y="226102"/>
                      </a:lnTo>
                      <a:lnTo>
                        <a:pt x="132212" y="225604"/>
                      </a:lnTo>
                      <a:lnTo>
                        <a:pt x="132674" y="224450"/>
                      </a:lnTo>
                      <a:lnTo>
                        <a:pt x="132856" y="223976"/>
                      </a:lnTo>
                      <a:lnTo>
                        <a:pt x="132965" y="223479"/>
                      </a:lnTo>
                      <a:lnTo>
                        <a:pt x="133305" y="221900"/>
                      </a:lnTo>
                      <a:lnTo>
                        <a:pt x="133402" y="221451"/>
                      </a:lnTo>
                      <a:lnTo>
                        <a:pt x="133427" y="220989"/>
                      </a:lnTo>
                      <a:lnTo>
                        <a:pt x="133548" y="219119"/>
                      </a:lnTo>
                      <a:lnTo>
                        <a:pt x="133560" y="217019"/>
                      </a:lnTo>
                      <a:lnTo>
                        <a:pt x="133560" y="216666"/>
                      </a:lnTo>
                      <a:lnTo>
                        <a:pt x="133524" y="216314"/>
                      </a:lnTo>
                      <a:lnTo>
                        <a:pt x="133342" y="214724"/>
                      </a:lnTo>
                      <a:lnTo>
                        <a:pt x="133196" y="213449"/>
                      </a:lnTo>
                      <a:lnTo>
                        <a:pt x="132540" y="212344"/>
                      </a:lnTo>
                      <a:lnTo>
                        <a:pt x="131848" y="211178"/>
                      </a:lnTo>
                      <a:lnTo>
                        <a:pt x="131120" y="209951"/>
                      </a:lnTo>
                      <a:lnTo>
                        <a:pt x="129917" y="209174"/>
                      </a:lnTo>
                      <a:lnTo>
                        <a:pt x="128667" y="208361"/>
                      </a:lnTo>
                      <a:lnTo>
                        <a:pt x="126019" y="206649"/>
                      </a:lnTo>
                      <a:lnTo>
                        <a:pt x="123093" y="207826"/>
                      </a:lnTo>
                      <a:lnTo>
                        <a:pt x="121308" y="208543"/>
                      </a:lnTo>
                      <a:lnTo>
                        <a:pt x="119875" y="209114"/>
                      </a:lnTo>
                      <a:lnTo>
                        <a:pt x="118892" y="210304"/>
                      </a:lnTo>
                      <a:lnTo>
                        <a:pt x="118151" y="211202"/>
                      </a:lnTo>
                      <a:lnTo>
                        <a:pt x="117349" y="212174"/>
                      </a:lnTo>
                      <a:lnTo>
                        <a:pt x="116997" y="213388"/>
                      </a:lnTo>
                      <a:lnTo>
                        <a:pt x="116596" y="214784"/>
                      </a:lnTo>
                      <a:lnTo>
                        <a:pt x="116354" y="215610"/>
                      </a:lnTo>
                      <a:lnTo>
                        <a:pt x="116354" y="216290"/>
                      </a:lnTo>
                      <a:lnTo>
                        <a:pt x="115261" y="216484"/>
                      </a:lnTo>
                      <a:lnTo>
                        <a:pt x="114848" y="216557"/>
                      </a:lnTo>
                      <a:lnTo>
                        <a:pt x="114447" y="216691"/>
                      </a:lnTo>
                      <a:lnTo>
                        <a:pt x="109554" y="218282"/>
                      </a:lnTo>
                      <a:lnTo>
                        <a:pt x="108169" y="218561"/>
                      </a:lnTo>
                      <a:lnTo>
                        <a:pt x="107866" y="218282"/>
                      </a:lnTo>
                      <a:lnTo>
                        <a:pt x="107125" y="217456"/>
                      </a:lnTo>
                      <a:lnTo>
                        <a:pt x="105789" y="216205"/>
                      </a:lnTo>
                      <a:lnTo>
                        <a:pt x="105352" y="215804"/>
                      </a:lnTo>
                      <a:lnTo>
                        <a:pt x="104842" y="215501"/>
                      </a:lnTo>
                      <a:lnTo>
                        <a:pt x="101211" y="213291"/>
                      </a:lnTo>
                      <a:lnTo>
                        <a:pt x="101199" y="213254"/>
                      </a:lnTo>
                      <a:lnTo>
                        <a:pt x="100799" y="211251"/>
                      </a:lnTo>
                      <a:lnTo>
                        <a:pt x="100714" y="210801"/>
                      </a:lnTo>
                      <a:lnTo>
                        <a:pt x="100556" y="210376"/>
                      </a:lnTo>
                      <a:lnTo>
                        <a:pt x="100276" y="209599"/>
                      </a:lnTo>
                      <a:lnTo>
                        <a:pt x="99997" y="208810"/>
                      </a:lnTo>
                      <a:lnTo>
                        <a:pt x="99511" y="208118"/>
                      </a:lnTo>
                      <a:lnTo>
                        <a:pt x="98819" y="207146"/>
                      </a:lnTo>
                      <a:lnTo>
                        <a:pt x="98406" y="206564"/>
                      </a:lnTo>
                      <a:lnTo>
                        <a:pt x="97872" y="206090"/>
                      </a:lnTo>
                      <a:lnTo>
                        <a:pt x="96209" y="204645"/>
                      </a:lnTo>
                      <a:lnTo>
                        <a:pt x="95808" y="204293"/>
                      </a:lnTo>
                      <a:lnTo>
                        <a:pt x="95346" y="204026"/>
                      </a:lnTo>
                      <a:lnTo>
                        <a:pt x="94363" y="203431"/>
                      </a:lnTo>
                      <a:lnTo>
                        <a:pt x="93901" y="203151"/>
                      </a:lnTo>
                      <a:lnTo>
                        <a:pt x="93391" y="202957"/>
                      </a:lnTo>
                      <a:lnTo>
                        <a:pt x="91509" y="202241"/>
                      </a:lnTo>
                      <a:lnTo>
                        <a:pt x="90963" y="202022"/>
                      </a:lnTo>
                      <a:lnTo>
                        <a:pt x="90380" y="201925"/>
                      </a:lnTo>
                      <a:lnTo>
                        <a:pt x="81115" y="200346"/>
                      </a:lnTo>
                      <a:lnTo>
                        <a:pt x="80799" y="200261"/>
                      </a:lnTo>
                      <a:lnTo>
                        <a:pt x="80131" y="199205"/>
                      </a:lnTo>
                      <a:lnTo>
                        <a:pt x="79913" y="198853"/>
                      </a:lnTo>
                      <a:lnTo>
                        <a:pt x="79646" y="198537"/>
                      </a:lnTo>
                      <a:lnTo>
                        <a:pt x="79026" y="197796"/>
                      </a:lnTo>
                      <a:lnTo>
                        <a:pt x="77678" y="196194"/>
                      </a:lnTo>
                      <a:lnTo>
                        <a:pt x="75626" y="195768"/>
                      </a:lnTo>
                      <a:lnTo>
                        <a:pt x="74230" y="195477"/>
                      </a:lnTo>
                      <a:lnTo>
                        <a:pt x="73234" y="195271"/>
                      </a:lnTo>
                      <a:lnTo>
                        <a:pt x="72226" y="195392"/>
                      </a:lnTo>
                      <a:lnTo>
                        <a:pt x="70405" y="195623"/>
                      </a:lnTo>
                      <a:lnTo>
                        <a:pt x="69907" y="195684"/>
                      </a:lnTo>
                      <a:lnTo>
                        <a:pt x="69433" y="195829"/>
                      </a:lnTo>
                      <a:lnTo>
                        <a:pt x="62609" y="197857"/>
                      </a:lnTo>
                      <a:lnTo>
                        <a:pt x="59403" y="198221"/>
                      </a:lnTo>
                      <a:lnTo>
                        <a:pt x="56246" y="198161"/>
                      </a:lnTo>
                      <a:lnTo>
                        <a:pt x="55590" y="198148"/>
                      </a:lnTo>
                      <a:lnTo>
                        <a:pt x="54947" y="198282"/>
                      </a:lnTo>
                      <a:lnTo>
                        <a:pt x="53672" y="198537"/>
                      </a:lnTo>
                      <a:lnTo>
                        <a:pt x="53101" y="198622"/>
                      </a:lnTo>
                      <a:lnTo>
                        <a:pt x="52579" y="198828"/>
                      </a:lnTo>
                      <a:lnTo>
                        <a:pt x="50976" y="199472"/>
                      </a:lnTo>
                      <a:lnTo>
                        <a:pt x="50393" y="199715"/>
                      </a:lnTo>
                      <a:lnTo>
                        <a:pt x="49883" y="200055"/>
                      </a:lnTo>
                      <a:lnTo>
                        <a:pt x="43751" y="204147"/>
                      </a:lnTo>
                      <a:lnTo>
                        <a:pt x="43350" y="204414"/>
                      </a:lnTo>
                      <a:lnTo>
                        <a:pt x="42998" y="204742"/>
                      </a:lnTo>
                      <a:lnTo>
                        <a:pt x="41905" y="205750"/>
                      </a:lnTo>
                      <a:lnTo>
                        <a:pt x="41553" y="206078"/>
                      </a:lnTo>
                      <a:lnTo>
                        <a:pt x="41250" y="206454"/>
                      </a:lnTo>
                      <a:lnTo>
                        <a:pt x="40327" y="207632"/>
                      </a:lnTo>
                      <a:lnTo>
                        <a:pt x="39987" y="208069"/>
                      </a:lnTo>
                      <a:lnTo>
                        <a:pt x="39732" y="208567"/>
                      </a:lnTo>
                      <a:lnTo>
                        <a:pt x="39100" y="209781"/>
                      </a:lnTo>
                      <a:lnTo>
                        <a:pt x="30503" y="206515"/>
                      </a:lnTo>
                      <a:lnTo>
                        <a:pt x="30139" y="206369"/>
                      </a:lnTo>
                      <a:lnTo>
                        <a:pt x="29762" y="206284"/>
                      </a:lnTo>
                      <a:lnTo>
                        <a:pt x="18227" y="203516"/>
                      </a:lnTo>
                      <a:lnTo>
                        <a:pt x="11196" y="201828"/>
                      </a:lnTo>
                      <a:lnTo>
                        <a:pt x="10747" y="209041"/>
                      </a:lnTo>
                      <a:lnTo>
                        <a:pt x="10334" y="215598"/>
                      </a:lnTo>
                      <a:lnTo>
                        <a:pt x="10212" y="217626"/>
                      </a:lnTo>
                      <a:lnTo>
                        <a:pt x="11329" y="219326"/>
                      </a:lnTo>
                      <a:lnTo>
                        <a:pt x="12082" y="220467"/>
                      </a:lnTo>
                      <a:lnTo>
                        <a:pt x="12337" y="220856"/>
                      </a:lnTo>
                      <a:lnTo>
                        <a:pt x="12653" y="221196"/>
                      </a:lnTo>
                      <a:lnTo>
                        <a:pt x="14147" y="222835"/>
                      </a:lnTo>
                      <a:lnTo>
                        <a:pt x="14693" y="223442"/>
                      </a:lnTo>
                      <a:lnTo>
                        <a:pt x="15385" y="223879"/>
                      </a:lnTo>
                      <a:lnTo>
                        <a:pt x="16514" y="224608"/>
                      </a:lnTo>
                      <a:lnTo>
                        <a:pt x="16806" y="224887"/>
                      </a:lnTo>
                      <a:lnTo>
                        <a:pt x="16769" y="224948"/>
                      </a:lnTo>
                      <a:lnTo>
                        <a:pt x="16417" y="225300"/>
                      </a:lnTo>
                      <a:lnTo>
                        <a:pt x="15531" y="225847"/>
                      </a:lnTo>
                      <a:lnTo>
                        <a:pt x="10637" y="227984"/>
                      </a:lnTo>
                      <a:lnTo>
                        <a:pt x="9459" y="228299"/>
                      </a:lnTo>
                      <a:lnTo>
                        <a:pt x="8136" y="228664"/>
                      </a:lnTo>
                      <a:lnTo>
                        <a:pt x="7104" y="229562"/>
                      </a:lnTo>
                      <a:lnTo>
                        <a:pt x="6351" y="230218"/>
                      </a:lnTo>
                      <a:lnTo>
                        <a:pt x="5889" y="230607"/>
                      </a:lnTo>
                      <a:lnTo>
                        <a:pt x="5525" y="231080"/>
                      </a:lnTo>
                      <a:lnTo>
                        <a:pt x="4432" y="232489"/>
                      </a:lnTo>
                      <a:lnTo>
                        <a:pt x="4044" y="232987"/>
                      </a:lnTo>
                      <a:lnTo>
                        <a:pt x="3764" y="233557"/>
                      </a:lnTo>
                      <a:lnTo>
                        <a:pt x="1991" y="237200"/>
                      </a:lnTo>
                      <a:lnTo>
                        <a:pt x="1761" y="237674"/>
                      </a:lnTo>
                      <a:lnTo>
                        <a:pt x="1615" y="238184"/>
                      </a:lnTo>
                      <a:lnTo>
                        <a:pt x="631" y="241596"/>
                      </a:lnTo>
                      <a:lnTo>
                        <a:pt x="461" y="242154"/>
                      </a:lnTo>
                      <a:lnTo>
                        <a:pt x="413" y="242737"/>
                      </a:lnTo>
                      <a:lnTo>
                        <a:pt x="73" y="246672"/>
                      </a:lnTo>
                      <a:lnTo>
                        <a:pt x="0" y="247461"/>
                      </a:lnTo>
                      <a:lnTo>
                        <a:pt x="134" y="248238"/>
                      </a:lnTo>
                      <a:lnTo>
                        <a:pt x="534" y="250533"/>
                      </a:lnTo>
                      <a:lnTo>
                        <a:pt x="801" y="252039"/>
                      </a:lnTo>
                      <a:lnTo>
                        <a:pt x="1736" y="253241"/>
                      </a:lnTo>
                      <a:lnTo>
                        <a:pt x="2939" y="254771"/>
                      </a:lnTo>
                      <a:lnTo>
                        <a:pt x="3789" y="255864"/>
                      </a:lnTo>
                      <a:lnTo>
                        <a:pt x="5039" y="256471"/>
                      </a:lnTo>
                      <a:lnTo>
                        <a:pt x="6885" y="257382"/>
                      </a:lnTo>
                      <a:lnTo>
                        <a:pt x="7371" y="257612"/>
                      </a:lnTo>
                      <a:lnTo>
                        <a:pt x="7881" y="257770"/>
                      </a:lnTo>
                      <a:lnTo>
                        <a:pt x="9884" y="258353"/>
                      </a:lnTo>
                      <a:lnTo>
                        <a:pt x="10431" y="258511"/>
                      </a:lnTo>
                      <a:lnTo>
                        <a:pt x="11001" y="258572"/>
                      </a:lnTo>
                      <a:lnTo>
                        <a:pt x="12835" y="258742"/>
                      </a:lnTo>
                      <a:lnTo>
                        <a:pt x="13357" y="258790"/>
                      </a:lnTo>
                      <a:lnTo>
                        <a:pt x="13879" y="258754"/>
                      </a:lnTo>
                      <a:lnTo>
                        <a:pt x="15373" y="258632"/>
                      </a:lnTo>
                      <a:lnTo>
                        <a:pt x="15944" y="258584"/>
                      </a:lnTo>
                      <a:lnTo>
                        <a:pt x="16502" y="258426"/>
                      </a:lnTo>
                      <a:lnTo>
                        <a:pt x="18178" y="257965"/>
                      </a:lnTo>
                      <a:lnTo>
                        <a:pt x="18700" y="257819"/>
                      </a:lnTo>
                      <a:lnTo>
                        <a:pt x="19198" y="257576"/>
                      </a:lnTo>
                      <a:lnTo>
                        <a:pt x="20692" y="256860"/>
                      </a:lnTo>
                      <a:lnTo>
                        <a:pt x="21323" y="256556"/>
                      </a:lnTo>
                      <a:lnTo>
                        <a:pt x="21869" y="256107"/>
                      </a:lnTo>
                      <a:lnTo>
                        <a:pt x="23509" y="254771"/>
                      </a:lnTo>
                      <a:lnTo>
                        <a:pt x="24917" y="254783"/>
                      </a:lnTo>
                      <a:lnTo>
                        <a:pt x="25379" y="254783"/>
                      </a:lnTo>
                      <a:lnTo>
                        <a:pt x="25840" y="254722"/>
                      </a:lnTo>
                      <a:lnTo>
                        <a:pt x="26508" y="254625"/>
                      </a:lnTo>
                      <a:lnTo>
                        <a:pt x="24541" y="259762"/>
                      </a:lnTo>
                      <a:lnTo>
                        <a:pt x="24407" y="260102"/>
                      </a:lnTo>
                      <a:lnTo>
                        <a:pt x="24322" y="260454"/>
                      </a:lnTo>
                      <a:lnTo>
                        <a:pt x="23472" y="263890"/>
                      </a:lnTo>
                      <a:lnTo>
                        <a:pt x="23363" y="264340"/>
                      </a:lnTo>
                      <a:lnTo>
                        <a:pt x="23314" y="264801"/>
                      </a:lnTo>
                      <a:lnTo>
                        <a:pt x="21699" y="282153"/>
                      </a:lnTo>
                      <a:lnTo>
                        <a:pt x="21627" y="283028"/>
                      </a:lnTo>
                      <a:lnTo>
                        <a:pt x="21797" y="283890"/>
                      </a:lnTo>
                      <a:lnTo>
                        <a:pt x="22477" y="287302"/>
                      </a:lnTo>
                      <a:lnTo>
                        <a:pt x="22647" y="288164"/>
                      </a:lnTo>
                      <a:lnTo>
                        <a:pt x="23059" y="288941"/>
                      </a:lnTo>
                      <a:lnTo>
                        <a:pt x="24322" y="291358"/>
                      </a:lnTo>
                      <a:lnTo>
                        <a:pt x="24687" y="292050"/>
                      </a:lnTo>
                      <a:lnTo>
                        <a:pt x="25209" y="292633"/>
                      </a:lnTo>
                      <a:lnTo>
                        <a:pt x="28147" y="295851"/>
                      </a:lnTo>
                      <a:lnTo>
                        <a:pt x="28912" y="297028"/>
                      </a:lnTo>
                      <a:lnTo>
                        <a:pt x="28925" y="297101"/>
                      </a:lnTo>
                      <a:lnTo>
                        <a:pt x="28439" y="301825"/>
                      </a:lnTo>
                      <a:lnTo>
                        <a:pt x="24808" y="301655"/>
                      </a:lnTo>
                      <a:lnTo>
                        <a:pt x="23739" y="301606"/>
                      </a:lnTo>
                      <a:lnTo>
                        <a:pt x="22732" y="301922"/>
                      </a:lnTo>
                      <a:lnTo>
                        <a:pt x="21372" y="302347"/>
                      </a:lnTo>
                      <a:lnTo>
                        <a:pt x="20424" y="302638"/>
                      </a:lnTo>
                      <a:lnTo>
                        <a:pt x="19623" y="303209"/>
                      </a:lnTo>
                      <a:lnTo>
                        <a:pt x="18129" y="304278"/>
                      </a:lnTo>
                      <a:lnTo>
                        <a:pt x="16709" y="305298"/>
                      </a:lnTo>
                      <a:lnTo>
                        <a:pt x="16053" y="306925"/>
                      </a:lnTo>
                      <a:lnTo>
                        <a:pt x="15130" y="309196"/>
                      </a:lnTo>
                      <a:lnTo>
                        <a:pt x="14766" y="310082"/>
                      </a:lnTo>
                      <a:lnTo>
                        <a:pt x="14693" y="311029"/>
                      </a:lnTo>
                      <a:lnTo>
                        <a:pt x="14572" y="312608"/>
                      </a:lnTo>
                      <a:lnTo>
                        <a:pt x="14474" y="313980"/>
                      </a:lnTo>
                      <a:lnTo>
                        <a:pt x="14972" y="315255"/>
                      </a:lnTo>
                      <a:lnTo>
                        <a:pt x="15434" y="316433"/>
                      </a:lnTo>
                      <a:lnTo>
                        <a:pt x="15847" y="317489"/>
                      </a:lnTo>
                      <a:lnTo>
                        <a:pt x="16612" y="318327"/>
                      </a:lnTo>
                      <a:lnTo>
                        <a:pt x="17243" y="319031"/>
                      </a:lnTo>
                      <a:lnTo>
                        <a:pt x="18822" y="321205"/>
                      </a:lnTo>
                      <a:lnTo>
                        <a:pt x="19696" y="323257"/>
                      </a:lnTo>
                      <a:lnTo>
                        <a:pt x="20764" y="325358"/>
                      </a:lnTo>
                      <a:lnTo>
                        <a:pt x="21056" y="325904"/>
                      </a:lnTo>
                      <a:lnTo>
                        <a:pt x="21457" y="326390"/>
                      </a:lnTo>
                      <a:lnTo>
                        <a:pt x="24104" y="329608"/>
                      </a:lnTo>
                      <a:lnTo>
                        <a:pt x="25124" y="331199"/>
                      </a:lnTo>
                      <a:lnTo>
                        <a:pt x="26654" y="334793"/>
                      </a:lnTo>
                      <a:lnTo>
                        <a:pt x="26897" y="335364"/>
                      </a:lnTo>
                      <a:lnTo>
                        <a:pt x="27249" y="335874"/>
                      </a:lnTo>
                      <a:lnTo>
                        <a:pt x="28451" y="337598"/>
                      </a:lnTo>
                      <a:lnTo>
                        <a:pt x="28949" y="338314"/>
                      </a:lnTo>
                      <a:lnTo>
                        <a:pt x="29629" y="338861"/>
                      </a:lnTo>
                      <a:lnTo>
                        <a:pt x="31062" y="340014"/>
                      </a:lnTo>
                      <a:lnTo>
                        <a:pt x="32276" y="340998"/>
                      </a:lnTo>
                      <a:lnTo>
                        <a:pt x="33806" y="341265"/>
                      </a:lnTo>
                      <a:lnTo>
                        <a:pt x="35579" y="341581"/>
                      </a:lnTo>
                      <a:lnTo>
                        <a:pt x="36149" y="341678"/>
                      </a:lnTo>
                      <a:lnTo>
                        <a:pt x="36720" y="341678"/>
                      </a:lnTo>
                      <a:lnTo>
                        <a:pt x="38457" y="341654"/>
                      </a:lnTo>
                      <a:lnTo>
                        <a:pt x="40035" y="341630"/>
                      </a:lnTo>
                      <a:lnTo>
                        <a:pt x="41407" y="340852"/>
                      </a:lnTo>
                      <a:lnTo>
                        <a:pt x="42318" y="340330"/>
                      </a:lnTo>
                      <a:lnTo>
                        <a:pt x="43654" y="339565"/>
                      </a:lnTo>
                      <a:lnTo>
                        <a:pt x="44455" y="338254"/>
                      </a:lnTo>
                      <a:lnTo>
                        <a:pt x="45087" y="337222"/>
                      </a:lnTo>
                      <a:lnTo>
                        <a:pt x="45657" y="336299"/>
                      </a:lnTo>
                      <a:lnTo>
                        <a:pt x="45876" y="335230"/>
                      </a:lnTo>
                      <a:lnTo>
                        <a:pt x="46034" y="334429"/>
                      </a:lnTo>
                      <a:lnTo>
                        <a:pt x="46580" y="334429"/>
                      </a:lnTo>
                      <a:lnTo>
                        <a:pt x="47066" y="334429"/>
                      </a:lnTo>
                      <a:lnTo>
                        <a:pt x="47540" y="334356"/>
                      </a:lnTo>
                      <a:lnTo>
                        <a:pt x="52457" y="333579"/>
                      </a:lnTo>
                      <a:lnTo>
                        <a:pt x="58128" y="334720"/>
                      </a:lnTo>
                      <a:lnTo>
                        <a:pt x="58614" y="334817"/>
                      </a:lnTo>
                      <a:lnTo>
                        <a:pt x="59112" y="334829"/>
                      </a:lnTo>
                      <a:lnTo>
                        <a:pt x="61990" y="334939"/>
                      </a:lnTo>
                      <a:lnTo>
                        <a:pt x="62840" y="334975"/>
                      </a:lnTo>
                      <a:lnTo>
                        <a:pt x="63665" y="334769"/>
                      </a:lnTo>
                      <a:lnTo>
                        <a:pt x="65280" y="334368"/>
                      </a:lnTo>
                      <a:lnTo>
                        <a:pt x="66337" y="334113"/>
                      </a:lnTo>
                      <a:lnTo>
                        <a:pt x="67235" y="333506"/>
                      </a:lnTo>
                      <a:lnTo>
                        <a:pt x="69008" y="332304"/>
                      </a:lnTo>
                      <a:lnTo>
                        <a:pt x="69603" y="331903"/>
                      </a:lnTo>
                      <a:lnTo>
                        <a:pt x="70089" y="331381"/>
                      </a:lnTo>
                      <a:lnTo>
                        <a:pt x="71643" y="329669"/>
                      </a:lnTo>
                      <a:lnTo>
                        <a:pt x="73441" y="328090"/>
                      </a:lnTo>
                      <a:lnTo>
                        <a:pt x="74558" y="327313"/>
                      </a:lnTo>
                      <a:lnTo>
                        <a:pt x="75468" y="326937"/>
                      </a:lnTo>
                      <a:lnTo>
                        <a:pt x="75663" y="326924"/>
                      </a:lnTo>
                      <a:lnTo>
                        <a:pt x="77521" y="328029"/>
                      </a:lnTo>
                      <a:lnTo>
                        <a:pt x="77994" y="328309"/>
                      </a:lnTo>
                      <a:lnTo>
                        <a:pt x="78504" y="328503"/>
                      </a:lnTo>
                      <a:lnTo>
                        <a:pt x="80119" y="329110"/>
                      </a:lnTo>
                      <a:lnTo>
                        <a:pt x="80496" y="329256"/>
                      </a:lnTo>
                      <a:lnTo>
                        <a:pt x="80884" y="329341"/>
                      </a:lnTo>
                      <a:lnTo>
                        <a:pt x="84175" y="330094"/>
                      </a:lnTo>
                      <a:lnTo>
                        <a:pt x="85911" y="330701"/>
                      </a:lnTo>
                      <a:lnTo>
                        <a:pt x="86858" y="331187"/>
                      </a:lnTo>
                      <a:lnTo>
                        <a:pt x="89178" y="332887"/>
                      </a:lnTo>
                      <a:lnTo>
                        <a:pt x="89190" y="332899"/>
                      </a:lnTo>
                      <a:lnTo>
                        <a:pt x="89202" y="332935"/>
                      </a:lnTo>
                      <a:lnTo>
                        <a:pt x="89433" y="334113"/>
                      </a:lnTo>
                      <a:lnTo>
                        <a:pt x="89530" y="334574"/>
                      </a:lnTo>
                      <a:lnTo>
                        <a:pt x="89688" y="335011"/>
                      </a:lnTo>
                      <a:lnTo>
                        <a:pt x="91351" y="339614"/>
                      </a:lnTo>
                      <a:lnTo>
                        <a:pt x="91461" y="339917"/>
                      </a:lnTo>
                      <a:lnTo>
                        <a:pt x="91606" y="340209"/>
                      </a:lnTo>
                      <a:lnTo>
                        <a:pt x="93792" y="344653"/>
                      </a:lnTo>
                      <a:lnTo>
                        <a:pt x="93950" y="344993"/>
                      </a:lnTo>
                      <a:lnTo>
                        <a:pt x="94156" y="345297"/>
                      </a:lnTo>
                      <a:lnTo>
                        <a:pt x="95419" y="347227"/>
                      </a:lnTo>
                      <a:lnTo>
                        <a:pt x="95735" y="347713"/>
                      </a:lnTo>
                      <a:lnTo>
                        <a:pt x="96136" y="348126"/>
                      </a:lnTo>
                      <a:lnTo>
                        <a:pt x="97411" y="349450"/>
                      </a:lnTo>
                      <a:lnTo>
                        <a:pt x="98261" y="350324"/>
                      </a:lnTo>
                      <a:lnTo>
                        <a:pt x="99390" y="350810"/>
                      </a:lnTo>
                      <a:lnTo>
                        <a:pt x="100519" y="351295"/>
                      </a:lnTo>
                      <a:lnTo>
                        <a:pt x="101078" y="351538"/>
                      </a:lnTo>
                      <a:lnTo>
                        <a:pt x="101673" y="351659"/>
                      </a:lnTo>
                      <a:lnTo>
                        <a:pt x="103579" y="352060"/>
                      </a:lnTo>
                      <a:lnTo>
                        <a:pt x="104004" y="352157"/>
                      </a:lnTo>
                      <a:lnTo>
                        <a:pt x="104441" y="352182"/>
                      </a:lnTo>
                      <a:lnTo>
                        <a:pt x="105874" y="352267"/>
                      </a:lnTo>
                      <a:lnTo>
                        <a:pt x="106481" y="352303"/>
                      </a:lnTo>
                      <a:lnTo>
                        <a:pt x="107089" y="352218"/>
                      </a:lnTo>
                      <a:lnTo>
                        <a:pt x="107890" y="352109"/>
                      </a:lnTo>
                      <a:lnTo>
                        <a:pt x="108983" y="351951"/>
                      </a:lnTo>
                      <a:lnTo>
                        <a:pt x="109954" y="351429"/>
                      </a:lnTo>
                      <a:lnTo>
                        <a:pt x="111921" y="350360"/>
                      </a:lnTo>
                      <a:lnTo>
                        <a:pt x="112371" y="351137"/>
                      </a:lnTo>
                      <a:lnTo>
                        <a:pt x="113986" y="355181"/>
                      </a:lnTo>
                      <a:lnTo>
                        <a:pt x="114423" y="356262"/>
                      </a:lnTo>
                      <a:lnTo>
                        <a:pt x="115224" y="357099"/>
                      </a:lnTo>
                      <a:lnTo>
                        <a:pt x="116487" y="358447"/>
                      </a:lnTo>
                      <a:lnTo>
                        <a:pt x="117192" y="359188"/>
                      </a:lnTo>
                      <a:lnTo>
                        <a:pt x="118090" y="359662"/>
                      </a:lnTo>
                      <a:lnTo>
                        <a:pt x="119584" y="360439"/>
                      </a:lnTo>
                      <a:lnTo>
                        <a:pt x="120640" y="360997"/>
                      </a:lnTo>
                      <a:lnTo>
                        <a:pt x="121830" y="361107"/>
                      </a:lnTo>
                      <a:lnTo>
                        <a:pt x="123603" y="361277"/>
                      </a:lnTo>
                      <a:lnTo>
                        <a:pt x="124210" y="361325"/>
                      </a:lnTo>
                      <a:lnTo>
                        <a:pt x="124829" y="361265"/>
                      </a:lnTo>
                      <a:lnTo>
                        <a:pt x="126614" y="361070"/>
                      </a:lnTo>
                      <a:lnTo>
                        <a:pt x="126967" y="361034"/>
                      </a:lnTo>
                      <a:lnTo>
                        <a:pt x="127319" y="360949"/>
                      </a:lnTo>
                      <a:lnTo>
                        <a:pt x="128873" y="360585"/>
                      </a:lnTo>
                      <a:lnTo>
                        <a:pt x="129844" y="360354"/>
                      </a:lnTo>
                      <a:lnTo>
                        <a:pt x="130694" y="359832"/>
                      </a:lnTo>
                      <a:lnTo>
                        <a:pt x="132929" y="358447"/>
                      </a:lnTo>
                      <a:lnTo>
                        <a:pt x="133439" y="358265"/>
                      </a:lnTo>
                      <a:lnTo>
                        <a:pt x="136657" y="357731"/>
                      </a:lnTo>
                      <a:lnTo>
                        <a:pt x="138053" y="357500"/>
                      </a:lnTo>
                      <a:lnTo>
                        <a:pt x="139207" y="356675"/>
                      </a:lnTo>
                      <a:lnTo>
                        <a:pt x="140919" y="355436"/>
                      </a:lnTo>
                      <a:lnTo>
                        <a:pt x="141332" y="355145"/>
                      </a:lnTo>
                      <a:lnTo>
                        <a:pt x="141684" y="354792"/>
                      </a:lnTo>
                      <a:lnTo>
                        <a:pt x="144222" y="356541"/>
                      </a:lnTo>
                      <a:lnTo>
                        <a:pt x="145630" y="357500"/>
                      </a:lnTo>
                      <a:lnTo>
                        <a:pt x="147330" y="357585"/>
                      </a:lnTo>
                      <a:lnTo>
                        <a:pt x="149965" y="357731"/>
                      </a:lnTo>
                      <a:lnTo>
                        <a:pt x="150645" y="357767"/>
                      </a:lnTo>
                      <a:lnTo>
                        <a:pt x="151325" y="357646"/>
                      </a:lnTo>
                      <a:lnTo>
                        <a:pt x="155345" y="356954"/>
                      </a:lnTo>
                      <a:lnTo>
                        <a:pt x="155903" y="356857"/>
                      </a:lnTo>
                      <a:lnTo>
                        <a:pt x="156438" y="356650"/>
                      </a:lnTo>
                      <a:lnTo>
                        <a:pt x="158732" y="355788"/>
                      </a:lnTo>
                      <a:lnTo>
                        <a:pt x="159461" y="355521"/>
                      </a:lnTo>
                      <a:lnTo>
                        <a:pt x="160092" y="355072"/>
                      </a:lnTo>
                      <a:lnTo>
                        <a:pt x="161185" y="354307"/>
                      </a:lnTo>
                      <a:lnTo>
                        <a:pt x="162290" y="353530"/>
                      </a:lnTo>
                      <a:lnTo>
                        <a:pt x="162424" y="354161"/>
                      </a:lnTo>
                      <a:lnTo>
                        <a:pt x="162643" y="355254"/>
                      </a:lnTo>
                      <a:lnTo>
                        <a:pt x="163238" y="356201"/>
                      </a:lnTo>
                      <a:lnTo>
                        <a:pt x="164100" y="357573"/>
                      </a:lnTo>
                      <a:lnTo>
                        <a:pt x="164828" y="358739"/>
                      </a:lnTo>
                      <a:lnTo>
                        <a:pt x="165982" y="359479"/>
                      </a:lnTo>
                      <a:lnTo>
                        <a:pt x="167658" y="360548"/>
                      </a:lnTo>
                      <a:lnTo>
                        <a:pt x="169394" y="361653"/>
                      </a:lnTo>
                      <a:lnTo>
                        <a:pt x="171434" y="361471"/>
                      </a:lnTo>
                      <a:lnTo>
                        <a:pt x="172405" y="361386"/>
                      </a:lnTo>
                      <a:lnTo>
                        <a:pt x="174324" y="361228"/>
                      </a:lnTo>
                      <a:lnTo>
                        <a:pt x="175793" y="359990"/>
                      </a:lnTo>
                      <a:lnTo>
                        <a:pt x="176619" y="359297"/>
                      </a:lnTo>
                      <a:lnTo>
                        <a:pt x="177275" y="360463"/>
                      </a:lnTo>
                      <a:lnTo>
                        <a:pt x="177214" y="360499"/>
                      </a:lnTo>
                      <a:lnTo>
                        <a:pt x="176060" y="361107"/>
                      </a:lnTo>
                      <a:lnTo>
                        <a:pt x="174688" y="361835"/>
                      </a:lnTo>
                      <a:lnTo>
                        <a:pt x="173826" y="363122"/>
                      </a:lnTo>
                      <a:lnTo>
                        <a:pt x="173255" y="363985"/>
                      </a:lnTo>
                      <a:lnTo>
                        <a:pt x="172575" y="365017"/>
                      </a:lnTo>
                      <a:lnTo>
                        <a:pt x="172345" y="366243"/>
                      </a:lnTo>
                      <a:lnTo>
                        <a:pt x="172114" y="367506"/>
                      </a:lnTo>
                      <a:lnTo>
                        <a:pt x="171908" y="368599"/>
                      </a:lnTo>
                      <a:lnTo>
                        <a:pt x="172114" y="369692"/>
                      </a:lnTo>
                      <a:lnTo>
                        <a:pt x="172393" y="371222"/>
                      </a:lnTo>
                      <a:lnTo>
                        <a:pt x="172466" y="371671"/>
                      </a:lnTo>
                      <a:lnTo>
                        <a:pt x="172612" y="372096"/>
                      </a:lnTo>
                      <a:lnTo>
                        <a:pt x="173243" y="373954"/>
                      </a:lnTo>
                      <a:lnTo>
                        <a:pt x="173571" y="374913"/>
                      </a:lnTo>
                      <a:lnTo>
                        <a:pt x="174190" y="375715"/>
                      </a:lnTo>
                      <a:lnTo>
                        <a:pt x="175089" y="376880"/>
                      </a:lnTo>
                      <a:lnTo>
                        <a:pt x="175016" y="377147"/>
                      </a:lnTo>
                      <a:lnTo>
                        <a:pt x="174992" y="377876"/>
                      </a:lnTo>
                      <a:lnTo>
                        <a:pt x="174931" y="379625"/>
                      </a:lnTo>
                      <a:lnTo>
                        <a:pt x="174919" y="380001"/>
                      </a:lnTo>
                      <a:lnTo>
                        <a:pt x="174956" y="380365"/>
                      </a:lnTo>
                      <a:lnTo>
                        <a:pt x="175126" y="382235"/>
                      </a:lnTo>
                      <a:lnTo>
                        <a:pt x="175210" y="383231"/>
                      </a:lnTo>
                      <a:lnTo>
                        <a:pt x="175611" y="384154"/>
                      </a:lnTo>
                      <a:lnTo>
                        <a:pt x="176595" y="386388"/>
                      </a:lnTo>
                      <a:lnTo>
                        <a:pt x="176801" y="386838"/>
                      </a:lnTo>
                      <a:lnTo>
                        <a:pt x="177068" y="387250"/>
                      </a:lnTo>
                      <a:lnTo>
                        <a:pt x="178659" y="389691"/>
                      </a:lnTo>
                      <a:lnTo>
                        <a:pt x="178829" y="389958"/>
                      </a:lnTo>
                      <a:lnTo>
                        <a:pt x="179023" y="390201"/>
                      </a:lnTo>
                      <a:lnTo>
                        <a:pt x="182047" y="393929"/>
                      </a:lnTo>
                      <a:lnTo>
                        <a:pt x="187171" y="401786"/>
                      </a:lnTo>
                      <a:lnTo>
                        <a:pt x="187730" y="402648"/>
                      </a:lnTo>
                      <a:lnTo>
                        <a:pt x="188543" y="403279"/>
                      </a:lnTo>
                      <a:lnTo>
                        <a:pt x="190146" y="404518"/>
                      </a:lnTo>
                      <a:lnTo>
                        <a:pt x="190911" y="405113"/>
                      </a:lnTo>
                      <a:lnTo>
                        <a:pt x="191834" y="405441"/>
                      </a:lnTo>
                      <a:lnTo>
                        <a:pt x="199108" y="408015"/>
                      </a:lnTo>
                      <a:lnTo>
                        <a:pt x="199181" y="408343"/>
                      </a:lnTo>
                      <a:lnTo>
                        <a:pt x="198974" y="408513"/>
                      </a:lnTo>
                      <a:lnTo>
                        <a:pt x="197068" y="409678"/>
                      </a:lnTo>
                      <a:lnTo>
                        <a:pt x="196691" y="409921"/>
                      </a:lnTo>
                      <a:lnTo>
                        <a:pt x="196363" y="410201"/>
                      </a:lnTo>
                      <a:lnTo>
                        <a:pt x="195331" y="411087"/>
                      </a:lnTo>
                      <a:lnTo>
                        <a:pt x="193996" y="412241"/>
                      </a:lnTo>
                      <a:lnTo>
                        <a:pt x="193473" y="413929"/>
                      </a:lnTo>
                      <a:lnTo>
                        <a:pt x="193073" y="415252"/>
                      </a:lnTo>
                      <a:lnTo>
                        <a:pt x="192976" y="415592"/>
                      </a:lnTo>
                      <a:lnTo>
                        <a:pt x="192915" y="415932"/>
                      </a:lnTo>
                      <a:lnTo>
                        <a:pt x="192684" y="417195"/>
                      </a:lnTo>
                      <a:lnTo>
                        <a:pt x="192417" y="418676"/>
                      </a:lnTo>
                      <a:lnTo>
                        <a:pt x="192866" y="420109"/>
                      </a:lnTo>
                      <a:lnTo>
                        <a:pt x="194129" y="424129"/>
                      </a:lnTo>
                      <a:lnTo>
                        <a:pt x="195659" y="429848"/>
                      </a:lnTo>
                      <a:lnTo>
                        <a:pt x="196801" y="433539"/>
                      </a:lnTo>
                      <a:lnTo>
                        <a:pt x="197043" y="434292"/>
                      </a:lnTo>
                      <a:lnTo>
                        <a:pt x="197468" y="434972"/>
                      </a:lnTo>
                      <a:lnTo>
                        <a:pt x="200237" y="439368"/>
                      </a:lnTo>
                      <a:lnTo>
                        <a:pt x="200407" y="440303"/>
                      </a:lnTo>
                      <a:lnTo>
                        <a:pt x="200188" y="442707"/>
                      </a:lnTo>
                      <a:lnTo>
                        <a:pt x="200091" y="443825"/>
                      </a:lnTo>
                      <a:lnTo>
                        <a:pt x="200395" y="444905"/>
                      </a:lnTo>
                      <a:lnTo>
                        <a:pt x="201087" y="447346"/>
                      </a:lnTo>
                      <a:lnTo>
                        <a:pt x="201233" y="447844"/>
                      </a:lnTo>
                      <a:lnTo>
                        <a:pt x="201451" y="448317"/>
                      </a:lnTo>
                      <a:lnTo>
                        <a:pt x="204997" y="455749"/>
                      </a:lnTo>
                      <a:lnTo>
                        <a:pt x="210498" y="472846"/>
                      </a:lnTo>
                      <a:lnTo>
                        <a:pt x="210631" y="473259"/>
                      </a:lnTo>
                      <a:lnTo>
                        <a:pt x="210814" y="473635"/>
                      </a:lnTo>
                      <a:lnTo>
                        <a:pt x="213339" y="478857"/>
                      </a:lnTo>
                      <a:lnTo>
                        <a:pt x="213570" y="479330"/>
                      </a:lnTo>
                      <a:lnTo>
                        <a:pt x="213874" y="479768"/>
                      </a:lnTo>
                      <a:lnTo>
                        <a:pt x="217031" y="484139"/>
                      </a:lnTo>
                      <a:lnTo>
                        <a:pt x="217274" y="484455"/>
                      </a:lnTo>
                      <a:lnTo>
                        <a:pt x="217541" y="484746"/>
                      </a:lnTo>
                      <a:lnTo>
                        <a:pt x="219836" y="487199"/>
                      </a:lnTo>
                      <a:lnTo>
                        <a:pt x="224316" y="493404"/>
                      </a:lnTo>
                      <a:lnTo>
                        <a:pt x="226065" y="495444"/>
                      </a:lnTo>
                      <a:lnTo>
                        <a:pt x="226612" y="496076"/>
                      </a:lnTo>
                      <a:lnTo>
                        <a:pt x="227316" y="496537"/>
                      </a:lnTo>
                      <a:lnTo>
                        <a:pt x="227826" y="496877"/>
                      </a:lnTo>
                      <a:lnTo>
                        <a:pt x="229028" y="497958"/>
                      </a:lnTo>
                      <a:lnTo>
                        <a:pt x="233497" y="504406"/>
                      </a:lnTo>
                      <a:lnTo>
                        <a:pt x="234007" y="505146"/>
                      </a:lnTo>
                      <a:lnTo>
                        <a:pt x="234711" y="505705"/>
                      </a:lnTo>
                      <a:lnTo>
                        <a:pt x="243162" y="512420"/>
                      </a:lnTo>
                      <a:lnTo>
                        <a:pt x="243672" y="512833"/>
                      </a:lnTo>
                      <a:lnTo>
                        <a:pt x="244255" y="513124"/>
                      </a:lnTo>
                      <a:lnTo>
                        <a:pt x="245931" y="513950"/>
                      </a:lnTo>
                      <a:lnTo>
                        <a:pt x="245700" y="514970"/>
                      </a:lnTo>
                      <a:lnTo>
                        <a:pt x="245360" y="516536"/>
                      </a:lnTo>
                      <a:lnTo>
                        <a:pt x="245834" y="518054"/>
                      </a:lnTo>
                      <a:lnTo>
                        <a:pt x="246647" y="520665"/>
                      </a:lnTo>
                      <a:lnTo>
                        <a:pt x="247400" y="523069"/>
                      </a:lnTo>
                      <a:lnTo>
                        <a:pt x="249635" y="524247"/>
                      </a:lnTo>
                      <a:lnTo>
                        <a:pt x="251286" y="525109"/>
                      </a:lnTo>
                      <a:lnTo>
                        <a:pt x="252889" y="525947"/>
                      </a:lnTo>
                      <a:lnTo>
                        <a:pt x="254686" y="525765"/>
                      </a:lnTo>
                      <a:lnTo>
                        <a:pt x="256471" y="525595"/>
                      </a:lnTo>
                      <a:lnTo>
                        <a:pt x="257600" y="525486"/>
                      </a:lnTo>
                      <a:lnTo>
                        <a:pt x="258535" y="525012"/>
                      </a:lnTo>
                      <a:lnTo>
                        <a:pt x="260187" y="526311"/>
                      </a:lnTo>
                      <a:lnTo>
                        <a:pt x="260940" y="526894"/>
                      </a:lnTo>
                      <a:lnTo>
                        <a:pt x="261826" y="527222"/>
                      </a:lnTo>
                      <a:lnTo>
                        <a:pt x="266477" y="528934"/>
                      </a:lnTo>
                      <a:lnTo>
                        <a:pt x="266853" y="529068"/>
                      </a:lnTo>
                      <a:lnTo>
                        <a:pt x="267242" y="529153"/>
                      </a:lnTo>
                      <a:lnTo>
                        <a:pt x="270010" y="529772"/>
                      </a:lnTo>
                      <a:lnTo>
                        <a:pt x="270812" y="530052"/>
                      </a:lnTo>
                      <a:lnTo>
                        <a:pt x="274600" y="533233"/>
                      </a:lnTo>
                      <a:lnTo>
                        <a:pt x="282578" y="541029"/>
                      </a:lnTo>
                      <a:lnTo>
                        <a:pt x="294916" y="556912"/>
                      </a:lnTo>
                      <a:lnTo>
                        <a:pt x="296943" y="560287"/>
                      </a:lnTo>
                      <a:lnTo>
                        <a:pt x="298097" y="563299"/>
                      </a:lnTo>
                      <a:lnTo>
                        <a:pt x="297405" y="563614"/>
                      </a:lnTo>
                      <a:lnTo>
                        <a:pt x="296142" y="564173"/>
                      </a:lnTo>
                      <a:lnTo>
                        <a:pt x="295243" y="565217"/>
                      </a:lnTo>
                      <a:lnTo>
                        <a:pt x="294041" y="566626"/>
                      </a:lnTo>
                      <a:lnTo>
                        <a:pt x="293689" y="567051"/>
                      </a:lnTo>
                      <a:lnTo>
                        <a:pt x="293410" y="567525"/>
                      </a:lnTo>
                      <a:lnTo>
                        <a:pt x="291892" y="570160"/>
                      </a:lnTo>
                      <a:lnTo>
                        <a:pt x="291576" y="570439"/>
                      </a:lnTo>
                      <a:lnTo>
                        <a:pt x="291406" y="570548"/>
                      </a:lnTo>
                      <a:lnTo>
                        <a:pt x="288031" y="571714"/>
                      </a:lnTo>
                      <a:lnTo>
                        <a:pt x="285420" y="572855"/>
                      </a:lnTo>
                      <a:lnTo>
                        <a:pt x="284958" y="573062"/>
                      </a:lnTo>
                      <a:lnTo>
                        <a:pt x="284533" y="573329"/>
                      </a:lnTo>
                      <a:lnTo>
                        <a:pt x="282809" y="574470"/>
                      </a:lnTo>
                      <a:lnTo>
                        <a:pt x="282323" y="574798"/>
                      </a:lnTo>
                      <a:lnTo>
                        <a:pt x="281898" y="575211"/>
                      </a:lnTo>
                      <a:lnTo>
                        <a:pt x="280696" y="576389"/>
                      </a:lnTo>
                      <a:lnTo>
                        <a:pt x="279798" y="577263"/>
                      </a:lnTo>
                      <a:lnTo>
                        <a:pt x="279324" y="578429"/>
                      </a:lnTo>
                      <a:lnTo>
                        <a:pt x="278462" y="580530"/>
                      </a:lnTo>
                      <a:lnTo>
                        <a:pt x="277782" y="582193"/>
                      </a:lnTo>
                      <a:lnTo>
                        <a:pt x="278110" y="583966"/>
                      </a:lnTo>
                      <a:lnTo>
                        <a:pt x="278401" y="585508"/>
                      </a:lnTo>
                      <a:lnTo>
                        <a:pt x="278656" y="586856"/>
                      </a:lnTo>
                      <a:lnTo>
                        <a:pt x="279458" y="587961"/>
                      </a:lnTo>
                      <a:lnTo>
                        <a:pt x="280490" y="589370"/>
                      </a:lnTo>
                      <a:lnTo>
                        <a:pt x="281073" y="590159"/>
                      </a:lnTo>
                      <a:lnTo>
                        <a:pt x="281862" y="590730"/>
                      </a:lnTo>
                      <a:lnTo>
                        <a:pt x="286561" y="594093"/>
                      </a:lnTo>
                      <a:lnTo>
                        <a:pt x="287314" y="594628"/>
                      </a:lnTo>
                      <a:lnTo>
                        <a:pt x="287763" y="594773"/>
                      </a:lnTo>
                      <a:lnTo>
                        <a:pt x="287375" y="595636"/>
                      </a:lnTo>
                      <a:lnTo>
                        <a:pt x="287059" y="596340"/>
                      </a:lnTo>
                      <a:lnTo>
                        <a:pt x="286925" y="597093"/>
                      </a:lnTo>
                      <a:lnTo>
                        <a:pt x="286537" y="599388"/>
                      </a:lnTo>
                      <a:lnTo>
                        <a:pt x="286501" y="599424"/>
                      </a:lnTo>
                      <a:lnTo>
                        <a:pt x="285869" y="599946"/>
                      </a:lnTo>
                      <a:lnTo>
                        <a:pt x="285092" y="600590"/>
                      </a:lnTo>
                      <a:lnTo>
                        <a:pt x="284570" y="601464"/>
                      </a:lnTo>
                      <a:lnTo>
                        <a:pt x="283768" y="602788"/>
                      </a:lnTo>
                      <a:lnTo>
                        <a:pt x="283562" y="603116"/>
                      </a:lnTo>
                      <a:lnTo>
                        <a:pt x="283404" y="603468"/>
                      </a:lnTo>
                      <a:lnTo>
                        <a:pt x="283125" y="604111"/>
                      </a:lnTo>
                      <a:lnTo>
                        <a:pt x="282761" y="605325"/>
                      </a:lnTo>
                      <a:lnTo>
                        <a:pt x="282020" y="609223"/>
                      </a:lnTo>
                      <a:lnTo>
                        <a:pt x="282299" y="609454"/>
                      </a:lnTo>
                      <a:lnTo>
                        <a:pt x="281680" y="609357"/>
                      </a:lnTo>
                      <a:lnTo>
                        <a:pt x="279773" y="610547"/>
                      </a:lnTo>
                      <a:lnTo>
                        <a:pt x="279033" y="611008"/>
                      </a:lnTo>
                      <a:lnTo>
                        <a:pt x="277138" y="612186"/>
                      </a:lnTo>
                      <a:lnTo>
                        <a:pt x="276458" y="614311"/>
                      </a:lnTo>
                      <a:lnTo>
                        <a:pt x="275426" y="617529"/>
                      </a:lnTo>
                      <a:lnTo>
                        <a:pt x="274904" y="619168"/>
                      </a:lnTo>
                      <a:lnTo>
                        <a:pt x="275317" y="620844"/>
                      </a:lnTo>
                      <a:lnTo>
                        <a:pt x="276288" y="624791"/>
                      </a:lnTo>
                      <a:lnTo>
                        <a:pt x="276895" y="627268"/>
                      </a:lnTo>
                      <a:lnTo>
                        <a:pt x="279093" y="628567"/>
                      </a:lnTo>
                      <a:lnTo>
                        <a:pt x="284121" y="631542"/>
                      </a:lnTo>
                      <a:lnTo>
                        <a:pt x="284448" y="633849"/>
                      </a:lnTo>
                      <a:lnTo>
                        <a:pt x="284509" y="634262"/>
                      </a:lnTo>
                      <a:lnTo>
                        <a:pt x="284631" y="634663"/>
                      </a:lnTo>
                      <a:lnTo>
                        <a:pt x="285493" y="637626"/>
                      </a:lnTo>
                      <a:lnTo>
                        <a:pt x="285857" y="638864"/>
                      </a:lnTo>
                      <a:lnTo>
                        <a:pt x="286683" y="639848"/>
                      </a:lnTo>
                      <a:lnTo>
                        <a:pt x="288055" y="641475"/>
                      </a:lnTo>
                      <a:lnTo>
                        <a:pt x="288941" y="642519"/>
                      </a:lnTo>
                      <a:lnTo>
                        <a:pt x="290192" y="643090"/>
                      </a:lnTo>
                      <a:lnTo>
                        <a:pt x="292560" y="644159"/>
                      </a:lnTo>
                      <a:lnTo>
                        <a:pt x="294151" y="644887"/>
                      </a:lnTo>
                      <a:lnTo>
                        <a:pt x="295887" y="644644"/>
                      </a:lnTo>
                      <a:lnTo>
                        <a:pt x="312486" y="642374"/>
                      </a:lnTo>
                      <a:lnTo>
                        <a:pt x="314891" y="642604"/>
                      </a:lnTo>
                      <a:lnTo>
                        <a:pt x="317586" y="645300"/>
                      </a:lnTo>
                      <a:lnTo>
                        <a:pt x="317975" y="645676"/>
                      </a:lnTo>
                      <a:lnTo>
                        <a:pt x="318424" y="645980"/>
                      </a:lnTo>
                      <a:lnTo>
                        <a:pt x="325188" y="650692"/>
                      </a:lnTo>
                      <a:lnTo>
                        <a:pt x="328685" y="653132"/>
                      </a:lnTo>
                      <a:lnTo>
                        <a:pt x="332170" y="650655"/>
                      </a:lnTo>
                      <a:lnTo>
                        <a:pt x="337804" y="646660"/>
                      </a:lnTo>
                      <a:lnTo>
                        <a:pt x="339019" y="645798"/>
                      </a:lnTo>
                      <a:lnTo>
                        <a:pt x="339699" y="644474"/>
                      </a:lnTo>
                      <a:lnTo>
                        <a:pt x="340452" y="643005"/>
                      </a:lnTo>
                      <a:lnTo>
                        <a:pt x="340779" y="642374"/>
                      </a:lnTo>
                      <a:lnTo>
                        <a:pt x="340949" y="641681"/>
                      </a:lnTo>
                      <a:lnTo>
                        <a:pt x="341289" y="640285"/>
                      </a:lnTo>
                      <a:lnTo>
                        <a:pt x="341884" y="637856"/>
                      </a:lnTo>
                      <a:lnTo>
                        <a:pt x="340597" y="635707"/>
                      </a:lnTo>
                      <a:lnTo>
                        <a:pt x="340112" y="634906"/>
                      </a:lnTo>
                      <a:lnTo>
                        <a:pt x="339857" y="634323"/>
                      </a:lnTo>
                      <a:lnTo>
                        <a:pt x="339602" y="633230"/>
                      </a:lnTo>
                      <a:lnTo>
                        <a:pt x="339359" y="630826"/>
                      </a:lnTo>
                      <a:lnTo>
                        <a:pt x="339298" y="630243"/>
                      </a:lnTo>
                      <a:lnTo>
                        <a:pt x="339128" y="629684"/>
                      </a:lnTo>
                      <a:lnTo>
                        <a:pt x="338667" y="628154"/>
                      </a:lnTo>
                      <a:lnTo>
                        <a:pt x="338387" y="627195"/>
                      </a:lnTo>
                      <a:lnTo>
                        <a:pt x="337804" y="626381"/>
                      </a:lnTo>
                      <a:lnTo>
                        <a:pt x="337161" y="625471"/>
                      </a:lnTo>
                      <a:lnTo>
                        <a:pt x="336590" y="624669"/>
                      </a:lnTo>
                      <a:lnTo>
                        <a:pt x="335801" y="624086"/>
                      </a:lnTo>
                      <a:lnTo>
                        <a:pt x="334878" y="623418"/>
                      </a:lnTo>
                      <a:lnTo>
                        <a:pt x="334854" y="622228"/>
                      </a:lnTo>
                      <a:lnTo>
                        <a:pt x="335072" y="618537"/>
                      </a:lnTo>
                      <a:lnTo>
                        <a:pt x="335097" y="617991"/>
                      </a:lnTo>
                      <a:lnTo>
                        <a:pt x="335036" y="617456"/>
                      </a:lnTo>
                      <a:lnTo>
                        <a:pt x="334684" y="614591"/>
                      </a:lnTo>
                      <a:lnTo>
                        <a:pt x="334599" y="613898"/>
                      </a:lnTo>
                      <a:lnTo>
                        <a:pt x="334356" y="613243"/>
                      </a:lnTo>
                      <a:lnTo>
                        <a:pt x="331830" y="606345"/>
                      </a:lnTo>
                      <a:lnTo>
                        <a:pt x="330689" y="601901"/>
                      </a:lnTo>
                      <a:lnTo>
                        <a:pt x="330664" y="600408"/>
                      </a:lnTo>
                      <a:lnTo>
                        <a:pt x="330944" y="598768"/>
                      </a:lnTo>
                      <a:lnTo>
                        <a:pt x="331101" y="598161"/>
                      </a:lnTo>
                      <a:lnTo>
                        <a:pt x="332522" y="598538"/>
                      </a:lnTo>
                      <a:lnTo>
                        <a:pt x="332947" y="598659"/>
                      </a:lnTo>
                      <a:lnTo>
                        <a:pt x="333384" y="598708"/>
                      </a:lnTo>
                      <a:lnTo>
                        <a:pt x="334829" y="598878"/>
                      </a:lnTo>
                      <a:lnTo>
                        <a:pt x="335485" y="598950"/>
                      </a:lnTo>
                      <a:lnTo>
                        <a:pt x="336153" y="598890"/>
                      </a:lnTo>
                      <a:lnTo>
                        <a:pt x="337865" y="598720"/>
                      </a:lnTo>
                      <a:lnTo>
                        <a:pt x="338484" y="598659"/>
                      </a:lnTo>
                      <a:lnTo>
                        <a:pt x="339079" y="598477"/>
                      </a:lnTo>
                      <a:lnTo>
                        <a:pt x="340342" y="598076"/>
                      </a:lnTo>
                      <a:lnTo>
                        <a:pt x="341241" y="597797"/>
                      </a:lnTo>
                      <a:lnTo>
                        <a:pt x="342006" y="597263"/>
                      </a:lnTo>
                      <a:lnTo>
                        <a:pt x="342637" y="596813"/>
                      </a:lnTo>
                      <a:lnTo>
                        <a:pt x="348357" y="601488"/>
                      </a:lnTo>
                      <a:lnTo>
                        <a:pt x="350032" y="602861"/>
                      </a:lnTo>
                      <a:lnTo>
                        <a:pt x="352194" y="602861"/>
                      </a:lnTo>
                      <a:lnTo>
                        <a:pt x="354719" y="602861"/>
                      </a:lnTo>
                      <a:lnTo>
                        <a:pt x="355363" y="602861"/>
                      </a:lnTo>
                      <a:lnTo>
                        <a:pt x="355995" y="602727"/>
                      </a:lnTo>
                      <a:lnTo>
                        <a:pt x="358739" y="602132"/>
                      </a:lnTo>
                      <a:lnTo>
                        <a:pt x="360815" y="601683"/>
                      </a:lnTo>
                      <a:lnTo>
                        <a:pt x="362151" y="600043"/>
                      </a:lnTo>
                      <a:lnTo>
                        <a:pt x="364106" y="597651"/>
                      </a:lnTo>
                      <a:lnTo>
                        <a:pt x="364968" y="596607"/>
                      </a:lnTo>
                      <a:lnTo>
                        <a:pt x="365296" y="595296"/>
                      </a:lnTo>
                      <a:lnTo>
                        <a:pt x="365927" y="592806"/>
                      </a:lnTo>
                      <a:lnTo>
                        <a:pt x="366304" y="591325"/>
                      </a:lnTo>
                      <a:lnTo>
                        <a:pt x="365927" y="589843"/>
                      </a:lnTo>
                      <a:lnTo>
                        <a:pt x="365417" y="587803"/>
                      </a:lnTo>
                      <a:lnTo>
                        <a:pt x="365065" y="586370"/>
                      </a:lnTo>
                      <a:lnTo>
                        <a:pt x="364082" y="585265"/>
                      </a:lnTo>
                      <a:lnTo>
                        <a:pt x="362940" y="583978"/>
                      </a:lnTo>
                      <a:lnTo>
                        <a:pt x="363924" y="583055"/>
                      </a:lnTo>
                      <a:lnTo>
                        <a:pt x="364385" y="581416"/>
                      </a:lnTo>
                      <a:lnTo>
                        <a:pt x="364482" y="581064"/>
                      </a:lnTo>
                      <a:lnTo>
                        <a:pt x="365017" y="580979"/>
                      </a:lnTo>
                      <a:lnTo>
                        <a:pt x="372120" y="579825"/>
                      </a:lnTo>
                      <a:lnTo>
                        <a:pt x="371987" y="580299"/>
                      </a:lnTo>
                      <a:lnTo>
                        <a:pt x="371695" y="581331"/>
                      </a:lnTo>
                      <a:lnTo>
                        <a:pt x="371246" y="582934"/>
                      </a:lnTo>
                      <a:lnTo>
                        <a:pt x="371683" y="584537"/>
                      </a:lnTo>
                      <a:lnTo>
                        <a:pt x="372035" y="585848"/>
                      </a:lnTo>
                      <a:lnTo>
                        <a:pt x="372290" y="586808"/>
                      </a:lnTo>
                      <a:lnTo>
                        <a:pt x="372837" y="587633"/>
                      </a:lnTo>
                      <a:lnTo>
                        <a:pt x="373565" y="588726"/>
                      </a:lnTo>
                      <a:lnTo>
                        <a:pt x="373383" y="588848"/>
                      </a:lnTo>
                      <a:lnTo>
                        <a:pt x="372885" y="591179"/>
                      </a:lnTo>
                      <a:lnTo>
                        <a:pt x="372643" y="592320"/>
                      </a:lnTo>
                      <a:lnTo>
                        <a:pt x="372084" y="594992"/>
                      </a:lnTo>
                      <a:lnTo>
                        <a:pt x="373699" y="597190"/>
                      </a:lnTo>
                      <a:lnTo>
                        <a:pt x="374512" y="598295"/>
                      </a:lnTo>
                      <a:lnTo>
                        <a:pt x="375448" y="599558"/>
                      </a:lnTo>
                      <a:lnTo>
                        <a:pt x="376868" y="600213"/>
                      </a:lnTo>
                      <a:lnTo>
                        <a:pt x="383814" y="603395"/>
                      </a:lnTo>
                      <a:lnTo>
                        <a:pt x="384676" y="603783"/>
                      </a:lnTo>
                      <a:lnTo>
                        <a:pt x="385611" y="603893"/>
                      </a:lnTo>
                      <a:lnTo>
                        <a:pt x="387445" y="604123"/>
                      </a:lnTo>
                      <a:lnTo>
                        <a:pt x="387979" y="604196"/>
                      </a:lnTo>
                      <a:lnTo>
                        <a:pt x="388246" y="604184"/>
                      </a:lnTo>
                      <a:lnTo>
                        <a:pt x="389570" y="609563"/>
                      </a:lnTo>
                      <a:lnTo>
                        <a:pt x="389691" y="610061"/>
                      </a:lnTo>
                      <a:lnTo>
                        <a:pt x="389898" y="610523"/>
                      </a:lnTo>
                      <a:lnTo>
                        <a:pt x="390590" y="612125"/>
                      </a:lnTo>
                      <a:lnTo>
                        <a:pt x="390796" y="612599"/>
                      </a:lnTo>
                      <a:lnTo>
                        <a:pt x="391075" y="613024"/>
                      </a:lnTo>
                      <a:lnTo>
                        <a:pt x="391938" y="614348"/>
                      </a:lnTo>
                      <a:lnTo>
                        <a:pt x="392387" y="615040"/>
                      </a:lnTo>
                      <a:lnTo>
                        <a:pt x="393006" y="615586"/>
                      </a:lnTo>
                      <a:lnTo>
                        <a:pt x="394731" y="617104"/>
                      </a:lnTo>
                      <a:lnTo>
                        <a:pt x="396455" y="618622"/>
                      </a:lnTo>
                      <a:lnTo>
                        <a:pt x="398750" y="618622"/>
                      </a:lnTo>
                      <a:lnTo>
                        <a:pt x="399952" y="618622"/>
                      </a:lnTo>
                      <a:lnTo>
                        <a:pt x="401846" y="618622"/>
                      </a:lnTo>
                      <a:lnTo>
                        <a:pt x="403401" y="617553"/>
                      </a:lnTo>
                      <a:lnTo>
                        <a:pt x="404894" y="616521"/>
                      </a:lnTo>
                      <a:lnTo>
                        <a:pt x="405659" y="615987"/>
                      </a:lnTo>
                      <a:lnTo>
                        <a:pt x="406230" y="615246"/>
                      </a:lnTo>
                      <a:lnTo>
                        <a:pt x="408913" y="611798"/>
                      </a:lnTo>
                      <a:lnTo>
                        <a:pt x="410261" y="611215"/>
                      </a:lnTo>
                      <a:lnTo>
                        <a:pt x="411463" y="610863"/>
                      </a:lnTo>
                      <a:lnTo>
                        <a:pt x="414985" y="610535"/>
                      </a:lnTo>
                      <a:lnTo>
                        <a:pt x="415349" y="610511"/>
                      </a:lnTo>
                      <a:lnTo>
                        <a:pt x="415701" y="610438"/>
                      </a:lnTo>
                      <a:lnTo>
                        <a:pt x="418106" y="609916"/>
                      </a:lnTo>
                      <a:lnTo>
                        <a:pt x="418652" y="609794"/>
                      </a:lnTo>
                      <a:lnTo>
                        <a:pt x="419174" y="609576"/>
                      </a:lnTo>
                      <a:lnTo>
                        <a:pt x="420789" y="608896"/>
                      </a:lnTo>
                      <a:lnTo>
                        <a:pt x="423351" y="607815"/>
                      </a:lnTo>
                      <a:lnTo>
                        <a:pt x="424201" y="605156"/>
                      </a:lnTo>
                      <a:lnTo>
                        <a:pt x="424481" y="604281"/>
                      </a:lnTo>
                      <a:lnTo>
                        <a:pt x="424942" y="602861"/>
                      </a:lnTo>
                      <a:lnTo>
                        <a:pt x="424687" y="601391"/>
                      </a:lnTo>
                      <a:lnTo>
                        <a:pt x="424408" y="599788"/>
                      </a:lnTo>
                      <a:lnTo>
                        <a:pt x="424274" y="599023"/>
                      </a:lnTo>
                      <a:lnTo>
                        <a:pt x="423946" y="598319"/>
                      </a:lnTo>
                      <a:lnTo>
                        <a:pt x="421991" y="594008"/>
                      </a:lnTo>
                      <a:lnTo>
                        <a:pt x="421676" y="593085"/>
                      </a:lnTo>
                      <a:lnTo>
                        <a:pt x="421615" y="592721"/>
                      </a:lnTo>
                      <a:lnTo>
                        <a:pt x="422198" y="592236"/>
                      </a:lnTo>
                      <a:lnTo>
                        <a:pt x="424481" y="590985"/>
                      </a:lnTo>
                      <a:lnTo>
                        <a:pt x="424979" y="590718"/>
                      </a:lnTo>
                      <a:lnTo>
                        <a:pt x="425416" y="590365"/>
                      </a:lnTo>
                      <a:lnTo>
                        <a:pt x="426970" y="589103"/>
                      </a:lnTo>
                      <a:lnTo>
                        <a:pt x="427298" y="588835"/>
                      </a:lnTo>
                      <a:lnTo>
                        <a:pt x="427589" y="588532"/>
                      </a:lnTo>
                      <a:lnTo>
                        <a:pt x="429034" y="586977"/>
                      </a:lnTo>
                      <a:lnTo>
                        <a:pt x="429229" y="586856"/>
                      </a:lnTo>
                      <a:lnTo>
                        <a:pt x="430856" y="586128"/>
                      </a:lnTo>
                      <a:lnTo>
                        <a:pt x="431499" y="585848"/>
                      </a:lnTo>
                      <a:lnTo>
                        <a:pt x="432058" y="585423"/>
                      </a:lnTo>
                      <a:lnTo>
                        <a:pt x="435555" y="582776"/>
                      </a:lnTo>
                      <a:lnTo>
                        <a:pt x="436818" y="581647"/>
                      </a:lnTo>
                      <a:lnTo>
                        <a:pt x="440352" y="579522"/>
                      </a:lnTo>
                      <a:lnTo>
                        <a:pt x="441202" y="579012"/>
                      </a:lnTo>
                      <a:lnTo>
                        <a:pt x="441845" y="578247"/>
                      </a:lnTo>
                      <a:lnTo>
                        <a:pt x="446496" y="572770"/>
                      </a:lnTo>
                      <a:lnTo>
                        <a:pt x="447152" y="572005"/>
                      </a:lnTo>
                      <a:lnTo>
                        <a:pt x="447528" y="571058"/>
                      </a:lnTo>
                      <a:lnTo>
                        <a:pt x="448536" y="568484"/>
                      </a:lnTo>
                      <a:lnTo>
                        <a:pt x="449131" y="567609"/>
                      </a:lnTo>
                      <a:lnTo>
                        <a:pt x="449665" y="567051"/>
                      </a:lnTo>
                      <a:lnTo>
                        <a:pt x="452349" y="565424"/>
                      </a:lnTo>
                      <a:lnTo>
                        <a:pt x="452604" y="565654"/>
                      </a:lnTo>
                      <a:lnTo>
                        <a:pt x="452835" y="565946"/>
                      </a:lnTo>
                      <a:lnTo>
                        <a:pt x="454547" y="568739"/>
                      </a:lnTo>
                      <a:lnTo>
                        <a:pt x="454875" y="569285"/>
                      </a:lnTo>
                      <a:lnTo>
                        <a:pt x="455312" y="569759"/>
                      </a:lnTo>
                      <a:lnTo>
                        <a:pt x="456987" y="571532"/>
                      </a:lnTo>
                      <a:lnTo>
                        <a:pt x="457291" y="571860"/>
                      </a:lnTo>
                      <a:lnTo>
                        <a:pt x="457643" y="572127"/>
                      </a:lnTo>
                      <a:lnTo>
                        <a:pt x="464407" y="577445"/>
                      </a:lnTo>
                      <a:lnTo>
                        <a:pt x="465135" y="578259"/>
                      </a:lnTo>
                      <a:lnTo>
                        <a:pt x="465390" y="578817"/>
                      </a:lnTo>
                      <a:lnTo>
                        <a:pt x="465500" y="579546"/>
                      </a:lnTo>
                      <a:lnTo>
                        <a:pt x="465415" y="580748"/>
                      </a:lnTo>
                      <a:lnTo>
                        <a:pt x="462379" y="591288"/>
                      </a:lnTo>
                      <a:lnTo>
                        <a:pt x="462282" y="591616"/>
                      </a:lnTo>
                      <a:lnTo>
                        <a:pt x="462233" y="591944"/>
                      </a:lnTo>
                      <a:lnTo>
                        <a:pt x="461662" y="595271"/>
                      </a:lnTo>
                      <a:lnTo>
                        <a:pt x="461553" y="595866"/>
                      </a:lnTo>
                      <a:lnTo>
                        <a:pt x="461565" y="596473"/>
                      </a:lnTo>
                      <a:lnTo>
                        <a:pt x="461675" y="600128"/>
                      </a:lnTo>
                      <a:lnTo>
                        <a:pt x="461687" y="600675"/>
                      </a:lnTo>
                      <a:lnTo>
                        <a:pt x="461808" y="601209"/>
                      </a:lnTo>
                      <a:lnTo>
                        <a:pt x="462561" y="604730"/>
                      </a:lnTo>
                      <a:lnTo>
                        <a:pt x="462682" y="605313"/>
                      </a:lnTo>
                      <a:lnTo>
                        <a:pt x="462925" y="605860"/>
                      </a:lnTo>
                      <a:lnTo>
                        <a:pt x="464297" y="609041"/>
                      </a:lnTo>
                      <a:lnTo>
                        <a:pt x="464698" y="610523"/>
                      </a:lnTo>
                      <a:lnTo>
                        <a:pt x="464650" y="610778"/>
                      </a:lnTo>
                      <a:lnTo>
                        <a:pt x="464395" y="611749"/>
                      </a:lnTo>
                      <a:lnTo>
                        <a:pt x="464261" y="612283"/>
                      </a:lnTo>
                      <a:lnTo>
                        <a:pt x="464224" y="612818"/>
                      </a:lnTo>
                      <a:lnTo>
                        <a:pt x="464103" y="614481"/>
                      </a:lnTo>
                      <a:lnTo>
                        <a:pt x="464079" y="614870"/>
                      </a:lnTo>
                      <a:lnTo>
                        <a:pt x="464103" y="615258"/>
                      </a:lnTo>
                      <a:lnTo>
                        <a:pt x="464224" y="617408"/>
                      </a:lnTo>
                      <a:lnTo>
                        <a:pt x="464273" y="618294"/>
                      </a:lnTo>
                      <a:lnTo>
                        <a:pt x="464577" y="619132"/>
                      </a:lnTo>
                      <a:lnTo>
                        <a:pt x="465584" y="621901"/>
                      </a:lnTo>
                      <a:lnTo>
                        <a:pt x="465803" y="622969"/>
                      </a:lnTo>
                      <a:lnTo>
                        <a:pt x="465815" y="623455"/>
                      </a:lnTo>
                      <a:lnTo>
                        <a:pt x="465366" y="625786"/>
                      </a:lnTo>
                      <a:lnTo>
                        <a:pt x="465208" y="626636"/>
                      </a:lnTo>
                      <a:lnTo>
                        <a:pt x="465293" y="627511"/>
                      </a:lnTo>
                      <a:lnTo>
                        <a:pt x="465912" y="633886"/>
                      </a:lnTo>
                      <a:lnTo>
                        <a:pt x="465852" y="634238"/>
                      </a:lnTo>
                      <a:lnTo>
                        <a:pt x="465791" y="634469"/>
                      </a:lnTo>
                      <a:lnTo>
                        <a:pt x="465682" y="634699"/>
                      </a:lnTo>
                      <a:lnTo>
                        <a:pt x="462500" y="639119"/>
                      </a:lnTo>
                      <a:lnTo>
                        <a:pt x="462148" y="639617"/>
                      </a:lnTo>
                      <a:lnTo>
                        <a:pt x="461893" y="640176"/>
                      </a:lnTo>
                      <a:lnTo>
                        <a:pt x="461201" y="641730"/>
                      </a:lnTo>
                      <a:lnTo>
                        <a:pt x="460910" y="642374"/>
                      </a:lnTo>
                      <a:lnTo>
                        <a:pt x="460776" y="643066"/>
                      </a:lnTo>
                      <a:lnTo>
                        <a:pt x="458032" y="657467"/>
                      </a:lnTo>
                      <a:lnTo>
                        <a:pt x="457922" y="658026"/>
                      </a:lnTo>
                      <a:lnTo>
                        <a:pt x="457922" y="658597"/>
                      </a:lnTo>
                      <a:lnTo>
                        <a:pt x="457922" y="660552"/>
                      </a:lnTo>
                      <a:lnTo>
                        <a:pt x="457922" y="662130"/>
                      </a:lnTo>
                      <a:lnTo>
                        <a:pt x="458687" y="663515"/>
                      </a:lnTo>
                      <a:lnTo>
                        <a:pt x="458748" y="663636"/>
                      </a:lnTo>
                      <a:lnTo>
                        <a:pt x="457837" y="664364"/>
                      </a:lnTo>
                      <a:lnTo>
                        <a:pt x="457242" y="665530"/>
                      </a:lnTo>
                      <a:lnTo>
                        <a:pt x="456562" y="666866"/>
                      </a:lnTo>
                      <a:lnTo>
                        <a:pt x="455603" y="668736"/>
                      </a:lnTo>
                      <a:lnTo>
                        <a:pt x="456004" y="670800"/>
                      </a:lnTo>
                      <a:lnTo>
                        <a:pt x="456235" y="671978"/>
                      </a:lnTo>
                      <a:lnTo>
                        <a:pt x="456502" y="673362"/>
                      </a:lnTo>
                      <a:lnTo>
                        <a:pt x="457352" y="674480"/>
                      </a:lnTo>
                      <a:lnTo>
                        <a:pt x="458165" y="675548"/>
                      </a:lnTo>
                      <a:lnTo>
                        <a:pt x="458627" y="676143"/>
                      </a:lnTo>
                      <a:lnTo>
                        <a:pt x="459210" y="676617"/>
                      </a:lnTo>
                      <a:lnTo>
                        <a:pt x="459999" y="677248"/>
                      </a:lnTo>
                      <a:lnTo>
                        <a:pt x="460472" y="677625"/>
                      </a:lnTo>
                      <a:lnTo>
                        <a:pt x="461007" y="677904"/>
                      </a:lnTo>
                      <a:lnTo>
                        <a:pt x="463022" y="678936"/>
                      </a:lnTo>
                      <a:lnTo>
                        <a:pt x="465366" y="680138"/>
                      </a:lnTo>
                      <a:lnTo>
                        <a:pt x="467843" y="679252"/>
                      </a:lnTo>
                      <a:lnTo>
                        <a:pt x="472385" y="677625"/>
                      </a:lnTo>
                      <a:lnTo>
                        <a:pt x="477303" y="677795"/>
                      </a:lnTo>
                      <a:lnTo>
                        <a:pt x="480387" y="677904"/>
                      </a:lnTo>
                      <a:lnTo>
                        <a:pt x="482293" y="675475"/>
                      </a:lnTo>
                      <a:lnTo>
                        <a:pt x="483848" y="673496"/>
                      </a:lnTo>
                      <a:lnTo>
                        <a:pt x="484370" y="672828"/>
                      </a:lnTo>
                      <a:lnTo>
                        <a:pt x="484685" y="672051"/>
                      </a:lnTo>
                      <a:lnTo>
                        <a:pt x="486604" y="667340"/>
                      </a:lnTo>
                      <a:lnTo>
                        <a:pt x="487393" y="666417"/>
                      </a:lnTo>
                      <a:lnTo>
                        <a:pt x="487964" y="666162"/>
                      </a:lnTo>
                      <a:lnTo>
                        <a:pt x="496622" y="665275"/>
                      </a:lnTo>
                      <a:lnTo>
                        <a:pt x="498601" y="665069"/>
                      </a:lnTo>
                      <a:lnTo>
                        <a:pt x="500083" y="663733"/>
                      </a:lnTo>
                      <a:lnTo>
                        <a:pt x="501236" y="662689"/>
                      </a:lnTo>
                      <a:lnTo>
                        <a:pt x="503738" y="660418"/>
                      </a:lnTo>
                      <a:lnTo>
                        <a:pt x="503131" y="657091"/>
                      </a:lnTo>
                      <a:lnTo>
                        <a:pt x="502839" y="655512"/>
                      </a:lnTo>
                      <a:lnTo>
                        <a:pt x="502645" y="654468"/>
                      </a:lnTo>
                      <a:lnTo>
                        <a:pt x="503021" y="654565"/>
                      </a:lnTo>
                      <a:lnTo>
                        <a:pt x="503993" y="654820"/>
                      </a:lnTo>
                      <a:lnTo>
                        <a:pt x="505000" y="654747"/>
                      </a:lnTo>
                      <a:lnTo>
                        <a:pt x="508109" y="654517"/>
                      </a:lnTo>
                      <a:lnTo>
                        <a:pt x="509712" y="654407"/>
                      </a:lnTo>
                      <a:lnTo>
                        <a:pt x="511048" y="653509"/>
                      </a:lnTo>
                      <a:lnTo>
                        <a:pt x="512165" y="652756"/>
                      </a:lnTo>
                      <a:lnTo>
                        <a:pt x="512493" y="653241"/>
                      </a:lnTo>
                      <a:lnTo>
                        <a:pt x="515298" y="653509"/>
                      </a:lnTo>
                      <a:lnTo>
                        <a:pt x="517314" y="653703"/>
                      </a:lnTo>
                      <a:lnTo>
                        <a:pt x="520034" y="653958"/>
                      </a:lnTo>
                      <a:lnTo>
                        <a:pt x="520956" y="653096"/>
                      </a:lnTo>
                      <a:lnTo>
                        <a:pt x="521588" y="653436"/>
                      </a:lnTo>
                      <a:lnTo>
                        <a:pt x="522790" y="654092"/>
                      </a:lnTo>
                      <a:lnTo>
                        <a:pt x="524623" y="655099"/>
                      </a:lnTo>
                      <a:lnTo>
                        <a:pt x="526688" y="654759"/>
                      </a:lnTo>
                      <a:lnTo>
                        <a:pt x="527368" y="654650"/>
                      </a:lnTo>
                      <a:lnTo>
                        <a:pt x="528861" y="654407"/>
                      </a:lnTo>
                      <a:lnTo>
                        <a:pt x="530064" y="653484"/>
                      </a:lnTo>
                      <a:lnTo>
                        <a:pt x="530938" y="652829"/>
                      </a:lnTo>
                      <a:lnTo>
                        <a:pt x="531569" y="652343"/>
                      </a:lnTo>
                      <a:lnTo>
                        <a:pt x="532067" y="651712"/>
                      </a:lnTo>
                      <a:lnTo>
                        <a:pt x="532565" y="651068"/>
                      </a:lnTo>
                      <a:lnTo>
                        <a:pt x="534180" y="651347"/>
                      </a:lnTo>
                      <a:lnTo>
                        <a:pt x="537179" y="651881"/>
                      </a:lnTo>
                      <a:lnTo>
                        <a:pt x="539402" y="649793"/>
                      </a:lnTo>
                      <a:lnTo>
                        <a:pt x="543858" y="645604"/>
                      </a:lnTo>
                      <a:lnTo>
                        <a:pt x="544344" y="645300"/>
                      </a:lnTo>
                      <a:lnTo>
                        <a:pt x="544878" y="645276"/>
                      </a:lnTo>
                      <a:lnTo>
                        <a:pt x="545631" y="645033"/>
                      </a:lnTo>
                      <a:lnTo>
                        <a:pt x="546942" y="644620"/>
                      </a:lnTo>
                      <a:lnTo>
                        <a:pt x="547440" y="644462"/>
                      </a:lnTo>
                      <a:lnTo>
                        <a:pt x="547902" y="644219"/>
                      </a:lnTo>
                      <a:lnTo>
                        <a:pt x="549456" y="643418"/>
                      </a:lnTo>
                      <a:lnTo>
                        <a:pt x="549942" y="643163"/>
                      </a:lnTo>
                      <a:lnTo>
                        <a:pt x="550367" y="642835"/>
                      </a:lnTo>
                      <a:lnTo>
                        <a:pt x="551374" y="642070"/>
                      </a:lnTo>
                      <a:lnTo>
                        <a:pt x="557009" y="640929"/>
                      </a:lnTo>
                      <a:lnTo>
                        <a:pt x="557932" y="640734"/>
                      </a:lnTo>
                      <a:lnTo>
                        <a:pt x="558757" y="640273"/>
                      </a:lnTo>
                      <a:lnTo>
                        <a:pt x="560130" y="639508"/>
                      </a:lnTo>
                      <a:lnTo>
                        <a:pt x="560943" y="639059"/>
                      </a:lnTo>
                      <a:lnTo>
                        <a:pt x="561587" y="638379"/>
                      </a:lnTo>
                      <a:lnTo>
                        <a:pt x="564768" y="635027"/>
                      </a:lnTo>
                      <a:lnTo>
                        <a:pt x="566553" y="635707"/>
                      </a:lnTo>
                      <a:lnTo>
                        <a:pt x="568496" y="636460"/>
                      </a:lnTo>
                      <a:lnTo>
                        <a:pt x="570487" y="635853"/>
                      </a:lnTo>
                      <a:lnTo>
                        <a:pt x="572503" y="635246"/>
                      </a:lnTo>
                      <a:lnTo>
                        <a:pt x="574130" y="634748"/>
                      </a:lnTo>
                      <a:lnTo>
                        <a:pt x="575272" y="633473"/>
                      </a:lnTo>
                      <a:lnTo>
                        <a:pt x="577093" y="631433"/>
                      </a:lnTo>
                      <a:lnTo>
                        <a:pt x="577822" y="630619"/>
                      </a:lnTo>
                      <a:lnTo>
                        <a:pt x="578222" y="629611"/>
                      </a:lnTo>
                      <a:lnTo>
                        <a:pt x="579643" y="625981"/>
                      </a:lnTo>
                      <a:lnTo>
                        <a:pt x="580020" y="625495"/>
                      </a:lnTo>
                      <a:lnTo>
                        <a:pt x="581841" y="623103"/>
                      </a:lnTo>
                      <a:lnTo>
                        <a:pt x="584464" y="621864"/>
                      </a:lnTo>
                      <a:lnTo>
                        <a:pt x="588410" y="620006"/>
                      </a:lnTo>
                      <a:lnTo>
                        <a:pt x="587900" y="615671"/>
                      </a:lnTo>
                      <a:lnTo>
                        <a:pt x="587390" y="611203"/>
                      </a:lnTo>
                      <a:lnTo>
                        <a:pt x="587257" y="610073"/>
                      </a:lnTo>
                      <a:lnTo>
                        <a:pt x="586723" y="609065"/>
                      </a:lnTo>
                      <a:lnTo>
                        <a:pt x="584209" y="604330"/>
                      </a:lnTo>
                      <a:lnTo>
                        <a:pt x="582788" y="600517"/>
                      </a:lnTo>
                      <a:lnTo>
                        <a:pt x="582351" y="599351"/>
                      </a:lnTo>
                      <a:lnTo>
                        <a:pt x="581501" y="598453"/>
                      </a:lnTo>
                      <a:lnTo>
                        <a:pt x="580105" y="596983"/>
                      </a:lnTo>
                      <a:lnTo>
                        <a:pt x="586334" y="600918"/>
                      </a:lnTo>
                      <a:lnTo>
                        <a:pt x="583007" y="586528"/>
                      </a:lnTo>
                      <a:lnTo>
                        <a:pt x="581598" y="580433"/>
                      </a:lnTo>
                      <a:lnTo>
                        <a:pt x="581538" y="577579"/>
                      </a:lnTo>
                      <a:lnTo>
                        <a:pt x="581805" y="577130"/>
                      </a:lnTo>
                      <a:lnTo>
                        <a:pt x="585751" y="575660"/>
                      </a:lnTo>
                      <a:lnTo>
                        <a:pt x="593559" y="572758"/>
                      </a:lnTo>
                      <a:lnTo>
                        <a:pt x="588398" y="566213"/>
                      </a:lnTo>
                      <a:lnTo>
                        <a:pt x="586504" y="563809"/>
                      </a:lnTo>
                      <a:lnTo>
                        <a:pt x="586431" y="563712"/>
                      </a:lnTo>
                      <a:lnTo>
                        <a:pt x="586553" y="563457"/>
                      </a:lnTo>
                      <a:lnTo>
                        <a:pt x="586880" y="562728"/>
                      </a:lnTo>
                      <a:lnTo>
                        <a:pt x="594178" y="560360"/>
                      </a:lnTo>
                      <a:lnTo>
                        <a:pt x="588228" y="553439"/>
                      </a:lnTo>
                      <a:lnTo>
                        <a:pt x="586395" y="551314"/>
                      </a:lnTo>
                      <a:lnTo>
                        <a:pt x="584901" y="549577"/>
                      </a:lnTo>
                      <a:lnTo>
                        <a:pt x="582630" y="549262"/>
                      </a:lnTo>
                      <a:lnTo>
                        <a:pt x="580445" y="548958"/>
                      </a:lnTo>
                      <a:lnTo>
                        <a:pt x="580445" y="548824"/>
                      </a:lnTo>
                      <a:lnTo>
                        <a:pt x="580457" y="548351"/>
                      </a:lnTo>
                      <a:lnTo>
                        <a:pt x="580408" y="547889"/>
                      </a:lnTo>
                      <a:lnTo>
                        <a:pt x="580117" y="545339"/>
                      </a:lnTo>
                      <a:lnTo>
                        <a:pt x="579838" y="542899"/>
                      </a:lnTo>
                      <a:lnTo>
                        <a:pt x="577943" y="541344"/>
                      </a:lnTo>
                      <a:lnTo>
                        <a:pt x="576741" y="540349"/>
                      </a:lnTo>
                      <a:lnTo>
                        <a:pt x="576923" y="539414"/>
                      </a:lnTo>
                      <a:lnTo>
                        <a:pt x="581380" y="529286"/>
                      </a:lnTo>
                      <a:lnTo>
                        <a:pt x="585557" y="519778"/>
                      </a:lnTo>
                      <a:lnTo>
                        <a:pt x="576717" y="520653"/>
                      </a:lnTo>
                      <a:lnTo>
                        <a:pt x="576778" y="519487"/>
                      </a:lnTo>
                      <a:lnTo>
                        <a:pt x="576340" y="518321"/>
                      </a:lnTo>
                      <a:lnTo>
                        <a:pt x="575648" y="516427"/>
                      </a:lnTo>
                      <a:lnTo>
                        <a:pt x="574276" y="512675"/>
                      </a:lnTo>
                      <a:lnTo>
                        <a:pt x="570281" y="512456"/>
                      </a:lnTo>
                      <a:lnTo>
                        <a:pt x="568557" y="512359"/>
                      </a:lnTo>
                      <a:lnTo>
                        <a:pt x="567318" y="512286"/>
                      </a:lnTo>
                      <a:lnTo>
                        <a:pt x="566857" y="512456"/>
                      </a:lnTo>
                      <a:lnTo>
                        <a:pt x="566845" y="512226"/>
                      </a:lnTo>
                      <a:lnTo>
                        <a:pt x="566602" y="511473"/>
                      </a:lnTo>
                      <a:lnTo>
                        <a:pt x="566262" y="510404"/>
                      </a:lnTo>
                      <a:lnTo>
                        <a:pt x="565533" y="508097"/>
                      </a:lnTo>
                      <a:lnTo>
                        <a:pt x="563420" y="506919"/>
                      </a:lnTo>
                      <a:lnTo>
                        <a:pt x="561975" y="506118"/>
                      </a:lnTo>
                      <a:lnTo>
                        <a:pt x="559644" y="504830"/>
                      </a:lnTo>
                      <a:lnTo>
                        <a:pt x="558891" y="505086"/>
                      </a:lnTo>
                      <a:lnTo>
                        <a:pt x="558745" y="504078"/>
                      </a:lnTo>
                      <a:lnTo>
                        <a:pt x="555600" y="502754"/>
                      </a:lnTo>
                      <a:lnTo>
                        <a:pt x="553074" y="501686"/>
                      </a:lnTo>
                      <a:lnTo>
                        <a:pt x="552637" y="501503"/>
                      </a:lnTo>
                      <a:lnTo>
                        <a:pt x="552176" y="501394"/>
                      </a:lnTo>
                      <a:lnTo>
                        <a:pt x="551423" y="501200"/>
                      </a:lnTo>
                      <a:lnTo>
                        <a:pt x="551253" y="501066"/>
                      </a:lnTo>
                      <a:lnTo>
                        <a:pt x="550439" y="500046"/>
                      </a:lnTo>
                      <a:lnTo>
                        <a:pt x="549201" y="497982"/>
                      </a:lnTo>
                      <a:lnTo>
                        <a:pt x="547051" y="494400"/>
                      </a:lnTo>
                      <a:lnTo>
                        <a:pt x="542935" y="495128"/>
                      </a:lnTo>
                      <a:lnTo>
                        <a:pt x="532091" y="497047"/>
                      </a:lnTo>
                      <a:lnTo>
                        <a:pt x="531496" y="497156"/>
                      </a:lnTo>
                      <a:lnTo>
                        <a:pt x="530926" y="497375"/>
                      </a:lnTo>
                      <a:lnTo>
                        <a:pt x="528679" y="498261"/>
                      </a:lnTo>
                      <a:lnTo>
                        <a:pt x="528303" y="498407"/>
                      </a:lnTo>
                      <a:lnTo>
                        <a:pt x="527951" y="498601"/>
                      </a:lnTo>
                      <a:lnTo>
                        <a:pt x="524842" y="500326"/>
                      </a:lnTo>
                      <a:lnTo>
                        <a:pt x="524162" y="500702"/>
                      </a:lnTo>
                      <a:lnTo>
                        <a:pt x="523603" y="501236"/>
                      </a:lnTo>
                      <a:lnTo>
                        <a:pt x="520799" y="503908"/>
                      </a:lnTo>
                      <a:lnTo>
                        <a:pt x="519936" y="504733"/>
                      </a:lnTo>
                      <a:lnTo>
                        <a:pt x="519439" y="505826"/>
                      </a:lnTo>
                      <a:lnTo>
                        <a:pt x="518807" y="507235"/>
                      </a:lnTo>
                      <a:lnTo>
                        <a:pt x="517726" y="509651"/>
                      </a:lnTo>
                      <a:lnTo>
                        <a:pt x="518759" y="512080"/>
                      </a:lnTo>
                      <a:lnTo>
                        <a:pt x="518904" y="512420"/>
                      </a:lnTo>
                      <a:lnTo>
                        <a:pt x="513877" y="510647"/>
                      </a:lnTo>
                      <a:lnTo>
                        <a:pt x="511631" y="509141"/>
                      </a:lnTo>
                      <a:lnTo>
                        <a:pt x="507077" y="506664"/>
                      </a:lnTo>
                      <a:lnTo>
                        <a:pt x="505523" y="505547"/>
                      </a:lnTo>
                      <a:lnTo>
                        <a:pt x="505086" y="505073"/>
                      </a:lnTo>
                      <a:lnTo>
                        <a:pt x="504964" y="504843"/>
                      </a:lnTo>
                      <a:lnTo>
                        <a:pt x="503228" y="499633"/>
                      </a:lnTo>
                      <a:lnTo>
                        <a:pt x="503094" y="499221"/>
                      </a:lnTo>
                      <a:lnTo>
                        <a:pt x="502900" y="498844"/>
                      </a:lnTo>
                      <a:lnTo>
                        <a:pt x="502268" y="497581"/>
                      </a:lnTo>
                      <a:lnTo>
                        <a:pt x="501831" y="496707"/>
                      </a:lnTo>
                      <a:lnTo>
                        <a:pt x="501151" y="496015"/>
                      </a:lnTo>
                      <a:lnTo>
                        <a:pt x="500240" y="495092"/>
                      </a:lnTo>
                      <a:lnTo>
                        <a:pt x="499512" y="494351"/>
                      </a:lnTo>
                      <a:lnTo>
                        <a:pt x="498589" y="493890"/>
                      </a:lnTo>
                      <a:lnTo>
                        <a:pt x="485900" y="487685"/>
                      </a:lnTo>
                      <a:lnTo>
                        <a:pt x="484928" y="487211"/>
                      </a:lnTo>
                      <a:lnTo>
                        <a:pt x="483860" y="487102"/>
                      </a:lnTo>
                      <a:lnTo>
                        <a:pt x="482767" y="486993"/>
                      </a:lnTo>
                      <a:lnTo>
                        <a:pt x="481686" y="486883"/>
                      </a:lnTo>
                      <a:lnTo>
                        <a:pt x="480630" y="487150"/>
                      </a:lnTo>
                      <a:lnTo>
                        <a:pt x="479415" y="487466"/>
                      </a:lnTo>
                      <a:lnTo>
                        <a:pt x="477084" y="488061"/>
                      </a:lnTo>
                      <a:lnTo>
                        <a:pt x="475809" y="490089"/>
                      </a:lnTo>
                      <a:lnTo>
                        <a:pt x="474716" y="491813"/>
                      </a:lnTo>
                      <a:lnTo>
                        <a:pt x="474194" y="492627"/>
                      </a:lnTo>
                      <a:lnTo>
                        <a:pt x="464747" y="493355"/>
                      </a:lnTo>
                      <a:lnTo>
                        <a:pt x="464176" y="493392"/>
                      </a:lnTo>
                      <a:lnTo>
                        <a:pt x="463630" y="493550"/>
                      </a:lnTo>
                      <a:lnTo>
                        <a:pt x="462755" y="493793"/>
                      </a:lnTo>
                      <a:lnTo>
                        <a:pt x="462184" y="492845"/>
                      </a:lnTo>
                      <a:lnTo>
                        <a:pt x="461930" y="492408"/>
                      </a:lnTo>
                      <a:lnTo>
                        <a:pt x="461602" y="492020"/>
                      </a:lnTo>
                      <a:lnTo>
                        <a:pt x="460582" y="490842"/>
                      </a:lnTo>
                      <a:lnTo>
                        <a:pt x="460302" y="490526"/>
                      </a:lnTo>
                      <a:lnTo>
                        <a:pt x="459987" y="490247"/>
                      </a:lnTo>
                      <a:lnTo>
                        <a:pt x="458870" y="489275"/>
                      </a:lnTo>
                      <a:lnTo>
                        <a:pt x="460157" y="488061"/>
                      </a:lnTo>
                      <a:lnTo>
                        <a:pt x="460934" y="487320"/>
                      </a:lnTo>
                      <a:lnTo>
                        <a:pt x="461420" y="486361"/>
                      </a:lnTo>
                      <a:lnTo>
                        <a:pt x="462561" y="484078"/>
                      </a:lnTo>
                      <a:lnTo>
                        <a:pt x="465038" y="483714"/>
                      </a:lnTo>
                      <a:lnTo>
                        <a:pt x="465354" y="483665"/>
                      </a:lnTo>
                      <a:lnTo>
                        <a:pt x="465670" y="483580"/>
                      </a:lnTo>
                      <a:lnTo>
                        <a:pt x="467345" y="483143"/>
                      </a:lnTo>
                      <a:lnTo>
                        <a:pt x="468912" y="482730"/>
                      </a:lnTo>
                      <a:lnTo>
                        <a:pt x="470065" y="481601"/>
                      </a:lnTo>
                      <a:lnTo>
                        <a:pt x="471158" y="480520"/>
                      </a:lnTo>
                      <a:lnTo>
                        <a:pt x="472700" y="479002"/>
                      </a:lnTo>
                      <a:lnTo>
                        <a:pt x="472943" y="476853"/>
                      </a:lnTo>
                      <a:lnTo>
                        <a:pt x="473271" y="473854"/>
                      </a:lnTo>
                      <a:lnTo>
                        <a:pt x="475311" y="472081"/>
                      </a:lnTo>
                      <a:lnTo>
                        <a:pt x="476003" y="471474"/>
                      </a:lnTo>
                      <a:lnTo>
                        <a:pt x="476489" y="470685"/>
                      </a:lnTo>
                      <a:lnTo>
                        <a:pt x="477922" y="468353"/>
                      </a:lnTo>
                      <a:lnTo>
                        <a:pt x="479209" y="466253"/>
                      </a:lnTo>
                      <a:lnTo>
                        <a:pt x="478675" y="463848"/>
                      </a:lnTo>
                      <a:lnTo>
                        <a:pt x="478152" y="461505"/>
                      </a:lnTo>
                      <a:lnTo>
                        <a:pt x="477970" y="460703"/>
                      </a:lnTo>
                      <a:lnTo>
                        <a:pt x="477594" y="459974"/>
                      </a:lnTo>
                      <a:lnTo>
                        <a:pt x="476865" y="458614"/>
                      </a:lnTo>
                      <a:lnTo>
                        <a:pt x="477011" y="456635"/>
                      </a:lnTo>
                      <a:lnTo>
                        <a:pt x="477035" y="456210"/>
                      </a:lnTo>
                      <a:lnTo>
                        <a:pt x="477011" y="455785"/>
                      </a:lnTo>
                      <a:lnTo>
                        <a:pt x="476355" y="445670"/>
                      </a:lnTo>
                      <a:lnTo>
                        <a:pt x="476501" y="443497"/>
                      </a:lnTo>
                      <a:lnTo>
                        <a:pt x="476562" y="443023"/>
                      </a:lnTo>
                      <a:lnTo>
                        <a:pt x="476890" y="442452"/>
                      </a:lnTo>
                      <a:lnTo>
                        <a:pt x="477606" y="441772"/>
                      </a:lnTo>
                      <a:lnTo>
                        <a:pt x="480921" y="440060"/>
                      </a:lnTo>
                      <a:lnTo>
                        <a:pt x="484139" y="439040"/>
                      </a:lnTo>
                      <a:lnTo>
                        <a:pt x="489154" y="439234"/>
                      </a:lnTo>
                      <a:lnTo>
                        <a:pt x="491388" y="439319"/>
                      </a:lnTo>
                      <a:lnTo>
                        <a:pt x="493149" y="437935"/>
                      </a:lnTo>
                      <a:lnTo>
                        <a:pt x="496610" y="435203"/>
                      </a:lnTo>
                      <a:lnTo>
                        <a:pt x="497375" y="434596"/>
                      </a:lnTo>
                      <a:lnTo>
                        <a:pt x="497897" y="433806"/>
                      </a:lnTo>
                      <a:lnTo>
                        <a:pt x="503689" y="435361"/>
                      </a:lnTo>
                      <a:lnTo>
                        <a:pt x="505790" y="436235"/>
                      </a:lnTo>
                      <a:lnTo>
                        <a:pt x="508826" y="437194"/>
                      </a:lnTo>
                      <a:lnTo>
                        <a:pt x="509542" y="437413"/>
                      </a:lnTo>
                      <a:lnTo>
                        <a:pt x="510283" y="437449"/>
                      </a:lnTo>
                      <a:lnTo>
                        <a:pt x="511424" y="437510"/>
                      </a:lnTo>
                      <a:lnTo>
                        <a:pt x="512651" y="437571"/>
                      </a:lnTo>
                      <a:lnTo>
                        <a:pt x="513792" y="437158"/>
                      </a:lnTo>
                      <a:lnTo>
                        <a:pt x="522341" y="434086"/>
                      </a:lnTo>
                      <a:lnTo>
                        <a:pt x="524490" y="433309"/>
                      </a:lnTo>
                      <a:lnTo>
                        <a:pt x="525595" y="431305"/>
                      </a:lnTo>
                      <a:lnTo>
                        <a:pt x="527720" y="427456"/>
                      </a:lnTo>
                      <a:lnTo>
                        <a:pt x="528813" y="425950"/>
                      </a:lnTo>
                      <a:lnTo>
                        <a:pt x="529833" y="424541"/>
                      </a:lnTo>
                      <a:lnTo>
                        <a:pt x="529954" y="422805"/>
                      </a:lnTo>
                      <a:lnTo>
                        <a:pt x="530076" y="421105"/>
                      </a:lnTo>
                      <a:lnTo>
                        <a:pt x="530173" y="419818"/>
                      </a:lnTo>
                      <a:lnTo>
                        <a:pt x="529724" y="418603"/>
                      </a:lnTo>
                      <a:lnTo>
                        <a:pt x="529031" y="416721"/>
                      </a:lnTo>
                      <a:lnTo>
                        <a:pt x="528849" y="416211"/>
                      </a:lnTo>
                      <a:lnTo>
                        <a:pt x="528582" y="415750"/>
                      </a:lnTo>
                      <a:lnTo>
                        <a:pt x="527210" y="413382"/>
                      </a:lnTo>
                      <a:lnTo>
                        <a:pt x="526882" y="412823"/>
                      </a:lnTo>
                      <a:lnTo>
                        <a:pt x="526433" y="412338"/>
                      </a:lnTo>
                      <a:lnTo>
                        <a:pt x="525061" y="410844"/>
                      </a:lnTo>
                      <a:lnTo>
                        <a:pt x="524781" y="410541"/>
                      </a:lnTo>
                      <a:lnTo>
                        <a:pt x="524466" y="410274"/>
                      </a:lnTo>
                      <a:lnTo>
                        <a:pt x="523179" y="409205"/>
                      </a:lnTo>
                      <a:lnTo>
                        <a:pt x="523506" y="408634"/>
                      </a:lnTo>
                      <a:lnTo>
                        <a:pt x="524587" y="406740"/>
                      </a:lnTo>
                      <a:lnTo>
                        <a:pt x="526384" y="403595"/>
                      </a:lnTo>
                      <a:lnTo>
                        <a:pt x="524478" y="400523"/>
                      </a:lnTo>
                      <a:lnTo>
                        <a:pt x="519948" y="393237"/>
                      </a:lnTo>
                      <a:lnTo>
                        <a:pt x="516221" y="381094"/>
                      </a:lnTo>
                      <a:lnTo>
                        <a:pt x="515796" y="379698"/>
                      </a:lnTo>
                      <a:lnTo>
                        <a:pt x="514934" y="378799"/>
                      </a:lnTo>
                      <a:lnTo>
                        <a:pt x="515128" y="377718"/>
                      </a:lnTo>
                      <a:lnTo>
                        <a:pt x="515261" y="376978"/>
                      </a:lnTo>
                      <a:lnTo>
                        <a:pt x="515213" y="376225"/>
                      </a:lnTo>
                      <a:lnTo>
                        <a:pt x="513294" y="346972"/>
                      </a:lnTo>
                      <a:lnTo>
                        <a:pt x="514545" y="345394"/>
                      </a:lnTo>
                      <a:lnTo>
                        <a:pt x="515079" y="344726"/>
                      </a:lnTo>
                      <a:lnTo>
                        <a:pt x="515407" y="343937"/>
                      </a:lnTo>
                      <a:lnTo>
                        <a:pt x="516391" y="341545"/>
                      </a:lnTo>
                      <a:lnTo>
                        <a:pt x="517301" y="339347"/>
                      </a:lnTo>
                      <a:lnTo>
                        <a:pt x="516463" y="337112"/>
                      </a:lnTo>
                      <a:lnTo>
                        <a:pt x="515662" y="334963"/>
                      </a:lnTo>
                      <a:lnTo>
                        <a:pt x="515371" y="334186"/>
                      </a:lnTo>
                      <a:lnTo>
                        <a:pt x="514873" y="333506"/>
                      </a:lnTo>
                      <a:lnTo>
                        <a:pt x="513877" y="332146"/>
                      </a:lnTo>
                      <a:lnTo>
                        <a:pt x="513816" y="331976"/>
                      </a:lnTo>
                      <a:lnTo>
                        <a:pt x="513646" y="327507"/>
                      </a:lnTo>
                      <a:lnTo>
                        <a:pt x="513658" y="327362"/>
                      </a:lnTo>
                      <a:lnTo>
                        <a:pt x="513695" y="327289"/>
                      </a:lnTo>
                      <a:lnTo>
                        <a:pt x="514399" y="326524"/>
                      </a:lnTo>
                      <a:lnTo>
                        <a:pt x="514909" y="325965"/>
                      </a:lnTo>
                      <a:lnTo>
                        <a:pt x="515261" y="325309"/>
                      </a:lnTo>
                      <a:lnTo>
                        <a:pt x="516123" y="323706"/>
                      </a:lnTo>
                      <a:lnTo>
                        <a:pt x="517083" y="321934"/>
                      </a:lnTo>
                      <a:lnTo>
                        <a:pt x="516791" y="319942"/>
                      </a:lnTo>
                      <a:lnTo>
                        <a:pt x="516439" y="317574"/>
                      </a:lnTo>
                      <a:lnTo>
                        <a:pt x="516063" y="315024"/>
                      </a:lnTo>
                      <a:lnTo>
                        <a:pt x="513962" y="313519"/>
                      </a:lnTo>
                      <a:lnTo>
                        <a:pt x="510683" y="311175"/>
                      </a:lnTo>
                      <a:lnTo>
                        <a:pt x="509166" y="310094"/>
                      </a:lnTo>
                      <a:lnTo>
                        <a:pt x="508413" y="310082"/>
                      </a:lnTo>
                      <a:lnTo>
                        <a:pt x="509931" y="308212"/>
                      </a:lnTo>
                      <a:lnTo>
                        <a:pt x="513683" y="303598"/>
                      </a:lnTo>
                      <a:lnTo>
                        <a:pt x="509141" y="299761"/>
                      </a:lnTo>
                      <a:lnTo>
                        <a:pt x="506336" y="297381"/>
                      </a:lnTo>
                      <a:lnTo>
                        <a:pt x="504296" y="295656"/>
                      </a:lnTo>
                      <a:lnTo>
                        <a:pt x="502317" y="295911"/>
                      </a:lnTo>
                      <a:lnTo>
                        <a:pt x="502317" y="295899"/>
                      </a:lnTo>
                      <a:lnTo>
                        <a:pt x="502402" y="294952"/>
                      </a:lnTo>
                      <a:lnTo>
                        <a:pt x="502183" y="294029"/>
                      </a:lnTo>
                      <a:lnTo>
                        <a:pt x="501783" y="292281"/>
                      </a:lnTo>
                      <a:lnTo>
                        <a:pt x="501503" y="291054"/>
                      </a:lnTo>
                      <a:lnTo>
                        <a:pt x="501151" y="290581"/>
                      </a:lnTo>
                      <a:lnTo>
                        <a:pt x="502232" y="290192"/>
                      </a:lnTo>
                      <a:lnTo>
                        <a:pt x="503920" y="289585"/>
                      </a:lnTo>
                      <a:lnTo>
                        <a:pt x="505000" y="288152"/>
                      </a:lnTo>
                      <a:lnTo>
                        <a:pt x="506215" y="286549"/>
                      </a:lnTo>
                      <a:lnTo>
                        <a:pt x="508097" y="284060"/>
                      </a:lnTo>
                      <a:lnTo>
                        <a:pt x="507174" y="281073"/>
                      </a:lnTo>
                      <a:lnTo>
                        <a:pt x="506421" y="278656"/>
                      </a:lnTo>
                      <a:lnTo>
                        <a:pt x="506227" y="278037"/>
                      </a:lnTo>
                      <a:lnTo>
                        <a:pt x="505911" y="277478"/>
                      </a:lnTo>
                      <a:lnTo>
                        <a:pt x="505171" y="276179"/>
                      </a:lnTo>
                      <a:lnTo>
                        <a:pt x="505826" y="274588"/>
                      </a:lnTo>
                      <a:lnTo>
                        <a:pt x="506652" y="272585"/>
                      </a:lnTo>
                      <a:lnTo>
                        <a:pt x="506020" y="270508"/>
                      </a:lnTo>
                      <a:lnTo>
                        <a:pt x="505984" y="270387"/>
                      </a:lnTo>
                      <a:lnTo>
                        <a:pt x="508279" y="268116"/>
                      </a:lnTo>
                      <a:lnTo>
                        <a:pt x="510926" y="265493"/>
                      </a:lnTo>
                      <a:lnTo>
                        <a:pt x="509918" y="262360"/>
                      </a:lnTo>
                      <a:lnTo>
                        <a:pt x="510489" y="262008"/>
                      </a:lnTo>
                      <a:lnTo>
                        <a:pt x="510999" y="261498"/>
                      </a:lnTo>
                      <a:lnTo>
                        <a:pt x="512736" y="259750"/>
                      </a:lnTo>
                      <a:lnTo>
                        <a:pt x="513719" y="258754"/>
                      </a:lnTo>
                      <a:lnTo>
                        <a:pt x="514168" y="257442"/>
                      </a:lnTo>
                      <a:lnTo>
                        <a:pt x="514921" y="255281"/>
                      </a:lnTo>
                      <a:lnTo>
                        <a:pt x="515553" y="253435"/>
                      </a:lnTo>
                      <a:lnTo>
                        <a:pt x="514994" y="251565"/>
                      </a:lnTo>
                      <a:lnTo>
                        <a:pt x="514921" y="251322"/>
                      </a:lnTo>
                      <a:lnTo>
                        <a:pt x="515213" y="251213"/>
                      </a:lnTo>
                      <a:lnTo>
                        <a:pt x="517386" y="250375"/>
                      </a:lnTo>
                      <a:lnTo>
                        <a:pt x="518443" y="248299"/>
                      </a:lnTo>
                      <a:lnTo>
                        <a:pt x="521891" y="241523"/>
                      </a:lnTo>
                      <a:lnTo>
                        <a:pt x="522243" y="240819"/>
                      </a:lnTo>
                      <a:lnTo>
                        <a:pt x="522414" y="240054"/>
                      </a:lnTo>
                      <a:lnTo>
                        <a:pt x="527866" y="214772"/>
                      </a:lnTo>
                      <a:lnTo>
                        <a:pt x="529748" y="208980"/>
                      </a:lnTo>
                      <a:lnTo>
                        <a:pt x="530537" y="207438"/>
                      </a:lnTo>
                      <a:lnTo>
                        <a:pt x="531290" y="206879"/>
                      </a:lnTo>
                      <a:lnTo>
                        <a:pt x="531654" y="206612"/>
                      </a:lnTo>
                      <a:lnTo>
                        <a:pt x="531970" y="206296"/>
                      </a:lnTo>
                      <a:lnTo>
                        <a:pt x="538976" y="199290"/>
                      </a:lnTo>
                      <a:lnTo>
                        <a:pt x="539826" y="198440"/>
                      </a:lnTo>
                      <a:lnTo>
                        <a:pt x="540288" y="197335"/>
                      </a:lnTo>
                      <a:lnTo>
                        <a:pt x="540458" y="196922"/>
                      </a:lnTo>
                      <a:lnTo>
                        <a:pt x="540677" y="196861"/>
                      </a:lnTo>
                      <a:lnTo>
                        <a:pt x="541478" y="196643"/>
                      </a:lnTo>
                      <a:lnTo>
                        <a:pt x="542158" y="196801"/>
                      </a:lnTo>
                      <a:lnTo>
                        <a:pt x="543809" y="196218"/>
                      </a:lnTo>
                      <a:lnTo>
                        <a:pt x="547537" y="194906"/>
                      </a:lnTo>
                      <a:lnTo>
                        <a:pt x="548363" y="190790"/>
                      </a:lnTo>
                      <a:lnTo>
                        <a:pt x="548424" y="189952"/>
                      </a:lnTo>
                      <a:lnTo>
                        <a:pt x="549456" y="189563"/>
                      </a:lnTo>
                      <a:lnTo>
                        <a:pt x="550342" y="188738"/>
                      </a:lnTo>
                      <a:lnTo>
                        <a:pt x="555649" y="183783"/>
                      </a:lnTo>
                      <a:lnTo>
                        <a:pt x="561174" y="180748"/>
                      </a:lnTo>
                      <a:lnTo>
                        <a:pt x="564052" y="179169"/>
                      </a:lnTo>
                      <a:lnTo>
                        <a:pt x="564307" y="175890"/>
                      </a:lnTo>
                      <a:lnTo>
                        <a:pt x="564635" y="171701"/>
                      </a:lnTo>
                      <a:lnTo>
                        <a:pt x="564744" y="171556"/>
                      </a:lnTo>
                      <a:lnTo>
                        <a:pt x="569674" y="167743"/>
                      </a:lnTo>
                      <a:lnTo>
                        <a:pt x="569953" y="167512"/>
                      </a:lnTo>
                      <a:lnTo>
                        <a:pt x="570208" y="167257"/>
                      </a:lnTo>
                      <a:lnTo>
                        <a:pt x="582157" y="155478"/>
                      </a:lnTo>
                      <a:lnTo>
                        <a:pt x="589710" y="149747"/>
                      </a:lnTo>
                      <a:lnTo>
                        <a:pt x="590025" y="149504"/>
                      </a:lnTo>
                      <a:lnTo>
                        <a:pt x="590317" y="149225"/>
                      </a:lnTo>
                      <a:lnTo>
                        <a:pt x="593826" y="145740"/>
                      </a:lnTo>
                      <a:lnTo>
                        <a:pt x="594931" y="144635"/>
                      </a:lnTo>
                      <a:lnTo>
                        <a:pt x="595368" y="143129"/>
                      </a:lnTo>
                      <a:lnTo>
                        <a:pt x="598173" y="133487"/>
                      </a:lnTo>
                      <a:lnTo>
                        <a:pt x="598368" y="132832"/>
                      </a:lnTo>
                      <a:lnTo>
                        <a:pt x="598404" y="132152"/>
                      </a:lnTo>
                      <a:lnTo>
                        <a:pt x="598975" y="122814"/>
                      </a:lnTo>
                      <a:lnTo>
                        <a:pt x="599011" y="122231"/>
                      </a:lnTo>
                      <a:lnTo>
                        <a:pt x="598938" y="121648"/>
                      </a:lnTo>
                      <a:lnTo>
                        <a:pt x="598659" y="119559"/>
                      </a:lnTo>
                      <a:lnTo>
                        <a:pt x="598489" y="118260"/>
                      </a:lnTo>
                      <a:lnTo>
                        <a:pt x="597785" y="117143"/>
                      </a:lnTo>
                      <a:lnTo>
                        <a:pt x="594530" y="111958"/>
                      </a:lnTo>
                      <a:lnTo>
                        <a:pt x="592126" y="113221"/>
                      </a:lnTo>
                      <a:lnTo>
                        <a:pt x="587147" y="110622"/>
                      </a:lnTo>
                      <a:lnTo>
                        <a:pt x="583043" y="106821"/>
                      </a:lnTo>
                      <a:lnTo>
                        <a:pt x="581246" y="105158"/>
                      </a:lnTo>
                      <a:lnTo>
                        <a:pt x="578805" y="105206"/>
                      </a:lnTo>
                      <a:lnTo>
                        <a:pt x="575770" y="105267"/>
                      </a:lnTo>
                      <a:lnTo>
                        <a:pt x="574531" y="105291"/>
                      </a:lnTo>
                      <a:lnTo>
                        <a:pt x="573875" y="105583"/>
                      </a:lnTo>
                      <a:lnTo>
                        <a:pt x="573620" y="104721"/>
                      </a:lnTo>
                      <a:lnTo>
                        <a:pt x="573256" y="103458"/>
                      </a:lnTo>
                      <a:lnTo>
                        <a:pt x="571908" y="98734"/>
                      </a:lnTo>
                      <a:lnTo>
                        <a:pt x="567002" y="99074"/>
                      </a:lnTo>
                      <a:lnTo>
                        <a:pt x="565630" y="99171"/>
                      </a:lnTo>
                      <a:lnTo>
                        <a:pt x="564125" y="99281"/>
                      </a:lnTo>
                      <a:lnTo>
                        <a:pt x="562837" y="100082"/>
                      </a:lnTo>
                      <a:lnTo>
                        <a:pt x="557118" y="103652"/>
                      </a:lnTo>
                      <a:lnTo>
                        <a:pt x="556074" y="104089"/>
                      </a:lnTo>
                      <a:lnTo>
                        <a:pt x="554750" y="102389"/>
                      </a:lnTo>
                      <a:lnTo>
                        <a:pt x="553754" y="101126"/>
                      </a:lnTo>
                      <a:lnTo>
                        <a:pt x="552273" y="100519"/>
                      </a:lnTo>
                      <a:lnTo>
                        <a:pt x="550658" y="99864"/>
                      </a:lnTo>
                      <a:lnTo>
                        <a:pt x="550039" y="99609"/>
                      </a:lnTo>
                      <a:lnTo>
                        <a:pt x="549371" y="99499"/>
                      </a:lnTo>
                      <a:lnTo>
                        <a:pt x="541150" y="98115"/>
                      </a:lnTo>
                      <a:lnTo>
                        <a:pt x="540239" y="97763"/>
                      </a:lnTo>
                      <a:lnTo>
                        <a:pt x="537859" y="96148"/>
                      </a:lnTo>
                      <a:lnTo>
                        <a:pt x="537483" y="95893"/>
                      </a:lnTo>
                      <a:lnTo>
                        <a:pt x="537070" y="95699"/>
                      </a:lnTo>
                      <a:lnTo>
                        <a:pt x="530428" y="92541"/>
                      </a:lnTo>
                      <a:lnTo>
                        <a:pt x="527574" y="91181"/>
                      </a:lnTo>
                      <a:lnTo>
                        <a:pt x="525729" y="92238"/>
                      </a:lnTo>
                      <a:lnTo>
                        <a:pt x="524174" y="91011"/>
                      </a:lnTo>
                      <a:lnTo>
                        <a:pt x="514666" y="83519"/>
                      </a:lnTo>
                      <a:lnTo>
                        <a:pt x="513671" y="82281"/>
                      </a:lnTo>
                      <a:lnTo>
                        <a:pt x="514047" y="81613"/>
                      </a:lnTo>
                      <a:lnTo>
                        <a:pt x="515443" y="78589"/>
                      </a:lnTo>
                      <a:lnTo>
                        <a:pt x="515759" y="77885"/>
                      </a:lnTo>
                      <a:lnTo>
                        <a:pt x="515893" y="77132"/>
                      </a:lnTo>
                      <a:lnTo>
                        <a:pt x="516403" y="74254"/>
                      </a:lnTo>
                      <a:lnTo>
                        <a:pt x="516524" y="73550"/>
                      </a:lnTo>
                      <a:lnTo>
                        <a:pt x="516488" y="72833"/>
                      </a:lnTo>
                      <a:lnTo>
                        <a:pt x="516184" y="67685"/>
                      </a:lnTo>
                      <a:lnTo>
                        <a:pt x="516852" y="62840"/>
                      </a:lnTo>
                      <a:lnTo>
                        <a:pt x="516949" y="62099"/>
                      </a:lnTo>
                      <a:lnTo>
                        <a:pt x="516864" y="61358"/>
                      </a:lnTo>
                      <a:lnTo>
                        <a:pt x="516524" y="58262"/>
                      </a:lnTo>
                      <a:lnTo>
                        <a:pt x="516415" y="57242"/>
                      </a:lnTo>
                      <a:lnTo>
                        <a:pt x="515978" y="56319"/>
                      </a:lnTo>
                      <a:lnTo>
                        <a:pt x="514606" y="53417"/>
                      </a:lnTo>
                      <a:lnTo>
                        <a:pt x="514351" y="52883"/>
                      </a:lnTo>
                      <a:lnTo>
                        <a:pt x="513998" y="52397"/>
                      </a:lnTo>
                      <a:lnTo>
                        <a:pt x="511181" y="48608"/>
                      </a:lnTo>
                      <a:lnTo>
                        <a:pt x="510975" y="48329"/>
                      </a:lnTo>
                      <a:lnTo>
                        <a:pt x="510732" y="48074"/>
                      </a:lnTo>
                      <a:lnTo>
                        <a:pt x="508656" y="45864"/>
                      </a:lnTo>
                      <a:lnTo>
                        <a:pt x="508121" y="45305"/>
                      </a:lnTo>
                      <a:lnTo>
                        <a:pt x="507466" y="44893"/>
                      </a:lnTo>
                      <a:lnTo>
                        <a:pt x="502183" y="41565"/>
                      </a:lnTo>
                      <a:lnTo>
                        <a:pt x="493768" y="36817"/>
                      </a:lnTo>
                      <a:lnTo>
                        <a:pt x="493319" y="36562"/>
                      </a:lnTo>
                      <a:lnTo>
                        <a:pt x="492833" y="36392"/>
                      </a:lnTo>
                      <a:lnTo>
                        <a:pt x="488389" y="34802"/>
                      </a:lnTo>
                      <a:lnTo>
                        <a:pt x="488207" y="34207"/>
                      </a:lnTo>
                      <a:lnTo>
                        <a:pt x="487466" y="31778"/>
                      </a:lnTo>
                      <a:lnTo>
                        <a:pt x="486956" y="30102"/>
                      </a:lnTo>
                      <a:lnTo>
                        <a:pt x="485645" y="28961"/>
                      </a:lnTo>
                      <a:lnTo>
                        <a:pt x="484163" y="27674"/>
                      </a:lnTo>
                      <a:lnTo>
                        <a:pt x="483641" y="27212"/>
                      </a:lnTo>
                      <a:lnTo>
                        <a:pt x="483022" y="26885"/>
                      </a:lnTo>
                      <a:lnTo>
                        <a:pt x="481225" y="25937"/>
                      </a:lnTo>
                      <a:lnTo>
                        <a:pt x="480605" y="25609"/>
                      </a:lnTo>
                      <a:lnTo>
                        <a:pt x="479925" y="25427"/>
                      </a:lnTo>
                      <a:lnTo>
                        <a:pt x="478614" y="25087"/>
                      </a:lnTo>
                      <a:lnTo>
                        <a:pt x="478383" y="24796"/>
                      </a:lnTo>
                      <a:lnTo>
                        <a:pt x="477970" y="23752"/>
                      </a:lnTo>
                      <a:lnTo>
                        <a:pt x="477205" y="20339"/>
                      </a:lnTo>
                      <a:lnTo>
                        <a:pt x="477060" y="19696"/>
                      </a:lnTo>
                      <a:lnTo>
                        <a:pt x="476792" y="19113"/>
                      </a:lnTo>
                      <a:lnTo>
                        <a:pt x="475748" y="16879"/>
                      </a:lnTo>
                      <a:lnTo>
                        <a:pt x="475469" y="16284"/>
                      </a:lnTo>
                      <a:lnTo>
                        <a:pt x="475080" y="15774"/>
                      </a:lnTo>
                      <a:lnTo>
                        <a:pt x="473198" y="13297"/>
                      </a:lnTo>
                      <a:lnTo>
                        <a:pt x="472980" y="13017"/>
                      </a:lnTo>
                      <a:lnTo>
                        <a:pt x="472725" y="12762"/>
                      </a:lnTo>
                      <a:lnTo>
                        <a:pt x="469337" y="9265"/>
                      </a:lnTo>
                      <a:lnTo>
                        <a:pt x="467964" y="7844"/>
                      </a:lnTo>
                      <a:lnTo>
                        <a:pt x="466022" y="7504"/>
                      </a:lnTo>
                      <a:lnTo>
                        <a:pt x="463035" y="6982"/>
                      </a:lnTo>
                      <a:lnTo>
                        <a:pt x="462209" y="6837"/>
                      </a:lnTo>
                      <a:lnTo>
                        <a:pt x="461371" y="6921"/>
                      </a:lnTo>
                      <a:lnTo>
                        <a:pt x="458906" y="7177"/>
                      </a:lnTo>
                      <a:lnTo>
                        <a:pt x="458372" y="7237"/>
                      </a:lnTo>
                      <a:lnTo>
                        <a:pt x="457850" y="7383"/>
                      </a:lnTo>
                      <a:lnTo>
                        <a:pt x="456392" y="7808"/>
                      </a:lnTo>
                      <a:lnTo>
                        <a:pt x="455979" y="7759"/>
                      </a:lnTo>
                      <a:lnTo>
                        <a:pt x="455773" y="7529"/>
                      </a:lnTo>
                      <a:lnTo>
                        <a:pt x="454559" y="4797"/>
                      </a:lnTo>
                      <a:lnTo>
                        <a:pt x="454085" y="3716"/>
                      </a:lnTo>
                      <a:lnTo>
                        <a:pt x="453235" y="2890"/>
                      </a:lnTo>
                      <a:lnTo>
                        <a:pt x="452495" y="2174"/>
                      </a:lnTo>
                      <a:lnTo>
                        <a:pt x="451304" y="1020"/>
                      </a:lnTo>
                      <a:lnTo>
                        <a:pt x="449689" y="631"/>
                      </a:lnTo>
                      <a:lnTo>
                        <a:pt x="448487" y="340"/>
                      </a:lnTo>
                      <a:lnTo>
                        <a:pt x="447115" y="0"/>
                      </a:lnTo>
                      <a:lnTo>
                        <a:pt x="447115" y="0"/>
                      </a:lnTo>
                      <a:close/>
                    </a:path>
                  </a:pathLst>
                </a:custGeom>
                <a:solidFill>
                  <a:srgbClr val="FFFFFF"/>
                </a:solidFill>
                <a:ln w="12138" cap="flat">
                  <a:noFill/>
                  <a:prstDash val="solid"/>
                  <a:miter/>
                </a:ln>
              </p:spPr>
              <p:txBody>
                <a:bodyPr rtlCol="0" anchor="ctr"/>
                <a:lstStyle/>
                <a:p>
                  <a:endParaRPr lang="en-US"/>
                </a:p>
              </p:txBody>
            </p:sp>
          </p:grpSp>
          <p:grpSp>
            <p:nvGrpSpPr>
              <p:cNvPr id="262" name="Graphic 280">
                <a:extLst>
                  <a:ext uri="{FF2B5EF4-FFF2-40B4-BE49-F238E27FC236}">
                    <a16:creationId xmlns:a16="http://schemas.microsoft.com/office/drawing/2014/main" id="{B2361EB4-9BEC-44A2-9791-29304EF76D8A}"/>
                  </a:ext>
                </a:extLst>
              </p:cNvPr>
              <p:cNvGrpSpPr/>
              <p:nvPr/>
            </p:nvGrpSpPr>
            <p:grpSpPr>
              <a:xfrm>
                <a:off x="4391993" y="4949419"/>
                <a:ext cx="128326" cy="185604"/>
                <a:chOff x="4391993" y="4949419"/>
                <a:chExt cx="128326" cy="185604"/>
              </a:xfrm>
            </p:grpSpPr>
            <p:sp>
              <p:nvSpPr>
                <p:cNvPr id="314" name="Freeform: Shape 313">
                  <a:extLst>
                    <a:ext uri="{FF2B5EF4-FFF2-40B4-BE49-F238E27FC236}">
                      <a16:creationId xmlns:a16="http://schemas.microsoft.com/office/drawing/2014/main" id="{4EBF94E1-D466-4084-A5BA-73A8B29B931F}"/>
                    </a:ext>
                  </a:extLst>
                </p:cNvPr>
                <p:cNvSpPr/>
                <p:nvPr/>
              </p:nvSpPr>
              <p:spPr>
                <a:xfrm>
                  <a:off x="4395090" y="4952758"/>
                  <a:ext cx="122109" cy="178744"/>
                </a:xfrm>
                <a:custGeom>
                  <a:avLst/>
                  <a:gdLst>
                    <a:gd name="connsiteX0" fmla="*/ 75226 w 122109"/>
                    <a:gd name="connsiteY0" fmla="*/ 176328 h 178744"/>
                    <a:gd name="connsiteX1" fmla="*/ 74218 w 122109"/>
                    <a:gd name="connsiteY1" fmla="*/ 175198 h 178744"/>
                    <a:gd name="connsiteX2" fmla="*/ 66385 w 122109"/>
                    <a:gd name="connsiteY2" fmla="*/ 170900 h 178744"/>
                    <a:gd name="connsiteX3" fmla="*/ 64613 w 122109"/>
                    <a:gd name="connsiteY3" fmla="*/ 166613 h 178744"/>
                    <a:gd name="connsiteX4" fmla="*/ 64843 w 122109"/>
                    <a:gd name="connsiteY4" fmla="*/ 163116 h 178744"/>
                    <a:gd name="connsiteX5" fmla="*/ 65681 w 122109"/>
                    <a:gd name="connsiteY5" fmla="*/ 157810 h 178744"/>
                    <a:gd name="connsiteX6" fmla="*/ 65305 w 122109"/>
                    <a:gd name="connsiteY6" fmla="*/ 156583 h 178744"/>
                    <a:gd name="connsiteX7" fmla="*/ 64224 w 122109"/>
                    <a:gd name="connsiteY7" fmla="*/ 155940 h 178744"/>
                    <a:gd name="connsiteX8" fmla="*/ 62633 w 122109"/>
                    <a:gd name="connsiteY8" fmla="*/ 155709 h 178744"/>
                    <a:gd name="connsiteX9" fmla="*/ 58905 w 122109"/>
                    <a:gd name="connsiteY9" fmla="*/ 153863 h 178744"/>
                    <a:gd name="connsiteX10" fmla="*/ 54242 w 122109"/>
                    <a:gd name="connsiteY10" fmla="*/ 144125 h 178744"/>
                    <a:gd name="connsiteX11" fmla="*/ 41857 w 122109"/>
                    <a:gd name="connsiteY11" fmla="*/ 140603 h 178744"/>
                    <a:gd name="connsiteX12" fmla="*/ 44589 w 122109"/>
                    <a:gd name="connsiteY12" fmla="*/ 132079 h 178744"/>
                    <a:gd name="connsiteX13" fmla="*/ 45973 w 122109"/>
                    <a:gd name="connsiteY13" fmla="*/ 129213 h 178744"/>
                    <a:gd name="connsiteX14" fmla="*/ 47807 w 122109"/>
                    <a:gd name="connsiteY14" fmla="*/ 126797 h 178744"/>
                    <a:gd name="connsiteX15" fmla="*/ 49762 w 122109"/>
                    <a:gd name="connsiteY15" fmla="*/ 125509 h 178744"/>
                    <a:gd name="connsiteX16" fmla="*/ 38724 w 122109"/>
                    <a:gd name="connsiteY16" fmla="*/ 88716 h 178744"/>
                    <a:gd name="connsiteX17" fmla="*/ 38238 w 122109"/>
                    <a:gd name="connsiteY17" fmla="*/ 88146 h 178744"/>
                    <a:gd name="connsiteX18" fmla="*/ 36599 w 122109"/>
                    <a:gd name="connsiteY18" fmla="*/ 87599 h 178744"/>
                    <a:gd name="connsiteX19" fmla="*/ 33502 w 122109"/>
                    <a:gd name="connsiteY19" fmla="*/ 87648 h 178744"/>
                    <a:gd name="connsiteX20" fmla="*/ 28281 w 122109"/>
                    <a:gd name="connsiteY20" fmla="*/ 86421 h 178744"/>
                    <a:gd name="connsiteX21" fmla="*/ 24638 w 122109"/>
                    <a:gd name="connsiteY21" fmla="*/ 83653 h 178744"/>
                    <a:gd name="connsiteX22" fmla="*/ 14098 w 122109"/>
                    <a:gd name="connsiteY22" fmla="*/ 71874 h 178744"/>
                    <a:gd name="connsiteX23" fmla="*/ 32142 w 122109"/>
                    <a:gd name="connsiteY23" fmla="*/ 73137 h 178744"/>
                    <a:gd name="connsiteX24" fmla="*/ 33417 w 122109"/>
                    <a:gd name="connsiteY24" fmla="*/ 73028 h 178744"/>
                    <a:gd name="connsiteX25" fmla="*/ 33976 w 122109"/>
                    <a:gd name="connsiteY25" fmla="*/ 72846 h 178744"/>
                    <a:gd name="connsiteX26" fmla="*/ 32312 w 122109"/>
                    <a:gd name="connsiteY26" fmla="*/ 71486 h 178744"/>
                    <a:gd name="connsiteX27" fmla="*/ 31644 w 122109"/>
                    <a:gd name="connsiteY27" fmla="*/ 70672 h 178744"/>
                    <a:gd name="connsiteX28" fmla="*/ 25986 w 122109"/>
                    <a:gd name="connsiteY28" fmla="*/ 70004 h 178744"/>
                    <a:gd name="connsiteX29" fmla="*/ 21214 w 122109"/>
                    <a:gd name="connsiteY29" fmla="*/ 71644 h 178744"/>
                    <a:gd name="connsiteX30" fmla="*/ 20485 w 122109"/>
                    <a:gd name="connsiteY30" fmla="*/ 64904 h 178744"/>
                    <a:gd name="connsiteX31" fmla="*/ 21444 w 122109"/>
                    <a:gd name="connsiteY31" fmla="*/ 62257 h 178744"/>
                    <a:gd name="connsiteX32" fmla="*/ 16575 w 122109"/>
                    <a:gd name="connsiteY32" fmla="*/ 60982 h 178744"/>
                    <a:gd name="connsiteX33" fmla="*/ 12094 w 122109"/>
                    <a:gd name="connsiteY33" fmla="*/ 56161 h 178744"/>
                    <a:gd name="connsiteX34" fmla="*/ 13090 w 122109"/>
                    <a:gd name="connsiteY34" fmla="*/ 51158 h 178744"/>
                    <a:gd name="connsiteX35" fmla="*/ 10941 w 122109"/>
                    <a:gd name="connsiteY35" fmla="*/ 47868 h 178744"/>
                    <a:gd name="connsiteX36" fmla="*/ 9824 w 122109"/>
                    <a:gd name="connsiteY36" fmla="*/ 44978 h 178744"/>
                    <a:gd name="connsiteX37" fmla="*/ 9326 w 122109"/>
                    <a:gd name="connsiteY37" fmla="*/ 41614 h 178744"/>
                    <a:gd name="connsiteX38" fmla="*/ 9799 w 122109"/>
                    <a:gd name="connsiteY38" fmla="*/ 37595 h 178744"/>
                    <a:gd name="connsiteX39" fmla="*/ 7346 w 122109"/>
                    <a:gd name="connsiteY39" fmla="*/ 35737 h 178744"/>
                    <a:gd name="connsiteX40" fmla="*/ 4529 w 122109"/>
                    <a:gd name="connsiteY40" fmla="*/ 31815 h 178744"/>
                    <a:gd name="connsiteX41" fmla="*/ 2623 w 122109"/>
                    <a:gd name="connsiteY41" fmla="*/ 27735 h 178744"/>
                    <a:gd name="connsiteX42" fmla="*/ 1056 w 122109"/>
                    <a:gd name="connsiteY42" fmla="*/ 21190 h 178744"/>
                    <a:gd name="connsiteX43" fmla="*/ 0 w 122109"/>
                    <a:gd name="connsiteY43" fmla="*/ 19040 h 178744"/>
                    <a:gd name="connsiteX44" fmla="*/ 352 w 122109"/>
                    <a:gd name="connsiteY44" fmla="*/ 15130 h 178744"/>
                    <a:gd name="connsiteX45" fmla="*/ 4129 w 122109"/>
                    <a:gd name="connsiteY45" fmla="*/ 12398 h 178744"/>
                    <a:gd name="connsiteX46" fmla="*/ 9095 w 122109"/>
                    <a:gd name="connsiteY46" fmla="*/ 9739 h 178744"/>
                    <a:gd name="connsiteX47" fmla="*/ 18773 w 122109"/>
                    <a:gd name="connsiteY47" fmla="*/ 9241 h 178744"/>
                    <a:gd name="connsiteX48" fmla="*/ 21177 w 122109"/>
                    <a:gd name="connsiteY48" fmla="*/ 8877 h 178744"/>
                    <a:gd name="connsiteX49" fmla="*/ 21882 w 122109"/>
                    <a:gd name="connsiteY49" fmla="*/ 7990 h 178744"/>
                    <a:gd name="connsiteX50" fmla="*/ 24407 w 122109"/>
                    <a:gd name="connsiteY50" fmla="*/ 3898 h 178744"/>
                    <a:gd name="connsiteX51" fmla="*/ 25609 w 122109"/>
                    <a:gd name="connsiteY51" fmla="*/ 2502 h 178744"/>
                    <a:gd name="connsiteX52" fmla="*/ 28827 w 122109"/>
                    <a:gd name="connsiteY52" fmla="*/ 0 h 178744"/>
                    <a:gd name="connsiteX53" fmla="*/ 31171 w 122109"/>
                    <a:gd name="connsiteY53" fmla="*/ 680 h 178744"/>
                    <a:gd name="connsiteX54" fmla="*/ 32871 w 122109"/>
                    <a:gd name="connsiteY54" fmla="*/ 1700 h 178744"/>
                    <a:gd name="connsiteX55" fmla="*/ 33454 w 122109"/>
                    <a:gd name="connsiteY55" fmla="*/ 2392 h 178744"/>
                    <a:gd name="connsiteX56" fmla="*/ 34243 w 122109"/>
                    <a:gd name="connsiteY56" fmla="*/ 4092 h 178744"/>
                    <a:gd name="connsiteX57" fmla="*/ 34632 w 122109"/>
                    <a:gd name="connsiteY57" fmla="*/ 7165 h 178744"/>
                    <a:gd name="connsiteX58" fmla="*/ 34947 w 122109"/>
                    <a:gd name="connsiteY58" fmla="*/ 8051 h 178744"/>
                    <a:gd name="connsiteX59" fmla="*/ 36222 w 122109"/>
                    <a:gd name="connsiteY59" fmla="*/ 8160 h 178744"/>
                    <a:gd name="connsiteX60" fmla="*/ 39416 w 122109"/>
                    <a:gd name="connsiteY60" fmla="*/ 8670 h 178744"/>
                    <a:gd name="connsiteX61" fmla="*/ 42476 w 122109"/>
                    <a:gd name="connsiteY61" fmla="*/ 9484 h 178744"/>
                    <a:gd name="connsiteX62" fmla="*/ 44953 w 122109"/>
                    <a:gd name="connsiteY62" fmla="*/ 10880 h 178744"/>
                    <a:gd name="connsiteX63" fmla="*/ 47163 w 122109"/>
                    <a:gd name="connsiteY63" fmla="*/ 13285 h 178744"/>
                    <a:gd name="connsiteX64" fmla="*/ 48487 w 122109"/>
                    <a:gd name="connsiteY64" fmla="*/ 16308 h 178744"/>
                    <a:gd name="connsiteX65" fmla="*/ 50903 w 122109"/>
                    <a:gd name="connsiteY65" fmla="*/ 26630 h 178744"/>
                    <a:gd name="connsiteX66" fmla="*/ 51996 w 122109"/>
                    <a:gd name="connsiteY66" fmla="*/ 28694 h 178744"/>
                    <a:gd name="connsiteX67" fmla="*/ 53538 w 122109"/>
                    <a:gd name="connsiteY67" fmla="*/ 30272 h 178744"/>
                    <a:gd name="connsiteX68" fmla="*/ 56999 w 122109"/>
                    <a:gd name="connsiteY68" fmla="*/ 32385 h 178744"/>
                    <a:gd name="connsiteX69" fmla="*/ 58942 w 122109"/>
                    <a:gd name="connsiteY69" fmla="*/ 32750 h 178744"/>
                    <a:gd name="connsiteX70" fmla="*/ 60593 w 122109"/>
                    <a:gd name="connsiteY70" fmla="*/ 32919 h 178744"/>
                    <a:gd name="connsiteX71" fmla="*/ 61759 w 122109"/>
                    <a:gd name="connsiteY71" fmla="*/ 32349 h 178744"/>
                    <a:gd name="connsiteX72" fmla="*/ 72433 w 122109"/>
                    <a:gd name="connsiteY72" fmla="*/ 28111 h 178744"/>
                    <a:gd name="connsiteX73" fmla="*/ 80836 w 122109"/>
                    <a:gd name="connsiteY73" fmla="*/ 27759 h 178744"/>
                    <a:gd name="connsiteX74" fmla="*/ 84515 w 122109"/>
                    <a:gd name="connsiteY74" fmla="*/ 28682 h 178744"/>
                    <a:gd name="connsiteX75" fmla="*/ 86166 w 122109"/>
                    <a:gd name="connsiteY75" fmla="*/ 28742 h 178744"/>
                    <a:gd name="connsiteX76" fmla="*/ 87866 w 122109"/>
                    <a:gd name="connsiteY76" fmla="*/ 28330 h 178744"/>
                    <a:gd name="connsiteX77" fmla="*/ 88680 w 122109"/>
                    <a:gd name="connsiteY77" fmla="*/ 27965 h 178744"/>
                    <a:gd name="connsiteX78" fmla="*/ 89469 w 122109"/>
                    <a:gd name="connsiteY78" fmla="*/ 27528 h 178744"/>
                    <a:gd name="connsiteX79" fmla="*/ 92116 w 122109"/>
                    <a:gd name="connsiteY79" fmla="*/ 25622 h 178744"/>
                    <a:gd name="connsiteX80" fmla="*/ 93331 w 122109"/>
                    <a:gd name="connsiteY80" fmla="*/ 25379 h 178744"/>
                    <a:gd name="connsiteX81" fmla="*/ 94909 w 122109"/>
                    <a:gd name="connsiteY81" fmla="*/ 25294 h 178744"/>
                    <a:gd name="connsiteX82" fmla="*/ 96184 w 122109"/>
                    <a:gd name="connsiteY82" fmla="*/ 25537 h 178744"/>
                    <a:gd name="connsiteX83" fmla="*/ 100155 w 122109"/>
                    <a:gd name="connsiteY83" fmla="*/ 26970 h 178744"/>
                    <a:gd name="connsiteX84" fmla="*/ 106008 w 122109"/>
                    <a:gd name="connsiteY84" fmla="*/ 30139 h 178744"/>
                    <a:gd name="connsiteX85" fmla="*/ 108060 w 122109"/>
                    <a:gd name="connsiteY85" fmla="*/ 31997 h 178744"/>
                    <a:gd name="connsiteX86" fmla="*/ 109299 w 122109"/>
                    <a:gd name="connsiteY86" fmla="*/ 33927 h 178744"/>
                    <a:gd name="connsiteX87" fmla="*/ 111096 w 122109"/>
                    <a:gd name="connsiteY87" fmla="*/ 40193 h 178744"/>
                    <a:gd name="connsiteX88" fmla="*/ 112674 w 122109"/>
                    <a:gd name="connsiteY88" fmla="*/ 51013 h 178744"/>
                    <a:gd name="connsiteX89" fmla="*/ 113451 w 122109"/>
                    <a:gd name="connsiteY89" fmla="*/ 54036 h 178744"/>
                    <a:gd name="connsiteX90" fmla="*/ 112674 w 122109"/>
                    <a:gd name="connsiteY90" fmla="*/ 58845 h 178744"/>
                    <a:gd name="connsiteX91" fmla="*/ 110525 w 122109"/>
                    <a:gd name="connsiteY91" fmla="*/ 61856 h 178744"/>
                    <a:gd name="connsiteX92" fmla="*/ 109554 w 122109"/>
                    <a:gd name="connsiteY92" fmla="*/ 63617 h 178744"/>
                    <a:gd name="connsiteX93" fmla="*/ 109772 w 122109"/>
                    <a:gd name="connsiteY93" fmla="*/ 65110 h 178744"/>
                    <a:gd name="connsiteX94" fmla="*/ 111254 w 122109"/>
                    <a:gd name="connsiteY94" fmla="*/ 66628 h 178744"/>
                    <a:gd name="connsiteX95" fmla="*/ 112444 w 122109"/>
                    <a:gd name="connsiteY95" fmla="*/ 68510 h 178744"/>
                    <a:gd name="connsiteX96" fmla="*/ 113221 w 122109"/>
                    <a:gd name="connsiteY96" fmla="*/ 70393 h 178744"/>
                    <a:gd name="connsiteX97" fmla="*/ 113621 w 122109"/>
                    <a:gd name="connsiteY97" fmla="*/ 72931 h 178744"/>
                    <a:gd name="connsiteX98" fmla="*/ 113621 w 122109"/>
                    <a:gd name="connsiteY98" fmla="*/ 73999 h 178744"/>
                    <a:gd name="connsiteX99" fmla="*/ 113233 w 122109"/>
                    <a:gd name="connsiteY99" fmla="*/ 76853 h 178744"/>
                    <a:gd name="connsiteX100" fmla="*/ 113269 w 122109"/>
                    <a:gd name="connsiteY100" fmla="*/ 78055 h 178744"/>
                    <a:gd name="connsiteX101" fmla="*/ 113549 w 122109"/>
                    <a:gd name="connsiteY101" fmla="*/ 78941 h 178744"/>
                    <a:gd name="connsiteX102" fmla="*/ 114144 w 122109"/>
                    <a:gd name="connsiteY102" fmla="*/ 79864 h 178744"/>
                    <a:gd name="connsiteX103" fmla="*/ 118879 w 122109"/>
                    <a:gd name="connsiteY103" fmla="*/ 84697 h 178744"/>
                    <a:gd name="connsiteX104" fmla="*/ 120215 w 122109"/>
                    <a:gd name="connsiteY104" fmla="*/ 86579 h 178744"/>
                    <a:gd name="connsiteX105" fmla="*/ 120786 w 122109"/>
                    <a:gd name="connsiteY105" fmla="*/ 87903 h 178744"/>
                    <a:gd name="connsiteX106" fmla="*/ 121296 w 122109"/>
                    <a:gd name="connsiteY106" fmla="*/ 89894 h 178744"/>
                    <a:gd name="connsiteX107" fmla="*/ 122109 w 122109"/>
                    <a:gd name="connsiteY107" fmla="*/ 97909 h 178744"/>
                    <a:gd name="connsiteX108" fmla="*/ 121624 w 122109"/>
                    <a:gd name="connsiteY108" fmla="*/ 100629 h 178744"/>
                    <a:gd name="connsiteX109" fmla="*/ 120397 w 122109"/>
                    <a:gd name="connsiteY109" fmla="*/ 103349 h 178744"/>
                    <a:gd name="connsiteX110" fmla="*/ 118114 w 122109"/>
                    <a:gd name="connsiteY110" fmla="*/ 105000 h 178744"/>
                    <a:gd name="connsiteX111" fmla="*/ 116220 w 122109"/>
                    <a:gd name="connsiteY111" fmla="*/ 105923 h 178744"/>
                    <a:gd name="connsiteX112" fmla="*/ 110270 w 122109"/>
                    <a:gd name="connsiteY112" fmla="*/ 107162 h 178744"/>
                    <a:gd name="connsiteX113" fmla="*/ 110294 w 122109"/>
                    <a:gd name="connsiteY113" fmla="*/ 107939 h 178744"/>
                    <a:gd name="connsiteX114" fmla="*/ 110598 w 122109"/>
                    <a:gd name="connsiteY114" fmla="*/ 108072 h 178744"/>
                    <a:gd name="connsiteX115" fmla="*/ 111096 w 122109"/>
                    <a:gd name="connsiteY115" fmla="*/ 108509 h 178744"/>
                    <a:gd name="connsiteX116" fmla="*/ 115977 w 122109"/>
                    <a:gd name="connsiteY116" fmla="*/ 111084 h 178744"/>
                    <a:gd name="connsiteX117" fmla="*/ 117082 w 122109"/>
                    <a:gd name="connsiteY117" fmla="*/ 111982 h 178744"/>
                    <a:gd name="connsiteX118" fmla="*/ 118175 w 122109"/>
                    <a:gd name="connsiteY118" fmla="*/ 113027 h 178744"/>
                    <a:gd name="connsiteX119" fmla="*/ 119304 w 122109"/>
                    <a:gd name="connsiteY119" fmla="*/ 114909 h 178744"/>
                    <a:gd name="connsiteX120" fmla="*/ 119863 w 122109"/>
                    <a:gd name="connsiteY120" fmla="*/ 116888 h 178744"/>
                    <a:gd name="connsiteX121" fmla="*/ 119754 w 122109"/>
                    <a:gd name="connsiteY121" fmla="*/ 119681 h 178744"/>
                    <a:gd name="connsiteX122" fmla="*/ 118989 w 122109"/>
                    <a:gd name="connsiteY122" fmla="*/ 122425 h 178744"/>
                    <a:gd name="connsiteX123" fmla="*/ 114411 w 122109"/>
                    <a:gd name="connsiteY123" fmla="*/ 131873 h 178744"/>
                    <a:gd name="connsiteX124" fmla="*/ 113670 w 122109"/>
                    <a:gd name="connsiteY124" fmla="*/ 135564 h 178744"/>
                    <a:gd name="connsiteX125" fmla="*/ 113840 w 122109"/>
                    <a:gd name="connsiteY125" fmla="*/ 137470 h 178744"/>
                    <a:gd name="connsiteX126" fmla="*/ 115103 w 122109"/>
                    <a:gd name="connsiteY126" fmla="*/ 143506 h 178744"/>
                    <a:gd name="connsiteX127" fmla="*/ 115224 w 122109"/>
                    <a:gd name="connsiteY127" fmla="*/ 145643 h 178744"/>
                    <a:gd name="connsiteX128" fmla="*/ 115042 w 122109"/>
                    <a:gd name="connsiteY128" fmla="*/ 147780 h 178744"/>
                    <a:gd name="connsiteX129" fmla="*/ 114593 w 122109"/>
                    <a:gd name="connsiteY129" fmla="*/ 150026 h 178744"/>
                    <a:gd name="connsiteX130" fmla="*/ 113767 w 122109"/>
                    <a:gd name="connsiteY130" fmla="*/ 152285 h 178744"/>
                    <a:gd name="connsiteX131" fmla="*/ 112626 w 122109"/>
                    <a:gd name="connsiteY131" fmla="*/ 154883 h 178744"/>
                    <a:gd name="connsiteX132" fmla="*/ 111363 w 122109"/>
                    <a:gd name="connsiteY132" fmla="*/ 158878 h 178744"/>
                    <a:gd name="connsiteX133" fmla="*/ 110938 w 122109"/>
                    <a:gd name="connsiteY133" fmla="*/ 161028 h 178744"/>
                    <a:gd name="connsiteX134" fmla="*/ 110598 w 122109"/>
                    <a:gd name="connsiteY134" fmla="*/ 162060 h 178744"/>
                    <a:gd name="connsiteX135" fmla="*/ 110331 w 122109"/>
                    <a:gd name="connsiteY135" fmla="*/ 162643 h 178744"/>
                    <a:gd name="connsiteX136" fmla="*/ 109274 w 122109"/>
                    <a:gd name="connsiteY136" fmla="*/ 164391 h 178744"/>
                    <a:gd name="connsiteX137" fmla="*/ 106506 w 122109"/>
                    <a:gd name="connsiteY137" fmla="*/ 166832 h 178744"/>
                    <a:gd name="connsiteX138" fmla="*/ 102960 w 122109"/>
                    <a:gd name="connsiteY138" fmla="*/ 169030 h 178744"/>
                    <a:gd name="connsiteX139" fmla="*/ 100216 w 122109"/>
                    <a:gd name="connsiteY139" fmla="*/ 170159 h 178744"/>
                    <a:gd name="connsiteX140" fmla="*/ 96816 w 122109"/>
                    <a:gd name="connsiteY140" fmla="*/ 170718 h 178744"/>
                    <a:gd name="connsiteX141" fmla="*/ 91837 w 122109"/>
                    <a:gd name="connsiteY141" fmla="*/ 170281 h 178744"/>
                    <a:gd name="connsiteX142" fmla="*/ 91230 w 122109"/>
                    <a:gd name="connsiteY142" fmla="*/ 170997 h 178744"/>
                    <a:gd name="connsiteX143" fmla="*/ 87526 w 122109"/>
                    <a:gd name="connsiteY143" fmla="*/ 174227 h 178744"/>
                    <a:gd name="connsiteX144" fmla="*/ 78953 w 122109"/>
                    <a:gd name="connsiteY144" fmla="*/ 178744 h 178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122109" h="178744">
                      <a:moveTo>
                        <a:pt x="75226" y="176328"/>
                      </a:moveTo>
                      <a:lnTo>
                        <a:pt x="74218" y="175198"/>
                      </a:lnTo>
                      <a:lnTo>
                        <a:pt x="66385" y="170900"/>
                      </a:lnTo>
                      <a:lnTo>
                        <a:pt x="64613" y="166613"/>
                      </a:lnTo>
                      <a:lnTo>
                        <a:pt x="64843" y="163116"/>
                      </a:lnTo>
                      <a:lnTo>
                        <a:pt x="65681" y="157810"/>
                      </a:lnTo>
                      <a:lnTo>
                        <a:pt x="65305" y="156583"/>
                      </a:lnTo>
                      <a:lnTo>
                        <a:pt x="64224" y="155940"/>
                      </a:lnTo>
                      <a:lnTo>
                        <a:pt x="62633" y="155709"/>
                      </a:lnTo>
                      <a:lnTo>
                        <a:pt x="58905" y="153863"/>
                      </a:lnTo>
                      <a:lnTo>
                        <a:pt x="54242" y="144125"/>
                      </a:lnTo>
                      <a:lnTo>
                        <a:pt x="41857" y="140603"/>
                      </a:lnTo>
                      <a:lnTo>
                        <a:pt x="44589" y="132079"/>
                      </a:lnTo>
                      <a:lnTo>
                        <a:pt x="45973" y="129213"/>
                      </a:lnTo>
                      <a:lnTo>
                        <a:pt x="47807" y="126797"/>
                      </a:lnTo>
                      <a:lnTo>
                        <a:pt x="49762" y="125509"/>
                      </a:lnTo>
                      <a:lnTo>
                        <a:pt x="38724" y="88716"/>
                      </a:lnTo>
                      <a:lnTo>
                        <a:pt x="38238" y="88146"/>
                      </a:lnTo>
                      <a:lnTo>
                        <a:pt x="36599" y="87599"/>
                      </a:lnTo>
                      <a:lnTo>
                        <a:pt x="33502" y="87648"/>
                      </a:lnTo>
                      <a:lnTo>
                        <a:pt x="28281" y="86421"/>
                      </a:lnTo>
                      <a:lnTo>
                        <a:pt x="24638" y="83653"/>
                      </a:lnTo>
                      <a:lnTo>
                        <a:pt x="14098" y="71874"/>
                      </a:lnTo>
                      <a:lnTo>
                        <a:pt x="32142" y="73137"/>
                      </a:lnTo>
                      <a:lnTo>
                        <a:pt x="33417" y="73028"/>
                      </a:lnTo>
                      <a:lnTo>
                        <a:pt x="33976" y="72846"/>
                      </a:lnTo>
                      <a:lnTo>
                        <a:pt x="32312" y="71486"/>
                      </a:lnTo>
                      <a:lnTo>
                        <a:pt x="31644" y="70672"/>
                      </a:lnTo>
                      <a:lnTo>
                        <a:pt x="25986" y="70004"/>
                      </a:lnTo>
                      <a:lnTo>
                        <a:pt x="21214" y="71644"/>
                      </a:lnTo>
                      <a:lnTo>
                        <a:pt x="20485" y="64904"/>
                      </a:lnTo>
                      <a:lnTo>
                        <a:pt x="21444" y="62257"/>
                      </a:lnTo>
                      <a:lnTo>
                        <a:pt x="16575" y="60982"/>
                      </a:lnTo>
                      <a:lnTo>
                        <a:pt x="12094" y="56161"/>
                      </a:lnTo>
                      <a:lnTo>
                        <a:pt x="13090" y="51158"/>
                      </a:lnTo>
                      <a:lnTo>
                        <a:pt x="10941" y="47868"/>
                      </a:lnTo>
                      <a:lnTo>
                        <a:pt x="9824" y="44978"/>
                      </a:lnTo>
                      <a:lnTo>
                        <a:pt x="9326" y="41614"/>
                      </a:lnTo>
                      <a:lnTo>
                        <a:pt x="9799" y="37595"/>
                      </a:lnTo>
                      <a:lnTo>
                        <a:pt x="7346" y="35737"/>
                      </a:lnTo>
                      <a:lnTo>
                        <a:pt x="4529" y="31815"/>
                      </a:lnTo>
                      <a:lnTo>
                        <a:pt x="2623" y="27735"/>
                      </a:lnTo>
                      <a:lnTo>
                        <a:pt x="1056" y="21190"/>
                      </a:lnTo>
                      <a:lnTo>
                        <a:pt x="0" y="19040"/>
                      </a:lnTo>
                      <a:lnTo>
                        <a:pt x="352" y="15130"/>
                      </a:lnTo>
                      <a:lnTo>
                        <a:pt x="4129" y="12398"/>
                      </a:lnTo>
                      <a:lnTo>
                        <a:pt x="9095" y="9739"/>
                      </a:lnTo>
                      <a:lnTo>
                        <a:pt x="18773" y="9241"/>
                      </a:lnTo>
                      <a:lnTo>
                        <a:pt x="21177" y="8877"/>
                      </a:lnTo>
                      <a:lnTo>
                        <a:pt x="21882" y="7990"/>
                      </a:lnTo>
                      <a:lnTo>
                        <a:pt x="24407" y="3898"/>
                      </a:lnTo>
                      <a:lnTo>
                        <a:pt x="25609" y="2502"/>
                      </a:lnTo>
                      <a:lnTo>
                        <a:pt x="28827" y="0"/>
                      </a:lnTo>
                      <a:lnTo>
                        <a:pt x="31171" y="680"/>
                      </a:lnTo>
                      <a:lnTo>
                        <a:pt x="32871" y="1700"/>
                      </a:lnTo>
                      <a:lnTo>
                        <a:pt x="33454" y="2392"/>
                      </a:lnTo>
                      <a:lnTo>
                        <a:pt x="34243" y="4092"/>
                      </a:lnTo>
                      <a:lnTo>
                        <a:pt x="34632" y="7165"/>
                      </a:lnTo>
                      <a:lnTo>
                        <a:pt x="34947" y="8051"/>
                      </a:lnTo>
                      <a:lnTo>
                        <a:pt x="36222" y="8160"/>
                      </a:lnTo>
                      <a:lnTo>
                        <a:pt x="39416" y="8670"/>
                      </a:lnTo>
                      <a:lnTo>
                        <a:pt x="42476" y="9484"/>
                      </a:lnTo>
                      <a:lnTo>
                        <a:pt x="44953" y="10880"/>
                      </a:lnTo>
                      <a:lnTo>
                        <a:pt x="47163" y="13285"/>
                      </a:lnTo>
                      <a:lnTo>
                        <a:pt x="48487" y="16308"/>
                      </a:lnTo>
                      <a:lnTo>
                        <a:pt x="50903" y="26630"/>
                      </a:lnTo>
                      <a:lnTo>
                        <a:pt x="51996" y="28694"/>
                      </a:lnTo>
                      <a:lnTo>
                        <a:pt x="53538" y="30272"/>
                      </a:lnTo>
                      <a:lnTo>
                        <a:pt x="56999" y="32385"/>
                      </a:lnTo>
                      <a:lnTo>
                        <a:pt x="58942" y="32750"/>
                      </a:lnTo>
                      <a:lnTo>
                        <a:pt x="60593" y="32919"/>
                      </a:lnTo>
                      <a:lnTo>
                        <a:pt x="61759" y="32349"/>
                      </a:lnTo>
                      <a:lnTo>
                        <a:pt x="72433" y="28111"/>
                      </a:lnTo>
                      <a:lnTo>
                        <a:pt x="80836" y="27759"/>
                      </a:lnTo>
                      <a:lnTo>
                        <a:pt x="84515" y="28682"/>
                      </a:lnTo>
                      <a:lnTo>
                        <a:pt x="86166" y="28742"/>
                      </a:lnTo>
                      <a:lnTo>
                        <a:pt x="87866" y="28330"/>
                      </a:lnTo>
                      <a:lnTo>
                        <a:pt x="88680" y="27965"/>
                      </a:lnTo>
                      <a:lnTo>
                        <a:pt x="89469" y="27528"/>
                      </a:lnTo>
                      <a:lnTo>
                        <a:pt x="92116" y="25622"/>
                      </a:lnTo>
                      <a:lnTo>
                        <a:pt x="93331" y="25379"/>
                      </a:lnTo>
                      <a:lnTo>
                        <a:pt x="94909" y="25294"/>
                      </a:lnTo>
                      <a:lnTo>
                        <a:pt x="96184" y="25537"/>
                      </a:lnTo>
                      <a:lnTo>
                        <a:pt x="100155" y="26970"/>
                      </a:lnTo>
                      <a:lnTo>
                        <a:pt x="106008" y="30139"/>
                      </a:lnTo>
                      <a:lnTo>
                        <a:pt x="108060" y="31997"/>
                      </a:lnTo>
                      <a:lnTo>
                        <a:pt x="109299" y="33927"/>
                      </a:lnTo>
                      <a:lnTo>
                        <a:pt x="111096" y="40193"/>
                      </a:lnTo>
                      <a:lnTo>
                        <a:pt x="112674" y="51013"/>
                      </a:lnTo>
                      <a:lnTo>
                        <a:pt x="113451" y="54036"/>
                      </a:lnTo>
                      <a:lnTo>
                        <a:pt x="112674" y="58845"/>
                      </a:lnTo>
                      <a:lnTo>
                        <a:pt x="110525" y="61856"/>
                      </a:lnTo>
                      <a:lnTo>
                        <a:pt x="109554" y="63617"/>
                      </a:lnTo>
                      <a:lnTo>
                        <a:pt x="109772" y="65110"/>
                      </a:lnTo>
                      <a:lnTo>
                        <a:pt x="111254" y="66628"/>
                      </a:lnTo>
                      <a:lnTo>
                        <a:pt x="112444" y="68510"/>
                      </a:lnTo>
                      <a:lnTo>
                        <a:pt x="113221" y="70393"/>
                      </a:lnTo>
                      <a:lnTo>
                        <a:pt x="113621" y="72931"/>
                      </a:lnTo>
                      <a:lnTo>
                        <a:pt x="113621" y="73999"/>
                      </a:lnTo>
                      <a:lnTo>
                        <a:pt x="113233" y="76853"/>
                      </a:lnTo>
                      <a:lnTo>
                        <a:pt x="113269" y="78055"/>
                      </a:lnTo>
                      <a:lnTo>
                        <a:pt x="113549" y="78941"/>
                      </a:lnTo>
                      <a:lnTo>
                        <a:pt x="114144" y="79864"/>
                      </a:lnTo>
                      <a:lnTo>
                        <a:pt x="118879" y="84697"/>
                      </a:lnTo>
                      <a:lnTo>
                        <a:pt x="120215" y="86579"/>
                      </a:lnTo>
                      <a:lnTo>
                        <a:pt x="120786" y="87903"/>
                      </a:lnTo>
                      <a:lnTo>
                        <a:pt x="121296" y="89894"/>
                      </a:lnTo>
                      <a:lnTo>
                        <a:pt x="122109" y="97909"/>
                      </a:lnTo>
                      <a:lnTo>
                        <a:pt x="121624" y="100629"/>
                      </a:lnTo>
                      <a:lnTo>
                        <a:pt x="120397" y="103349"/>
                      </a:lnTo>
                      <a:lnTo>
                        <a:pt x="118114" y="105000"/>
                      </a:lnTo>
                      <a:lnTo>
                        <a:pt x="116220" y="105923"/>
                      </a:lnTo>
                      <a:lnTo>
                        <a:pt x="110270" y="107162"/>
                      </a:lnTo>
                      <a:lnTo>
                        <a:pt x="110294" y="107939"/>
                      </a:lnTo>
                      <a:lnTo>
                        <a:pt x="110598" y="108072"/>
                      </a:lnTo>
                      <a:lnTo>
                        <a:pt x="111096" y="108509"/>
                      </a:lnTo>
                      <a:lnTo>
                        <a:pt x="115977" y="111084"/>
                      </a:lnTo>
                      <a:lnTo>
                        <a:pt x="117082" y="111982"/>
                      </a:lnTo>
                      <a:lnTo>
                        <a:pt x="118175" y="113027"/>
                      </a:lnTo>
                      <a:lnTo>
                        <a:pt x="119304" y="114909"/>
                      </a:lnTo>
                      <a:lnTo>
                        <a:pt x="119863" y="116888"/>
                      </a:lnTo>
                      <a:lnTo>
                        <a:pt x="119754" y="119681"/>
                      </a:lnTo>
                      <a:lnTo>
                        <a:pt x="118989" y="122425"/>
                      </a:lnTo>
                      <a:lnTo>
                        <a:pt x="114411" y="131873"/>
                      </a:lnTo>
                      <a:lnTo>
                        <a:pt x="113670" y="135564"/>
                      </a:lnTo>
                      <a:lnTo>
                        <a:pt x="113840" y="137470"/>
                      </a:lnTo>
                      <a:lnTo>
                        <a:pt x="115103" y="143506"/>
                      </a:lnTo>
                      <a:lnTo>
                        <a:pt x="115224" y="145643"/>
                      </a:lnTo>
                      <a:lnTo>
                        <a:pt x="115042" y="147780"/>
                      </a:lnTo>
                      <a:lnTo>
                        <a:pt x="114593" y="150026"/>
                      </a:lnTo>
                      <a:lnTo>
                        <a:pt x="113767" y="152285"/>
                      </a:lnTo>
                      <a:lnTo>
                        <a:pt x="112626" y="154883"/>
                      </a:lnTo>
                      <a:lnTo>
                        <a:pt x="111363" y="158878"/>
                      </a:lnTo>
                      <a:lnTo>
                        <a:pt x="110938" y="161028"/>
                      </a:lnTo>
                      <a:lnTo>
                        <a:pt x="110598" y="162060"/>
                      </a:lnTo>
                      <a:lnTo>
                        <a:pt x="110331" y="162643"/>
                      </a:lnTo>
                      <a:lnTo>
                        <a:pt x="109274" y="164391"/>
                      </a:lnTo>
                      <a:lnTo>
                        <a:pt x="106506" y="166832"/>
                      </a:lnTo>
                      <a:lnTo>
                        <a:pt x="102960" y="169030"/>
                      </a:lnTo>
                      <a:lnTo>
                        <a:pt x="100216" y="170159"/>
                      </a:lnTo>
                      <a:lnTo>
                        <a:pt x="96816" y="170718"/>
                      </a:lnTo>
                      <a:lnTo>
                        <a:pt x="91837" y="170281"/>
                      </a:lnTo>
                      <a:lnTo>
                        <a:pt x="91230" y="170997"/>
                      </a:lnTo>
                      <a:lnTo>
                        <a:pt x="87526" y="174227"/>
                      </a:lnTo>
                      <a:lnTo>
                        <a:pt x="78953" y="178744"/>
                      </a:lnTo>
                      <a:close/>
                    </a:path>
                  </a:pathLst>
                </a:custGeom>
                <a:solidFill>
                  <a:srgbClr val="D7D7D2"/>
                </a:solidFill>
                <a:ln w="12138" cap="flat">
                  <a:noFill/>
                  <a:prstDash val="solid"/>
                  <a:miter/>
                </a:ln>
              </p:spPr>
              <p:txBody>
                <a:bodyPr rtlCol="0" anchor="ctr"/>
                <a:lstStyle/>
                <a:p>
                  <a:endParaRPr lang="en-US"/>
                </a:p>
              </p:txBody>
            </p:sp>
            <p:sp>
              <p:nvSpPr>
                <p:cNvPr id="315" name="Freeform: Shape 314">
                  <a:extLst>
                    <a:ext uri="{FF2B5EF4-FFF2-40B4-BE49-F238E27FC236}">
                      <a16:creationId xmlns:a16="http://schemas.microsoft.com/office/drawing/2014/main" id="{9669CCA3-C9A7-4661-9384-3E6D7DFA5C3B}"/>
                    </a:ext>
                  </a:extLst>
                </p:cNvPr>
                <p:cNvSpPr/>
                <p:nvPr/>
              </p:nvSpPr>
              <p:spPr>
                <a:xfrm>
                  <a:off x="4391993" y="4949419"/>
                  <a:ext cx="128326" cy="185604"/>
                </a:xfrm>
                <a:custGeom>
                  <a:avLst/>
                  <a:gdLst>
                    <a:gd name="connsiteX0" fmla="*/ 32543 w 128326"/>
                    <a:gd name="connsiteY0" fmla="*/ 6679 h 185604"/>
                    <a:gd name="connsiteX1" fmla="*/ 33648 w 128326"/>
                    <a:gd name="connsiteY1" fmla="*/ 6995 h 185604"/>
                    <a:gd name="connsiteX2" fmla="*/ 34328 w 128326"/>
                    <a:gd name="connsiteY2" fmla="*/ 7796 h 185604"/>
                    <a:gd name="connsiteX3" fmla="*/ 34717 w 128326"/>
                    <a:gd name="connsiteY3" fmla="*/ 10868 h 185604"/>
                    <a:gd name="connsiteX4" fmla="*/ 35130 w 128326"/>
                    <a:gd name="connsiteY4" fmla="*/ 12240 h 185604"/>
                    <a:gd name="connsiteX5" fmla="*/ 35822 w 128326"/>
                    <a:gd name="connsiteY5" fmla="*/ 13187 h 185604"/>
                    <a:gd name="connsiteX6" fmla="*/ 37085 w 128326"/>
                    <a:gd name="connsiteY6" fmla="*/ 13989 h 185604"/>
                    <a:gd name="connsiteX7" fmla="*/ 38457 w 128326"/>
                    <a:gd name="connsiteY7" fmla="*/ 14389 h 185604"/>
                    <a:gd name="connsiteX8" fmla="*/ 42015 w 128326"/>
                    <a:gd name="connsiteY8" fmla="*/ 14984 h 185604"/>
                    <a:gd name="connsiteX9" fmla="*/ 44783 w 128326"/>
                    <a:gd name="connsiteY9" fmla="*/ 15737 h 185604"/>
                    <a:gd name="connsiteX10" fmla="*/ 46435 w 128326"/>
                    <a:gd name="connsiteY10" fmla="*/ 16782 h 185604"/>
                    <a:gd name="connsiteX11" fmla="*/ 47928 w 128326"/>
                    <a:gd name="connsiteY11" fmla="*/ 18555 h 185604"/>
                    <a:gd name="connsiteX12" fmla="*/ 48742 w 128326"/>
                    <a:gd name="connsiteY12" fmla="*/ 20704 h 185604"/>
                    <a:gd name="connsiteX13" fmla="*/ 51037 w 128326"/>
                    <a:gd name="connsiteY13" fmla="*/ 30637 h 185604"/>
                    <a:gd name="connsiteX14" fmla="*/ 52360 w 128326"/>
                    <a:gd name="connsiteY14" fmla="*/ 33345 h 185604"/>
                    <a:gd name="connsiteX15" fmla="*/ 54364 w 128326"/>
                    <a:gd name="connsiteY15" fmla="*/ 35615 h 185604"/>
                    <a:gd name="connsiteX16" fmla="*/ 58444 w 128326"/>
                    <a:gd name="connsiteY16" fmla="*/ 38262 h 185604"/>
                    <a:gd name="connsiteX17" fmla="*/ 61261 w 128326"/>
                    <a:gd name="connsiteY17" fmla="*/ 39015 h 185604"/>
                    <a:gd name="connsiteX18" fmla="*/ 63325 w 128326"/>
                    <a:gd name="connsiteY18" fmla="*/ 39270 h 185604"/>
                    <a:gd name="connsiteX19" fmla="*/ 65669 w 128326"/>
                    <a:gd name="connsiteY19" fmla="*/ 38614 h 185604"/>
                    <a:gd name="connsiteX20" fmla="*/ 76646 w 128326"/>
                    <a:gd name="connsiteY20" fmla="*/ 34279 h 185604"/>
                    <a:gd name="connsiteX21" fmla="*/ 83993 w 128326"/>
                    <a:gd name="connsiteY21" fmla="*/ 34134 h 185604"/>
                    <a:gd name="connsiteX22" fmla="*/ 86761 w 128326"/>
                    <a:gd name="connsiteY22" fmla="*/ 34935 h 185604"/>
                    <a:gd name="connsiteX23" fmla="*/ 89044 w 128326"/>
                    <a:gd name="connsiteY23" fmla="*/ 35105 h 185604"/>
                    <a:gd name="connsiteX24" fmla="*/ 91509 w 128326"/>
                    <a:gd name="connsiteY24" fmla="*/ 34656 h 185604"/>
                    <a:gd name="connsiteX25" fmla="*/ 92845 w 128326"/>
                    <a:gd name="connsiteY25" fmla="*/ 34158 h 185604"/>
                    <a:gd name="connsiteX26" fmla="*/ 93974 w 128326"/>
                    <a:gd name="connsiteY26" fmla="*/ 33563 h 185604"/>
                    <a:gd name="connsiteX27" fmla="*/ 96451 w 128326"/>
                    <a:gd name="connsiteY27" fmla="*/ 31803 h 185604"/>
                    <a:gd name="connsiteX28" fmla="*/ 97423 w 128326"/>
                    <a:gd name="connsiteY28" fmla="*/ 31596 h 185604"/>
                    <a:gd name="connsiteX29" fmla="*/ 98698 w 128326"/>
                    <a:gd name="connsiteY29" fmla="*/ 31851 h 185604"/>
                    <a:gd name="connsiteX30" fmla="*/ 102195 w 128326"/>
                    <a:gd name="connsiteY30" fmla="*/ 33150 h 185604"/>
                    <a:gd name="connsiteX31" fmla="*/ 107647 w 128326"/>
                    <a:gd name="connsiteY31" fmla="*/ 36138 h 185604"/>
                    <a:gd name="connsiteX32" fmla="*/ 109031 w 128326"/>
                    <a:gd name="connsiteY32" fmla="*/ 37485 h 185604"/>
                    <a:gd name="connsiteX33" fmla="*/ 109772 w 128326"/>
                    <a:gd name="connsiteY33" fmla="*/ 38760 h 185604"/>
                    <a:gd name="connsiteX34" fmla="*/ 111266 w 128326"/>
                    <a:gd name="connsiteY34" fmla="*/ 44310 h 185604"/>
                    <a:gd name="connsiteX35" fmla="*/ 112759 w 128326"/>
                    <a:gd name="connsiteY35" fmla="*/ 54753 h 185604"/>
                    <a:gd name="connsiteX36" fmla="*/ 113452 w 128326"/>
                    <a:gd name="connsiteY36" fmla="*/ 57485 h 185604"/>
                    <a:gd name="connsiteX37" fmla="*/ 112881 w 128326"/>
                    <a:gd name="connsiteY37" fmla="*/ 60982 h 185604"/>
                    <a:gd name="connsiteX38" fmla="*/ 111144 w 128326"/>
                    <a:gd name="connsiteY38" fmla="*/ 63422 h 185604"/>
                    <a:gd name="connsiteX39" fmla="*/ 109493 w 128326"/>
                    <a:gd name="connsiteY39" fmla="*/ 66349 h 185604"/>
                    <a:gd name="connsiteX40" fmla="*/ 110015 w 128326"/>
                    <a:gd name="connsiteY40" fmla="*/ 69846 h 185604"/>
                    <a:gd name="connsiteX41" fmla="*/ 112189 w 128326"/>
                    <a:gd name="connsiteY41" fmla="*/ 72068 h 185604"/>
                    <a:gd name="connsiteX42" fmla="*/ 112881 w 128326"/>
                    <a:gd name="connsiteY42" fmla="*/ 73319 h 185604"/>
                    <a:gd name="connsiteX43" fmla="*/ 113512 w 128326"/>
                    <a:gd name="connsiteY43" fmla="*/ 74861 h 185604"/>
                    <a:gd name="connsiteX44" fmla="*/ 113682 w 128326"/>
                    <a:gd name="connsiteY44" fmla="*/ 76416 h 185604"/>
                    <a:gd name="connsiteX45" fmla="*/ 113682 w 128326"/>
                    <a:gd name="connsiteY45" fmla="*/ 77326 h 185604"/>
                    <a:gd name="connsiteX46" fmla="*/ 113330 w 128326"/>
                    <a:gd name="connsiteY46" fmla="*/ 79731 h 185604"/>
                    <a:gd name="connsiteX47" fmla="*/ 113330 w 128326"/>
                    <a:gd name="connsiteY47" fmla="*/ 81370 h 185604"/>
                    <a:gd name="connsiteX48" fmla="*/ 113682 w 128326"/>
                    <a:gd name="connsiteY48" fmla="*/ 82936 h 185604"/>
                    <a:gd name="connsiteX49" fmla="*/ 114544 w 128326"/>
                    <a:gd name="connsiteY49" fmla="*/ 84588 h 185604"/>
                    <a:gd name="connsiteX50" fmla="*/ 119766 w 128326"/>
                    <a:gd name="connsiteY50" fmla="*/ 90113 h 185604"/>
                    <a:gd name="connsiteX51" fmla="*/ 120640 w 128326"/>
                    <a:gd name="connsiteY51" fmla="*/ 91376 h 185604"/>
                    <a:gd name="connsiteX52" fmla="*/ 121089 w 128326"/>
                    <a:gd name="connsiteY52" fmla="*/ 92432 h 185604"/>
                    <a:gd name="connsiteX53" fmla="*/ 121429 w 128326"/>
                    <a:gd name="connsiteY53" fmla="*/ 93901 h 185604"/>
                    <a:gd name="connsiteX54" fmla="*/ 122182 w 128326"/>
                    <a:gd name="connsiteY54" fmla="*/ 101539 h 185604"/>
                    <a:gd name="connsiteX55" fmla="*/ 121769 w 128326"/>
                    <a:gd name="connsiteY55" fmla="*/ 103264 h 185604"/>
                    <a:gd name="connsiteX56" fmla="*/ 121089 w 128326"/>
                    <a:gd name="connsiteY56" fmla="*/ 104672 h 185604"/>
                    <a:gd name="connsiteX57" fmla="*/ 119426 w 128326"/>
                    <a:gd name="connsiteY57" fmla="*/ 105874 h 185604"/>
                    <a:gd name="connsiteX58" fmla="*/ 118042 w 128326"/>
                    <a:gd name="connsiteY58" fmla="*/ 106518 h 185604"/>
                    <a:gd name="connsiteX59" fmla="*/ 112249 w 128326"/>
                    <a:gd name="connsiteY59" fmla="*/ 107635 h 185604"/>
                    <a:gd name="connsiteX60" fmla="*/ 111448 w 128326"/>
                    <a:gd name="connsiteY60" fmla="*/ 107890 h 185604"/>
                    <a:gd name="connsiteX61" fmla="*/ 110756 w 128326"/>
                    <a:gd name="connsiteY61" fmla="*/ 108582 h 185604"/>
                    <a:gd name="connsiteX62" fmla="*/ 110294 w 128326"/>
                    <a:gd name="connsiteY62" fmla="*/ 109590 h 185604"/>
                    <a:gd name="connsiteX63" fmla="*/ 110355 w 128326"/>
                    <a:gd name="connsiteY63" fmla="*/ 111387 h 185604"/>
                    <a:gd name="connsiteX64" fmla="*/ 110926 w 128326"/>
                    <a:gd name="connsiteY64" fmla="*/ 112650 h 185604"/>
                    <a:gd name="connsiteX65" fmla="*/ 111836 w 128326"/>
                    <a:gd name="connsiteY65" fmla="*/ 113767 h 185604"/>
                    <a:gd name="connsiteX66" fmla="*/ 117349 w 128326"/>
                    <a:gd name="connsiteY66" fmla="*/ 116937 h 185604"/>
                    <a:gd name="connsiteX67" fmla="*/ 118272 w 128326"/>
                    <a:gd name="connsiteY67" fmla="*/ 117690 h 185604"/>
                    <a:gd name="connsiteX68" fmla="*/ 119147 w 128326"/>
                    <a:gd name="connsiteY68" fmla="*/ 118539 h 185604"/>
                    <a:gd name="connsiteX69" fmla="*/ 119705 w 128326"/>
                    <a:gd name="connsiteY69" fmla="*/ 119632 h 185604"/>
                    <a:gd name="connsiteX70" fmla="*/ 119997 w 128326"/>
                    <a:gd name="connsiteY70" fmla="*/ 120895 h 185604"/>
                    <a:gd name="connsiteX71" fmla="*/ 119827 w 128326"/>
                    <a:gd name="connsiteY71" fmla="*/ 122729 h 185604"/>
                    <a:gd name="connsiteX72" fmla="*/ 119183 w 128326"/>
                    <a:gd name="connsiteY72" fmla="*/ 124878 h 185604"/>
                    <a:gd name="connsiteX73" fmla="*/ 114775 w 128326"/>
                    <a:gd name="connsiteY73" fmla="*/ 133864 h 185604"/>
                    <a:gd name="connsiteX74" fmla="*/ 114374 w 128326"/>
                    <a:gd name="connsiteY74" fmla="*/ 135394 h 185604"/>
                    <a:gd name="connsiteX75" fmla="*/ 113792 w 128326"/>
                    <a:gd name="connsiteY75" fmla="*/ 138284 h 185604"/>
                    <a:gd name="connsiteX76" fmla="*/ 113792 w 128326"/>
                    <a:gd name="connsiteY76" fmla="*/ 139692 h 185604"/>
                    <a:gd name="connsiteX77" fmla="*/ 113913 w 128326"/>
                    <a:gd name="connsiteY77" fmla="*/ 141065 h 185604"/>
                    <a:gd name="connsiteX78" fmla="*/ 115224 w 128326"/>
                    <a:gd name="connsiteY78" fmla="*/ 147440 h 185604"/>
                    <a:gd name="connsiteX79" fmla="*/ 115285 w 128326"/>
                    <a:gd name="connsiteY79" fmla="*/ 149067 h 185604"/>
                    <a:gd name="connsiteX80" fmla="*/ 115115 w 128326"/>
                    <a:gd name="connsiteY80" fmla="*/ 150803 h 185604"/>
                    <a:gd name="connsiteX81" fmla="*/ 114714 w 128326"/>
                    <a:gd name="connsiteY81" fmla="*/ 152746 h 185604"/>
                    <a:gd name="connsiteX82" fmla="*/ 114034 w 128326"/>
                    <a:gd name="connsiteY82" fmla="*/ 154507 h 185604"/>
                    <a:gd name="connsiteX83" fmla="*/ 112942 w 128326"/>
                    <a:gd name="connsiteY83" fmla="*/ 156972 h 185604"/>
                    <a:gd name="connsiteX84" fmla="*/ 111569 w 128326"/>
                    <a:gd name="connsiteY84" fmla="*/ 161270 h 185604"/>
                    <a:gd name="connsiteX85" fmla="*/ 111096 w 128326"/>
                    <a:gd name="connsiteY85" fmla="*/ 163565 h 185604"/>
                    <a:gd name="connsiteX86" fmla="*/ 110816 w 128326"/>
                    <a:gd name="connsiteY86" fmla="*/ 164428 h 185604"/>
                    <a:gd name="connsiteX87" fmla="*/ 110355 w 128326"/>
                    <a:gd name="connsiteY87" fmla="*/ 165423 h 185604"/>
                    <a:gd name="connsiteX88" fmla="*/ 107586 w 128326"/>
                    <a:gd name="connsiteY88" fmla="*/ 167864 h 185604"/>
                    <a:gd name="connsiteX89" fmla="*/ 104490 w 128326"/>
                    <a:gd name="connsiteY89" fmla="*/ 169734 h 185604"/>
                    <a:gd name="connsiteX90" fmla="*/ 102195 w 128326"/>
                    <a:gd name="connsiteY90" fmla="*/ 170645 h 185604"/>
                    <a:gd name="connsiteX91" fmla="*/ 99499 w 128326"/>
                    <a:gd name="connsiteY91" fmla="*/ 171009 h 185604"/>
                    <a:gd name="connsiteX92" fmla="*/ 95249 w 128326"/>
                    <a:gd name="connsiteY92" fmla="*/ 170560 h 185604"/>
                    <a:gd name="connsiteX93" fmla="*/ 94096 w 128326"/>
                    <a:gd name="connsiteY93" fmla="*/ 170900 h 185604"/>
                    <a:gd name="connsiteX94" fmla="*/ 92784 w 128326"/>
                    <a:gd name="connsiteY94" fmla="*/ 171665 h 185604"/>
                    <a:gd name="connsiteX95" fmla="*/ 88643 w 128326"/>
                    <a:gd name="connsiteY95" fmla="*/ 175223 h 185604"/>
                    <a:gd name="connsiteX96" fmla="*/ 82220 w 128326"/>
                    <a:gd name="connsiteY96" fmla="*/ 178525 h 185604"/>
                    <a:gd name="connsiteX97" fmla="*/ 80313 w 128326"/>
                    <a:gd name="connsiteY97" fmla="*/ 177287 h 185604"/>
                    <a:gd name="connsiteX98" fmla="*/ 79573 w 128326"/>
                    <a:gd name="connsiteY98" fmla="*/ 176461 h 185604"/>
                    <a:gd name="connsiteX99" fmla="*/ 71886 w 128326"/>
                    <a:gd name="connsiteY99" fmla="*/ 172066 h 185604"/>
                    <a:gd name="connsiteX100" fmla="*/ 70781 w 128326"/>
                    <a:gd name="connsiteY100" fmla="*/ 169394 h 185604"/>
                    <a:gd name="connsiteX101" fmla="*/ 70963 w 128326"/>
                    <a:gd name="connsiteY101" fmla="*/ 166613 h 185604"/>
                    <a:gd name="connsiteX102" fmla="*/ 71886 w 128326"/>
                    <a:gd name="connsiteY102" fmla="*/ 160870 h 185604"/>
                    <a:gd name="connsiteX103" fmla="*/ 70963 w 128326"/>
                    <a:gd name="connsiteY103" fmla="*/ 157883 h 185604"/>
                    <a:gd name="connsiteX104" fmla="*/ 68899 w 128326"/>
                    <a:gd name="connsiteY104" fmla="*/ 156620 h 185604"/>
                    <a:gd name="connsiteX105" fmla="*/ 66422 w 128326"/>
                    <a:gd name="connsiteY105" fmla="*/ 156037 h 185604"/>
                    <a:gd name="connsiteX106" fmla="*/ 64297 w 128326"/>
                    <a:gd name="connsiteY106" fmla="*/ 154920 h 185604"/>
                    <a:gd name="connsiteX107" fmla="*/ 60047 w 128326"/>
                    <a:gd name="connsiteY107" fmla="*/ 146043 h 185604"/>
                    <a:gd name="connsiteX108" fmla="*/ 58444 w 128326"/>
                    <a:gd name="connsiteY108" fmla="*/ 144562 h 185604"/>
                    <a:gd name="connsiteX109" fmla="*/ 48803 w 128326"/>
                    <a:gd name="connsiteY109" fmla="*/ 141818 h 185604"/>
                    <a:gd name="connsiteX110" fmla="*/ 50575 w 128326"/>
                    <a:gd name="connsiteY110" fmla="*/ 136280 h 185604"/>
                    <a:gd name="connsiteX111" fmla="*/ 51790 w 128326"/>
                    <a:gd name="connsiteY111" fmla="*/ 133852 h 185604"/>
                    <a:gd name="connsiteX112" fmla="*/ 53283 w 128326"/>
                    <a:gd name="connsiteY112" fmla="*/ 131957 h 185604"/>
                    <a:gd name="connsiteX113" fmla="*/ 57290 w 128326"/>
                    <a:gd name="connsiteY113" fmla="*/ 129517 h 185604"/>
                    <a:gd name="connsiteX114" fmla="*/ 58031 w 128326"/>
                    <a:gd name="connsiteY114" fmla="*/ 127817 h 185604"/>
                    <a:gd name="connsiteX115" fmla="*/ 56477 w 128326"/>
                    <a:gd name="connsiteY115" fmla="*/ 124684 h 185604"/>
                    <a:gd name="connsiteX116" fmla="*/ 55226 w 128326"/>
                    <a:gd name="connsiteY116" fmla="*/ 126129 h 185604"/>
                    <a:gd name="connsiteX117" fmla="*/ 44722 w 128326"/>
                    <a:gd name="connsiteY117" fmla="*/ 91121 h 185604"/>
                    <a:gd name="connsiteX118" fmla="*/ 43107 w 128326"/>
                    <a:gd name="connsiteY118" fmla="*/ 88802 h 185604"/>
                    <a:gd name="connsiteX119" fmla="*/ 40642 w 128326"/>
                    <a:gd name="connsiteY119" fmla="*/ 88000 h 185604"/>
                    <a:gd name="connsiteX120" fmla="*/ 36684 w 128326"/>
                    <a:gd name="connsiteY120" fmla="*/ 87891 h 185604"/>
                    <a:gd name="connsiteX121" fmla="*/ 32713 w 128326"/>
                    <a:gd name="connsiteY121" fmla="*/ 86907 h 185604"/>
                    <a:gd name="connsiteX122" fmla="*/ 29556 w 128326"/>
                    <a:gd name="connsiteY122" fmla="*/ 84527 h 185604"/>
                    <a:gd name="connsiteX123" fmla="*/ 24395 w 128326"/>
                    <a:gd name="connsiteY123" fmla="*/ 78710 h 185604"/>
                    <a:gd name="connsiteX124" fmla="*/ 35020 w 128326"/>
                    <a:gd name="connsiteY124" fmla="*/ 79463 h 185604"/>
                    <a:gd name="connsiteX125" fmla="*/ 36684 w 128326"/>
                    <a:gd name="connsiteY125" fmla="*/ 79366 h 185604"/>
                    <a:gd name="connsiteX126" fmla="*/ 38857 w 128326"/>
                    <a:gd name="connsiteY126" fmla="*/ 78735 h 185604"/>
                    <a:gd name="connsiteX127" fmla="*/ 41104 w 128326"/>
                    <a:gd name="connsiteY127" fmla="*/ 79876 h 185604"/>
                    <a:gd name="connsiteX128" fmla="*/ 43508 w 128326"/>
                    <a:gd name="connsiteY128" fmla="*/ 80605 h 185604"/>
                    <a:gd name="connsiteX129" fmla="*/ 46277 w 128326"/>
                    <a:gd name="connsiteY129" fmla="*/ 78723 h 185604"/>
                    <a:gd name="connsiteX130" fmla="*/ 52579 w 128326"/>
                    <a:gd name="connsiteY130" fmla="*/ 81127 h 185604"/>
                    <a:gd name="connsiteX131" fmla="*/ 54886 w 128326"/>
                    <a:gd name="connsiteY131" fmla="*/ 82997 h 185604"/>
                    <a:gd name="connsiteX132" fmla="*/ 56477 w 128326"/>
                    <a:gd name="connsiteY132" fmla="*/ 86725 h 185604"/>
                    <a:gd name="connsiteX133" fmla="*/ 57351 w 128326"/>
                    <a:gd name="connsiteY133" fmla="*/ 86543 h 185604"/>
                    <a:gd name="connsiteX134" fmla="*/ 57934 w 128326"/>
                    <a:gd name="connsiteY134" fmla="*/ 86348 h 185604"/>
                    <a:gd name="connsiteX135" fmla="*/ 58395 w 128326"/>
                    <a:gd name="connsiteY135" fmla="*/ 85960 h 185604"/>
                    <a:gd name="connsiteX136" fmla="*/ 59075 w 128326"/>
                    <a:gd name="connsiteY136" fmla="*/ 85280 h 185604"/>
                    <a:gd name="connsiteX137" fmla="*/ 57582 w 128326"/>
                    <a:gd name="connsiteY137" fmla="*/ 83920 h 185604"/>
                    <a:gd name="connsiteX138" fmla="*/ 53283 w 128326"/>
                    <a:gd name="connsiteY138" fmla="*/ 78079 h 185604"/>
                    <a:gd name="connsiteX139" fmla="*/ 51547 w 128326"/>
                    <a:gd name="connsiteY139" fmla="*/ 76901 h 185604"/>
                    <a:gd name="connsiteX140" fmla="*/ 43739 w 128326"/>
                    <a:gd name="connsiteY140" fmla="*/ 73489 h 185604"/>
                    <a:gd name="connsiteX141" fmla="*/ 42476 w 128326"/>
                    <a:gd name="connsiteY141" fmla="*/ 73368 h 185604"/>
                    <a:gd name="connsiteX142" fmla="*/ 39829 w 128326"/>
                    <a:gd name="connsiteY142" fmla="*/ 73659 h 185604"/>
                    <a:gd name="connsiteX143" fmla="*/ 38578 w 128326"/>
                    <a:gd name="connsiteY143" fmla="*/ 73477 h 185604"/>
                    <a:gd name="connsiteX144" fmla="*/ 37765 w 128326"/>
                    <a:gd name="connsiteY144" fmla="*/ 72870 h 185604"/>
                    <a:gd name="connsiteX145" fmla="*/ 36392 w 128326"/>
                    <a:gd name="connsiteY145" fmla="*/ 71170 h 185604"/>
                    <a:gd name="connsiteX146" fmla="*/ 35409 w 128326"/>
                    <a:gd name="connsiteY146" fmla="*/ 70830 h 185604"/>
                    <a:gd name="connsiteX147" fmla="*/ 28755 w 128326"/>
                    <a:gd name="connsiteY147" fmla="*/ 70198 h 185604"/>
                    <a:gd name="connsiteX148" fmla="*/ 26921 w 128326"/>
                    <a:gd name="connsiteY148" fmla="*/ 70830 h 185604"/>
                    <a:gd name="connsiteX149" fmla="*/ 26678 w 128326"/>
                    <a:gd name="connsiteY149" fmla="*/ 68559 h 185604"/>
                    <a:gd name="connsiteX150" fmla="*/ 27662 w 128326"/>
                    <a:gd name="connsiteY150" fmla="*/ 65827 h 185604"/>
                    <a:gd name="connsiteX151" fmla="*/ 29277 w 128326"/>
                    <a:gd name="connsiteY151" fmla="*/ 63325 h 185604"/>
                    <a:gd name="connsiteX152" fmla="*/ 30879 w 128326"/>
                    <a:gd name="connsiteY152" fmla="*/ 61650 h 185604"/>
                    <a:gd name="connsiteX153" fmla="*/ 32895 w 128326"/>
                    <a:gd name="connsiteY153" fmla="*/ 60739 h 185604"/>
                    <a:gd name="connsiteX154" fmla="*/ 41165 w 128326"/>
                    <a:gd name="connsiteY154" fmla="*/ 58906 h 185604"/>
                    <a:gd name="connsiteX155" fmla="*/ 39428 w 128326"/>
                    <a:gd name="connsiteY155" fmla="*/ 57874 h 185604"/>
                    <a:gd name="connsiteX156" fmla="*/ 38736 w 128326"/>
                    <a:gd name="connsiteY156" fmla="*/ 56963 h 185604"/>
                    <a:gd name="connsiteX157" fmla="*/ 38991 w 128326"/>
                    <a:gd name="connsiteY157" fmla="*/ 56040 h 185604"/>
                    <a:gd name="connsiteX158" fmla="*/ 39962 w 128326"/>
                    <a:gd name="connsiteY158" fmla="*/ 54983 h 185604"/>
                    <a:gd name="connsiteX159" fmla="*/ 39962 w 128326"/>
                    <a:gd name="connsiteY159" fmla="*/ 53805 h 185604"/>
                    <a:gd name="connsiteX160" fmla="*/ 26933 w 128326"/>
                    <a:gd name="connsiteY160" fmla="*/ 60946 h 185604"/>
                    <a:gd name="connsiteX161" fmla="*/ 25039 w 128326"/>
                    <a:gd name="connsiteY161" fmla="*/ 62524 h 185604"/>
                    <a:gd name="connsiteX162" fmla="*/ 21299 w 128326"/>
                    <a:gd name="connsiteY162" fmla="*/ 61553 h 185604"/>
                    <a:gd name="connsiteX163" fmla="*/ 18482 w 128326"/>
                    <a:gd name="connsiteY163" fmla="*/ 58517 h 185604"/>
                    <a:gd name="connsiteX164" fmla="*/ 19417 w 128326"/>
                    <a:gd name="connsiteY164" fmla="*/ 53805 h 185604"/>
                    <a:gd name="connsiteX165" fmla="*/ 16587 w 128326"/>
                    <a:gd name="connsiteY165" fmla="*/ 49495 h 185604"/>
                    <a:gd name="connsiteX166" fmla="*/ 15798 w 128326"/>
                    <a:gd name="connsiteY166" fmla="*/ 47248 h 185604"/>
                    <a:gd name="connsiteX167" fmla="*/ 15446 w 128326"/>
                    <a:gd name="connsiteY167" fmla="*/ 44492 h 185604"/>
                    <a:gd name="connsiteX168" fmla="*/ 15798 w 128326"/>
                    <a:gd name="connsiteY168" fmla="*/ 42087 h 185604"/>
                    <a:gd name="connsiteX169" fmla="*/ 16648 w 128326"/>
                    <a:gd name="connsiteY169" fmla="*/ 40995 h 185604"/>
                    <a:gd name="connsiteX170" fmla="*/ 17559 w 128326"/>
                    <a:gd name="connsiteY170" fmla="*/ 40193 h 185604"/>
                    <a:gd name="connsiteX171" fmla="*/ 17984 w 128326"/>
                    <a:gd name="connsiteY171" fmla="*/ 38578 h 185604"/>
                    <a:gd name="connsiteX172" fmla="*/ 20218 w 128326"/>
                    <a:gd name="connsiteY172" fmla="*/ 35652 h 185604"/>
                    <a:gd name="connsiteX173" fmla="*/ 25257 w 128326"/>
                    <a:gd name="connsiteY173" fmla="*/ 33794 h 185604"/>
                    <a:gd name="connsiteX174" fmla="*/ 34790 w 128326"/>
                    <a:gd name="connsiteY174" fmla="*/ 31378 h 185604"/>
                    <a:gd name="connsiteX175" fmla="*/ 34790 w 128326"/>
                    <a:gd name="connsiteY175" fmla="*/ 30066 h 185604"/>
                    <a:gd name="connsiteX176" fmla="*/ 27795 w 128326"/>
                    <a:gd name="connsiteY176" fmla="*/ 29945 h 185604"/>
                    <a:gd name="connsiteX177" fmla="*/ 24565 w 128326"/>
                    <a:gd name="connsiteY177" fmla="*/ 30467 h 185604"/>
                    <a:gd name="connsiteX178" fmla="*/ 23254 w 128326"/>
                    <a:gd name="connsiteY178" fmla="*/ 32045 h 185604"/>
                    <a:gd name="connsiteX179" fmla="*/ 21651 w 128326"/>
                    <a:gd name="connsiteY179" fmla="*/ 32810 h 185604"/>
                    <a:gd name="connsiteX180" fmla="*/ 15094 w 128326"/>
                    <a:gd name="connsiteY180" fmla="*/ 37012 h 185604"/>
                    <a:gd name="connsiteX181" fmla="*/ 14183 w 128326"/>
                    <a:gd name="connsiteY181" fmla="*/ 38044 h 185604"/>
                    <a:gd name="connsiteX182" fmla="*/ 12289 w 128326"/>
                    <a:gd name="connsiteY182" fmla="*/ 36611 h 185604"/>
                    <a:gd name="connsiteX183" fmla="*/ 10164 w 128326"/>
                    <a:gd name="connsiteY183" fmla="*/ 33418 h 185604"/>
                    <a:gd name="connsiteX184" fmla="*/ 8488 w 128326"/>
                    <a:gd name="connsiteY184" fmla="*/ 29750 h 185604"/>
                    <a:gd name="connsiteX185" fmla="*/ 7116 w 128326"/>
                    <a:gd name="connsiteY185" fmla="*/ 23800 h 185604"/>
                    <a:gd name="connsiteX186" fmla="*/ 6205 w 128326"/>
                    <a:gd name="connsiteY186" fmla="*/ 21797 h 185604"/>
                    <a:gd name="connsiteX187" fmla="*/ 6363 w 128326"/>
                    <a:gd name="connsiteY187" fmla="*/ 20060 h 185604"/>
                    <a:gd name="connsiteX188" fmla="*/ 9010 w 128326"/>
                    <a:gd name="connsiteY188" fmla="*/ 18142 h 185604"/>
                    <a:gd name="connsiteX189" fmla="*/ 13029 w 128326"/>
                    <a:gd name="connsiteY189" fmla="*/ 16017 h 185604"/>
                    <a:gd name="connsiteX190" fmla="*/ 22039 w 128326"/>
                    <a:gd name="connsiteY190" fmla="*/ 15567 h 185604"/>
                    <a:gd name="connsiteX191" fmla="*/ 24687 w 128326"/>
                    <a:gd name="connsiteY191" fmla="*/ 15191 h 185604"/>
                    <a:gd name="connsiteX192" fmla="*/ 26241 w 128326"/>
                    <a:gd name="connsiteY192" fmla="*/ 14608 h 185604"/>
                    <a:gd name="connsiteX193" fmla="*/ 27382 w 128326"/>
                    <a:gd name="connsiteY193" fmla="*/ 13126 h 185604"/>
                    <a:gd name="connsiteX194" fmla="*/ 30090 w 128326"/>
                    <a:gd name="connsiteY194" fmla="*/ 8791 h 185604"/>
                    <a:gd name="connsiteX195" fmla="*/ 30952 w 128326"/>
                    <a:gd name="connsiteY195" fmla="*/ 7844 h 185604"/>
                    <a:gd name="connsiteX196" fmla="*/ 32543 w 128326"/>
                    <a:gd name="connsiteY196" fmla="*/ 6679 h 185604"/>
                    <a:gd name="connsiteX197" fmla="*/ 31317 w 128326"/>
                    <a:gd name="connsiteY197" fmla="*/ 0 h 185604"/>
                    <a:gd name="connsiteX198" fmla="*/ 28888 w 128326"/>
                    <a:gd name="connsiteY198" fmla="*/ 1821 h 185604"/>
                    <a:gd name="connsiteX199" fmla="*/ 27285 w 128326"/>
                    <a:gd name="connsiteY199" fmla="*/ 3036 h 185604"/>
                    <a:gd name="connsiteX200" fmla="*/ 26836 w 128326"/>
                    <a:gd name="connsiteY200" fmla="*/ 3376 h 185604"/>
                    <a:gd name="connsiteX201" fmla="*/ 26459 w 128326"/>
                    <a:gd name="connsiteY201" fmla="*/ 3789 h 185604"/>
                    <a:gd name="connsiteX202" fmla="*/ 25597 w 128326"/>
                    <a:gd name="connsiteY202" fmla="*/ 4736 h 185604"/>
                    <a:gd name="connsiteX203" fmla="*/ 25221 w 128326"/>
                    <a:gd name="connsiteY203" fmla="*/ 5137 h 185604"/>
                    <a:gd name="connsiteX204" fmla="*/ 24929 w 128326"/>
                    <a:gd name="connsiteY204" fmla="*/ 5610 h 185604"/>
                    <a:gd name="connsiteX205" fmla="*/ 22574 w 128326"/>
                    <a:gd name="connsiteY205" fmla="*/ 9399 h 185604"/>
                    <a:gd name="connsiteX206" fmla="*/ 21177 w 128326"/>
                    <a:gd name="connsiteY206" fmla="*/ 9605 h 185604"/>
                    <a:gd name="connsiteX207" fmla="*/ 12726 w 128326"/>
                    <a:gd name="connsiteY207" fmla="*/ 10006 h 185604"/>
                    <a:gd name="connsiteX208" fmla="*/ 11378 w 128326"/>
                    <a:gd name="connsiteY208" fmla="*/ 10067 h 185604"/>
                    <a:gd name="connsiteX209" fmla="*/ 10188 w 128326"/>
                    <a:gd name="connsiteY209" fmla="*/ 10698 h 185604"/>
                    <a:gd name="connsiteX210" fmla="*/ 6169 w 128326"/>
                    <a:gd name="connsiteY210" fmla="*/ 12823 h 185604"/>
                    <a:gd name="connsiteX211" fmla="*/ 5792 w 128326"/>
                    <a:gd name="connsiteY211" fmla="*/ 13029 h 185604"/>
                    <a:gd name="connsiteX212" fmla="*/ 5440 w 128326"/>
                    <a:gd name="connsiteY212" fmla="*/ 13284 h 185604"/>
                    <a:gd name="connsiteX213" fmla="*/ 2793 w 128326"/>
                    <a:gd name="connsiteY213" fmla="*/ 15203 h 185604"/>
                    <a:gd name="connsiteX214" fmla="*/ 547 w 128326"/>
                    <a:gd name="connsiteY214" fmla="*/ 16830 h 185604"/>
                    <a:gd name="connsiteX215" fmla="*/ 304 w 128326"/>
                    <a:gd name="connsiteY215" fmla="*/ 19599 h 185604"/>
                    <a:gd name="connsiteX216" fmla="*/ 146 w 128326"/>
                    <a:gd name="connsiteY216" fmla="*/ 21335 h 185604"/>
                    <a:gd name="connsiteX217" fmla="*/ 0 w 128326"/>
                    <a:gd name="connsiteY217" fmla="*/ 22926 h 185604"/>
                    <a:gd name="connsiteX218" fmla="*/ 668 w 128326"/>
                    <a:gd name="connsiteY218" fmla="*/ 24383 h 185604"/>
                    <a:gd name="connsiteX219" fmla="*/ 1324 w 128326"/>
                    <a:gd name="connsiteY219" fmla="*/ 25828 h 185604"/>
                    <a:gd name="connsiteX220" fmla="*/ 2562 w 128326"/>
                    <a:gd name="connsiteY220" fmla="*/ 31183 h 185604"/>
                    <a:gd name="connsiteX221" fmla="*/ 2696 w 128326"/>
                    <a:gd name="connsiteY221" fmla="*/ 31790 h 185604"/>
                    <a:gd name="connsiteX222" fmla="*/ 2951 w 128326"/>
                    <a:gd name="connsiteY222" fmla="*/ 32349 h 185604"/>
                    <a:gd name="connsiteX223" fmla="*/ 4627 w 128326"/>
                    <a:gd name="connsiteY223" fmla="*/ 36016 h 185604"/>
                    <a:gd name="connsiteX224" fmla="*/ 4833 w 128326"/>
                    <a:gd name="connsiteY224" fmla="*/ 36453 h 185604"/>
                    <a:gd name="connsiteX225" fmla="*/ 5100 w 128326"/>
                    <a:gd name="connsiteY225" fmla="*/ 36854 h 185604"/>
                    <a:gd name="connsiteX226" fmla="*/ 7225 w 128326"/>
                    <a:gd name="connsiteY226" fmla="*/ 40047 h 185604"/>
                    <a:gd name="connsiteX227" fmla="*/ 7784 w 128326"/>
                    <a:gd name="connsiteY227" fmla="*/ 40898 h 185604"/>
                    <a:gd name="connsiteX228" fmla="*/ 8597 w 128326"/>
                    <a:gd name="connsiteY228" fmla="*/ 41517 h 185604"/>
                    <a:gd name="connsiteX229" fmla="*/ 9617 w 128326"/>
                    <a:gd name="connsiteY229" fmla="*/ 42282 h 185604"/>
                    <a:gd name="connsiteX230" fmla="*/ 9411 w 128326"/>
                    <a:gd name="connsiteY230" fmla="*/ 43678 h 185604"/>
                    <a:gd name="connsiteX231" fmla="*/ 9289 w 128326"/>
                    <a:gd name="connsiteY231" fmla="*/ 44504 h 185604"/>
                    <a:gd name="connsiteX232" fmla="*/ 9399 w 128326"/>
                    <a:gd name="connsiteY232" fmla="*/ 45342 h 185604"/>
                    <a:gd name="connsiteX233" fmla="*/ 9751 w 128326"/>
                    <a:gd name="connsiteY233" fmla="*/ 48098 h 185604"/>
                    <a:gd name="connsiteX234" fmla="*/ 9836 w 128326"/>
                    <a:gd name="connsiteY234" fmla="*/ 48730 h 185604"/>
                    <a:gd name="connsiteX235" fmla="*/ 10054 w 128326"/>
                    <a:gd name="connsiteY235" fmla="*/ 49337 h 185604"/>
                    <a:gd name="connsiteX236" fmla="*/ 10844 w 128326"/>
                    <a:gd name="connsiteY236" fmla="*/ 51583 h 185604"/>
                    <a:gd name="connsiteX237" fmla="*/ 11087 w 128326"/>
                    <a:gd name="connsiteY237" fmla="*/ 52287 h 185604"/>
                    <a:gd name="connsiteX238" fmla="*/ 11487 w 128326"/>
                    <a:gd name="connsiteY238" fmla="*/ 52907 h 185604"/>
                    <a:gd name="connsiteX239" fmla="*/ 12957 w 128326"/>
                    <a:gd name="connsiteY239" fmla="*/ 55141 h 185604"/>
                    <a:gd name="connsiteX240" fmla="*/ 12507 w 128326"/>
                    <a:gd name="connsiteY240" fmla="*/ 57424 h 185604"/>
                    <a:gd name="connsiteX241" fmla="*/ 11900 w 128326"/>
                    <a:gd name="connsiteY241" fmla="*/ 60472 h 185604"/>
                    <a:gd name="connsiteX242" fmla="*/ 14013 w 128326"/>
                    <a:gd name="connsiteY242" fmla="*/ 62755 h 185604"/>
                    <a:gd name="connsiteX243" fmla="*/ 16830 w 128326"/>
                    <a:gd name="connsiteY243" fmla="*/ 65790 h 185604"/>
                    <a:gd name="connsiteX244" fmla="*/ 18032 w 128326"/>
                    <a:gd name="connsiteY244" fmla="*/ 67078 h 185604"/>
                    <a:gd name="connsiteX245" fmla="*/ 19744 w 128326"/>
                    <a:gd name="connsiteY245" fmla="*/ 67515 h 185604"/>
                    <a:gd name="connsiteX246" fmla="*/ 20546 w 128326"/>
                    <a:gd name="connsiteY246" fmla="*/ 67733 h 185604"/>
                    <a:gd name="connsiteX247" fmla="*/ 20485 w 128326"/>
                    <a:gd name="connsiteY247" fmla="*/ 67916 h 185604"/>
                    <a:gd name="connsiteX248" fmla="*/ 20631 w 128326"/>
                    <a:gd name="connsiteY248" fmla="*/ 69312 h 185604"/>
                    <a:gd name="connsiteX249" fmla="*/ 20874 w 128326"/>
                    <a:gd name="connsiteY249" fmla="*/ 71583 h 185604"/>
                    <a:gd name="connsiteX250" fmla="*/ 20971 w 128326"/>
                    <a:gd name="connsiteY250" fmla="*/ 72469 h 185604"/>
                    <a:gd name="connsiteX251" fmla="*/ 9981 w 128326"/>
                    <a:gd name="connsiteY251" fmla="*/ 71704 h 185604"/>
                    <a:gd name="connsiteX252" fmla="*/ 19842 w 128326"/>
                    <a:gd name="connsiteY252" fmla="*/ 82839 h 185604"/>
                    <a:gd name="connsiteX253" fmla="*/ 25002 w 128326"/>
                    <a:gd name="connsiteY253" fmla="*/ 88656 h 185604"/>
                    <a:gd name="connsiteX254" fmla="*/ 25403 w 128326"/>
                    <a:gd name="connsiteY254" fmla="*/ 89105 h 185604"/>
                    <a:gd name="connsiteX255" fmla="*/ 25889 w 128326"/>
                    <a:gd name="connsiteY255" fmla="*/ 89469 h 185604"/>
                    <a:gd name="connsiteX256" fmla="*/ 29046 w 128326"/>
                    <a:gd name="connsiteY256" fmla="*/ 91849 h 185604"/>
                    <a:gd name="connsiteX257" fmla="*/ 30042 w 128326"/>
                    <a:gd name="connsiteY257" fmla="*/ 92602 h 185604"/>
                    <a:gd name="connsiteX258" fmla="*/ 31244 w 128326"/>
                    <a:gd name="connsiteY258" fmla="*/ 92893 h 185604"/>
                    <a:gd name="connsiteX259" fmla="*/ 35215 w 128326"/>
                    <a:gd name="connsiteY259" fmla="*/ 93877 h 185604"/>
                    <a:gd name="connsiteX260" fmla="*/ 35858 w 128326"/>
                    <a:gd name="connsiteY260" fmla="*/ 94035 h 185604"/>
                    <a:gd name="connsiteX261" fmla="*/ 36514 w 128326"/>
                    <a:gd name="connsiteY261" fmla="*/ 94059 h 185604"/>
                    <a:gd name="connsiteX262" fmla="*/ 39258 w 128326"/>
                    <a:gd name="connsiteY262" fmla="*/ 94132 h 185604"/>
                    <a:gd name="connsiteX263" fmla="*/ 49240 w 128326"/>
                    <a:gd name="connsiteY263" fmla="*/ 127404 h 185604"/>
                    <a:gd name="connsiteX264" fmla="*/ 49191 w 128326"/>
                    <a:gd name="connsiteY264" fmla="*/ 127440 h 185604"/>
                    <a:gd name="connsiteX265" fmla="*/ 48511 w 128326"/>
                    <a:gd name="connsiteY265" fmla="*/ 128290 h 185604"/>
                    <a:gd name="connsiteX266" fmla="*/ 47017 w 128326"/>
                    <a:gd name="connsiteY266" fmla="*/ 130185 h 185604"/>
                    <a:gd name="connsiteX267" fmla="*/ 46629 w 128326"/>
                    <a:gd name="connsiteY267" fmla="*/ 130670 h 185604"/>
                    <a:gd name="connsiteX268" fmla="*/ 46350 w 128326"/>
                    <a:gd name="connsiteY268" fmla="*/ 131229 h 185604"/>
                    <a:gd name="connsiteX269" fmla="*/ 45135 w 128326"/>
                    <a:gd name="connsiteY269" fmla="*/ 133658 h 185604"/>
                    <a:gd name="connsiteX270" fmla="*/ 44929 w 128326"/>
                    <a:gd name="connsiteY270" fmla="*/ 134070 h 185604"/>
                    <a:gd name="connsiteX271" fmla="*/ 44783 w 128326"/>
                    <a:gd name="connsiteY271" fmla="*/ 134520 h 185604"/>
                    <a:gd name="connsiteX272" fmla="*/ 43010 w 128326"/>
                    <a:gd name="connsiteY272" fmla="*/ 140057 h 185604"/>
                    <a:gd name="connsiteX273" fmla="*/ 41092 w 128326"/>
                    <a:gd name="connsiteY273" fmla="*/ 146031 h 185604"/>
                    <a:gd name="connsiteX274" fmla="*/ 47127 w 128326"/>
                    <a:gd name="connsiteY274" fmla="*/ 147743 h 185604"/>
                    <a:gd name="connsiteX275" fmla="*/ 55177 w 128326"/>
                    <a:gd name="connsiteY275" fmla="*/ 150026 h 185604"/>
                    <a:gd name="connsiteX276" fmla="*/ 58808 w 128326"/>
                    <a:gd name="connsiteY276" fmla="*/ 157628 h 185604"/>
                    <a:gd name="connsiteX277" fmla="*/ 59683 w 128326"/>
                    <a:gd name="connsiteY277" fmla="*/ 159437 h 185604"/>
                    <a:gd name="connsiteX278" fmla="*/ 61468 w 128326"/>
                    <a:gd name="connsiteY278" fmla="*/ 160372 h 185604"/>
                    <a:gd name="connsiteX279" fmla="*/ 63593 w 128326"/>
                    <a:gd name="connsiteY279" fmla="*/ 161489 h 185604"/>
                    <a:gd name="connsiteX280" fmla="*/ 64273 w 128326"/>
                    <a:gd name="connsiteY280" fmla="*/ 161853 h 185604"/>
                    <a:gd name="connsiteX281" fmla="*/ 65025 w 128326"/>
                    <a:gd name="connsiteY281" fmla="*/ 162023 h 185604"/>
                    <a:gd name="connsiteX282" fmla="*/ 65535 w 128326"/>
                    <a:gd name="connsiteY282" fmla="*/ 162157 h 185604"/>
                    <a:gd name="connsiteX283" fmla="*/ 64965 w 128326"/>
                    <a:gd name="connsiteY283" fmla="*/ 165727 h 185604"/>
                    <a:gd name="connsiteX284" fmla="*/ 64710 w 128326"/>
                    <a:gd name="connsiteY284" fmla="*/ 169066 h 185604"/>
                    <a:gd name="connsiteX285" fmla="*/ 64613 w 128326"/>
                    <a:gd name="connsiteY285" fmla="*/ 170487 h 185604"/>
                    <a:gd name="connsiteX286" fmla="*/ 65159 w 128326"/>
                    <a:gd name="connsiteY286" fmla="*/ 171786 h 185604"/>
                    <a:gd name="connsiteX287" fmla="*/ 66264 w 128326"/>
                    <a:gd name="connsiteY287" fmla="*/ 174458 h 185604"/>
                    <a:gd name="connsiteX288" fmla="*/ 67053 w 128326"/>
                    <a:gd name="connsiteY288" fmla="*/ 176376 h 185604"/>
                    <a:gd name="connsiteX289" fmla="*/ 68851 w 128326"/>
                    <a:gd name="connsiteY289" fmla="*/ 177396 h 185604"/>
                    <a:gd name="connsiteX290" fmla="*/ 75675 w 128326"/>
                    <a:gd name="connsiteY290" fmla="*/ 181306 h 185604"/>
                    <a:gd name="connsiteX291" fmla="*/ 75760 w 128326"/>
                    <a:gd name="connsiteY291" fmla="*/ 181403 h 185604"/>
                    <a:gd name="connsiteX292" fmla="*/ 76306 w 128326"/>
                    <a:gd name="connsiteY292" fmla="*/ 182011 h 185604"/>
                    <a:gd name="connsiteX293" fmla="*/ 76986 w 128326"/>
                    <a:gd name="connsiteY293" fmla="*/ 182460 h 185604"/>
                    <a:gd name="connsiteX294" fmla="*/ 78893 w 128326"/>
                    <a:gd name="connsiteY294" fmla="*/ 183699 h 185604"/>
                    <a:gd name="connsiteX295" fmla="*/ 81843 w 128326"/>
                    <a:gd name="connsiteY295" fmla="*/ 185605 h 185604"/>
                    <a:gd name="connsiteX296" fmla="*/ 84976 w 128326"/>
                    <a:gd name="connsiteY296" fmla="*/ 183990 h 185604"/>
                    <a:gd name="connsiteX297" fmla="*/ 91400 w 128326"/>
                    <a:gd name="connsiteY297" fmla="*/ 180687 h 185604"/>
                    <a:gd name="connsiteX298" fmla="*/ 92031 w 128326"/>
                    <a:gd name="connsiteY298" fmla="*/ 180371 h 185604"/>
                    <a:gd name="connsiteX299" fmla="*/ 92578 w 128326"/>
                    <a:gd name="connsiteY299" fmla="*/ 179898 h 185604"/>
                    <a:gd name="connsiteX300" fmla="*/ 96148 w 128326"/>
                    <a:gd name="connsiteY300" fmla="*/ 176826 h 185604"/>
                    <a:gd name="connsiteX301" fmla="*/ 98831 w 128326"/>
                    <a:gd name="connsiteY301" fmla="*/ 177105 h 185604"/>
                    <a:gd name="connsiteX302" fmla="*/ 99572 w 128326"/>
                    <a:gd name="connsiteY302" fmla="*/ 177190 h 185604"/>
                    <a:gd name="connsiteX303" fmla="*/ 100301 w 128326"/>
                    <a:gd name="connsiteY303" fmla="*/ 177081 h 185604"/>
                    <a:gd name="connsiteX304" fmla="*/ 102996 w 128326"/>
                    <a:gd name="connsiteY304" fmla="*/ 176716 h 185604"/>
                    <a:gd name="connsiteX305" fmla="*/ 103725 w 128326"/>
                    <a:gd name="connsiteY305" fmla="*/ 176619 h 185604"/>
                    <a:gd name="connsiteX306" fmla="*/ 104417 w 128326"/>
                    <a:gd name="connsiteY306" fmla="*/ 176352 h 185604"/>
                    <a:gd name="connsiteX307" fmla="*/ 106712 w 128326"/>
                    <a:gd name="connsiteY307" fmla="*/ 175441 h 185604"/>
                    <a:gd name="connsiteX308" fmla="*/ 107174 w 128326"/>
                    <a:gd name="connsiteY308" fmla="*/ 175247 h 185604"/>
                    <a:gd name="connsiteX309" fmla="*/ 107611 w 128326"/>
                    <a:gd name="connsiteY309" fmla="*/ 174992 h 185604"/>
                    <a:gd name="connsiteX310" fmla="*/ 110707 w 128326"/>
                    <a:gd name="connsiteY310" fmla="*/ 173122 h 185604"/>
                    <a:gd name="connsiteX311" fmla="*/ 111169 w 128326"/>
                    <a:gd name="connsiteY311" fmla="*/ 172843 h 185604"/>
                    <a:gd name="connsiteX312" fmla="*/ 111581 w 128326"/>
                    <a:gd name="connsiteY312" fmla="*/ 172491 h 185604"/>
                    <a:gd name="connsiteX313" fmla="*/ 114350 w 128326"/>
                    <a:gd name="connsiteY313" fmla="*/ 170050 h 185604"/>
                    <a:gd name="connsiteX314" fmla="*/ 115322 w 128326"/>
                    <a:gd name="connsiteY314" fmla="*/ 169200 h 185604"/>
                    <a:gd name="connsiteX315" fmla="*/ 115856 w 128326"/>
                    <a:gd name="connsiteY315" fmla="*/ 168022 h 185604"/>
                    <a:gd name="connsiteX316" fmla="*/ 116317 w 128326"/>
                    <a:gd name="connsiteY316" fmla="*/ 167026 h 185604"/>
                    <a:gd name="connsiteX317" fmla="*/ 116463 w 128326"/>
                    <a:gd name="connsiteY317" fmla="*/ 166723 h 185604"/>
                    <a:gd name="connsiteX318" fmla="*/ 116572 w 128326"/>
                    <a:gd name="connsiteY318" fmla="*/ 166407 h 185604"/>
                    <a:gd name="connsiteX319" fmla="*/ 116852 w 128326"/>
                    <a:gd name="connsiteY319" fmla="*/ 165545 h 185604"/>
                    <a:gd name="connsiteX320" fmla="*/ 116961 w 128326"/>
                    <a:gd name="connsiteY320" fmla="*/ 165205 h 185604"/>
                    <a:gd name="connsiteX321" fmla="*/ 117034 w 128326"/>
                    <a:gd name="connsiteY321" fmla="*/ 164865 h 185604"/>
                    <a:gd name="connsiteX322" fmla="*/ 117434 w 128326"/>
                    <a:gd name="connsiteY322" fmla="*/ 162885 h 185604"/>
                    <a:gd name="connsiteX323" fmla="*/ 118612 w 128326"/>
                    <a:gd name="connsiteY323" fmla="*/ 159206 h 185604"/>
                    <a:gd name="connsiteX324" fmla="*/ 119572 w 128326"/>
                    <a:gd name="connsiteY324" fmla="*/ 157033 h 185604"/>
                    <a:gd name="connsiteX325" fmla="*/ 120361 w 128326"/>
                    <a:gd name="connsiteY325" fmla="*/ 155017 h 185604"/>
                    <a:gd name="connsiteX326" fmla="*/ 120543 w 128326"/>
                    <a:gd name="connsiteY326" fmla="*/ 154543 h 185604"/>
                    <a:gd name="connsiteX327" fmla="*/ 120640 w 128326"/>
                    <a:gd name="connsiteY327" fmla="*/ 154033 h 185604"/>
                    <a:gd name="connsiteX328" fmla="*/ 121041 w 128326"/>
                    <a:gd name="connsiteY328" fmla="*/ 152090 h 185604"/>
                    <a:gd name="connsiteX329" fmla="*/ 121102 w 128326"/>
                    <a:gd name="connsiteY329" fmla="*/ 151799 h 185604"/>
                    <a:gd name="connsiteX330" fmla="*/ 121126 w 128326"/>
                    <a:gd name="connsiteY330" fmla="*/ 151495 h 185604"/>
                    <a:gd name="connsiteX331" fmla="*/ 121296 w 128326"/>
                    <a:gd name="connsiteY331" fmla="*/ 149759 h 185604"/>
                    <a:gd name="connsiteX332" fmla="*/ 121332 w 128326"/>
                    <a:gd name="connsiteY332" fmla="*/ 149346 h 185604"/>
                    <a:gd name="connsiteX333" fmla="*/ 121320 w 128326"/>
                    <a:gd name="connsiteY333" fmla="*/ 148933 h 185604"/>
                    <a:gd name="connsiteX334" fmla="*/ 121259 w 128326"/>
                    <a:gd name="connsiteY334" fmla="*/ 147306 h 185604"/>
                    <a:gd name="connsiteX335" fmla="*/ 121247 w 128326"/>
                    <a:gd name="connsiteY335" fmla="*/ 146808 h 185604"/>
                    <a:gd name="connsiteX336" fmla="*/ 121150 w 128326"/>
                    <a:gd name="connsiteY336" fmla="*/ 146310 h 185604"/>
                    <a:gd name="connsiteX337" fmla="*/ 119912 w 128326"/>
                    <a:gd name="connsiteY337" fmla="*/ 140263 h 185604"/>
                    <a:gd name="connsiteX338" fmla="*/ 119814 w 128326"/>
                    <a:gd name="connsiteY338" fmla="*/ 139231 h 185604"/>
                    <a:gd name="connsiteX339" fmla="*/ 119814 w 128326"/>
                    <a:gd name="connsiteY339" fmla="*/ 139073 h 185604"/>
                    <a:gd name="connsiteX340" fmla="*/ 120300 w 128326"/>
                    <a:gd name="connsiteY340" fmla="*/ 136681 h 185604"/>
                    <a:gd name="connsiteX341" fmla="*/ 120458 w 128326"/>
                    <a:gd name="connsiteY341" fmla="*/ 136086 h 185604"/>
                    <a:gd name="connsiteX342" fmla="*/ 124611 w 128326"/>
                    <a:gd name="connsiteY342" fmla="*/ 127622 h 185604"/>
                    <a:gd name="connsiteX343" fmla="*/ 124829 w 128326"/>
                    <a:gd name="connsiteY343" fmla="*/ 127185 h 185604"/>
                    <a:gd name="connsiteX344" fmla="*/ 124975 w 128326"/>
                    <a:gd name="connsiteY344" fmla="*/ 126712 h 185604"/>
                    <a:gd name="connsiteX345" fmla="*/ 125631 w 128326"/>
                    <a:gd name="connsiteY345" fmla="*/ 124562 h 185604"/>
                    <a:gd name="connsiteX346" fmla="*/ 125801 w 128326"/>
                    <a:gd name="connsiteY346" fmla="*/ 123980 h 185604"/>
                    <a:gd name="connsiteX347" fmla="*/ 125862 w 128326"/>
                    <a:gd name="connsiteY347" fmla="*/ 123372 h 185604"/>
                    <a:gd name="connsiteX348" fmla="*/ 126032 w 128326"/>
                    <a:gd name="connsiteY348" fmla="*/ 121539 h 185604"/>
                    <a:gd name="connsiteX349" fmla="*/ 126117 w 128326"/>
                    <a:gd name="connsiteY349" fmla="*/ 120567 h 185604"/>
                    <a:gd name="connsiteX350" fmla="*/ 125898 w 128326"/>
                    <a:gd name="connsiteY350" fmla="*/ 119620 h 185604"/>
                    <a:gd name="connsiteX351" fmla="*/ 125607 w 128326"/>
                    <a:gd name="connsiteY351" fmla="*/ 118357 h 185604"/>
                    <a:gd name="connsiteX352" fmla="*/ 125437 w 128326"/>
                    <a:gd name="connsiteY352" fmla="*/ 117604 h 185604"/>
                    <a:gd name="connsiteX353" fmla="*/ 125084 w 128326"/>
                    <a:gd name="connsiteY353" fmla="*/ 116912 h 185604"/>
                    <a:gd name="connsiteX354" fmla="*/ 124526 w 128326"/>
                    <a:gd name="connsiteY354" fmla="*/ 115819 h 185604"/>
                    <a:gd name="connsiteX355" fmla="*/ 124077 w 128326"/>
                    <a:gd name="connsiteY355" fmla="*/ 114957 h 185604"/>
                    <a:gd name="connsiteX356" fmla="*/ 123384 w 128326"/>
                    <a:gd name="connsiteY356" fmla="*/ 114265 h 185604"/>
                    <a:gd name="connsiteX357" fmla="*/ 122510 w 128326"/>
                    <a:gd name="connsiteY357" fmla="*/ 113415 h 185604"/>
                    <a:gd name="connsiteX358" fmla="*/ 121150 w 128326"/>
                    <a:gd name="connsiteY358" fmla="*/ 112286 h 185604"/>
                    <a:gd name="connsiteX359" fmla="*/ 120798 w 128326"/>
                    <a:gd name="connsiteY359" fmla="*/ 111994 h 185604"/>
                    <a:gd name="connsiteX360" fmla="*/ 121964 w 128326"/>
                    <a:gd name="connsiteY360" fmla="*/ 111460 h 185604"/>
                    <a:gd name="connsiteX361" fmla="*/ 122498 w 128326"/>
                    <a:gd name="connsiteY361" fmla="*/ 111205 h 185604"/>
                    <a:gd name="connsiteX362" fmla="*/ 122972 w 128326"/>
                    <a:gd name="connsiteY362" fmla="*/ 110865 h 185604"/>
                    <a:gd name="connsiteX363" fmla="*/ 124635 w 128326"/>
                    <a:gd name="connsiteY363" fmla="*/ 109663 h 185604"/>
                    <a:gd name="connsiteX364" fmla="*/ 125886 w 128326"/>
                    <a:gd name="connsiteY364" fmla="*/ 108764 h 185604"/>
                    <a:gd name="connsiteX365" fmla="*/ 126554 w 128326"/>
                    <a:gd name="connsiteY365" fmla="*/ 107392 h 185604"/>
                    <a:gd name="connsiteX366" fmla="*/ 127234 w 128326"/>
                    <a:gd name="connsiteY366" fmla="*/ 105984 h 185604"/>
                    <a:gd name="connsiteX367" fmla="*/ 127513 w 128326"/>
                    <a:gd name="connsiteY367" fmla="*/ 105389 h 185604"/>
                    <a:gd name="connsiteX368" fmla="*/ 127671 w 128326"/>
                    <a:gd name="connsiteY368" fmla="*/ 104733 h 185604"/>
                    <a:gd name="connsiteX369" fmla="*/ 128084 w 128326"/>
                    <a:gd name="connsiteY369" fmla="*/ 103009 h 185604"/>
                    <a:gd name="connsiteX370" fmla="*/ 128327 w 128326"/>
                    <a:gd name="connsiteY370" fmla="*/ 102025 h 185604"/>
                    <a:gd name="connsiteX371" fmla="*/ 128229 w 128326"/>
                    <a:gd name="connsiteY371" fmla="*/ 101017 h 185604"/>
                    <a:gd name="connsiteX372" fmla="*/ 127477 w 128326"/>
                    <a:gd name="connsiteY372" fmla="*/ 93379 h 185604"/>
                    <a:gd name="connsiteX373" fmla="*/ 127440 w 128326"/>
                    <a:gd name="connsiteY373" fmla="*/ 92991 h 185604"/>
                    <a:gd name="connsiteX374" fmla="*/ 127355 w 128326"/>
                    <a:gd name="connsiteY374" fmla="*/ 92614 h 185604"/>
                    <a:gd name="connsiteX375" fmla="*/ 127015 w 128326"/>
                    <a:gd name="connsiteY375" fmla="*/ 91145 h 185604"/>
                    <a:gd name="connsiteX376" fmla="*/ 126894 w 128326"/>
                    <a:gd name="connsiteY376" fmla="*/ 90623 h 185604"/>
                    <a:gd name="connsiteX377" fmla="*/ 126675 w 128326"/>
                    <a:gd name="connsiteY377" fmla="*/ 90125 h 185604"/>
                    <a:gd name="connsiteX378" fmla="*/ 126226 w 128326"/>
                    <a:gd name="connsiteY378" fmla="*/ 89069 h 185604"/>
                    <a:gd name="connsiteX379" fmla="*/ 125983 w 128326"/>
                    <a:gd name="connsiteY379" fmla="*/ 88498 h 185604"/>
                    <a:gd name="connsiteX380" fmla="*/ 125631 w 128326"/>
                    <a:gd name="connsiteY380" fmla="*/ 87988 h 185604"/>
                    <a:gd name="connsiteX381" fmla="*/ 124757 w 128326"/>
                    <a:gd name="connsiteY381" fmla="*/ 86725 h 185604"/>
                    <a:gd name="connsiteX382" fmla="*/ 124502 w 128326"/>
                    <a:gd name="connsiteY382" fmla="*/ 86348 h 185604"/>
                    <a:gd name="connsiteX383" fmla="*/ 124186 w 128326"/>
                    <a:gd name="connsiteY383" fmla="*/ 86021 h 185604"/>
                    <a:gd name="connsiteX384" fmla="*/ 119547 w 128326"/>
                    <a:gd name="connsiteY384" fmla="*/ 81115 h 185604"/>
                    <a:gd name="connsiteX385" fmla="*/ 119438 w 128326"/>
                    <a:gd name="connsiteY385" fmla="*/ 80908 h 185604"/>
                    <a:gd name="connsiteX386" fmla="*/ 119414 w 128326"/>
                    <a:gd name="connsiteY386" fmla="*/ 80775 h 185604"/>
                    <a:gd name="connsiteX387" fmla="*/ 119414 w 128326"/>
                    <a:gd name="connsiteY387" fmla="*/ 80265 h 185604"/>
                    <a:gd name="connsiteX388" fmla="*/ 119705 w 128326"/>
                    <a:gd name="connsiteY388" fmla="*/ 78298 h 185604"/>
                    <a:gd name="connsiteX389" fmla="*/ 119766 w 128326"/>
                    <a:gd name="connsiteY389" fmla="*/ 77861 h 185604"/>
                    <a:gd name="connsiteX390" fmla="*/ 119766 w 128326"/>
                    <a:gd name="connsiteY390" fmla="*/ 77411 h 185604"/>
                    <a:gd name="connsiteX391" fmla="*/ 119766 w 128326"/>
                    <a:gd name="connsiteY391" fmla="*/ 76501 h 185604"/>
                    <a:gd name="connsiteX392" fmla="*/ 119766 w 128326"/>
                    <a:gd name="connsiteY392" fmla="*/ 76173 h 185604"/>
                    <a:gd name="connsiteX393" fmla="*/ 119729 w 128326"/>
                    <a:gd name="connsiteY393" fmla="*/ 75845 h 185604"/>
                    <a:gd name="connsiteX394" fmla="*/ 119559 w 128326"/>
                    <a:gd name="connsiteY394" fmla="*/ 74291 h 185604"/>
                    <a:gd name="connsiteX395" fmla="*/ 119462 w 128326"/>
                    <a:gd name="connsiteY395" fmla="*/ 73453 h 185604"/>
                    <a:gd name="connsiteX396" fmla="*/ 119147 w 128326"/>
                    <a:gd name="connsiteY396" fmla="*/ 72676 h 185604"/>
                    <a:gd name="connsiteX397" fmla="*/ 118515 w 128326"/>
                    <a:gd name="connsiteY397" fmla="*/ 71133 h 185604"/>
                    <a:gd name="connsiteX398" fmla="*/ 118382 w 128326"/>
                    <a:gd name="connsiteY398" fmla="*/ 70794 h 185604"/>
                    <a:gd name="connsiteX399" fmla="*/ 118199 w 128326"/>
                    <a:gd name="connsiteY399" fmla="*/ 70478 h 185604"/>
                    <a:gd name="connsiteX400" fmla="*/ 117507 w 128326"/>
                    <a:gd name="connsiteY400" fmla="*/ 69227 h 185604"/>
                    <a:gd name="connsiteX401" fmla="*/ 117107 w 128326"/>
                    <a:gd name="connsiteY401" fmla="*/ 68510 h 185604"/>
                    <a:gd name="connsiteX402" fmla="*/ 116536 w 128326"/>
                    <a:gd name="connsiteY402" fmla="*/ 67916 h 185604"/>
                    <a:gd name="connsiteX403" fmla="*/ 115977 w 128326"/>
                    <a:gd name="connsiteY403" fmla="*/ 67345 h 185604"/>
                    <a:gd name="connsiteX404" fmla="*/ 116293 w 128326"/>
                    <a:gd name="connsiteY404" fmla="*/ 66786 h 185604"/>
                    <a:gd name="connsiteX405" fmla="*/ 117847 w 128326"/>
                    <a:gd name="connsiteY405" fmla="*/ 64601 h 185604"/>
                    <a:gd name="connsiteX406" fmla="*/ 118661 w 128326"/>
                    <a:gd name="connsiteY406" fmla="*/ 63447 h 185604"/>
                    <a:gd name="connsiteX407" fmla="*/ 118892 w 128326"/>
                    <a:gd name="connsiteY407" fmla="*/ 62051 h 185604"/>
                    <a:gd name="connsiteX408" fmla="*/ 119462 w 128326"/>
                    <a:gd name="connsiteY408" fmla="*/ 58554 h 185604"/>
                    <a:gd name="connsiteX409" fmla="*/ 119669 w 128326"/>
                    <a:gd name="connsiteY409" fmla="*/ 57302 h 185604"/>
                    <a:gd name="connsiteX410" fmla="*/ 119353 w 128326"/>
                    <a:gd name="connsiteY410" fmla="*/ 56076 h 185604"/>
                    <a:gd name="connsiteX411" fmla="*/ 118746 w 128326"/>
                    <a:gd name="connsiteY411" fmla="*/ 53660 h 185604"/>
                    <a:gd name="connsiteX412" fmla="*/ 117301 w 128326"/>
                    <a:gd name="connsiteY412" fmla="*/ 43545 h 185604"/>
                    <a:gd name="connsiteX413" fmla="*/ 117252 w 128326"/>
                    <a:gd name="connsiteY413" fmla="*/ 43180 h 185604"/>
                    <a:gd name="connsiteX414" fmla="*/ 117155 w 128326"/>
                    <a:gd name="connsiteY414" fmla="*/ 42828 h 185604"/>
                    <a:gd name="connsiteX415" fmla="*/ 115662 w 128326"/>
                    <a:gd name="connsiteY415" fmla="*/ 37279 h 185604"/>
                    <a:gd name="connsiteX416" fmla="*/ 115455 w 128326"/>
                    <a:gd name="connsiteY416" fmla="*/ 36514 h 185604"/>
                    <a:gd name="connsiteX417" fmla="*/ 115054 w 128326"/>
                    <a:gd name="connsiteY417" fmla="*/ 35822 h 185604"/>
                    <a:gd name="connsiteX418" fmla="*/ 114314 w 128326"/>
                    <a:gd name="connsiteY418" fmla="*/ 34547 h 185604"/>
                    <a:gd name="connsiteX419" fmla="*/ 113901 w 128326"/>
                    <a:gd name="connsiteY419" fmla="*/ 33818 h 185604"/>
                    <a:gd name="connsiteX420" fmla="*/ 113282 w 128326"/>
                    <a:gd name="connsiteY420" fmla="*/ 33163 h 185604"/>
                    <a:gd name="connsiteX421" fmla="*/ 111897 w 128326"/>
                    <a:gd name="connsiteY421" fmla="*/ 31814 h 185604"/>
                    <a:gd name="connsiteX422" fmla="*/ 111302 w 128326"/>
                    <a:gd name="connsiteY422" fmla="*/ 31232 h 185604"/>
                    <a:gd name="connsiteX423" fmla="*/ 110574 w 128326"/>
                    <a:gd name="connsiteY423" fmla="*/ 30831 h 185604"/>
                    <a:gd name="connsiteX424" fmla="*/ 105121 w 128326"/>
                    <a:gd name="connsiteY424" fmla="*/ 27844 h 185604"/>
                    <a:gd name="connsiteX425" fmla="*/ 104733 w 128326"/>
                    <a:gd name="connsiteY425" fmla="*/ 27625 h 185604"/>
                    <a:gd name="connsiteX426" fmla="*/ 104320 w 128326"/>
                    <a:gd name="connsiteY426" fmla="*/ 27467 h 185604"/>
                    <a:gd name="connsiteX427" fmla="*/ 100823 w 128326"/>
                    <a:gd name="connsiteY427" fmla="*/ 26168 h 185604"/>
                    <a:gd name="connsiteX428" fmla="*/ 100349 w 128326"/>
                    <a:gd name="connsiteY428" fmla="*/ 25998 h 185604"/>
                    <a:gd name="connsiteX429" fmla="*/ 99851 w 128326"/>
                    <a:gd name="connsiteY429" fmla="*/ 25889 h 185604"/>
                    <a:gd name="connsiteX430" fmla="*/ 98564 w 128326"/>
                    <a:gd name="connsiteY430" fmla="*/ 25634 h 185604"/>
                    <a:gd name="connsiteX431" fmla="*/ 97362 w 128326"/>
                    <a:gd name="connsiteY431" fmla="*/ 25403 h 185604"/>
                    <a:gd name="connsiteX432" fmla="*/ 96160 w 128326"/>
                    <a:gd name="connsiteY432" fmla="*/ 25658 h 185604"/>
                    <a:gd name="connsiteX433" fmla="*/ 95189 w 128326"/>
                    <a:gd name="connsiteY433" fmla="*/ 25865 h 185604"/>
                    <a:gd name="connsiteX434" fmla="*/ 93950 w 128326"/>
                    <a:gd name="connsiteY434" fmla="*/ 26119 h 185604"/>
                    <a:gd name="connsiteX435" fmla="*/ 92918 w 128326"/>
                    <a:gd name="connsiteY435" fmla="*/ 26848 h 185604"/>
                    <a:gd name="connsiteX436" fmla="*/ 90769 w 128326"/>
                    <a:gd name="connsiteY436" fmla="*/ 28366 h 185604"/>
                    <a:gd name="connsiteX437" fmla="*/ 90331 w 128326"/>
                    <a:gd name="connsiteY437" fmla="*/ 28609 h 185604"/>
                    <a:gd name="connsiteX438" fmla="*/ 89858 w 128326"/>
                    <a:gd name="connsiteY438" fmla="*/ 28779 h 185604"/>
                    <a:gd name="connsiteX439" fmla="*/ 88680 w 128326"/>
                    <a:gd name="connsiteY439" fmla="*/ 29010 h 185604"/>
                    <a:gd name="connsiteX440" fmla="*/ 87806 w 128326"/>
                    <a:gd name="connsiteY440" fmla="*/ 28937 h 185604"/>
                    <a:gd name="connsiteX441" fmla="*/ 85656 w 128326"/>
                    <a:gd name="connsiteY441" fmla="*/ 28305 h 185604"/>
                    <a:gd name="connsiteX442" fmla="*/ 84770 w 128326"/>
                    <a:gd name="connsiteY442" fmla="*/ 28050 h 185604"/>
                    <a:gd name="connsiteX443" fmla="*/ 83847 w 128326"/>
                    <a:gd name="connsiteY443" fmla="*/ 28062 h 185604"/>
                    <a:gd name="connsiteX444" fmla="*/ 76501 w 128326"/>
                    <a:gd name="connsiteY444" fmla="*/ 28208 h 185604"/>
                    <a:gd name="connsiteX445" fmla="*/ 75408 w 128326"/>
                    <a:gd name="connsiteY445" fmla="*/ 28232 h 185604"/>
                    <a:gd name="connsiteX446" fmla="*/ 74388 w 128326"/>
                    <a:gd name="connsiteY446" fmla="*/ 28633 h 185604"/>
                    <a:gd name="connsiteX447" fmla="*/ 63714 w 128326"/>
                    <a:gd name="connsiteY447" fmla="*/ 32859 h 185604"/>
                    <a:gd name="connsiteX448" fmla="*/ 62840 w 128326"/>
                    <a:gd name="connsiteY448" fmla="*/ 33114 h 185604"/>
                    <a:gd name="connsiteX449" fmla="*/ 62390 w 128326"/>
                    <a:gd name="connsiteY449" fmla="*/ 33053 h 185604"/>
                    <a:gd name="connsiteX450" fmla="*/ 60909 w 128326"/>
                    <a:gd name="connsiteY450" fmla="*/ 32665 h 185604"/>
                    <a:gd name="connsiteX451" fmla="*/ 58335 w 128326"/>
                    <a:gd name="connsiteY451" fmla="*/ 30989 h 185604"/>
                    <a:gd name="connsiteX452" fmla="*/ 57424 w 128326"/>
                    <a:gd name="connsiteY452" fmla="*/ 29969 h 185604"/>
                    <a:gd name="connsiteX453" fmla="*/ 56768 w 128326"/>
                    <a:gd name="connsiteY453" fmla="*/ 28633 h 185604"/>
                    <a:gd name="connsiteX454" fmla="*/ 54631 w 128326"/>
                    <a:gd name="connsiteY454" fmla="*/ 19368 h 185604"/>
                    <a:gd name="connsiteX455" fmla="*/ 54534 w 128326"/>
                    <a:gd name="connsiteY455" fmla="*/ 18967 h 185604"/>
                    <a:gd name="connsiteX456" fmla="*/ 54388 w 128326"/>
                    <a:gd name="connsiteY456" fmla="*/ 18591 h 185604"/>
                    <a:gd name="connsiteX457" fmla="*/ 53575 w 128326"/>
                    <a:gd name="connsiteY457" fmla="*/ 16442 h 185604"/>
                    <a:gd name="connsiteX458" fmla="*/ 53210 w 128326"/>
                    <a:gd name="connsiteY458" fmla="*/ 15470 h 185604"/>
                    <a:gd name="connsiteX459" fmla="*/ 52543 w 128326"/>
                    <a:gd name="connsiteY459" fmla="*/ 14693 h 185604"/>
                    <a:gd name="connsiteX460" fmla="*/ 51049 w 128326"/>
                    <a:gd name="connsiteY460" fmla="*/ 12920 h 185604"/>
                    <a:gd name="connsiteX461" fmla="*/ 50442 w 128326"/>
                    <a:gd name="connsiteY461" fmla="*/ 12191 h 185604"/>
                    <a:gd name="connsiteX462" fmla="*/ 49640 w 128326"/>
                    <a:gd name="connsiteY462" fmla="*/ 11682 h 185604"/>
                    <a:gd name="connsiteX463" fmla="*/ 47989 w 128326"/>
                    <a:gd name="connsiteY463" fmla="*/ 10637 h 185604"/>
                    <a:gd name="connsiteX464" fmla="*/ 47224 w 128326"/>
                    <a:gd name="connsiteY464" fmla="*/ 10151 h 185604"/>
                    <a:gd name="connsiteX465" fmla="*/ 46337 w 128326"/>
                    <a:gd name="connsiteY465" fmla="*/ 9909 h 185604"/>
                    <a:gd name="connsiteX466" fmla="*/ 43569 w 128326"/>
                    <a:gd name="connsiteY466" fmla="*/ 9156 h 185604"/>
                    <a:gd name="connsiteX467" fmla="*/ 40521 w 128326"/>
                    <a:gd name="connsiteY467" fmla="*/ 8622 h 185604"/>
                    <a:gd name="connsiteX468" fmla="*/ 40315 w 128326"/>
                    <a:gd name="connsiteY468" fmla="*/ 7043 h 185604"/>
                    <a:gd name="connsiteX469" fmla="*/ 40084 w 128326"/>
                    <a:gd name="connsiteY469" fmla="*/ 5270 h 185604"/>
                    <a:gd name="connsiteX470" fmla="*/ 38930 w 128326"/>
                    <a:gd name="connsiteY470" fmla="*/ 3898 h 185604"/>
                    <a:gd name="connsiteX471" fmla="*/ 38250 w 128326"/>
                    <a:gd name="connsiteY471" fmla="*/ 3097 h 185604"/>
                    <a:gd name="connsiteX472" fmla="*/ 37060 w 128326"/>
                    <a:gd name="connsiteY472" fmla="*/ 1700 h 185604"/>
                    <a:gd name="connsiteX473" fmla="*/ 35300 w 128326"/>
                    <a:gd name="connsiteY473" fmla="*/ 1190 h 185604"/>
                    <a:gd name="connsiteX474" fmla="*/ 34195 w 128326"/>
                    <a:gd name="connsiteY474" fmla="*/ 875 h 185604"/>
                    <a:gd name="connsiteX475" fmla="*/ 31317 w 128326"/>
                    <a:gd name="connsiteY475" fmla="*/ 0 h 185604"/>
                    <a:gd name="connsiteX476" fmla="*/ 31317 w 128326"/>
                    <a:gd name="connsiteY476" fmla="*/ 0 h 18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Lst>
                  <a:rect l="l" t="t" r="r" b="b"/>
                  <a:pathLst>
                    <a:path w="128326" h="185604">
                      <a:moveTo>
                        <a:pt x="32543" y="6679"/>
                      </a:moveTo>
                      <a:lnTo>
                        <a:pt x="33648" y="6995"/>
                      </a:lnTo>
                      <a:lnTo>
                        <a:pt x="34328" y="7796"/>
                      </a:lnTo>
                      <a:lnTo>
                        <a:pt x="34717" y="10868"/>
                      </a:lnTo>
                      <a:lnTo>
                        <a:pt x="35130" y="12240"/>
                      </a:lnTo>
                      <a:lnTo>
                        <a:pt x="35822" y="13187"/>
                      </a:lnTo>
                      <a:lnTo>
                        <a:pt x="37085" y="13989"/>
                      </a:lnTo>
                      <a:lnTo>
                        <a:pt x="38457" y="14389"/>
                      </a:lnTo>
                      <a:lnTo>
                        <a:pt x="42015" y="14984"/>
                      </a:lnTo>
                      <a:lnTo>
                        <a:pt x="44783" y="15737"/>
                      </a:lnTo>
                      <a:lnTo>
                        <a:pt x="46435" y="16782"/>
                      </a:lnTo>
                      <a:lnTo>
                        <a:pt x="47928" y="18555"/>
                      </a:lnTo>
                      <a:lnTo>
                        <a:pt x="48742" y="20704"/>
                      </a:lnTo>
                      <a:lnTo>
                        <a:pt x="51037" y="30637"/>
                      </a:lnTo>
                      <a:lnTo>
                        <a:pt x="52360" y="33345"/>
                      </a:lnTo>
                      <a:lnTo>
                        <a:pt x="54364" y="35615"/>
                      </a:lnTo>
                      <a:lnTo>
                        <a:pt x="58444" y="38262"/>
                      </a:lnTo>
                      <a:lnTo>
                        <a:pt x="61261" y="39015"/>
                      </a:lnTo>
                      <a:lnTo>
                        <a:pt x="63325" y="39270"/>
                      </a:lnTo>
                      <a:lnTo>
                        <a:pt x="65669" y="38614"/>
                      </a:lnTo>
                      <a:lnTo>
                        <a:pt x="76646" y="34279"/>
                      </a:lnTo>
                      <a:lnTo>
                        <a:pt x="83993" y="34134"/>
                      </a:lnTo>
                      <a:lnTo>
                        <a:pt x="86761" y="34935"/>
                      </a:lnTo>
                      <a:lnTo>
                        <a:pt x="89044" y="35105"/>
                      </a:lnTo>
                      <a:lnTo>
                        <a:pt x="91509" y="34656"/>
                      </a:lnTo>
                      <a:lnTo>
                        <a:pt x="92845" y="34158"/>
                      </a:lnTo>
                      <a:lnTo>
                        <a:pt x="93974" y="33563"/>
                      </a:lnTo>
                      <a:lnTo>
                        <a:pt x="96451" y="31803"/>
                      </a:lnTo>
                      <a:lnTo>
                        <a:pt x="97423" y="31596"/>
                      </a:lnTo>
                      <a:lnTo>
                        <a:pt x="98698" y="31851"/>
                      </a:lnTo>
                      <a:lnTo>
                        <a:pt x="102195" y="33150"/>
                      </a:lnTo>
                      <a:lnTo>
                        <a:pt x="107647" y="36138"/>
                      </a:lnTo>
                      <a:lnTo>
                        <a:pt x="109031" y="37485"/>
                      </a:lnTo>
                      <a:lnTo>
                        <a:pt x="109772" y="38760"/>
                      </a:lnTo>
                      <a:lnTo>
                        <a:pt x="111266" y="44310"/>
                      </a:lnTo>
                      <a:lnTo>
                        <a:pt x="112759" y="54753"/>
                      </a:lnTo>
                      <a:lnTo>
                        <a:pt x="113452" y="57485"/>
                      </a:lnTo>
                      <a:lnTo>
                        <a:pt x="112881" y="60982"/>
                      </a:lnTo>
                      <a:lnTo>
                        <a:pt x="111144" y="63422"/>
                      </a:lnTo>
                      <a:lnTo>
                        <a:pt x="109493" y="66349"/>
                      </a:lnTo>
                      <a:lnTo>
                        <a:pt x="110015" y="69846"/>
                      </a:lnTo>
                      <a:lnTo>
                        <a:pt x="112189" y="72068"/>
                      </a:lnTo>
                      <a:lnTo>
                        <a:pt x="112881" y="73319"/>
                      </a:lnTo>
                      <a:lnTo>
                        <a:pt x="113512" y="74861"/>
                      </a:lnTo>
                      <a:lnTo>
                        <a:pt x="113682" y="76416"/>
                      </a:lnTo>
                      <a:lnTo>
                        <a:pt x="113682" y="77326"/>
                      </a:lnTo>
                      <a:lnTo>
                        <a:pt x="113330" y="79731"/>
                      </a:lnTo>
                      <a:lnTo>
                        <a:pt x="113330" y="81370"/>
                      </a:lnTo>
                      <a:lnTo>
                        <a:pt x="113682" y="82936"/>
                      </a:lnTo>
                      <a:lnTo>
                        <a:pt x="114544" y="84588"/>
                      </a:lnTo>
                      <a:lnTo>
                        <a:pt x="119766" y="90113"/>
                      </a:lnTo>
                      <a:lnTo>
                        <a:pt x="120640" y="91376"/>
                      </a:lnTo>
                      <a:lnTo>
                        <a:pt x="121089" y="92432"/>
                      </a:lnTo>
                      <a:lnTo>
                        <a:pt x="121429" y="93901"/>
                      </a:lnTo>
                      <a:lnTo>
                        <a:pt x="122182" y="101539"/>
                      </a:lnTo>
                      <a:lnTo>
                        <a:pt x="121769" y="103264"/>
                      </a:lnTo>
                      <a:lnTo>
                        <a:pt x="121089" y="104672"/>
                      </a:lnTo>
                      <a:lnTo>
                        <a:pt x="119426" y="105874"/>
                      </a:lnTo>
                      <a:lnTo>
                        <a:pt x="118042" y="106518"/>
                      </a:lnTo>
                      <a:lnTo>
                        <a:pt x="112249" y="107635"/>
                      </a:lnTo>
                      <a:lnTo>
                        <a:pt x="111448" y="107890"/>
                      </a:lnTo>
                      <a:lnTo>
                        <a:pt x="110756" y="108582"/>
                      </a:lnTo>
                      <a:lnTo>
                        <a:pt x="110294" y="109590"/>
                      </a:lnTo>
                      <a:lnTo>
                        <a:pt x="110355" y="111387"/>
                      </a:lnTo>
                      <a:lnTo>
                        <a:pt x="110926" y="112650"/>
                      </a:lnTo>
                      <a:lnTo>
                        <a:pt x="111836" y="113767"/>
                      </a:lnTo>
                      <a:lnTo>
                        <a:pt x="117349" y="116937"/>
                      </a:lnTo>
                      <a:lnTo>
                        <a:pt x="118272" y="117690"/>
                      </a:lnTo>
                      <a:lnTo>
                        <a:pt x="119147" y="118539"/>
                      </a:lnTo>
                      <a:lnTo>
                        <a:pt x="119705" y="119632"/>
                      </a:lnTo>
                      <a:lnTo>
                        <a:pt x="119997" y="120895"/>
                      </a:lnTo>
                      <a:lnTo>
                        <a:pt x="119827" y="122729"/>
                      </a:lnTo>
                      <a:lnTo>
                        <a:pt x="119183" y="124878"/>
                      </a:lnTo>
                      <a:lnTo>
                        <a:pt x="114775" y="133864"/>
                      </a:lnTo>
                      <a:lnTo>
                        <a:pt x="114374" y="135394"/>
                      </a:lnTo>
                      <a:lnTo>
                        <a:pt x="113792" y="138284"/>
                      </a:lnTo>
                      <a:lnTo>
                        <a:pt x="113792" y="139692"/>
                      </a:lnTo>
                      <a:lnTo>
                        <a:pt x="113913" y="141065"/>
                      </a:lnTo>
                      <a:lnTo>
                        <a:pt x="115224" y="147440"/>
                      </a:lnTo>
                      <a:lnTo>
                        <a:pt x="115285" y="149067"/>
                      </a:lnTo>
                      <a:lnTo>
                        <a:pt x="115115" y="150803"/>
                      </a:lnTo>
                      <a:lnTo>
                        <a:pt x="114714" y="152746"/>
                      </a:lnTo>
                      <a:lnTo>
                        <a:pt x="114034" y="154507"/>
                      </a:lnTo>
                      <a:lnTo>
                        <a:pt x="112942" y="156972"/>
                      </a:lnTo>
                      <a:lnTo>
                        <a:pt x="111569" y="161270"/>
                      </a:lnTo>
                      <a:lnTo>
                        <a:pt x="111096" y="163565"/>
                      </a:lnTo>
                      <a:lnTo>
                        <a:pt x="110816" y="164428"/>
                      </a:lnTo>
                      <a:lnTo>
                        <a:pt x="110355" y="165423"/>
                      </a:lnTo>
                      <a:lnTo>
                        <a:pt x="107586" y="167864"/>
                      </a:lnTo>
                      <a:lnTo>
                        <a:pt x="104490" y="169734"/>
                      </a:lnTo>
                      <a:lnTo>
                        <a:pt x="102195" y="170645"/>
                      </a:lnTo>
                      <a:lnTo>
                        <a:pt x="99499" y="171009"/>
                      </a:lnTo>
                      <a:lnTo>
                        <a:pt x="95249" y="170560"/>
                      </a:lnTo>
                      <a:lnTo>
                        <a:pt x="94096" y="170900"/>
                      </a:lnTo>
                      <a:lnTo>
                        <a:pt x="92784" y="171665"/>
                      </a:lnTo>
                      <a:lnTo>
                        <a:pt x="88643" y="175223"/>
                      </a:lnTo>
                      <a:lnTo>
                        <a:pt x="82220" y="178525"/>
                      </a:lnTo>
                      <a:lnTo>
                        <a:pt x="80313" y="177287"/>
                      </a:lnTo>
                      <a:lnTo>
                        <a:pt x="79573" y="176461"/>
                      </a:lnTo>
                      <a:lnTo>
                        <a:pt x="71886" y="172066"/>
                      </a:lnTo>
                      <a:lnTo>
                        <a:pt x="70781" y="169394"/>
                      </a:lnTo>
                      <a:lnTo>
                        <a:pt x="70963" y="166613"/>
                      </a:lnTo>
                      <a:lnTo>
                        <a:pt x="71886" y="160870"/>
                      </a:lnTo>
                      <a:lnTo>
                        <a:pt x="70963" y="157883"/>
                      </a:lnTo>
                      <a:lnTo>
                        <a:pt x="68899" y="156620"/>
                      </a:lnTo>
                      <a:lnTo>
                        <a:pt x="66422" y="156037"/>
                      </a:lnTo>
                      <a:lnTo>
                        <a:pt x="64297" y="154920"/>
                      </a:lnTo>
                      <a:lnTo>
                        <a:pt x="60047" y="146043"/>
                      </a:lnTo>
                      <a:lnTo>
                        <a:pt x="58444" y="144562"/>
                      </a:lnTo>
                      <a:lnTo>
                        <a:pt x="48803" y="141818"/>
                      </a:lnTo>
                      <a:lnTo>
                        <a:pt x="50575" y="136280"/>
                      </a:lnTo>
                      <a:lnTo>
                        <a:pt x="51790" y="133852"/>
                      </a:lnTo>
                      <a:lnTo>
                        <a:pt x="53283" y="131957"/>
                      </a:lnTo>
                      <a:lnTo>
                        <a:pt x="57290" y="129517"/>
                      </a:lnTo>
                      <a:lnTo>
                        <a:pt x="58031" y="127817"/>
                      </a:lnTo>
                      <a:lnTo>
                        <a:pt x="56477" y="124684"/>
                      </a:lnTo>
                      <a:lnTo>
                        <a:pt x="55226" y="126129"/>
                      </a:lnTo>
                      <a:lnTo>
                        <a:pt x="44722" y="91121"/>
                      </a:lnTo>
                      <a:lnTo>
                        <a:pt x="43107" y="88802"/>
                      </a:lnTo>
                      <a:lnTo>
                        <a:pt x="40642" y="88000"/>
                      </a:lnTo>
                      <a:lnTo>
                        <a:pt x="36684" y="87891"/>
                      </a:lnTo>
                      <a:lnTo>
                        <a:pt x="32713" y="86907"/>
                      </a:lnTo>
                      <a:lnTo>
                        <a:pt x="29556" y="84527"/>
                      </a:lnTo>
                      <a:lnTo>
                        <a:pt x="24395" y="78710"/>
                      </a:lnTo>
                      <a:lnTo>
                        <a:pt x="35020" y="79463"/>
                      </a:lnTo>
                      <a:lnTo>
                        <a:pt x="36684" y="79366"/>
                      </a:lnTo>
                      <a:lnTo>
                        <a:pt x="38857" y="78735"/>
                      </a:lnTo>
                      <a:lnTo>
                        <a:pt x="41104" y="79876"/>
                      </a:lnTo>
                      <a:lnTo>
                        <a:pt x="43508" y="80605"/>
                      </a:lnTo>
                      <a:lnTo>
                        <a:pt x="46277" y="78723"/>
                      </a:lnTo>
                      <a:lnTo>
                        <a:pt x="52579" y="81127"/>
                      </a:lnTo>
                      <a:lnTo>
                        <a:pt x="54886" y="82997"/>
                      </a:lnTo>
                      <a:lnTo>
                        <a:pt x="56477" y="86725"/>
                      </a:lnTo>
                      <a:lnTo>
                        <a:pt x="57351" y="86543"/>
                      </a:lnTo>
                      <a:lnTo>
                        <a:pt x="57934" y="86348"/>
                      </a:lnTo>
                      <a:lnTo>
                        <a:pt x="58395" y="85960"/>
                      </a:lnTo>
                      <a:lnTo>
                        <a:pt x="59075" y="85280"/>
                      </a:lnTo>
                      <a:lnTo>
                        <a:pt x="57582" y="83920"/>
                      </a:lnTo>
                      <a:lnTo>
                        <a:pt x="53283" y="78079"/>
                      </a:lnTo>
                      <a:lnTo>
                        <a:pt x="51547" y="76901"/>
                      </a:lnTo>
                      <a:lnTo>
                        <a:pt x="43739" y="73489"/>
                      </a:lnTo>
                      <a:lnTo>
                        <a:pt x="42476" y="73368"/>
                      </a:lnTo>
                      <a:lnTo>
                        <a:pt x="39829" y="73659"/>
                      </a:lnTo>
                      <a:lnTo>
                        <a:pt x="38578" y="73477"/>
                      </a:lnTo>
                      <a:lnTo>
                        <a:pt x="37765" y="72870"/>
                      </a:lnTo>
                      <a:lnTo>
                        <a:pt x="36392" y="71170"/>
                      </a:lnTo>
                      <a:lnTo>
                        <a:pt x="35409" y="70830"/>
                      </a:lnTo>
                      <a:lnTo>
                        <a:pt x="28755" y="70198"/>
                      </a:lnTo>
                      <a:lnTo>
                        <a:pt x="26921" y="70830"/>
                      </a:lnTo>
                      <a:lnTo>
                        <a:pt x="26678" y="68559"/>
                      </a:lnTo>
                      <a:lnTo>
                        <a:pt x="27662" y="65827"/>
                      </a:lnTo>
                      <a:lnTo>
                        <a:pt x="29277" y="63325"/>
                      </a:lnTo>
                      <a:lnTo>
                        <a:pt x="30879" y="61650"/>
                      </a:lnTo>
                      <a:lnTo>
                        <a:pt x="32895" y="60739"/>
                      </a:lnTo>
                      <a:lnTo>
                        <a:pt x="41165" y="58906"/>
                      </a:lnTo>
                      <a:lnTo>
                        <a:pt x="39428" y="57874"/>
                      </a:lnTo>
                      <a:lnTo>
                        <a:pt x="38736" y="56963"/>
                      </a:lnTo>
                      <a:lnTo>
                        <a:pt x="38991" y="56040"/>
                      </a:lnTo>
                      <a:lnTo>
                        <a:pt x="39962" y="54983"/>
                      </a:lnTo>
                      <a:lnTo>
                        <a:pt x="39962" y="53805"/>
                      </a:lnTo>
                      <a:lnTo>
                        <a:pt x="26933" y="60946"/>
                      </a:lnTo>
                      <a:lnTo>
                        <a:pt x="25039" y="62524"/>
                      </a:lnTo>
                      <a:lnTo>
                        <a:pt x="21299" y="61553"/>
                      </a:lnTo>
                      <a:lnTo>
                        <a:pt x="18482" y="58517"/>
                      </a:lnTo>
                      <a:lnTo>
                        <a:pt x="19417" y="53805"/>
                      </a:lnTo>
                      <a:lnTo>
                        <a:pt x="16587" y="49495"/>
                      </a:lnTo>
                      <a:lnTo>
                        <a:pt x="15798" y="47248"/>
                      </a:lnTo>
                      <a:lnTo>
                        <a:pt x="15446" y="44492"/>
                      </a:lnTo>
                      <a:lnTo>
                        <a:pt x="15798" y="42087"/>
                      </a:lnTo>
                      <a:lnTo>
                        <a:pt x="16648" y="40995"/>
                      </a:lnTo>
                      <a:lnTo>
                        <a:pt x="17559" y="40193"/>
                      </a:lnTo>
                      <a:lnTo>
                        <a:pt x="17984" y="38578"/>
                      </a:lnTo>
                      <a:lnTo>
                        <a:pt x="20218" y="35652"/>
                      </a:lnTo>
                      <a:lnTo>
                        <a:pt x="25257" y="33794"/>
                      </a:lnTo>
                      <a:lnTo>
                        <a:pt x="34790" y="31378"/>
                      </a:lnTo>
                      <a:lnTo>
                        <a:pt x="34790" y="30066"/>
                      </a:lnTo>
                      <a:lnTo>
                        <a:pt x="27795" y="29945"/>
                      </a:lnTo>
                      <a:lnTo>
                        <a:pt x="24565" y="30467"/>
                      </a:lnTo>
                      <a:lnTo>
                        <a:pt x="23254" y="32045"/>
                      </a:lnTo>
                      <a:lnTo>
                        <a:pt x="21651" y="32810"/>
                      </a:lnTo>
                      <a:lnTo>
                        <a:pt x="15094" y="37012"/>
                      </a:lnTo>
                      <a:lnTo>
                        <a:pt x="14183" y="38044"/>
                      </a:lnTo>
                      <a:lnTo>
                        <a:pt x="12289" y="36611"/>
                      </a:lnTo>
                      <a:lnTo>
                        <a:pt x="10164" y="33418"/>
                      </a:lnTo>
                      <a:lnTo>
                        <a:pt x="8488" y="29750"/>
                      </a:lnTo>
                      <a:lnTo>
                        <a:pt x="7116" y="23800"/>
                      </a:lnTo>
                      <a:lnTo>
                        <a:pt x="6205" y="21797"/>
                      </a:lnTo>
                      <a:lnTo>
                        <a:pt x="6363" y="20060"/>
                      </a:lnTo>
                      <a:lnTo>
                        <a:pt x="9010" y="18142"/>
                      </a:lnTo>
                      <a:lnTo>
                        <a:pt x="13029" y="16017"/>
                      </a:lnTo>
                      <a:lnTo>
                        <a:pt x="22039" y="15567"/>
                      </a:lnTo>
                      <a:lnTo>
                        <a:pt x="24687" y="15191"/>
                      </a:lnTo>
                      <a:lnTo>
                        <a:pt x="26241" y="14608"/>
                      </a:lnTo>
                      <a:lnTo>
                        <a:pt x="27382" y="13126"/>
                      </a:lnTo>
                      <a:lnTo>
                        <a:pt x="30090" y="8791"/>
                      </a:lnTo>
                      <a:lnTo>
                        <a:pt x="30952" y="7844"/>
                      </a:lnTo>
                      <a:lnTo>
                        <a:pt x="32543" y="6679"/>
                      </a:lnTo>
                      <a:moveTo>
                        <a:pt x="31317" y="0"/>
                      </a:moveTo>
                      <a:lnTo>
                        <a:pt x="28888" y="1821"/>
                      </a:lnTo>
                      <a:lnTo>
                        <a:pt x="27285" y="3036"/>
                      </a:lnTo>
                      <a:lnTo>
                        <a:pt x="26836" y="3376"/>
                      </a:lnTo>
                      <a:lnTo>
                        <a:pt x="26459" y="3789"/>
                      </a:lnTo>
                      <a:lnTo>
                        <a:pt x="25597" y="4736"/>
                      </a:lnTo>
                      <a:lnTo>
                        <a:pt x="25221" y="5137"/>
                      </a:lnTo>
                      <a:lnTo>
                        <a:pt x="24929" y="5610"/>
                      </a:lnTo>
                      <a:lnTo>
                        <a:pt x="22574" y="9399"/>
                      </a:lnTo>
                      <a:lnTo>
                        <a:pt x="21177" y="9605"/>
                      </a:lnTo>
                      <a:lnTo>
                        <a:pt x="12726" y="10006"/>
                      </a:lnTo>
                      <a:lnTo>
                        <a:pt x="11378" y="10067"/>
                      </a:lnTo>
                      <a:lnTo>
                        <a:pt x="10188" y="10698"/>
                      </a:lnTo>
                      <a:lnTo>
                        <a:pt x="6169" y="12823"/>
                      </a:lnTo>
                      <a:lnTo>
                        <a:pt x="5792" y="13029"/>
                      </a:lnTo>
                      <a:lnTo>
                        <a:pt x="5440" y="13284"/>
                      </a:lnTo>
                      <a:lnTo>
                        <a:pt x="2793" y="15203"/>
                      </a:lnTo>
                      <a:lnTo>
                        <a:pt x="547" y="16830"/>
                      </a:lnTo>
                      <a:lnTo>
                        <a:pt x="304" y="19599"/>
                      </a:lnTo>
                      <a:lnTo>
                        <a:pt x="146" y="21335"/>
                      </a:lnTo>
                      <a:lnTo>
                        <a:pt x="0" y="22926"/>
                      </a:lnTo>
                      <a:lnTo>
                        <a:pt x="668" y="24383"/>
                      </a:lnTo>
                      <a:lnTo>
                        <a:pt x="1324" y="25828"/>
                      </a:lnTo>
                      <a:lnTo>
                        <a:pt x="2562" y="31183"/>
                      </a:lnTo>
                      <a:lnTo>
                        <a:pt x="2696" y="31790"/>
                      </a:lnTo>
                      <a:lnTo>
                        <a:pt x="2951" y="32349"/>
                      </a:lnTo>
                      <a:lnTo>
                        <a:pt x="4627" y="36016"/>
                      </a:lnTo>
                      <a:lnTo>
                        <a:pt x="4833" y="36453"/>
                      </a:lnTo>
                      <a:lnTo>
                        <a:pt x="5100" y="36854"/>
                      </a:lnTo>
                      <a:lnTo>
                        <a:pt x="7225" y="40047"/>
                      </a:lnTo>
                      <a:lnTo>
                        <a:pt x="7784" y="40898"/>
                      </a:lnTo>
                      <a:lnTo>
                        <a:pt x="8597" y="41517"/>
                      </a:lnTo>
                      <a:lnTo>
                        <a:pt x="9617" y="42282"/>
                      </a:lnTo>
                      <a:lnTo>
                        <a:pt x="9411" y="43678"/>
                      </a:lnTo>
                      <a:lnTo>
                        <a:pt x="9289" y="44504"/>
                      </a:lnTo>
                      <a:lnTo>
                        <a:pt x="9399" y="45342"/>
                      </a:lnTo>
                      <a:lnTo>
                        <a:pt x="9751" y="48098"/>
                      </a:lnTo>
                      <a:lnTo>
                        <a:pt x="9836" y="48730"/>
                      </a:lnTo>
                      <a:lnTo>
                        <a:pt x="10054" y="49337"/>
                      </a:lnTo>
                      <a:lnTo>
                        <a:pt x="10844" y="51583"/>
                      </a:lnTo>
                      <a:lnTo>
                        <a:pt x="11087" y="52287"/>
                      </a:lnTo>
                      <a:lnTo>
                        <a:pt x="11487" y="52907"/>
                      </a:lnTo>
                      <a:lnTo>
                        <a:pt x="12957" y="55141"/>
                      </a:lnTo>
                      <a:lnTo>
                        <a:pt x="12507" y="57424"/>
                      </a:lnTo>
                      <a:lnTo>
                        <a:pt x="11900" y="60472"/>
                      </a:lnTo>
                      <a:lnTo>
                        <a:pt x="14013" y="62755"/>
                      </a:lnTo>
                      <a:lnTo>
                        <a:pt x="16830" y="65790"/>
                      </a:lnTo>
                      <a:lnTo>
                        <a:pt x="18032" y="67078"/>
                      </a:lnTo>
                      <a:lnTo>
                        <a:pt x="19744" y="67515"/>
                      </a:lnTo>
                      <a:lnTo>
                        <a:pt x="20546" y="67733"/>
                      </a:lnTo>
                      <a:lnTo>
                        <a:pt x="20485" y="67916"/>
                      </a:lnTo>
                      <a:lnTo>
                        <a:pt x="20631" y="69312"/>
                      </a:lnTo>
                      <a:lnTo>
                        <a:pt x="20874" y="71583"/>
                      </a:lnTo>
                      <a:lnTo>
                        <a:pt x="20971" y="72469"/>
                      </a:lnTo>
                      <a:lnTo>
                        <a:pt x="9981" y="71704"/>
                      </a:lnTo>
                      <a:lnTo>
                        <a:pt x="19842" y="82839"/>
                      </a:lnTo>
                      <a:lnTo>
                        <a:pt x="25002" y="88656"/>
                      </a:lnTo>
                      <a:lnTo>
                        <a:pt x="25403" y="89105"/>
                      </a:lnTo>
                      <a:lnTo>
                        <a:pt x="25889" y="89469"/>
                      </a:lnTo>
                      <a:lnTo>
                        <a:pt x="29046" y="91849"/>
                      </a:lnTo>
                      <a:lnTo>
                        <a:pt x="30042" y="92602"/>
                      </a:lnTo>
                      <a:lnTo>
                        <a:pt x="31244" y="92893"/>
                      </a:lnTo>
                      <a:lnTo>
                        <a:pt x="35215" y="93877"/>
                      </a:lnTo>
                      <a:lnTo>
                        <a:pt x="35858" y="94035"/>
                      </a:lnTo>
                      <a:lnTo>
                        <a:pt x="36514" y="94059"/>
                      </a:lnTo>
                      <a:lnTo>
                        <a:pt x="39258" y="94132"/>
                      </a:lnTo>
                      <a:lnTo>
                        <a:pt x="49240" y="127404"/>
                      </a:lnTo>
                      <a:lnTo>
                        <a:pt x="49191" y="127440"/>
                      </a:lnTo>
                      <a:lnTo>
                        <a:pt x="48511" y="128290"/>
                      </a:lnTo>
                      <a:lnTo>
                        <a:pt x="47017" y="130185"/>
                      </a:lnTo>
                      <a:lnTo>
                        <a:pt x="46629" y="130670"/>
                      </a:lnTo>
                      <a:lnTo>
                        <a:pt x="46350" y="131229"/>
                      </a:lnTo>
                      <a:lnTo>
                        <a:pt x="45135" y="133658"/>
                      </a:lnTo>
                      <a:lnTo>
                        <a:pt x="44929" y="134070"/>
                      </a:lnTo>
                      <a:lnTo>
                        <a:pt x="44783" y="134520"/>
                      </a:lnTo>
                      <a:lnTo>
                        <a:pt x="43010" y="140057"/>
                      </a:lnTo>
                      <a:lnTo>
                        <a:pt x="41092" y="146031"/>
                      </a:lnTo>
                      <a:lnTo>
                        <a:pt x="47127" y="147743"/>
                      </a:lnTo>
                      <a:lnTo>
                        <a:pt x="55177" y="150026"/>
                      </a:lnTo>
                      <a:lnTo>
                        <a:pt x="58808" y="157628"/>
                      </a:lnTo>
                      <a:lnTo>
                        <a:pt x="59683" y="159437"/>
                      </a:lnTo>
                      <a:lnTo>
                        <a:pt x="61468" y="160372"/>
                      </a:lnTo>
                      <a:lnTo>
                        <a:pt x="63593" y="161489"/>
                      </a:lnTo>
                      <a:lnTo>
                        <a:pt x="64273" y="161853"/>
                      </a:lnTo>
                      <a:lnTo>
                        <a:pt x="65025" y="162023"/>
                      </a:lnTo>
                      <a:lnTo>
                        <a:pt x="65535" y="162157"/>
                      </a:lnTo>
                      <a:lnTo>
                        <a:pt x="64965" y="165727"/>
                      </a:lnTo>
                      <a:lnTo>
                        <a:pt x="64710" y="169066"/>
                      </a:lnTo>
                      <a:lnTo>
                        <a:pt x="64613" y="170487"/>
                      </a:lnTo>
                      <a:lnTo>
                        <a:pt x="65159" y="171786"/>
                      </a:lnTo>
                      <a:lnTo>
                        <a:pt x="66264" y="174458"/>
                      </a:lnTo>
                      <a:lnTo>
                        <a:pt x="67053" y="176376"/>
                      </a:lnTo>
                      <a:lnTo>
                        <a:pt x="68851" y="177396"/>
                      </a:lnTo>
                      <a:lnTo>
                        <a:pt x="75675" y="181306"/>
                      </a:lnTo>
                      <a:lnTo>
                        <a:pt x="75760" y="181403"/>
                      </a:lnTo>
                      <a:lnTo>
                        <a:pt x="76306" y="182011"/>
                      </a:lnTo>
                      <a:lnTo>
                        <a:pt x="76986" y="182460"/>
                      </a:lnTo>
                      <a:lnTo>
                        <a:pt x="78893" y="183699"/>
                      </a:lnTo>
                      <a:lnTo>
                        <a:pt x="81843" y="185605"/>
                      </a:lnTo>
                      <a:lnTo>
                        <a:pt x="84976" y="183990"/>
                      </a:lnTo>
                      <a:lnTo>
                        <a:pt x="91400" y="180687"/>
                      </a:lnTo>
                      <a:lnTo>
                        <a:pt x="92031" y="180371"/>
                      </a:lnTo>
                      <a:lnTo>
                        <a:pt x="92578" y="179898"/>
                      </a:lnTo>
                      <a:lnTo>
                        <a:pt x="96148" y="176826"/>
                      </a:lnTo>
                      <a:lnTo>
                        <a:pt x="98831" y="177105"/>
                      </a:lnTo>
                      <a:lnTo>
                        <a:pt x="99572" y="177190"/>
                      </a:lnTo>
                      <a:lnTo>
                        <a:pt x="100301" y="177081"/>
                      </a:lnTo>
                      <a:lnTo>
                        <a:pt x="102996" y="176716"/>
                      </a:lnTo>
                      <a:lnTo>
                        <a:pt x="103725" y="176619"/>
                      </a:lnTo>
                      <a:lnTo>
                        <a:pt x="104417" y="176352"/>
                      </a:lnTo>
                      <a:lnTo>
                        <a:pt x="106712" y="175441"/>
                      </a:lnTo>
                      <a:lnTo>
                        <a:pt x="107174" y="175247"/>
                      </a:lnTo>
                      <a:lnTo>
                        <a:pt x="107611" y="174992"/>
                      </a:lnTo>
                      <a:lnTo>
                        <a:pt x="110707" y="173122"/>
                      </a:lnTo>
                      <a:lnTo>
                        <a:pt x="111169" y="172843"/>
                      </a:lnTo>
                      <a:lnTo>
                        <a:pt x="111581" y="172491"/>
                      </a:lnTo>
                      <a:lnTo>
                        <a:pt x="114350" y="170050"/>
                      </a:lnTo>
                      <a:lnTo>
                        <a:pt x="115322" y="169200"/>
                      </a:lnTo>
                      <a:lnTo>
                        <a:pt x="115856" y="168022"/>
                      </a:lnTo>
                      <a:lnTo>
                        <a:pt x="116317" y="167026"/>
                      </a:lnTo>
                      <a:lnTo>
                        <a:pt x="116463" y="166723"/>
                      </a:lnTo>
                      <a:lnTo>
                        <a:pt x="116572" y="166407"/>
                      </a:lnTo>
                      <a:lnTo>
                        <a:pt x="116852" y="165545"/>
                      </a:lnTo>
                      <a:lnTo>
                        <a:pt x="116961" y="165205"/>
                      </a:lnTo>
                      <a:lnTo>
                        <a:pt x="117034" y="164865"/>
                      </a:lnTo>
                      <a:lnTo>
                        <a:pt x="117434" y="162885"/>
                      </a:lnTo>
                      <a:lnTo>
                        <a:pt x="118612" y="159206"/>
                      </a:lnTo>
                      <a:lnTo>
                        <a:pt x="119572" y="157033"/>
                      </a:lnTo>
                      <a:lnTo>
                        <a:pt x="120361" y="155017"/>
                      </a:lnTo>
                      <a:lnTo>
                        <a:pt x="120543" y="154543"/>
                      </a:lnTo>
                      <a:lnTo>
                        <a:pt x="120640" y="154033"/>
                      </a:lnTo>
                      <a:lnTo>
                        <a:pt x="121041" y="152090"/>
                      </a:lnTo>
                      <a:lnTo>
                        <a:pt x="121102" y="151799"/>
                      </a:lnTo>
                      <a:lnTo>
                        <a:pt x="121126" y="151495"/>
                      </a:lnTo>
                      <a:lnTo>
                        <a:pt x="121296" y="149759"/>
                      </a:lnTo>
                      <a:lnTo>
                        <a:pt x="121332" y="149346"/>
                      </a:lnTo>
                      <a:lnTo>
                        <a:pt x="121320" y="148933"/>
                      </a:lnTo>
                      <a:lnTo>
                        <a:pt x="121259" y="147306"/>
                      </a:lnTo>
                      <a:lnTo>
                        <a:pt x="121247" y="146808"/>
                      </a:lnTo>
                      <a:lnTo>
                        <a:pt x="121150" y="146310"/>
                      </a:lnTo>
                      <a:lnTo>
                        <a:pt x="119912" y="140263"/>
                      </a:lnTo>
                      <a:lnTo>
                        <a:pt x="119814" y="139231"/>
                      </a:lnTo>
                      <a:lnTo>
                        <a:pt x="119814" y="139073"/>
                      </a:lnTo>
                      <a:lnTo>
                        <a:pt x="120300" y="136681"/>
                      </a:lnTo>
                      <a:lnTo>
                        <a:pt x="120458" y="136086"/>
                      </a:lnTo>
                      <a:lnTo>
                        <a:pt x="124611" y="127622"/>
                      </a:lnTo>
                      <a:lnTo>
                        <a:pt x="124829" y="127185"/>
                      </a:lnTo>
                      <a:lnTo>
                        <a:pt x="124975" y="126712"/>
                      </a:lnTo>
                      <a:lnTo>
                        <a:pt x="125631" y="124562"/>
                      </a:lnTo>
                      <a:lnTo>
                        <a:pt x="125801" y="123980"/>
                      </a:lnTo>
                      <a:lnTo>
                        <a:pt x="125862" y="123372"/>
                      </a:lnTo>
                      <a:lnTo>
                        <a:pt x="126032" y="121539"/>
                      </a:lnTo>
                      <a:lnTo>
                        <a:pt x="126117" y="120567"/>
                      </a:lnTo>
                      <a:lnTo>
                        <a:pt x="125898" y="119620"/>
                      </a:lnTo>
                      <a:lnTo>
                        <a:pt x="125607" y="118357"/>
                      </a:lnTo>
                      <a:lnTo>
                        <a:pt x="125437" y="117604"/>
                      </a:lnTo>
                      <a:lnTo>
                        <a:pt x="125084" y="116912"/>
                      </a:lnTo>
                      <a:lnTo>
                        <a:pt x="124526" y="115819"/>
                      </a:lnTo>
                      <a:lnTo>
                        <a:pt x="124077" y="114957"/>
                      </a:lnTo>
                      <a:lnTo>
                        <a:pt x="123384" y="114265"/>
                      </a:lnTo>
                      <a:lnTo>
                        <a:pt x="122510" y="113415"/>
                      </a:lnTo>
                      <a:lnTo>
                        <a:pt x="121150" y="112286"/>
                      </a:lnTo>
                      <a:lnTo>
                        <a:pt x="120798" y="111994"/>
                      </a:lnTo>
                      <a:lnTo>
                        <a:pt x="121964" y="111460"/>
                      </a:lnTo>
                      <a:lnTo>
                        <a:pt x="122498" y="111205"/>
                      </a:lnTo>
                      <a:lnTo>
                        <a:pt x="122972" y="110865"/>
                      </a:lnTo>
                      <a:lnTo>
                        <a:pt x="124635" y="109663"/>
                      </a:lnTo>
                      <a:lnTo>
                        <a:pt x="125886" y="108764"/>
                      </a:lnTo>
                      <a:lnTo>
                        <a:pt x="126554" y="107392"/>
                      </a:lnTo>
                      <a:lnTo>
                        <a:pt x="127234" y="105984"/>
                      </a:lnTo>
                      <a:lnTo>
                        <a:pt x="127513" y="105389"/>
                      </a:lnTo>
                      <a:lnTo>
                        <a:pt x="127671" y="104733"/>
                      </a:lnTo>
                      <a:lnTo>
                        <a:pt x="128084" y="103009"/>
                      </a:lnTo>
                      <a:lnTo>
                        <a:pt x="128327" y="102025"/>
                      </a:lnTo>
                      <a:lnTo>
                        <a:pt x="128229" y="101017"/>
                      </a:lnTo>
                      <a:lnTo>
                        <a:pt x="127477" y="93379"/>
                      </a:lnTo>
                      <a:lnTo>
                        <a:pt x="127440" y="92991"/>
                      </a:lnTo>
                      <a:lnTo>
                        <a:pt x="127355" y="92614"/>
                      </a:lnTo>
                      <a:lnTo>
                        <a:pt x="127015" y="91145"/>
                      </a:lnTo>
                      <a:lnTo>
                        <a:pt x="126894" y="90623"/>
                      </a:lnTo>
                      <a:lnTo>
                        <a:pt x="126675" y="90125"/>
                      </a:lnTo>
                      <a:lnTo>
                        <a:pt x="126226" y="89069"/>
                      </a:lnTo>
                      <a:lnTo>
                        <a:pt x="125983" y="88498"/>
                      </a:lnTo>
                      <a:lnTo>
                        <a:pt x="125631" y="87988"/>
                      </a:lnTo>
                      <a:lnTo>
                        <a:pt x="124757" y="86725"/>
                      </a:lnTo>
                      <a:lnTo>
                        <a:pt x="124502" y="86348"/>
                      </a:lnTo>
                      <a:lnTo>
                        <a:pt x="124186" y="86021"/>
                      </a:lnTo>
                      <a:lnTo>
                        <a:pt x="119547" y="81115"/>
                      </a:lnTo>
                      <a:lnTo>
                        <a:pt x="119438" y="80908"/>
                      </a:lnTo>
                      <a:lnTo>
                        <a:pt x="119414" y="80775"/>
                      </a:lnTo>
                      <a:lnTo>
                        <a:pt x="119414" y="80265"/>
                      </a:lnTo>
                      <a:lnTo>
                        <a:pt x="119705" y="78298"/>
                      </a:lnTo>
                      <a:lnTo>
                        <a:pt x="119766" y="77861"/>
                      </a:lnTo>
                      <a:lnTo>
                        <a:pt x="119766" y="77411"/>
                      </a:lnTo>
                      <a:lnTo>
                        <a:pt x="119766" y="76501"/>
                      </a:lnTo>
                      <a:lnTo>
                        <a:pt x="119766" y="76173"/>
                      </a:lnTo>
                      <a:lnTo>
                        <a:pt x="119729" y="75845"/>
                      </a:lnTo>
                      <a:lnTo>
                        <a:pt x="119559" y="74291"/>
                      </a:lnTo>
                      <a:lnTo>
                        <a:pt x="119462" y="73453"/>
                      </a:lnTo>
                      <a:lnTo>
                        <a:pt x="119147" y="72676"/>
                      </a:lnTo>
                      <a:lnTo>
                        <a:pt x="118515" y="71133"/>
                      </a:lnTo>
                      <a:lnTo>
                        <a:pt x="118382" y="70794"/>
                      </a:lnTo>
                      <a:lnTo>
                        <a:pt x="118199" y="70478"/>
                      </a:lnTo>
                      <a:lnTo>
                        <a:pt x="117507" y="69227"/>
                      </a:lnTo>
                      <a:lnTo>
                        <a:pt x="117107" y="68510"/>
                      </a:lnTo>
                      <a:lnTo>
                        <a:pt x="116536" y="67916"/>
                      </a:lnTo>
                      <a:lnTo>
                        <a:pt x="115977" y="67345"/>
                      </a:lnTo>
                      <a:lnTo>
                        <a:pt x="116293" y="66786"/>
                      </a:lnTo>
                      <a:lnTo>
                        <a:pt x="117847" y="64601"/>
                      </a:lnTo>
                      <a:lnTo>
                        <a:pt x="118661" y="63447"/>
                      </a:lnTo>
                      <a:lnTo>
                        <a:pt x="118892" y="62051"/>
                      </a:lnTo>
                      <a:lnTo>
                        <a:pt x="119462" y="58554"/>
                      </a:lnTo>
                      <a:lnTo>
                        <a:pt x="119669" y="57302"/>
                      </a:lnTo>
                      <a:lnTo>
                        <a:pt x="119353" y="56076"/>
                      </a:lnTo>
                      <a:lnTo>
                        <a:pt x="118746" y="53660"/>
                      </a:lnTo>
                      <a:lnTo>
                        <a:pt x="117301" y="43545"/>
                      </a:lnTo>
                      <a:lnTo>
                        <a:pt x="117252" y="43180"/>
                      </a:lnTo>
                      <a:lnTo>
                        <a:pt x="117155" y="42828"/>
                      </a:lnTo>
                      <a:lnTo>
                        <a:pt x="115662" y="37279"/>
                      </a:lnTo>
                      <a:lnTo>
                        <a:pt x="115455" y="36514"/>
                      </a:lnTo>
                      <a:lnTo>
                        <a:pt x="115054" y="35822"/>
                      </a:lnTo>
                      <a:lnTo>
                        <a:pt x="114314" y="34547"/>
                      </a:lnTo>
                      <a:lnTo>
                        <a:pt x="113901" y="33818"/>
                      </a:lnTo>
                      <a:lnTo>
                        <a:pt x="113282" y="33163"/>
                      </a:lnTo>
                      <a:lnTo>
                        <a:pt x="111897" y="31814"/>
                      </a:lnTo>
                      <a:lnTo>
                        <a:pt x="111302" y="31232"/>
                      </a:lnTo>
                      <a:lnTo>
                        <a:pt x="110574" y="30831"/>
                      </a:lnTo>
                      <a:lnTo>
                        <a:pt x="105121" y="27844"/>
                      </a:lnTo>
                      <a:lnTo>
                        <a:pt x="104733" y="27625"/>
                      </a:lnTo>
                      <a:lnTo>
                        <a:pt x="104320" y="27467"/>
                      </a:lnTo>
                      <a:lnTo>
                        <a:pt x="100823" y="26168"/>
                      </a:lnTo>
                      <a:lnTo>
                        <a:pt x="100349" y="25998"/>
                      </a:lnTo>
                      <a:lnTo>
                        <a:pt x="99851" y="25889"/>
                      </a:lnTo>
                      <a:lnTo>
                        <a:pt x="98564" y="25634"/>
                      </a:lnTo>
                      <a:lnTo>
                        <a:pt x="97362" y="25403"/>
                      </a:lnTo>
                      <a:lnTo>
                        <a:pt x="96160" y="25658"/>
                      </a:lnTo>
                      <a:lnTo>
                        <a:pt x="95189" y="25865"/>
                      </a:lnTo>
                      <a:lnTo>
                        <a:pt x="93950" y="26119"/>
                      </a:lnTo>
                      <a:lnTo>
                        <a:pt x="92918" y="26848"/>
                      </a:lnTo>
                      <a:lnTo>
                        <a:pt x="90769" y="28366"/>
                      </a:lnTo>
                      <a:lnTo>
                        <a:pt x="90331" y="28609"/>
                      </a:lnTo>
                      <a:lnTo>
                        <a:pt x="89858" y="28779"/>
                      </a:lnTo>
                      <a:lnTo>
                        <a:pt x="88680" y="29010"/>
                      </a:lnTo>
                      <a:lnTo>
                        <a:pt x="87806" y="28937"/>
                      </a:lnTo>
                      <a:lnTo>
                        <a:pt x="85656" y="28305"/>
                      </a:lnTo>
                      <a:lnTo>
                        <a:pt x="84770" y="28050"/>
                      </a:lnTo>
                      <a:lnTo>
                        <a:pt x="83847" y="28062"/>
                      </a:lnTo>
                      <a:lnTo>
                        <a:pt x="76501" y="28208"/>
                      </a:lnTo>
                      <a:lnTo>
                        <a:pt x="75408" y="28232"/>
                      </a:lnTo>
                      <a:lnTo>
                        <a:pt x="74388" y="28633"/>
                      </a:lnTo>
                      <a:lnTo>
                        <a:pt x="63714" y="32859"/>
                      </a:lnTo>
                      <a:lnTo>
                        <a:pt x="62840" y="33114"/>
                      </a:lnTo>
                      <a:lnTo>
                        <a:pt x="62390" y="33053"/>
                      </a:lnTo>
                      <a:lnTo>
                        <a:pt x="60909" y="32665"/>
                      </a:lnTo>
                      <a:lnTo>
                        <a:pt x="58335" y="30989"/>
                      </a:lnTo>
                      <a:lnTo>
                        <a:pt x="57424" y="29969"/>
                      </a:lnTo>
                      <a:lnTo>
                        <a:pt x="56768" y="28633"/>
                      </a:lnTo>
                      <a:lnTo>
                        <a:pt x="54631" y="19368"/>
                      </a:lnTo>
                      <a:lnTo>
                        <a:pt x="54534" y="18967"/>
                      </a:lnTo>
                      <a:lnTo>
                        <a:pt x="54388" y="18591"/>
                      </a:lnTo>
                      <a:lnTo>
                        <a:pt x="53575" y="16442"/>
                      </a:lnTo>
                      <a:lnTo>
                        <a:pt x="53210" y="15470"/>
                      </a:lnTo>
                      <a:lnTo>
                        <a:pt x="52543" y="14693"/>
                      </a:lnTo>
                      <a:lnTo>
                        <a:pt x="51049" y="12920"/>
                      </a:lnTo>
                      <a:lnTo>
                        <a:pt x="50442" y="12191"/>
                      </a:lnTo>
                      <a:lnTo>
                        <a:pt x="49640" y="11682"/>
                      </a:lnTo>
                      <a:lnTo>
                        <a:pt x="47989" y="10637"/>
                      </a:lnTo>
                      <a:lnTo>
                        <a:pt x="47224" y="10151"/>
                      </a:lnTo>
                      <a:lnTo>
                        <a:pt x="46337" y="9909"/>
                      </a:lnTo>
                      <a:lnTo>
                        <a:pt x="43569" y="9156"/>
                      </a:lnTo>
                      <a:lnTo>
                        <a:pt x="40521" y="8622"/>
                      </a:lnTo>
                      <a:lnTo>
                        <a:pt x="40315" y="7043"/>
                      </a:lnTo>
                      <a:lnTo>
                        <a:pt x="40084" y="5270"/>
                      </a:lnTo>
                      <a:lnTo>
                        <a:pt x="38930" y="3898"/>
                      </a:lnTo>
                      <a:lnTo>
                        <a:pt x="38250" y="3097"/>
                      </a:lnTo>
                      <a:lnTo>
                        <a:pt x="37060" y="1700"/>
                      </a:lnTo>
                      <a:lnTo>
                        <a:pt x="35300" y="1190"/>
                      </a:lnTo>
                      <a:lnTo>
                        <a:pt x="34195" y="875"/>
                      </a:lnTo>
                      <a:lnTo>
                        <a:pt x="31317" y="0"/>
                      </a:lnTo>
                      <a:lnTo>
                        <a:pt x="31317" y="0"/>
                      </a:lnTo>
                      <a:close/>
                    </a:path>
                  </a:pathLst>
                </a:custGeom>
                <a:solidFill>
                  <a:srgbClr val="FFFFFF"/>
                </a:solidFill>
                <a:ln w="12138" cap="flat">
                  <a:noFill/>
                  <a:prstDash val="solid"/>
                  <a:miter/>
                </a:ln>
              </p:spPr>
              <p:txBody>
                <a:bodyPr rtlCol="0" anchor="ctr"/>
                <a:lstStyle/>
                <a:p>
                  <a:endParaRPr lang="en-US"/>
                </a:p>
              </p:txBody>
            </p:sp>
          </p:grpSp>
          <p:sp>
            <p:nvSpPr>
              <p:cNvPr id="263" name="Freeform: Shape 262">
                <a:extLst>
                  <a:ext uri="{FF2B5EF4-FFF2-40B4-BE49-F238E27FC236}">
                    <a16:creationId xmlns:a16="http://schemas.microsoft.com/office/drawing/2014/main" id="{32D6387C-3C6A-4E7A-8C66-A4AA5362B642}"/>
                  </a:ext>
                </a:extLst>
              </p:cNvPr>
              <p:cNvSpPr/>
              <p:nvPr/>
            </p:nvSpPr>
            <p:spPr>
              <a:xfrm>
                <a:off x="7238771" y="3823745"/>
                <a:ext cx="15555" cy="17777"/>
              </a:xfrm>
              <a:custGeom>
                <a:avLst/>
                <a:gdLst>
                  <a:gd name="connsiteX0" fmla="*/ 14450 w 15555"/>
                  <a:gd name="connsiteY0" fmla="*/ 16369 h 17777"/>
                  <a:gd name="connsiteX1" fmla="*/ 12180 w 15555"/>
                  <a:gd name="connsiteY1" fmla="*/ 16806 h 17777"/>
                  <a:gd name="connsiteX2" fmla="*/ 9132 w 15555"/>
                  <a:gd name="connsiteY2" fmla="*/ 16526 h 17777"/>
                  <a:gd name="connsiteX3" fmla="*/ 5914 w 15555"/>
                  <a:gd name="connsiteY3" fmla="*/ 17777 h 17777"/>
                  <a:gd name="connsiteX4" fmla="*/ 1433 w 15555"/>
                  <a:gd name="connsiteY4" fmla="*/ 16138 h 17777"/>
                  <a:gd name="connsiteX5" fmla="*/ 0 w 15555"/>
                  <a:gd name="connsiteY5" fmla="*/ 7213 h 17777"/>
                  <a:gd name="connsiteX6" fmla="*/ 1955 w 15555"/>
                  <a:gd name="connsiteY6" fmla="*/ 0 h 17777"/>
                  <a:gd name="connsiteX7" fmla="*/ 7845 w 15555"/>
                  <a:gd name="connsiteY7" fmla="*/ 3655 h 17777"/>
                  <a:gd name="connsiteX8" fmla="*/ 10783 w 15555"/>
                  <a:gd name="connsiteY8" fmla="*/ 4833 h 17777"/>
                  <a:gd name="connsiteX9" fmla="*/ 13309 w 15555"/>
                  <a:gd name="connsiteY9" fmla="*/ 6642 h 17777"/>
                  <a:gd name="connsiteX10" fmla="*/ 15045 w 15555"/>
                  <a:gd name="connsiteY10" fmla="*/ 9253 h 17777"/>
                  <a:gd name="connsiteX11" fmla="*/ 15555 w 15555"/>
                  <a:gd name="connsiteY11" fmla="*/ 12908 h 1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55" h="17777">
                    <a:moveTo>
                      <a:pt x="14450" y="16369"/>
                    </a:moveTo>
                    <a:lnTo>
                      <a:pt x="12180" y="16806"/>
                    </a:lnTo>
                    <a:lnTo>
                      <a:pt x="9132" y="16526"/>
                    </a:lnTo>
                    <a:lnTo>
                      <a:pt x="5914" y="17777"/>
                    </a:lnTo>
                    <a:lnTo>
                      <a:pt x="1433" y="16138"/>
                    </a:lnTo>
                    <a:lnTo>
                      <a:pt x="0" y="7213"/>
                    </a:lnTo>
                    <a:lnTo>
                      <a:pt x="1955" y="0"/>
                    </a:lnTo>
                    <a:lnTo>
                      <a:pt x="7845" y="3655"/>
                    </a:lnTo>
                    <a:lnTo>
                      <a:pt x="10783" y="4833"/>
                    </a:lnTo>
                    <a:lnTo>
                      <a:pt x="13309" y="6642"/>
                    </a:lnTo>
                    <a:lnTo>
                      <a:pt x="15045" y="9253"/>
                    </a:lnTo>
                    <a:lnTo>
                      <a:pt x="15555" y="12908"/>
                    </a:lnTo>
                    <a:close/>
                  </a:path>
                </a:pathLst>
              </a:custGeom>
              <a:solidFill>
                <a:srgbClr val="D7D7D2"/>
              </a:solidFill>
              <a:ln w="12138" cap="flat">
                <a:noFill/>
                <a:prstDash val="solid"/>
                <a:miter/>
              </a:ln>
            </p:spPr>
            <p:txBody>
              <a:bodyPr rtlCol="0" anchor="ctr"/>
              <a:lstStyle/>
              <a:p>
                <a:endParaRPr lang="en-US"/>
              </a:p>
            </p:txBody>
          </p:sp>
          <p:sp>
            <p:nvSpPr>
              <p:cNvPr id="264" name="Freeform: Shape 263">
                <a:extLst>
                  <a:ext uri="{FF2B5EF4-FFF2-40B4-BE49-F238E27FC236}">
                    <a16:creationId xmlns:a16="http://schemas.microsoft.com/office/drawing/2014/main" id="{672FBC37-B0B1-4044-892C-DD1664009FC3}"/>
                  </a:ext>
                </a:extLst>
              </p:cNvPr>
              <p:cNvSpPr/>
              <p:nvPr/>
            </p:nvSpPr>
            <p:spPr>
              <a:xfrm>
                <a:off x="7192470" y="3762144"/>
                <a:ext cx="16198" cy="27455"/>
              </a:xfrm>
              <a:custGeom>
                <a:avLst/>
                <a:gdLst>
                  <a:gd name="connsiteX0" fmla="*/ 12179 w 16198"/>
                  <a:gd name="connsiteY0" fmla="*/ 16733 h 27455"/>
                  <a:gd name="connsiteX1" fmla="*/ 11657 w 16198"/>
                  <a:gd name="connsiteY1" fmla="*/ 27455 h 27455"/>
                  <a:gd name="connsiteX2" fmla="*/ 9775 w 16198"/>
                  <a:gd name="connsiteY2" fmla="*/ 26508 h 27455"/>
                  <a:gd name="connsiteX3" fmla="*/ 2902 w 16198"/>
                  <a:gd name="connsiteY3" fmla="*/ 24347 h 27455"/>
                  <a:gd name="connsiteX4" fmla="*/ 1445 w 16198"/>
                  <a:gd name="connsiteY4" fmla="*/ 24201 h 27455"/>
                  <a:gd name="connsiteX5" fmla="*/ 1227 w 16198"/>
                  <a:gd name="connsiteY5" fmla="*/ 22525 h 27455"/>
                  <a:gd name="connsiteX6" fmla="*/ 194 w 16198"/>
                  <a:gd name="connsiteY6" fmla="*/ 19842 h 27455"/>
                  <a:gd name="connsiteX7" fmla="*/ 0 w 16198"/>
                  <a:gd name="connsiteY7" fmla="*/ 18020 h 27455"/>
                  <a:gd name="connsiteX8" fmla="*/ 413 w 16198"/>
                  <a:gd name="connsiteY8" fmla="*/ 16624 h 27455"/>
                  <a:gd name="connsiteX9" fmla="*/ 2720 w 16198"/>
                  <a:gd name="connsiteY9" fmla="*/ 11341 h 27455"/>
                  <a:gd name="connsiteX10" fmla="*/ 6035 w 16198"/>
                  <a:gd name="connsiteY10" fmla="*/ 5804 h 27455"/>
                  <a:gd name="connsiteX11" fmla="*/ 9775 w 16198"/>
                  <a:gd name="connsiteY11" fmla="*/ 1214 h 27455"/>
                  <a:gd name="connsiteX12" fmla="*/ 12362 w 16198"/>
                  <a:gd name="connsiteY12" fmla="*/ 0 h 27455"/>
                  <a:gd name="connsiteX13" fmla="*/ 14839 w 16198"/>
                  <a:gd name="connsiteY13" fmla="*/ 1214 h 27455"/>
                  <a:gd name="connsiteX14" fmla="*/ 16199 w 16198"/>
                  <a:gd name="connsiteY14" fmla="*/ 3934 h 27455"/>
                  <a:gd name="connsiteX15" fmla="*/ 15531 w 16198"/>
                  <a:gd name="connsiteY15" fmla="*/ 7298 h 27455"/>
                  <a:gd name="connsiteX16" fmla="*/ 13345 w 16198"/>
                  <a:gd name="connsiteY16" fmla="*/ 11961 h 2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198" h="27455">
                    <a:moveTo>
                      <a:pt x="12179" y="16733"/>
                    </a:moveTo>
                    <a:lnTo>
                      <a:pt x="11657" y="27455"/>
                    </a:lnTo>
                    <a:lnTo>
                      <a:pt x="9775" y="26508"/>
                    </a:lnTo>
                    <a:lnTo>
                      <a:pt x="2902" y="24347"/>
                    </a:lnTo>
                    <a:lnTo>
                      <a:pt x="1445" y="24201"/>
                    </a:lnTo>
                    <a:lnTo>
                      <a:pt x="1227" y="22525"/>
                    </a:lnTo>
                    <a:lnTo>
                      <a:pt x="194" y="19842"/>
                    </a:lnTo>
                    <a:lnTo>
                      <a:pt x="0" y="18020"/>
                    </a:lnTo>
                    <a:lnTo>
                      <a:pt x="413" y="16624"/>
                    </a:lnTo>
                    <a:lnTo>
                      <a:pt x="2720" y="11341"/>
                    </a:lnTo>
                    <a:lnTo>
                      <a:pt x="6035" y="5804"/>
                    </a:lnTo>
                    <a:lnTo>
                      <a:pt x="9775" y="1214"/>
                    </a:lnTo>
                    <a:lnTo>
                      <a:pt x="12362" y="0"/>
                    </a:lnTo>
                    <a:lnTo>
                      <a:pt x="14839" y="1214"/>
                    </a:lnTo>
                    <a:lnTo>
                      <a:pt x="16199" y="3934"/>
                    </a:lnTo>
                    <a:lnTo>
                      <a:pt x="15531" y="7298"/>
                    </a:lnTo>
                    <a:lnTo>
                      <a:pt x="13345" y="11961"/>
                    </a:lnTo>
                    <a:close/>
                  </a:path>
                </a:pathLst>
              </a:custGeom>
              <a:solidFill>
                <a:srgbClr val="D7D7D2"/>
              </a:solidFill>
              <a:ln w="12138" cap="flat">
                <a:noFill/>
                <a:prstDash val="solid"/>
                <a:miter/>
              </a:ln>
            </p:spPr>
            <p:txBody>
              <a:bodyPr rtlCol="0" anchor="ctr"/>
              <a:lstStyle/>
              <a:p>
                <a:endParaRPr lang="en-US"/>
              </a:p>
            </p:txBody>
          </p:sp>
          <p:sp>
            <p:nvSpPr>
              <p:cNvPr id="265" name="Freeform: Shape 264">
                <a:extLst>
                  <a:ext uri="{FF2B5EF4-FFF2-40B4-BE49-F238E27FC236}">
                    <a16:creationId xmlns:a16="http://schemas.microsoft.com/office/drawing/2014/main" id="{C59913A0-2316-463D-83D0-87EA6EA2C8E8}"/>
                  </a:ext>
                </a:extLst>
              </p:cNvPr>
              <p:cNvSpPr/>
              <p:nvPr/>
            </p:nvSpPr>
            <p:spPr>
              <a:xfrm>
                <a:off x="7090846" y="3773485"/>
                <a:ext cx="23375" cy="47952"/>
              </a:xfrm>
              <a:custGeom>
                <a:avLst/>
                <a:gdLst>
                  <a:gd name="connsiteX0" fmla="*/ 18190 w 23375"/>
                  <a:gd name="connsiteY0" fmla="*/ 47054 h 47952"/>
                  <a:gd name="connsiteX1" fmla="*/ 16490 w 23375"/>
                  <a:gd name="connsiteY1" fmla="*/ 47953 h 47952"/>
                  <a:gd name="connsiteX2" fmla="*/ 14304 w 23375"/>
                  <a:gd name="connsiteY2" fmla="*/ 47588 h 47952"/>
                  <a:gd name="connsiteX3" fmla="*/ 9253 w 23375"/>
                  <a:gd name="connsiteY3" fmla="*/ 45852 h 47952"/>
                  <a:gd name="connsiteX4" fmla="*/ 3958 w 23375"/>
                  <a:gd name="connsiteY4" fmla="*/ 45815 h 47952"/>
                  <a:gd name="connsiteX5" fmla="*/ 1797 w 23375"/>
                  <a:gd name="connsiteY5" fmla="*/ 44844 h 47952"/>
                  <a:gd name="connsiteX6" fmla="*/ 182 w 23375"/>
                  <a:gd name="connsiteY6" fmla="*/ 41711 h 47952"/>
                  <a:gd name="connsiteX7" fmla="*/ 0 w 23375"/>
                  <a:gd name="connsiteY7" fmla="*/ 39647 h 47952"/>
                  <a:gd name="connsiteX8" fmla="*/ 303 w 23375"/>
                  <a:gd name="connsiteY8" fmla="*/ 37146 h 47952"/>
                  <a:gd name="connsiteX9" fmla="*/ 1554 w 23375"/>
                  <a:gd name="connsiteY9" fmla="*/ 32325 h 47952"/>
                  <a:gd name="connsiteX10" fmla="*/ 8961 w 23375"/>
                  <a:gd name="connsiteY10" fmla="*/ 12022 h 47952"/>
                  <a:gd name="connsiteX11" fmla="*/ 14426 w 23375"/>
                  <a:gd name="connsiteY11" fmla="*/ 2004 h 47952"/>
                  <a:gd name="connsiteX12" fmla="*/ 19586 w 23375"/>
                  <a:gd name="connsiteY12" fmla="*/ 0 h 47952"/>
                  <a:gd name="connsiteX13" fmla="*/ 23375 w 23375"/>
                  <a:gd name="connsiteY13" fmla="*/ 20522 h 47952"/>
                  <a:gd name="connsiteX14" fmla="*/ 22731 w 23375"/>
                  <a:gd name="connsiteY14" fmla="*/ 32300 h 47952"/>
                  <a:gd name="connsiteX15" fmla="*/ 16951 w 23375"/>
                  <a:gd name="connsiteY15" fmla="*/ 36344 h 47952"/>
                  <a:gd name="connsiteX16" fmla="*/ 19113 w 23375"/>
                  <a:gd name="connsiteY16" fmla="*/ 41687 h 47952"/>
                  <a:gd name="connsiteX17" fmla="*/ 19477 w 23375"/>
                  <a:gd name="connsiteY17" fmla="*/ 44443 h 4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375" h="47952">
                    <a:moveTo>
                      <a:pt x="18190" y="47054"/>
                    </a:moveTo>
                    <a:lnTo>
                      <a:pt x="16490" y="47953"/>
                    </a:lnTo>
                    <a:lnTo>
                      <a:pt x="14304" y="47588"/>
                    </a:lnTo>
                    <a:lnTo>
                      <a:pt x="9253" y="45852"/>
                    </a:lnTo>
                    <a:lnTo>
                      <a:pt x="3958" y="45815"/>
                    </a:lnTo>
                    <a:lnTo>
                      <a:pt x="1797" y="44844"/>
                    </a:lnTo>
                    <a:lnTo>
                      <a:pt x="182" y="41711"/>
                    </a:lnTo>
                    <a:lnTo>
                      <a:pt x="0" y="39647"/>
                    </a:lnTo>
                    <a:lnTo>
                      <a:pt x="303" y="37146"/>
                    </a:lnTo>
                    <a:lnTo>
                      <a:pt x="1554" y="32325"/>
                    </a:lnTo>
                    <a:lnTo>
                      <a:pt x="8961" y="12022"/>
                    </a:lnTo>
                    <a:lnTo>
                      <a:pt x="14426" y="2004"/>
                    </a:lnTo>
                    <a:lnTo>
                      <a:pt x="19586" y="0"/>
                    </a:lnTo>
                    <a:lnTo>
                      <a:pt x="23375" y="20522"/>
                    </a:lnTo>
                    <a:lnTo>
                      <a:pt x="22731" y="32300"/>
                    </a:lnTo>
                    <a:lnTo>
                      <a:pt x="16951" y="36344"/>
                    </a:lnTo>
                    <a:lnTo>
                      <a:pt x="19113" y="41687"/>
                    </a:lnTo>
                    <a:lnTo>
                      <a:pt x="19477" y="44443"/>
                    </a:lnTo>
                    <a:close/>
                  </a:path>
                </a:pathLst>
              </a:custGeom>
              <a:solidFill>
                <a:srgbClr val="D7D7D2"/>
              </a:solidFill>
              <a:ln w="12138" cap="flat">
                <a:noFill/>
                <a:prstDash val="solid"/>
                <a:miter/>
              </a:ln>
            </p:spPr>
            <p:txBody>
              <a:bodyPr rtlCol="0" anchor="ctr"/>
              <a:lstStyle/>
              <a:p>
                <a:endParaRPr lang="en-US"/>
              </a:p>
            </p:txBody>
          </p:sp>
          <p:sp>
            <p:nvSpPr>
              <p:cNvPr id="266" name="Freeform: Shape 265">
                <a:extLst>
                  <a:ext uri="{FF2B5EF4-FFF2-40B4-BE49-F238E27FC236}">
                    <a16:creationId xmlns:a16="http://schemas.microsoft.com/office/drawing/2014/main" id="{E509C685-774D-4201-8CE6-A75D84BE8BDC}"/>
                  </a:ext>
                </a:extLst>
              </p:cNvPr>
              <p:cNvSpPr/>
              <p:nvPr/>
            </p:nvSpPr>
            <p:spPr>
              <a:xfrm>
                <a:off x="7096238" y="3758185"/>
                <a:ext cx="11560" cy="19319"/>
              </a:xfrm>
              <a:custGeom>
                <a:avLst/>
                <a:gdLst>
                  <a:gd name="connsiteX0" fmla="*/ 6387 w 11560"/>
                  <a:gd name="connsiteY0" fmla="*/ 16988 h 19319"/>
                  <a:gd name="connsiteX1" fmla="*/ 1858 w 11560"/>
                  <a:gd name="connsiteY1" fmla="*/ 19320 h 19319"/>
                  <a:gd name="connsiteX2" fmla="*/ 243 w 11560"/>
                  <a:gd name="connsiteY2" fmla="*/ 17850 h 19319"/>
                  <a:gd name="connsiteX3" fmla="*/ 0 w 11560"/>
                  <a:gd name="connsiteY3" fmla="*/ 14547 h 19319"/>
                  <a:gd name="connsiteX4" fmla="*/ 522 w 11560"/>
                  <a:gd name="connsiteY4" fmla="*/ 10892 h 19319"/>
                  <a:gd name="connsiteX5" fmla="*/ 1141 w 11560"/>
                  <a:gd name="connsiteY5" fmla="*/ 8464 h 19319"/>
                  <a:gd name="connsiteX6" fmla="*/ 2586 w 11560"/>
                  <a:gd name="connsiteY6" fmla="*/ 5112 h 19319"/>
                  <a:gd name="connsiteX7" fmla="*/ 4371 w 11560"/>
                  <a:gd name="connsiteY7" fmla="*/ 1919 h 19319"/>
                  <a:gd name="connsiteX8" fmla="*/ 6508 w 11560"/>
                  <a:gd name="connsiteY8" fmla="*/ 0 h 19319"/>
                  <a:gd name="connsiteX9" fmla="*/ 8973 w 11560"/>
                  <a:gd name="connsiteY9" fmla="*/ 510 h 19319"/>
                  <a:gd name="connsiteX10" fmla="*/ 11560 w 11560"/>
                  <a:gd name="connsiteY10" fmla="*/ 5331 h 19319"/>
                  <a:gd name="connsiteX11" fmla="*/ 10115 w 11560"/>
                  <a:gd name="connsiteY11" fmla="*/ 11584 h 19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60" h="19319">
                    <a:moveTo>
                      <a:pt x="6387" y="16988"/>
                    </a:moveTo>
                    <a:lnTo>
                      <a:pt x="1858" y="19320"/>
                    </a:lnTo>
                    <a:lnTo>
                      <a:pt x="243" y="17850"/>
                    </a:lnTo>
                    <a:lnTo>
                      <a:pt x="0" y="14547"/>
                    </a:lnTo>
                    <a:lnTo>
                      <a:pt x="522" y="10892"/>
                    </a:lnTo>
                    <a:lnTo>
                      <a:pt x="1141" y="8464"/>
                    </a:lnTo>
                    <a:lnTo>
                      <a:pt x="2586" y="5112"/>
                    </a:lnTo>
                    <a:lnTo>
                      <a:pt x="4371" y="1919"/>
                    </a:lnTo>
                    <a:lnTo>
                      <a:pt x="6508" y="0"/>
                    </a:lnTo>
                    <a:lnTo>
                      <a:pt x="8973" y="510"/>
                    </a:lnTo>
                    <a:lnTo>
                      <a:pt x="11560" y="5331"/>
                    </a:lnTo>
                    <a:lnTo>
                      <a:pt x="10115" y="11584"/>
                    </a:lnTo>
                    <a:close/>
                  </a:path>
                </a:pathLst>
              </a:custGeom>
              <a:solidFill>
                <a:srgbClr val="D7D7D2"/>
              </a:solidFill>
              <a:ln w="12138" cap="flat">
                <a:noFill/>
                <a:prstDash val="solid"/>
                <a:miter/>
              </a:ln>
            </p:spPr>
            <p:txBody>
              <a:bodyPr rtlCol="0" anchor="ctr"/>
              <a:lstStyle/>
              <a:p>
                <a:endParaRPr lang="en-US"/>
              </a:p>
            </p:txBody>
          </p:sp>
          <p:sp>
            <p:nvSpPr>
              <p:cNvPr id="267" name="Freeform: Shape 266">
                <a:extLst>
                  <a:ext uri="{FF2B5EF4-FFF2-40B4-BE49-F238E27FC236}">
                    <a16:creationId xmlns:a16="http://schemas.microsoft.com/office/drawing/2014/main" id="{D6718954-068D-442D-B228-EDF030D0ED2D}"/>
                  </a:ext>
                </a:extLst>
              </p:cNvPr>
              <p:cNvSpPr/>
              <p:nvPr/>
            </p:nvSpPr>
            <p:spPr>
              <a:xfrm>
                <a:off x="5745360" y="4943870"/>
                <a:ext cx="22501" cy="20327"/>
              </a:xfrm>
              <a:custGeom>
                <a:avLst/>
                <a:gdLst>
                  <a:gd name="connsiteX0" fmla="*/ 19344 w 22501"/>
                  <a:gd name="connsiteY0" fmla="*/ 18494 h 20327"/>
                  <a:gd name="connsiteX1" fmla="*/ 13879 w 22501"/>
                  <a:gd name="connsiteY1" fmla="*/ 20327 h 20327"/>
                  <a:gd name="connsiteX2" fmla="*/ 13879 w 22501"/>
                  <a:gd name="connsiteY2" fmla="*/ 20303 h 20327"/>
                  <a:gd name="connsiteX3" fmla="*/ 9290 w 22501"/>
                  <a:gd name="connsiteY3" fmla="*/ 17607 h 20327"/>
                  <a:gd name="connsiteX4" fmla="*/ 0 w 22501"/>
                  <a:gd name="connsiteY4" fmla="*/ 6691 h 20327"/>
                  <a:gd name="connsiteX5" fmla="*/ 2004 w 22501"/>
                  <a:gd name="connsiteY5" fmla="*/ 1299 h 20327"/>
                  <a:gd name="connsiteX6" fmla="*/ 3728 w 22501"/>
                  <a:gd name="connsiteY6" fmla="*/ 0 h 20327"/>
                  <a:gd name="connsiteX7" fmla="*/ 12908 w 22501"/>
                  <a:gd name="connsiteY7" fmla="*/ 5343 h 20327"/>
                  <a:gd name="connsiteX8" fmla="*/ 18725 w 22501"/>
                  <a:gd name="connsiteY8" fmla="*/ 9909 h 20327"/>
                  <a:gd name="connsiteX9" fmla="*/ 21517 w 22501"/>
                  <a:gd name="connsiteY9" fmla="*/ 12690 h 20327"/>
                  <a:gd name="connsiteX10" fmla="*/ 22501 w 22501"/>
                  <a:gd name="connsiteY10" fmla="*/ 14620 h 20327"/>
                  <a:gd name="connsiteX11" fmla="*/ 21809 w 22501"/>
                  <a:gd name="connsiteY11" fmla="*/ 16344 h 2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501" h="20327">
                    <a:moveTo>
                      <a:pt x="19344" y="18494"/>
                    </a:moveTo>
                    <a:lnTo>
                      <a:pt x="13879" y="20327"/>
                    </a:lnTo>
                    <a:lnTo>
                      <a:pt x="13879" y="20303"/>
                    </a:lnTo>
                    <a:lnTo>
                      <a:pt x="9290" y="17607"/>
                    </a:lnTo>
                    <a:lnTo>
                      <a:pt x="0" y="6691"/>
                    </a:lnTo>
                    <a:lnTo>
                      <a:pt x="2004" y="1299"/>
                    </a:lnTo>
                    <a:lnTo>
                      <a:pt x="3728" y="0"/>
                    </a:lnTo>
                    <a:lnTo>
                      <a:pt x="12908" y="5343"/>
                    </a:lnTo>
                    <a:lnTo>
                      <a:pt x="18725" y="9909"/>
                    </a:lnTo>
                    <a:lnTo>
                      <a:pt x="21517" y="12690"/>
                    </a:lnTo>
                    <a:lnTo>
                      <a:pt x="22501" y="14620"/>
                    </a:lnTo>
                    <a:lnTo>
                      <a:pt x="21809" y="16344"/>
                    </a:lnTo>
                    <a:close/>
                  </a:path>
                </a:pathLst>
              </a:custGeom>
              <a:solidFill>
                <a:srgbClr val="D7D7D2"/>
              </a:solidFill>
              <a:ln w="12138" cap="flat">
                <a:noFill/>
                <a:prstDash val="solid"/>
                <a:miter/>
              </a:ln>
            </p:spPr>
            <p:txBody>
              <a:bodyPr rtlCol="0" anchor="ctr"/>
              <a:lstStyle/>
              <a:p>
                <a:endParaRPr lang="en-US"/>
              </a:p>
            </p:txBody>
          </p:sp>
          <p:grpSp>
            <p:nvGrpSpPr>
              <p:cNvPr id="268" name="Graphic 280">
                <a:extLst>
                  <a:ext uri="{FF2B5EF4-FFF2-40B4-BE49-F238E27FC236}">
                    <a16:creationId xmlns:a16="http://schemas.microsoft.com/office/drawing/2014/main" id="{6CC38D48-94B4-4CF1-BE99-D12D70A0742D}"/>
                  </a:ext>
                </a:extLst>
              </p:cNvPr>
              <p:cNvGrpSpPr/>
              <p:nvPr/>
            </p:nvGrpSpPr>
            <p:grpSpPr>
              <a:xfrm>
                <a:off x="4418598" y="1613985"/>
                <a:ext cx="590426" cy="624183"/>
                <a:chOff x="4418598" y="1613985"/>
                <a:chExt cx="590426" cy="624183"/>
              </a:xfrm>
            </p:grpSpPr>
            <p:sp>
              <p:nvSpPr>
                <p:cNvPr id="312" name="Freeform: Shape 311">
                  <a:extLst>
                    <a:ext uri="{FF2B5EF4-FFF2-40B4-BE49-F238E27FC236}">
                      <a16:creationId xmlns:a16="http://schemas.microsoft.com/office/drawing/2014/main" id="{B2627C6B-79D1-461E-8D8F-1DB28D3B34BE}"/>
                    </a:ext>
                  </a:extLst>
                </p:cNvPr>
                <p:cNvSpPr/>
                <p:nvPr/>
              </p:nvSpPr>
              <p:spPr>
                <a:xfrm>
                  <a:off x="4423079" y="1617409"/>
                  <a:ext cx="582970" cy="617711"/>
                </a:xfrm>
                <a:custGeom>
                  <a:avLst/>
                  <a:gdLst>
                    <a:gd name="connsiteX0" fmla="*/ 263125 w 582970"/>
                    <a:gd name="connsiteY0" fmla="*/ 616873 h 617711"/>
                    <a:gd name="connsiteX1" fmla="*/ 261498 w 582970"/>
                    <a:gd name="connsiteY1" fmla="*/ 610195 h 617711"/>
                    <a:gd name="connsiteX2" fmla="*/ 261158 w 582970"/>
                    <a:gd name="connsiteY2" fmla="*/ 609175 h 617711"/>
                    <a:gd name="connsiteX3" fmla="*/ 260175 w 582970"/>
                    <a:gd name="connsiteY3" fmla="*/ 607183 h 617711"/>
                    <a:gd name="connsiteX4" fmla="*/ 259871 w 582970"/>
                    <a:gd name="connsiteY4" fmla="*/ 606176 h 617711"/>
                    <a:gd name="connsiteX5" fmla="*/ 262664 w 582970"/>
                    <a:gd name="connsiteY5" fmla="*/ 604318 h 617711"/>
                    <a:gd name="connsiteX6" fmla="*/ 259482 w 582970"/>
                    <a:gd name="connsiteY6" fmla="*/ 603990 h 617711"/>
                    <a:gd name="connsiteX7" fmla="*/ 258098 w 582970"/>
                    <a:gd name="connsiteY7" fmla="*/ 602533 h 617711"/>
                    <a:gd name="connsiteX8" fmla="*/ 255997 w 582970"/>
                    <a:gd name="connsiteY8" fmla="*/ 600699 h 617711"/>
                    <a:gd name="connsiteX9" fmla="*/ 254431 w 582970"/>
                    <a:gd name="connsiteY9" fmla="*/ 598392 h 617711"/>
                    <a:gd name="connsiteX10" fmla="*/ 253860 w 582970"/>
                    <a:gd name="connsiteY10" fmla="*/ 595866 h 617711"/>
                    <a:gd name="connsiteX11" fmla="*/ 254516 w 582970"/>
                    <a:gd name="connsiteY11" fmla="*/ 594810 h 617711"/>
                    <a:gd name="connsiteX12" fmla="*/ 257722 w 582970"/>
                    <a:gd name="connsiteY12" fmla="*/ 595405 h 617711"/>
                    <a:gd name="connsiteX13" fmla="*/ 256969 w 582970"/>
                    <a:gd name="connsiteY13" fmla="*/ 594870 h 617711"/>
                    <a:gd name="connsiteX14" fmla="*/ 254929 w 582970"/>
                    <a:gd name="connsiteY14" fmla="*/ 594870 h 617711"/>
                    <a:gd name="connsiteX15" fmla="*/ 251687 w 582970"/>
                    <a:gd name="connsiteY15" fmla="*/ 591677 h 617711"/>
                    <a:gd name="connsiteX16" fmla="*/ 251249 w 582970"/>
                    <a:gd name="connsiteY16" fmla="*/ 590548 h 617711"/>
                    <a:gd name="connsiteX17" fmla="*/ 250849 w 582970"/>
                    <a:gd name="connsiteY17" fmla="*/ 588920 h 617711"/>
                    <a:gd name="connsiteX18" fmla="*/ 250849 w 582970"/>
                    <a:gd name="connsiteY18" fmla="*/ 587645 h 617711"/>
                    <a:gd name="connsiteX19" fmla="*/ 251759 w 582970"/>
                    <a:gd name="connsiteY19" fmla="*/ 586103 h 617711"/>
                    <a:gd name="connsiteX20" fmla="*/ 252148 w 582970"/>
                    <a:gd name="connsiteY20" fmla="*/ 585715 h 617711"/>
                    <a:gd name="connsiteX21" fmla="*/ 253192 w 582970"/>
                    <a:gd name="connsiteY21" fmla="*/ 585035 h 617711"/>
                    <a:gd name="connsiteX22" fmla="*/ 254358 w 582970"/>
                    <a:gd name="connsiteY22" fmla="*/ 584525 h 617711"/>
                    <a:gd name="connsiteX23" fmla="*/ 257503 w 582970"/>
                    <a:gd name="connsiteY23" fmla="*/ 582934 h 617711"/>
                    <a:gd name="connsiteX24" fmla="*/ 257005 w 582970"/>
                    <a:gd name="connsiteY24" fmla="*/ 579267 h 617711"/>
                    <a:gd name="connsiteX25" fmla="*/ 257066 w 582970"/>
                    <a:gd name="connsiteY25" fmla="*/ 577057 h 617711"/>
                    <a:gd name="connsiteX26" fmla="*/ 257442 w 582970"/>
                    <a:gd name="connsiteY26" fmla="*/ 575381 h 617711"/>
                    <a:gd name="connsiteX27" fmla="*/ 258511 w 582970"/>
                    <a:gd name="connsiteY27" fmla="*/ 573972 h 617711"/>
                    <a:gd name="connsiteX28" fmla="*/ 259932 w 582970"/>
                    <a:gd name="connsiteY28" fmla="*/ 573292 h 617711"/>
                    <a:gd name="connsiteX29" fmla="*/ 260381 w 582970"/>
                    <a:gd name="connsiteY29" fmla="*/ 573195 h 617711"/>
                    <a:gd name="connsiteX30" fmla="*/ 261437 w 582970"/>
                    <a:gd name="connsiteY30" fmla="*/ 573135 h 617711"/>
                    <a:gd name="connsiteX31" fmla="*/ 261753 w 582970"/>
                    <a:gd name="connsiteY31" fmla="*/ 573171 h 617711"/>
                    <a:gd name="connsiteX32" fmla="*/ 259070 w 582970"/>
                    <a:gd name="connsiteY32" fmla="*/ 569807 h 617711"/>
                    <a:gd name="connsiteX33" fmla="*/ 257236 w 582970"/>
                    <a:gd name="connsiteY33" fmla="*/ 566905 h 617711"/>
                    <a:gd name="connsiteX34" fmla="*/ 256398 w 582970"/>
                    <a:gd name="connsiteY34" fmla="*/ 565290 h 617711"/>
                    <a:gd name="connsiteX35" fmla="*/ 255767 w 582970"/>
                    <a:gd name="connsiteY35" fmla="*/ 563153 h 617711"/>
                    <a:gd name="connsiteX36" fmla="*/ 255597 w 582970"/>
                    <a:gd name="connsiteY36" fmla="*/ 561659 h 617711"/>
                    <a:gd name="connsiteX37" fmla="*/ 253763 w 582970"/>
                    <a:gd name="connsiteY37" fmla="*/ 562522 h 617711"/>
                    <a:gd name="connsiteX38" fmla="*/ 252889 w 582970"/>
                    <a:gd name="connsiteY38" fmla="*/ 567112 h 617711"/>
                    <a:gd name="connsiteX39" fmla="*/ 251917 w 582970"/>
                    <a:gd name="connsiteY39" fmla="*/ 568885 h 617711"/>
                    <a:gd name="connsiteX40" fmla="*/ 249914 w 582970"/>
                    <a:gd name="connsiteY40" fmla="*/ 569917 h 617711"/>
                    <a:gd name="connsiteX41" fmla="*/ 248275 w 582970"/>
                    <a:gd name="connsiteY41" fmla="*/ 569674 h 617711"/>
                    <a:gd name="connsiteX42" fmla="*/ 247582 w 582970"/>
                    <a:gd name="connsiteY42" fmla="*/ 569431 h 617711"/>
                    <a:gd name="connsiteX43" fmla="*/ 246380 w 582970"/>
                    <a:gd name="connsiteY43" fmla="*/ 568557 h 617711"/>
                    <a:gd name="connsiteX44" fmla="*/ 245457 w 582970"/>
                    <a:gd name="connsiteY44" fmla="*/ 567549 h 617711"/>
                    <a:gd name="connsiteX45" fmla="*/ 244267 w 582970"/>
                    <a:gd name="connsiteY45" fmla="*/ 565934 h 617711"/>
                    <a:gd name="connsiteX46" fmla="*/ 243599 w 582970"/>
                    <a:gd name="connsiteY46" fmla="*/ 565327 h 617711"/>
                    <a:gd name="connsiteX47" fmla="*/ 239374 w 582970"/>
                    <a:gd name="connsiteY47" fmla="*/ 563384 h 617711"/>
                    <a:gd name="connsiteX48" fmla="*/ 237625 w 582970"/>
                    <a:gd name="connsiteY48" fmla="*/ 561259 h 617711"/>
                    <a:gd name="connsiteX49" fmla="*/ 236897 w 582970"/>
                    <a:gd name="connsiteY49" fmla="*/ 558527 h 617711"/>
                    <a:gd name="connsiteX50" fmla="*/ 237577 w 582970"/>
                    <a:gd name="connsiteY50" fmla="*/ 554459 h 617711"/>
                    <a:gd name="connsiteX51" fmla="*/ 236569 w 582970"/>
                    <a:gd name="connsiteY51" fmla="*/ 553196 h 617711"/>
                    <a:gd name="connsiteX52" fmla="*/ 236180 w 582970"/>
                    <a:gd name="connsiteY52" fmla="*/ 552297 h 617711"/>
                    <a:gd name="connsiteX53" fmla="*/ 235986 w 582970"/>
                    <a:gd name="connsiteY53" fmla="*/ 550500 h 617711"/>
                    <a:gd name="connsiteX54" fmla="*/ 236229 w 582970"/>
                    <a:gd name="connsiteY54" fmla="*/ 549577 h 617711"/>
                    <a:gd name="connsiteX55" fmla="*/ 235245 w 582970"/>
                    <a:gd name="connsiteY55" fmla="*/ 550124 h 617711"/>
                    <a:gd name="connsiteX56" fmla="*/ 233739 w 582970"/>
                    <a:gd name="connsiteY56" fmla="*/ 550609 h 617711"/>
                    <a:gd name="connsiteX57" fmla="*/ 231007 w 582970"/>
                    <a:gd name="connsiteY57" fmla="*/ 551144 h 617711"/>
                    <a:gd name="connsiteX58" fmla="*/ 226162 w 582970"/>
                    <a:gd name="connsiteY58" fmla="*/ 552734 h 617711"/>
                    <a:gd name="connsiteX59" fmla="*/ 223029 w 582970"/>
                    <a:gd name="connsiteY59" fmla="*/ 553402 h 617711"/>
                    <a:gd name="connsiteX60" fmla="*/ 219896 w 582970"/>
                    <a:gd name="connsiteY60" fmla="*/ 553378 h 617711"/>
                    <a:gd name="connsiteX61" fmla="*/ 216873 w 582970"/>
                    <a:gd name="connsiteY61" fmla="*/ 551654 h 617711"/>
                    <a:gd name="connsiteX62" fmla="*/ 215756 w 582970"/>
                    <a:gd name="connsiteY62" fmla="*/ 550609 h 617711"/>
                    <a:gd name="connsiteX63" fmla="*/ 214554 w 582970"/>
                    <a:gd name="connsiteY63" fmla="*/ 549298 h 617711"/>
                    <a:gd name="connsiteX64" fmla="*/ 213789 w 582970"/>
                    <a:gd name="connsiteY64" fmla="*/ 548642 h 617711"/>
                    <a:gd name="connsiteX65" fmla="*/ 209490 w 582970"/>
                    <a:gd name="connsiteY65" fmla="*/ 546068 h 617711"/>
                    <a:gd name="connsiteX66" fmla="*/ 208409 w 582970"/>
                    <a:gd name="connsiteY66" fmla="*/ 544951 h 617711"/>
                    <a:gd name="connsiteX67" fmla="*/ 207292 w 582970"/>
                    <a:gd name="connsiteY67" fmla="*/ 543348 h 617711"/>
                    <a:gd name="connsiteX68" fmla="*/ 206551 w 582970"/>
                    <a:gd name="connsiteY68" fmla="*/ 541381 h 617711"/>
                    <a:gd name="connsiteX69" fmla="*/ 205993 w 582970"/>
                    <a:gd name="connsiteY69" fmla="*/ 538685 h 617711"/>
                    <a:gd name="connsiteX70" fmla="*/ 204366 w 582970"/>
                    <a:gd name="connsiteY70" fmla="*/ 537216 h 617711"/>
                    <a:gd name="connsiteX71" fmla="*/ 202386 w 582970"/>
                    <a:gd name="connsiteY71" fmla="*/ 536439 h 617711"/>
                    <a:gd name="connsiteX72" fmla="*/ 193364 w 582970"/>
                    <a:gd name="connsiteY72" fmla="*/ 534957 h 617711"/>
                    <a:gd name="connsiteX73" fmla="*/ 190486 w 582970"/>
                    <a:gd name="connsiteY73" fmla="*/ 534156 h 617711"/>
                    <a:gd name="connsiteX74" fmla="*/ 189199 w 582970"/>
                    <a:gd name="connsiteY74" fmla="*/ 533184 h 617711"/>
                    <a:gd name="connsiteX75" fmla="*/ 187620 w 582970"/>
                    <a:gd name="connsiteY75" fmla="*/ 531484 h 617711"/>
                    <a:gd name="connsiteX76" fmla="*/ 186783 w 582970"/>
                    <a:gd name="connsiteY76" fmla="*/ 530149 h 617711"/>
                    <a:gd name="connsiteX77" fmla="*/ 186503 w 582970"/>
                    <a:gd name="connsiteY77" fmla="*/ 530088 h 617711"/>
                    <a:gd name="connsiteX78" fmla="*/ 178793 w 582970"/>
                    <a:gd name="connsiteY78" fmla="*/ 532431 h 617711"/>
                    <a:gd name="connsiteX79" fmla="*/ 174118 w 582970"/>
                    <a:gd name="connsiteY79" fmla="*/ 533002 h 617711"/>
                    <a:gd name="connsiteX80" fmla="*/ 170183 w 582970"/>
                    <a:gd name="connsiteY80" fmla="*/ 532966 h 617711"/>
                    <a:gd name="connsiteX81" fmla="*/ 169540 w 582970"/>
                    <a:gd name="connsiteY81" fmla="*/ 533160 h 617711"/>
                    <a:gd name="connsiteX82" fmla="*/ 168471 w 582970"/>
                    <a:gd name="connsiteY82" fmla="*/ 533634 h 617711"/>
                    <a:gd name="connsiteX83" fmla="*/ 162898 w 582970"/>
                    <a:gd name="connsiteY83" fmla="*/ 537446 h 617711"/>
                    <a:gd name="connsiteX84" fmla="*/ 162157 w 582970"/>
                    <a:gd name="connsiteY84" fmla="*/ 538163 h 617711"/>
                    <a:gd name="connsiteX85" fmla="*/ 161586 w 582970"/>
                    <a:gd name="connsiteY85" fmla="*/ 538964 h 617711"/>
                    <a:gd name="connsiteX86" fmla="*/ 160396 w 582970"/>
                    <a:gd name="connsiteY86" fmla="*/ 541356 h 617711"/>
                    <a:gd name="connsiteX87" fmla="*/ 159109 w 582970"/>
                    <a:gd name="connsiteY87" fmla="*/ 543312 h 617711"/>
                    <a:gd name="connsiteX88" fmla="*/ 157227 w 582970"/>
                    <a:gd name="connsiteY88" fmla="*/ 545036 h 617711"/>
                    <a:gd name="connsiteX89" fmla="*/ 152588 w 582970"/>
                    <a:gd name="connsiteY89" fmla="*/ 544842 h 617711"/>
                    <a:gd name="connsiteX90" fmla="*/ 141356 w 582970"/>
                    <a:gd name="connsiteY90" fmla="*/ 540749 h 617711"/>
                    <a:gd name="connsiteX91" fmla="*/ 130184 w 582970"/>
                    <a:gd name="connsiteY91" fmla="*/ 538090 h 617711"/>
                    <a:gd name="connsiteX92" fmla="*/ 105971 w 582970"/>
                    <a:gd name="connsiteY92" fmla="*/ 534921 h 617711"/>
                    <a:gd name="connsiteX93" fmla="*/ 88522 w 582970"/>
                    <a:gd name="connsiteY93" fmla="*/ 535054 h 617711"/>
                    <a:gd name="connsiteX94" fmla="*/ 18129 w 582970"/>
                    <a:gd name="connsiteY94" fmla="*/ 531472 h 617711"/>
                    <a:gd name="connsiteX95" fmla="*/ 10127 w 582970"/>
                    <a:gd name="connsiteY95" fmla="*/ 530173 h 617711"/>
                    <a:gd name="connsiteX96" fmla="*/ 9374 w 582970"/>
                    <a:gd name="connsiteY96" fmla="*/ 524830 h 617711"/>
                    <a:gd name="connsiteX97" fmla="*/ 9447 w 582970"/>
                    <a:gd name="connsiteY97" fmla="*/ 523567 h 617711"/>
                    <a:gd name="connsiteX98" fmla="*/ 9836 w 582970"/>
                    <a:gd name="connsiteY98" fmla="*/ 522098 h 617711"/>
                    <a:gd name="connsiteX99" fmla="*/ 12119 w 582970"/>
                    <a:gd name="connsiteY99" fmla="*/ 516051 h 617711"/>
                    <a:gd name="connsiteX100" fmla="*/ 25767 w 582970"/>
                    <a:gd name="connsiteY100" fmla="*/ 494448 h 617711"/>
                    <a:gd name="connsiteX101" fmla="*/ 26581 w 582970"/>
                    <a:gd name="connsiteY101" fmla="*/ 490538 h 617711"/>
                    <a:gd name="connsiteX102" fmla="*/ 26690 w 582970"/>
                    <a:gd name="connsiteY102" fmla="*/ 487600 h 617711"/>
                    <a:gd name="connsiteX103" fmla="*/ 26204 w 582970"/>
                    <a:gd name="connsiteY103" fmla="*/ 486385 h 617711"/>
                    <a:gd name="connsiteX104" fmla="*/ 20655 w 582970"/>
                    <a:gd name="connsiteY104" fmla="*/ 484406 h 617711"/>
                    <a:gd name="connsiteX105" fmla="*/ 21323 w 582970"/>
                    <a:gd name="connsiteY105" fmla="*/ 479889 h 617711"/>
                    <a:gd name="connsiteX106" fmla="*/ 18870 w 582970"/>
                    <a:gd name="connsiteY106" fmla="*/ 471522 h 617711"/>
                    <a:gd name="connsiteX107" fmla="*/ 14766 w 582970"/>
                    <a:gd name="connsiteY107" fmla="*/ 463217 h 617711"/>
                    <a:gd name="connsiteX108" fmla="*/ 11657 w 582970"/>
                    <a:gd name="connsiteY108" fmla="*/ 458906 h 617711"/>
                    <a:gd name="connsiteX109" fmla="*/ 0 w 582970"/>
                    <a:gd name="connsiteY109" fmla="*/ 452907 h 617711"/>
                    <a:gd name="connsiteX110" fmla="*/ 1943 w 582970"/>
                    <a:gd name="connsiteY110" fmla="*/ 450066 h 617711"/>
                    <a:gd name="connsiteX111" fmla="*/ 3606 w 582970"/>
                    <a:gd name="connsiteY111" fmla="*/ 446059 h 617711"/>
                    <a:gd name="connsiteX112" fmla="*/ 7043 w 582970"/>
                    <a:gd name="connsiteY112" fmla="*/ 442562 h 617711"/>
                    <a:gd name="connsiteX113" fmla="*/ 12374 w 582970"/>
                    <a:gd name="connsiteY113" fmla="*/ 439708 h 617711"/>
                    <a:gd name="connsiteX114" fmla="*/ 12701 w 582970"/>
                    <a:gd name="connsiteY114" fmla="*/ 439732 h 617711"/>
                    <a:gd name="connsiteX115" fmla="*/ 12629 w 582970"/>
                    <a:gd name="connsiteY115" fmla="*/ 439307 h 617711"/>
                    <a:gd name="connsiteX116" fmla="*/ 10698 w 582970"/>
                    <a:gd name="connsiteY116" fmla="*/ 432859 h 617711"/>
                    <a:gd name="connsiteX117" fmla="*/ 18615 w 582970"/>
                    <a:gd name="connsiteY117" fmla="*/ 435446 h 617711"/>
                    <a:gd name="connsiteX118" fmla="*/ 19477 w 582970"/>
                    <a:gd name="connsiteY118" fmla="*/ 435300 h 617711"/>
                    <a:gd name="connsiteX119" fmla="*/ 20728 w 582970"/>
                    <a:gd name="connsiteY119" fmla="*/ 434329 h 617711"/>
                    <a:gd name="connsiteX120" fmla="*/ 29689 w 582970"/>
                    <a:gd name="connsiteY120" fmla="*/ 422186 h 617711"/>
                    <a:gd name="connsiteX121" fmla="*/ 30479 w 582970"/>
                    <a:gd name="connsiteY121" fmla="*/ 420097 h 617711"/>
                    <a:gd name="connsiteX122" fmla="*/ 32725 w 582970"/>
                    <a:gd name="connsiteY122" fmla="*/ 417523 h 617711"/>
                    <a:gd name="connsiteX123" fmla="*/ 33296 w 582970"/>
                    <a:gd name="connsiteY123" fmla="*/ 416952 h 617711"/>
                    <a:gd name="connsiteX124" fmla="*/ 40679 w 582970"/>
                    <a:gd name="connsiteY124" fmla="*/ 414949 h 617711"/>
                    <a:gd name="connsiteX125" fmla="*/ 41954 w 582970"/>
                    <a:gd name="connsiteY125" fmla="*/ 413613 h 617711"/>
                    <a:gd name="connsiteX126" fmla="*/ 42549 w 582970"/>
                    <a:gd name="connsiteY126" fmla="*/ 409606 h 617711"/>
                    <a:gd name="connsiteX127" fmla="*/ 41930 w 582970"/>
                    <a:gd name="connsiteY127" fmla="*/ 406631 h 617711"/>
                    <a:gd name="connsiteX128" fmla="*/ 41687 w 582970"/>
                    <a:gd name="connsiteY128" fmla="*/ 401992 h 617711"/>
                    <a:gd name="connsiteX129" fmla="*/ 43909 w 582970"/>
                    <a:gd name="connsiteY129" fmla="*/ 397390 h 617711"/>
                    <a:gd name="connsiteX130" fmla="*/ 47200 w 582970"/>
                    <a:gd name="connsiteY130" fmla="*/ 393541 h 617711"/>
                    <a:gd name="connsiteX131" fmla="*/ 49944 w 582970"/>
                    <a:gd name="connsiteY131" fmla="*/ 390990 h 617711"/>
                    <a:gd name="connsiteX132" fmla="*/ 53283 w 582970"/>
                    <a:gd name="connsiteY132" fmla="*/ 388793 h 617711"/>
                    <a:gd name="connsiteX133" fmla="*/ 57655 w 582970"/>
                    <a:gd name="connsiteY133" fmla="*/ 386728 h 617711"/>
                    <a:gd name="connsiteX134" fmla="*/ 61978 w 582970"/>
                    <a:gd name="connsiteY134" fmla="*/ 385769 h 617711"/>
                    <a:gd name="connsiteX135" fmla="*/ 62330 w 582970"/>
                    <a:gd name="connsiteY135" fmla="*/ 383996 h 617711"/>
                    <a:gd name="connsiteX136" fmla="*/ 63423 w 582970"/>
                    <a:gd name="connsiteY136" fmla="*/ 381009 h 617711"/>
                    <a:gd name="connsiteX137" fmla="*/ 66033 w 582970"/>
                    <a:gd name="connsiteY137" fmla="*/ 379103 h 617711"/>
                    <a:gd name="connsiteX138" fmla="*/ 67187 w 582970"/>
                    <a:gd name="connsiteY138" fmla="*/ 375302 h 617711"/>
                    <a:gd name="connsiteX139" fmla="*/ 69033 w 582970"/>
                    <a:gd name="connsiteY139" fmla="*/ 373140 h 617711"/>
                    <a:gd name="connsiteX140" fmla="*/ 72433 w 582970"/>
                    <a:gd name="connsiteY140" fmla="*/ 370238 h 617711"/>
                    <a:gd name="connsiteX141" fmla="*/ 75760 w 582970"/>
                    <a:gd name="connsiteY141" fmla="*/ 365296 h 617711"/>
                    <a:gd name="connsiteX142" fmla="*/ 77690 w 582970"/>
                    <a:gd name="connsiteY142" fmla="*/ 363377 h 617711"/>
                    <a:gd name="connsiteX143" fmla="*/ 80872 w 582970"/>
                    <a:gd name="connsiteY143" fmla="*/ 361119 h 617711"/>
                    <a:gd name="connsiteX144" fmla="*/ 80848 w 582970"/>
                    <a:gd name="connsiteY144" fmla="*/ 360937 h 617711"/>
                    <a:gd name="connsiteX145" fmla="*/ 78747 w 582970"/>
                    <a:gd name="connsiteY145" fmla="*/ 356092 h 617711"/>
                    <a:gd name="connsiteX146" fmla="*/ 80362 w 582970"/>
                    <a:gd name="connsiteY146" fmla="*/ 353894 h 617711"/>
                    <a:gd name="connsiteX147" fmla="*/ 81977 w 582970"/>
                    <a:gd name="connsiteY147" fmla="*/ 352740 h 617711"/>
                    <a:gd name="connsiteX148" fmla="*/ 85705 w 582970"/>
                    <a:gd name="connsiteY148" fmla="*/ 351647 h 617711"/>
                    <a:gd name="connsiteX149" fmla="*/ 87976 w 582970"/>
                    <a:gd name="connsiteY149" fmla="*/ 349789 h 617711"/>
                    <a:gd name="connsiteX150" fmla="*/ 89081 w 582970"/>
                    <a:gd name="connsiteY150" fmla="*/ 347822 h 617711"/>
                    <a:gd name="connsiteX151" fmla="*/ 87684 w 582970"/>
                    <a:gd name="connsiteY151" fmla="*/ 344058 h 617711"/>
                    <a:gd name="connsiteX152" fmla="*/ 89688 w 582970"/>
                    <a:gd name="connsiteY152" fmla="*/ 340670 h 617711"/>
                    <a:gd name="connsiteX153" fmla="*/ 91631 w 582970"/>
                    <a:gd name="connsiteY153" fmla="*/ 338375 h 617711"/>
                    <a:gd name="connsiteX154" fmla="*/ 94703 w 582970"/>
                    <a:gd name="connsiteY154" fmla="*/ 336202 h 617711"/>
                    <a:gd name="connsiteX155" fmla="*/ 97726 w 582970"/>
                    <a:gd name="connsiteY155" fmla="*/ 335643 h 617711"/>
                    <a:gd name="connsiteX156" fmla="*/ 100568 w 582970"/>
                    <a:gd name="connsiteY156" fmla="*/ 335752 h 617711"/>
                    <a:gd name="connsiteX157" fmla="*/ 106044 w 582970"/>
                    <a:gd name="connsiteY157" fmla="*/ 337222 h 617711"/>
                    <a:gd name="connsiteX158" fmla="*/ 108036 w 582970"/>
                    <a:gd name="connsiteY158" fmla="*/ 337294 h 617711"/>
                    <a:gd name="connsiteX159" fmla="*/ 108606 w 582970"/>
                    <a:gd name="connsiteY159" fmla="*/ 335133 h 617711"/>
                    <a:gd name="connsiteX160" fmla="*/ 110974 w 582970"/>
                    <a:gd name="connsiteY160" fmla="*/ 330822 h 617711"/>
                    <a:gd name="connsiteX161" fmla="*/ 114860 w 582970"/>
                    <a:gd name="connsiteY161" fmla="*/ 327179 h 617711"/>
                    <a:gd name="connsiteX162" fmla="*/ 118734 w 582970"/>
                    <a:gd name="connsiteY162" fmla="*/ 325224 h 617711"/>
                    <a:gd name="connsiteX163" fmla="*/ 123069 w 582970"/>
                    <a:gd name="connsiteY163" fmla="*/ 324423 h 617711"/>
                    <a:gd name="connsiteX164" fmla="*/ 127683 w 582970"/>
                    <a:gd name="connsiteY164" fmla="*/ 324301 h 617711"/>
                    <a:gd name="connsiteX165" fmla="*/ 129735 w 582970"/>
                    <a:gd name="connsiteY165" fmla="*/ 323512 h 617711"/>
                    <a:gd name="connsiteX166" fmla="*/ 132224 w 582970"/>
                    <a:gd name="connsiteY166" fmla="*/ 321084 h 617711"/>
                    <a:gd name="connsiteX167" fmla="*/ 134604 w 582970"/>
                    <a:gd name="connsiteY167" fmla="*/ 318084 h 617711"/>
                    <a:gd name="connsiteX168" fmla="*/ 136802 w 582970"/>
                    <a:gd name="connsiteY168" fmla="*/ 316117 h 617711"/>
                    <a:gd name="connsiteX169" fmla="*/ 136802 w 582970"/>
                    <a:gd name="connsiteY169" fmla="*/ 312122 h 617711"/>
                    <a:gd name="connsiteX170" fmla="*/ 140348 w 582970"/>
                    <a:gd name="connsiteY170" fmla="*/ 307653 h 617711"/>
                    <a:gd name="connsiteX171" fmla="*/ 144962 w 582970"/>
                    <a:gd name="connsiteY171" fmla="*/ 304205 h 617711"/>
                    <a:gd name="connsiteX172" fmla="*/ 152637 w 582970"/>
                    <a:gd name="connsiteY172" fmla="*/ 300198 h 617711"/>
                    <a:gd name="connsiteX173" fmla="*/ 150548 w 582970"/>
                    <a:gd name="connsiteY173" fmla="*/ 298425 h 617711"/>
                    <a:gd name="connsiteX174" fmla="*/ 148921 w 582970"/>
                    <a:gd name="connsiteY174" fmla="*/ 297538 h 617711"/>
                    <a:gd name="connsiteX175" fmla="*/ 145910 w 582970"/>
                    <a:gd name="connsiteY175" fmla="*/ 297466 h 617711"/>
                    <a:gd name="connsiteX176" fmla="*/ 137422 w 582970"/>
                    <a:gd name="connsiteY176" fmla="*/ 298983 h 617711"/>
                    <a:gd name="connsiteX177" fmla="*/ 132819 w 582970"/>
                    <a:gd name="connsiteY177" fmla="*/ 297065 h 617711"/>
                    <a:gd name="connsiteX178" fmla="*/ 129881 w 582970"/>
                    <a:gd name="connsiteY178" fmla="*/ 293580 h 617711"/>
                    <a:gd name="connsiteX179" fmla="*/ 128023 w 582970"/>
                    <a:gd name="connsiteY179" fmla="*/ 290641 h 617711"/>
                    <a:gd name="connsiteX180" fmla="*/ 126736 w 582970"/>
                    <a:gd name="connsiteY180" fmla="*/ 287047 h 617711"/>
                    <a:gd name="connsiteX181" fmla="*/ 125983 w 582970"/>
                    <a:gd name="connsiteY181" fmla="*/ 282566 h 617711"/>
                    <a:gd name="connsiteX182" fmla="*/ 126481 w 582970"/>
                    <a:gd name="connsiteY182" fmla="*/ 277539 h 617711"/>
                    <a:gd name="connsiteX183" fmla="*/ 129638 w 582970"/>
                    <a:gd name="connsiteY183" fmla="*/ 268638 h 617711"/>
                    <a:gd name="connsiteX184" fmla="*/ 129504 w 582970"/>
                    <a:gd name="connsiteY184" fmla="*/ 260405 h 617711"/>
                    <a:gd name="connsiteX185" fmla="*/ 130962 w 582970"/>
                    <a:gd name="connsiteY185" fmla="*/ 254832 h 617711"/>
                    <a:gd name="connsiteX186" fmla="*/ 138417 w 582970"/>
                    <a:gd name="connsiteY186" fmla="*/ 236666 h 617711"/>
                    <a:gd name="connsiteX187" fmla="*/ 140967 w 582970"/>
                    <a:gd name="connsiteY187" fmla="*/ 232610 h 617711"/>
                    <a:gd name="connsiteX188" fmla="*/ 144234 w 582970"/>
                    <a:gd name="connsiteY188" fmla="*/ 228664 h 617711"/>
                    <a:gd name="connsiteX189" fmla="*/ 146286 w 582970"/>
                    <a:gd name="connsiteY189" fmla="*/ 225592 h 617711"/>
                    <a:gd name="connsiteX190" fmla="*/ 146832 w 582970"/>
                    <a:gd name="connsiteY190" fmla="*/ 222665 h 617711"/>
                    <a:gd name="connsiteX191" fmla="*/ 146468 w 582970"/>
                    <a:gd name="connsiteY191" fmla="*/ 220674 h 617711"/>
                    <a:gd name="connsiteX192" fmla="*/ 141137 w 582970"/>
                    <a:gd name="connsiteY192" fmla="*/ 212987 h 617711"/>
                    <a:gd name="connsiteX193" fmla="*/ 135309 w 582970"/>
                    <a:gd name="connsiteY193" fmla="*/ 192441 h 617711"/>
                    <a:gd name="connsiteX194" fmla="*/ 125109 w 582970"/>
                    <a:gd name="connsiteY194" fmla="*/ 174943 h 617711"/>
                    <a:gd name="connsiteX195" fmla="*/ 121915 w 582970"/>
                    <a:gd name="connsiteY195" fmla="*/ 171009 h 617711"/>
                    <a:gd name="connsiteX196" fmla="*/ 123518 w 582970"/>
                    <a:gd name="connsiteY196" fmla="*/ 169103 h 617711"/>
                    <a:gd name="connsiteX197" fmla="*/ 126141 w 582970"/>
                    <a:gd name="connsiteY197" fmla="*/ 164962 h 617711"/>
                    <a:gd name="connsiteX198" fmla="*/ 127003 w 582970"/>
                    <a:gd name="connsiteY198" fmla="*/ 164318 h 617711"/>
                    <a:gd name="connsiteX199" fmla="*/ 128229 w 582970"/>
                    <a:gd name="connsiteY199" fmla="*/ 163735 h 617711"/>
                    <a:gd name="connsiteX200" fmla="*/ 128824 w 582970"/>
                    <a:gd name="connsiteY200" fmla="*/ 161368 h 617711"/>
                    <a:gd name="connsiteX201" fmla="*/ 129347 w 582970"/>
                    <a:gd name="connsiteY201" fmla="*/ 160092 h 617711"/>
                    <a:gd name="connsiteX202" fmla="*/ 131350 w 582970"/>
                    <a:gd name="connsiteY202" fmla="*/ 157251 h 617711"/>
                    <a:gd name="connsiteX203" fmla="*/ 131593 w 582970"/>
                    <a:gd name="connsiteY203" fmla="*/ 157045 h 617711"/>
                    <a:gd name="connsiteX204" fmla="*/ 131824 w 582970"/>
                    <a:gd name="connsiteY204" fmla="*/ 154798 h 617711"/>
                    <a:gd name="connsiteX205" fmla="*/ 132479 w 582970"/>
                    <a:gd name="connsiteY205" fmla="*/ 149953 h 617711"/>
                    <a:gd name="connsiteX206" fmla="*/ 134592 w 582970"/>
                    <a:gd name="connsiteY206" fmla="*/ 145606 h 617711"/>
                    <a:gd name="connsiteX207" fmla="*/ 137980 w 582970"/>
                    <a:gd name="connsiteY207" fmla="*/ 142060 h 617711"/>
                    <a:gd name="connsiteX208" fmla="*/ 152467 w 582970"/>
                    <a:gd name="connsiteY208" fmla="*/ 131374 h 617711"/>
                    <a:gd name="connsiteX209" fmla="*/ 156304 w 582970"/>
                    <a:gd name="connsiteY209" fmla="*/ 129905 h 617711"/>
                    <a:gd name="connsiteX210" fmla="*/ 157324 w 582970"/>
                    <a:gd name="connsiteY210" fmla="*/ 129043 h 617711"/>
                    <a:gd name="connsiteX211" fmla="*/ 163395 w 582970"/>
                    <a:gd name="connsiteY211" fmla="*/ 118017 h 617711"/>
                    <a:gd name="connsiteX212" fmla="*/ 177688 w 582970"/>
                    <a:gd name="connsiteY212" fmla="*/ 120762 h 617711"/>
                    <a:gd name="connsiteX213" fmla="*/ 179084 w 582970"/>
                    <a:gd name="connsiteY213" fmla="*/ 120361 h 617711"/>
                    <a:gd name="connsiteX214" fmla="*/ 181986 w 582970"/>
                    <a:gd name="connsiteY214" fmla="*/ 115904 h 617711"/>
                    <a:gd name="connsiteX215" fmla="*/ 183358 w 582970"/>
                    <a:gd name="connsiteY215" fmla="*/ 109007 h 617711"/>
                    <a:gd name="connsiteX216" fmla="*/ 188325 w 582970"/>
                    <a:gd name="connsiteY216" fmla="*/ 102171 h 617711"/>
                    <a:gd name="connsiteX217" fmla="*/ 196801 w 582970"/>
                    <a:gd name="connsiteY217" fmla="*/ 105097 h 617711"/>
                    <a:gd name="connsiteX218" fmla="*/ 199156 w 582970"/>
                    <a:gd name="connsiteY218" fmla="*/ 102256 h 617711"/>
                    <a:gd name="connsiteX219" fmla="*/ 204001 w 582970"/>
                    <a:gd name="connsiteY219" fmla="*/ 101430 h 617711"/>
                    <a:gd name="connsiteX220" fmla="*/ 209004 w 582970"/>
                    <a:gd name="connsiteY220" fmla="*/ 101855 h 617711"/>
                    <a:gd name="connsiteX221" fmla="*/ 212975 w 582970"/>
                    <a:gd name="connsiteY221" fmla="*/ 101357 h 617711"/>
                    <a:gd name="connsiteX222" fmla="*/ 213400 w 582970"/>
                    <a:gd name="connsiteY222" fmla="*/ 101054 h 617711"/>
                    <a:gd name="connsiteX223" fmla="*/ 214335 w 582970"/>
                    <a:gd name="connsiteY223" fmla="*/ 99851 h 617711"/>
                    <a:gd name="connsiteX224" fmla="*/ 214760 w 582970"/>
                    <a:gd name="connsiteY224" fmla="*/ 98698 h 617711"/>
                    <a:gd name="connsiteX225" fmla="*/ 216958 w 582970"/>
                    <a:gd name="connsiteY225" fmla="*/ 95504 h 617711"/>
                    <a:gd name="connsiteX226" fmla="*/ 220151 w 582970"/>
                    <a:gd name="connsiteY226" fmla="*/ 93974 h 617711"/>
                    <a:gd name="connsiteX227" fmla="*/ 223369 w 582970"/>
                    <a:gd name="connsiteY227" fmla="*/ 94193 h 617711"/>
                    <a:gd name="connsiteX228" fmla="*/ 222094 w 582970"/>
                    <a:gd name="connsiteY228" fmla="*/ 88996 h 617711"/>
                    <a:gd name="connsiteX229" fmla="*/ 229489 w 582970"/>
                    <a:gd name="connsiteY229" fmla="*/ 87538 h 617711"/>
                    <a:gd name="connsiteX230" fmla="*/ 241572 w 582970"/>
                    <a:gd name="connsiteY230" fmla="*/ 91910 h 617711"/>
                    <a:gd name="connsiteX231" fmla="*/ 242652 w 582970"/>
                    <a:gd name="connsiteY231" fmla="*/ 91424 h 617711"/>
                    <a:gd name="connsiteX232" fmla="*/ 243806 w 582970"/>
                    <a:gd name="connsiteY232" fmla="*/ 90088 h 617711"/>
                    <a:gd name="connsiteX233" fmla="*/ 246356 w 582970"/>
                    <a:gd name="connsiteY233" fmla="*/ 88813 h 617711"/>
                    <a:gd name="connsiteX234" fmla="*/ 247303 w 582970"/>
                    <a:gd name="connsiteY234" fmla="*/ 88425 h 617711"/>
                    <a:gd name="connsiteX235" fmla="*/ 251067 w 582970"/>
                    <a:gd name="connsiteY235" fmla="*/ 89421 h 617711"/>
                    <a:gd name="connsiteX236" fmla="*/ 250970 w 582970"/>
                    <a:gd name="connsiteY236" fmla="*/ 86968 h 617711"/>
                    <a:gd name="connsiteX237" fmla="*/ 256240 w 582970"/>
                    <a:gd name="connsiteY237" fmla="*/ 82074 h 617711"/>
                    <a:gd name="connsiteX238" fmla="*/ 262725 w 582970"/>
                    <a:gd name="connsiteY238" fmla="*/ 78783 h 617711"/>
                    <a:gd name="connsiteX239" fmla="*/ 267545 w 582970"/>
                    <a:gd name="connsiteY239" fmla="*/ 77193 h 617711"/>
                    <a:gd name="connsiteX240" fmla="*/ 270508 w 582970"/>
                    <a:gd name="connsiteY240" fmla="*/ 76671 h 617711"/>
                    <a:gd name="connsiteX241" fmla="*/ 274600 w 582970"/>
                    <a:gd name="connsiteY241" fmla="*/ 76913 h 617711"/>
                    <a:gd name="connsiteX242" fmla="*/ 276507 w 582970"/>
                    <a:gd name="connsiteY242" fmla="*/ 69919 h 617711"/>
                    <a:gd name="connsiteX243" fmla="*/ 278134 w 582970"/>
                    <a:gd name="connsiteY243" fmla="*/ 66033 h 617711"/>
                    <a:gd name="connsiteX244" fmla="*/ 284728 w 582970"/>
                    <a:gd name="connsiteY244" fmla="*/ 58650 h 617711"/>
                    <a:gd name="connsiteX245" fmla="*/ 285723 w 582970"/>
                    <a:gd name="connsiteY245" fmla="*/ 56331 h 617711"/>
                    <a:gd name="connsiteX246" fmla="*/ 284983 w 582970"/>
                    <a:gd name="connsiteY246" fmla="*/ 53259 h 617711"/>
                    <a:gd name="connsiteX247" fmla="*/ 280550 w 582970"/>
                    <a:gd name="connsiteY247" fmla="*/ 47989 h 617711"/>
                    <a:gd name="connsiteX248" fmla="*/ 271018 w 582970"/>
                    <a:gd name="connsiteY248" fmla="*/ 40630 h 617711"/>
                    <a:gd name="connsiteX249" fmla="*/ 282080 w 582970"/>
                    <a:gd name="connsiteY249" fmla="*/ 37376 h 617711"/>
                    <a:gd name="connsiteX250" fmla="*/ 294211 w 582970"/>
                    <a:gd name="connsiteY250" fmla="*/ 38141 h 617711"/>
                    <a:gd name="connsiteX251" fmla="*/ 297915 w 582970"/>
                    <a:gd name="connsiteY251" fmla="*/ 36307 h 617711"/>
                    <a:gd name="connsiteX252" fmla="*/ 298668 w 582970"/>
                    <a:gd name="connsiteY252" fmla="*/ 35263 h 617711"/>
                    <a:gd name="connsiteX253" fmla="*/ 302906 w 582970"/>
                    <a:gd name="connsiteY253" fmla="*/ 32992 h 617711"/>
                    <a:gd name="connsiteX254" fmla="*/ 305735 w 582970"/>
                    <a:gd name="connsiteY254" fmla="*/ 33199 h 617711"/>
                    <a:gd name="connsiteX255" fmla="*/ 307350 w 582970"/>
                    <a:gd name="connsiteY255" fmla="*/ 35178 h 617711"/>
                    <a:gd name="connsiteX256" fmla="*/ 308042 w 582970"/>
                    <a:gd name="connsiteY256" fmla="*/ 37230 h 617711"/>
                    <a:gd name="connsiteX257" fmla="*/ 307593 w 582970"/>
                    <a:gd name="connsiteY257" fmla="*/ 40642 h 617711"/>
                    <a:gd name="connsiteX258" fmla="*/ 307787 w 582970"/>
                    <a:gd name="connsiteY258" fmla="*/ 41104 h 617711"/>
                    <a:gd name="connsiteX259" fmla="*/ 308455 w 582970"/>
                    <a:gd name="connsiteY259" fmla="*/ 41529 h 617711"/>
                    <a:gd name="connsiteX260" fmla="*/ 310155 w 582970"/>
                    <a:gd name="connsiteY260" fmla="*/ 42209 h 617711"/>
                    <a:gd name="connsiteX261" fmla="*/ 312231 w 582970"/>
                    <a:gd name="connsiteY261" fmla="*/ 43593 h 617711"/>
                    <a:gd name="connsiteX262" fmla="*/ 313628 w 582970"/>
                    <a:gd name="connsiteY262" fmla="*/ 44674 h 617711"/>
                    <a:gd name="connsiteX263" fmla="*/ 314636 w 582970"/>
                    <a:gd name="connsiteY263" fmla="*/ 44977 h 617711"/>
                    <a:gd name="connsiteX264" fmla="*/ 320039 w 582970"/>
                    <a:gd name="connsiteY264" fmla="*/ 37425 h 617711"/>
                    <a:gd name="connsiteX265" fmla="*/ 327046 w 582970"/>
                    <a:gd name="connsiteY265" fmla="*/ 30831 h 617711"/>
                    <a:gd name="connsiteX266" fmla="*/ 335412 w 582970"/>
                    <a:gd name="connsiteY266" fmla="*/ 25743 h 617711"/>
                    <a:gd name="connsiteX267" fmla="*/ 349389 w 582970"/>
                    <a:gd name="connsiteY267" fmla="*/ 24759 h 617711"/>
                    <a:gd name="connsiteX268" fmla="*/ 351319 w 582970"/>
                    <a:gd name="connsiteY268" fmla="*/ 23727 h 617711"/>
                    <a:gd name="connsiteX269" fmla="*/ 351842 w 582970"/>
                    <a:gd name="connsiteY269" fmla="*/ 22938 h 617711"/>
                    <a:gd name="connsiteX270" fmla="*/ 355448 w 582970"/>
                    <a:gd name="connsiteY270" fmla="*/ 20267 h 617711"/>
                    <a:gd name="connsiteX271" fmla="*/ 355764 w 582970"/>
                    <a:gd name="connsiteY271" fmla="*/ 19951 h 617711"/>
                    <a:gd name="connsiteX272" fmla="*/ 356128 w 582970"/>
                    <a:gd name="connsiteY272" fmla="*/ 18955 h 617711"/>
                    <a:gd name="connsiteX273" fmla="*/ 356784 w 582970"/>
                    <a:gd name="connsiteY273" fmla="*/ 15507 h 617711"/>
                    <a:gd name="connsiteX274" fmla="*/ 358362 w 582970"/>
                    <a:gd name="connsiteY274" fmla="*/ 12689 h 617711"/>
                    <a:gd name="connsiteX275" fmla="*/ 358945 w 582970"/>
                    <a:gd name="connsiteY275" fmla="*/ 11815 h 617711"/>
                    <a:gd name="connsiteX276" fmla="*/ 370226 w 582970"/>
                    <a:gd name="connsiteY276" fmla="*/ 7954 h 617711"/>
                    <a:gd name="connsiteX277" fmla="*/ 373165 w 582970"/>
                    <a:gd name="connsiteY277" fmla="*/ 5561 h 617711"/>
                    <a:gd name="connsiteX278" fmla="*/ 375350 w 582970"/>
                    <a:gd name="connsiteY278" fmla="*/ 4736 h 617711"/>
                    <a:gd name="connsiteX279" fmla="*/ 376868 w 582970"/>
                    <a:gd name="connsiteY279" fmla="*/ 3327 h 617711"/>
                    <a:gd name="connsiteX280" fmla="*/ 379236 w 582970"/>
                    <a:gd name="connsiteY280" fmla="*/ 0 h 617711"/>
                    <a:gd name="connsiteX281" fmla="*/ 383863 w 582970"/>
                    <a:gd name="connsiteY281" fmla="*/ 1117 h 617711"/>
                    <a:gd name="connsiteX282" fmla="*/ 386315 w 582970"/>
                    <a:gd name="connsiteY282" fmla="*/ 3861 h 617711"/>
                    <a:gd name="connsiteX283" fmla="*/ 387287 w 582970"/>
                    <a:gd name="connsiteY283" fmla="*/ 5149 h 617711"/>
                    <a:gd name="connsiteX284" fmla="*/ 395228 w 582970"/>
                    <a:gd name="connsiteY284" fmla="*/ 19781 h 617711"/>
                    <a:gd name="connsiteX285" fmla="*/ 396078 w 582970"/>
                    <a:gd name="connsiteY285" fmla="*/ 22234 h 617711"/>
                    <a:gd name="connsiteX286" fmla="*/ 395544 w 582970"/>
                    <a:gd name="connsiteY286" fmla="*/ 25330 h 617711"/>
                    <a:gd name="connsiteX287" fmla="*/ 393540 w 582970"/>
                    <a:gd name="connsiteY287" fmla="*/ 27212 h 617711"/>
                    <a:gd name="connsiteX288" fmla="*/ 383838 w 582970"/>
                    <a:gd name="connsiteY288" fmla="*/ 32543 h 617711"/>
                    <a:gd name="connsiteX289" fmla="*/ 369582 w 582970"/>
                    <a:gd name="connsiteY289" fmla="*/ 43387 h 617711"/>
                    <a:gd name="connsiteX290" fmla="*/ 363135 w 582970"/>
                    <a:gd name="connsiteY290" fmla="*/ 50782 h 617711"/>
                    <a:gd name="connsiteX291" fmla="*/ 360002 w 582970"/>
                    <a:gd name="connsiteY291" fmla="*/ 53453 h 617711"/>
                    <a:gd name="connsiteX292" fmla="*/ 356662 w 582970"/>
                    <a:gd name="connsiteY292" fmla="*/ 55566 h 617711"/>
                    <a:gd name="connsiteX293" fmla="*/ 352619 w 582970"/>
                    <a:gd name="connsiteY293" fmla="*/ 57205 h 617711"/>
                    <a:gd name="connsiteX294" fmla="*/ 339055 w 582970"/>
                    <a:gd name="connsiteY294" fmla="*/ 60217 h 617711"/>
                    <a:gd name="connsiteX295" fmla="*/ 338812 w 582970"/>
                    <a:gd name="connsiteY295" fmla="*/ 60945 h 617711"/>
                    <a:gd name="connsiteX296" fmla="*/ 338545 w 582970"/>
                    <a:gd name="connsiteY296" fmla="*/ 62245 h 617711"/>
                    <a:gd name="connsiteX297" fmla="*/ 338314 w 582970"/>
                    <a:gd name="connsiteY297" fmla="*/ 64479 h 617711"/>
                    <a:gd name="connsiteX298" fmla="*/ 338727 w 582970"/>
                    <a:gd name="connsiteY298" fmla="*/ 66993 h 617711"/>
                    <a:gd name="connsiteX299" fmla="*/ 339213 w 582970"/>
                    <a:gd name="connsiteY299" fmla="*/ 68000 h 617711"/>
                    <a:gd name="connsiteX300" fmla="*/ 339565 w 582970"/>
                    <a:gd name="connsiteY300" fmla="*/ 68219 h 617711"/>
                    <a:gd name="connsiteX301" fmla="*/ 341326 w 582970"/>
                    <a:gd name="connsiteY301" fmla="*/ 67369 h 617711"/>
                    <a:gd name="connsiteX302" fmla="*/ 342832 w 582970"/>
                    <a:gd name="connsiteY302" fmla="*/ 66920 h 617711"/>
                    <a:gd name="connsiteX303" fmla="*/ 344884 w 582970"/>
                    <a:gd name="connsiteY303" fmla="*/ 66762 h 617711"/>
                    <a:gd name="connsiteX304" fmla="*/ 348102 w 582970"/>
                    <a:gd name="connsiteY304" fmla="*/ 68377 h 617711"/>
                    <a:gd name="connsiteX305" fmla="*/ 348709 w 582970"/>
                    <a:gd name="connsiteY305" fmla="*/ 72008 h 617711"/>
                    <a:gd name="connsiteX306" fmla="*/ 347567 w 582970"/>
                    <a:gd name="connsiteY306" fmla="*/ 75626 h 617711"/>
                    <a:gd name="connsiteX307" fmla="*/ 346098 w 582970"/>
                    <a:gd name="connsiteY307" fmla="*/ 78771 h 617711"/>
                    <a:gd name="connsiteX308" fmla="*/ 344094 w 582970"/>
                    <a:gd name="connsiteY308" fmla="*/ 82086 h 617711"/>
                    <a:gd name="connsiteX309" fmla="*/ 333676 w 582970"/>
                    <a:gd name="connsiteY309" fmla="*/ 93221 h 617711"/>
                    <a:gd name="connsiteX310" fmla="*/ 335461 w 582970"/>
                    <a:gd name="connsiteY310" fmla="*/ 93865 h 617711"/>
                    <a:gd name="connsiteX311" fmla="*/ 346292 w 582970"/>
                    <a:gd name="connsiteY311" fmla="*/ 95492 h 617711"/>
                    <a:gd name="connsiteX312" fmla="*/ 350154 w 582970"/>
                    <a:gd name="connsiteY312" fmla="*/ 96876 h 617711"/>
                    <a:gd name="connsiteX313" fmla="*/ 353821 w 582970"/>
                    <a:gd name="connsiteY313" fmla="*/ 96075 h 617711"/>
                    <a:gd name="connsiteX314" fmla="*/ 355837 w 582970"/>
                    <a:gd name="connsiteY314" fmla="*/ 98139 h 617711"/>
                    <a:gd name="connsiteX315" fmla="*/ 363985 w 582970"/>
                    <a:gd name="connsiteY315" fmla="*/ 101551 h 617711"/>
                    <a:gd name="connsiteX316" fmla="*/ 373565 w 582970"/>
                    <a:gd name="connsiteY316" fmla="*/ 107271 h 617711"/>
                    <a:gd name="connsiteX317" fmla="*/ 384348 w 582970"/>
                    <a:gd name="connsiteY317" fmla="*/ 111934 h 617711"/>
                    <a:gd name="connsiteX318" fmla="*/ 388829 w 582970"/>
                    <a:gd name="connsiteY318" fmla="*/ 114617 h 617711"/>
                    <a:gd name="connsiteX319" fmla="*/ 391403 w 582970"/>
                    <a:gd name="connsiteY319" fmla="*/ 119134 h 617711"/>
                    <a:gd name="connsiteX320" fmla="*/ 398021 w 582970"/>
                    <a:gd name="connsiteY320" fmla="*/ 128460 h 617711"/>
                    <a:gd name="connsiteX321" fmla="*/ 405076 w 582970"/>
                    <a:gd name="connsiteY321" fmla="*/ 141016 h 617711"/>
                    <a:gd name="connsiteX322" fmla="*/ 406218 w 582970"/>
                    <a:gd name="connsiteY322" fmla="*/ 143445 h 617711"/>
                    <a:gd name="connsiteX323" fmla="*/ 406218 w 582970"/>
                    <a:gd name="connsiteY323" fmla="*/ 145764 h 617711"/>
                    <a:gd name="connsiteX324" fmla="*/ 404833 w 582970"/>
                    <a:gd name="connsiteY324" fmla="*/ 147865 h 617711"/>
                    <a:gd name="connsiteX325" fmla="*/ 402903 w 582970"/>
                    <a:gd name="connsiteY325" fmla="*/ 149115 h 617711"/>
                    <a:gd name="connsiteX326" fmla="*/ 400340 w 582970"/>
                    <a:gd name="connsiteY326" fmla="*/ 149127 h 617711"/>
                    <a:gd name="connsiteX327" fmla="*/ 397924 w 582970"/>
                    <a:gd name="connsiteY327" fmla="*/ 148775 h 617711"/>
                    <a:gd name="connsiteX328" fmla="*/ 397560 w 582970"/>
                    <a:gd name="connsiteY328" fmla="*/ 148800 h 617711"/>
                    <a:gd name="connsiteX329" fmla="*/ 397487 w 582970"/>
                    <a:gd name="connsiteY329" fmla="*/ 149905 h 617711"/>
                    <a:gd name="connsiteX330" fmla="*/ 397730 w 582970"/>
                    <a:gd name="connsiteY330" fmla="*/ 150827 h 617711"/>
                    <a:gd name="connsiteX331" fmla="*/ 425015 w 582970"/>
                    <a:gd name="connsiteY331" fmla="*/ 200116 h 617711"/>
                    <a:gd name="connsiteX332" fmla="*/ 435591 w 582970"/>
                    <a:gd name="connsiteY332" fmla="*/ 228226 h 617711"/>
                    <a:gd name="connsiteX333" fmla="*/ 438530 w 582970"/>
                    <a:gd name="connsiteY333" fmla="*/ 241219 h 617711"/>
                    <a:gd name="connsiteX334" fmla="*/ 439574 w 582970"/>
                    <a:gd name="connsiteY334" fmla="*/ 244024 h 617711"/>
                    <a:gd name="connsiteX335" fmla="*/ 441384 w 582970"/>
                    <a:gd name="connsiteY335" fmla="*/ 246672 h 617711"/>
                    <a:gd name="connsiteX336" fmla="*/ 444990 w 582970"/>
                    <a:gd name="connsiteY336" fmla="*/ 250400 h 617711"/>
                    <a:gd name="connsiteX337" fmla="*/ 447030 w 582970"/>
                    <a:gd name="connsiteY337" fmla="*/ 251505 h 617711"/>
                    <a:gd name="connsiteX338" fmla="*/ 449811 w 582970"/>
                    <a:gd name="connsiteY338" fmla="*/ 250302 h 617711"/>
                    <a:gd name="connsiteX339" fmla="*/ 451717 w 582970"/>
                    <a:gd name="connsiteY339" fmla="*/ 249768 h 617711"/>
                    <a:gd name="connsiteX340" fmla="*/ 455214 w 582970"/>
                    <a:gd name="connsiteY340" fmla="*/ 249465 h 617711"/>
                    <a:gd name="connsiteX341" fmla="*/ 459452 w 582970"/>
                    <a:gd name="connsiteY341" fmla="*/ 251286 h 617711"/>
                    <a:gd name="connsiteX342" fmla="*/ 460047 w 582970"/>
                    <a:gd name="connsiteY342" fmla="*/ 250776 h 617711"/>
                    <a:gd name="connsiteX343" fmla="*/ 460533 w 582970"/>
                    <a:gd name="connsiteY343" fmla="*/ 249671 h 617711"/>
                    <a:gd name="connsiteX344" fmla="*/ 460727 w 582970"/>
                    <a:gd name="connsiteY344" fmla="*/ 247619 h 617711"/>
                    <a:gd name="connsiteX345" fmla="*/ 461905 w 582970"/>
                    <a:gd name="connsiteY345" fmla="*/ 244547 h 617711"/>
                    <a:gd name="connsiteX346" fmla="*/ 464807 w 582970"/>
                    <a:gd name="connsiteY346" fmla="*/ 242422 h 617711"/>
                    <a:gd name="connsiteX347" fmla="*/ 466617 w 582970"/>
                    <a:gd name="connsiteY347" fmla="*/ 242689 h 617711"/>
                    <a:gd name="connsiteX348" fmla="*/ 466738 w 582970"/>
                    <a:gd name="connsiteY348" fmla="*/ 242264 h 617711"/>
                    <a:gd name="connsiteX349" fmla="*/ 465463 w 582970"/>
                    <a:gd name="connsiteY349" fmla="*/ 234844 h 617711"/>
                    <a:gd name="connsiteX350" fmla="*/ 467345 w 582970"/>
                    <a:gd name="connsiteY350" fmla="*/ 230364 h 617711"/>
                    <a:gd name="connsiteX351" fmla="*/ 473125 w 582970"/>
                    <a:gd name="connsiteY351" fmla="*/ 228906 h 617711"/>
                    <a:gd name="connsiteX352" fmla="*/ 475129 w 582970"/>
                    <a:gd name="connsiteY352" fmla="*/ 226478 h 617711"/>
                    <a:gd name="connsiteX353" fmla="*/ 478650 w 582970"/>
                    <a:gd name="connsiteY353" fmla="*/ 227061 h 617711"/>
                    <a:gd name="connsiteX354" fmla="*/ 481225 w 582970"/>
                    <a:gd name="connsiteY354" fmla="*/ 229356 h 617711"/>
                    <a:gd name="connsiteX355" fmla="*/ 489215 w 582970"/>
                    <a:gd name="connsiteY355" fmla="*/ 243442 h 617711"/>
                    <a:gd name="connsiteX356" fmla="*/ 493161 w 582970"/>
                    <a:gd name="connsiteY356" fmla="*/ 251262 h 617711"/>
                    <a:gd name="connsiteX357" fmla="*/ 493732 w 582970"/>
                    <a:gd name="connsiteY357" fmla="*/ 253107 h 617711"/>
                    <a:gd name="connsiteX358" fmla="*/ 494315 w 582970"/>
                    <a:gd name="connsiteY358" fmla="*/ 252440 h 617711"/>
                    <a:gd name="connsiteX359" fmla="*/ 495650 w 582970"/>
                    <a:gd name="connsiteY359" fmla="*/ 251857 h 617711"/>
                    <a:gd name="connsiteX360" fmla="*/ 497023 w 582970"/>
                    <a:gd name="connsiteY360" fmla="*/ 251626 h 617711"/>
                    <a:gd name="connsiteX361" fmla="*/ 499123 w 582970"/>
                    <a:gd name="connsiteY361" fmla="*/ 252342 h 617711"/>
                    <a:gd name="connsiteX362" fmla="*/ 500265 w 582970"/>
                    <a:gd name="connsiteY362" fmla="*/ 253290 h 617711"/>
                    <a:gd name="connsiteX363" fmla="*/ 501819 w 582970"/>
                    <a:gd name="connsiteY363" fmla="*/ 255706 h 617711"/>
                    <a:gd name="connsiteX364" fmla="*/ 503252 w 582970"/>
                    <a:gd name="connsiteY364" fmla="*/ 255196 h 617711"/>
                    <a:gd name="connsiteX365" fmla="*/ 504660 w 582970"/>
                    <a:gd name="connsiteY365" fmla="*/ 255147 h 617711"/>
                    <a:gd name="connsiteX366" fmla="*/ 507903 w 582970"/>
                    <a:gd name="connsiteY366" fmla="*/ 255645 h 617711"/>
                    <a:gd name="connsiteX367" fmla="*/ 509530 w 582970"/>
                    <a:gd name="connsiteY367" fmla="*/ 256738 h 617711"/>
                    <a:gd name="connsiteX368" fmla="*/ 511363 w 582970"/>
                    <a:gd name="connsiteY368" fmla="*/ 259045 h 617711"/>
                    <a:gd name="connsiteX369" fmla="*/ 511740 w 582970"/>
                    <a:gd name="connsiteY369" fmla="*/ 259665 h 617711"/>
                    <a:gd name="connsiteX370" fmla="*/ 511861 w 582970"/>
                    <a:gd name="connsiteY370" fmla="*/ 259434 h 617711"/>
                    <a:gd name="connsiteX371" fmla="*/ 513403 w 582970"/>
                    <a:gd name="connsiteY371" fmla="*/ 257612 h 617711"/>
                    <a:gd name="connsiteX372" fmla="*/ 515735 w 582970"/>
                    <a:gd name="connsiteY372" fmla="*/ 257248 h 617711"/>
                    <a:gd name="connsiteX373" fmla="*/ 517313 w 582970"/>
                    <a:gd name="connsiteY373" fmla="*/ 257880 h 617711"/>
                    <a:gd name="connsiteX374" fmla="*/ 518734 w 582970"/>
                    <a:gd name="connsiteY374" fmla="*/ 259009 h 617711"/>
                    <a:gd name="connsiteX375" fmla="*/ 519657 w 582970"/>
                    <a:gd name="connsiteY375" fmla="*/ 260090 h 617711"/>
                    <a:gd name="connsiteX376" fmla="*/ 521381 w 582970"/>
                    <a:gd name="connsiteY376" fmla="*/ 263174 h 617711"/>
                    <a:gd name="connsiteX377" fmla="*/ 522353 w 582970"/>
                    <a:gd name="connsiteY377" fmla="*/ 266720 h 617711"/>
                    <a:gd name="connsiteX378" fmla="*/ 521952 w 582970"/>
                    <a:gd name="connsiteY378" fmla="*/ 268250 h 617711"/>
                    <a:gd name="connsiteX379" fmla="*/ 524004 w 582970"/>
                    <a:gd name="connsiteY379" fmla="*/ 267983 h 617711"/>
                    <a:gd name="connsiteX380" fmla="*/ 526979 w 582970"/>
                    <a:gd name="connsiteY380" fmla="*/ 268614 h 617711"/>
                    <a:gd name="connsiteX381" fmla="*/ 528011 w 582970"/>
                    <a:gd name="connsiteY381" fmla="*/ 268905 h 617711"/>
                    <a:gd name="connsiteX382" fmla="*/ 530586 w 582970"/>
                    <a:gd name="connsiteY382" fmla="*/ 272645 h 617711"/>
                    <a:gd name="connsiteX383" fmla="*/ 528449 w 582970"/>
                    <a:gd name="connsiteY383" fmla="*/ 276689 h 617711"/>
                    <a:gd name="connsiteX384" fmla="*/ 525170 w 582970"/>
                    <a:gd name="connsiteY384" fmla="*/ 280514 h 617711"/>
                    <a:gd name="connsiteX385" fmla="*/ 524951 w 582970"/>
                    <a:gd name="connsiteY385" fmla="*/ 281267 h 617711"/>
                    <a:gd name="connsiteX386" fmla="*/ 524684 w 582970"/>
                    <a:gd name="connsiteY386" fmla="*/ 290058 h 617711"/>
                    <a:gd name="connsiteX387" fmla="*/ 528594 w 582970"/>
                    <a:gd name="connsiteY387" fmla="*/ 292426 h 617711"/>
                    <a:gd name="connsiteX388" fmla="*/ 529153 w 582970"/>
                    <a:gd name="connsiteY388" fmla="*/ 296822 h 617711"/>
                    <a:gd name="connsiteX389" fmla="*/ 526445 w 582970"/>
                    <a:gd name="connsiteY389" fmla="*/ 301497 h 617711"/>
                    <a:gd name="connsiteX390" fmla="*/ 525911 w 582970"/>
                    <a:gd name="connsiteY390" fmla="*/ 302784 h 617711"/>
                    <a:gd name="connsiteX391" fmla="*/ 525765 w 582970"/>
                    <a:gd name="connsiteY391" fmla="*/ 303938 h 617711"/>
                    <a:gd name="connsiteX392" fmla="*/ 525753 w 582970"/>
                    <a:gd name="connsiteY392" fmla="*/ 305577 h 617711"/>
                    <a:gd name="connsiteX393" fmla="*/ 526081 w 582970"/>
                    <a:gd name="connsiteY393" fmla="*/ 307083 h 617711"/>
                    <a:gd name="connsiteX394" fmla="*/ 526639 w 582970"/>
                    <a:gd name="connsiteY394" fmla="*/ 309050 h 617711"/>
                    <a:gd name="connsiteX395" fmla="*/ 527416 w 582970"/>
                    <a:gd name="connsiteY395" fmla="*/ 311041 h 617711"/>
                    <a:gd name="connsiteX396" fmla="*/ 528983 w 582970"/>
                    <a:gd name="connsiteY396" fmla="*/ 313227 h 617711"/>
                    <a:gd name="connsiteX397" fmla="*/ 532249 w 582970"/>
                    <a:gd name="connsiteY397" fmla="*/ 316324 h 617711"/>
                    <a:gd name="connsiteX398" fmla="*/ 542291 w 582970"/>
                    <a:gd name="connsiteY398" fmla="*/ 323816 h 617711"/>
                    <a:gd name="connsiteX399" fmla="*/ 546699 w 582970"/>
                    <a:gd name="connsiteY399" fmla="*/ 328406 h 617711"/>
                    <a:gd name="connsiteX400" fmla="*/ 555114 w 582970"/>
                    <a:gd name="connsiteY400" fmla="*/ 335060 h 617711"/>
                    <a:gd name="connsiteX401" fmla="*/ 557324 w 582970"/>
                    <a:gd name="connsiteY401" fmla="*/ 337622 h 617711"/>
                    <a:gd name="connsiteX402" fmla="*/ 559097 w 582970"/>
                    <a:gd name="connsiteY402" fmla="*/ 340500 h 617711"/>
                    <a:gd name="connsiteX403" fmla="*/ 561392 w 582970"/>
                    <a:gd name="connsiteY403" fmla="*/ 345637 h 617711"/>
                    <a:gd name="connsiteX404" fmla="*/ 561951 w 582970"/>
                    <a:gd name="connsiteY404" fmla="*/ 346219 h 617711"/>
                    <a:gd name="connsiteX405" fmla="*/ 562388 w 582970"/>
                    <a:gd name="connsiteY405" fmla="*/ 346256 h 617711"/>
                    <a:gd name="connsiteX406" fmla="*/ 564173 w 582970"/>
                    <a:gd name="connsiteY406" fmla="*/ 346596 h 617711"/>
                    <a:gd name="connsiteX407" fmla="*/ 566444 w 582970"/>
                    <a:gd name="connsiteY407" fmla="*/ 347616 h 617711"/>
                    <a:gd name="connsiteX408" fmla="*/ 567597 w 582970"/>
                    <a:gd name="connsiteY408" fmla="*/ 348903 h 617711"/>
                    <a:gd name="connsiteX409" fmla="*/ 568666 w 582970"/>
                    <a:gd name="connsiteY409" fmla="*/ 351283 h 617711"/>
                    <a:gd name="connsiteX410" fmla="*/ 568933 w 582970"/>
                    <a:gd name="connsiteY410" fmla="*/ 353359 h 617711"/>
                    <a:gd name="connsiteX411" fmla="*/ 568678 w 582970"/>
                    <a:gd name="connsiteY411" fmla="*/ 355521 h 617711"/>
                    <a:gd name="connsiteX412" fmla="*/ 567646 w 582970"/>
                    <a:gd name="connsiteY412" fmla="*/ 358775 h 617711"/>
                    <a:gd name="connsiteX413" fmla="*/ 563238 w 582970"/>
                    <a:gd name="connsiteY413" fmla="*/ 365405 h 617711"/>
                    <a:gd name="connsiteX414" fmla="*/ 553524 w 582970"/>
                    <a:gd name="connsiteY414" fmla="*/ 362770 h 617711"/>
                    <a:gd name="connsiteX415" fmla="*/ 551387 w 582970"/>
                    <a:gd name="connsiteY415" fmla="*/ 362989 h 617711"/>
                    <a:gd name="connsiteX416" fmla="*/ 548666 w 582970"/>
                    <a:gd name="connsiteY416" fmla="*/ 363402 h 617711"/>
                    <a:gd name="connsiteX417" fmla="*/ 542522 w 582970"/>
                    <a:gd name="connsiteY417" fmla="*/ 366207 h 617711"/>
                    <a:gd name="connsiteX418" fmla="*/ 542304 w 582970"/>
                    <a:gd name="connsiteY418" fmla="*/ 367397 h 617711"/>
                    <a:gd name="connsiteX419" fmla="*/ 542546 w 582970"/>
                    <a:gd name="connsiteY419" fmla="*/ 368210 h 617711"/>
                    <a:gd name="connsiteX420" fmla="*/ 542911 w 582970"/>
                    <a:gd name="connsiteY420" fmla="*/ 369048 h 617711"/>
                    <a:gd name="connsiteX421" fmla="*/ 548132 w 582970"/>
                    <a:gd name="connsiteY421" fmla="*/ 373165 h 617711"/>
                    <a:gd name="connsiteX422" fmla="*/ 554034 w 582970"/>
                    <a:gd name="connsiteY422" fmla="*/ 379940 h 617711"/>
                    <a:gd name="connsiteX423" fmla="*/ 555491 w 582970"/>
                    <a:gd name="connsiteY423" fmla="*/ 381155 h 617711"/>
                    <a:gd name="connsiteX424" fmla="*/ 556268 w 582970"/>
                    <a:gd name="connsiteY424" fmla="*/ 382138 h 617711"/>
                    <a:gd name="connsiteX425" fmla="*/ 558271 w 582970"/>
                    <a:gd name="connsiteY425" fmla="*/ 380875 h 617711"/>
                    <a:gd name="connsiteX426" fmla="*/ 560591 w 582970"/>
                    <a:gd name="connsiteY426" fmla="*/ 380669 h 617711"/>
                    <a:gd name="connsiteX427" fmla="*/ 561902 w 582970"/>
                    <a:gd name="connsiteY427" fmla="*/ 380742 h 617711"/>
                    <a:gd name="connsiteX428" fmla="*/ 565958 w 582970"/>
                    <a:gd name="connsiteY428" fmla="*/ 381483 h 617711"/>
                    <a:gd name="connsiteX429" fmla="*/ 566189 w 582970"/>
                    <a:gd name="connsiteY429" fmla="*/ 381337 h 617711"/>
                    <a:gd name="connsiteX430" fmla="*/ 567585 w 582970"/>
                    <a:gd name="connsiteY430" fmla="*/ 380960 h 617711"/>
                    <a:gd name="connsiteX431" fmla="*/ 568205 w 582970"/>
                    <a:gd name="connsiteY431" fmla="*/ 380900 h 617711"/>
                    <a:gd name="connsiteX432" fmla="*/ 569310 w 582970"/>
                    <a:gd name="connsiteY432" fmla="*/ 381045 h 617711"/>
                    <a:gd name="connsiteX433" fmla="*/ 570475 w 582970"/>
                    <a:gd name="connsiteY433" fmla="*/ 381434 h 617711"/>
                    <a:gd name="connsiteX434" fmla="*/ 571544 w 582970"/>
                    <a:gd name="connsiteY434" fmla="*/ 382806 h 617711"/>
                    <a:gd name="connsiteX435" fmla="*/ 572199 w 582970"/>
                    <a:gd name="connsiteY435" fmla="*/ 384275 h 617711"/>
                    <a:gd name="connsiteX436" fmla="*/ 573353 w 582970"/>
                    <a:gd name="connsiteY436" fmla="*/ 390019 h 617711"/>
                    <a:gd name="connsiteX437" fmla="*/ 573632 w 582970"/>
                    <a:gd name="connsiteY437" fmla="*/ 390286 h 617711"/>
                    <a:gd name="connsiteX438" fmla="*/ 574482 w 582970"/>
                    <a:gd name="connsiteY438" fmla="*/ 390128 h 617711"/>
                    <a:gd name="connsiteX439" fmla="*/ 576996 w 582970"/>
                    <a:gd name="connsiteY439" fmla="*/ 391343 h 617711"/>
                    <a:gd name="connsiteX440" fmla="*/ 577639 w 582970"/>
                    <a:gd name="connsiteY440" fmla="*/ 391731 h 617711"/>
                    <a:gd name="connsiteX441" fmla="*/ 578830 w 582970"/>
                    <a:gd name="connsiteY441" fmla="*/ 393686 h 617711"/>
                    <a:gd name="connsiteX442" fmla="*/ 580141 w 582970"/>
                    <a:gd name="connsiteY442" fmla="*/ 397875 h 617711"/>
                    <a:gd name="connsiteX443" fmla="*/ 580542 w 582970"/>
                    <a:gd name="connsiteY443" fmla="*/ 398471 h 617711"/>
                    <a:gd name="connsiteX444" fmla="*/ 581125 w 582970"/>
                    <a:gd name="connsiteY444" fmla="*/ 400341 h 617711"/>
                    <a:gd name="connsiteX445" fmla="*/ 581234 w 582970"/>
                    <a:gd name="connsiteY445" fmla="*/ 402417 h 617711"/>
                    <a:gd name="connsiteX446" fmla="*/ 579850 w 582970"/>
                    <a:gd name="connsiteY446" fmla="*/ 409521 h 617711"/>
                    <a:gd name="connsiteX447" fmla="*/ 579728 w 582970"/>
                    <a:gd name="connsiteY447" fmla="*/ 411816 h 617711"/>
                    <a:gd name="connsiteX448" fmla="*/ 580262 w 582970"/>
                    <a:gd name="connsiteY448" fmla="*/ 412836 h 617711"/>
                    <a:gd name="connsiteX449" fmla="*/ 581331 w 582970"/>
                    <a:gd name="connsiteY449" fmla="*/ 414026 h 617711"/>
                    <a:gd name="connsiteX450" fmla="*/ 582715 w 582970"/>
                    <a:gd name="connsiteY450" fmla="*/ 416369 h 617711"/>
                    <a:gd name="connsiteX451" fmla="*/ 582970 w 582970"/>
                    <a:gd name="connsiteY451" fmla="*/ 419162 h 617711"/>
                    <a:gd name="connsiteX452" fmla="*/ 581793 w 582970"/>
                    <a:gd name="connsiteY452" fmla="*/ 421542 h 617711"/>
                    <a:gd name="connsiteX453" fmla="*/ 580505 w 582970"/>
                    <a:gd name="connsiteY453" fmla="*/ 423534 h 617711"/>
                    <a:gd name="connsiteX454" fmla="*/ 580190 w 582970"/>
                    <a:gd name="connsiteY454" fmla="*/ 424918 h 617711"/>
                    <a:gd name="connsiteX455" fmla="*/ 580153 w 582970"/>
                    <a:gd name="connsiteY455" fmla="*/ 430686 h 617711"/>
                    <a:gd name="connsiteX456" fmla="*/ 580408 w 582970"/>
                    <a:gd name="connsiteY456" fmla="*/ 433139 h 617711"/>
                    <a:gd name="connsiteX457" fmla="*/ 582084 w 582970"/>
                    <a:gd name="connsiteY457" fmla="*/ 440218 h 617711"/>
                    <a:gd name="connsiteX458" fmla="*/ 582278 w 582970"/>
                    <a:gd name="connsiteY458" fmla="*/ 442768 h 617711"/>
                    <a:gd name="connsiteX459" fmla="*/ 581829 w 582970"/>
                    <a:gd name="connsiteY459" fmla="*/ 445877 h 617711"/>
                    <a:gd name="connsiteX460" fmla="*/ 580918 w 582970"/>
                    <a:gd name="connsiteY460" fmla="*/ 448779 h 617711"/>
                    <a:gd name="connsiteX461" fmla="*/ 578040 w 582970"/>
                    <a:gd name="connsiteY461" fmla="*/ 452640 h 617711"/>
                    <a:gd name="connsiteX462" fmla="*/ 574179 w 582970"/>
                    <a:gd name="connsiteY462" fmla="*/ 453927 h 617711"/>
                    <a:gd name="connsiteX463" fmla="*/ 570074 w 582970"/>
                    <a:gd name="connsiteY463" fmla="*/ 452239 h 617711"/>
                    <a:gd name="connsiteX464" fmla="*/ 567828 w 582970"/>
                    <a:gd name="connsiteY464" fmla="*/ 448378 h 617711"/>
                    <a:gd name="connsiteX465" fmla="*/ 565873 w 582970"/>
                    <a:gd name="connsiteY465" fmla="*/ 441967 h 617711"/>
                    <a:gd name="connsiteX466" fmla="*/ 564950 w 582970"/>
                    <a:gd name="connsiteY466" fmla="*/ 439805 h 617711"/>
                    <a:gd name="connsiteX467" fmla="*/ 564404 w 582970"/>
                    <a:gd name="connsiteY467" fmla="*/ 439623 h 617711"/>
                    <a:gd name="connsiteX468" fmla="*/ 559352 w 582970"/>
                    <a:gd name="connsiteY468" fmla="*/ 440376 h 617711"/>
                    <a:gd name="connsiteX469" fmla="*/ 556657 w 582970"/>
                    <a:gd name="connsiteY469" fmla="*/ 440400 h 617711"/>
                    <a:gd name="connsiteX470" fmla="*/ 552467 w 582970"/>
                    <a:gd name="connsiteY470" fmla="*/ 438834 h 617711"/>
                    <a:gd name="connsiteX471" fmla="*/ 551022 w 582970"/>
                    <a:gd name="connsiteY471" fmla="*/ 438846 h 617711"/>
                    <a:gd name="connsiteX472" fmla="*/ 546906 w 582970"/>
                    <a:gd name="connsiteY472" fmla="*/ 440716 h 617711"/>
                    <a:gd name="connsiteX473" fmla="*/ 547234 w 582970"/>
                    <a:gd name="connsiteY473" fmla="*/ 441092 h 617711"/>
                    <a:gd name="connsiteX474" fmla="*/ 546675 w 582970"/>
                    <a:gd name="connsiteY474" fmla="*/ 445245 h 617711"/>
                    <a:gd name="connsiteX475" fmla="*/ 547889 w 582970"/>
                    <a:gd name="connsiteY475" fmla="*/ 445549 h 617711"/>
                    <a:gd name="connsiteX476" fmla="*/ 550439 w 582970"/>
                    <a:gd name="connsiteY476" fmla="*/ 446969 h 617711"/>
                    <a:gd name="connsiteX477" fmla="*/ 550962 w 582970"/>
                    <a:gd name="connsiteY477" fmla="*/ 449349 h 617711"/>
                    <a:gd name="connsiteX478" fmla="*/ 550670 w 582970"/>
                    <a:gd name="connsiteY478" fmla="*/ 451086 h 617711"/>
                    <a:gd name="connsiteX479" fmla="*/ 550087 w 582970"/>
                    <a:gd name="connsiteY479" fmla="*/ 452252 h 617711"/>
                    <a:gd name="connsiteX480" fmla="*/ 548254 w 582970"/>
                    <a:gd name="connsiteY480" fmla="*/ 454474 h 617711"/>
                    <a:gd name="connsiteX481" fmla="*/ 545145 w 582970"/>
                    <a:gd name="connsiteY481" fmla="*/ 457291 h 617711"/>
                    <a:gd name="connsiteX482" fmla="*/ 532783 w 582970"/>
                    <a:gd name="connsiteY482" fmla="*/ 465815 h 617711"/>
                    <a:gd name="connsiteX483" fmla="*/ 529930 w 582970"/>
                    <a:gd name="connsiteY483" fmla="*/ 467248 h 617711"/>
                    <a:gd name="connsiteX484" fmla="*/ 526396 w 582970"/>
                    <a:gd name="connsiteY484" fmla="*/ 469458 h 617711"/>
                    <a:gd name="connsiteX485" fmla="*/ 524077 w 582970"/>
                    <a:gd name="connsiteY485" fmla="*/ 470624 h 617711"/>
                    <a:gd name="connsiteX486" fmla="*/ 521976 w 582970"/>
                    <a:gd name="connsiteY486" fmla="*/ 471340 h 617711"/>
                    <a:gd name="connsiteX487" fmla="*/ 523057 w 582970"/>
                    <a:gd name="connsiteY487" fmla="*/ 472360 h 617711"/>
                    <a:gd name="connsiteX488" fmla="*/ 524065 w 582970"/>
                    <a:gd name="connsiteY488" fmla="*/ 473866 h 617711"/>
                    <a:gd name="connsiteX489" fmla="*/ 524502 w 582970"/>
                    <a:gd name="connsiteY489" fmla="*/ 475105 h 617711"/>
                    <a:gd name="connsiteX490" fmla="*/ 522146 w 582970"/>
                    <a:gd name="connsiteY490" fmla="*/ 477837 h 617711"/>
                    <a:gd name="connsiteX491" fmla="*/ 524830 w 582970"/>
                    <a:gd name="connsiteY491" fmla="*/ 476416 h 617711"/>
                    <a:gd name="connsiteX492" fmla="*/ 526178 w 582970"/>
                    <a:gd name="connsiteY492" fmla="*/ 477776 h 617711"/>
                    <a:gd name="connsiteX493" fmla="*/ 528048 w 582970"/>
                    <a:gd name="connsiteY493" fmla="*/ 478177 h 617711"/>
                    <a:gd name="connsiteX494" fmla="*/ 529214 w 582970"/>
                    <a:gd name="connsiteY494" fmla="*/ 478711 h 617711"/>
                    <a:gd name="connsiteX495" fmla="*/ 531254 w 582970"/>
                    <a:gd name="connsiteY495" fmla="*/ 480496 h 617711"/>
                    <a:gd name="connsiteX496" fmla="*/ 531934 w 582970"/>
                    <a:gd name="connsiteY496" fmla="*/ 481650 h 617711"/>
                    <a:gd name="connsiteX497" fmla="*/ 532189 w 582970"/>
                    <a:gd name="connsiteY497" fmla="*/ 482305 h 617711"/>
                    <a:gd name="connsiteX498" fmla="*/ 532480 w 582970"/>
                    <a:gd name="connsiteY498" fmla="*/ 483872 h 617711"/>
                    <a:gd name="connsiteX499" fmla="*/ 532371 w 582970"/>
                    <a:gd name="connsiteY499" fmla="*/ 485390 h 617711"/>
                    <a:gd name="connsiteX500" fmla="*/ 531897 w 582970"/>
                    <a:gd name="connsiteY500" fmla="*/ 487588 h 617711"/>
                    <a:gd name="connsiteX501" fmla="*/ 530015 w 582970"/>
                    <a:gd name="connsiteY501" fmla="*/ 491437 h 617711"/>
                    <a:gd name="connsiteX502" fmla="*/ 530234 w 582970"/>
                    <a:gd name="connsiteY502" fmla="*/ 495019 h 617711"/>
                    <a:gd name="connsiteX503" fmla="*/ 528703 w 582970"/>
                    <a:gd name="connsiteY503" fmla="*/ 496901 h 617711"/>
                    <a:gd name="connsiteX504" fmla="*/ 521272 w 582970"/>
                    <a:gd name="connsiteY504" fmla="*/ 501455 h 617711"/>
                    <a:gd name="connsiteX505" fmla="*/ 509736 w 582970"/>
                    <a:gd name="connsiteY505" fmla="*/ 510137 h 617711"/>
                    <a:gd name="connsiteX506" fmla="*/ 501479 w 582970"/>
                    <a:gd name="connsiteY506" fmla="*/ 509821 h 617711"/>
                    <a:gd name="connsiteX507" fmla="*/ 498856 w 582970"/>
                    <a:gd name="connsiteY507" fmla="*/ 508291 h 617711"/>
                    <a:gd name="connsiteX508" fmla="*/ 494995 w 582970"/>
                    <a:gd name="connsiteY508" fmla="*/ 507332 h 617711"/>
                    <a:gd name="connsiteX509" fmla="*/ 492687 w 582970"/>
                    <a:gd name="connsiteY509" fmla="*/ 505936 h 617711"/>
                    <a:gd name="connsiteX510" fmla="*/ 490963 w 582970"/>
                    <a:gd name="connsiteY510" fmla="*/ 504066 h 617711"/>
                    <a:gd name="connsiteX511" fmla="*/ 488632 w 582970"/>
                    <a:gd name="connsiteY511" fmla="*/ 500423 h 617711"/>
                    <a:gd name="connsiteX512" fmla="*/ 486944 w 582970"/>
                    <a:gd name="connsiteY512" fmla="*/ 496707 h 617711"/>
                    <a:gd name="connsiteX513" fmla="*/ 485900 w 582970"/>
                    <a:gd name="connsiteY513" fmla="*/ 492651 h 617711"/>
                    <a:gd name="connsiteX514" fmla="*/ 485960 w 582970"/>
                    <a:gd name="connsiteY514" fmla="*/ 494521 h 617711"/>
                    <a:gd name="connsiteX515" fmla="*/ 485535 w 582970"/>
                    <a:gd name="connsiteY515" fmla="*/ 495833 h 617711"/>
                    <a:gd name="connsiteX516" fmla="*/ 483750 w 582970"/>
                    <a:gd name="connsiteY516" fmla="*/ 499767 h 617711"/>
                    <a:gd name="connsiteX517" fmla="*/ 482512 w 582970"/>
                    <a:gd name="connsiteY517" fmla="*/ 501916 h 617711"/>
                    <a:gd name="connsiteX518" fmla="*/ 480107 w 582970"/>
                    <a:gd name="connsiteY518" fmla="*/ 503276 h 617711"/>
                    <a:gd name="connsiteX519" fmla="*/ 478626 w 582970"/>
                    <a:gd name="connsiteY519" fmla="*/ 503386 h 617711"/>
                    <a:gd name="connsiteX520" fmla="*/ 476938 w 582970"/>
                    <a:gd name="connsiteY520" fmla="*/ 503130 h 617711"/>
                    <a:gd name="connsiteX521" fmla="*/ 475323 w 582970"/>
                    <a:gd name="connsiteY521" fmla="*/ 502208 h 617711"/>
                    <a:gd name="connsiteX522" fmla="*/ 474097 w 582970"/>
                    <a:gd name="connsiteY522" fmla="*/ 501078 h 617711"/>
                    <a:gd name="connsiteX523" fmla="*/ 473235 w 582970"/>
                    <a:gd name="connsiteY523" fmla="*/ 502548 h 617711"/>
                    <a:gd name="connsiteX524" fmla="*/ 472008 w 582970"/>
                    <a:gd name="connsiteY524" fmla="*/ 503908 h 617711"/>
                    <a:gd name="connsiteX525" fmla="*/ 469604 w 582970"/>
                    <a:gd name="connsiteY525" fmla="*/ 505377 h 617711"/>
                    <a:gd name="connsiteX526" fmla="*/ 467187 w 582970"/>
                    <a:gd name="connsiteY526" fmla="*/ 505583 h 617711"/>
                    <a:gd name="connsiteX527" fmla="*/ 464941 w 582970"/>
                    <a:gd name="connsiteY527" fmla="*/ 505377 h 617711"/>
                    <a:gd name="connsiteX528" fmla="*/ 461990 w 582970"/>
                    <a:gd name="connsiteY528" fmla="*/ 504515 h 617711"/>
                    <a:gd name="connsiteX529" fmla="*/ 460266 w 582970"/>
                    <a:gd name="connsiteY529" fmla="*/ 504381 h 617711"/>
                    <a:gd name="connsiteX530" fmla="*/ 459100 w 582970"/>
                    <a:gd name="connsiteY530" fmla="*/ 504078 h 617711"/>
                    <a:gd name="connsiteX531" fmla="*/ 459841 w 582970"/>
                    <a:gd name="connsiteY531" fmla="*/ 506652 h 617711"/>
                    <a:gd name="connsiteX532" fmla="*/ 458165 w 582970"/>
                    <a:gd name="connsiteY532" fmla="*/ 508680 h 617711"/>
                    <a:gd name="connsiteX533" fmla="*/ 456404 w 582970"/>
                    <a:gd name="connsiteY533" fmla="*/ 509797 h 617711"/>
                    <a:gd name="connsiteX534" fmla="*/ 452652 w 582970"/>
                    <a:gd name="connsiteY534" fmla="*/ 510392 h 617711"/>
                    <a:gd name="connsiteX535" fmla="*/ 450151 w 582970"/>
                    <a:gd name="connsiteY535" fmla="*/ 512068 h 617711"/>
                    <a:gd name="connsiteX536" fmla="*/ 453369 w 582970"/>
                    <a:gd name="connsiteY536" fmla="*/ 511679 h 617711"/>
                    <a:gd name="connsiteX537" fmla="*/ 453915 w 582970"/>
                    <a:gd name="connsiteY537" fmla="*/ 512736 h 617711"/>
                    <a:gd name="connsiteX538" fmla="*/ 453939 w 582970"/>
                    <a:gd name="connsiteY538" fmla="*/ 514715 h 617711"/>
                    <a:gd name="connsiteX539" fmla="*/ 453806 w 582970"/>
                    <a:gd name="connsiteY539" fmla="*/ 515213 h 617711"/>
                    <a:gd name="connsiteX540" fmla="*/ 453162 w 582970"/>
                    <a:gd name="connsiteY540" fmla="*/ 516658 h 617711"/>
                    <a:gd name="connsiteX541" fmla="*/ 452507 w 582970"/>
                    <a:gd name="connsiteY541" fmla="*/ 517581 h 617711"/>
                    <a:gd name="connsiteX542" fmla="*/ 450892 w 582970"/>
                    <a:gd name="connsiteY542" fmla="*/ 519426 h 617711"/>
                    <a:gd name="connsiteX543" fmla="*/ 449944 w 582970"/>
                    <a:gd name="connsiteY543" fmla="*/ 521321 h 617711"/>
                    <a:gd name="connsiteX544" fmla="*/ 446459 w 582970"/>
                    <a:gd name="connsiteY544" fmla="*/ 530804 h 617711"/>
                    <a:gd name="connsiteX545" fmla="*/ 445512 w 582970"/>
                    <a:gd name="connsiteY545" fmla="*/ 534399 h 617711"/>
                    <a:gd name="connsiteX546" fmla="*/ 445354 w 582970"/>
                    <a:gd name="connsiteY546" fmla="*/ 535868 h 617711"/>
                    <a:gd name="connsiteX547" fmla="*/ 445646 w 582970"/>
                    <a:gd name="connsiteY547" fmla="*/ 537034 h 617711"/>
                    <a:gd name="connsiteX548" fmla="*/ 446010 w 582970"/>
                    <a:gd name="connsiteY548" fmla="*/ 538236 h 617711"/>
                    <a:gd name="connsiteX549" fmla="*/ 446714 w 582970"/>
                    <a:gd name="connsiteY549" fmla="*/ 539948 h 617711"/>
                    <a:gd name="connsiteX550" fmla="*/ 447322 w 582970"/>
                    <a:gd name="connsiteY550" fmla="*/ 542073 h 617711"/>
                    <a:gd name="connsiteX551" fmla="*/ 448026 w 582970"/>
                    <a:gd name="connsiteY551" fmla="*/ 543129 h 617711"/>
                    <a:gd name="connsiteX552" fmla="*/ 448682 w 582970"/>
                    <a:gd name="connsiteY552" fmla="*/ 543457 h 617711"/>
                    <a:gd name="connsiteX553" fmla="*/ 451754 w 582970"/>
                    <a:gd name="connsiteY553" fmla="*/ 545206 h 617711"/>
                    <a:gd name="connsiteX554" fmla="*/ 453818 w 582970"/>
                    <a:gd name="connsiteY554" fmla="*/ 547222 h 617711"/>
                    <a:gd name="connsiteX555" fmla="*/ 454704 w 582970"/>
                    <a:gd name="connsiteY555" fmla="*/ 548181 h 617711"/>
                    <a:gd name="connsiteX556" fmla="*/ 454413 w 582970"/>
                    <a:gd name="connsiteY556" fmla="*/ 552552 h 617711"/>
                    <a:gd name="connsiteX557" fmla="*/ 451317 w 582970"/>
                    <a:gd name="connsiteY557" fmla="*/ 555491 h 617711"/>
                    <a:gd name="connsiteX558" fmla="*/ 445014 w 582970"/>
                    <a:gd name="connsiteY558" fmla="*/ 558769 h 617711"/>
                    <a:gd name="connsiteX559" fmla="*/ 441214 w 582970"/>
                    <a:gd name="connsiteY559" fmla="*/ 561611 h 617711"/>
                    <a:gd name="connsiteX560" fmla="*/ 438202 w 582970"/>
                    <a:gd name="connsiteY560" fmla="*/ 563262 h 617711"/>
                    <a:gd name="connsiteX561" fmla="*/ 433479 w 582970"/>
                    <a:gd name="connsiteY561" fmla="*/ 564513 h 617711"/>
                    <a:gd name="connsiteX562" fmla="*/ 426861 w 582970"/>
                    <a:gd name="connsiteY562" fmla="*/ 567391 h 617711"/>
                    <a:gd name="connsiteX563" fmla="*/ 421311 w 582970"/>
                    <a:gd name="connsiteY563" fmla="*/ 574507 h 617711"/>
                    <a:gd name="connsiteX564" fmla="*/ 418834 w 582970"/>
                    <a:gd name="connsiteY564" fmla="*/ 576680 h 617711"/>
                    <a:gd name="connsiteX565" fmla="*/ 415968 w 582970"/>
                    <a:gd name="connsiteY565" fmla="*/ 577506 h 617711"/>
                    <a:gd name="connsiteX566" fmla="*/ 409703 w 582970"/>
                    <a:gd name="connsiteY566" fmla="*/ 577275 h 617711"/>
                    <a:gd name="connsiteX567" fmla="*/ 405016 w 582970"/>
                    <a:gd name="connsiteY567" fmla="*/ 579740 h 617711"/>
                    <a:gd name="connsiteX568" fmla="*/ 402065 w 582970"/>
                    <a:gd name="connsiteY568" fmla="*/ 580797 h 617711"/>
                    <a:gd name="connsiteX569" fmla="*/ 397863 w 582970"/>
                    <a:gd name="connsiteY569" fmla="*/ 580991 h 617711"/>
                    <a:gd name="connsiteX570" fmla="*/ 390918 w 582970"/>
                    <a:gd name="connsiteY570" fmla="*/ 578854 h 617711"/>
                    <a:gd name="connsiteX571" fmla="*/ 386510 w 582970"/>
                    <a:gd name="connsiteY571" fmla="*/ 578708 h 617711"/>
                    <a:gd name="connsiteX572" fmla="*/ 383365 w 582970"/>
                    <a:gd name="connsiteY572" fmla="*/ 575296 h 617711"/>
                    <a:gd name="connsiteX573" fmla="*/ 382745 w 582970"/>
                    <a:gd name="connsiteY573" fmla="*/ 574312 h 617711"/>
                    <a:gd name="connsiteX574" fmla="*/ 379758 w 582970"/>
                    <a:gd name="connsiteY574" fmla="*/ 567233 h 617711"/>
                    <a:gd name="connsiteX575" fmla="*/ 378860 w 582970"/>
                    <a:gd name="connsiteY575" fmla="*/ 566043 h 617711"/>
                    <a:gd name="connsiteX576" fmla="*/ 375338 w 582970"/>
                    <a:gd name="connsiteY576" fmla="*/ 563384 h 617711"/>
                    <a:gd name="connsiteX577" fmla="*/ 371938 w 582970"/>
                    <a:gd name="connsiteY577" fmla="*/ 562376 h 617711"/>
                    <a:gd name="connsiteX578" fmla="*/ 370530 w 582970"/>
                    <a:gd name="connsiteY578" fmla="*/ 562121 h 617711"/>
                    <a:gd name="connsiteX579" fmla="*/ 368817 w 582970"/>
                    <a:gd name="connsiteY579" fmla="*/ 562048 h 617711"/>
                    <a:gd name="connsiteX580" fmla="*/ 364798 w 582970"/>
                    <a:gd name="connsiteY580" fmla="*/ 563384 h 617711"/>
                    <a:gd name="connsiteX581" fmla="*/ 359917 w 582970"/>
                    <a:gd name="connsiteY581" fmla="*/ 565691 h 617711"/>
                    <a:gd name="connsiteX582" fmla="*/ 359382 w 582970"/>
                    <a:gd name="connsiteY582" fmla="*/ 566310 h 617711"/>
                    <a:gd name="connsiteX583" fmla="*/ 359261 w 582970"/>
                    <a:gd name="connsiteY583" fmla="*/ 566687 h 617711"/>
                    <a:gd name="connsiteX584" fmla="*/ 359431 w 582970"/>
                    <a:gd name="connsiteY584" fmla="*/ 567719 h 617711"/>
                    <a:gd name="connsiteX585" fmla="*/ 359212 w 582970"/>
                    <a:gd name="connsiteY585" fmla="*/ 570281 h 617711"/>
                    <a:gd name="connsiteX586" fmla="*/ 359079 w 582970"/>
                    <a:gd name="connsiteY586" fmla="*/ 571240 h 617711"/>
                    <a:gd name="connsiteX587" fmla="*/ 356432 w 582970"/>
                    <a:gd name="connsiteY587" fmla="*/ 574021 h 617711"/>
                    <a:gd name="connsiteX588" fmla="*/ 353189 w 582970"/>
                    <a:gd name="connsiteY588" fmla="*/ 574677 h 617711"/>
                    <a:gd name="connsiteX589" fmla="*/ 345406 w 582970"/>
                    <a:gd name="connsiteY589" fmla="*/ 573402 h 617711"/>
                    <a:gd name="connsiteX590" fmla="*/ 342309 w 582970"/>
                    <a:gd name="connsiteY590" fmla="*/ 573887 h 617711"/>
                    <a:gd name="connsiteX591" fmla="*/ 339614 w 582970"/>
                    <a:gd name="connsiteY591" fmla="*/ 574956 h 617711"/>
                    <a:gd name="connsiteX592" fmla="*/ 335376 w 582970"/>
                    <a:gd name="connsiteY592" fmla="*/ 575600 h 617711"/>
                    <a:gd name="connsiteX593" fmla="*/ 328964 w 582970"/>
                    <a:gd name="connsiteY593" fmla="*/ 574604 h 617711"/>
                    <a:gd name="connsiteX594" fmla="*/ 322808 w 582970"/>
                    <a:gd name="connsiteY594" fmla="*/ 571095 h 617711"/>
                    <a:gd name="connsiteX595" fmla="*/ 322516 w 582970"/>
                    <a:gd name="connsiteY595" fmla="*/ 570997 h 617711"/>
                    <a:gd name="connsiteX596" fmla="*/ 321436 w 582970"/>
                    <a:gd name="connsiteY596" fmla="*/ 571155 h 617711"/>
                    <a:gd name="connsiteX597" fmla="*/ 317198 w 582970"/>
                    <a:gd name="connsiteY597" fmla="*/ 570876 h 617711"/>
                    <a:gd name="connsiteX598" fmla="*/ 310070 w 582970"/>
                    <a:gd name="connsiteY598" fmla="*/ 568035 h 617711"/>
                    <a:gd name="connsiteX599" fmla="*/ 307131 w 582970"/>
                    <a:gd name="connsiteY599" fmla="*/ 566650 h 617711"/>
                    <a:gd name="connsiteX600" fmla="*/ 305079 w 582970"/>
                    <a:gd name="connsiteY600" fmla="*/ 569880 h 617711"/>
                    <a:gd name="connsiteX601" fmla="*/ 300586 w 582970"/>
                    <a:gd name="connsiteY601" fmla="*/ 575235 h 617711"/>
                    <a:gd name="connsiteX602" fmla="*/ 296385 w 582970"/>
                    <a:gd name="connsiteY602" fmla="*/ 582776 h 617711"/>
                    <a:gd name="connsiteX603" fmla="*/ 294648 w 582970"/>
                    <a:gd name="connsiteY603" fmla="*/ 585071 h 617711"/>
                    <a:gd name="connsiteX604" fmla="*/ 289876 w 582970"/>
                    <a:gd name="connsiteY604" fmla="*/ 589115 h 617711"/>
                    <a:gd name="connsiteX605" fmla="*/ 289245 w 582970"/>
                    <a:gd name="connsiteY605" fmla="*/ 589819 h 617711"/>
                    <a:gd name="connsiteX606" fmla="*/ 289172 w 582970"/>
                    <a:gd name="connsiteY606" fmla="*/ 590438 h 617711"/>
                    <a:gd name="connsiteX607" fmla="*/ 289305 w 582970"/>
                    <a:gd name="connsiteY607" fmla="*/ 591580 h 617711"/>
                    <a:gd name="connsiteX608" fmla="*/ 288808 w 582970"/>
                    <a:gd name="connsiteY608" fmla="*/ 594178 h 617711"/>
                    <a:gd name="connsiteX609" fmla="*/ 288395 w 582970"/>
                    <a:gd name="connsiteY609" fmla="*/ 595830 h 617711"/>
                    <a:gd name="connsiteX610" fmla="*/ 284497 w 582970"/>
                    <a:gd name="connsiteY610" fmla="*/ 597056 h 617711"/>
                    <a:gd name="connsiteX611" fmla="*/ 283550 w 582970"/>
                    <a:gd name="connsiteY611" fmla="*/ 596740 h 617711"/>
                    <a:gd name="connsiteX612" fmla="*/ 282724 w 582970"/>
                    <a:gd name="connsiteY612" fmla="*/ 596631 h 617711"/>
                    <a:gd name="connsiteX613" fmla="*/ 282275 w 582970"/>
                    <a:gd name="connsiteY613" fmla="*/ 596959 h 617711"/>
                    <a:gd name="connsiteX614" fmla="*/ 279846 w 582970"/>
                    <a:gd name="connsiteY614" fmla="*/ 600954 h 617711"/>
                    <a:gd name="connsiteX615" fmla="*/ 278923 w 582970"/>
                    <a:gd name="connsiteY615" fmla="*/ 603067 h 617711"/>
                    <a:gd name="connsiteX616" fmla="*/ 279312 w 582970"/>
                    <a:gd name="connsiteY616" fmla="*/ 603723 h 617711"/>
                    <a:gd name="connsiteX617" fmla="*/ 280259 w 582970"/>
                    <a:gd name="connsiteY617" fmla="*/ 605083 h 617711"/>
                    <a:gd name="connsiteX618" fmla="*/ 281668 w 582970"/>
                    <a:gd name="connsiteY618" fmla="*/ 608228 h 617711"/>
                    <a:gd name="connsiteX619" fmla="*/ 280988 w 582970"/>
                    <a:gd name="connsiteY619" fmla="*/ 611871 h 617711"/>
                    <a:gd name="connsiteX620" fmla="*/ 278438 w 582970"/>
                    <a:gd name="connsiteY620" fmla="*/ 614287 h 617711"/>
                    <a:gd name="connsiteX621" fmla="*/ 272463 w 582970"/>
                    <a:gd name="connsiteY621" fmla="*/ 615513 h 617711"/>
                    <a:gd name="connsiteX622" fmla="*/ 268735 w 582970"/>
                    <a:gd name="connsiteY622" fmla="*/ 617711 h 61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Lst>
                  <a:rect l="l" t="t" r="r" b="b"/>
                  <a:pathLst>
                    <a:path w="582970" h="617711">
                      <a:moveTo>
                        <a:pt x="263125" y="616873"/>
                      </a:moveTo>
                      <a:lnTo>
                        <a:pt x="261498" y="610195"/>
                      </a:lnTo>
                      <a:lnTo>
                        <a:pt x="261158" y="609175"/>
                      </a:lnTo>
                      <a:lnTo>
                        <a:pt x="260175" y="607183"/>
                      </a:lnTo>
                      <a:lnTo>
                        <a:pt x="259871" y="606176"/>
                      </a:lnTo>
                      <a:lnTo>
                        <a:pt x="262664" y="604318"/>
                      </a:lnTo>
                      <a:lnTo>
                        <a:pt x="259482" y="603990"/>
                      </a:lnTo>
                      <a:lnTo>
                        <a:pt x="258098" y="602533"/>
                      </a:lnTo>
                      <a:lnTo>
                        <a:pt x="255997" y="600699"/>
                      </a:lnTo>
                      <a:lnTo>
                        <a:pt x="254431" y="598392"/>
                      </a:lnTo>
                      <a:lnTo>
                        <a:pt x="253860" y="595866"/>
                      </a:lnTo>
                      <a:lnTo>
                        <a:pt x="254516" y="594810"/>
                      </a:lnTo>
                      <a:lnTo>
                        <a:pt x="257722" y="595405"/>
                      </a:lnTo>
                      <a:lnTo>
                        <a:pt x="256969" y="594870"/>
                      </a:lnTo>
                      <a:lnTo>
                        <a:pt x="254929" y="594870"/>
                      </a:lnTo>
                      <a:lnTo>
                        <a:pt x="251687" y="591677"/>
                      </a:lnTo>
                      <a:lnTo>
                        <a:pt x="251249" y="590548"/>
                      </a:lnTo>
                      <a:lnTo>
                        <a:pt x="250849" y="588920"/>
                      </a:lnTo>
                      <a:lnTo>
                        <a:pt x="250849" y="587645"/>
                      </a:lnTo>
                      <a:lnTo>
                        <a:pt x="251759" y="586103"/>
                      </a:lnTo>
                      <a:lnTo>
                        <a:pt x="252148" y="585715"/>
                      </a:lnTo>
                      <a:lnTo>
                        <a:pt x="253192" y="585035"/>
                      </a:lnTo>
                      <a:lnTo>
                        <a:pt x="254358" y="584525"/>
                      </a:lnTo>
                      <a:lnTo>
                        <a:pt x="257503" y="582934"/>
                      </a:lnTo>
                      <a:lnTo>
                        <a:pt x="257005" y="579267"/>
                      </a:lnTo>
                      <a:lnTo>
                        <a:pt x="257066" y="577057"/>
                      </a:lnTo>
                      <a:lnTo>
                        <a:pt x="257442" y="575381"/>
                      </a:lnTo>
                      <a:lnTo>
                        <a:pt x="258511" y="573972"/>
                      </a:lnTo>
                      <a:lnTo>
                        <a:pt x="259932" y="573292"/>
                      </a:lnTo>
                      <a:lnTo>
                        <a:pt x="260381" y="573195"/>
                      </a:lnTo>
                      <a:lnTo>
                        <a:pt x="261437" y="573135"/>
                      </a:lnTo>
                      <a:lnTo>
                        <a:pt x="261753" y="573171"/>
                      </a:lnTo>
                      <a:lnTo>
                        <a:pt x="259070" y="569807"/>
                      </a:lnTo>
                      <a:lnTo>
                        <a:pt x="257236" y="566905"/>
                      </a:lnTo>
                      <a:lnTo>
                        <a:pt x="256398" y="565290"/>
                      </a:lnTo>
                      <a:lnTo>
                        <a:pt x="255767" y="563153"/>
                      </a:lnTo>
                      <a:lnTo>
                        <a:pt x="255597" y="561659"/>
                      </a:lnTo>
                      <a:lnTo>
                        <a:pt x="253763" y="562522"/>
                      </a:lnTo>
                      <a:lnTo>
                        <a:pt x="252889" y="567112"/>
                      </a:lnTo>
                      <a:lnTo>
                        <a:pt x="251917" y="568885"/>
                      </a:lnTo>
                      <a:lnTo>
                        <a:pt x="249914" y="569917"/>
                      </a:lnTo>
                      <a:lnTo>
                        <a:pt x="248275" y="569674"/>
                      </a:lnTo>
                      <a:lnTo>
                        <a:pt x="247582" y="569431"/>
                      </a:lnTo>
                      <a:lnTo>
                        <a:pt x="246380" y="568557"/>
                      </a:lnTo>
                      <a:lnTo>
                        <a:pt x="245457" y="567549"/>
                      </a:lnTo>
                      <a:lnTo>
                        <a:pt x="244267" y="565934"/>
                      </a:lnTo>
                      <a:lnTo>
                        <a:pt x="243599" y="565327"/>
                      </a:lnTo>
                      <a:lnTo>
                        <a:pt x="239374" y="563384"/>
                      </a:lnTo>
                      <a:lnTo>
                        <a:pt x="237625" y="561259"/>
                      </a:lnTo>
                      <a:lnTo>
                        <a:pt x="236897" y="558527"/>
                      </a:lnTo>
                      <a:lnTo>
                        <a:pt x="237577" y="554459"/>
                      </a:lnTo>
                      <a:lnTo>
                        <a:pt x="236569" y="553196"/>
                      </a:lnTo>
                      <a:lnTo>
                        <a:pt x="236180" y="552297"/>
                      </a:lnTo>
                      <a:lnTo>
                        <a:pt x="235986" y="550500"/>
                      </a:lnTo>
                      <a:lnTo>
                        <a:pt x="236229" y="549577"/>
                      </a:lnTo>
                      <a:lnTo>
                        <a:pt x="235245" y="550124"/>
                      </a:lnTo>
                      <a:lnTo>
                        <a:pt x="233739" y="550609"/>
                      </a:lnTo>
                      <a:lnTo>
                        <a:pt x="231007" y="551144"/>
                      </a:lnTo>
                      <a:lnTo>
                        <a:pt x="226162" y="552734"/>
                      </a:lnTo>
                      <a:lnTo>
                        <a:pt x="223029" y="553402"/>
                      </a:lnTo>
                      <a:lnTo>
                        <a:pt x="219896" y="553378"/>
                      </a:lnTo>
                      <a:lnTo>
                        <a:pt x="216873" y="551654"/>
                      </a:lnTo>
                      <a:lnTo>
                        <a:pt x="215756" y="550609"/>
                      </a:lnTo>
                      <a:lnTo>
                        <a:pt x="214554" y="549298"/>
                      </a:lnTo>
                      <a:lnTo>
                        <a:pt x="213789" y="548642"/>
                      </a:lnTo>
                      <a:lnTo>
                        <a:pt x="209490" y="546068"/>
                      </a:lnTo>
                      <a:lnTo>
                        <a:pt x="208409" y="544951"/>
                      </a:lnTo>
                      <a:lnTo>
                        <a:pt x="207292" y="543348"/>
                      </a:lnTo>
                      <a:lnTo>
                        <a:pt x="206551" y="541381"/>
                      </a:lnTo>
                      <a:lnTo>
                        <a:pt x="205993" y="538685"/>
                      </a:lnTo>
                      <a:lnTo>
                        <a:pt x="204366" y="537216"/>
                      </a:lnTo>
                      <a:lnTo>
                        <a:pt x="202386" y="536439"/>
                      </a:lnTo>
                      <a:lnTo>
                        <a:pt x="193364" y="534957"/>
                      </a:lnTo>
                      <a:lnTo>
                        <a:pt x="190486" y="534156"/>
                      </a:lnTo>
                      <a:lnTo>
                        <a:pt x="189199" y="533184"/>
                      </a:lnTo>
                      <a:lnTo>
                        <a:pt x="187620" y="531484"/>
                      </a:lnTo>
                      <a:lnTo>
                        <a:pt x="186783" y="530149"/>
                      </a:lnTo>
                      <a:lnTo>
                        <a:pt x="186503" y="530088"/>
                      </a:lnTo>
                      <a:lnTo>
                        <a:pt x="178793" y="532431"/>
                      </a:lnTo>
                      <a:lnTo>
                        <a:pt x="174118" y="533002"/>
                      </a:lnTo>
                      <a:lnTo>
                        <a:pt x="170183" y="532966"/>
                      </a:lnTo>
                      <a:lnTo>
                        <a:pt x="169540" y="533160"/>
                      </a:lnTo>
                      <a:lnTo>
                        <a:pt x="168471" y="533634"/>
                      </a:lnTo>
                      <a:lnTo>
                        <a:pt x="162898" y="537446"/>
                      </a:lnTo>
                      <a:lnTo>
                        <a:pt x="162157" y="538163"/>
                      </a:lnTo>
                      <a:lnTo>
                        <a:pt x="161586" y="538964"/>
                      </a:lnTo>
                      <a:lnTo>
                        <a:pt x="160396" y="541356"/>
                      </a:lnTo>
                      <a:lnTo>
                        <a:pt x="159109" y="543312"/>
                      </a:lnTo>
                      <a:lnTo>
                        <a:pt x="157227" y="545036"/>
                      </a:lnTo>
                      <a:lnTo>
                        <a:pt x="152588" y="544842"/>
                      </a:lnTo>
                      <a:lnTo>
                        <a:pt x="141356" y="540749"/>
                      </a:lnTo>
                      <a:lnTo>
                        <a:pt x="130184" y="538090"/>
                      </a:lnTo>
                      <a:lnTo>
                        <a:pt x="105971" y="534921"/>
                      </a:lnTo>
                      <a:lnTo>
                        <a:pt x="88522" y="535054"/>
                      </a:lnTo>
                      <a:lnTo>
                        <a:pt x="18129" y="531472"/>
                      </a:lnTo>
                      <a:lnTo>
                        <a:pt x="10127" y="530173"/>
                      </a:lnTo>
                      <a:lnTo>
                        <a:pt x="9374" y="524830"/>
                      </a:lnTo>
                      <a:lnTo>
                        <a:pt x="9447" y="523567"/>
                      </a:lnTo>
                      <a:lnTo>
                        <a:pt x="9836" y="522098"/>
                      </a:lnTo>
                      <a:lnTo>
                        <a:pt x="12119" y="516051"/>
                      </a:lnTo>
                      <a:lnTo>
                        <a:pt x="25767" y="494448"/>
                      </a:lnTo>
                      <a:lnTo>
                        <a:pt x="26581" y="490538"/>
                      </a:lnTo>
                      <a:lnTo>
                        <a:pt x="26690" y="487600"/>
                      </a:lnTo>
                      <a:lnTo>
                        <a:pt x="26204" y="486385"/>
                      </a:lnTo>
                      <a:lnTo>
                        <a:pt x="20655" y="484406"/>
                      </a:lnTo>
                      <a:lnTo>
                        <a:pt x="21323" y="479889"/>
                      </a:lnTo>
                      <a:lnTo>
                        <a:pt x="18870" y="471522"/>
                      </a:lnTo>
                      <a:lnTo>
                        <a:pt x="14766" y="463217"/>
                      </a:lnTo>
                      <a:lnTo>
                        <a:pt x="11657" y="458906"/>
                      </a:lnTo>
                      <a:lnTo>
                        <a:pt x="0" y="452907"/>
                      </a:lnTo>
                      <a:lnTo>
                        <a:pt x="1943" y="450066"/>
                      </a:lnTo>
                      <a:lnTo>
                        <a:pt x="3606" y="446059"/>
                      </a:lnTo>
                      <a:lnTo>
                        <a:pt x="7043" y="442562"/>
                      </a:lnTo>
                      <a:lnTo>
                        <a:pt x="12374" y="439708"/>
                      </a:lnTo>
                      <a:lnTo>
                        <a:pt x="12701" y="439732"/>
                      </a:lnTo>
                      <a:lnTo>
                        <a:pt x="12629" y="439307"/>
                      </a:lnTo>
                      <a:lnTo>
                        <a:pt x="10698" y="432859"/>
                      </a:lnTo>
                      <a:lnTo>
                        <a:pt x="18615" y="435446"/>
                      </a:lnTo>
                      <a:lnTo>
                        <a:pt x="19477" y="435300"/>
                      </a:lnTo>
                      <a:lnTo>
                        <a:pt x="20728" y="434329"/>
                      </a:lnTo>
                      <a:lnTo>
                        <a:pt x="29689" y="422186"/>
                      </a:lnTo>
                      <a:lnTo>
                        <a:pt x="30479" y="420097"/>
                      </a:lnTo>
                      <a:lnTo>
                        <a:pt x="32725" y="417523"/>
                      </a:lnTo>
                      <a:lnTo>
                        <a:pt x="33296" y="416952"/>
                      </a:lnTo>
                      <a:lnTo>
                        <a:pt x="40679" y="414949"/>
                      </a:lnTo>
                      <a:lnTo>
                        <a:pt x="41954" y="413613"/>
                      </a:lnTo>
                      <a:lnTo>
                        <a:pt x="42549" y="409606"/>
                      </a:lnTo>
                      <a:lnTo>
                        <a:pt x="41930" y="406631"/>
                      </a:lnTo>
                      <a:lnTo>
                        <a:pt x="41687" y="401992"/>
                      </a:lnTo>
                      <a:lnTo>
                        <a:pt x="43909" y="397390"/>
                      </a:lnTo>
                      <a:lnTo>
                        <a:pt x="47200" y="393541"/>
                      </a:lnTo>
                      <a:lnTo>
                        <a:pt x="49944" y="390990"/>
                      </a:lnTo>
                      <a:lnTo>
                        <a:pt x="53283" y="388793"/>
                      </a:lnTo>
                      <a:lnTo>
                        <a:pt x="57655" y="386728"/>
                      </a:lnTo>
                      <a:lnTo>
                        <a:pt x="61978" y="385769"/>
                      </a:lnTo>
                      <a:lnTo>
                        <a:pt x="62330" y="383996"/>
                      </a:lnTo>
                      <a:lnTo>
                        <a:pt x="63423" y="381009"/>
                      </a:lnTo>
                      <a:lnTo>
                        <a:pt x="66033" y="379103"/>
                      </a:lnTo>
                      <a:lnTo>
                        <a:pt x="67187" y="375302"/>
                      </a:lnTo>
                      <a:lnTo>
                        <a:pt x="69033" y="373140"/>
                      </a:lnTo>
                      <a:lnTo>
                        <a:pt x="72433" y="370238"/>
                      </a:lnTo>
                      <a:lnTo>
                        <a:pt x="75760" y="365296"/>
                      </a:lnTo>
                      <a:lnTo>
                        <a:pt x="77690" y="363377"/>
                      </a:lnTo>
                      <a:lnTo>
                        <a:pt x="80872" y="361119"/>
                      </a:lnTo>
                      <a:lnTo>
                        <a:pt x="80848" y="360937"/>
                      </a:lnTo>
                      <a:lnTo>
                        <a:pt x="78747" y="356092"/>
                      </a:lnTo>
                      <a:lnTo>
                        <a:pt x="80362" y="353894"/>
                      </a:lnTo>
                      <a:lnTo>
                        <a:pt x="81977" y="352740"/>
                      </a:lnTo>
                      <a:lnTo>
                        <a:pt x="85705" y="351647"/>
                      </a:lnTo>
                      <a:lnTo>
                        <a:pt x="87976" y="349789"/>
                      </a:lnTo>
                      <a:lnTo>
                        <a:pt x="89081" y="347822"/>
                      </a:lnTo>
                      <a:lnTo>
                        <a:pt x="87684" y="344058"/>
                      </a:lnTo>
                      <a:lnTo>
                        <a:pt x="89688" y="340670"/>
                      </a:lnTo>
                      <a:lnTo>
                        <a:pt x="91631" y="338375"/>
                      </a:lnTo>
                      <a:lnTo>
                        <a:pt x="94703" y="336202"/>
                      </a:lnTo>
                      <a:lnTo>
                        <a:pt x="97726" y="335643"/>
                      </a:lnTo>
                      <a:lnTo>
                        <a:pt x="100568" y="335752"/>
                      </a:lnTo>
                      <a:lnTo>
                        <a:pt x="106044" y="337222"/>
                      </a:lnTo>
                      <a:lnTo>
                        <a:pt x="108036" y="337294"/>
                      </a:lnTo>
                      <a:lnTo>
                        <a:pt x="108606" y="335133"/>
                      </a:lnTo>
                      <a:lnTo>
                        <a:pt x="110974" y="330822"/>
                      </a:lnTo>
                      <a:lnTo>
                        <a:pt x="114860" y="327179"/>
                      </a:lnTo>
                      <a:lnTo>
                        <a:pt x="118734" y="325224"/>
                      </a:lnTo>
                      <a:lnTo>
                        <a:pt x="123069" y="324423"/>
                      </a:lnTo>
                      <a:lnTo>
                        <a:pt x="127683" y="324301"/>
                      </a:lnTo>
                      <a:lnTo>
                        <a:pt x="129735" y="323512"/>
                      </a:lnTo>
                      <a:lnTo>
                        <a:pt x="132224" y="321084"/>
                      </a:lnTo>
                      <a:lnTo>
                        <a:pt x="134604" y="318084"/>
                      </a:lnTo>
                      <a:lnTo>
                        <a:pt x="136802" y="316117"/>
                      </a:lnTo>
                      <a:lnTo>
                        <a:pt x="136802" y="312122"/>
                      </a:lnTo>
                      <a:lnTo>
                        <a:pt x="140348" y="307653"/>
                      </a:lnTo>
                      <a:lnTo>
                        <a:pt x="144962" y="304205"/>
                      </a:lnTo>
                      <a:lnTo>
                        <a:pt x="152637" y="300198"/>
                      </a:lnTo>
                      <a:lnTo>
                        <a:pt x="150548" y="298425"/>
                      </a:lnTo>
                      <a:lnTo>
                        <a:pt x="148921" y="297538"/>
                      </a:lnTo>
                      <a:lnTo>
                        <a:pt x="145910" y="297466"/>
                      </a:lnTo>
                      <a:lnTo>
                        <a:pt x="137422" y="298983"/>
                      </a:lnTo>
                      <a:lnTo>
                        <a:pt x="132819" y="297065"/>
                      </a:lnTo>
                      <a:lnTo>
                        <a:pt x="129881" y="293580"/>
                      </a:lnTo>
                      <a:lnTo>
                        <a:pt x="128023" y="290641"/>
                      </a:lnTo>
                      <a:lnTo>
                        <a:pt x="126736" y="287047"/>
                      </a:lnTo>
                      <a:lnTo>
                        <a:pt x="125983" y="282566"/>
                      </a:lnTo>
                      <a:lnTo>
                        <a:pt x="126481" y="277539"/>
                      </a:lnTo>
                      <a:lnTo>
                        <a:pt x="129638" y="268638"/>
                      </a:lnTo>
                      <a:lnTo>
                        <a:pt x="129504" y="260405"/>
                      </a:lnTo>
                      <a:lnTo>
                        <a:pt x="130962" y="254832"/>
                      </a:lnTo>
                      <a:lnTo>
                        <a:pt x="138417" y="236666"/>
                      </a:lnTo>
                      <a:lnTo>
                        <a:pt x="140967" y="232610"/>
                      </a:lnTo>
                      <a:lnTo>
                        <a:pt x="144234" y="228664"/>
                      </a:lnTo>
                      <a:lnTo>
                        <a:pt x="146286" y="225592"/>
                      </a:lnTo>
                      <a:lnTo>
                        <a:pt x="146832" y="222665"/>
                      </a:lnTo>
                      <a:lnTo>
                        <a:pt x="146468" y="220674"/>
                      </a:lnTo>
                      <a:lnTo>
                        <a:pt x="141137" y="212987"/>
                      </a:lnTo>
                      <a:lnTo>
                        <a:pt x="135309" y="192441"/>
                      </a:lnTo>
                      <a:lnTo>
                        <a:pt x="125109" y="174943"/>
                      </a:lnTo>
                      <a:lnTo>
                        <a:pt x="121915" y="171009"/>
                      </a:lnTo>
                      <a:lnTo>
                        <a:pt x="123518" y="169103"/>
                      </a:lnTo>
                      <a:lnTo>
                        <a:pt x="126141" y="164962"/>
                      </a:lnTo>
                      <a:lnTo>
                        <a:pt x="127003" y="164318"/>
                      </a:lnTo>
                      <a:lnTo>
                        <a:pt x="128229" y="163735"/>
                      </a:lnTo>
                      <a:lnTo>
                        <a:pt x="128824" y="161368"/>
                      </a:lnTo>
                      <a:lnTo>
                        <a:pt x="129347" y="160092"/>
                      </a:lnTo>
                      <a:lnTo>
                        <a:pt x="131350" y="157251"/>
                      </a:lnTo>
                      <a:lnTo>
                        <a:pt x="131593" y="157045"/>
                      </a:lnTo>
                      <a:lnTo>
                        <a:pt x="131824" y="154798"/>
                      </a:lnTo>
                      <a:lnTo>
                        <a:pt x="132479" y="149953"/>
                      </a:lnTo>
                      <a:lnTo>
                        <a:pt x="134592" y="145606"/>
                      </a:lnTo>
                      <a:lnTo>
                        <a:pt x="137980" y="142060"/>
                      </a:lnTo>
                      <a:lnTo>
                        <a:pt x="152467" y="131374"/>
                      </a:lnTo>
                      <a:lnTo>
                        <a:pt x="156304" y="129905"/>
                      </a:lnTo>
                      <a:lnTo>
                        <a:pt x="157324" y="129043"/>
                      </a:lnTo>
                      <a:lnTo>
                        <a:pt x="163395" y="118017"/>
                      </a:lnTo>
                      <a:lnTo>
                        <a:pt x="177688" y="120762"/>
                      </a:lnTo>
                      <a:lnTo>
                        <a:pt x="179084" y="120361"/>
                      </a:lnTo>
                      <a:lnTo>
                        <a:pt x="181986" y="115904"/>
                      </a:lnTo>
                      <a:lnTo>
                        <a:pt x="183358" y="109007"/>
                      </a:lnTo>
                      <a:lnTo>
                        <a:pt x="188325" y="102171"/>
                      </a:lnTo>
                      <a:lnTo>
                        <a:pt x="196801" y="105097"/>
                      </a:lnTo>
                      <a:lnTo>
                        <a:pt x="199156" y="102256"/>
                      </a:lnTo>
                      <a:lnTo>
                        <a:pt x="204001" y="101430"/>
                      </a:lnTo>
                      <a:lnTo>
                        <a:pt x="209004" y="101855"/>
                      </a:lnTo>
                      <a:lnTo>
                        <a:pt x="212975" y="101357"/>
                      </a:lnTo>
                      <a:lnTo>
                        <a:pt x="213400" y="101054"/>
                      </a:lnTo>
                      <a:lnTo>
                        <a:pt x="214335" y="99851"/>
                      </a:lnTo>
                      <a:lnTo>
                        <a:pt x="214760" y="98698"/>
                      </a:lnTo>
                      <a:lnTo>
                        <a:pt x="216958" y="95504"/>
                      </a:lnTo>
                      <a:lnTo>
                        <a:pt x="220151" y="93974"/>
                      </a:lnTo>
                      <a:lnTo>
                        <a:pt x="223369" y="94193"/>
                      </a:lnTo>
                      <a:lnTo>
                        <a:pt x="222094" y="88996"/>
                      </a:lnTo>
                      <a:lnTo>
                        <a:pt x="229489" y="87538"/>
                      </a:lnTo>
                      <a:lnTo>
                        <a:pt x="241572" y="91910"/>
                      </a:lnTo>
                      <a:lnTo>
                        <a:pt x="242652" y="91424"/>
                      </a:lnTo>
                      <a:lnTo>
                        <a:pt x="243806" y="90088"/>
                      </a:lnTo>
                      <a:lnTo>
                        <a:pt x="246356" y="88813"/>
                      </a:lnTo>
                      <a:lnTo>
                        <a:pt x="247303" y="88425"/>
                      </a:lnTo>
                      <a:lnTo>
                        <a:pt x="251067" y="89421"/>
                      </a:lnTo>
                      <a:lnTo>
                        <a:pt x="250970" y="86968"/>
                      </a:lnTo>
                      <a:lnTo>
                        <a:pt x="256240" y="82074"/>
                      </a:lnTo>
                      <a:lnTo>
                        <a:pt x="262725" y="78783"/>
                      </a:lnTo>
                      <a:lnTo>
                        <a:pt x="267545" y="77193"/>
                      </a:lnTo>
                      <a:lnTo>
                        <a:pt x="270508" y="76671"/>
                      </a:lnTo>
                      <a:lnTo>
                        <a:pt x="274600" y="76913"/>
                      </a:lnTo>
                      <a:lnTo>
                        <a:pt x="276507" y="69919"/>
                      </a:lnTo>
                      <a:lnTo>
                        <a:pt x="278134" y="66033"/>
                      </a:lnTo>
                      <a:lnTo>
                        <a:pt x="284728" y="58650"/>
                      </a:lnTo>
                      <a:lnTo>
                        <a:pt x="285723" y="56331"/>
                      </a:lnTo>
                      <a:lnTo>
                        <a:pt x="284983" y="53259"/>
                      </a:lnTo>
                      <a:lnTo>
                        <a:pt x="280550" y="47989"/>
                      </a:lnTo>
                      <a:lnTo>
                        <a:pt x="271018" y="40630"/>
                      </a:lnTo>
                      <a:lnTo>
                        <a:pt x="282080" y="37376"/>
                      </a:lnTo>
                      <a:lnTo>
                        <a:pt x="294211" y="38141"/>
                      </a:lnTo>
                      <a:lnTo>
                        <a:pt x="297915" y="36307"/>
                      </a:lnTo>
                      <a:lnTo>
                        <a:pt x="298668" y="35263"/>
                      </a:lnTo>
                      <a:lnTo>
                        <a:pt x="302906" y="32992"/>
                      </a:lnTo>
                      <a:lnTo>
                        <a:pt x="305735" y="33199"/>
                      </a:lnTo>
                      <a:lnTo>
                        <a:pt x="307350" y="35178"/>
                      </a:lnTo>
                      <a:lnTo>
                        <a:pt x="308042" y="37230"/>
                      </a:lnTo>
                      <a:lnTo>
                        <a:pt x="307593" y="40642"/>
                      </a:lnTo>
                      <a:lnTo>
                        <a:pt x="307787" y="41104"/>
                      </a:lnTo>
                      <a:lnTo>
                        <a:pt x="308455" y="41529"/>
                      </a:lnTo>
                      <a:lnTo>
                        <a:pt x="310155" y="42209"/>
                      </a:lnTo>
                      <a:lnTo>
                        <a:pt x="312231" y="43593"/>
                      </a:lnTo>
                      <a:lnTo>
                        <a:pt x="313628" y="44674"/>
                      </a:lnTo>
                      <a:lnTo>
                        <a:pt x="314636" y="44977"/>
                      </a:lnTo>
                      <a:lnTo>
                        <a:pt x="320039" y="37425"/>
                      </a:lnTo>
                      <a:lnTo>
                        <a:pt x="327046" y="30831"/>
                      </a:lnTo>
                      <a:lnTo>
                        <a:pt x="335412" y="25743"/>
                      </a:lnTo>
                      <a:lnTo>
                        <a:pt x="349389" y="24759"/>
                      </a:lnTo>
                      <a:lnTo>
                        <a:pt x="351319" y="23727"/>
                      </a:lnTo>
                      <a:lnTo>
                        <a:pt x="351842" y="22938"/>
                      </a:lnTo>
                      <a:lnTo>
                        <a:pt x="355448" y="20267"/>
                      </a:lnTo>
                      <a:lnTo>
                        <a:pt x="355764" y="19951"/>
                      </a:lnTo>
                      <a:lnTo>
                        <a:pt x="356128" y="18955"/>
                      </a:lnTo>
                      <a:lnTo>
                        <a:pt x="356784" y="15507"/>
                      </a:lnTo>
                      <a:lnTo>
                        <a:pt x="358362" y="12689"/>
                      </a:lnTo>
                      <a:lnTo>
                        <a:pt x="358945" y="11815"/>
                      </a:lnTo>
                      <a:lnTo>
                        <a:pt x="370226" y="7954"/>
                      </a:lnTo>
                      <a:lnTo>
                        <a:pt x="373165" y="5561"/>
                      </a:lnTo>
                      <a:lnTo>
                        <a:pt x="375350" y="4736"/>
                      </a:lnTo>
                      <a:lnTo>
                        <a:pt x="376868" y="3327"/>
                      </a:lnTo>
                      <a:lnTo>
                        <a:pt x="379236" y="0"/>
                      </a:lnTo>
                      <a:lnTo>
                        <a:pt x="383863" y="1117"/>
                      </a:lnTo>
                      <a:lnTo>
                        <a:pt x="386315" y="3861"/>
                      </a:lnTo>
                      <a:lnTo>
                        <a:pt x="387287" y="5149"/>
                      </a:lnTo>
                      <a:lnTo>
                        <a:pt x="395228" y="19781"/>
                      </a:lnTo>
                      <a:lnTo>
                        <a:pt x="396078" y="22234"/>
                      </a:lnTo>
                      <a:lnTo>
                        <a:pt x="395544" y="25330"/>
                      </a:lnTo>
                      <a:lnTo>
                        <a:pt x="393540" y="27212"/>
                      </a:lnTo>
                      <a:lnTo>
                        <a:pt x="383838" y="32543"/>
                      </a:lnTo>
                      <a:lnTo>
                        <a:pt x="369582" y="43387"/>
                      </a:lnTo>
                      <a:lnTo>
                        <a:pt x="363135" y="50782"/>
                      </a:lnTo>
                      <a:lnTo>
                        <a:pt x="360002" y="53453"/>
                      </a:lnTo>
                      <a:lnTo>
                        <a:pt x="356662" y="55566"/>
                      </a:lnTo>
                      <a:lnTo>
                        <a:pt x="352619" y="57205"/>
                      </a:lnTo>
                      <a:lnTo>
                        <a:pt x="339055" y="60217"/>
                      </a:lnTo>
                      <a:lnTo>
                        <a:pt x="338812" y="60945"/>
                      </a:lnTo>
                      <a:lnTo>
                        <a:pt x="338545" y="62245"/>
                      </a:lnTo>
                      <a:lnTo>
                        <a:pt x="338314" y="64479"/>
                      </a:lnTo>
                      <a:lnTo>
                        <a:pt x="338727" y="66993"/>
                      </a:lnTo>
                      <a:lnTo>
                        <a:pt x="339213" y="68000"/>
                      </a:lnTo>
                      <a:lnTo>
                        <a:pt x="339565" y="68219"/>
                      </a:lnTo>
                      <a:lnTo>
                        <a:pt x="341326" y="67369"/>
                      </a:lnTo>
                      <a:lnTo>
                        <a:pt x="342832" y="66920"/>
                      </a:lnTo>
                      <a:lnTo>
                        <a:pt x="344884" y="66762"/>
                      </a:lnTo>
                      <a:lnTo>
                        <a:pt x="348102" y="68377"/>
                      </a:lnTo>
                      <a:lnTo>
                        <a:pt x="348709" y="72008"/>
                      </a:lnTo>
                      <a:lnTo>
                        <a:pt x="347567" y="75626"/>
                      </a:lnTo>
                      <a:lnTo>
                        <a:pt x="346098" y="78771"/>
                      </a:lnTo>
                      <a:lnTo>
                        <a:pt x="344094" y="82086"/>
                      </a:lnTo>
                      <a:lnTo>
                        <a:pt x="333676" y="93221"/>
                      </a:lnTo>
                      <a:lnTo>
                        <a:pt x="335461" y="93865"/>
                      </a:lnTo>
                      <a:lnTo>
                        <a:pt x="346292" y="95492"/>
                      </a:lnTo>
                      <a:lnTo>
                        <a:pt x="350154" y="96876"/>
                      </a:lnTo>
                      <a:lnTo>
                        <a:pt x="353821" y="96075"/>
                      </a:lnTo>
                      <a:lnTo>
                        <a:pt x="355837" y="98139"/>
                      </a:lnTo>
                      <a:lnTo>
                        <a:pt x="363985" y="101551"/>
                      </a:lnTo>
                      <a:lnTo>
                        <a:pt x="373565" y="107271"/>
                      </a:lnTo>
                      <a:lnTo>
                        <a:pt x="384348" y="111934"/>
                      </a:lnTo>
                      <a:lnTo>
                        <a:pt x="388829" y="114617"/>
                      </a:lnTo>
                      <a:lnTo>
                        <a:pt x="391403" y="119134"/>
                      </a:lnTo>
                      <a:lnTo>
                        <a:pt x="398021" y="128460"/>
                      </a:lnTo>
                      <a:lnTo>
                        <a:pt x="405076" y="141016"/>
                      </a:lnTo>
                      <a:lnTo>
                        <a:pt x="406218" y="143445"/>
                      </a:lnTo>
                      <a:lnTo>
                        <a:pt x="406218" y="145764"/>
                      </a:lnTo>
                      <a:lnTo>
                        <a:pt x="404833" y="147865"/>
                      </a:lnTo>
                      <a:lnTo>
                        <a:pt x="402903" y="149115"/>
                      </a:lnTo>
                      <a:lnTo>
                        <a:pt x="400340" y="149127"/>
                      </a:lnTo>
                      <a:lnTo>
                        <a:pt x="397924" y="148775"/>
                      </a:lnTo>
                      <a:lnTo>
                        <a:pt x="397560" y="148800"/>
                      </a:lnTo>
                      <a:lnTo>
                        <a:pt x="397487" y="149905"/>
                      </a:lnTo>
                      <a:lnTo>
                        <a:pt x="397730" y="150827"/>
                      </a:lnTo>
                      <a:lnTo>
                        <a:pt x="425015" y="200116"/>
                      </a:lnTo>
                      <a:lnTo>
                        <a:pt x="435591" y="228226"/>
                      </a:lnTo>
                      <a:lnTo>
                        <a:pt x="438530" y="241219"/>
                      </a:lnTo>
                      <a:lnTo>
                        <a:pt x="439574" y="244024"/>
                      </a:lnTo>
                      <a:lnTo>
                        <a:pt x="441384" y="246672"/>
                      </a:lnTo>
                      <a:lnTo>
                        <a:pt x="444990" y="250400"/>
                      </a:lnTo>
                      <a:lnTo>
                        <a:pt x="447030" y="251505"/>
                      </a:lnTo>
                      <a:lnTo>
                        <a:pt x="449811" y="250302"/>
                      </a:lnTo>
                      <a:lnTo>
                        <a:pt x="451717" y="249768"/>
                      </a:lnTo>
                      <a:lnTo>
                        <a:pt x="455214" y="249465"/>
                      </a:lnTo>
                      <a:lnTo>
                        <a:pt x="459452" y="251286"/>
                      </a:lnTo>
                      <a:lnTo>
                        <a:pt x="460047" y="250776"/>
                      </a:lnTo>
                      <a:lnTo>
                        <a:pt x="460533" y="249671"/>
                      </a:lnTo>
                      <a:lnTo>
                        <a:pt x="460727" y="247619"/>
                      </a:lnTo>
                      <a:lnTo>
                        <a:pt x="461905" y="244547"/>
                      </a:lnTo>
                      <a:lnTo>
                        <a:pt x="464807" y="242422"/>
                      </a:lnTo>
                      <a:lnTo>
                        <a:pt x="466617" y="242689"/>
                      </a:lnTo>
                      <a:lnTo>
                        <a:pt x="466738" y="242264"/>
                      </a:lnTo>
                      <a:lnTo>
                        <a:pt x="465463" y="234844"/>
                      </a:lnTo>
                      <a:lnTo>
                        <a:pt x="467345" y="230364"/>
                      </a:lnTo>
                      <a:lnTo>
                        <a:pt x="473125" y="228906"/>
                      </a:lnTo>
                      <a:lnTo>
                        <a:pt x="475129" y="226478"/>
                      </a:lnTo>
                      <a:lnTo>
                        <a:pt x="478650" y="227061"/>
                      </a:lnTo>
                      <a:lnTo>
                        <a:pt x="481225" y="229356"/>
                      </a:lnTo>
                      <a:lnTo>
                        <a:pt x="489215" y="243442"/>
                      </a:lnTo>
                      <a:lnTo>
                        <a:pt x="493161" y="251262"/>
                      </a:lnTo>
                      <a:lnTo>
                        <a:pt x="493732" y="253107"/>
                      </a:lnTo>
                      <a:lnTo>
                        <a:pt x="494315" y="252440"/>
                      </a:lnTo>
                      <a:lnTo>
                        <a:pt x="495650" y="251857"/>
                      </a:lnTo>
                      <a:lnTo>
                        <a:pt x="497023" y="251626"/>
                      </a:lnTo>
                      <a:lnTo>
                        <a:pt x="499123" y="252342"/>
                      </a:lnTo>
                      <a:lnTo>
                        <a:pt x="500265" y="253290"/>
                      </a:lnTo>
                      <a:lnTo>
                        <a:pt x="501819" y="255706"/>
                      </a:lnTo>
                      <a:lnTo>
                        <a:pt x="503252" y="255196"/>
                      </a:lnTo>
                      <a:lnTo>
                        <a:pt x="504660" y="255147"/>
                      </a:lnTo>
                      <a:lnTo>
                        <a:pt x="507903" y="255645"/>
                      </a:lnTo>
                      <a:lnTo>
                        <a:pt x="509530" y="256738"/>
                      </a:lnTo>
                      <a:lnTo>
                        <a:pt x="511363" y="259045"/>
                      </a:lnTo>
                      <a:lnTo>
                        <a:pt x="511740" y="259665"/>
                      </a:lnTo>
                      <a:lnTo>
                        <a:pt x="511861" y="259434"/>
                      </a:lnTo>
                      <a:lnTo>
                        <a:pt x="513403" y="257612"/>
                      </a:lnTo>
                      <a:lnTo>
                        <a:pt x="515735" y="257248"/>
                      </a:lnTo>
                      <a:lnTo>
                        <a:pt x="517313" y="257880"/>
                      </a:lnTo>
                      <a:lnTo>
                        <a:pt x="518734" y="259009"/>
                      </a:lnTo>
                      <a:lnTo>
                        <a:pt x="519657" y="260090"/>
                      </a:lnTo>
                      <a:lnTo>
                        <a:pt x="521381" y="263174"/>
                      </a:lnTo>
                      <a:lnTo>
                        <a:pt x="522353" y="266720"/>
                      </a:lnTo>
                      <a:lnTo>
                        <a:pt x="521952" y="268250"/>
                      </a:lnTo>
                      <a:lnTo>
                        <a:pt x="524004" y="267983"/>
                      </a:lnTo>
                      <a:lnTo>
                        <a:pt x="526979" y="268614"/>
                      </a:lnTo>
                      <a:lnTo>
                        <a:pt x="528011" y="268905"/>
                      </a:lnTo>
                      <a:lnTo>
                        <a:pt x="530586" y="272645"/>
                      </a:lnTo>
                      <a:lnTo>
                        <a:pt x="528449" y="276689"/>
                      </a:lnTo>
                      <a:lnTo>
                        <a:pt x="525170" y="280514"/>
                      </a:lnTo>
                      <a:lnTo>
                        <a:pt x="524951" y="281267"/>
                      </a:lnTo>
                      <a:lnTo>
                        <a:pt x="524684" y="290058"/>
                      </a:lnTo>
                      <a:lnTo>
                        <a:pt x="528594" y="292426"/>
                      </a:lnTo>
                      <a:lnTo>
                        <a:pt x="529153" y="296822"/>
                      </a:lnTo>
                      <a:lnTo>
                        <a:pt x="526445" y="301497"/>
                      </a:lnTo>
                      <a:lnTo>
                        <a:pt x="525911" y="302784"/>
                      </a:lnTo>
                      <a:lnTo>
                        <a:pt x="525765" y="303938"/>
                      </a:lnTo>
                      <a:lnTo>
                        <a:pt x="525753" y="305577"/>
                      </a:lnTo>
                      <a:lnTo>
                        <a:pt x="526081" y="307083"/>
                      </a:lnTo>
                      <a:lnTo>
                        <a:pt x="526639" y="309050"/>
                      </a:lnTo>
                      <a:lnTo>
                        <a:pt x="527416" y="311041"/>
                      </a:lnTo>
                      <a:lnTo>
                        <a:pt x="528983" y="313227"/>
                      </a:lnTo>
                      <a:lnTo>
                        <a:pt x="532249" y="316324"/>
                      </a:lnTo>
                      <a:lnTo>
                        <a:pt x="542291" y="323816"/>
                      </a:lnTo>
                      <a:lnTo>
                        <a:pt x="546699" y="328406"/>
                      </a:lnTo>
                      <a:lnTo>
                        <a:pt x="555114" y="335060"/>
                      </a:lnTo>
                      <a:lnTo>
                        <a:pt x="557324" y="337622"/>
                      </a:lnTo>
                      <a:lnTo>
                        <a:pt x="559097" y="340500"/>
                      </a:lnTo>
                      <a:lnTo>
                        <a:pt x="561392" y="345637"/>
                      </a:lnTo>
                      <a:lnTo>
                        <a:pt x="561951" y="346219"/>
                      </a:lnTo>
                      <a:lnTo>
                        <a:pt x="562388" y="346256"/>
                      </a:lnTo>
                      <a:lnTo>
                        <a:pt x="564173" y="346596"/>
                      </a:lnTo>
                      <a:lnTo>
                        <a:pt x="566444" y="347616"/>
                      </a:lnTo>
                      <a:lnTo>
                        <a:pt x="567597" y="348903"/>
                      </a:lnTo>
                      <a:lnTo>
                        <a:pt x="568666" y="351283"/>
                      </a:lnTo>
                      <a:lnTo>
                        <a:pt x="568933" y="353359"/>
                      </a:lnTo>
                      <a:lnTo>
                        <a:pt x="568678" y="355521"/>
                      </a:lnTo>
                      <a:lnTo>
                        <a:pt x="567646" y="358775"/>
                      </a:lnTo>
                      <a:lnTo>
                        <a:pt x="563238" y="365405"/>
                      </a:lnTo>
                      <a:lnTo>
                        <a:pt x="553524" y="362770"/>
                      </a:lnTo>
                      <a:lnTo>
                        <a:pt x="551387" y="362989"/>
                      </a:lnTo>
                      <a:lnTo>
                        <a:pt x="548666" y="363402"/>
                      </a:lnTo>
                      <a:lnTo>
                        <a:pt x="542522" y="366207"/>
                      </a:lnTo>
                      <a:lnTo>
                        <a:pt x="542304" y="367397"/>
                      </a:lnTo>
                      <a:lnTo>
                        <a:pt x="542546" y="368210"/>
                      </a:lnTo>
                      <a:lnTo>
                        <a:pt x="542911" y="369048"/>
                      </a:lnTo>
                      <a:lnTo>
                        <a:pt x="548132" y="373165"/>
                      </a:lnTo>
                      <a:lnTo>
                        <a:pt x="554034" y="379940"/>
                      </a:lnTo>
                      <a:lnTo>
                        <a:pt x="555491" y="381155"/>
                      </a:lnTo>
                      <a:lnTo>
                        <a:pt x="556268" y="382138"/>
                      </a:lnTo>
                      <a:lnTo>
                        <a:pt x="558271" y="380875"/>
                      </a:lnTo>
                      <a:lnTo>
                        <a:pt x="560591" y="380669"/>
                      </a:lnTo>
                      <a:lnTo>
                        <a:pt x="561902" y="380742"/>
                      </a:lnTo>
                      <a:lnTo>
                        <a:pt x="565958" y="381483"/>
                      </a:lnTo>
                      <a:lnTo>
                        <a:pt x="566189" y="381337"/>
                      </a:lnTo>
                      <a:lnTo>
                        <a:pt x="567585" y="380960"/>
                      </a:lnTo>
                      <a:lnTo>
                        <a:pt x="568205" y="380900"/>
                      </a:lnTo>
                      <a:lnTo>
                        <a:pt x="569310" y="381045"/>
                      </a:lnTo>
                      <a:lnTo>
                        <a:pt x="570475" y="381434"/>
                      </a:lnTo>
                      <a:lnTo>
                        <a:pt x="571544" y="382806"/>
                      </a:lnTo>
                      <a:lnTo>
                        <a:pt x="572199" y="384275"/>
                      </a:lnTo>
                      <a:lnTo>
                        <a:pt x="573353" y="390019"/>
                      </a:lnTo>
                      <a:lnTo>
                        <a:pt x="573632" y="390286"/>
                      </a:lnTo>
                      <a:lnTo>
                        <a:pt x="574482" y="390128"/>
                      </a:lnTo>
                      <a:lnTo>
                        <a:pt x="576996" y="391343"/>
                      </a:lnTo>
                      <a:lnTo>
                        <a:pt x="577639" y="391731"/>
                      </a:lnTo>
                      <a:lnTo>
                        <a:pt x="578830" y="393686"/>
                      </a:lnTo>
                      <a:lnTo>
                        <a:pt x="580141" y="397875"/>
                      </a:lnTo>
                      <a:lnTo>
                        <a:pt x="580542" y="398471"/>
                      </a:lnTo>
                      <a:lnTo>
                        <a:pt x="581125" y="400341"/>
                      </a:lnTo>
                      <a:lnTo>
                        <a:pt x="581234" y="402417"/>
                      </a:lnTo>
                      <a:lnTo>
                        <a:pt x="579850" y="409521"/>
                      </a:lnTo>
                      <a:lnTo>
                        <a:pt x="579728" y="411816"/>
                      </a:lnTo>
                      <a:lnTo>
                        <a:pt x="580262" y="412836"/>
                      </a:lnTo>
                      <a:lnTo>
                        <a:pt x="581331" y="414026"/>
                      </a:lnTo>
                      <a:lnTo>
                        <a:pt x="582715" y="416369"/>
                      </a:lnTo>
                      <a:lnTo>
                        <a:pt x="582970" y="419162"/>
                      </a:lnTo>
                      <a:lnTo>
                        <a:pt x="581793" y="421542"/>
                      </a:lnTo>
                      <a:lnTo>
                        <a:pt x="580505" y="423534"/>
                      </a:lnTo>
                      <a:lnTo>
                        <a:pt x="580190" y="424918"/>
                      </a:lnTo>
                      <a:lnTo>
                        <a:pt x="580153" y="430686"/>
                      </a:lnTo>
                      <a:lnTo>
                        <a:pt x="580408" y="433139"/>
                      </a:lnTo>
                      <a:lnTo>
                        <a:pt x="582084" y="440218"/>
                      </a:lnTo>
                      <a:lnTo>
                        <a:pt x="582278" y="442768"/>
                      </a:lnTo>
                      <a:lnTo>
                        <a:pt x="581829" y="445877"/>
                      </a:lnTo>
                      <a:lnTo>
                        <a:pt x="580918" y="448779"/>
                      </a:lnTo>
                      <a:lnTo>
                        <a:pt x="578040" y="452640"/>
                      </a:lnTo>
                      <a:lnTo>
                        <a:pt x="574179" y="453927"/>
                      </a:lnTo>
                      <a:lnTo>
                        <a:pt x="570074" y="452239"/>
                      </a:lnTo>
                      <a:lnTo>
                        <a:pt x="567828" y="448378"/>
                      </a:lnTo>
                      <a:lnTo>
                        <a:pt x="565873" y="441967"/>
                      </a:lnTo>
                      <a:lnTo>
                        <a:pt x="564950" y="439805"/>
                      </a:lnTo>
                      <a:lnTo>
                        <a:pt x="564404" y="439623"/>
                      </a:lnTo>
                      <a:lnTo>
                        <a:pt x="559352" y="440376"/>
                      </a:lnTo>
                      <a:lnTo>
                        <a:pt x="556657" y="440400"/>
                      </a:lnTo>
                      <a:lnTo>
                        <a:pt x="552467" y="438834"/>
                      </a:lnTo>
                      <a:lnTo>
                        <a:pt x="551022" y="438846"/>
                      </a:lnTo>
                      <a:lnTo>
                        <a:pt x="546906" y="440716"/>
                      </a:lnTo>
                      <a:lnTo>
                        <a:pt x="547234" y="441092"/>
                      </a:lnTo>
                      <a:lnTo>
                        <a:pt x="546675" y="445245"/>
                      </a:lnTo>
                      <a:lnTo>
                        <a:pt x="547889" y="445549"/>
                      </a:lnTo>
                      <a:lnTo>
                        <a:pt x="550439" y="446969"/>
                      </a:lnTo>
                      <a:lnTo>
                        <a:pt x="550962" y="449349"/>
                      </a:lnTo>
                      <a:lnTo>
                        <a:pt x="550670" y="451086"/>
                      </a:lnTo>
                      <a:lnTo>
                        <a:pt x="550087" y="452252"/>
                      </a:lnTo>
                      <a:lnTo>
                        <a:pt x="548254" y="454474"/>
                      </a:lnTo>
                      <a:lnTo>
                        <a:pt x="545145" y="457291"/>
                      </a:lnTo>
                      <a:lnTo>
                        <a:pt x="532783" y="465815"/>
                      </a:lnTo>
                      <a:lnTo>
                        <a:pt x="529930" y="467248"/>
                      </a:lnTo>
                      <a:lnTo>
                        <a:pt x="526396" y="469458"/>
                      </a:lnTo>
                      <a:lnTo>
                        <a:pt x="524077" y="470624"/>
                      </a:lnTo>
                      <a:lnTo>
                        <a:pt x="521976" y="471340"/>
                      </a:lnTo>
                      <a:lnTo>
                        <a:pt x="523057" y="472360"/>
                      </a:lnTo>
                      <a:lnTo>
                        <a:pt x="524065" y="473866"/>
                      </a:lnTo>
                      <a:lnTo>
                        <a:pt x="524502" y="475105"/>
                      </a:lnTo>
                      <a:lnTo>
                        <a:pt x="522146" y="477837"/>
                      </a:lnTo>
                      <a:lnTo>
                        <a:pt x="524830" y="476416"/>
                      </a:lnTo>
                      <a:lnTo>
                        <a:pt x="526178" y="477776"/>
                      </a:lnTo>
                      <a:lnTo>
                        <a:pt x="528048" y="478177"/>
                      </a:lnTo>
                      <a:lnTo>
                        <a:pt x="529214" y="478711"/>
                      </a:lnTo>
                      <a:lnTo>
                        <a:pt x="531254" y="480496"/>
                      </a:lnTo>
                      <a:lnTo>
                        <a:pt x="531934" y="481650"/>
                      </a:lnTo>
                      <a:lnTo>
                        <a:pt x="532189" y="482305"/>
                      </a:lnTo>
                      <a:lnTo>
                        <a:pt x="532480" y="483872"/>
                      </a:lnTo>
                      <a:lnTo>
                        <a:pt x="532371" y="485390"/>
                      </a:lnTo>
                      <a:lnTo>
                        <a:pt x="531897" y="487588"/>
                      </a:lnTo>
                      <a:lnTo>
                        <a:pt x="530015" y="491437"/>
                      </a:lnTo>
                      <a:lnTo>
                        <a:pt x="530234" y="495019"/>
                      </a:lnTo>
                      <a:lnTo>
                        <a:pt x="528703" y="496901"/>
                      </a:lnTo>
                      <a:lnTo>
                        <a:pt x="521272" y="501455"/>
                      </a:lnTo>
                      <a:lnTo>
                        <a:pt x="509736" y="510137"/>
                      </a:lnTo>
                      <a:lnTo>
                        <a:pt x="501479" y="509821"/>
                      </a:lnTo>
                      <a:lnTo>
                        <a:pt x="498856" y="508291"/>
                      </a:lnTo>
                      <a:lnTo>
                        <a:pt x="494995" y="507332"/>
                      </a:lnTo>
                      <a:lnTo>
                        <a:pt x="492687" y="505936"/>
                      </a:lnTo>
                      <a:lnTo>
                        <a:pt x="490963" y="504066"/>
                      </a:lnTo>
                      <a:lnTo>
                        <a:pt x="488632" y="500423"/>
                      </a:lnTo>
                      <a:lnTo>
                        <a:pt x="486944" y="496707"/>
                      </a:lnTo>
                      <a:lnTo>
                        <a:pt x="485900" y="492651"/>
                      </a:lnTo>
                      <a:lnTo>
                        <a:pt x="485960" y="494521"/>
                      </a:lnTo>
                      <a:lnTo>
                        <a:pt x="485535" y="495833"/>
                      </a:lnTo>
                      <a:lnTo>
                        <a:pt x="483750" y="499767"/>
                      </a:lnTo>
                      <a:lnTo>
                        <a:pt x="482512" y="501916"/>
                      </a:lnTo>
                      <a:lnTo>
                        <a:pt x="480107" y="503276"/>
                      </a:lnTo>
                      <a:lnTo>
                        <a:pt x="478626" y="503386"/>
                      </a:lnTo>
                      <a:lnTo>
                        <a:pt x="476938" y="503130"/>
                      </a:lnTo>
                      <a:lnTo>
                        <a:pt x="475323" y="502208"/>
                      </a:lnTo>
                      <a:lnTo>
                        <a:pt x="474097" y="501078"/>
                      </a:lnTo>
                      <a:lnTo>
                        <a:pt x="473235" y="502548"/>
                      </a:lnTo>
                      <a:lnTo>
                        <a:pt x="472008" y="503908"/>
                      </a:lnTo>
                      <a:lnTo>
                        <a:pt x="469604" y="505377"/>
                      </a:lnTo>
                      <a:lnTo>
                        <a:pt x="467187" y="505583"/>
                      </a:lnTo>
                      <a:lnTo>
                        <a:pt x="464941" y="505377"/>
                      </a:lnTo>
                      <a:lnTo>
                        <a:pt x="461990" y="504515"/>
                      </a:lnTo>
                      <a:lnTo>
                        <a:pt x="460266" y="504381"/>
                      </a:lnTo>
                      <a:lnTo>
                        <a:pt x="459100" y="504078"/>
                      </a:lnTo>
                      <a:lnTo>
                        <a:pt x="459841" y="506652"/>
                      </a:lnTo>
                      <a:lnTo>
                        <a:pt x="458165" y="508680"/>
                      </a:lnTo>
                      <a:lnTo>
                        <a:pt x="456404" y="509797"/>
                      </a:lnTo>
                      <a:lnTo>
                        <a:pt x="452652" y="510392"/>
                      </a:lnTo>
                      <a:lnTo>
                        <a:pt x="450151" y="512068"/>
                      </a:lnTo>
                      <a:lnTo>
                        <a:pt x="453369" y="511679"/>
                      </a:lnTo>
                      <a:lnTo>
                        <a:pt x="453915" y="512736"/>
                      </a:lnTo>
                      <a:lnTo>
                        <a:pt x="453939" y="514715"/>
                      </a:lnTo>
                      <a:lnTo>
                        <a:pt x="453806" y="515213"/>
                      </a:lnTo>
                      <a:lnTo>
                        <a:pt x="453162" y="516658"/>
                      </a:lnTo>
                      <a:lnTo>
                        <a:pt x="452507" y="517581"/>
                      </a:lnTo>
                      <a:lnTo>
                        <a:pt x="450892" y="519426"/>
                      </a:lnTo>
                      <a:lnTo>
                        <a:pt x="449944" y="521321"/>
                      </a:lnTo>
                      <a:lnTo>
                        <a:pt x="446459" y="530804"/>
                      </a:lnTo>
                      <a:lnTo>
                        <a:pt x="445512" y="534399"/>
                      </a:lnTo>
                      <a:lnTo>
                        <a:pt x="445354" y="535868"/>
                      </a:lnTo>
                      <a:lnTo>
                        <a:pt x="445646" y="537034"/>
                      </a:lnTo>
                      <a:lnTo>
                        <a:pt x="446010" y="538236"/>
                      </a:lnTo>
                      <a:lnTo>
                        <a:pt x="446714" y="539948"/>
                      </a:lnTo>
                      <a:lnTo>
                        <a:pt x="447322" y="542073"/>
                      </a:lnTo>
                      <a:lnTo>
                        <a:pt x="448026" y="543129"/>
                      </a:lnTo>
                      <a:lnTo>
                        <a:pt x="448682" y="543457"/>
                      </a:lnTo>
                      <a:lnTo>
                        <a:pt x="451754" y="545206"/>
                      </a:lnTo>
                      <a:lnTo>
                        <a:pt x="453818" y="547222"/>
                      </a:lnTo>
                      <a:lnTo>
                        <a:pt x="454704" y="548181"/>
                      </a:lnTo>
                      <a:lnTo>
                        <a:pt x="454413" y="552552"/>
                      </a:lnTo>
                      <a:lnTo>
                        <a:pt x="451317" y="555491"/>
                      </a:lnTo>
                      <a:lnTo>
                        <a:pt x="445014" y="558769"/>
                      </a:lnTo>
                      <a:lnTo>
                        <a:pt x="441214" y="561611"/>
                      </a:lnTo>
                      <a:lnTo>
                        <a:pt x="438202" y="563262"/>
                      </a:lnTo>
                      <a:lnTo>
                        <a:pt x="433479" y="564513"/>
                      </a:lnTo>
                      <a:lnTo>
                        <a:pt x="426861" y="567391"/>
                      </a:lnTo>
                      <a:lnTo>
                        <a:pt x="421311" y="574507"/>
                      </a:lnTo>
                      <a:lnTo>
                        <a:pt x="418834" y="576680"/>
                      </a:lnTo>
                      <a:lnTo>
                        <a:pt x="415968" y="577506"/>
                      </a:lnTo>
                      <a:lnTo>
                        <a:pt x="409703" y="577275"/>
                      </a:lnTo>
                      <a:lnTo>
                        <a:pt x="405016" y="579740"/>
                      </a:lnTo>
                      <a:lnTo>
                        <a:pt x="402065" y="580797"/>
                      </a:lnTo>
                      <a:lnTo>
                        <a:pt x="397863" y="580991"/>
                      </a:lnTo>
                      <a:lnTo>
                        <a:pt x="390918" y="578854"/>
                      </a:lnTo>
                      <a:lnTo>
                        <a:pt x="386510" y="578708"/>
                      </a:lnTo>
                      <a:lnTo>
                        <a:pt x="383365" y="575296"/>
                      </a:lnTo>
                      <a:lnTo>
                        <a:pt x="382745" y="574312"/>
                      </a:lnTo>
                      <a:lnTo>
                        <a:pt x="379758" y="567233"/>
                      </a:lnTo>
                      <a:lnTo>
                        <a:pt x="378860" y="566043"/>
                      </a:lnTo>
                      <a:lnTo>
                        <a:pt x="375338" y="563384"/>
                      </a:lnTo>
                      <a:lnTo>
                        <a:pt x="371938" y="562376"/>
                      </a:lnTo>
                      <a:lnTo>
                        <a:pt x="370530" y="562121"/>
                      </a:lnTo>
                      <a:lnTo>
                        <a:pt x="368817" y="562048"/>
                      </a:lnTo>
                      <a:lnTo>
                        <a:pt x="364798" y="563384"/>
                      </a:lnTo>
                      <a:lnTo>
                        <a:pt x="359917" y="565691"/>
                      </a:lnTo>
                      <a:lnTo>
                        <a:pt x="359382" y="566310"/>
                      </a:lnTo>
                      <a:lnTo>
                        <a:pt x="359261" y="566687"/>
                      </a:lnTo>
                      <a:lnTo>
                        <a:pt x="359431" y="567719"/>
                      </a:lnTo>
                      <a:lnTo>
                        <a:pt x="359212" y="570281"/>
                      </a:lnTo>
                      <a:lnTo>
                        <a:pt x="359079" y="571240"/>
                      </a:lnTo>
                      <a:lnTo>
                        <a:pt x="356432" y="574021"/>
                      </a:lnTo>
                      <a:lnTo>
                        <a:pt x="353189" y="574677"/>
                      </a:lnTo>
                      <a:lnTo>
                        <a:pt x="345406" y="573402"/>
                      </a:lnTo>
                      <a:lnTo>
                        <a:pt x="342309" y="573887"/>
                      </a:lnTo>
                      <a:lnTo>
                        <a:pt x="339614" y="574956"/>
                      </a:lnTo>
                      <a:lnTo>
                        <a:pt x="335376" y="575600"/>
                      </a:lnTo>
                      <a:lnTo>
                        <a:pt x="328964" y="574604"/>
                      </a:lnTo>
                      <a:lnTo>
                        <a:pt x="322808" y="571095"/>
                      </a:lnTo>
                      <a:lnTo>
                        <a:pt x="322516" y="570997"/>
                      </a:lnTo>
                      <a:lnTo>
                        <a:pt x="321436" y="571155"/>
                      </a:lnTo>
                      <a:lnTo>
                        <a:pt x="317198" y="570876"/>
                      </a:lnTo>
                      <a:lnTo>
                        <a:pt x="310070" y="568035"/>
                      </a:lnTo>
                      <a:lnTo>
                        <a:pt x="307131" y="566650"/>
                      </a:lnTo>
                      <a:lnTo>
                        <a:pt x="305079" y="569880"/>
                      </a:lnTo>
                      <a:lnTo>
                        <a:pt x="300586" y="575235"/>
                      </a:lnTo>
                      <a:lnTo>
                        <a:pt x="296385" y="582776"/>
                      </a:lnTo>
                      <a:lnTo>
                        <a:pt x="294648" y="585071"/>
                      </a:lnTo>
                      <a:lnTo>
                        <a:pt x="289876" y="589115"/>
                      </a:lnTo>
                      <a:lnTo>
                        <a:pt x="289245" y="589819"/>
                      </a:lnTo>
                      <a:lnTo>
                        <a:pt x="289172" y="590438"/>
                      </a:lnTo>
                      <a:lnTo>
                        <a:pt x="289305" y="591580"/>
                      </a:lnTo>
                      <a:lnTo>
                        <a:pt x="288808" y="594178"/>
                      </a:lnTo>
                      <a:lnTo>
                        <a:pt x="288395" y="595830"/>
                      </a:lnTo>
                      <a:lnTo>
                        <a:pt x="284497" y="597056"/>
                      </a:lnTo>
                      <a:lnTo>
                        <a:pt x="283550" y="596740"/>
                      </a:lnTo>
                      <a:lnTo>
                        <a:pt x="282724" y="596631"/>
                      </a:lnTo>
                      <a:lnTo>
                        <a:pt x="282275" y="596959"/>
                      </a:lnTo>
                      <a:lnTo>
                        <a:pt x="279846" y="600954"/>
                      </a:lnTo>
                      <a:lnTo>
                        <a:pt x="278923" y="603067"/>
                      </a:lnTo>
                      <a:lnTo>
                        <a:pt x="279312" y="603723"/>
                      </a:lnTo>
                      <a:lnTo>
                        <a:pt x="280259" y="605083"/>
                      </a:lnTo>
                      <a:lnTo>
                        <a:pt x="281668" y="608228"/>
                      </a:lnTo>
                      <a:lnTo>
                        <a:pt x="280988" y="611871"/>
                      </a:lnTo>
                      <a:lnTo>
                        <a:pt x="278438" y="614287"/>
                      </a:lnTo>
                      <a:lnTo>
                        <a:pt x="272463" y="615513"/>
                      </a:lnTo>
                      <a:lnTo>
                        <a:pt x="268735" y="617711"/>
                      </a:lnTo>
                      <a:close/>
                    </a:path>
                  </a:pathLst>
                </a:custGeom>
                <a:solidFill>
                  <a:srgbClr val="D7D7D2"/>
                </a:solidFill>
                <a:ln w="12138" cap="flat">
                  <a:noFill/>
                  <a:prstDash val="solid"/>
                  <a:miter/>
                </a:ln>
              </p:spPr>
              <p:txBody>
                <a:bodyPr rtlCol="0" anchor="ctr"/>
                <a:lstStyle/>
                <a:p>
                  <a:endParaRPr lang="en-US"/>
                </a:p>
              </p:txBody>
            </p:sp>
            <p:sp>
              <p:nvSpPr>
                <p:cNvPr id="313" name="Freeform: Shape 312">
                  <a:extLst>
                    <a:ext uri="{FF2B5EF4-FFF2-40B4-BE49-F238E27FC236}">
                      <a16:creationId xmlns:a16="http://schemas.microsoft.com/office/drawing/2014/main" id="{46EDC84B-A52B-4DBE-9135-D574CCEE1402}"/>
                    </a:ext>
                  </a:extLst>
                </p:cNvPr>
                <p:cNvSpPr/>
                <p:nvPr/>
              </p:nvSpPr>
              <p:spPr>
                <a:xfrm>
                  <a:off x="4418598" y="1613985"/>
                  <a:ext cx="590426" cy="624183"/>
                </a:xfrm>
                <a:custGeom>
                  <a:avLst/>
                  <a:gdLst>
                    <a:gd name="connsiteX0" fmla="*/ 384968 w 590426"/>
                    <a:gd name="connsiteY0" fmla="*/ 6849 h 624183"/>
                    <a:gd name="connsiteX1" fmla="*/ 386704 w 590426"/>
                    <a:gd name="connsiteY1" fmla="*/ 7274 h 624183"/>
                    <a:gd name="connsiteX2" fmla="*/ 388538 w 590426"/>
                    <a:gd name="connsiteY2" fmla="*/ 9314 h 624183"/>
                    <a:gd name="connsiteX3" fmla="*/ 389339 w 590426"/>
                    <a:gd name="connsiteY3" fmla="*/ 10382 h 624183"/>
                    <a:gd name="connsiteX4" fmla="*/ 397038 w 590426"/>
                    <a:gd name="connsiteY4" fmla="*/ 24650 h 624183"/>
                    <a:gd name="connsiteX5" fmla="*/ 397438 w 590426"/>
                    <a:gd name="connsiteY5" fmla="*/ 25889 h 624183"/>
                    <a:gd name="connsiteX6" fmla="*/ 397208 w 590426"/>
                    <a:gd name="connsiteY6" fmla="*/ 27237 h 624183"/>
                    <a:gd name="connsiteX7" fmla="*/ 395945 w 590426"/>
                    <a:gd name="connsiteY7" fmla="*/ 28414 h 624183"/>
                    <a:gd name="connsiteX8" fmla="*/ 386874 w 590426"/>
                    <a:gd name="connsiteY8" fmla="*/ 33296 h 624183"/>
                    <a:gd name="connsiteX9" fmla="*/ 372230 w 590426"/>
                    <a:gd name="connsiteY9" fmla="*/ 44395 h 624183"/>
                    <a:gd name="connsiteX10" fmla="*/ 365332 w 590426"/>
                    <a:gd name="connsiteY10" fmla="*/ 52190 h 624183"/>
                    <a:gd name="connsiteX11" fmla="*/ 362527 w 590426"/>
                    <a:gd name="connsiteY11" fmla="*/ 54558 h 624183"/>
                    <a:gd name="connsiteX12" fmla="*/ 359540 w 590426"/>
                    <a:gd name="connsiteY12" fmla="*/ 56404 h 624183"/>
                    <a:gd name="connsiteX13" fmla="*/ 355982 w 590426"/>
                    <a:gd name="connsiteY13" fmla="*/ 57813 h 624183"/>
                    <a:gd name="connsiteX14" fmla="*/ 342892 w 590426"/>
                    <a:gd name="connsiteY14" fmla="*/ 60678 h 624183"/>
                    <a:gd name="connsiteX15" fmla="*/ 342139 w 590426"/>
                    <a:gd name="connsiteY15" fmla="*/ 61200 h 624183"/>
                    <a:gd name="connsiteX16" fmla="*/ 341107 w 590426"/>
                    <a:gd name="connsiteY16" fmla="*/ 62269 h 624183"/>
                    <a:gd name="connsiteX17" fmla="*/ 340197 w 590426"/>
                    <a:gd name="connsiteY17" fmla="*/ 64552 h 624183"/>
                    <a:gd name="connsiteX18" fmla="*/ 339784 w 590426"/>
                    <a:gd name="connsiteY18" fmla="*/ 67478 h 624183"/>
                    <a:gd name="connsiteX19" fmla="*/ 340197 w 590426"/>
                    <a:gd name="connsiteY19" fmla="*/ 70793 h 624183"/>
                    <a:gd name="connsiteX20" fmla="*/ 341338 w 590426"/>
                    <a:gd name="connsiteY20" fmla="*/ 73550 h 624183"/>
                    <a:gd name="connsiteX21" fmla="*/ 343354 w 590426"/>
                    <a:gd name="connsiteY21" fmla="*/ 74776 h 624183"/>
                    <a:gd name="connsiteX22" fmla="*/ 344665 w 590426"/>
                    <a:gd name="connsiteY22" fmla="*/ 74752 h 624183"/>
                    <a:gd name="connsiteX23" fmla="*/ 345697 w 590426"/>
                    <a:gd name="connsiteY23" fmla="*/ 74266 h 624183"/>
                    <a:gd name="connsiteX24" fmla="*/ 346499 w 590426"/>
                    <a:gd name="connsiteY24" fmla="*/ 73793 h 624183"/>
                    <a:gd name="connsiteX25" fmla="*/ 347531 w 590426"/>
                    <a:gd name="connsiteY25" fmla="*/ 73368 h 624183"/>
                    <a:gd name="connsiteX26" fmla="*/ 348745 w 590426"/>
                    <a:gd name="connsiteY26" fmla="*/ 73283 h 624183"/>
                    <a:gd name="connsiteX27" fmla="*/ 349838 w 590426"/>
                    <a:gd name="connsiteY27" fmla="*/ 73829 h 624183"/>
                    <a:gd name="connsiteX28" fmla="*/ 350069 w 590426"/>
                    <a:gd name="connsiteY28" fmla="*/ 75213 h 624183"/>
                    <a:gd name="connsiteX29" fmla="*/ 349146 w 590426"/>
                    <a:gd name="connsiteY29" fmla="*/ 78140 h 624183"/>
                    <a:gd name="connsiteX30" fmla="*/ 347835 w 590426"/>
                    <a:gd name="connsiteY30" fmla="*/ 80896 h 624183"/>
                    <a:gd name="connsiteX31" fmla="*/ 345977 w 590426"/>
                    <a:gd name="connsiteY31" fmla="*/ 83932 h 624183"/>
                    <a:gd name="connsiteX32" fmla="*/ 335254 w 590426"/>
                    <a:gd name="connsiteY32" fmla="*/ 95310 h 624183"/>
                    <a:gd name="connsiteX33" fmla="*/ 334441 w 590426"/>
                    <a:gd name="connsiteY33" fmla="*/ 97083 h 624183"/>
                    <a:gd name="connsiteX34" fmla="*/ 335024 w 590426"/>
                    <a:gd name="connsiteY34" fmla="*/ 98540 h 624183"/>
                    <a:gd name="connsiteX35" fmla="*/ 337088 w 590426"/>
                    <a:gd name="connsiteY35" fmla="*/ 99499 h 624183"/>
                    <a:gd name="connsiteX36" fmla="*/ 338922 w 590426"/>
                    <a:gd name="connsiteY36" fmla="*/ 100155 h 624183"/>
                    <a:gd name="connsiteX37" fmla="*/ 350299 w 590426"/>
                    <a:gd name="connsiteY37" fmla="*/ 101916 h 624183"/>
                    <a:gd name="connsiteX38" fmla="*/ 354428 w 590426"/>
                    <a:gd name="connsiteY38" fmla="*/ 103458 h 624183"/>
                    <a:gd name="connsiteX39" fmla="*/ 357306 w 590426"/>
                    <a:gd name="connsiteY39" fmla="*/ 102826 h 624183"/>
                    <a:gd name="connsiteX40" fmla="*/ 358569 w 590426"/>
                    <a:gd name="connsiteY40" fmla="*/ 104126 h 624183"/>
                    <a:gd name="connsiteX41" fmla="*/ 367287 w 590426"/>
                    <a:gd name="connsiteY41" fmla="*/ 107769 h 624183"/>
                    <a:gd name="connsiteX42" fmla="*/ 376480 w 590426"/>
                    <a:gd name="connsiteY42" fmla="*/ 113306 h 624183"/>
                    <a:gd name="connsiteX43" fmla="*/ 387615 w 590426"/>
                    <a:gd name="connsiteY43" fmla="*/ 118139 h 624183"/>
                    <a:gd name="connsiteX44" fmla="*/ 391063 w 590426"/>
                    <a:gd name="connsiteY44" fmla="*/ 120227 h 624183"/>
                    <a:gd name="connsiteX45" fmla="*/ 393249 w 590426"/>
                    <a:gd name="connsiteY45" fmla="*/ 124064 h 624183"/>
                    <a:gd name="connsiteX46" fmla="*/ 400025 w 590426"/>
                    <a:gd name="connsiteY46" fmla="*/ 133633 h 624183"/>
                    <a:gd name="connsiteX47" fmla="*/ 406910 w 590426"/>
                    <a:gd name="connsiteY47" fmla="*/ 145922 h 624183"/>
                    <a:gd name="connsiteX48" fmla="*/ 407663 w 590426"/>
                    <a:gd name="connsiteY48" fmla="*/ 147537 h 624183"/>
                    <a:gd name="connsiteX49" fmla="*/ 407663 w 590426"/>
                    <a:gd name="connsiteY49" fmla="*/ 148739 h 624183"/>
                    <a:gd name="connsiteX50" fmla="*/ 406448 w 590426"/>
                    <a:gd name="connsiteY50" fmla="*/ 149516 h 624183"/>
                    <a:gd name="connsiteX51" fmla="*/ 405246 w 590426"/>
                    <a:gd name="connsiteY51" fmla="*/ 149540 h 624183"/>
                    <a:gd name="connsiteX52" fmla="*/ 402830 w 590426"/>
                    <a:gd name="connsiteY52" fmla="*/ 149200 h 624183"/>
                    <a:gd name="connsiteX53" fmla="*/ 401397 w 590426"/>
                    <a:gd name="connsiteY53" fmla="*/ 149225 h 624183"/>
                    <a:gd name="connsiteX54" fmla="*/ 400025 w 590426"/>
                    <a:gd name="connsiteY54" fmla="*/ 149832 h 624183"/>
                    <a:gd name="connsiteX55" fmla="*/ 399090 w 590426"/>
                    <a:gd name="connsiteY55" fmla="*/ 150925 h 624183"/>
                    <a:gd name="connsiteX56" fmla="*/ 398932 w 590426"/>
                    <a:gd name="connsiteY56" fmla="*/ 153110 h 624183"/>
                    <a:gd name="connsiteX57" fmla="*/ 399211 w 590426"/>
                    <a:gd name="connsiteY57" fmla="*/ 154762 h 624183"/>
                    <a:gd name="connsiteX58" fmla="*/ 402951 w 590426"/>
                    <a:gd name="connsiteY58" fmla="*/ 161914 h 624183"/>
                    <a:gd name="connsiteX59" fmla="*/ 426836 w 590426"/>
                    <a:gd name="connsiteY59" fmla="*/ 205009 h 624183"/>
                    <a:gd name="connsiteX60" fmla="*/ 437231 w 590426"/>
                    <a:gd name="connsiteY60" fmla="*/ 232719 h 624183"/>
                    <a:gd name="connsiteX61" fmla="*/ 440048 w 590426"/>
                    <a:gd name="connsiteY61" fmla="*/ 245312 h 624183"/>
                    <a:gd name="connsiteX62" fmla="*/ 441189 w 590426"/>
                    <a:gd name="connsiteY62" fmla="*/ 248481 h 624183"/>
                    <a:gd name="connsiteX63" fmla="*/ 443314 w 590426"/>
                    <a:gd name="connsiteY63" fmla="*/ 251747 h 624183"/>
                    <a:gd name="connsiteX64" fmla="*/ 447273 w 590426"/>
                    <a:gd name="connsiteY64" fmla="*/ 255912 h 624183"/>
                    <a:gd name="connsiteX65" fmla="*/ 451353 w 590426"/>
                    <a:gd name="connsiteY65" fmla="*/ 258292 h 624183"/>
                    <a:gd name="connsiteX66" fmla="*/ 455494 w 590426"/>
                    <a:gd name="connsiteY66" fmla="*/ 256520 h 624183"/>
                    <a:gd name="connsiteX67" fmla="*/ 456987 w 590426"/>
                    <a:gd name="connsiteY67" fmla="*/ 256119 h 624183"/>
                    <a:gd name="connsiteX68" fmla="*/ 459161 w 590426"/>
                    <a:gd name="connsiteY68" fmla="*/ 255973 h 624183"/>
                    <a:gd name="connsiteX69" fmla="*/ 462610 w 590426"/>
                    <a:gd name="connsiteY69" fmla="*/ 257467 h 624183"/>
                    <a:gd name="connsiteX70" fmla="*/ 463933 w 590426"/>
                    <a:gd name="connsiteY70" fmla="*/ 257843 h 624183"/>
                    <a:gd name="connsiteX71" fmla="*/ 465257 w 590426"/>
                    <a:gd name="connsiteY71" fmla="*/ 257576 h 624183"/>
                    <a:gd name="connsiteX72" fmla="*/ 466507 w 590426"/>
                    <a:gd name="connsiteY72" fmla="*/ 256495 h 624183"/>
                    <a:gd name="connsiteX73" fmla="*/ 467612 w 590426"/>
                    <a:gd name="connsiteY73" fmla="*/ 254674 h 624183"/>
                    <a:gd name="connsiteX74" fmla="*/ 468183 w 590426"/>
                    <a:gd name="connsiteY74" fmla="*/ 251602 h 624183"/>
                    <a:gd name="connsiteX75" fmla="*/ 468875 w 590426"/>
                    <a:gd name="connsiteY75" fmla="*/ 249914 h 624183"/>
                    <a:gd name="connsiteX76" fmla="*/ 470077 w 590426"/>
                    <a:gd name="connsiteY76" fmla="*/ 249027 h 624183"/>
                    <a:gd name="connsiteX77" fmla="*/ 472591 w 590426"/>
                    <a:gd name="connsiteY77" fmla="*/ 249404 h 624183"/>
                    <a:gd name="connsiteX78" fmla="*/ 473575 w 590426"/>
                    <a:gd name="connsiteY78" fmla="*/ 248590 h 624183"/>
                    <a:gd name="connsiteX79" fmla="*/ 474145 w 590426"/>
                    <a:gd name="connsiteY79" fmla="*/ 246477 h 624183"/>
                    <a:gd name="connsiteX80" fmla="*/ 473065 w 590426"/>
                    <a:gd name="connsiteY80" fmla="*/ 238682 h 624183"/>
                    <a:gd name="connsiteX81" fmla="*/ 474036 w 590426"/>
                    <a:gd name="connsiteY81" fmla="*/ 236362 h 624183"/>
                    <a:gd name="connsiteX82" fmla="*/ 478347 w 590426"/>
                    <a:gd name="connsiteY82" fmla="*/ 235269 h 624183"/>
                    <a:gd name="connsiteX83" fmla="*/ 479197 w 590426"/>
                    <a:gd name="connsiteY83" fmla="*/ 234929 h 624183"/>
                    <a:gd name="connsiteX84" fmla="*/ 479840 w 590426"/>
                    <a:gd name="connsiteY84" fmla="*/ 234444 h 624183"/>
                    <a:gd name="connsiteX85" fmla="*/ 480411 w 590426"/>
                    <a:gd name="connsiteY85" fmla="*/ 233582 h 624183"/>
                    <a:gd name="connsiteX86" fmla="*/ 481103 w 590426"/>
                    <a:gd name="connsiteY86" fmla="*/ 232744 h 624183"/>
                    <a:gd name="connsiteX87" fmla="*/ 483678 w 590426"/>
                    <a:gd name="connsiteY87" fmla="*/ 235039 h 624183"/>
                    <a:gd name="connsiteX88" fmla="*/ 491036 w 590426"/>
                    <a:gd name="connsiteY88" fmla="*/ 248335 h 624183"/>
                    <a:gd name="connsiteX89" fmla="*/ 494934 w 590426"/>
                    <a:gd name="connsiteY89" fmla="*/ 256058 h 624183"/>
                    <a:gd name="connsiteX90" fmla="*/ 496039 w 590426"/>
                    <a:gd name="connsiteY90" fmla="*/ 259786 h 624183"/>
                    <a:gd name="connsiteX91" fmla="*/ 497520 w 590426"/>
                    <a:gd name="connsiteY91" fmla="*/ 260332 h 624183"/>
                    <a:gd name="connsiteX92" fmla="*/ 498553 w 590426"/>
                    <a:gd name="connsiteY92" fmla="*/ 260102 h 624183"/>
                    <a:gd name="connsiteX93" fmla="*/ 499876 w 590426"/>
                    <a:gd name="connsiteY93" fmla="*/ 259130 h 624183"/>
                    <a:gd name="connsiteX94" fmla="*/ 500629 w 590426"/>
                    <a:gd name="connsiteY94" fmla="*/ 258268 h 624183"/>
                    <a:gd name="connsiteX95" fmla="*/ 501661 w 590426"/>
                    <a:gd name="connsiteY95" fmla="*/ 258098 h 624183"/>
                    <a:gd name="connsiteX96" fmla="*/ 502803 w 590426"/>
                    <a:gd name="connsiteY96" fmla="*/ 259045 h 624183"/>
                    <a:gd name="connsiteX97" fmla="*/ 504308 w 590426"/>
                    <a:gd name="connsiteY97" fmla="*/ 261656 h 624183"/>
                    <a:gd name="connsiteX98" fmla="*/ 505851 w 590426"/>
                    <a:gd name="connsiteY98" fmla="*/ 262943 h 624183"/>
                    <a:gd name="connsiteX99" fmla="*/ 506713 w 590426"/>
                    <a:gd name="connsiteY99" fmla="*/ 263235 h 624183"/>
                    <a:gd name="connsiteX100" fmla="*/ 507296 w 590426"/>
                    <a:gd name="connsiteY100" fmla="*/ 262579 h 624183"/>
                    <a:gd name="connsiteX101" fmla="*/ 507575 w 590426"/>
                    <a:gd name="connsiteY101" fmla="*/ 262032 h 624183"/>
                    <a:gd name="connsiteX102" fmla="*/ 508036 w 590426"/>
                    <a:gd name="connsiteY102" fmla="*/ 261632 h 624183"/>
                    <a:gd name="connsiteX103" fmla="*/ 508668 w 590426"/>
                    <a:gd name="connsiteY103" fmla="*/ 261571 h 624183"/>
                    <a:gd name="connsiteX104" fmla="*/ 511254 w 590426"/>
                    <a:gd name="connsiteY104" fmla="*/ 261972 h 624183"/>
                    <a:gd name="connsiteX105" fmla="*/ 512335 w 590426"/>
                    <a:gd name="connsiteY105" fmla="*/ 262688 h 624183"/>
                    <a:gd name="connsiteX106" fmla="*/ 513318 w 590426"/>
                    <a:gd name="connsiteY106" fmla="*/ 264157 h 624183"/>
                    <a:gd name="connsiteX107" fmla="*/ 513719 w 590426"/>
                    <a:gd name="connsiteY107" fmla="*/ 266623 h 624183"/>
                    <a:gd name="connsiteX108" fmla="*/ 514290 w 590426"/>
                    <a:gd name="connsiteY108" fmla="*/ 268055 h 624183"/>
                    <a:gd name="connsiteX109" fmla="*/ 515322 w 590426"/>
                    <a:gd name="connsiteY109" fmla="*/ 268917 h 624183"/>
                    <a:gd name="connsiteX110" fmla="*/ 516123 w 590426"/>
                    <a:gd name="connsiteY110" fmla="*/ 268687 h 624183"/>
                    <a:gd name="connsiteX111" fmla="*/ 516876 w 590426"/>
                    <a:gd name="connsiteY111" fmla="*/ 268055 h 624183"/>
                    <a:gd name="connsiteX112" fmla="*/ 517678 w 590426"/>
                    <a:gd name="connsiteY112" fmla="*/ 266877 h 624183"/>
                    <a:gd name="connsiteX113" fmla="*/ 518880 w 590426"/>
                    <a:gd name="connsiteY113" fmla="*/ 264558 h 624183"/>
                    <a:gd name="connsiteX114" fmla="*/ 519463 w 590426"/>
                    <a:gd name="connsiteY114" fmla="*/ 263866 h 624183"/>
                    <a:gd name="connsiteX115" fmla="*/ 520034 w 590426"/>
                    <a:gd name="connsiteY115" fmla="*/ 263781 h 624183"/>
                    <a:gd name="connsiteX116" fmla="*/ 520896 w 590426"/>
                    <a:gd name="connsiteY116" fmla="*/ 264388 h 624183"/>
                    <a:gd name="connsiteX117" fmla="*/ 521819 w 590426"/>
                    <a:gd name="connsiteY117" fmla="*/ 265481 h 624183"/>
                    <a:gd name="connsiteX118" fmla="*/ 523191 w 590426"/>
                    <a:gd name="connsiteY118" fmla="*/ 268031 h 624183"/>
                    <a:gd name="connsiteX119" fmla="*/ 523701 w 590426"/>
                    <a:gd name="connsiteY119" fmla="*/ 270120 h 624183"/>
                    <a:gd name="connsiteX120" fmla="*/ 522668 w 590426"/>
                    <a:gd name="connsiteY120" fmla="*/ 274005 h 624183"/>
                    <a:gd name="connsiteX121" fmla="*/ 522851 w 590426"/>
                    <a:gd name="connsiteY121" fmla="*/ 274746 h 624183"/>
                    <a:gd name="connsiteX122" fmla="*/ 524283 w 590426"/>
                    <a:gd name="connsiteY122" fmla="*/ 274916 h 624183"/>
                    <a:gd name="connsiteX123" fmla="*/ 528813 w 590426"/>
                    <a:gd name="connsiteY123" fmla="*/ 274430 h 624183"/>
                    <a:gd name="connsiteX124" fmla="*/ 530610 w 590426"/>
                    <a:gd name="connsiteY124" fmla="*/ 274953 h 624183"/>
                    <a:gd name="connsiteX125" fmla="*/ 531521 w 590426"/>
                    <a:gd name="connsiteY125" fmla="*/ 276276 h 624183"/>
                    <a:gd name="connsiteX126" fmla="*/ 530246 w 590426"/>
                    <a:gd name="connsiteY126" fmla="*/ 278705 h 624183"/>
                    <a:gd name="connsiteX127" fmla="*/ 527380 w 590426"/>
                    <a:gd name="connsiteY127" fmla="*/ 281923 h 624183"/>
                    <a:gd name="connsiteX128" fmla="*/ 526688 w 590426"/>
                    <a:gd name="connsiteY128" fmla="*/ 283392 h 624183"/>
                    <a:gd name="connsiteX129" fmla="*/ 526409 w 590426"/>
                    <a:gd name="connsiteY129" fmla="*/ 285080 h 624183"/>
                    <a:gd name="connsiteX130" fmla="*/ 526117 w 590426"/>
                    <a:gd name="connsiteY130" fmla="*/ 293895 h 624183"/>
                    <a:gd name="connsiteX131" fmla="*/ 526627 w 590426"/>
                    <a:gd name="connsiteY131" fmla="*/ 295486 h 624183"/>
                    <a:gd name="connsiteX132" fmla="*/ 530246 w 590426"/>
                    <a:gd name="connsiteY132" fmla="*/ 297684 h 624183"/>
                    <a:gd name="connsiteX133" fmla="*/ 530489 w 590426"/>
                    <a:gd name="connsiteY133" fmla="*/ 299615 h 624183"/>
                    <a:gd name="connsiteX134" fmla="*/ 528303 w 590426"/>
                    <a:gd name="connsiteY134" fmla="*/ 303403 h 624183"/>
                    <a:gd name="connsiteX135" fmla="*/ 527611 w 590426"/>
                    <a:gd name="connsiteY135" fmla="*/ 304982 h 624183"/>
                    <a:gd name="connsiteX136" fmla="*/ 527259 w 590426"/>
                    <a:gd name="connsiteY136" fmla="*/ 306791 h 624183"/>
                    <a:gd name="connsiteX137" fmla="*/ 527198 w 590426"/>
                    <a:gd name="connsiteY137" fmla="*/ 308916 h 624183"/>
                    <a:gd name="connsiteX138" fmla="*/ 527562 w 590426"/>
                    <a:gd name="connsiteY138" fmla="*/ 311017 h 624183"/>
                    <a:gd name="connsiteX139" fmla="*/ 528181 w 590426"/>
                    <a:gd name="connsiteY139" fmla="*/ 313276 h 624183"/>
                    <a:gd name="connsiteX140" fmla="*/ 529056 w 590426"/>
                    <a:gd name="connsiteY140" fmla="*/ 315546 h 624183"/>
                    <a:gd name="connsiteX141" fmla="*/ 530938 w 590426"/>
                    <a:gd name="connsiteY141" fmla="*/ 318351 h 624183"/>
                    <a:gd name="connsiteX142" fmla="*/ 534617 w 590426"/>
                    <a:gd name="connsiteY142" fmla="*/ 321921 h 624183"/>
                    <a:gd name="connsiteX143" fmla="*/ 544951 w 590426"/>
                    <a:gd name="connsiteY143" fmla="*/ 329669 h 624183"/>
                    <a:gd name="connsiteX144" fmla="*/ 548970 w 590426"/>
                    <a:gd name="connsiteY144" fmla="*/ 333919 h 624183"/>
                    <a:gd name="connsiteX145" fmla="*/ 557701 w 590426"/>
                    <a:gd name="connsiteY145" fmla="*/ 340864 h 624183"/>
                    <a:gd name="connsiteX146" fmla="*/ 559474 w 590426"/>
                    <a:gd name="connsiteY146" fmla="*/ 342989 h 624183"/>
                    <a:gd name="connsiteX147" fmla="*/ 560979 w 590426"/>
                    <a:gd name="connsiteY147" fmla="*/ 345491 h 624183"/>
                    <a:gd name="connsiteX148" fmla="*/ 563092 w 590426"/>
                    <a:gd name="connsiteY148" fmla="*/ 350287 h 624183"/>
                    <a:gd name="connsiteX149" fmla="*/ 564015 w 590426"/>
                    <a:gd name="connsiteY149" fmla="*/ 351489 h 624183"/>
                    <a:gd name="connsiteX150" fmla="*/ 565278 w 590426"/>
                    <a:gd name="connsiteY150" fmla="*/ 352267 h 624183"/>
                    <a:gd name="connsiteX151" fmla="*/ 567865 w 590426"/>
                    <a:gd name="connsiteY151" fmla="*/ 352959 h 624183"/>
                    <a:gd name="connsiteX152" fmla="*/ 569079 w 590426"/>
                    <a:gd name="connsiteY152" fmla="*/ 353529 h 624183"/>
                    <a:gd name="connsiteX153" fmla="*/ 569819 w 590426"/>
                    <a:gd name="connsiteY153" fmla="*/ 354355 h 624183"/>
                    <a:gd name="connsiteX154" fmla="*/ 570281 w 590426"/>
                    <a:gd name="connsiteY154" fmla="*/ 355691 h 624183"/>
                    <a:gd name="connsiteX155" fmla="*/ 570390 w 590426"/>
                    <a:gd name="connsiteY155" fmla="*/ 357039 h 624183"/>
                    <a:gd name="connsiteX156" fmla="*/ 570159 w 590426"/>
                    <a:gd name="connsiteY156" fmla="*/ 358447 h 624183"/>
                    <a:gd name="connsiteX157" fmla="*/ 569237 w 590426"/>
                    <a:gd name="connsiteY157" fmla="*/ 361252 h 624183"/>
                    <a:gd name="connsiteX158" fmla="*/ 566432 w 590426"/>
                    <a:gd name="connsiteY158" fmla="*/ 365332 h 624183"/>
                    <a:gd name="connsiteX159" fmla="*/ 558794 w 590426"/>
                    <a:gd name="connsiteY159" fmla="*/ 363268 h 624183"/>
                    <a:gd name="connsiteX160" fmla="*/ 555746 w 590426"/>
                    <a:gd name="connsiteY160" fmla="*/ 363377 h 624183"/>
                    <a:gd name="connsiteX161" fmla="*/ 552710 w 590426"/>
                    <a:gd name="connsiteY161" fmla="*/ 363815 h 624183"/>
                    <a:gd name="connsiteX162" fmla="*/ 545643 w 590426"/>
                    <a:gd name="connsiteY162" fmla="*/ 366911 h 624183"/>
                    <a:gd name="connsiteX163" fmla="*/ 544319 w 590426"/>
                    <a:gd name="connsiteY163" fmla="*/ 367967 h 624183"/>
                    <a:gd name="connsiteX164" fmla="*/ 543858 w 590426"/>
                    <a:gd name="connsiteY164" fmla="*/ 368951 h 624183"/>
                    <a:gd name="connsiteX165" fmla="*/ 543749 w 590426"/>
                    <a:gd name="connsiteY165" fmla="*/ 370615 h 624183"/>
                    <a:gd name="connsiteX166" fmla="*/ 544040 w 590426"/>
                    <a:gd name="connsiteY166" fmla="*/ 372193 h 624183"/>
                    <a:gd name="connsiteX167" fmla="*/ 544550 w 590426"/>
                    <a:gd name="connsiteY167" fmla="*/ 373541 h 624183"/>
                    <a:gd name="connsiteX168" fmla="*/ 545242 w 590426"/>
                    <a:gd name="connsiteY168" fmla="*/ 374512 h 624183"/>
                    <a:gd name="connsiteX169" fmla="*/ 550694 w 590426"/>
                    <a:gd name="connsiteY169" fmla="*/ 378945 h 624183"/>
                    <a:gd name="connsiteX170" fmla="*/ 556207 w 590426"/>
                    <a:gd name="connsiteY170" fmla="*/ 385344 h 624183"/>
                    <a:gd name="connsiteX171" fmla="*/ 557980 w 590426"/>
                    <a:gd name="connsiteY171" fmla="*/ 386874 h 624183"/>
                    <a:gd name="connsiteX172" fmla="*/ 559073 w 590426"/>
                    <a:gd name="connsiteY172" fmla="*/ 388355 h 624183"/>
                    <a:gd name="connsiteX173" fmla="*/ 559996 w 590426"/>
                    <a:gd name="connsiteY173" fmla="*/ 389181 h 624183"/>
                    <a:gd name="connsiteX174" fmla="*/ 560919 w 590426"/>
                    <a:gd name="connsiteY174" fmla="*/ 389424 h 624183"/>
                    <a:gd name="connsiteX175" fmla="*/ 562692 w 590426"/>
                    <a:gd name="connsiteY175" fmla="*/ 387894 h 624183"/>
                    <a:gd name="connsiteX176" fmla="*/ 563724 w 590426"/>
                    <a:gd name="connsiteY176" fmla="*/ 387263 h 624183"/>
                    <a:gd name="connsiteX177" fmla="*/ 564938 w 590426"/>
                    <a:gd name="connsiteY177" fmla="*/ 387153 h 624183"/>
                    <a:gd name="connsiteX178" fmla="*/ 565861 w 590426"/>
                    <a:gd name="connsiteY178" fmla="*/ 387153 h 624183"/>
                    <a:gd name="connsiteX179" fmla="*/ 568787 w 590426"/>
                    <a:gd name="connsiteY179" fmla="*/ 387663 h 624183"/>
                    <a:gd name="connsiteX180" fmla="*/ 570791 w 590426"/>
                    <a:gd name="connsiteY180" fmla="*/ 388076 h 624183"/>
                    <a:gd name="connsiteX181" fmla="*/ 571544 w 590426"/>
                    <a:gd name="connsiteY181" fmla="*/ 387894 h 624183"/>
                    <a:gd name="connsiteX182" fmla="*/ 572345 w 590426"/>
                    <a:gd name="connsiteY182" fmla="*/ 387408 h 624183"/>
                    <a:gd name="connsiteX183" fmla="*/ 572855 w 590426"/>
                    <a:gd name="connsiteY183" fmla="*/ 387360 h 624183"/>
                    <a:gd name="connsiteX184" fmla="*/ 573256 w 590426"/>
                    <a:gd name="connsiteY184" fmla="*/ 387493 h 624183"/>
                    <a:gd name="connsiteX185" fmla="*/ 573547 w 590426"/>
                    <a:gd name="connsiteY185" fmla="*/ 388040 h 624183"/>
                    <a:gd name="connsiteX186" fmla="*/ 573839 w 590426"/>
                    <a:gd name="connsiteY186" fmla="*/ 388793 h 624183"/>
                    <a:gd name="connsiteX187" fmla="*/ 575041 w 590426"/>
                    <a:gd name="connsiteY187" fmla="*/ 394985 h 624183"/>
                    <a:gd name="connsiteX188" fmla="*/ 576012 w 590426"/>
                    <a:gd name="connsiteY188" fmla="*/ 395908 h 624183"/>
                    <a:gd name="connsiteX189" fmla="*/ 577118 w 590426"/>
                    <a:gd name="connsiteY189" fmla="*/ 396370 h 624183"/>
                    <a:gd name="connsiteX190" fmla="*/ 578550 w 590426"/>
                    <a:gd name="connsiteY190" fmla="*/ 396564 h 624183"/>
                    <a:gd name="connsiteX191" fmla="*/ 579922 w 590426"/>
                    <a:gd name="connsiteY191" fmla="*/ 397378 h 624183"/>
                    <a:gd name="connsiteX192" fmla="*/ 580724 w 590426"/>
                    <a:gd name="connsiteY192" fmla="*/ 398689 h 624183"/>
                    <a:gd name="connsiteX193" fmla="*/ 581707 w 590426"/>
                    <a:gd name="connsiteY193" fmla="*/ 402138 h 624183"/>
                    <a:gd name="connsiteX194" fmla="*/ 582327 w 590426"/>
                    <a:gd name="connsiteY194" fmla="*/ 403316 h 624183"/>
                    <a:gd name="connsiteX195" fmla="*/ 582679 w 590426"/>
                    <a:gd name="connsiteY195" fmla="*/ 404578 h 624183"/>
                    <a:gd name="connsiteX196" fmla="*/ 582679 w 590426"/>
                    <a:gd name="connsiteY196" fmla="*/ 405841 h 624183"/>
                    <a:gd name="connsiteX197" fmla="*/ 581355 w 590426"/>
                    <a:gd name="connsiteY197" fmla="*/ 412338 h 624183"/>
                    <a:gd name="connsiteX198" fmla="*/ 581125 w 590426"/>
                    <a:gd name="connsiteY198" fmla="*/ 415896 h 624183"/>
                    <a:gd name="connsiteX199" fmla="*/ 582047 w 590426"/>
                    <a:gd name="connsiteY199" fmla="*/ 417668 h 624183"/>
                    <a:gd name="connsiteX200" fmla="*/ 583480 w 590426"/>
                    <a:gd name="connsiteY200" fmla="*/ 419393 h 624183"/>
                    <a:gd name="connsiteX201" fmla="*/ 584233 w 590426"/>
                    <a:gd name="connsiteY201" fmla="*/ 420716 h 624183"/>
                    <a:gd name="connsiteX202" fmla="*/ 584342 w 590426"/>
                    <a:gd name="connsiteY202" fmla="*/ 422004 h 624183"/>
                    <a:gd name="connsiteX203" fmla="*/ 583541 w 590426"/>
                    <a:gd name="connsiteY203" fmla="*/ 423619 h 624183"/>
                    <a:gd name="connsiteX204" fmla="*/ 582448 w 590426"/>
                    <a:gd name="connsiteY204" fmla="*/ 425282 h 624183"/>
                    <a:gd name="connsiteX205" fmla="*/ 582047 w 590426"/>
                    <a:gd name="connsiteY205" fmla="*/ 426132 h 624183"/>
                    <a:gd name="connsiteX206" fmla="*/ 581707 w 590426"/>
                    <a:gd name="connsiteY206" fmla="*/ 427686 h 624183"/>
                    <a:gd name="connsiteX207" fmla="*/ 581598 w 590426"/>
                    <a:gd name="connsiteY207" fmla="*/ 434061 h 624183"/>
                    <a:gd name="connsiteX208" fmla="*/ 581865 w 590426"/>
                    <a:gd name="connsiteY208" fmla="*/ 436854 h 624183"/>
                    <a:gd name="connsiteX209" fmla="*/ 583602 w 590426"/>
                    <a:gd name="connsiteY209" fmla="*/ 444334 h 624183"/>
                    <a:gd name="connsiteX210" fmla="*/ 583723 w 590426"/>
                    <a:gd name="connsiteY210" fmla="*/ 446374 h 624183"/>
                    <a:gd name="connsiteX211" fmla="*/ 583310 w 590426"/>
                    <a:gd name="connsiteY211" fmla="*/ 448791 h 624183"/>
                    <a:gd name="connsiteX212" fmla="*/ 582509 w 590426"/>
                    <a:gd name="connsiteY212" fmla="*/ 451268 h 624183"/>
                    <a:gd name="connsiteX213" fmla="*/ 580724 w 590426"/>
                    <a:gd name="connsiteY213" fmla="*/ 453466 h 624183"/>
                    <a:gd name="connsiteX214" fmla="*/ 578769 w 590426"/>
                    <a:gd name="connsiteY214" fmla="*/ 454109 h 624183"/>
                    <a:gd name="connsiteX215" fmla="*/ 576656 w 590426"/>
                    <a:gd name="connsiteY215" fmla="*/ 453247 h 624183"/>
                    <a:gd name="connsiteX216" fmla="*/ 574932 w 590426"/>
                    <a:gd name="connsiteY216" fmla="*/ 450284 h 624183"/>
                    <a:gd name="connsiteX217" fmla="*/ 573256 w 590426"/>
                    <a:gd name="connsiteY217" fmla="*/ 444541 h 624183"/>
                    <a:gd name="connsiteX218" fmla="*/ 572163 w 590426"/>
                    <a:gd name="connsiteY218" fmla="*/ 441906 h 624183"/>
                    <a:gd name="connsiteX219" fmla="*/ 570912 w 590426"/>
                    <a:gd name="connsiteY219" fmla="*/ 440534 h 624183"/>
                    <a:gd name="connsiteX220" fmla="*/ 569176 w 590426"/>
                    <a:gd name="connsiteY220" fmla="*/ 439926 h 624183"/>
                    <a:gd name="connsiteX221" fmla="*/ 563384 w 590426"/>
                    <a:gd name="connsiteY221" fmla="*/ 440801 h 624183"/>
                    <a:gd name="connsiteX222" fmla="*/ 561150 w 590426"/>
                    <a:gd name="connsiteY222" fmla="*/ 440789 h 624183"/>
                    <a:gd name="connsiteX223" fmla="*/ 557470 w 590426"/>
                    <a:gd name="connsiteY223" fmla="*/ 439210 h 624183"/>
                    <a:gd name="connsiteX224" fmla="*/ 554835 w 590426"/>
                    <a:gd name="connsiteY224" fmla="*/ 439234 h 624183"/>
                    <a:gd name="connsiteX225" fmla="*/ 550124 w 590426"/>
                    <a:gd name="connsiteY225" fmla="*/ 441384 h 624183"/>
                    <a:gd name="connsiteX226" fmla="*/ 549431 w 590426"/>
                    <a:gd name="connsiteY226" fmla="*/ 442100 h 624183"/>
                    <a:gd name="connsiteX227" fmla="*/ 548909 w 590426"/>
                    <a:gd name="connsiteY227" fmla="*/ 443339 h 624183"/>
                    <a:gd name="connsiteX228" fmla="*/ 547999 w 590426"/>
                    <a:gd name="connsiteY228" fmla="*/ 449374 h 624183"/>
                    <a:gd name="connsiteX229" fmla="*/ 548108 w 590426"/>
                    <a:gd name="connsiteY229" fmla="*/ 450284 h 624183"/>
                    <a:gd name="connsiteX230" fmla="*/ 548460 w 590426"/>
                    <a:gd name="connsiteY230" fmla="*/ 450977 h 624183"/>
                    <a:gd name="connsiteX231" fmla="*/ 549091 w 590426"/>
                    <a:gd name="connsiteY231" fmla="*/ 451341 h 624183"/>
                    <a:gd name="connsiteX232" fmla="*/ 551265 w 590426"/>
                    <a:gd name="connsiteY232" fmla="*/ 451839 h 624183"/>
                    <a:gd name="connsiteX233" fmla="*/ 552249 w 590426"/>
                    <a:gd name="connsiteY233" fmla="*/ 452385 h 624183"/>
                    <a:gd name="connsiteX234" fmla="*/ 552419 w 590426"/>
                    <a:gd name="connsiteY234" fmla="*/ 453162 h 624183"/>
                    <a:gd name="connsiteX235" fmla="*/ 551848 w 590426"/>
                    <a:gd name="connsiteY235" fmla="*/ 454328 h 624183"/>
                    <a:gd name="connsiteX236" fmla="*/ 550464 w 590426"/>
                    <a:gd name="connsiteY236" fmla="*/ 455882 h 624183"/>
                    <a:gd name="connsiteX237" fmla="*/ 547598 w 590426"/>
                    <a:gd name="connsiteY237" fmla="*/ 458444 h 624183"/>
                    <a:gd name="connsiteX238" fmla="*/ 535540 w 590426"/>
                    <a:gd name="connsiteY238" fmla="*/ 466738 h 624183"/>
                    <a:gd name="connsiteX239" fmla="*/ 533075 w 590426"/>
                    <a:gd name="connsiteY239" fmla="*/ 467940 h 624183"/>
                    <a:gd name="connsiteX240" fmla="*/ 529274 w 590426"/>
                    <a:gd name="connsiteY240" fmla="*/ 470296 h 624183"/>
                    <a:gd name="connsiteX241" fmla="*/ 527198 w 590426"/>
                    <a:gd name="connsiteY241" fmla="*/ 471328 h 624183"/>
                    <a:gd name="connsiteX242" fmla="*/ 519511 w 590426"/>
                    <a:gd name="connsiteY242" fmla="*/ 473915 h 624183"/>
                    <a:gd name="connsiteX243" fmla="*/ 516816 w 590426"/>
                    <a:gd name="connsiteY243" fmla="*/ 475432 h 624183"/>
                    <a:gd name="connsiteX244" fmla="*/ 514751 w 590426"/>
                    <a:gd name="connsiteY244" fmla="*/ 477363 h 624183"/>
                    <a:gd name="connsiteX245" fmla="*/ 513598 w 590426"/>
                    <a:gd name="connsiteY245" fmla="*/ 479537 h 624183"/>
                    <a:gd name="connsiteX246" fmla="*/ 514059 w 590426"/>
                    <a:gd name="connsiteY246" fmla="*/ 481492 h 624183"/>
                    <a:gd name="connsiteX247" fmla="*/ 514751 w 590426"/>
                    <a:gd name="connsiteY247" fmla="*/ 482548 h 624183"/>
                    <a:gd name="connsiteX248" fmla="*/ 515905 w 590426"/>
                    <a:gd name="connsiteY248" fmla="*/ 482985 h 624183"/>
                    <a:gd name="connsiteX249" fmla="*/ 516755 w 590426"/>
                    <a:gd name="connsiteY249" fmla="*/ 482876 h 624183"/>
                    <a:gd name="connsiteX250" fmla="*/ 517908 w 590426"/>
                    <a:gd name="connsiteY250" fmla="*/ 482354 h 624183"/>
                    <a:gd name="connsiteX251" fmla="*/ 518880 w 590426"/>
                    <a:gd name="connsiteY251" fmla="*/ 481552 h 624183"/>
                    <a:gd name="connsiteX252" fmla="*/ 521928 w 590426"/>
                    <a:gd name="connsiteY252" fmla="*/ 477679 h 624183"/>
                    <a:gd name="connsiteX253" fmla="*/ 522851 w 590426"/>
                    <a:gd name="connsiteY253" fmla="*/ 476926 h 624183"/>
                    <a:gd name="connsiteX254" fmla="*/ 523579 w 590426"/>
                    <a:gd name="connsiteY254" fmla="*/ 476756 h 624183"/>
                    <a:gd name="connsiteX255" fmla="*/ 524454 w 590426"/>
                    <a:gd name="connsiteY255" fmla="*/ 477047 h 624183"/>
                    <a:gd name="connsiteX256" fmla="*/ 525134 w 590426"/>
                    <a:gd name="connsiteY256" fmla="*/ 477642 h 624183"/>
                    <a:gd name="connsiteX257" fmla="*/ 525716 w 590426"/>
                    <a:gd name="connsiteY257" fmla="*/ 478395 h 624183"/>
                    <a:gd name="connsiteX258" fmla="*/ 526008 w 590426"/>
                    <a:gd name="connsiteY258" fmla="*/ 479136 h 624183"/>
                    <a:gd name="connsiteX259" fmla="*/ 526226 w 590426"/>
                    <a:gd name="connsiteY259" fmla="*/ 480205 h 624183"/>
                    <a:gd name="connsiteX260" fmla="*/ 526627 w 590426"/>
                    <a:gd name="connsiteY260" fmla="*/ 481261 h 624183"/>
                    <a:gd name="connsiteX261" fmla="*/ 527149 w 590426"/>
                    <a:gd name="connsiteY261" fmla="*/ 482245 h 624183"/>
                    <a:gd name="connsiteX262" fmla="*/ 527902 w 590426"/>
                    <a:gd name="connsiteY262" fmla="*/ 483022 h 624183"/>
                    <a:gd name="connsiteX263" fmla="*/ 528995 w 590426"/>
                    <a:gd name="connsiteY263" fmla="*/ 483738 h 624183"/>
                    <a:gd name="connsiteX264" fmla="*/ 531460 w 590426"/>
                    <a:gd name="connsiteY264" fmla="*/ 484455 h 624183"/>
                    <a:gd name="connsiteX265" fmla="*/ 532431 w 590426"/>
                    <a:gd name="connsiteY265" fmla="*/ 484904 h 624183"/>
                    <a:gd name="connsiteX266" fmla="*/ 533172 w 590426"/>
                    <a:gd name="connsiteY266" fmla="*/ 485548 h 624183"/>
                    <a:gd name="connsiteX267" fmla="*/ 533585 w 590426"/>
                    <a:gd name="connsiteY267" fmla="*/ 486203 h 624183"/>
                    <a:gd name="connsiteX268" fmla="*/ 533925 w 590426"/>
                    <a:gd name="connsiteY268" fmla="*/ 487065 h 624183"/>
                    <a:gd name="connsiteX269" fmla="*/ 533816 w 590426"/>
                    <a:gd name="connsiteY269" fmla="*/ 488583 h 624183"/>
                    <a:gd name="connsiteX270" fmla="*/ 533415 w 590426"/>
                    <a:gd name="connsiteY270" fmla="*/ 490344 h 624183"/>
                    <a:gd name="connsiteX271" fmla="*/ 531800 w 590426"/>
                    <a:gd name="connsiteY271" fmla="*/ 493465 h 624183"/>
                    <a:gd name="connsiteX272" fmla="*/ 531521 w 590426"/>
                    <a:gd name="connsiteY272" fmla="*/ 495140 h 624183"/>
                    <a:gd name="connsiteX273" fmla="*/ 531630 w 590426"/>
                    <a:gd name="connsiteY273" fmla="*/ 497423 h 624183"/>
                    <a:gd name="connsiteX274" fmla="*/ 530829 w 590426"/>
                    <a:gd name="connsiteY274" fmla="*/ 498407 h 624183"/>
                    <a:gd name="connsiteX275" fmla="*/ 524223 w 590426"/>
                    <a:gd name="connsiteY275" fmla="*/ 502256 h 624183"/>
                    <a:gd name="connsiteX276" fmla="*/ 513258 w 590426"/>
                    <a:gd name="connsiteY276" fmla="*/ 510489 h 624183"/>
                    <a:gd name="connsiteX277" fmla="*/ 506834 w 590426"/>
                    <a:gd name="connsiteY277" fmla="*/ 510234 h 624183"/>
                    <a:gd name="connsiteX278" fmla="*/ 504867 w 590426"/>
                    <a:gd name="connsiteY278" fmla="*/ 509093 h 624183"/>
                    <a:gd name="connsiteX279" fmla="*/ 500277 w 590426"/>
                    <a:gd name="connsiteY279" fmla="*/ 507830 h 624183"/>
                    <a:gd name="connsiteX280" fmla="*/ 498893 w 590426"/>
                    <a:gd name="connsiteY280" fmla="*/ 506870 h 624183"/>
                    <a:gd name="connsiteX281" fmla="*/ 497751 w 590426"/>
                    <a:gd name="connsiteY281" fmla="*/ 505523 h 624183"/>
                    <a:gd name="connsiteX282" fmla="*/ 495687 w 590426"/>
                    <a:gd name="connsiteY282" fmla="*/ 502232 h 624183"/>
                    <a:gd name="connsiteX283" fmla="*/ 494193 w 590426"/>
                    <a:gd name="connsiteY283" fmla="*/ 498893 h 624183"/>
                    <a:gd name="connsiteX284" fmla="*/ 492299 w 590426"/>
                    <a:gd name="connsiteY284" fmla="*/ 491340 h 624183"/>
                    <a:gd name="connsiteX285" fmla="*/ 491498 w 590426"/>
                    <a:gd name="connsiteY285" fmla="*/ 490223 h 624183"/>
                    <a:gd name="connsiteX286" fmla="*/ 490405 w 590426"/>
                    <a:gd name="connsiteY286" fmla="*/ 489567 h 624183"/>
                    <a:gd name="connsiteX287" fmla="*/ 489020 w 590426"/>
                    <a:gd name="connsiteY287" fmla="*/ 489421 h 624183"/>
                    <a:gd name="connsiteX288" fmla="*/ 487636 w 590426"/>
                    <a:gd name="connsiteY288" fmla="*/ 489822 h 624183"/>
                    <a:gd name="connsiteX289" fmla="*/ 486385 w 590426"/>
                    <a:gd name="connsiteY289" fmla="*/ 490745 h 624183"/>
                    <a:gd name="connsiteX290" fmla="*/ 486045 w 590426"/>
                    <a:gd name="connsiteY290" fmla="*/ 492457 h 624183"/>
                    <a:gd name="connsiteX291" fmla="*/ 486507 w 590426"/>
                    <a:gd name="connsiteY291" fmla="*/ 493695 h 624183"/>
                    <a:gd name="connsiteX292" fmla="*/ 487126 w 590426"/>
                    <a:gd name="connsiteY292" fmla="*/ 494958 h 624183"/>
                    <a:gd name="connsiteX293" fmla="*/ 487539 w 590426"/>
                    <a:gd name="connsiteY293" fmla="*/ 495990 h 624183"/>
                    <a:gd name="connsiteX294" fmla="*/ 487539 w 590426"/>
                    <a:gd name="connsiteY294" fmla="*/ 497059 h 624183"/>
                    <a:gd name="connsiteX295" fmla="*/ 487248 w 590426"/>
                    <a:gd name="connsiteY295" fmla="*/ 498006 h 624183"/>
                    <a:gd name="connsiteX296" fmla="*/ 485463 w 590426"/>
                    <a:gd name="connsiteY296" fmla="*/ 501940 h 624183"/>
                    <a:gd name="connsiteX297" fmla="*/ 484783 w 590426"/>
                    <a:gd name="connsiteY297" fmla="*/ 503106 h 624183"/>
                    <a:gd name="connsiteX298" fmla="*/ 483678 w 590426"/>
                    <a:gd name="connsiteY298" fmla="*/ 503726 h 624183"/>
                    <a:gd name="connsiteX299" fmla="*/ 482706 w 590426"/>
                    <a:gd name="connsiteY299" fmla="*/ 503798 h 624183"/>
                    <a:gd name="connsiteX300" fmla="*/ 481844 w 590426"/>
                    <a:gd name="connsiteY300" fmla="*/ 503398 h 624183"/>
                    <a:gd name="connsiteX301" fmla="*/ 480690 w 590426"/>
                    <a:gd name="connsiteY301" fmla="*/ 502341 h 624183"/>
                    <a:gd name="connsiteX302" fmla="*/ 478517 w 590426"/>
                    <a:gd name="connsiteY302" fmla="*/ 499694 h 624183"/>
                    <a:gd name="connsiteX303" fmla="*/ 477193 w 590426"/>
                    <a:gd name="connsiteY303" fmla="*/ 498723 h 624183"/>
                    <a:gd name="connsiteX304" fmla="*/ 476161 w 590426"/>
                    <a:gd name="connsiteY304" fmla="*/ 498662 h 624183"/>
                    <a:gd name="connsiteX305" fmla="*/ 475129 w 590426"/>
                    <a:gd name="connsiteY305" fmla="*/ 499208 h 624183"/>
                    <a:gd name="connsiteX306" fmla="*/ 475068 w 590426"/>
                    <a:gd name="connsiteY306" fmla="*/ 500969 h 624183"/>
                    <a:gd name="connsiteX307" fmla="*/ 475481 w 590426"/>
                    <a:gd name="connsiteY307" fmla="*/ 502390 h 624183"/>
                    <a:gd name="connsiteX308" fmla="*/ 475518 w 590426"/>
                    <a:gd name="connsiteY308" fmla="*/ 503750 h 624183"/>
                    <a:gd name="connsiteX309" fmla="*/ 474898 w 590426"/>
                    <a:gd name="connsiteY309" fmla="*/ 504746 h 624183"/>
                    <a:gd name="connsiteX310" fmla="*/ 473113 w 590426"/>
                    <a:gd name="connsiteY310" fmla="*/ 505838 h 624183"/>
                    <a:gd name="connsiteX311" fmla="*/ 471401 w 590426"/>
                    <a:gd name="connsiteY311" fmla="*/ 505984 h 624183"/>
                    <a:gd name="connsiteX312" fmla="*/ 469786 w 590426"/>
                    <a:gd name="connsiteY312" fmla="*/ 505790 h 624183"/>
                    <a:gd name="connsiteX313" fmla="*/ 467382 w 590426"/>
                    <a:gd name="connsiteY313" fmla="*/ 505037 h 624183"/>
                    <a:gd name="connsiteX314" fmla="*/ 465075 w 590426"/>
                    <a:gd name="connsiteY314" fmla="*/ 504782 h 624183"/>
                    <a:gd name="connsiteX315" fmla="*/ 463642 w 590426"/>
                    <a:gd name="connsiteY315" fmla="*/ 504381 h 624183"/>
                    <a:gd name="connsiteX316" fmla="*/ 461978 w 590426"/>
                    <a:gd name="connsiteY316" fmla="*/ 503373 h 624183"/>
                    <a:gd name="connsiteX317" fmla="*/ 456526 w 590426"/>
                    <a:gd name="connsiteY317" fmla="*/ 499269 h 624183"/>
                    <a:gd name="connsiteX318" fmla="*/ 455032 w 590426"/>
                    <a:gd name="connsiteY318" fmla="*/ 499002 h 624183"/>
                    <a:gd name="connsiteX319" fmla="*/ 453709 w 590426"/>
                    <a:gd name="connsiteY319" fmla="*/ 499500 h 624183"/>
                    <a:gd name="connsiteX320" fmla="*/ 452215 w 590426"/>
                    <a:gd name="connsiteY320" fmla="*/ 500848 h 624183"/>
                    <a:gd name="connsiteX321" fmla="*/ 451414 w 590426"/>
                    <a:gd name="connsiteY321" fmla="*/ 501940 h 624183"/>
                    <a:gd name="connsiteX322" fmla="*/ 451584 w 590426"/>
                    <a:gd name="connsiteY322" fmla="*/ 503458 h 624183"/>
                    <a:gd name="connsiteX323" fmla="*/ 452215 w 590426"/>
                    <a:gd name="connsiteY323" fmla="*/ 504515 h 624183"/>
                    <a:gd name="connsiteX324" fmla="*/ 453308 w 590426"/>
                    <a:gd name="connsiteY324" fmla="*/ 505498 h 624183"/>
                    <a:gd name="connsiteX325" fmla="*/ 454340 w 590426"/>
                    <a:gd name="connsiteY325" fmla="*/ 506130 h 624183"/>
                    <a:gd name="connsiteX326" fmla="*/ 459513 w 590426"/>
                    <a:gd name="connsiteY326" fmla="*/ 507939 h 624183"/>
                    <a:gd name="connsiteX327" fmla="*/ 460776 w 590426"/>
                    <a:gd name="connsiteY327" fmla="*/ 508740 h 624183"/>
                    <a:gd name="connsiteX328" fmla="*/ 461007 w 590426"/>
                    <a:gd name="connsiteY328" fmla="*/ 509542 h 624183"/>
                    <a:gd name="connsiteX329" fmla="*/ 459792 w 590426"/>
                    <a:gd name="connsiteY329" fmla="*/ 510319 h 624183"/>
                    <a:gd name="connsiteX330" fmla="*/ 455773 w 590426"/>
                    <a:gd name="connsiteY330" fmla="*/ 510950 h 624183"/>
                    <a:gd name="connsiteX331" fmla="*/ 454802 w 590426"/>
                    <a:gd name="connsiteY331" fmla="*/ 511473 h 624183"/>
                    <a:gd name="connsiteX332" fmla="*/ 454231 w 590426"/>
                    <a:gd name="connsiteY332" fmla="*/ 512298 h 624183"/>
                    <a:gd name="connsiteX333" fmla="*/ 454170 w 590426"/>
                    <a:gd name="connsiteY333" fmla="*/ 513622 h 624183"/>
                    <a:gd name="connsiteX334" fmla="*/ 454340 w 590426"/>
                    <a:gd name="connsiteY334" fmla="*/ 514654 h 624183"/>
                    <a:gd name="connsiteX335" fmla="*/ 454632 w 590426"/>
                    <a:gd name="connsiteY335" fmla="*/ 515492 h 624183"/>
                    <a:gd name="connsiteX336" fmla="*/ 455154 w 590426"/>
                    <a:gd name="connsiteY336" fmla="*/ 516500 h 624183"/>
                    <a:gd name="connsiteX337" fmla="*/ 455494 w 590426"/>
                    <a:gd name="connsiteY337" fmla="*/ 517326 h 624183"/>
                    <a:gd name="connsiteX338" fmla="*/ 455251 w 590426"/>
                    <a:gd name="connsiteY338" fmla="*/ 518212 h 624183"/>
                    <a:gd name="connsiteX339" fmla="*/ 454692 w 590426"/>
                    <a:gd name="connsiteY339" fmla="*/ 519013 h 624183"/>
                    <a:gd name="connsiteX340" fmla="*/ 453077 w 590426"/>
                    <a:gd name="connsiteY340" fmla="*/ 520859 h 624183"/>
                    <a:gd name="connsiteX341" fmla="*/ 451754 w 590426"/>
                    <a:gd name="connsiteY341" fmla="*/ 523300 h 624183"/>
                    <a:gd name="connsiteX342" fmla="*/ 448087 w 590426"/>
                    <a:gd name="connsiteY342" fmla="*/ 533172 h 624183"/>
                    <a:gd name="connsiteX343" fmla="*/ 447054 w 590426"/>
                    <a:gd name="connsiteY343" fmla="*/ 537046 h 624183"/>
                    <a:gd name="connsiteX344" fmla="*/ 446824 w 590426"/>
                    <a:gd name="connsiteY344" fmla="*/ 538916 h 624183"/>
                    <a:gd name="connsiteX345" fmla="*/ 447115 w 590426"/>
                    <a:gd name="connsiteY345" fmla="*/ 540895 h 624183"/>
                    <a:gd name="connsiteX346" fmla="*/ 447577 w 590426"/>
                    <a:gd name="connsiteY346" fmla="*/ 542498 h 624183"/>
                    <a:gd name="connsiteX347" fmla="*/ 448366 w 590426"/>
                    <a:gd name="connsiteY347" fmla="*/ 544489 h 624183"/>
                    <a:gd name="connsiteX348" fmla="*/ 448888 w 590426"/>
                    <a:gd name="connsiteY348" fmla="*/ 546323 h 624183"/>
                    <a:gd name="connsiteX349" fmla="*/ 449859 w 590426"/>
                    <a:gd name="connsiteY349" fmla="*/ 548047 h 624183"/>
                    <a:gd name="connsiteX350" fmla="*/ 451195 w 590426"/>
                    <a:gd name="connsiteY350" fmla="*/ 549189 h 624183"/>
                    <a:gd name="connsiteX351" fmla="*/ 454692 w 590426"/>
                    <a:gd name="connsiteY351" fmla="*/ 551241 h 624183"/>
                    <a:gd name="connsiteX352" fmla="*/ 456064 w 590426"/>
                    <a:gd name="connsiteY352" fmla="*/ 552722 h 624183"/>
                    <a:gd name="connsiteX353" fmla="*/ 455943 w 590426"/>
                    <a:gd name="connsiteY353" fmla="*/ 554592 h 624183"/>
                    <a:gd name="connsiteX354" fmla="*/ 453709 w 590426"/>
                    <a:gd name="connsiteY354" fmla="*/ 556717 h 624183"/>
                    <a:gd name="connsiteX355" fmla="*/ 448147 w 590426"/>
                    <a:gd name="connsiteY355" fmla="*/ 559474 h 624183"/>
                    <a:gd name="connsiteX356" fmla="*/ 443897 w 590426"/>
                    <a:gd name="connsiteY356" fmla="*/ 562594 h 624183"/>
                    <a:gd name="connsiteX357" fmla="*/ 441250 w 590426"/>
                    <a:gd name="connsiteY357" fmla="*/ 564003 h 624183"/>
                    <a:gd name="connsiteX358" fmla="*/ 437231 w 590426"/>
                    <a:gd name="connsiteY358" fmla="*/ 564987 h 624183"/>
                    <a:gd name="connsiteX359" fmla="*/ 429423 w 590426"/>
                    <a:gd name="connsiteY359" fmla="*/ 568338 h 624183"/>
                    <a:gd name="connsiteX360" fmla="*/ 423388 w 590426"/>
                    <a:gd name="connsiteY360" fmla="*/ 576061 h 624183"/>
                    <a:gd name="connsiteX361" fmla="*/ 421846 w 590426"/>
                    <a:gd name="connsiteY361" fmla="*/ 577360 h 624183"/>
                    <a:gd name="connsiteX362" fmla="*/ 419599 w 590426"/>
                    <a:gd name="connsiteY362" fmla="*/ 578016 h 624183"/>
                    <a:gd name="connsiteX363" fmla="*/ 414378 w 590426"/>
                    <a:gd name="connsiteY363" fmla="*/ 577676 h 624183"/>
                    <a:gd name="connsiteX364" fmla="*/ 412022 w 590426"/>
                    <a:gd name="connsiteY364" fmla="*/ 578477 h 624183"/>
                    <a:gd name="connsiteX365" fmla="*/ 408124 w 590426"/>
                    <a:gd name="connsiteY365" fmla="*/ 580457 h 624183"/>
                    <a:gd name="connsiteX366" fmla="*/ 405538 w 590426"/>
                    <a:gd name="connsiteY366" fmla="*/ 581355 h 624183"/>
                    <a:gd name="connsiteX367" fmla="*/ 402320 w 590426"/>
                    <a:gd name="connsiteY367" fmla="*/ 581380 h 624183"/>
                    <a:gd name="connsiteX368" fmla="*/ 396346 w 590426"/>
                    <a:gd name="connsiteY368" fmla="*/ 579400 h 624183"/>
                    <a:gd name="connsiteX369" fmla="*/ 392387 w 590426"/>
                    <a:gd name="connsiteY369" fmla="*/ 579170 h 624183"/>
                    <a:gd name="connsiteX370" fmla="*/ 390262 w 590426"/>
                    <a:gd name="connsiteY370" fmla="*/ 576875 h 624183"/>
                    <a:gd name="connsiteX371" fmla="*/ 389800 w 590426"/>
                    <a:gd name="connsiteY371" fmla="*/ 576134 h 624183"/>
                    <a:gd name="connsiteX372" fmla="*/ 387044 w 590426"/>
                    <a:gd name="connsiteY372" fmla="*/ 569492 h 624183"/>
                    <a:gd name="connsiteX373" fmla="*/ 385842 w 590426"/>
                    <a:gd name="connsiteY373" fmla="*/ 567743 h 624183"/>
                    <a:gd name="connsiteX374" fmla="*/ 381701 w 590426"/>
                    <a:gd name="connsiteY374" fmla="*/ 564440 h 624183"/>
                    <a:gd name="connsiteX375" fmla="*/ 380038 w 590426"/>
                    <a:gd name="connsiteY375" fmla="*/ 563699 h 624183"/>
                    <a:gd name="connsiteX376" fmla="*/ 377281 w 590426"/>
                    <a:gd name="connsiteY376" fmla="*/ 562886 h 624183"/>
                    <a:gd name="connsiteX377" fmla="*/ 375557 w 590426"/>
                    <a:gd name="connsiteY377" fmla="*/ 562570 h 624183"/>
                    <a:gd name="connsiteX378" fmla="*/ 373493 w 590426"/>
                    <a:gd name="connsiteY378" fmla="*/ 562437 h 624183"/>
                    <a:gd name="connsiteX379" fmla="*/ 368441 w 590426"/>
                    <a:gd name="connsiteY379" fmla="*/ 563894 h 624183"/>
                    <a:gd name="connsiteX380" fmla="*/ 362527 w 590426"/>
                    <a:gd name="connsiteY380" fmla="*/ 566650 h 624183"/>
                    <a:gd name="connsiteX381" fmla="*/ 361143 w 590426"/>
                    <a:gd name="connsiteY381" fmla="*/ 568229 h 624183"/>
                    <a:gd name="connsiteX382" fmla="*/ 360633 w 590426"/>
                    <a:gd name="connsiteY382" fmla="*/ 569917 h 624183"/>
                    <a:gd name="connsiteX383" fmla="*/ 360912 w 590426"/>
                    <a:gd name="connsiteY383" fmla="*/ 571641 h 624183"/>
                    <a:gd name="connsiteX384" fmla="*/ 360682 w 590426"/>
                    <a:gd name="connsiteY384" fmla="*/ 573280 h 624183"/>
                    <a:gd name="connsiteX385" fmla="*/ 359370 w 590426"/>
                    <a:gd name="connsiteY385" fmla="*/ 574665 h 624183"/>
                    <a:gd name="connsiteX386" fmla="*/ 357075 w 590426"/>
                    <a:gd name="connsiteY386" fmla="*/ 575126 h 624183"/>
                    <a:gd name="connsiteX387" fmla="*/ 350469 w 590426"/>
                    <a:gd name="connsiteY387" fmla="*/ 573839 h 624183"/>
                    <a:gd name="connsiteX388" fmla="*/ 346450 w 590426"/>
                    <a:gd name="connsiteY388" fmla="*/ 574288 h 624183"/>
                    <a:gd name="connsiteX389" fmla="*/ 343050 w 590426"/>
                    <a:gd name="connsiteY389" fmla="*/ 575527 h 624183"/>
                    <a:gd name="connsiteX390" fmla="*/ 339444 w 590426"/>
                    <a:gd name="connsiteY390" fmla="*/ 576012 h 624183"/>
                    <a:gd name="connsiteX391" fmla="*/ 333979 w 590426"/>
                    <a:gd name="connsiteY391" fmla="*/ 575041 h 624183"/>
                    <a:gd name="connsiteX392" fmla="*/ 328867 w 590426"/>
                    <a:gd name="connsiteY392" fmla="*/ 571932 h 624183"/>
                    <a:gd name="connsiteX393" fmla="*/ 327264 w 590426"/>
                    <a:gd name="connsiteY393" fmla="*/ 571325 h 624183"/>
                    <a:gd name="connsiteX394" fmla="*/ 325491 w 590426"/>
                    <a:gd name="connsiteY394" fmla="*/ 571568 h 624183"/>
                    <a:gd name="connsiteX395" fmla="*/ 321921 w 590426"/>
                    <a:gd name="connsiteY395" fmla="*/ 571277 h 624183"/>
                    <a:gd name="connsiteX396" fmla="*/ 315729 w 590426"/>
                    <a:gd name="connsiteY396" fmla="*/ 568666 h 624183"/>
                    <a:gd name="connsiteX397" fmla="*/ 312571 w 590426"/>
                    <a:gd name="connsiteY397" fmla="*/ 567172 h 624183"/>
                    <a:gd name="connsiteX398" fmla="*/ 310908 w 590426"/>
                    <a:gd name="connsiteY398" fmla="*/ 566881 h 624183"/>
                    <a:gd name="connsiteX399" fmla="*/ 309645 w 590426"/>
                    <a:gd name="connsiteY399" fmla="*/ 567512 h 624183"/>
                    <a:gd name="connsiteX400" fmla="*/ 306998 w 590426"/>
                    <a:gd name="connsiteY400" fmla="*/ 571677 h 624183"/>
                    <a:gd name="connsiteX401" fmla="*/ 302748 w 590426"/>
                    <a:gd name="connsiteY401" fmla="*/ 576705 h 624183"/>
                    <a:gd name="connsiteX402" fmla="*/ 298218 w 590426"/>
                    <a:gd name="connsiteY402" fmla="*/ 584707 h 624183"/>
                    <a:gd name="connsiteX403" fmla="*/ 296725 w 590426"/>
                    <a:gd name="connsiteY403" fmla="*/ 586637 h 624183"/>
                    <a:gd name="connsiteX404" fmla="*/ 292414 w 590426"/>
                    <a:gd name="connsiteY404" fmla="*/ 590195 h 624183"/>
                    <a:gd name="connsiteX405" fmla="*/ 290811 w 590426"/>
                    <a:gd name="connsiteY405" fmla="*/ 591944 h 624183"/>
                    <a:gd name="connsiteX406" fmla="*/ 290629 w 590426"/>
                    <a:gd name="connsiteY406" fmla="*/ 593523 h 624183"/>
                    <a:gd name="connsiteX407" fmla="*/ 290751 w 590426"/>
                    <a:gd name="connsiteY407" fmla="*/ 595223 h 624183"/>
                    <a:gd name="connsiteX408" fmla="*/ 290338 w 590426"/>
                    <a:gd name="connsiteY408" fmla="*/ 596874 h 624183"/>
                    <a:gd name="connsiteX409" fmla="*/ 289026 w 590426"/>
                    <a:gd name="connsiteY409" fmla="*/ 597287 h 624183"/>
                    <a:gd name="connsiteX410" fmla="*/ 287933 w 590426"/>
                    <a:gd name="connsiteY410" fmla="*/ 596910 h 624183"/>
                    <a:gd name="connsiteX411" fmla="*/ 286379 w 590426"/>
                    <a:gd name="connsiteY411" fmla="*/ 596935 h 624183"/>
                    <a:gd name="connsiteX412" fmla="*/ 284485 w 590426"/>
                    <a:gd name="connsiteY412" fmla="*/ 598258 h 624183"/>
                    <a:gd name="connsiteX413" fmla="*/ 281728 w 590426"/>
                    <a:gd name="connsiteY413" fmla="*/ 602800 h 624183"/>
                    <a:gd name="connsiteX414" fmla="*/ 280587 w 590426"/>
                    <a:gd name="connsiteY414" fmla="*/ 605350 h 624183"/>
                    <a:gd name="connsiteX415" fmla="*/ 280417 w 590426"/>
                    <a:gd name="connsiteY415" fmla="*/ 607390 h 624183"/>
                    <a:gd name="connsiteX416" fmla="*/ 281170 w 590426"/>
                    <a:gd name="connsiteY416" fmla="*/ 608677 h 624183"/>
                    <a:gd name="connsiteX417" fmla="*/ 282238 w 590426"/>
                    <a:gd name="connsiteY417" fmla="*/ 610231 h 624183"/>
                    <a:gd name="connsiteX418" fmla="*/ 282991 w 590426"/>
                    <a:gd name="connsiteY418" fmla="*/ 611992 h 624183"/>
                    <a:gd name="connsiteX419" fmla="*/ 282663 w 590426"/>
                    <a:gd name="connsiteY419" fmla="*/ 613765 h 624183"/>
                    <a:gd name="connsiteX420" fmla="*/ 281449 w 590426"/>
                    <a:gd name="connsiteY420" fmla="*/ 614918 h 624183"/>
                    <a:gd name="connsiteX421" fmla="*/ 276337 w 590426"/>
                    <a:gd name="connsiteY421" fmla="*/ 615975 h 624183"/>
                    <a:gd name="connsiteX422" fmla="*/ 272658 w 590426"/>
                    <a:gd name="connsiteY422" fmla="*/ 617978 h 624183"/>
                    <a:gd name="connsiteX423" fmla="*/ 270071 w 590426"/>
                    <a:gd name="connsiteY423" fmla="*/ 617590 h 624183"/>
                    <a:gd name="connsiteX424" fmla="*/ 268930 w 590426"/>
                    <a:gd name="connsiteY424" fmla="*/ 612903 h 624183"/>
                    <a:gd name="connsiteX425" fmla="*/ 268529 w 590426"/>
                    <a:gd name="connsiteY425" fmla="*/ 611664 h 624183"/>
                    <a:gd name="connsiteX426" fmla="*/ 267497 w 590426"/>
                    <a:gd name="connsiteY426" fmla="*/ 609515 h 624183"/>
                    <a:gd name="connsiteX427" fmla="*/ 267266 w 590426"/>
                    <a:gd name="connsiteY427" fmla="*/ 608738 h 624183"/>
                    <a:gd name="connsiteX428" fmla="*/ 267145 w 590426"/>
                    <a:gd name="connsiteY428" fmla="*/ 607742 h 624183"/>
                    <a:gd name="connsiteX429" fmla="*/ 266926 w 590426"/>
                    <a:gd name="connsiteY429" fmla="*/ 606758 h 624183"/>
                    <a:gd name="connsiteX430" fmla="*/ 266113 w 590426"/>
                    <a:gd name="connsiteY430" fmla="*/ 605386 h 624183"/>
                    <a:gd name="connsiteX431" fmla="*/ 264850 w 590426"/>
                    <a:gd name="connsiteY431" fmla="*/ 603953 h 624183"/>
                    <a:gd name="connsiteX432" fmla="*/ 262494 w 590426"/>
                    <a:gd name="connsiteY432" fmla="*/ 601853 h 624183"/>
                    <a:gd name="connsiteX433" fmla="*/ 261753 w 590426"/>
                    <a:gd name="connsiteY433" fmla="*/ 600650 h 624183"/>
                    <a:gd name="connsiteX434" fmla="*/ 261571 w 590426"/>
                    <a:gd name="connsiteY434" fmla="*/ 599837 h 624183"/>
                    <a:gd name="connsiteX435" fmla="*/ 262203 w 590426"/>
                    <a:gd name="connsiteY435" fmla="*/ 598829 h 624183"/>
                    <a:gd name="connsiteX436" fmla="*/ 262445 w 590426"/>
                    <a:gd name="connsiteY436" fmla="*/ 598295 h 624183"/>
                    <a:gd name="connsiteX437" fmla="*/ 262445 w 590426"/>
                    <a:gd name="connsiteY437" fmla="*/ 597578 h 624183"/>
                    <a:gd name="connsiteX438" fmla="*/ 262154 w 590426"/>
                    <a:gd name="connsiteY438" fmla="*/ 596801 h 624183"/>
                    <a:gd name="connsiteX439" fmla="*/ 258766 w 590426"/>
                    <a:gd name="connsiteY439" fmla="*/ 593413 h 624183"/>
                    <a:gd name="connsiteX440" fmla="*/ 258365 w 590426"/>
                    <a:gd name="connsiteY440" fmla="*/ 592345 h 624183"/>
                    <a:gd name="connsiteX441" fmla="*/ 258365 w 590426"/>
                    <a:gd name="connsiteY441" fmla="*/ 591689 h 624183"/>
                    <a:gd name="connsiteX442" fmla="*/ 258766 w 590426"/>
                    <a:gd name="connsiteY442" fmla="*/ 591288 h 624183"/>
                    <a:gd name="connsiteX443" fmla="*/ 259798 w 590426"/>
                    <a:gd name="connsiteY443" fmla="*/ 590827 h 624183"/>
                    <a:gd name="connsiteX444" fmla="*/ 260600 w 590426"/>
                    <a:gd name="connsiteY444" fmla="*/ 590560 h 624183"/>
                    <a:gd name="connsiteX445" fmla="*/ 263477 w 590426"/>
                    <a:gd name="connsiteY445" fmla="*/ 588993 h 624183"/>
                    <a:gd name="connsiteX446" fmla="*/ 264619 w 590426"/>
                    <a:gd name="connsiteY446" fmla="*/ 588180 h 624183"/>
                    <a:gd name="connsiteX447" fmla="*/ 264910 w 590426"/>
                    <a:gd name="connsiteY447" fmla="*/ 587694 h 624183"/>
                    <a:gd name="connsiteX448" fmla="*/ 264971 w 590426"/>
                    <a:gd name="connsiteY448" fmla="*/ 587038 h 624183"/>
                    <a:gd name="connsiteX449" fmla="*/ 264910 w 590426"/>
                    <a:gd name="connsiteY449" fmla="*/ 585545 h 624183"/>
                    <a:gd name="connsiteX450" fmla="*/ 264497 w 590426"/>
                    <a:gd name="connsiteY450" fmla="*/ 582302 h 624183"/>
                    <a:gd name="connsiteX451" fmla="*/ 264558 w 590426"/>
                    <a:gd name="connsiteY451" fmla="*/ 580894 h 624183"/>
                    <a:gd name="connsiteX452" fmla="*/ 264740 w 590426"/>
                    <a:gd name="connsiteY452" fmla="*/ 580117 h 624183"/>
                    <a:gd name="connsiteX453" fmla="*/ 265068 w 590426"/>
                    <a:gd name="connsiteY453" fmla="*/ 579680 h 624183"/>
                    <a:gd name="connsiteX454" fmla="*/ 265542 w 590426"/>
                    <a:gd name="connsiteY454" fmla="*/ 579570 h 624183"/>
                    <a:gd name="connsiteX455" fmla="*/ 266234 w 590426"/>
                    <a:gd name="connsiteY455" fmla="*/ 579631 h 624183"/>
                    <a:gd name="connsiteX456" fmla="*/ 267035 w 590426"/>
                    <a:gd name="connsiteY456" fmla="*/ 579765 h 624183"/>
                    <a:gd name="connsiteX457" fmla="*/ 267667 w 590426"/>
                    <a:gd name="connsiteY457" fmla="*/ 579862 h 624183"/>
                    <a:gd name="connsiteX458" fmla="*/ 268638 w 590426"/>
                    <a:gd name="connsiteY458" fmla="*/ 579862 h 624183"/>
                    <a:gd name="connsiteX459" fmla="*/ 269670 w 590426"/>
                    <a:gd name="connsiteY459" fmla="*/ 579740 h 624183"/>
                    <a:gd name="connsiteX460" fmla="*/ 270363 w 590426"/>
                    <a:gd name="connsiteY460" fmla="*/ 579546 h 624183"/>
                    <a:gd name="connsiteX461" fmla="*/ 270763 w 590426"/>
                    <a:gd name="connsiteY461" fmla="*/ 579279 h 624183"/>
                    <a:gd name="connsiteX462" fmla="*/ 270763 w 590426"/>
                    <a:gd name="connsiteY462" fmla="*/ 578660 h 624183"/>
                    <a:gd name="connsiteX463" fmla="*/ 270363 w 590426"/>
                    <a:gd name="connsiteY463" fmla="*/ 577591 h 624183"/>
                    <a:gd name="connsiteX464" fmla="*/ 269391 w 590426"/>
                    <a:gd name="connsiteY464" fmla="*/ 575782 h 624183"/>
                    <a:gd name="connsiteX465" fmla="*/ 265943 w 590426"/>
                    <a:gd name="connsiteY465" fmla="*/ 571362 h 624183"/>
                    <a:gd name="connsiteX466" fmla="*/ 264279 w 590426"/>
                    <a:gd name="connsiteY466" fmla="*/ 568715 h 624183"/>
                    <a:gd name="connsiteX467" fmla="*/ 263587 w 590426"/>
                    <a:gd name="connsiteY467" fmla="*/ 567342 h 624183"/>
                    <a:gd name="connsiteX468" fmla="*/ 263186 w 590426"/>
                    <a:gd name="connsiteY468" fmla="*/ 565812 h 624183"/>
                    <a:gd name="connsiteX469" fmla="*/ 262907 w 590426"/>
                    <a:gd name="connsiteY469" fmla="*/ 563092 h 624183"/>
                    <a:gd name="connsiteX470" fmla="*/ 262263 w 590426"/>
                    <a:gd name="connsiteY470" fmla="*/ 562060 h 624183"/>
                    <a:gd name="connsiteX471" fmla="*/ 261292 w 590426"/>
                    <a:gd name="connsiteY471" fmla="*/ 561659 h 624183"/>
                    <a:gd name="connsiteX472" fmla="*/ 259798 w 590426"/>
                    <a:gd name="connsiteY472" fmla="*/ 561963 h 624183"/>
                    <a:gd name="connsiteX473" fmla="*/ 257042 w 590426"/>
                    <a:gd name="connsiteY473" fmla="*/ 563153 h 624183"/>
                    <a:gd name="connsiteX474" fmla="*/ 256058 w 590426"/>
                    <a:gd name="connsiteY474" fmla="*/ 563784 h 624183"/>
                    <a:gd name="connsiteX475" fmla="*/ 255487 w 590426"/>
                    <a:gd name="connsiteY475" fmla="*/ 564525 h 624183"/>
                    <a:gd name="connsiteX476" fmla="*/ 255147 w 590426"/>
                    <a:gd name="connsiteY476" fmla="*/ 565266 h 624183"/>
                    <a:gd name="connsiteX477" fmla="*/ 254455 w 590426"/>
                    <a:gd name="connsiteY477" fmla="*/ 569528 h 624183"/>
                    <a:gd name="connsiteX478" fmla="*/ 254176 w 590426"/>
                    <a:gd name="connsiteY478" fmla="*/ 570038 h 624183"/>
                    <a:gd name="connsiteX479" fmla="*/ 253775 w 590426"/>
                    <a:gd name="connsiteY479" fmla="*/ 570245 h 624183"/>
                    <a:gd name="connsiteX480" fmla="*/ 253192 w 590426"/>
                    <a:gd name="connsiteY480" fmla="*/ 570038 h 624183"/>
                    <a:gd name="connsiteX481" fmla="*/ 252379 w 590426"/>
                    <a:gd name="connsiteY481" fmla="*/ 569176 h 624183"/>
                    <a:gd name="connsiteX482" fmla="*/ 251189 w 590426"/>
                    <a:gd name="connsiteY482" fmla="*/ 567561 h 624183"/>
                    <a:gd name="connsiteX483" fmla="*/ 250205 w 590426"/>
                    <a:gd name="connsiteY483" fmla="*/ 566589 h 624183"/>
                    <a:gd name="connsiteX484" fmla="*/ 245785 w 590426"/>
                    <a:gd name="connsiteY484" fmla="*/ 564379 h 624183"/>
                    <a:gd name="connsiteX485" fmla="*/ 244862 w 590426"/>
                    <a:gd name="connsiteY485" fmla="*/ 563262 h 624183"/>
                    <a:gd name="connsiteX486" fmla="*/ 244474 w 590426"/>
                    <a:gd name="connsiteY486" fmla="*/ 561805 h 624183"/>
                    <a:gd name="connsiteX487" fmla="*/ 245045 w 590426"/>
                    <a:gd name="connsiteY487" fmla="*/ 558381 h 624183"/>
                    <a:gd name="connsiteX488" fmla="*/ 244923 w 590426"/>
                    <a:gd name="connsiteY488" fmla="*/ 557385 h 624183"/>
                    <a:gd name="connsiteX489" fmla="*/ 244644 w 590426"/>
                    <a:gd name="connsiteY489" fmla="*/ 556608 h 624183"/>
                    <a:gd name="connsiteX490" fmla="*/ 243612 w 590426"/>
                    <a:gd name="connsiteY490" fmla="*/ 554993 h 624183"/>
                    <a:gd name="connsiteX491" fmla="*/ 243429 w 590426"/>
                    <a:gd name="connsiteY491" fmla="*/ 554568 h 624183"/>
                    <a:gd name="connsiteX492" fmla="*/ 243551 w 590426"/>
                    <a:gd name="connsiteY492" fmla="*/ 553997 h 624183"/>
                    <a:gd name="connsiteX493" fmla="*/ 243952 w 590426"/>
                    <a:gd name="connsiteY493" fmla="*/ 553560 h 624183"/>
                    <a:gd name="connsiteX494" fmla="*/ 244583 w 590426"/>
                    <a:gd name="connsiteY494" fmla="*/ 553074 h 624183"/>
                    <a:gd name="connsiteX495" fmla="*/ 245154 w 590426"/>
                    <a:gd name="connsiteY495" fmla="*/ 552443 h 624183"/>
                    <a:gd name="connsiteX496" fmla="*/ 245615 w 590426"/>
                    <a:gd name="connsiteY496" fmla="*/ 551302 h 624183"/>
                    <a:gd name="connsiteX497" fmla="*/ 245955 w 590426"/>
                    <a:gd name="connsiteY497" fmla="*/ 549711 h 624183"/>
                    <a:gd name="connsiteX498" fmla="*/ 246077 w 590426"/>
                    <a:gd name="connsiteY498" fmla="*/ 547841 h 624183"/>
                    <a:gd name="connsiteX499" fmla="*/ 246077 w 590426"/>
                    <a:gd name="connsiteY499" fmla="*/ 546129 h 624183"/>
                    <a:gd name="connsiteX500" fmla="*/ 245895 w 590426"/>
                    <a:gd name="connsiteY500" fmla="*/ 544538 h 624183"/>
                    <a:gd name="connsiteX501" fmla="*/ 245215 w 590426"/>
                    <a:gd name="connsiteY501" fmla="*/ 543372 h 624183"/>
                    <a:gd name="connsiteX502" fmla="*/ 243952 w 590426"/>
                    <a:gd name="connsiteY502" fmla="*/ 542559 h 624183"/>
                    <a:gd name="connsiteX503" fmla="*/ 242179 w 590426"/>
                    <a:gd name="connsiteY503" fmla="*/ 543275 h 624183"/>
                    <a:gd name="connsiteX504" fmla="*/ 241426 w 590426"/>
                    <a:gd name="connsiteY504" fmla="*/ 544174 h 624183"/>
                    <a:gd name="connsiteX505" fmla="*/ 241025 w 590426"/>
                    <a:gd name="connsiteY505" fmla="*/ 545570 h 624183"/>
                    <a:gd name="connsiteX506" fmla="*/ 241025 w 590426"/>
                    <a:gd name="connsiteY506" fmla="*/ 546699 h 624183"/>
                    <a:gd name="connsiteX507" fmla="*/ 240734 w 590426"/>
                    <a:gd name="connsiteY507" fmla="*/ 548047 h 624183"/>
                    <a:gd name="connsiteX508" fmla="*/ 240382 w 590426"/>
                    <a:gd name="connsiteY508" fmla="*/ 549079 h 624183"/>
                    <a:gd name="connsiteX509" fmla="*/ 239702 w 590426"/>
                    <a:gd name="connsiteY509" fmla="*/ 550075 h 624183"/>
                    <a:gd name="connsiteX510" fmla="*/ 238779 w 590426"/>
                    <a:gd name="connsiteY510" fmla="*/ 550658 h 624183"/>
                    <a:gd name="connsiteX511" fmla="*/ 237285 w 590426"/>
                    <a:gd name="connsiteY511" fmla="*/ 551144 h 624183"/>
                    <a:gd name="connsiteX512" fmla="*/ 234929 w 590426"/>
                    <a:gd name="connsiteY512" fmla="*/ 551581 h 624183"/>
                    <a:gd name="connsiteX513" fmla="*/ 229708 w 590426"/>
                    <a:gd name="connsiteY513" fmla="*/ 553269 h 624183"/>
                    <a:gd name="connsiteX514" fmla="*/ 226891 w 590426"/>
                    <a:gd name="connsiteY514" fmla="*/ 553852 h 624183"/>
                    <a:gd name="connsiteX515" fmla="*/ 225227 w 590426"/>
                    <a:gd name="connsiteY515" fmla="*/ 553791 h 624183"/>
                    <a:gd name="connsiteX516" fmla="*/ 223163 w 590426"/>
                    <a:gd name="connsiteY516" fmla="*/ 552613 h 624183"/>
                    <a:gd name="connsiteX517" fmla="*/ 222301 w 590426"/>
                    <a:gd name="connsiteY517" fmla="*/ 551812 h 624183"/>
                    <a:gd name="connsiteX518" fmla="*/ 221269 w 590426"/>
                    <a:gd name="connsiteY518" fmla="*/ 550682 h 624183"/>
                    <a:gd name="connsiteX519" fmla="*/ 220297 w 590426"/>
                    <a:gd name="connsiteY519" fmla="*/ 549808 h 624183"/>
                    <a:gd name="connsiteX520" fmla="*/ 215877 w 590426"/>
                    <a:gd name="connsiteY520" fmla="*/ 547100 h 624183"/>
                    <a:gd name="connsiteX521" fmla="*/ 215064 w 590426"/>
                    <a:gd name="connsiteY521" fmla="*/ 546262 h 624183"/>
                    <a:gd name="connsiteX522" fmla="*/ 214323 w 590426"/>
                    <a:gd name="connsiteY522" fmla="*/ 545121 h 624183"/>
                    <a:gd name="connsiteX523" fmla="*/ 213910 w 590426"/>
                    <a:gd name="connsiteY523" fmla="*/ 543858 h 624183"/>
                    <a:gd name="connsiteX524" fmla="*/ 213449 w 590426"/>
                    <a:gd name="connsiteY524" fmla="*/ 541526 h 624183"/>
                    <a:gd name="connsiteX525" fmla="*/ 213169 w 590426"/>
                    <a:gd name="connsiteY525" fmla="*/ 540749 h 624183"/>
                    <a:gd name="connsiteX526" fmla="*/ 212477 w 590426"/>
                    <a:gd name="connsiteY526" fmla="*/ 539778 h 624183"/>
                    <a:gd name="connsiteX527" fmla="*/ 210826 w 590426"/>
                    <a:gd name="connsiteY527" fmla="*/ 538345 h 624183"/>
                    <a:gd name="connsiteX528" fmla="*/ 209842 w 590426"/>
                    <a:gd name="connsiteY528" fmla="*/ 537738 h 624183"/>
                    <a:gd name="connsiteX529" fmla="*/ 207948 w 590426"/>
                    <a:gd name="connsiteY529" fmla="*/ 537021 h 624183"/>
                    <a:gd name="connsiteX530" fmla="*/ 198355 w 590426"/>
                    <a:gd name="connsiteY530" fmla="*/ 535382 h 624183"/>
                    <a:gd name="connsiteX531" fmla="*/ 196339 w 590426"/>
                    <a:gd name="connsiteY531" fmla="*/ 534811 h 624183"/>
                    <a:gd name="connsiteX532" fmla="*/ 195489 w 590426"/>
                    <a:gd name="connsiteY532" fmla="*/ 534180 h 624183"/>
                    <a:gd name="connsiteX533" fmla="*/ 194676 w 590426"/>
                    <a:gd name="connsiteY533" fmla="*/ 533294 h 624183"/>
                    <a:gd name="connsiteX534" fmla="*/ 193595 w 590426"/>
                    <a:gd name="connsiteY534" fmla="*/ 531569 h 624183"/>
                    <a:gd name="connsiteX535" fmla="*/ 192963 w 590426"/>
                    <a:gd name="connsiteY535" fmla="*/ 530816 h 624183"/>
                    <a:gd name="connsiteX536" fmla="*/ 191579 w 590426"/>
                    <a:gd name="connsiteY536" fmla="*/ 530537 h 624183"/>
                    <a:gd name="connsiteX537" fmla="*/ 189746 w 590426"/>
                    <a:gd name="connsiteY537" fmla="*/ 530756 h 624183"/>
                    <a:gd name="connsiteX538" fmla="*/ 182399 w 590426"/>
                    <a:gd name="connsiteY538" fmla="*/ 532941 h 624183"/>
                    <a:gd name="connsiteX539" fmla="*/ 178258 w 590426"/>
                    <a:gd name="connsiteY539" fmla="*/ 533403 h 624183"/>
                    <a:gd name="connsiteX540" fmla="*/ 174700 w 590426"/>
                    <a:gd name="connsiteY540" fmla="*/ 533354 h 624183"/>
                    <a:gd name="connsiteX541" fmla="*/ 173425 w 590426"/>
                    <a:gd name="connsiteY541" fmla="*/ 533609 h 624183"/>
                    <a:gd name="connsiteX542" fmla="*/ 171835 w 590426"/>
                    <a:gd name="connsiteY542" fmla="*/ 534241 h 624183"/>
                    <a:gd name="connsiteX543" fmla="*/ 165690 w 590426"/>
                    <a:gd name="connsiteY543" fmla="*/ 538345 h 624183"/>
                    <a:gd name="connsiteX544" fmla="*/ 164598 w 590426"/>
                    <a:gd name="connsiteY544" fmla="*/ 539341 h 624183"/>
                    <a:gd name="connsiteX545" fmla="*/ 163675 w 590426"/>
                    <a:gd name="connsiteY545" fmla="*/ 540519 h 624183"/>
                    <a:gd name="connsiteX546" fmla="*/ 162181 w 590426"/>
                    <a:gd name="connsiteY546" fmla="*/ 543372 h 624183"/>
                    <a:gd name="connsiteX547" fmla="*/ 161270 w 590426"/>
                    <a:gd name="connsiteY547" fmla="*/ 544744 h 624183"/>
                    <a:gd name="connsiteX548" fmla="*/ 160578 w 590426"/>
                    <a:gd name="connsiteY548" fmla="*/ 545376 h 624183"/>
                    <a:gd name="connsiteX549" fmla="*/ 157190 w 590426"/>
                    <a:gd name="connsiteY549" fmla="*/ 545230 h 624183"/>
                    <a:gd name="connsiteX550" fmla="*/ 146905 w 590426"/>
                    <a:gd name="connsiteY550" fmla="*/ 541332 h 624183"/>
                    <a:gd name="connsiteX551" fmla="*/ 135370 w 590426"/>
                    <a:gd name="connsiteY551" fmla="*/ 538564 h 624183"/>
                    <a:gd name="connsiteX552" fmla="*/ 110841 w 590426"/>
                    <a:gd name="connsiteY552" fmla="*/ 535334 h 624183"/>
                    <a:gd name="connsiteX553" fmla="*/ 92978 w 590426"/>
                    <a:gd name="connsiteY553" fmla="*/ 535443 h 624183"/>
                    <a:gd name="connsiteX554" fmla="*/ 22756 w 590426"/>
                    <a:gd name="connsiteY554" fmla="*/ 531861 h 624183"/>
                    <a:gd name="connsiteX555" fmla="*/ 17304 w 590426"/>
                    <a:gd name="connsiteY555" fmla="*/ 530962 h 624183"/>
                    <a:gd name="connsiteX556" fmla="*/ 16854 w 590426"/>
                    <a:gd name="connsiteY556" fmla="*/ 527829 h 624183"/>
                    <a:gd name="connsiteX557" fmla="*/ 16854 w 590426"/>
                    <a:gd name="connsiteY557" fmla="*/ 527756 h 624183"/>
                    <a:gd name="connsiteX558" fmla="*/ 17243 w 590426"/>
                    <a:gd name="connsiteY558" fmla="*/ 526287 h 624183"/>
                    <a:gd name="connsiteX559" fmla="*/ 19429 w 590426"/>
                    <a:gd name="connsiteY559" fmla="*/ 520568 h 624183"/>
                    <a:gd name="connsiteX560" fmla="*/ 32798 w 590426"/>
                    <a:gd name="connsiteY560" fmla="*/ 499500 h 624183"/>
                    <a:gd name="connsiteX561" fmla="*/ 33102 w 590426"/>
                    <a:gd name="connsiteY561" fmla="*/ 498613 h 624183"/>
                    <a:gd name="connsiteX562" fmla="*/ 34025 w 590426"/>
                    <a:gd name="connsiteY562" fmla="*/ 494643 h 624183"/>
                    <a:gd name="connsiteX563" fmla="*/ 34195 w 590426"/>
                    <a:gd name="connsiteY563" fmla="*/ 491170 h 624183"/>
                    <a:gd name="connsiteX564" fmla="*/ 32980 w 590426"/>
                    <a:gd name="connsiteY564" fmla="*/ 487405 h 624183"/>
                    <a:gd name="connsiteX565" fmla="*/ 28499 w 590426"/>
                    <a:gd name="connsiteY565" fmla="*/ 485802 h 624183"/>
                    <a:gd name="connsiteX566" fmla="*/ 28900 w 590426"/>
                    <a:gd name="connsiteY566" fmla="*/ 483107 h 624183"/>
                    <a:gd name="connsiteX567" fmla="*/ 26253 w 590426"/>
                    <a:gd name="connsiteY567" fmla="*/ 474085 h 624183"/>
                    <a:gd name="connsiteX568" fmla="*/ 21967 w 590426"/>
                    <a:gd name="connsiteY568" fmla="*/ 465305 h 624183"/>
                    <a:gd name="connsiteX569" fmla="*/ 18166 w 590426"/>
                    <a:gd name="connsiteY569" fmla="*/ 459962 h 624183"/>
                    <a:gd name="connsiteX570" fmla="*/ 8925 w 590426"/>
                    <a:gd name="connsiteY570" fmla="*/ 455202 h 624183"/>
                    <a:gd name="connsiteX571" fmla="*/ 9496 w 590426"/>
                    <a:gd name="connsiteY571" fmla="*/ 454364 h 624183"/>
                    <a:gd name="connsiteX572" fmla="*/ 10698 w 590426"/>
                    <a:gd name="connsiteY572" fmla="*/ 451147 h 624183"/>
                    <a:gd name="connsiteX573" fmla="*/ 13685 w 590426"/>
                    <a:gd name="connsiteY573" fmla="*/ 448111 h 624183"/>
                    <a:gd name="connsiteX574" fmla="*/ 17425 w 590426"/>
                    <a:gd name="connsiteY574" fmla="*/ 446241 h 624183"/>
                    <a:gd name="connsiteX575" fmla="*/ 20922 w 590426"/>
                    <a:gd name="connsiteY575" fmla="*/ 446581 h 624183"/>
                    <a:gd name="connsiteX576" fmla="*/ 20522 w 590426"/>
                    <a:gd name="connsiteY576" fmla="*/ 445209 h 624183"/>
                    <a:gd name="connsiteX577" fmla="*/ 20121 w 590426"/>
                    <a:gd name="connsiteY577" fmla="*/ 442306 h 624183"/>
                    <a:gd name="connsiteX578" fmla="*/ 19720 w 590426"/>
                    <a:gd name="connsiteY578" fmla="*/ 440959 h 624183"/>
                    <a:gd name="connsiteX579" fmla="*/ 22877 w 590426"/>
                    <a:gd name="connsiteY579" fmla="*/ 441991 h 624183"/>
                    <a:gd name="connsiteX580" fmla="*/ 25221 w 590426"/>
                    <a:gd name="connsiteY580" fmla="*/ 441578 h 624183"/>
                    <a:gd name="connsiteX581" fmla="*/ 27067 w 590426"/>
                    <a:gd name="connsiteY581" fmla="*/ 440145 h 624183"/>
                    <a:gd name="connsiteX582" fmla="*/ 36599 w 590426"/>
                    <a:gd name="connsiteY582" fmla="*/ 427431 h 624183"/>
                    <a:gd name="connsiteX583" fmla="*/ 37752 w 590426"/>
                    <a:gd name="connsiteY583" fmla="*/ 424699 h 624183"/>
                    <a:gd name="connsiteX584" fmla="*/ 39355 w 590426"/>
                    <a:gd name="connsiteY584" fmla="*/ 423096 h 624183"/>
                    <a:gd name="connsiteX585" fmla="*/ 46762 w 590426"/>
                    <a:gd name="connsiteY585" fmla="*/ 421081 h 624183"/>
                    <a:gd name="connsiteX586" fmla="*/ 49288 w 590426"/>
                    <a:gd name="connsiteY586" fmla="*/ 418446 h 624183"/>
                    <a:gd name="connsiteX587" fmla="*/ 50029 w 590426"/>
                    <a:gd name="connsiteY587" fmla="*/ 413479 h 624183"/>
                    <a:gd name="connsiteX588" fmla="*/ 49410 w 590426"/>
                    <a:gd name="connsiteY588" fmla="*/ 409569 h 624183"/>
                    <a:gd name="connsiteX589" fmla="*/ 49227 w 590426"/>
                    <a:gd name="connsiteY589" fmla="*/ 406036 h 624183"/>
                    <a:gd name="connsiteX590" fmla="*/ 51122 w 590426"/>
                    <a:gd name="connsiteY590" fmla="*/ 402138 h 624183"/>
                    <a:gd name="connsiteX591" fmla="*/ 53939 w 590426"/>
                    <a:gd name="connsiteY591" fmla="*/ 398981 h 624183"/>
                    <a:gd name="connsiteX592" fmla="*/ 56477 w 590426"/>
                    <a:gd name="connsiteY592" fmla="*/ 396661 h 624183"/>
                    <a:gd name="connsiteX593" fmla="*/ 59403 w 590426"/>
                    <a:gd name="connsiteY593" fmla="*/ 394779 h 624183"/>
                    <a:gd name="connsiteX594" fmla="*/ 63423 w 590426"/>
                    <a:gd name="connsiteY594" fmla="*/ 392897 h 624183"/>
                    <a:gd name="connsiteX595" fmla="*/ 67721 w 590426"/>
                    <a:gd name="connsiteY595" fmla="*/ 392035 h 624183"/>
                    <a:gd name="connsiteX596" fmla="*/ 69215 w 590426"/>
                    <a:gd name="connsiteY596" fmla="*/ 390942 h 624183"/>
                    <a:gd name="connsiteX597" fmla="*/ 69785 w 590426"/>
                    <a:gd name="connsiteY597" fmla="*/ 388015 h 624183"/>
                    <a:gd name="connsiteX598" fmla="*/ 70417 w 590426"/>
                    <a:gd name="connsiteY598" fmla="*/ 386352 h 624183"/>
                    <a:gd name="connsiteX599" fmla="*/ 73125 w 590426"/>
                    <a:gd name="connsiteY599" fmla="*/ 384373 h 624183"/>
                    <a:gd name="connsiteX600" fmla="*/ 74388 w 590426"/>
                    <a:gd name="connsiteY600" fmla="*/ 380207 h 624183"/>
                    <a:gd name="connsiteX601" fmla="*/ 75808 w 590426"/>
                    <a:gd name="connsiteY601" fmla="*/ 378544 h 624183"/>
                    <a:gd name="connsiteX602" fmla="*/ 78856 w 590426"/>
                    <a:gd name="connsiteY602" fmla="*/ 375982 h 624183"/>
                    <a:gd name="connsiteX603" fmla="*/ 82718 w 590426"/>
                    <a:gd name="connsiteY603" fmla="*/ 370469 h 624183"/>
                    <a:gd name="connsiteX604" fmla="*/ 84260 w 590426"/>
                    <a:gd name="connsiteY604" fmla="*/ 369012 h 624183"/>
                    <a:gd name="connsiteX605" fmla="*/ 87138 w 590426"/>
                    <a:gd name="connsiteY605" fmla="*/ 366996 h 624183"/>
                    <a:gd name="connsiteX606" fmla="*/ 88510 w 590426"/>
                    <a:gd name="connsiteY606" fmla="*/ 365478 h 624183"/>
                    <a:gd name="connsiteX607" fmla="*/ 88340 w 590426"/>
                    <a:gd name="connsiteY607" fmla="*/ 364009 h 624183"/>
                    <a:gd name="connsiteX608" fmla="*/ 86676 w 590426"/>
                    <a:gd name="connsiteY608" fmla="*/ 359941 h 624183"/>
                    <a:gd name="connsiteX609" fmla="*/ 87308 w 590426"/>
                    <a:gd name="connsiteY609" fmla="*/ 359079 h 624183"/>
                    <a:gd name="connsiteX610" fmla="*/ 91036 w 590426"/>
                    <a:gd name="connsiteY610" fmla="*/ 357986 h 624183"/>
                    <a:gd name="connsiteX611" fmla="*/ 94824 w 590426"/>
                    <a:gd name="connsiteY611" fmla="*/ 355193 h 624183"/>
                    <a:gd name="connsiteX612" fmla="*/ 96901 w 590426"/>
                    <a:gd name="connsiteY612" fmla="*/ 351514 h 624183"/>
                    <a:gd name="connsiteX613" fmla="*/ 95516 w 590426"/>
                    <a:gd name="connsiteY613" fmla="*/ 347786 h 624183"/>
                    <a:gd name="connsiteX614" fmla="*/ 96779 w 590426"/>
                    <a:gd name="connsiteY614" fmla="*/ 345637 h 624183"/>
                    <a:gd name="connsiteX615" fmla="*/ 98394 w 590426"/>
                    <a:gd name="connsiteY615" fmla="*/ 343791 h 624183"/>
                    <a:gd name="connsiteX616" fmla="*/ 100337 w 590426"/>
                    <a:gd name="connsiteY616" fmla="*/ 342504 h 624183"/>
                    <a:gd name="connsiteX617" fmla="*/ 102754 w 590426"/>
                    <a:gd name="connsiteY617" fmla="*/ 342054 h 624183"/>
                    <a:gd name="connsiteX618" fmla="*/ 104818 w 590426"/>
                    <a:gd name="connsiteY618" fmla="*/ 342212 h 624183"/>
                    <a:gd name="connsiteX619" fmla="*/ 109699 w 590426"/>
                    <a:gd name="connsiteY619" fmla="*/ 343572 h 624183"/>
                    <a:gd name="connsiteX620" fmla="*/ 113767 w 590426"/>
                    <a:gd name="connsiteY620" fmla="*/ 343852 h 624183"/>
                    <a:gd name="connsiteX621" fmla="*/ 115261 w 590426"/>
                    <a:gd name="connsiteY621" fmla="*/ 342212 h 624183"/>
                    <a:gd name="connsiteX622" fmla="*/ 116014 w 590426"/>
                    <a:gd name="connsiteY622" fmla="*/ 339322 h 624183"/>
                    <a:gd name="connsiteX623" fmla="*/ 118078 w 590426"/>
                    <a:gd name="connsiteY623" fmla="*/ 335764 h 624183"/>
                    <a:gd name="connsiteX624" fmla="*/ 121344 w 590426"/>
                    <a:gd name="connsiteY624" fmla="*/ 332887 h 624183"/>
                    <a:gd name="connsiteX625" fmla="*/ 124514 w 590426"/>
                    <a:gd name="connsiteY625" fmla="*/ 331393 h 624183"/>
                    <a:gd name="connsiteX626" fmla="*/ 128011 w 590426"/>
                    <a:gd name="connsiteY626" fmla="*/ 330847 h 624183"/>
                    <a:gd name="connsiteX627" fmla="*/ 132212 w 590426"/>
                    <a:gd name="connsiteY627" fmla="*/ 330761 h 624183"/>
                    <a:gd name="connsiteX628" fmla="*/ 135892 w 590426"/>
                    <a:gd name="connsiteY628" fmla="*/ 329535 h 624183"/>
                    <a:gd name="connsiteX629" fmla="*/ 138818 w 590426"/>
                    <a:gd name="connsiteY629" fmla="*/ 326681 h 624183"/>
                    <a:gd name="connsiteX630" fmla="*/ 141453 w 590426"/>
                    <a:gd name="connsiteY630" fmla="*/ 323415 h 624183"/>
                    <a:gd name="connsiteX631" fmla="*/ 144319 w 590426"/>
                    <a:gd name="connsiteY631" fmla="*/ 320889 h 624183"/>
                    <a:gd name="connsiteX632" fmla="*/ 144319 w 590426"/>
                    <a:gd name="connsiteY632" fmla="*/ 316603 h 624183"/>
                    <a:gd name="connsiteX633" fmla="*/ 147197 w 590426"/>
                    <a:gd name="connsiteY633" fmla="*/ 312960 h 624183"/>
                    <a:gd name="connsiteX634" fmla="*/ 151204 w 590426"/>
                    <a:gd name="connsiteY634" fmla="*/ 310094 h 624183"/>
                    <a:gd name="connsiteX635" fmla="*/ 162072 w 590426"/>
                    <a:gd name="connsiteY635" fmla="*/ 304460 h 624183"/>
                    <a:gd name="connsiteX636" fmla="*/ 160457 w 590426"/>
                    <a:gd name="connsiteY636" fmla="*/ 302541 h 624183"/>
                    <a:gd name="connsiteX637" fmla="*/ 157020 w 590426"/>
                    <a:gd name="connsiteY637" fmla="*/ 299554 h 624183"/>
                    <a:gd name="connsiteX638" fmla="*/ 154203 w 590426"/>
                    <a:gd name="connsiteY638" fmla="*/ 297951 h 624183"/>
                    <a:gd name="connsiteX639" fmla="*/ 150463 w 590426"/>
                    <a:gd name="connsiteY639" fmla="*/ 297854 h 624183"/>
                    <a:gd name="connsiteX640" fmla="*/ 142255 w 590426"/>
                    <a:gd name="connsiteY640" fmla="*/ 299263 h 624183"/>
                    <a:gd name="connsiteX641" fmla="*/ 139146 w 590426"/>
                    <a:gd name="connsiteY641" fmla="*/ 297976 h 624183"/>
                    <a:gd name="connsiteX642" fmla="*/ 136681 w 590426"/>
                    <a:gd name="connsiteY642" fmla="*/ 295049 h 624183"/>
                    <a:gd name="connsiteX643" fmla="*/ 135078 w 590426"/>
                    <a:gd name="connsiteY643" fmla="*/ 292463 h 624183"/>
                    <a:gd name="connsiteX644" fmla="*/ 134094 w 590426"/>
                    <a:gd name="connsiteY644" fmla="*/ 289512 h 624183"/>
                    <a:gd name="connsiteX645" fmla="*/ 133463 w 590426"/>
                    <a:gd name="connsiteY645" fmla="*/ 285517 h 624183"/>
                    <a:gd name="connsiteX646" fmla="*/ 133973 w 590426"/>
                    <a:gd name="connsiteY646" fmla="*/ 281328 h 624183"/>
                    <a:gd name="connsiteX647" fmla="*/ 136972 w 590426"/>
                    <a:gd name="connsiteY647" fmla="*/ 273107 h 624183"/>
                    <a:gd name="connsiteX648" fmla="*/ 137021 w 590426"/>
                    <a:gd name="connsiteY648" fmla="*/ 263842 h 624183"/>
                    <a:gd name="connsiteX649" fmla="*/ 138357 w 590426"/>
                    <a:gd name="connsiteY649" fmla="*/ 259070 h 624183"/>
                    <a:gd name="connsiteX650" fmla="*/ 145703 w 590426"/>
                    <a:gd name="connsiteY650" fmla="*/ 241244 h 624183"/>
                    <a:gd name="connsiteX651" fmla="*/ 147998 w 590426"/>
                    <a:gd name="connsiteY651" fmla="*/ 237686 h 624183"/>
                    <a:gd name="connsiteX652" fmla="*/ 151046 w 590426"/>
                    <a:gd name="connsiteY652" fmla="*/ 234031 h 624183"/>
                    <a:gd name="connsiteX653" fmla="*/ 153280 w 590426"/>
                    <a:gd name="connsiteY653" fmla="*/ 230704 h 624183"/>
                    <a:gd name="connsiteX654" fmla="*/ 154252 w 590426"/>
                    <a:gd name="connsiteY654" fmla="*/ 226830 h 624183"/>
                    <a:gd name="connsiteX655" fmla="*/ 153802 w 590426"/>
                    <a:gd name="connsiteY655" fmla="*/ 222896 h 624183"/>
                    <a:gd name="connsiteX656" fmla="*/ 148120 w 590426"/>
                    <a:gd name="connsiteY656" fmla="*/ 214687 h 624183"/>
                    <a:gd name="connsiteX657" fmla="*/ 142716 w 590426"/>
                    <a:gd name="connsiteY657" fmla="*/ 195052 h 624183"/>
                    <a:gd name="connsiteX658" fmla="*/ 132212 w 590426"/>
                    <a:gd name="connsiteY658" fmla="*/ 176850 h 624183"/>
                    <a:gd name="connsiteX659" fmla="*/ 130318 w 590426"/>
                    <a:gd name="connsiteY659" fmla="*/ 174482 h 624183"/>
                    <a:gd name="connsiteX660" fmla="*/ 130889 w 590426"/>
                    <a:gd name="connsiteY660" fmla="*/ 173802 h 624183"/>
                    <a:gd name="connsiteX661" fmla="*/ 132904 w 590426"/>
                    <a:gd name="connsiteY661" fmla="*/ 170475 h 624183"/>
                    <a:gd name="connsiteX662" fmla="*/ 133293 w 590426"/>
                    <a:gd name="connsiteY662" fmla="*/ 170183 h 624183"/>
                    <a:gd name="connsiteX663" fmla="*/ 134787 w 590426"/>
                    <a:gd name="connsiteY663" fmla="*/ 169528 h 624183"/>
                    <a:gd name="connsiteX664" fmla="*/ 135309 w 590426"/>
                    <a:gd name="connsiteY664" fmla="*/ 169066 h 624183"/>
                    <a:gd name="connsiteX665" fmla="*/ 135710 w 590426"/>
                    <a:gd name="connsiteY665" fmla="*/ 168143 h 624183"/>
                    <a:gd name="connsiteX666" fmla="*/ 136220 w 590426"/>
                    <a:gd name="connsiteY666" fmla="*/ 165678 h 624183"/>
                    <a:gd name="connsiteX667" fmla="*/ 136632 w 590426"/>
                    <a:gd name="connsiteY667" fmla="*/ 164670 h 624183"/>
                    <a:gd name="connsiteX668" fmla="*/ 138065 w 590426"/>
                    <a:gd name="connsiteY668" fmla="*/ 162752 h 624183"/>
                    <a:gd name="connsiteX669" fmla="*/ 138867 w 590426"/>
                    <a:gd name="connsiteY669" fmla="*/ 162060 h 624183"/>
                    <a:gd name="connsiteX670" fmla="*/ 139207 w 590426"/>
                    <a:gd name="connsiteY670" fmla="*/ 161112 h 624183"/>
                    <a:gd name="connsiteX671" fmla="*/ 139328 w 590426"/>
                    <a:gd name="connsiteY671" fmla="*/ 158356 h 624183"/>
                    <a:gd name="connsiteX672" fmla="*/ 139960 w 590426"/>
                    <a:gd name="connsiteY672" fmla="*/ 153790 h 624183"/>
                    <a:gd name="connsiteX673" fmla="*/ 141745 w 590426"/>
                    <a:gd name="connsiteY673" fmla="*/ 150463 h 624183"/>
                    <a:gd name="connsiteX674" fmla="*/ 144598 w 590426"/>
                    <a:gd name="connsiteY674" fmla="*/ 147646 h 624183"/>
                    <a:gd name="connsiteX675" fmla="*/ 158745 w 590426"/>
                    <a:gd name="connsiteY675" fmla="*/ 137252 h 624183"/>
                    <a:gd name="connsiteX676" fmla="*/ 161780 w 590426"/>
                    <a:gd name="connsiteY676" fmla="*/ 136195 h 624183"/>
                    <a:gd name="connsiteX677" fmla="*/ 164197 w 590426"/>
                    <a:gd name="connsiteY677" fmla="*/ 134410 h 624183"/>
                    <a:gd name="connsiteX678" fmla="*/ 169467 w 590426"/>
                    <a:gd name="connsiteY678" fmla="*/ 124842 h 624183"/>
                    <a:gd name="connsiteX679" fmla="*/ 181586 w 590426"/>
                    <a:gd name="connsiteY679" fmla="*/ 127173 h 624183"/>
                    <a:gd name="connsiteX680" fmla="*/ 185496 w 590426"/>
                    <a:gd name="connsiteY680" fmla="*/ 126372 h 624183"/>
                    <a:gd name="connsiteX681" fmla="*/ 189005 w 590426"/>
                    <a:gd name="connsiteY681" fmla="*/ 120980 h 624183"/>
                    <a:gd name="connsiteX682" fmla="*/ 190656 w 590426"/>
                    <a:gd name="connsiteY682" fmla="*/ 113706 h 624183"/>
                    <a:gd name="connsiteX683" fmla="*/ 193935 w 590426"/>
                    <a:gd name="connsiteY683" fmla="*/ 109201 h 624183"/>
                    <a:gd name="connsiteX684" fmla="*/ 202265 w 590426"/>
                    <a:gd name="connsiteY684" fmla="*/ 112067 h 624183"/>
                    <a:gd name="connsiteX685" fmla="*/ 205252 w 590426"/>
                    <a:gd name="connsiteY685" fmla="*/ 108485 h 624183"/>
                    <a:gd name="connsiteX686" fmla="*/ 208980 w 590426"/>
                    <a:gd name="connsiteY686" fmla="*/ 107854 h 624183"/>
                    <a:gd name="connsiteX687" fmla="*/ 213169 w 590426"/>
                    <a:gd name="connsiteY687" fmla="*/ 108291 h 624183"/>
                    <a:gd name="connsiteX688" fmla="*/ 217771 w 590426"/>
                    <a:gd name="connsiteY688" fmla="*/ 107793 h 624183"/>
                    <a:gd name="connsiteX689" fmla="*/ 220054 w 590426"/>
                    <a:gd name="connsiteY689" fmla="*/ 106615 h 624183"/>
                    <a:gd name="connsiteX690" fmla="*/ 221208 w 590426"/>
                    <a:gd name="connsiteY690" fmla="*/ 105146 h 624183"/>
                    <a:gd name="connsiteX691" fmla="*/ 222009 w 590426"/>
                    <a:gd name="connsiteY691" fmla="*/ 103373 h 624183"/>
                    <a:gd name="connsiteX692" fmla="*/ 223454 w 590426"/>
                    <a:gd name="connsiteY692" fmla="*/ 101333 h 624183"/>
                    <a:gd name="connsiteX693" fmla="*/ 225227 w 590426"/>
                    <a:gd name="connsiteY693" fmla="*/ 100483 h 624183"/>
                    <a:gd name="connsiteX694" fmla="*/ 229817 w 590426"/>
                    <a:gd name="connsiteY694" fmla="*/ 100786 h 624183"/>
                    <a:gd name="connsiteX695" fmla="*/ 231724 w 590426"/>
                    <a:gd name="connsiteY695" fmla="*/ 100677 h 624183"/>
                    <a:gd name="connsiteX696" fmla="*/ 230279 w 590426"/>
                    <a:gd name="connsiteY696" fmla="*/ 94788 h 624183"/>
                    <a:gd name="connsiteX697" fmla="*/ 233727 w 590426"/>
                    <a:gd name="connsiteY697" fmla="*/ 94108 h 624183"/>
                    <a:gd name="connsiteX698" fmla="*/ 245215 w 590426"/>
                    <a:gd name="connsiteY698" fmla="*/ 98261 h 624183"/>
                    <a:gd name="connsiteX699" fmla="*/ 246769 w 590426"/>
                    <a:gd name="connsiteY699" fmla="*/ 98346 h 624183"/>
                    <a:gd name="connsiteX700" fmla="*/ 248372 w 590426"/>
                    <a:gd name="connsiteY700" fmla="*/ 97629 h 624183"/>
                    <a:gd name="connsiteX701" fmla="*/ 250375 w 590426"/>
                    <a:gd name="connsiteY701" fmla="*/ 95711 h 624183"/>
                    <a:gd name="connsiteX702" fmla="*/ 251990 w 590426"/>
                    <a:gd name="connsiteY702" fmla="*/ 95043 h 624183"/>
                    <a:gd name="connsiteX703" fmla="*/ 256362 w 590426"/>
                    <a:gd name="connsiteY703" fmla="*/ 96196 h 624183"/>
                    <a:gd name="connsiteX704" fmla="*/ 258705 w 590426"/>
                    <a:gd name="connsiteY704" fmla="*/ 96427 h 624183"/>
                    <a:gd name="connsiteX705" fmla="*/ 258535 w 590426"/>
                    <a:gd name="connsiteY705" fmla="*/ 91667 h 624183"/>
                    <a:gd name="connsiteX706" fmla="*/ 262785 w 590426"/>
                    <a:gd name="connsiteY706" fmla="*/ 87733 h 624183"/>
                    <a:gd name="connsiteX707" fmla="*/ 268529 w 590426"/>
                    <a:gd name="connsiteY707" fmla="*/ 84940 h 624183"/>
                    <a:gd name="connsiteX708" fmla="*/ 272949 w 590426"/>
                    <a:gd name="connsiteY708" fmla="*/ 83507 h 624183"/>
                    <a:gd name="connsiteX709" fmla="*/ 275475 w 590426"/>
                    <a:gd name="connsiteY709" fmla="*/ 83094 h 624183"/>
                    <a:gd name="connsiteX710" fmla="*/ 281328 w 590426"/>
                    <a:gd name="connsiteY710" fmla="*/ 83507 h 624183"/>
                    <a:gd name="connsiteX711" fmla="*/ 281971 w 590426"/>
                    <a:gd name="connsiteY711" fmla="*/ 81236 h 624183"/>
                    <a:gd name="connsiteX712" fmla="*/ 283914 w 590426"/>
                    <a:gd name="connsiteY712" fmla="*/ 74145 h 624183"/>
                    <a:gd name="connsiteX713" fmla="*/ 285408 w 590426"/>
                    <a:gd name="connsiteY713" fmla="*/ 70648 h 624183"/>
                    <a:gd name="connsiteX714" fmla="*/ 291431 w 590426"/>
                    <a:gd name="connsiteY714" fmla="*/ 64127 h 624183"/>
                    <a:gd name="connsiteX715" fmla="*/ 293386 w 590426"/>
                    <a:gd name="connsiteY715" fmla="*/ 60023 h 624183"/>
                    <a:gd name="connsiteX716" fmla="*/ 292244 w 590426"/>
                    <a:gd name="connsiteY716" fmla="*/ 55275 h 624183"/>
                    <a:gd name="connsiteX717" fmla="*/ 287351 w 590426"/>
                    <a:gd name="connsiteY717" fmla="*/ 49458 h 624183"/>
                    <a:gd name="connsiteX718" fmla="*/ 282020 w 590426"/>
                    <a:gd name="connsiteY718" fmla="*/ 45293 h 624183"/>
                    <a:gd name="connsiteX719" fmla="*/ 287411 w 590426"/>
                    <a:gd name="connsiteY719" fmla="*/ 43715 h 624183"/>
                    <a:gd name="connsiteX720" fmla="*/ 299311 w 590426"/>
                    <a:gd name="connsiteY720" fmla="*/ 44637 h 624183"/>
                    <a:gd name="connsiteX721" fmla="*/ 303731 w 590426"/>
                    <a:gd name="connsiteY721" fmla="*/ 42452 h 624183"/>
                    <a:gd name="connsiteX722" fmla="*/ 305334 w 590426"/>
                    <a:gd name="connsiteY722" fmla="*/ 40788 h 624183"/>
                    <a:gd name="connsiteX723" fmla="*/ 307981 w 590426"/>
                    <a:gd name="connsiteY723" fmla="*/ 39501 h 624183"/>
                    <a:gd name="connsiteX724" fmla="*/ 308953 w 590426"/>
                    <a:gd name="connsiteY724" fmla="*/ 39574 h 624183"/>
                    <a:gd name="connsiteX725" fmla="*/ 309414 w 590426"/>
                    <a:gd name="connsiteY725" fmla="*/ 40958 h 624183"/>
                    <a:gd name="connsiteX726" fmla="*/ 308953 w 590426"/>
                    <a:gd name="connsiteY726" fmla="*/ 44492 h 624183"/>
                    <a:gd name="connsiteX727" fmla="*/ 309475 w 590426"/>
                    <a:gd name="connsiteY727" fmla="*/ 45718 h 624183"/>
                    <a:gd name="connsiteX728" fmla="*/ 310726 w 590426"/>
                    <a:gd name="connsiteY728" fmla="*/ 47042 h 624183"/>
                    <a:gd name="connsiteX729" fmla="*/ 313264 w 590426"/>
                    <a:gd name="connsiteY729" fmla="*/ 48329 h 624183"/>
                    <a:gd name="connsiteX730" fmla="*/ 314988 w 590426"/>
                    <a:gd name="connsiteY730" fmla="*/ 49519 h 624183"/>
                    <a:gd name="connsiteX731" fmla="*/ 316239 w 590426"/>
                    <a:gd name="connsiteY731" fmla="*/ 50490 h 624183"/>
                    <a:gd name="connsiteX732" fmla="*/ 320319 w 590426"/>
                    <a:gd name="connsiteY732" fmla="*/ 51923 h 624183"/>
                    <a:gd name="connsiteX733" fmla="*/ 326985 w 590426"/>
                    <a:gd name="connsiteY733" fmla="*/ 42622 h 624183"/>
                    <a:gd name="connsiteX734" fmla="*/ 333591 w 590426"/>
                    <a:gd name="connsiteY734" fmla="*/ 36477 h 624183"/>
                    <a:gd name="connsiteX735" fmla="*/ 340828 w 590426"/>
                    <a:gd name="connsiteY735" fmla="*/ 32142 h 624183"/>
                    <a:gd name="connsiteX736" fmla="*/ 354076 w 590426"/>
                    <a:gd name="connsiteY736" fmla="*/ 31219 h 624183"/>
                    <a:gd name="connsiteX737" fmla="*/ 357015 w 590426"/>
                    <a:gd name="connsiteY737" fmla="*/ 29932 h 624183"/>
                    <a:gd name="connsiteX738" fmla="*/ 358447 w 590426"/>
                    <a:gd name="connsiteY738" fmla="*/ 28524 h 624183"/>
                    <a:gd name="connsiteX739" fmla="*/ 361714 w 590426"/>
                    <a:gd name="connsiteY739" fmla="*/ 26144 h 624183"/>
                    <a:gd name="connsiteX740" fmla="*/ 362867 w 590426"/>
                    <a:gd name="connsiteY740" fmla="*/ 25027 h 624183"/>
                    <a:gd name="connsiteX741" fmla="*/ 363450 w 590426"/>
                    <a:gd name="connsiteY741" fmla="*/ 23436 h 624183"/>
                    <a:gd name="connsiteX742" fmla="*/ 364240 w 590426"/>
                    <a:gd name="connsiteY742" fmla="*/ 19538 h 624183"/>
                    <a:gd name="connsiteX743" fmla="*/ 365393 w 590426"/>
                    <a:gd name="connsiteY743" fmla="*/ 17765 h 624183"/>
                    <a:gd name="connsiteX744" fmla="*/ 375678 w 590426"/>
                    <a:gd name="connsiteY744" fmla="*/ 14256 h 624183"/>
                    <a:gd name="connsiteX745" fmla="*/ 379467 w 590426"/>
                    <a:gd name="connsiteY745" fmla="*/ 11414 h 624183"/>
                    <a:gd name="connsiteX746" fmla="*/ 381470 w 590426"/>
                    <a:gd name="connsiteY746" fmla="*/ 10783 h 624183"/>
                    <a:gd name="connsiteX747" fmla="*/ 383413 w 590426"/>
                    <a:gd name="connsiteY747" fmla="*/ 8974 h 624183"/>
                    <a:gd name="connsiteX748" fmla="*/ 384968 w 590426"/>
                    <a:gd name="connsiteY748" fmla="*/ 6849 h 624183"/>
                    <a:gd name="connsiteX749" fmla="*/ 382466 w 590426"/>
                    <a:gd name="connsiteY749" fmla="*/ 0 h 624183"/>
                    <a:gd name="connsiteX750" fmla="*/ 380074 w 590426"/>
                    <a:gd name="connsiteY750" fmla="*/ 3266 h 624183"/>
                    <a:gd name="connsiteX751" fmla="*/ 378848 w 590426"/>
                    <a:gd name="connsiteY751" fmla="*/ 4930 h 624183"/>
                    <a:gd name="connsiteX752" fmla="*/ 378325 w 590426"/>
                    <a:gd name="connsiteY752" fmla="*/ 5416 h 624183"/>
                    <a:gd name="connsiteX753" fmla="*/ 377621 w 590426"/>
                    <a:gd name="connsiteY753" fmla="*/ 5646 h 624183"/>
                    <a:gd name="connsiteX754" fmla="*/ 376638 w 590426"/>
                    <a:gd name="connsiteY754" fmla="*/ 5950 h 624183"/>
                    <a:gd name="connsiteX755" fmla="*/ 375812 w 590426"/>
                    <a:gd name="connsiteY755" fmla="*/ 6569 h 624183"/>
                    <a:gd name="connsiteX756" fmla="*/ 372788 w 590426"/>
                    <a:gd name="connsiteY756" fmla="*/ 8828 h 624183"/>
                    <a:gd name="connsiteX757" fmla="*/ 363414 w 590426"/>
                    <a:gd name="connsiteY757" fmla="*/ 12034 h 624183"/>
                    <a:gd name="connsiteX758" fmla="*/ 361422 w 590426"/>
                    <a:gd name="connsiteY758" fmla="*/ 12714 h 624183"/>
                    <a:gd name="connsiteX759" fmla="*/ 360281 w 590426"/>
                    <a:gd name="connsiteY759" fmla="*/ 14487 h 624183"/>
                    <a:gd name="connsiteX760" fmla="*/ 359127 w 590426"/>
                    <a:gd name="connsiteY760" fmla="*/ 16259 h 624183"/>
                    <a:gd name="connsiteX761" fmla="*/ 358496 w 590426"/>
                    <a:gd name="connsiteY761" fmla="*/ 17231 h 624183"/>
                    <a:gd name="connsiteX762" fmla="*/ 358265 w 590426"/>
                    <a:gd name="connsiteY762" fmla="*/ 18360 h 624183"/>
                    <a:gd name="connsiteX763" fmla="*/ 357610 w 590426"/>
                    <a:gd name="connsiteY763" fmla="*/ 21639 h 624183"/>
                    <a:gd name="connsiteX764" fmla="*/ 354853 w 590426"/>
                    <a:gd name="connsiteY764" fmla="*/ 23642 h 624183"/>
                    <a:gd name="connsiteX765" fmla="*/ 354489 w 590426"/>
                    <a:gd name="connsiteY765" fmla="*/ 23909 h 624183"/>
                    <a:gd name="connsiteX766" fmla="*/ 354173 w 590426"/>
                    <a:gd name="connsiteY766" fmla="*/ 24225 h 624183"/>
                    <a:gd name="connsiteX767" fmla="*/ 353529 w 590426"/>
                    <a:gd name="connsiteY767" fmla="*/ 24857 h 624183"/>
                    <a:gd name="connsiteX768" fmla="*/ 352607 w 590426"/>
                    <a:gd name="connsiteY768" fmla="*/ 25233 h 624183"/>
                    <a:gd name="connsiteX769" fmla="*/ 340403 w 590426"/>
                    <a:gd name="connsiteY769" fmla="*/ 26083 h 624183"/>
                    <a:gd name="connsiteX770" fmla="*/ 338946 w 590426"/>
                    <a:gd name="connsiteY770" fmla="*/ 26192 h 624183"/>
                    <a:gd name="connsiteX771" fmla="*/ 337695 w 590426"/>
                    <a:gd name="connsiteY771" fmla="*/ 26945 h 624183"/>
                    <a:gd name="connsiteX772" fmla="*/ 330458 w 590426"/>
                    <a:gd name="connsiteY772" fmla="*/ 31280 h 624183"/>
                    <a:gd name="connsiteX773" fmla="*/ 329911 w 590426"/>
                    <a:gd name="connsiteY773" fmla="*/ 31608 h 624183"/>
                    <a:gd name="connsiteX774" fmla="*/ 329450 w 590426"/>
                    <a:gd name="connsiteY774" fmla="*/ 32045 h 624183"/>
                    <a:gd name="connsiteX775" fmla="*/ 322844 w 590426"/>
                    <a:gd name="connsiteY775" fmla="*/ 38190 h 624183"/>
                    <a:gd name="connsiteX776" fmla="*/ 322395 w 590426"/>
                    <a:gd name="connsiteY776" fmla="*/ 38602 h 624183"/>
                    <a:gd name="connsiteX777" fmla="*/ 322043 w 590426"/>
                    <a:gd name="connsiteY777" fmla="*/ 39100 h 624183"/>
                    <a:gd name="connsiteX778" fmla="*/ 318230 w 590426"/>
                    <a:gd name="connsiteY778" fmla="*/ 44419 h 624183"/>
                    <a:gd name="connsiteX779" fmla="*/ 316688 w 590426"/>
                    <a:gd name="connsiteY779" fmla="*/ 43350 h 624183"/>
                    <a:gd name="connsiteX780" fmla="*/ 316360 w 590426"/>
                    <a:gd name="connsiteY780" fmla="*/ 43120 h 624183"/>
                    <a:gd name="connsiteX781" fmla="*/ 316008 w 590426"/>
                    <a:gd name="connsiteY781" fmla="*/ 42937 h 624183"/>
                    <a:gd name="connsiteX782" fmla="*/ 315316 w 590426"/>
                    <a:gd name="connsiteY782" fmla="*/ 42585 h 624183"/>
                    <a:gd name="connsiteX783" fmla="*/ 315425 w 590426"/>
                    <a:gd name="connsiteY783" fmla="*/ 41760 h 624183"/>
                    <a:gd name="connsiteX784" fmla="*/ 315607 w 590426"/>
                    <a:gd name="connsiteY784" fmla="*/ 40375 h 624183"/>
                    <a:gd name="connsiteX785" fmla="*/ 315158 w 590426"/>
                    <a:gd name="connsiteY785" fmla="*/ 39052 h 624183"/>
                    <a:gd name="connsiteX786" fmla="*/ 314696 w 590426"/>
                    <a:gd name="connsiteY786" fmla="*/ 37667 h 624183"/>
                    <a:gd name="connsiteX787" fmla="*/ 313421 w 590426"/>
                    <a:gd name="connsiteY787" fmla="*/ 33842 h 624183"/>
                    <a:gd name="connsiteX788" fmla="*/ 309390 w 590426"/>
                    <a:gd name="connsiteY788" fmla="*/ 33551 h 624183"/>
                    <a:gd name="connsiteX789" fmla="*/ 308419 w 590426"/>
                    <a:gd name="connsiteY789" fmla="*/ 33478 h 624183"/>
                    <a:gd name="connsiteX790" fmla="*/ 306791 w 590426"/>
                    <a:gd name="connsiteY790" fmla="*/ 33357 h 624183"/>
                    <a:gd name="connsiteX791" fmla="*/ 305322 w 590426"/>
                    <a:gd name="connsiteY791" fmla="*/ 34073 h 624183"/>
                    <a:gd name="connsiteX792" fmla="*/ 302675 w 590426"/>
                    <a:gd name="connsiteY792" fmla="*/ 35360 h 624183"/>
                    <a:gd name="connsiteX793" fmla="*/ 301703 w 590426"/>
                    <a:gd name="connsiteY793" fmla="*/ 35834 h 624183"/>
                    <a:gd name="connsiteX794" fmla="*/ 300951 w 590426"/>
                    <a:gd name="connsiteY794" fmla="*/ 36599 h 624183"/>
                    <a:gd name="connsiteX795" fmla="*/ 300076 w 590426"/>
                    <a:gd name="connsiteY795" fmla="*/ 37497 h 624183"/>
                    <a:gd name="connsiteX796" fmla="*/ 298097 w 590426"/>
                    <a:gd name="connsiteY796" fmla="*/ 38481 h 624183"/>
                    <a:gd name="connsiteX797" fmla="*/ 287861 w 590426"/>
                    <a:gd name="connsiteY797" fmla="*/ 37692 h 624183"/>
                    <a:gd name="connsiteX798" fmla="*/ 286755 w 590426"/>
                    <a:gd name="connsiteY798" fmla="*/ 37607 h 624183"/>
                    <a:gd name="connsiteX799" fmla="*/ 285687 w 590426"/>
                    <a:gd name="connsiteY799" fmla="*/ 37910 h 624183"/>
                    <a:gd name="connsiteX800" fmla="*/ 280295 w 590426"/>
                    <a:gd name="connsiteY800" fmla="*/ 39501 h 624183"/>
                    <a:gd name="connsiteX801" fmla="*/ 268954 w 590426"/>
                    <a:gd name="connsiteY801" fmla="*/ 42828 h 624183"/>
                    <a:gd name="connsiteX802" fmla="*/ 278280 w 590426"/>
                    <a:gd name="connsiteY802" fmla="*/ 50102 h 624183"/>
                    <a:gd name="connsiteX803" fmla="*/ 283101 w 590426"/>
                    <a:gd name="connsiteY803" fmla="*/ 53878 h 624183"/>
                    <a:gd name="connsiteX804" fmla="*/ 286658 w 590426"/>
                    <a:gd name="connsiteY804" fmla="*/ 58116 h 624183"/>
                    <a:gd name="connsiteX805" fmla="*/ 286962 w 590426"/>
                    <a:gd name="connsiteY805" fmla="*/ 59379 h 624183"/>
                    <a:gd name="connsiteX806" fmla="*/ 286331 w 590426"/>
                    <a:gd name="connsiteY806" fmla="*/ 60703 h 624183"/>
                    <a:gd name="connsiteX807" fmla="*/ 280927 w 590426"/>
                    <a:gd name="connsiteY807" fmla="*/ 66543 h 624183"/>
                    <a:gd name="connsiteX808" fmla="*/ 280211 w 590426"/>
                    <a:gd name="connsiteY808" fmla="*/ 67308 h 624183"/>
                    <a:gd name="connsiteX809" fmla="*/ 279798 w 590426"/>
                    <a:gd name="connsiteY809" fmla="*/ 68280 h 624183"/>
                    <a:gd name="connsiteX810" fmla="*/ 278304 w 590426"/>
                    <a:gd name="connsiteY810" fmla="*/ 71777 h 624183"/>
                    <a:gd name="connsiteX811" fmla="*/ 278146 w 590426"/>
                    <a:gd name="connsiteY811" fmla="*/ 72153 h 624183"/>
                    <a:gd name="connsiteX812" fmla="*/ 278037 w 590426"/>
                    <a:gd name="connsiteY812" fmla="*/ 72554 h 624183"/>
                    <a:gd name="connsiteX813" fmla="*/ 276786 w 590426"/>
                    <a:gd name="connsiteY813" fmla="*/ 77108 h 624183"/>
                    <a:gd name="connsiteX814" fmla="*/ 275875 w 590426"/>
                    <a:gd name="connsiteY814" fmla="*/ 77047 h 624183"/>
                    <a:gd name="connsiteX815" fmla="*/ 275171 w 590426"/>
                    <a:gd name="connsiteY815" fmla="*/ 76998 h 624183"/>
                    <a:gd name="connsiteX816" fmla="*/ 274467 w 590426"/>
                    <a:gd name="connsiteY816" fmla="*/ 77120 h 624183"/>
                    <a:gd name="connsiteX817" fmla="*/ 271941 w 590426"/>
                    <a:gd name="connsiteY817" fmla="*/ 77533 h 624183"/>
                    <a:gd name="connsiteX818" fmla="*/ 271492 w 590426"/>
                    <a:gd name="connsiteY818" fmla="*/ 77606 h 624183"/>
                    <a:gd name="connsiteX819" fmla="*/ 271055 w 590426"/>
                    <a:gd name="connsiteY819" fmla="*/ 77751 h 624183"/>
                    <a:gd name="connsiteX820" fmla="*/ 266635 w 590426"/>
                    <a:gd name="connsiteY820" fmla="*/ 79184 h 624183"/>
                    <a:gd name="connsiteX821" fmla="*/ 266234 w 590426"/>
                    <a:gd name="connsiteY821" fmla="*/ 79318 h 624183"/>
                    <a:gd name="connsiteX822" fmla="*/ 265845 w 590426"/>
                    <a:gd name="connsiteY822" fmla="*/ 79500 h 624183"/>
                    <a:gd name="connsiteX823" fmla="*/ 260102 w 590426"/>
                    <a:gd name="connsiteY823" fmla="*/ 82293 h 624183"/>
                    <a:gd name="connsiteX824" fmla="*/ 259300 w 590426"/>
                    <a:gd name="connsiteY824" fmla="*/ 82693 h 624183"/>
                    <a:gd name="connsiteX825" fmla="*/ 258632 w 590426"/>
                    <a:gd name="connsiteY825" fmla="*/ 83301 h 624183"/>
                    <a:gd name="connsiteX826" fmla="*/ 254382 w 590426"/>
                    <a:gd name="connsiteY826" fmla="*/ 87235 h 624183"/>
                    <a:gd name="connsiteX827" fmla="*/ 252549 w 590426"/>
                    <a:gd name="connsiteY827" fmla="*/ 88935 h 624183"/>
                    <a:gd name="connsiteX828" fmla="*/ 251541 w 590426"/>
                    <a:gd name="connsiteY828" fmla="*/ 88668 h 624183"/>
                    <a:gd name="connsiteX829" fmla="*/ 249647 w 590426"/>
                    <a:gd name="connsiteY829" fmla="*/ 89457 h 624183"/>
                    <a:gd name="connsiteX830" fmla="*/ 248032 w 590426"/>
                    <a:gd name="connsiteY830" fmla="*/ 90125 h 624183"/>
                    <a:gd name="connsiteX831" fmla="*/ 246987 w 590426"/>
                    <a:gd name="connsiteY831" fmla="*/ 90562 h 624183"/>
                    <a:gd name="connsiteX832" fmla="*/ 246174 w 590426"/>
                    <a:gd name="connsiteY832" fmla="*/ 91339 h 624183"/>
                    <a:gd name="connsiteX833" fmla="*/ 245542 w 590426"/>
                    <a:gd name="connsiteY833" fmla="*/ 91946 h 624183"/>
                    <a:gd name="connsiteX834" fmla="*/ 235779 w 590426"/>
                    <a:gd name="connsiteY834" fmla="*/ 88413 h 624183"/>
                    <a:gd name="connsiteX835" fmla="*/ 234201 w 590426"/>
                    <a:gd name="connsiteY835" fmla="*/ 87842 h 624183"/>
                    <a:gd name="connsiteX836" fmla="*/ 232549 w 590426"/>
                    <a:gd name="connsiteY836" fmla="*/ 88158 h 624183"/>
                    <a:gd name="connsiteX837" fmla="*/ 229101 w 590426"/>
                    <a:gd name="connsiteY837" fmla="*/ 88838 h 624183"/>
                    <a:gd name="connsiteX838" fmla="*/ 222847 w 590426"/>
                    <a:gd name="connsiteY838" fmla="*/ 90064 h 624183"/>
                    <a:gd name="connsiteX839" fmla="*/ 223916 w 590426"/>
                    <a:gd name="connsiteY839" fmla="*/ 94387 h 624183"/>
                    <a:gd name="connsiteX840" fmla="*/ 222592 w 590426"/>
                    <a:gd name="connsiteY840" fmla="*/ 95018 h 624183"/>
                    <a:gd name="connsiteX841" fmla="*/ 220819 w 590426"/>
                    <a:gd name="connsiteY841" fmla="*/ 95868 h 624183"/>
                    <a:gd name="connsiteX842" fmla="*/ 219399 w 590426"/>
                    <a:gd name="connsiteY842" fmla="*/ 96548 h 624183"/>
                    <a:gd name="connsiteX843" fmla="*/ 218488 w 590426"/>
                    <a:gd name="connsiteY843" fmla="*/ 97836 h 624183"/>
                    <a:gd name="connsiteX844" fmla="*/ 217043 w 590426"/>
                    <a:gd name="connsiteY844" fmla="*/ 99876 h 624183"/>
                    <a:gd name="connsiteX845" fmla="*/ 216703 w 590426"/>
                    <a:gd name="connsiteY845" fmla="*/ 100349 h 624183"/>
                    <a:gd name="connsiteX846" fmla="*/ 216460 w 590426"/>
                    <a:gd name="connsiteY846" fmla="*/ 100884 h 624183"/>
                    <a:gd name="connsiteX847" fmla="*/ 216011 w 590426"/>
                    <a:gd name="connsiteY847" fmla="*/ 101879 h 624183"/>
                    <a:gd name="connsiteX848" fmla="*/ 215986 w 590426"/>
                    <a:gd name="connsiteY848" fmla="*/ 101891 h 624183"/>
                    <a:gd name="connsiteX849" fmla="*/ 213157 w 590426"/>
                    <a:gd name="connsiteY849" fmla="*/ 102195 h 624183"/>
                    <a:gd name="connsiteX850" fmla="*/ 209611 w 590426"/>
                    <a:gd name="connsiteY850" fmla="*/ 101831 h 624183"/>
                    <a:gd name="connsiteX851" fmla="*/ 208786 w 590426"/>
                    <a:gd name="connsiteY851" fmla="*/ 101746 h 624183"/>
                    <a:gd name="connsiteX852" fmla="*/ 207972 w 590426"/>
                    <a:gd name="connsiteY852" fmla="*/ 101879 h 624183"/>
                    <a:gd name="connsiteX853" fmla="*/ 204244 w 590426"/>
                    <a:gd name="connsiteY853" fmla="*/ 102511 h 624183"/>
                    <a:gd name="connsiteX854" fmla="*/ 202022 w 590426"/>
                    <a:gd name="connsiteY854" fmla="*/ 102887 h 624183"/>
                    <a:gd name="connsiteX855" fmla="*/ 200577 w 590426"/>
                    <a:gd name="connsiteY855" fmla="*/ 104624 h 624183"/>
                    <a:gd name="connsiteX856" fmla="*/ 200274 w 590426"/>
                    <a:gd name="connsiteY856" fmla="*/ 104988 h 624183"/>
                    <a:gd name="connsiteX857" fmla="*/ 195914 w 590426"/>
                    <a:gd name="connsiteY857" fmla="*/ 103482 h 624183"/>
                    <a:gd name="connsiteX858" fmla="*/ 191664 w 590426"/>
                    <a:gd name="connsiteY858" fmla="*/ 102013 h 624183"/>
                    <a:gd name="connsiteX859" fmla="*/ 189017 w 590426"/>
                    <a:gd name="connsiteY859" fmla="*/ 105644 h 624183"/>
                    <a:gd name="connsiteX860" fmla="*/ 185738 w 590426"/>
                    <a:gd name="connsiteY860" fmla="*/ 110149 h 624183"/>
                    <a:gd name="connsiteX861" fmla="*/ 184998 w 590426"/>
                    <a:gd name="connsiteY861" fmla="*/ 111156 h 624183"/>
                    <a:gd name="connsiteX862" fmla="*/ 184718 w 590426"/>
                    <a:gd name="connsiteY862" fmla="*/ 112371 h 624183"/>
                    <a:gd name="connsiteX863" fmla="*/ 183310 w 590426"/>
                    <a:gd name="connsiteY863" fmla="*/ 118588 h 624183"/>
                    <a:gd name="connsiteX864" fmla="*/ 181780 w 590426"/>
                    <a:gd name="connsiteY864" fmla="*/ 120944 h 624183"/>
                    <a:gd name="connsiteX865" fmla="*/ 181537 w 590426"/>
                    <a:gd name="connsiteY865" fmla="*/ 120992 h 624183"/>
                    <a:gd name="connsiteX866" fmla="*/ 170596 w 590426"/>
                    <a:gd name="connsiteY866" fmla="*/ 118892 h 624183"/>
                    <a:gd name="connsiteX867" fmla="*/ 166261 w 590426"/>
                    <a:gd name="connsiteY867" fmla="*/ 118066 h 624183"/>
                    <a:gd name="connsiteX868" fmla="*/ 164136 w 590426"/>
                    <a:gd name="connsiteY868" fmla="*/ 121927 h 624183"/>
                    <a:gd name="connsiteX869" fmla="*/ 159510 w 590426"/>
                    <a:gd name="connsiteY869" fmla="*/ 130330 h 624183"/>
                    <a:gd name="connsiteX870" fmla="*/ 158902 w 590426"/>
                    <a:gd name="connsiteY870" fmla="*/ 130779 h 624183"/>
                    <a:gd name="connsiteX871" fmla="*/ 156741 w 590426"/>
                    <a:gd name="connsiteY871" fmla="*/ 131532 h 624183"/>
                    <a:gd name="connsiteX872" fmla="*/ 155879 w 590426"/>
                    <a:gd name="connsiteY872" fmla="*/ 131824 h 624183"/>
                    <a:gd name="connsiteX873" fmla="*/ 155138 w 590426"/>
                    <a:gd name="connsiteY873" fmla="*/ 132370 h 624183"/>
                    <a:gd name="connsiteX874" fmla="*/ 140992 w 590426"/>
                    <a:gd name="connsiteY874" fmla="*/ 142764 h 624183"/>
                    <a:gd name="connsiteX875" fmla="*/ 140640 w 590426"/>
                    <a:gd name="connsiteY875" fmla="*/ 143020 h 624183"/>
                    <a:gd name="connsiteX876" fmla="*/ 140324 w 590426"/>
                    <a:gd name="connsiteY876" fmla="*/ 143323 h 624183"/>
                    <a:gd name="connsiteX877" fmla="*/ 137482 w 590426"/>
                    <a:gd name="connsiteY877" fmla="*/ 146140 h 624183"/>
                    <a:gd name="connsiteX878" fmla="*/ 136827 w 590426"/>
                    <a:gd name="connsiteY878" fmla="*/ 146784 h 624183"/>
                    <a:gd name="connsiteX879" fmla="*/ 136390 w 590426"/>
                    <a:gd name="connsiteY879" fmla="*/ 147585 h 624183"/>
                    <a:gd name="connsiteX880" fmla="*/ 134604 w 590426"/>
                    <a:gd name="connsiteY880" fmla="*/ 150912 h 624183"/>
                    <a:gd name="connsiteX881" fmla="*/ 134094 w 590426"/>
                    <a:gd name="connsiteY881" fmla="*/ 151872 h 624183"/>
                    <a:gd name="connsiteX882" fmla="*/ 133949 w 590426"/>
                    <a:gd name="connsiteY882" fmla="*/ 152952 h 624183"/>
                    <a:gd name="connsiteX883" fmla="*/ 133317 w 590426"/>
                    <a:gd name="connsiteY883" fmla="*/ 157518 h 624183"/>
                    <a:gd name="connsiteX884" fmla="*/ 133232 w 590426"/>
                    <a:gd name="connsiteY884" fmla="*/ 159072 h 624183"/>
                    <a:gd name="connsiteX885" fmla="*/ 133208 w 590426"/>
                    <a:gd name="connsiteY885" fmla="*/ 159109 h 624183"/>
                    <a:gd name="connsiteX886" fmla="*/ 131775 w 590426"/>
                    <a:gd name="connsiteY886" fmla="*/ 161028 h 624183"/>
                    <a:gd name="connsiteX887" fmla="*/ 131314 w 590426"/>
                    <a:gd name="connsiteY887" fmla="*/ 161647 h 624183"/>
                    <a:gd name="connsiteX888" fmla="*/ 131022 w 590426"/>
                    <a:gd name="connsiteY888" fmla="*/ 162351 h 624183"/>
                    <a:gd name="connsiteX889" fmla="*/ 130609 w 590426"/>
                    <a:gd name="connsiteY889" fmla="*/ 163359 h 624183"/>
                    <a:gd name="connsiteX890" fmla="*/ 130391 w 590426"/>
                    <a:gd name="connsiteY890" fmla="*/ 163893 h 624183"/>
                    <a:gd name="connsiteX891" fmla="*/ 130269 w 590426"/>
                    <a:gd name="connsiteY891" fmla="*/ 164440 h 624183"/>
                    <a:gd name="connsiteX892" fmla="*/ 130172 w 590426"/>
                    <a:gd name="connsiteY892" fmla="*/ 164938 h 624183"/>
                    <a:gd name="connsiteX893" fmla="*/ 129674 w 590426"/>
                    <a:gd name="connsiteY893" fmla="*/ 165302 h 624183"/>
                    <a:gd name="connsiteX894" fmla="*/ 128715 w 590426"/>
                    <a:gd name="connsiteY894" fmla="*/ 166018 h 624183"/>
                    <a:gd name="connsiteX895" fmla="*/ 127707 w 590426"/>
                    <a:gd name="connsiteY895" fmla="*/ 167330 h 624183"/>
                    <a:gd name="connsiteX896" fmla="*/ 125934 w 590426"/>
                    <a:gd name="connsiteY896" fmla="*/ 170256 h 624183"/>
                    <a:gd name="connsiteX897" fmla="*/ 125679 w 590426"/>
                    <a:gd name="connsiteY897" fmla="*/ 170560 h 624183"/>
                    <a:gd name="connsiteX898" fmla="*/ 122462 w 590426"/>
                    <a:gd name="connsiteY898" fmla="*/ 174373 h 624183"/>
                    <a:gd name="connsiteX899" fmla="*/ 125570 w 590426"/>
                    <a:gd name="connsiteY899" fmla="*/ 178270 h 624183"/>
                    <a:gd name="connsiteX900" fmla="*/ 127185 w 590426"/>
                    <a:gd name="connsiteY900" fmla="*/ 180286 h 624183"/>
                    <a:gd name="connsiteX901" fmla="*/ 137057 w 590426"/>
                    <a:gd name="connsiteY901" fmla="*/ 197420 h 624183"/>
                    <a:gd name="connsiteX902" fmla="*/ 142255 w 590426"/>
                    <a:gd name="connsiteY902" fmla="*/ 216302 h 624183"/>
                    <a:gd name="connsiteX903" fmla="*/ 142522 w 590426"/>
                    <a:gd name="connsiteY903" fmla="*/ 217298 h 624183"/>
                    <a:gd name="connsiteX904" fmla="*/ 143105 w 590426"/>
                    <a:gd name="connsiteY904" fmla="*/ 218148 h 624183"/>
                    <a:gd name="connsiteX905" fmla="*/ 147925 w 590426"/>
                    <a:gd name="connsiteY905" fmla="*/ 225106 h 624183"/>
                    <a:gd name="connsiteX906" fmla="*/ 148071 w 590426"/>
                    <a:gd name="connsiteY906" fmla="*/ 226417 h 624183"/>
                    <a:gd name="connsiteX907" fmla="*/ 147622 w 590426"/>
                    <a:gd name="connsiteY907" fmla="*/ 228190 h 624183"/>
                    <a:gd name="connsiteX908" fmla="*/ 146152 w 590426"/>
                    <a:gd name="connsiteY908" fmla="*/ 230376 h 624183"/>
                    <a:gd name="connsiteX909" fmla="*/ 143311 w 590426"/>
                    <a:gd name="connsiteY909" fmla="*/ 233788 h 624183"/>
                    <a:gd name="connsiteX910" fmla="*/ 143068 w 590426"/>
                    <a:gd name="connsiteY910" fmla="*/ 234067 h 624183"/>
                    <a:gd name="connsiteX911" fmla="*/ 142862 w 590426"/>
                    <a:gd name="connsiteY911" fmla="*/ 234383 h 624183"/>
                    <a:gd name="connsiteX912" fmla="*/ 140567 w 590426"/>
                    <a:gd name="connsiteY912" fmla="*/ 237941 h 624183"/>
                    <a:gd name="connsiteX913" fmla="*/ 140275 w 590426"/>
                    <a:gd name="connsiteY913" fmla="*/ 238414 h 624183"/>
                    <a:gd name="connsiteX914" fmla="*/ 140057 w 590426"/>
                    <a:gd name="connsiteY914" fmla="*/ 238924 h 624183"/>
                    <a:gd name="connsiteX915" fmla="*/ 132710 w 590426"/>
                    <a:gd name="connsiteY915" fmla="*/ 256750 h 624183"/>
                    <a:gd name="connsiteX916" fmla="*/ 132577 w 590426"/>
                    <a:gd name="connsiteY916" fmla="*/ 257078 h 624183"/>
                    <a:gd name="connsiteX917" fmla="*/ 132480 w 590426"/>
                    <a:gd name="connsiteY917" fmla="*/ 257418 h 624183"/>
                    <a:gd name="connsiteX918" fmla="*/ 131144 w 590426"/>
                    <a:gd name="connsiteY918" fmla="*/ 262190 h 624183"/>
                    <a:gd name="connsiteX919" fmla="*/ 130925 w 590426"/>
                    <a:gd name="connsiteY919" fmla="*/ 262980 h 624183"/>
                    <a:gd name="connsiteX920" fmla="*/ 130925 w 590426"/>
                    <a:gd name="connsiteY920" fmla="*/ 263793 h 624183"/>
                    <a:gd name="connsiteX921" fmla="*/ 130877 w 590426"/>
                    <a:gd name="connsiteY921" fmla="*/ 272002 h 624183"/>
                    <a:gd name="connsiteX922" fmla="*/ 128242 w 590426"/>
                    <a:gd name="connsiteY922" fmla="*/ 279239 h 624183"/>
                    <a:gd name="connsiteX923" fmla="*/ 127999 w 590426"/>
                    <a:gd name="connsiteY923" fmla="*/ 279895 h 624183"/>
                    <a:gd name="connsiteX924" fmla="*/ 127914 w 590426"/>
                    <a:gd name="connsiteY924" fmla="*/ 280587 h 624183"/>
                    <a:gd name="connsiteX925" fmla="*/ 127404 w 590426"/>
                    <a:gd name="connsiteY925" fmla="*/ 284776 h 624183"/>
                    <a:gd name="connsiteX926" fmla="*/ 127294 w 590426"/>
                    <a:gd name="connsiteY926" fmla="*/ 285626 h 624183"/>
                    <a:gd name="connsiteX927" fmla="*/ 127428 w 590426"/>
                    <a:gd name="connsiteY927" fmla="*/ 286464 h 624183"/>
                    <a:gd name="connsiteX928" fmla="*/ 128059 w 590426"/>
                    <a:gd name="connsiteY928" fmla="*/ 290459 h 624183"/>
                    <a:gd name="connsiteX929" fmla="*/ 128132 w 590426"/>
                    <a:gd name="connsiteY929" fmla="*/ 290957 h 624183"/>
                    <a:gd name="connsiteX930" fmla="*/ 128290 w 590426"/>
                    <a:gd name="connsiteY930" fmla="*/ 291431 h 624183"/>
                    <a:gd name="connsiteX931" fmla="*/ 129274 w 590426"/>
                    <a:gd name="connsiteY931" fmla="*/ 294381 h 624183"/>
                    <a:gd name="connsiteX932" fmla="*/ 129492 w 590426"/>
                    <a:gd name="connsiteY932" fmla="*/ 295049 h 624183"/>
                    <a:gd name="connsiteX933" fmla="*/ 129869 w 590426"/>
                    <a:gd name="connsiteY933" fmla="*/ 295656 h 624183"/>
                    <a:gd name="connsiteX934" fmla="*/ 131472 w 590426"/>
                    <a:gd name="connsiteY934" fmla="*/ 298243 h 624183"/>
                    <a:gd name="connsiteX935" fmla="*/ 131714 w 590426"/>
                    <a:gd name="connsiteY935" fmla="*/ 298619 h 624183"/>
                    <a:gd name="connsiteX936" fmla="*/ 131994 w 590426"/>
                    <a:gd name="connsiteY936" fmla="*/ 298959 h 624183"/>
                    <a:gd name="connsiteX937" fmla="*/ 134459 w 590426"/>
                    <a:gd name="connsiteY937" fmla="*/ 301886 h 624183"/>
                    <a:gd name="connsiteX938" fmla="*/ 135406 w 590426"/>
                    <a:gd name="connsiteY938" fmla="*/ 303015 h 624183"/>
                    <a:gd name="connsiteX939" fmla="*/ 136766 w 590426"/>
                    <a:gd name="connsiteY939" fmla="*/ 303573 h 624183"/>
                    <a:gd name="connsiteX940" fmla="*/ 139874 w 590426"/>
                    <a:gd name="connsiteY940" fmla="*/ 304861 h 624183"/>
                    <a:gd name="connsiteX941" fmla="*/ 141502 w 590426"/>
                    <a:gd name="connsiteY941" fmla="*/ 305541 h 624183"/>
                    <a:gd name="connsiteX942" fmla="*/ 143238 w 590426"/>
                    <a:gd name="connsiteY942" fmla="*/ 305237 h 624183"/>
                    <a:gd name="connsiteX943" fmla="*/ 149334 w 590426"/>
                    <a:gd name="connsiteY943" fmla="*/ 304193 h 624183"/>
                    <a:gd name="connsiteX944" fmla="*/ 148375 w 590426"/>
                    <a:gd name="connsiteY944" fmla="*/ 304691 h 624183"/>
                    <a:gd name="connsiteX945" fmla="*/ 147986 w 590426"/>
                    <a:gd name="connsiteY945" fmla="*/ 304897 h 624183"/>
                    <a:gd name="connsiteX946" fmla="*/ 147634 w 590426"/>
                    <a:gd name="connsiteY946" fmla="*/ 305152 h 624183"/>
                    <a:gd name="connsiteX947" fmla="*/ 143627 w 590426"/>
                    <a:gd name="connsiteY947" fmla="*/ 308018 h 624183"/>
                    <a:gd name="connsiteX948" fmla="*/ 142935 w 590426"/>
                    <a:gd name="connsiteY948" fmla="*/ 308516 h 624183"/>
                    <a:gd name="connsiteX949" fmla="*/ 142400 w 590426"/>
                    <a:gd name="connsiteY949" fmla="*/ 309183 h 624183"/>
                    <a:gd name="connsiteX950" fmla="*/ 139522 w 590426"/>
                    <a:gd name="connsiteY950" fmla="*/ 312826 h 624183"/>
                    <a:gd name="connsiteX951" fmla="*/ 138211 w 590426"/>
                    <a:gd name="connsiteY951" fmla="*/ 314490 h 624183"/>
                    <a:gd name="connsiteX952" fmla="*/ 138211 w 590426"/>
                    <a:gd name="connsiteY952" fmla="*/ 316603 h 624183"/>
                    <a:gd name="connsiteX953" fmla="*/ 138211 w 590426"/>
                    <a:gd name="connsiteY953" fmla="*/ 318145 h 624183"/>
                    <a:gd name="connsiteX954" fmla="*/ 137410 w 590426"/>
                    <a:gd name="connsiteY954" fmla="*/ 318861 h 624183"/>
                    <a:gd name="connsiteX955" fmla="*/ 137021 w 590426"/>
                    <a:gd name="connsiteY955" fmla="*/ 319201 h 624183"/>
                    <a:gd name="connsiteX956" fmla="*/ 136705 w 590426"/>
                    <a:gd name="connsiteY956" fmla="*/ 319602 h 624183"/>
                    <a:gd name="connsiteX957" fmla="*/ 134301 w 590426"/>
                    <a:gd name="connsiteY957" fmla="*/ 322589 h 624183"/>
                    <a:gd name="connsiteX958" fmla="*/ 132625 w 590426"/>
                    <a:gd name="connsiteY958" fmla="*/ 324216 h 624183"/>
                    <a:gd name="connsiteX959" fmla="*/ 131144 w 590426"/>
                    <a:gd name="connsiteY959" fmla="*/ 324714 h 624183"/>
                    <a:gd name="connsiteX960" fmla="*/ 127865 w 590426"/>
                    <a:gd name="connsiteY960" fmla="*/ 324775 h 624183"/>
                    <a:gd name="connsiteX961" fmla="*/ 127452 w 590426"/>
                    <a:gd name="connsiteY961" fmla="*/ 324787 h 624183"/>
                    <a:gd name="connsiteX962" fmla="*/ 127039 w 590426"/>
                    <a:gd name="connsiteY962" fmla="*/ 324848 h 624183"/>
                    <a:gd name="connsiteX963" fmla="*/ 123542 w 590426"/>
                    <a:gd name="connsiteY963" fmla="*/ 325394 h 624183"/>
                    <a:gd name="connsiteX964" fmla="*/ 122680 w 590426"/>
                    <a:gd name="connsiteY964" fmla="*/ 325528 h 624183"/>
                    <a:gd name="connsiteX965" fmla="*/ 121891 w 590426"/>
                    <a:gd name="connsiteY965" fmla="*/ 325904 h 624183"/>
                    <a:gd name="connsiteX966" fmla="*/ 118722 w 590426"/>
                    <a:gd name="connsiteY966" fmla="*/ 327398 h 624183"/>
                    <a:gd name="connsiteX967" fmla="*/ 117944 w 590426"/>
                    <a:gd name="connsiteY967" fmla="*/ 327762 h 624183"/>
                    <a:gd name="connsiteX968" fmla="*/ 117301 w 590426"/>
                    <a:gd name="connsiteY968" fmla="*/ 328333 h 624183"/>
                    <a:gd name="connsiteX969" fmla="*/ 114034 w 590426"/>
                    <a:gd name="connsiteY969" fmla="*/ 331211 h 624183"/>
                    <a:gd name="connsiteX970" fmla="*/ 113294 w 590426"/>
                    <a:gd name="connsiteY970" fmla="*/ 331867 h 624183"/>
                    <a:gd name="connsiteX971" fmla="*/ 112796 w 590426"/>
                    <a:gd name="connsiteY971" fmla="*/ 332717 h 624183"/>
                    <a:gd name="connsiteX972" fmla="*/ 110731 w 590426"/>
                    <a:gd name="connsiteY972" fmla="*/ 336274 h 624183"/>
                    <a:gd name="connsiteX973" fmla="*/ 110319 w 590426"/>
                    <a:gd name="connsiteY973" fmla="*/ 336991 h 624183"/>
                    <a:gd name="connsiteX974" fmla="*/ 110209 w 590426"/>
                    <a:gd name="connsiteY974" fmla="*/ 337416 h 624183"/>
                    <a:gd name="connsiteX975" fmla="*/ 106421 w 590426"/>
                    <a:gd name="connsiteY975" fmla="*/ 336359 h 624183"/>
                    <a:gd name="connsiteX976" fmla="*/ 105850 w 590426"/>
                    <a:gd name="connsiteY976" fmla="*/ 336189 h 624183"/>
                    <a:gd name="connsiteX977" fmla="*/ 105243 w 590426"/>
                    <a:gd name="connsiteY977" fmla="*/ 336153 h 624183"/>
                    <a:gd name="connsiteX978" fmla="*/ 103179 w 590426"/>
                    <a:gd name="connsiteY978" fmla="*/ 335995 h 624183"/>
                    <a:gd name="connsiteX979" fmla="*/ 102401 w 590426"/>
                    <a:gd name="connsiteY979" fmla="*/ 335934 h 624183"/>
                    <a:gd name="connsiteX980" fmla="*/ 101636 w 590426"/>
                    <a:gd name="connsiteY980" fmla="*/ 336080 h 624183"/>
                    <a:gd name="connsiteX981" fmla="*/ 99220 w 590426"/>
                    <a:gd name="connsiteY981" fmla="*/ 336529 h 624183"/>
                    <a:gd name="connsiteX982" fmla="*/ 97994 w 590426"/>
                    <a:gd name="connsiteY982" fmla="*/ 336760 h 624183"/>
                    <a:gd name="connsiteX983" fmla="*/ 96961 w 590426"/>
                    <a:gd name="connsiteY983" fmla="*/ 337452 h 624183"/>
                    <a:gd name="connsiteX984" fmla="*/ 95018 w 590426"/>
                    <a:gd name="connsiteY984" fmla="*/ 338739 h 624183"/>
                    <a:gd name="connsiteX985" fmla="*/ 94338 w 590426"/>
                    <a:gd name="connsiteY985" fmla="*/ 339189 h 624183"/>
                    <a:gd name="connsiteX986" fmla="*/ 93804 w 590426"/>
                    <a:gd name="connsiteY986" fmla="*/ 339796 h 624183"/>
                    <a:gd name="connsiteX987" fmla="*/ 92189 w 590426"/>
                    <a:gd name="connsiteY987" fmla="*/ 341642 h 624183"/>
                    <a:gd name="connsiteX988" fmla="*/ 91825 w 590426"/>
                    <a:gd name="connsiteY988" fmla="*/ 342067 h 624183"/>
                    <a:gd name="connsiteX989" fmla="*/ 91533 w 590426"/>
                    <a:gd name="connsiteY989" fmla="*/ 342552 h 624183"/>
                    <a:gd name="connsiteX990" fmla="*/ 90271 w 590426"/>
                    <a:gd name="connsiteY990" fmla="*/ 344702 h 624183"/>
                    <a:gd name="connsiteX991" fmla="*/ 88801 w 590426"/>
                    <a:gd name="connsiteY991" fmla="*/ 347191 h 624183"/>
                    <a:gd name="connsiteX992" fmla="*/ 89809 w 590426"/>
                    <a:gd name="connsiteY992" fmla="*/ 349911 h 624183"/>
                    <a:gd name="connsiteX993" fmla="*/ 90210 w 590426"/>
                    <a:gd name="connsiteY993" fmla="*/ 350992 h 624183"/>
                    <a:gd name="connsiteX994" fmla="*/ 90161 w 590426"/>
                    <a:gd name="connsiteY994" fmla="*/ 351089 h 624183"/>
                    <a:gd name="connsiteX995" fmla="*/ 88279 w 590426"/>
                    <a:gd name="connsiteY995" fmla="*/ 352473 h 624183"/>
                    <a:gd name="connsiteX996" fmla="*/ 85583 w 590426"/>
                    <a:gd name="connsiteY996" fmla="*/ 353262 h 624183"/>
                    <a:gd name="connsiteX997" fmla="*/ 83604 w 590426"/>
                    <a:gd name="connsiteY997" fmla="*/ 353845 h 624183"/>
                    <a:gd name="connsiteX998" fmla="*/ 82378 w 590426"/>
                    <a:gd name="connsiteY998" fmla="*/ 355509 h 624183"/>
                    <a:gd name="connsiteX999" fmla="*/ 81746 w 590426"/>
                    <a:gd name="connsiteY999" fmla="*/ 356371 h 624183"/>
                    <a:gd name="connsiteX1000" fmla="*/ 79743 w 590426"/>
                    <a:gd name="connsiteY1000" fmla="*/ 359103 h 624183"/>
                    <a:gd name="connsiteX1001" fmla="*/ 81018 w 590426"/>
                    <a:gd name="connsiteY1001" fmla="*/ 362248 h 624183"/>
                    <a:gd name="connsiteX1002" fmla="*/ 81528 w 590426"/>
                    <a:gd name="connsiteY1002" fmla="*/ 363499 h 624183"/>
                    <a:gd name="connsiteX1003" fmla="*/ 80738 w 590426"/>
                    <a:gd name="connsiteY1003" fmla="*/ 364045 h 624183"/>
                    <a:gd name="connsiteX1004" fmla="*/ 80374 w 590426"/>
                    <a:gd name="connsiteY1004" fmla="*/ 364300 h 624183"/>
                    <a:gd name="connsiteX1005" fmla="*/ 80046 w 590426"/>
                    <a:gd name="connsiteY1005" fmla="*/ 364604 h 624183"/>
                    <a:gd name="connsiteX1006" fmla="*/ 78504 w 590426"/>
                    <a:gd name="connsiteY1006" fmla="*/ 366061 h 624183"/>
                    <a:gd name="connsiteX1007" fmla="*/ 78055 w 590426"/>
                    <a:gd name="connsiteY1007" fmla="*/ 366486 h 624183"/>
                    <a:gd name="connsiteX1008" fmla="*/ 77703 w 590426"/>
                    <a:gd name="connsiteY1008" fmla="*/ 366996 h 624183"/>
                    <a:gd name="connsiteX1009" fmla="*/ 74303 w 590426"/>
                    <a:gd name="connsiteY1009" fmla="*/ 371853 h 624183"/>
                    <a:gd name="connsiteX1010" fmla="*/ 71862 w 590426"/>
                    <a:gd name="connsiteY1010" fmla="*/ 373893 h 624183"/>
                    <a:gd name="connsiteX1011" fmla="*/ 71473 w 590426"/>
                    <a:gd name="connsiteY1011" fmla="*/ 374221 h 624183"/>
                    <a:gd name="connsiteX1012" fmla="*/ 71145 w 590426"/>
                    <a:gd name="connsiteY1012" fmla="*/ 374597 h 624183"/>
                    <a:gd name="connsiteX1013" fmla="*/ 69725 w 590426"/>
                    <a:gd name="connsiteY1013" fmla="*/ 376261 h 624183"/>
                    <a:gd name="connsiteX1014" fmla="*/ 68899 w 590426"/>
                    <a:gd name="connsiteY1014" fmla="*/ 377233 h 624183"/>
                    <a:gd name="connsiteX1015" fmla="*/ 68535 w 590426"/>
                    <a:gd name="connsiteY1015" fmla="*/ 378447 h 624183"/>
                    <a:gd name="connsiteX1016" fmla="*/ 67867 w 590426"/>
                    <a:gd name="connsiteY1016" fmla="*/ 380669 h 624183"/>
                    <a:gd name="connsiteX1017" fmla="*/ 66798 w 590426"/>
                    <a:gd name="connsiteY1017" fmla="*/ 381446 h 624183"/>
                    <a:gd name="connsiteX1018" fmla="*/ 65341 w 590426"/>
                    <a:gd name="connsiteY1018" fmla="*/ 382515 h 624183"/>
                    <a:gd name="connsiteX1019" fmla="*/ 64698 w 590426"/>
                    <a:gd name="connsiteY1019" fmla="*/ 384203 h 624183"/>
                    <a:gd name="connsiteX1020" fmla="*/ 64066 w 590426"/>
                    <a:gd name="connsiteY1020" fmla="*/ 385866 h 624183"/>
                    <a:gd name="connsiteX1021" fmla="*/ 63884 w 590426"/>
                    <a:gd name="connsiteY1021" fmla="*/ 386352 h 624183"/>
                    <a:gd name="connsiteX1022" fmla="*/ 63835 w 590426"/>
                    <a:gd name="connsiteY1022" fmla="*/ 386619 h 624183"/>
                    <a:gd name="connsiteX1023" fmla="*/ 62184 w 590426"/>
                    <a:gd name="connsiteY1023" fmla="*/ 386947 h 624183"/>
                    <a:gd name="connsiteX1024" fmla="*/ 61468 w 590426"/>
                    <a:gd name="connsiteY1024" fmla="*/ 387093 h 624183"/>
                    <a:gd name="connsiteX1025" fmla="*/ 60800 w 590426"/>
                    <a:gd name="connsiteY1025" fmla="*/ 387396 h 624183"/>
                    <a:gd name="connsiteX1026" fmla="*/ 56780 w 590426"/>
                    <a:gd name="connsiteY1026" fmla="*/ 389278 h 624183"/>
                    <a:gd name="connsiteX1027" fmla="*/ 56416 w 590426"/>
                    <a:gd name="connsiteY1027" fmla="*/ 389448 h 624183"/>
                    <a:gd name="connsiteX1028" fmla="*/ 56076 w 590426"/>
                    <a:gd name="connsiteY1028" fmla="*/ 389667 h 624183"/>
                    <a:gd name="connsiteX1029" fmla="*/ 53150 w 590426"/>
                    <a:gd name="connsiteY1029" fmla="*/ 391549 h 624183"/>
                    <a:gd name="connsiteX1030" fmla="*/ 52713 w 590426"/>
                    <a:gd name="connsiteY1030" fmla="*/ 391828 h 624183"/>
                    <a:gd name="connsiteX1031" fmla="*/ 52324 w 590426"/>
                    <a:gd name="connsiteY1031" fmla="*/ 392180 h 624183"/>
                    <a:gd name="connsiteX1032" fmla="*/ 49786 w 590426"/>
                    <a:gd name="connsiteY1032" fmla="*/ 394500 h 624183"/>
                    <a:gd name="connsiteX1033" fmla="*/ 49555 w 590426"/>
                    <a:gd name="connsiteY1033" fmla="*/ 394706 h 624183"/>
                    <a:gd name="connsiteX1034" fmla="*/ 49349 w 590426"/>
                    <a:gd name="connsiteY1034" fmla="*/ 394937 h 624183"/>
                    <a:gd name="connsiteX1035" fmla="*/ 46532 w 590426"/>
                    <a:gd name="connsiteY1035" fmla="*/ 398094 h 624183"/>
                    <a:gd name="connsiteX1036" fmla="*/ 45973 w 590426"/>
                    <a:gd name="connsiteY1036" fmla="*/ 398725 h 624183"/>
                    <a:gd name="connsiteX1037" fmla="*/ 45609 w 590426"/>
                    <a:gd name="connsiteY1037" fmla="*/ 399478 h 624183"/>
                    <a:gd name="connsiteX1038" fmla="*/ 43715 w 590426"/>
                    <a:gd name="connsiteY1038" fmla="*/ 403376 h 624183"/>
                    <a:gd name="connsiteX1039" fmla="*/ 43035 w 590426"/>
                    <a:gd name="connsiteY1039" fmla="*/ 404773 h 624183"/>
                    <a:gd name="connsiteX1040" fmla="*/ 43107 w 590426"/>
                    <a:gd name="connsiteY1040" fmla="*/ 406327 h 624183"/>
                    <a:gd name="connsiteX1041" fmla="*/ 43290 w 590426"/>
                    <a:gd name="connsiteY1041" fmla="*/ 409861 h 624183"/>
                    <a:gd name="connsiteX1042" fmla="*/ 43302 w 590426"/>
                    <a:gd name="connsiteY1042" fmla="*/ 410188 h 624183"/>
                    <a:gd name="connsiteX1043" fmla="*/ 43350 w 590426"/>
                    <a:gd name="connsiteY1043" fmla="*/ 410504 h 624183"/>
                    <a:gd name="connsiteX1044" fmla="*/ 43824 w 590426"/>
                    <a:gd name="connsiteY1044" fmla="*/ 413491 h 624183"/>
                    <a:gd name="connsiteX1045" fmla="*/ 43508 w 590426"/>
                    <a:gd name="connsiteY1045" fmla="*/ 415616 h 624183"/>
                    <a:gd name="connsiteX1046" fmla="*/ 43496 w 590426"/>
                    <a:gd name="connsiteY1046" fmla="*/ 415641 h 624183"/>
                    <a:gd name="connsiteX1047" fmla="*/ 37704 w 590426"/>
                    <a:gd name="connsiteY1047" fmla="*/ 417219 h 624183"/>
                    <a:gd name="connsiteX1048" fmla="*/ 36149 w 590426"/>
                    <a:gd name="connsiteY1048" fmla="*/ 417644 h 624183"/>
                    <a:gd name="connsiteX1049" fmla="*/ 35008 w 590426"/>
                    <a:gd name="connsiteY1049" fmla="*/ 418786 h 624183"/>
                    <a:gd name="connsiteX1050" fmla="*/ 33405 w 590426"/>
                    <a:gd name="connsiteY1050" fmla="*/ 420389 h 624183"/>
                    <a:gd name="connsiteX1051" fmla="*/ 32567 w 590426"/>
                    <a:gd name="connsiteY1051" fmla="*/ 421226 h 624183"/>
                    <a:gd name="connsiteX1052" fmla="*/ 32106 w 590426"/>
                    <a:gd name="connsiteY1052" fmla="*/ 422319 h 624183"/>
                    <a:gd name="connsiteX1053" fmla="*/ 31244 w 590426"/>
                    <a:gd name="connsiteY1053" fmla="*/ 424359 h 624183"/>
                    <a:gd name="connsiteX1054" fmla="*/ 22829 w 590426"/>
                    <a:gd name="connsiteY1054" fmla="*/ 435579 h 624183"/>
                    <a:gd name="connsiteX1055" fmla="*/ 21554 w 590426"/>
                    <a:gd name="connsiteY1055" fmla="*/ 435166 h 624183"/>
                    <a:gd name="connsiteX1056" fmla="*/ 10577 w 590426"/>
                    <a:gd name="connsiteY1056" fmla="*/ 431572 h 624183"/>
                    <a:gd name="connsiteX1057" fmla="*/ 13467 w 590426"/>
                    <a:gd name="connsiteY1057" fmla="*/ 441384 h 624183"/>
                    <a:gd name="connsiteX1058" fmla="*/ 10917 w 590426"/>
                    <a:gd name="connsiteY1058" fmla="*/ 442659 h 624183"/>
                    <a:gd name="connsiteX1059" fmla="*/ 10018 w 590426"/>
                    <a:gd name="connsiteY1059" fmla="*/ 443108 h 624183"/>
                    <a:gd name="connsiteX1060" fmla="*/ 9314 w 590426"/>
                    <a:gd name="connsiteY1060" fmla="*/ 443837 h 624183"/>
                    <a:gd name="connsiteX1061" fmla="*/ 6327 w 590426"/>
                    <a:gd name="connsiteY1061" fmla="*/ 446872 h 624183"/>
                    <a:gd name="connsiteX1062" fmla="*/ 5416 w 590426"/>
                    <a:gd name="connsiteY1062" fmla="*/ 447795 h 624183"/>
                    <a:gd name="connsiteX1063" fmla="*/ 4967 w 590426"/>
                    <a:gd name="connsiteY1063" fmla="*/ 449009 h 624183"/>
                    <a:gd name="connsiteX1064" fmla="*/ 4019 w 590426"/>
                    <a:gd name="connsiteY1064" fmla="*/ 451547 h 624183"/>
                    <a:gd name="connsiteX1065" fmla="*/ 3861 w 590426"/>
                    <a:gd name="connsiteY1065" fmla="*/ 451778 h 624183"/>
                    <a:gd name="connsiteX1066" fmla="*/ 0 w 590426"/>
                    <a:gd name="connsiteY1066" fmla="*/ 457449 h 624183"/>
                    <a:gd name="connsiteX1067" fmla="*/ 6096 w 590426"/>
                    <a:gd name="connsiteY1067" fmla="*/ 460594 h 624183"/>
                    <a:gd name="connsiteX1068" fmla="*/ 14025 w 590426"/>
                    <a:gd name="connsiteY1068" fmla="*/ 464674 h 624183"/>
                    <a:gd name="connsiteX1069" fmla="*/ 16684 w 590426"/>
                    <a:gd name="connsiteY1069" fmla="*/ 468414 h 624183"/>
                    <a:gd name="connsiteX1070" fmla="*/ 20522 w 590426"/>
                    <a:gd name="connsiteY1070" fmla="*/ 476282 h 624183"/>
                    <a:gd name="connsiteX1071" fmla="*/ 22647 w 590426"/>
                    <a:gd name="connsiteY1071" fmla="*/ 483532 h 624183"/>
                    <a:gd name="connsiteX1072" fmla="*/ 22440 w 590426"/>
                    <a:gd name="connsiteY1072" fmla="*/ 484916 h 624183"/>
                    <a:gd name="connsiteX1073" fmla="*/ 21712 w 590426"/>
                    <a:gd name="connsiteY1073" fmla="*/ 489834 h 624183"/>
                    <a:gd name="connsiteX1074" fmla="*/ 26399 w 590426"/>
                    <a:gd name="connsiteY1074" fmla="*/ 491510 h 624183"/>
                    <a:gd name="connsiteX1075" fmla="*/ 28014 w 590426"/>
                    <a:gd name="connsiteY1075" fmla="*/ 492080 h 624183"/>
                    <a:gd name="connsiteX1076" fmla="*/ 27929 w 590426"/>
                    <a:gd name="connsiteY1076" fmla="*/ 493793 h 624183"/>
                    <a:gd name="connsiteX1077" fmla="*/ 27212 w 590426"/>
                    <a:gd name="connsiteY1077" fmla="*/ 496865 h 624183"/>
                    <a:gd name="connsiteX1078" fmla="*/ 14244 w 590426"/>
                    <a:gd name="connsiteY1078" fmla="*/ 517301 h 624183"/>
                    <a:gd name="connsiteX1079" fmla="*/ 13916 w 590426"/>
                    <a:gd name="connsiteY1079" fmla="*/ 517811 h 624183"/>
                    <a:gd name="connsiteX1080" fmla="*/ 13697 w 590426"/>
                    <a:gd name="connsiteY1080" fmla="*/ 518382 h 624183"/>
                    <a:gd name="connsiteX1081" fmla="*/ 11511 w 590426"/>
                    <a:gd name="connsiteY1081" fmla="*/ 524101 h 624183"/>
                    <a:gd name="connsiteX1082" fmla="*/ 11390 w 590426"/>
                    <a:gd name="connsiteY1082" fmla="*/ 524405 h 624183"/>
                    <a:gd name="connsiteX1083" fmla="*/ 11305 w 590426"/>
                    <a:gd name="connsiteY1083" fmla="*/ 524721 h 624183"/>
                    <a:gd name="connsiteX1084" fmla="*/ 10929 w 590426"/>
                    <a:gd name="connsiteY1084" fmla="*/ 526190 h 624183"/>
                    <a:gd name="connsiteX1085" fmla="*/ 10722 w 590426"/>
                    <a:gd name="connsiteY1085" fmla="*/ 526943 h 624183"/>
                    <a:gd name="connsiteX1086" fmla="*/ 10722 w 590426"/>
                    <a:gd name="connsiteY1086" fmla="*/ 527720 h 624183"/>
                    <a:gd name="connsiteX1087" fmla="*/ 10722 w 590426"/>
                    <a:gd name="connsiteY1087" fmla="*/ 528145 h 624183"/>
                    <a:gd name="connsiteX1088" fmla="*/ 10783 w 590426"/>
                    <a:gd name="connsiteY1088" fmla="*/ 528643 h 624183"/>
                    <a:gd name="connsiteX1089" fmla="*/ 11232 w 590426"/>
                    <a:gd name="connsiteY1089" fmla="*/ 531776 h 624183"/>
                    <a:gd name="connsiteX1090" fmla="*/ 11864 w 590426"/>
                    <a:gd name="connsiteY1090" fmla="*/ 536184 h 624183"/>
                    <a:gd name="connsiteX1091" fmla="*/ 16259 w 590426"/>
                    <a:gd name="connsiteY1091" fmla="*/ 536912 h 624183"/>
                    <a:gd name="connsiteX1092" fmla="*/ 21712 w 590426"/>
                    <a:gd name="connsiteY1092" fmla="*/ 537811 h 624183"/>
                    <a:gd name="connsiteX1093" fmla="*/ 22052 w 590426"/>
                    <a:gd name="connsiteY1093" fmla="*/ 537871 h 624183"/>
                    <a:gd name="connsiteX1094" fmla="*/ 22392 w 590426"/>
                    <a:gd name="connsiteY1094" fmla="*/ 537884 h 624183"/>
                    <a:gd name="connsiteX1095" fmla="*/ 92614 w 590426"/>
                    <a:gd name="connsiteY1095" fmla="*/ 541466 h 624183"/>
                    <a:gd name="connsiteX1096" fmla="*/ 110404 w 590426"/>
                    <a:gd name="connsiteY1096" fmla="*/ 541369 h 624183"/>
                    <a:gd name="connsiteX1097" fmla="*/ 134204 w 590426"/>
                    <a:gd name="connsiteY1097" fmla="*/ 544501 h 624183"/>
                    <a:gd name="connsiteX1098" fmla="*/ 145060 w 590426"/>
                    <a:gd name="connsiteY1098" fmla="*/ 547112 h 624183"/>
                    <a:gd name="connsiteX1099" fmla="*/ 154980 w 590426"/>
                    <a:gd name="connsiteY1099" fmla="*/ 550877 h 624183"/>
                    <a:gd name="connsiteX1100" fmla="*/ 155903 w 590426"/>
                    <a:gd name="connsiteY1100" fmla="*/ 551229 h 624183"/>
                    <a:gd name="connsiteX1101" fmla="*/ 156887 w 590426"/>
                    <a:gd name="connsiteY1101" fmla="*/ 551265 h 624183"/>
                    <a:gd name="connsiteX1102" fmla="*/ 160275 w 590426"/>
                    <a:gd name="connsiteY1102" fmla="*/ 551411 h 624183"/>
                    <a:gd name="connsiteX1103" fmla="*/ 162776 w 590426"/>
                    <a:gd name="connsiteY1103" fmla="*/ 551520 h 624183"/>
                    <a:gd name="connsiteX1104" fmla="*/ 164622 w 590426"/>
                    <a:gd name="connsiteY1104" fmla="*/ 549832 h 624183"/>
                    <a:gd name="connsiteX1105" fmla="*/ 165314 w 590426"/>
                    <a:gd name="connsiteY1105" fmla="*/ 549201 h 624183"/>
                    <a:gd name="connsiteX1106" fmla="*/ 165860 w 590426"/>
                    <a:gd name="connsiteY1106" fmla="*/ 548691 h 624183"/>
                    <a:gd name="connsiteX1107" fmla="*/ 166273 w 590426"/>
                    <a:gd name="connsiteY1107" fmla="*/ 548072 h 624183"/>
                    <a:gd name="connsiteX1108" fmla="*/ 167184 w 590426"/>
                    <a:gd name="connsiteY1108" fmla="*/ 546699 h 624183"/>
                    <a:gd name="connsiteX1109" fmla="*/ 167354 w 590426"/>
                    <a:gd name="connsiteY1109" fmla="*/ 546444 h 624183"/>
                    <a:gd name="connsiteX1110" fmla="*/ 167500 w 590426"/>
                    <a:gd name="connsiteY1110" fmla="*/ 546165 h 624183"/>
                    <a:gd name="connsiteX1111" fmla="*/ 168738 w 590426"/>
                    <a:gd name="connsiteY1111" fmla="*/ 543809 h 624183"/>
                    <a:gd name="connsiteX1112" fmla="*/ 168993 w 590426"/>
                    <a:gd name="connsiteY1112" fmla="*/ 543469 h 624183"/>
                    <a:gd name="connsiteX1113" fmla="*/ 169370 w 590426"/>
                    <a:gd name="connsiteY1113" fmla="*/ 543129 h 624183"/>
                    <a:gd name="connsiteX1114" fmla="*/ 174603 w 590426"/>
                    <a:gd name="connsiteY1114" fmla="*/ 539632 h 624183"/>
                    <a:gd name="connsiteX1115" fmla="*/ 175089 w 590426"/>
                    <a:gd name="connsiteY1115" fmla="*/ 539438 h 624183"/>
                    <a:gd name="connsiteX1116" fmla="*/ 175198 w 590426"/>
                    <a:gd name="connsiteY1116" fmla="*/ 539414 h 624183"/>
                    <a:gd name="connsiteX1117" fmla="*/ 178113 w 590426"/>
                    <a:gd name="connsiteY1117" fmla="*/ 539450 h 624183"/>
                    <a:gd name="connsiteX1118" fmla="*/ 178489 w 590426"/>
                    <a:gd name="connsiteY1118" fmla="*/ 539450 h 624183"/>
                    <a:gd name="connsiteX1119" fmla="*/ 178866 w 590426"/>
                    <a:gd name="connsiteY1119" fmla="*/ 539414 h 624183"/>
                    <a:gd name="connsiteX1120" fmla="*/ 183006 w 590426"/>
                    <a:gd name="connsiteY1120" fmla="*/ 538952 h 624183"/>
                    <a:gd name="connsiteX1121" fmla="*/ 183540 w 590426"/>
                    <a:gd name="connsiteY1121" fmla="*/ 538891 h 624183"/>
                    <a:gd name="connsiteX1122" fmla="*/ 184063 w 590426"/>
                    <a:gd name="connsiteY1122" fmla="*/ 538734 h 624183"/>
                    <a:gd name="connsiteX1123" fmla="*/ 189806 w 590426"/>
                    <a:gd name="connsiteY1123" fmla="*/ 537021 h 624183"/>
                    <a:gd name="connsiteX1124" fmla="*/ 190146 w 590426"/>
                    <a:gd name="connsiteY1124" fmla="*/ 537386 h 624183"/>
                    <a:gd name="connsiteX1125" fmla="*/ 190960 w 590426"/>
                    <a:gd name="connsiteY1125" fmla="*/ 538272 h 624183"/>
                    <a:gd name="connsiteX1126" fmla="*/ 191336 w 590426"/>
                    <a:gd name="connsiteY1126" fmla="*/ 538673 h 624183"/>
                    <a:gd name="connsiteX1127" fmla="*/ 191773 w 590426"/>
                    <a:gd name="connsiteY1127" fmla="*/ 539001 h 624183"/>
                    <a:gd name="connsiteX1128" fmla="*/ 192623 w 590426"/>
                    <a:gd name="connsiteY1128" fmla="*/ 539632 h 624183"/>
                    <a:gd name="connsiteX1129" fmla="*/ 193522 w 590426"/>
                    <a:gd name="connsiteY1129" fmla="*/ 540312 h 624183"/>
                    <a:gd name="connsiteX1130" fmla="*/ 194603 w 590426"/>
                    <a:gd name="connsiteY1130" fmla="*/ 540616 h 624183"/>
                    <a:gd name="connsiteX1131" fmla="*/ 196618 w 590426"/>
                    <a:gd name="connsiteY1131" fmla="*/ 541186 h 624183"/>
                    <a:gd name="connsiteX1132" fmla="*/ 196922 w 590426"/>
                    <a:gd name="connsiteY1132" fmla="*/ 541271 h 624183"/>
                    <a:gd name="connsiteX1133" fmla="*/ 197238 w 590426"/>
                    <a:gd name="connsiteY1133" fmla="*/ 541320 h 624183"/>
                    <a:gd name="connsiteX1134" fmla="*/ 206248 w 590426"/>
                    <a:gd name="connsiteY1134" fmla="*/ 542862 h 624183"/>
                    <a:gd name="connsiteX1135" fmla="*/ 207037 w 590426"/>
                    <a:gd name="connsiteY1135" fmla="*/ 543154 h 624183"/>
                    <a:gd name="connsiteX1136" fmla="*/ 207122 w 590426"/>
                    <a:gd name="connsiteY1136" fmla="*/ 543202 h 624183"/>
                    <a:gd name="connsiteX1137" fmla="*/ 207584 w 590426"/>
                    <a:gd name="connsiteY1137" fmla="*/ 543603 h 624183"/>
                    <a:gd name="connsiteX1138" fmla="*/ 207851 w 590426"/>
                    <a:gd name="connsiteY1138" fmla="*/ 544975 h 624183"/>
                    <a:gd name="connsiteX1139" fmla="*/ 207924 w 590426"/>
                    <a:gd name="connsiteY1139" fmla="*/ 545339 h 624183"/>
                    <a:gd name="connsiteX1140" fmla="*/ 208045 w 590426"/>
                    <a:gd name="connsiteY1140" fmla="*/ 545704 h 624183"/>
                    <a:gd name="connsiteX1141" fmla="*/ 208458 w 590426"/>
                    <a:gd name="connsiteY1141" fmla="*/ 546966 h 624183"/>
                    <a:gd name="connsiteX1142" fmla="*/ 208713 w 590426"/>
                    <a:gd name="connsiteY1142" fmla="*/ 547707 h 624183"/>
                    <a:gd name="connsiteX1143" fmla="*/ 209138 w 590426"/>
                    <a:gd name="connsiteY1143" fmla="*/ 548375 h 624183"/>
                    <a:gd name="connsiteX1144" fmla="*/ 209891 w 590426"/>
                    <a:gd name="connsiteY1144" fmla="*/ 549517 h 624183"/>
                    <a:gd name="connsiteX1145" fmla="*/ 210206 w 590426"/>
                    <a:gd name="connsiteY1145" fmla="*/ 550014 h 624183"/>
                    <a:gd name="connsiteX1146" fmla="*/ 210631 w 590426"/>
                    <a:gd name="connsiteY1146" fmla="*/ 550452 h 624183"/>
                    <a:gd name="connsiteX1147" fmla="*/ 211445 w 590426"/>
                    <a:gd name="connsiteY1147" fmla="*/ 551289 h 624183"/>
                    <a:gd name="connsiteX1148" fmla="*/ 211967 w 590426"/>
                    <a:gd name="connsiteY1148" fmla="*/ 551836 h 624183"/>
                    <a:gd name="connsiteX1149" fmla="*/ 212623 w 590426"/>
                    <a:gd name="connsiteY1149" fmla="*/ 552237 h 624183"/>
                    <a:gd name="connsiteX1150" fmla="*/ 216581 w 590426"/>
                    <a:gd name="connsiteY1150" fmla="*/ 554665 h 624183"/>
                    <a:gd name="connsiteX1151" fmla="*/ 216909 w 590426"/>
                    <a:gd name="connsiteY1151" fmla="*/ 554957 h 624183"/>
                    <a:gd name="connsiteX1152" fmla="*/ 217735 w 590426"/>
                    <a:gd name="connsiteY1152" fmla="*/ 555867 h 624183"/>
                    <a:gd name="connsiteX1153" fmla="*/ 218949 w 590426"/>
                    <a:gd name="connsiteY1153" fmla="*/ 557021 h 624183"/>
                    <a:gd name="connsiteX1154" fmla="*/ 219459 w 590426"/>
                    <a:gd name="connsiteY1154" fmla="*/ 557507 h 624183"/>
                    <a:gd name="connsiteX1155" fmla="*/ 220066 w 590426"/>
                    <a:gd name="connsiteY1155" fmla="*/ 557859 h 624183"/>
                    <a:gd name="connsiteX1156" fmla="*/ 222131 w 590426"/>
                    <a:gd name="connsiteY1156" fmla="*/ 559037 h 624183"/>
                    <a:gd name="connsiteX1157" fmla="*/ 223430 w 590426"/>
                    <a:gd name="connsiteY1157" fmla="*/ 559777 h 624183"/>
                    <a:gd name="connsiteX1158" fmla="*/ 224924 w 590426"/>
                    <a:gd name="connsiteY1158" fmla="*/ 559826 h 624183"/>
                    <a:gd name="connsiteX1159" fmla="*/ 226599 w 590426"/>
                    <a:gd name="connsiteY1159" fmla="*/ 559887 h 624183"/>
                    <a:gd name="connsiteX1160" fmla="*/ 227328 w 590426"/>
                    <a:gd name="connsiteY1160" fmla="*/ 559911 h 624183"/>
                    <a:gd name="connsiteX1161" fmla="*/ 228044 w 590426"/>
                    <a:gd name="connsiteY1161" fmla="*/ 559765 h 624183"/>
                    <a:gd name="connsiteX1162" fmla="*/ 230862 w 590426"/>
                    <a:gd name="connsiteY1162" fmla="*/ 559182 h 624183"/>
                    <a:gd name="connsiteX1163" fmla="*/ 231189 w 590426"/>
                    <a:gd name="connsiteY1163" fmla="*/ 559122 h 624183"/>
                    <a:gd name="connsiteX1164" fmla="*/ 231505 w 590426"/>
                    <a:gd name="connsiteY1164" fmla="*/ 559012 h 624183"/>
                    <a:gd name="connsiteX1165" fmla="*/ 236350 w 590426"/>
                    <a:gd name="connsiteY1165" fmla="*/ 557446 h 624183"/>
                    <a:gd name="connsiteX1166" fmla="*/ 237868 w 590426"/>
                    <a:gd name="connsiteY1166" fmla="*/ 557167 h 624183"/>
                    <a:gd name="connsiteX1167" fmla="*/ 237965 w 590426"/>
                    <a:gd name="connsiteY1167" fmla="*/ 557409 h 624183"/>
                    <a:gd name="connsiteX1168" fmla="*/ 238402 w 590426"/>
                    <a:gd name="connsiteY1168" fmla="*/ 558223 h 624183"/>
                    <a:gd name="connsiteX1169" fmla="*/ 238730 w 590426"/>
                    <a:gd name="connsiteY1169" fmla="*/ 558745 h 624183"/>
                    <a:gd name="connsiteX1170" fmla="*/ 238390 w 590426"/>
                    <a:gd name="connsiteY1170" fmla="*/ 560773 h 624183"/>
                    <a:gd name="connsiteX1171" fmla="*/ 238172 w 590426"/>
                    <a:gd name="connsiteY1171" fmla="*/ 562072 h 624183"/>
                    <a:gd name="connsiteX1172" fmla="*/ 238512 w 590426"/>
                    <a:gd name="connsiteY1172" fmla="*/ 563347 h 624183"/>
                    <a:gd name="connsiteX1173" fmla="*/ 238900 w 590426"/>
                    <a:gd name="connsiteY1173" fmla="*/ 564804 h 624183"/>
                    <a:gd name="connsiteX1174" fmla="*/ 239240 w 590426"/>
                    <a:gd name="connsiteY1174" fmla="*/ 566067 h 624183"/>
                    <a:gd name="connsiteX1175" fmla="*/ 240066 w 590426"/>
                    <a:gd name="connsiteY1175" fmla="*/ 567075 h 624183"/>
                    <a:gd name="connsiteX1176" fmla="*/ 240989 w 590426"/>
                    <a:gd name="connsiteY1176" fmla="*/ 568192 h 624183"/>
                    <a:gd name="connsiteX1177" fmla="*/ 241814 w 590426"/>
                    <a:gd name="connsiteY1177" fmla="*/ 569200 h 624183"/>
                    <a:gd name="connsiteX1178" fmla="*/ 242980 w 590426"/>
                    <a:gd name="connsiteY1178" fmla="*/ 569771 h 624183"/>
                    <a:gd name="connsiteX1179" fmla="*/ 246526 w 590426"/>
                    <a:gd name="connsiteY1179" fmla="*/ 571544 h 624183"/>
                    <a:gd name="connsiteX1180" fmla="*/ 247412 w 590426"/>
                    <a:gd name="connsiteY1180" fmla="*/ 572746 h 624183"/>
                    <a:gd name="connsiteX1181" fmla="*/ 247631 w 590426"/>
                    <a:gd name="connsiteY1181" fmla="*/ 573025 h 624183"/>
                    <a:gd name="connsiteX1182" fmla="*/ 247874 w 590426"/>
                    <a:gd name="connsiteY1182" fmla="*/ 573280 h 624183"/>
                    <a:gd name="connsiteX1183" fmla="*/ 248687 w 590426"/>
                    <a:gd name="connsiteY1183" fmla="*/ 574142 h 624183"/>
                    <a:gd name="connsiteX1184" fmla="*/ 249695 w 590426"/>
                    <a:gd name="connsiteY1184" fmla="*/ 575211 h 624183"/>
                    <a:gd name="connsiteX1185" fmla="*/ 251080 w 590426"/>
                    <a:gd name="connsiteY1185" fmla="*/ 575709 h 624183"/>
                    <a:gd name="connsiteX1186" fmla="*/ 251662 w 590426"/>
                    <a:gd name="connsiteY1186" fmla="*/ 575915 h 624183"/>
                    <a:gd name="connsiteX1187" fmla="*/ 254140 w 590426"/>
                    <a:gd name="connsiteY1187" fmla="*/ 576802 h 624183"/>
                    <a:gd name="connsiteX1188" fmla="*/ 256483 w 590426"/>
                    <a:gd name="connsiteY1188" fmla="*/ 575587 h 624183"/>
                    <a:gd name="connsiteX1189" fmla="*/ 258135 w 590426"/>
                    <a:gd name="connsiteY1189" fmla="*/ 574737 h 624183"/>
                    <a:gd name="connsiteX1190" fmla="*/ 259434 w 590426"/>
                    <a:gd name="connsiteY1190" fmla="*/ 572892 h 624183"/>
                    <a:gd name="connsiteX1191" fmla="*/ 259567 w 590426"/>
                    <a:gd name="connsiteY1191" fmla="*/ 572649 h 624183"/>
                    <a:gd name="connsiteX1192" fmla="*/ 260733 w 590426"/>
                    <a:gd name="connsiteY1192" fmla="*/ 574531 h 624183"/>
                    <a:gd name="connsiteX1193" fmla="*/ 260891 w 590426"/>
                    <a:gd name="connsiteY1193" fmla="*/ 574786 h 624183"/>
                    <a:gd name="connsiteX1194" fmla="*/ 261073 w 590426"/>
                    <a:gd name="connsiteY1194" fmla="*/ 575005 h 624183"/>
                    <a:gd name="connsiteX1195" fmla="*/ 260162 w 590426"/>
                    <a:gd name="connsiteY1195" fmla="*/ 575952 h 624183"/>
                    <a:gd name="connsiteX1196" fmla="*/ 259385 w 590426"/>
                    <a:gd name="connsiteY1196" fmla="*/ 576984 h 624183"/>
                    <a:gd name="connsiteX1197" fmla="*/ 258766 w 590426"/>
                    <a:gd name="connsiteY1197" fmla="*/ 578696 h 624183"/>
                    <a:gd name="connsiteX1198" fmla="*/ 258584 w 590426"/>
                    <a:gd name="connsiteY1198" fmla="*/ 579473 h 624183"/>
                    <a:gd name="connsiteX1199" fmla="*/ 258462 w 590426"/>
                    <a:gd name="connsiteY1199" fmla="*/ 580007 h 624183"/>
                    <a:gd name="connsiteX1200" fmla="*/ 258438 w 590426"/>
                    <a:gd name="connsiteY1200" fmla="*/ 580554 h 624183"/>
                    <a:gd name="connsiteX1201" fmla="*/ 258377 w 590426"/>
                    <a:gd name="connsiteY1201" fmla="*/ 581950 h 624183"/>
                    <a:gd name="connsiteX1202" fmla="*/ 258353 w 590426"/>
                    <a:gd name="connsiteY1202" fmla="*/ 582485 h 624183"/>
                    <a:gd name="connsiteX1203" fmla="*/ 258414 w 590426"/>
                    <a:gd name="connsiteY1203" fmla="*/ 583007 h 624183"/>
                    <a:gd name="connsiteX1204" fmla="*/ 258620 w 590426"/>
                    <a:gd name="connsiteY1204" fmla="*/ 584622 h 624183"/>
                    <a:gd name="connsiteX1205" fmla="*/ 258110 w 590426"/>
                    <a:gd name="connsiteY1205" fmla="*/ 584901 h 624183"/>
                    <a:gd name="connsiteX1206" fmla="*/ 257819 w 590426"/>
                    <a:gd name="connsiteY1206" fmla="*/ 584998 h 624183"/>
                    <a:gd name="connsiteX1207" fmla="*/ 256228 w 590426"/>
                    <a:gd name="connsiteY1207" fmla="*/ 585678 h 624183"/>
                    <a:gd name="connsiteX1208" fmla="*/ 255232 w 590426"/>
                    <a:gd name="connsiteY1208" fmla="*/ 586127 h 624183"/>
                    <a:gd name="connsiteX1209" fmla="*/ 254455 w 590426"/>
                    <a:gd name="connsiteY1209" fmla="*/ 586893 h 624183"/>
                    <a:gd name="connsiteX1210" fmla="*/ 252646 w 590426"/>
                    <a:gd name="connsiteY1210" fmla="*/ 588665 h 624183"/>
                    <a:gd name="connsiteX1211" fmla="*/ 252245 w 590426"/>
                    <a:gd name="connsiteY1211" fmla="*/ 591604 h 624183"/>
                    <a:gd name="connsiteX1212" fmla="*/ 252245 w 590426"/>
                    <a:gd name="connsiteY1212" fmla="*/ 592260 h 624183"/>
                    <a:gd name="connsiteX1213" fmla="*/ 252245 w 590426"/>
                    <a:gd name="connsiteY1213" fmla="*/ 593365 h 624183"/>
                    <a:gd name="connsiteX1214" fmla="*/ 252634 w 590426"/>
                    <a:gd name="connsiteY1214" fmla="*/ 594397 h 624183"/>
                    <a:gd name="connsiteX1215" fmla="*/ 253035 w 590426"/>
                    <a:gd name="connsiteY1215" fmla="*/ 595465 h 624183"/>
                    <a:gd name="connsiteX1216" fmla="*/ 253496 w 590426"/>
                    <a:gd name="connsiteY1216" fmla="*/ 596692 h 624183"/>
                    <a:gd name="connsiteX1217" fmla="*/ 254419 w 590426"/>
                    <a:gd name="connsiteY1217" fmla="*/ 597615 h 624183"/>
                    <a:gd name="connsiteX1218" fmla="*/ 255208 w 590426"/>
                    <a:gd name="connsiteY1218" fmla="*/ 598404 h 624183"/>
                    <a:gd name="connsiteX1219" fmla="*/ 255050 w 590426"/>
                    <a:gd name="connsiteY1219" fmla="*/ 598659 h 624183"/>
                    <a:gd name="connsiteX1220" fmla="*/ 255597 w 590426"/>
                    <a:gd name="connsiteY1220" fmla="*/ 601100 h 624183"/>
                    <a:gd name="connsiteX1221" fmla="*/ 255779 w 590426"/>
                    <a:gd name="connsiteY1221" fmla="*/ 601913 h 624183"/>
                    <a:gd name="connsiteX1222" fmla="*/ 256010 w 590426"/>
                    <a:gd name="connsiteY1222" fmla="*/ 602897 h 624183"/>
                    <a:gd name="connsiteX1223" fmla="*/ 256532 w 590426"/>
                    <a:gd name="connsiteY1223" fmla="*/ 603759 h 624183"/>
                    <a:gd name="connsiteX1224" fmla="*/ 257272 w 590426"/>
                    <a:gd name="connsiteY1224" fmla="*/ 604961 h 624183"/>
                    <a:gd name="connsiteX1225" fmla="*/ 257746 w 590426"/>
                    <a:gd name="connsiteY1225" fmla="*/ 605714 h 624183"/>
                    <a:gd name="connsiteX1226" fmla="*/ 258414 w 590426"/>
                    <a:gd name="connsiteY1226" fmla="*/ 606297 h 624183"/>
                    <a:gd name="connsiteX1227" fmla="*/ 260490 w 590426"/>
                    <a:gd name="connsiteY1227" fmla="*/ 608155 h 624183"/>
                    <a:gd name="connsiteX1228" fmla="*/ 261134 w 590426"/>
                    <a:gd name="connsiteY1228" fmla="*/ 608883 h 624183"/>
                    <a:gd name="connsiteX1229" fmla="*/ 261195 w 590426"/>
                    <a:gd name="connsiteY1229" fmla="*/ 609369 h 624183"/>
                    <a:gd name="connsiteX1230" fmla="*/ 261255 w 590426"/>
                    <a:gd name="connsiteY1230" fmla="*/ 609879 h 624183"/>
                    <a:gd name="connsiteX1231" fmla="*/ 261401 w 590426"/>
                    <a:gd name="connsiteY1231" fmla="*/ 610377 h 624183"/>
                    <a:gd name="connsiteX1232" fmla="*/ 261632 w 590426"/>
                    <a:gd name="connsiteY1232" fmla="*/ 611154 h 624183"/>
                    <a:gd name="connsiteX1233" fmla="*/ 261765 w 590426"/>
                    <a:gd name="connsiteY1233" fmla="*/ 611616 h 624183"/>
                    <a:gd name="connsiteX1234" fmla="*/ 261972 w 590426"/>
                    <a:gd name="connsiteY1234" fmla="*/ 612053 h 624183"/>
                    <a:gd name="connsiteX1235" fmla="*/ 262822 w 590426"/>
                    <a:gd name="connsiteY1235" fmla="*/ 613825 h 624183"/>
                    <a:gd name="connsiteX1236" fmla="*/ 263101 w 590426"/>
                    <a:gd name="connsiteY1236" fmla="*/ 614676 h 624183"/>
                    <a:gd name="connsiteX1237" fmla="*/ 264109 w 590426"/>
                    <a:gd name="connsiteY1237" fmla="*/ 618925 h 624183"/>
                    <a:gd name="connsiteX1238" fmla="*/ 265080 w 590426"/>
                    <a:gd name="connsiteY1238" fmla="*/ 622896 h 624183"/>
                    <a:gd name="connsiteX1239" fmla="*/ 269124 w 590426"/>
                    <a:gd name="connsiteY1239" fmla="*/ 623503 h 624183"/>
                    <a:gd name="connsiteX1240" fmla="*/ 271710 w 590426"/>
                    <a:gd name="connsiteY1240" fmla="*/ 623892 h 624183"/>
                    <a:gd name="connsiteX1241" fmla="*/ 273726 w 590426"/>
                    <a:gd name="connsiteY1241" fmla="*/ 624183 h 624183"/>
                    <a:gd name="connsiteX1242" fmla="*/ 275511 w 590426"/>
                    <a:gd name="connsiteY1242" fmla="*/ 623212 h 624183"/>
                    <a:gd name="connsiteX1243" fmla="*/ 278389 w 590426"/>
                    <a:gd name="connsiteY1243" fmla="*/ 621645 h 624183"/>
                    <a:gd name="connsiteX1244" fmla="*/ 282627 w 590426"/>
                    <a:gd name="connsiteY1244" fmla="*/ 620771 h 624183"/>
                    <a:gd name="connsiteX1245" fmla="*/ 284327 w 590426"/>
                    <a:gd name="connsiteY1245" fmla="*/ 620419 h 624183"/>
                    <a:gd name="connsiteX1246" fmla="*/ 285590 w 590426"/>
                    <a:gd name="connsiteY1246" fmla="*/ 619217 h 624183"/>
                    <a:gd name="connsiteX1247" fmla="*/ 286804 w 590426"/>
                    <a:gd name="connsiteY1247" fmla="*/ 618063 h 624183"/>
                    <a:gd name="connsiteX1248" fmla="*/ 288225 w 590426"/>
                    <a:gd name="connsiteY1248" fmla="*/ 616716 h 624183"/>
                    <a:gd name="connsiteX1249" fmla="*/ 288577 w 590426"/>
                    <a:gd name="connsiteY1249" fmla="*/ 614785 h 624183"/>
                    <a:gd name="connsiteX1250" fmla="*/ 288905 w 590426"/>
                    <a:gd name="connsiteY1250" fmla="*/ 613012 h 624183"/>
                    <a:gd name="connsiteX1251" fmla="*/ 289245 w 590426"/>
                    <a:gd name="connsiteY1251" fmla="*/ 611203 h 624183"/>
                    <a:gd name="connsiteX1252" fmla="*/ 288516 w 590426"/>
                    <a:gd name="connsiteY1252" fmla="*/ 609503 h 624183"/>
                    <a:gd name="connsiteX1253" fmla="*/ 287763 w 590426"/>
                    <a:gd name="connsiteY1253" fmla="*/ 607742 h 624183"/>
                    <a:gd name="connsiteX1254" fmla="*/ 287521 w 590426"/>
                    <a:gd name="connsiteY1254" fmla="*/ 607183 h 624183"/>
                    <a:gd name="connsiteX1255" fmla="*/ 287181 w 590426"/>
                    <a:gd name="connsiteY1255" fmla="*/ 606673 h 624183"/>
                    <a:gd name="connsiteX1256" fmla="*/ 286792 w 590426"/>
                    <a:gd name="connsiteY1256" fmla="*/ 606115 h 624183"/>
                    <a:gd name="connsiteX1257" fmla="*/ 287059 w 590426"/>
                    <a:gd name="connsiteY1257" fmla="*/ 605520 h 624183"/>
                    <a:gd name="connsiteX1258" fmla="*/ 288346 w 590426"/>
                    <a:gd name="connsiteY1258" fmla="*/ 603395 h 624183"/>
                    <a:gd name="connsiteX1259" fmla="*/ 288868 w 590426"/>
                    <a:gd name="connsiteY1259" fmla="*/ 603577 h 624183"/>
                    <a:gd name="connsiteX1260" fmla="*/ 290787 w 590426"/>
                    <a:gd name="connsiteY1260" fmla="*/ 602970 h 624183"/>
                    <a:gd name="connsiteX1261" fmla="*/ 292098 w 590426"/>
                    <a:gd name="connsiteY1261" fmla="*/ 602557 h 624183"/>
                    <a:gd name="connsiteX1262" fmla="*/ 295353 w 590426"/>
                    <a:gd name="connsiteY1262" fmla="*/ 601537 h 624183"/>
                    <a:gd name="connsiteX1263" fmla="*/ 296166 w 590426"/>
                    <a:gd name="connsiteY1263" fmla="*/ 598234 h 624183"/>
                    <a:gd name="connsiteX1264" fmla="*/ 296579 w 590426"/>
                    <a:gd name="connsiteY1264" fmla="*/ 596583 h 624183"/>
                    <a:gd name="connsiteX1265" fmla="*/ 296810 w 590426"/>
                    <a:gd name="connsiteY1265" fmla="*/ 595648 h 624183"/>
                    <a:gd name="connsiteX1266" fmla="*/ 296749 w 590426"/>
                    <a:gd name="connsiteY1266" fmla="*/ 594700 h 624183"/>
                    <a:gd name="connsiteX1267" fmla="*/ 296725 w 590426"/>
                    <a:gd name="connsiteY1267" fmla="*/ 594373 h 624183"/>
                    <a:gd name="connsiteX1268" fmla="*/ 300526 w 590426"/>
                    <a:gd name="connsiteY1268" fmla="*/ 591227 h 624183"/>
                    <a:gd name="connsiteX1269" fmla="*/ 301048 w 590426"/>
                    <a:gd name="connsiteY1269" fmla="*/ 590790 h 624183"/>
                    <a:gd name="connsiteX1270" fmla="*/ 301461 w 590426"/>
                    <a:gd name="connsiteY1270" fmla="*/ 590256 h 624183"/>
                    <a:gd name="connsiteX1271" fmla="*/ 302954 w 590426"/>
                    <a:gd name="connsiteY1271" fmla="*/ 588325 h 624183"/>
                    <a:gd name="connsiteX1272" fmla="*/ 303221 w 590426"/>
                    <a:gd name="connsiteY1272" fmla="*/ 587985 h 624183"/>
                    <a:gd name="connsiteX1273" fmla="*/ 303440 w 590426"/>
                    <a:gd name="connsiteY1273" fmla="*/ 587609 h 624183"/>
                    <a:gd name="connsiteX1274" fmla="*/ 307690 w 590426"/>
                    <a:gd name="connsiteY1274" fmla="*/ 580105 h 624183"/>
                    <a:gd name="connsiteX1275" fmla="*/ 311563 w 590426"/>
                    <a:gd name="connsiteY1275" fmla="*/ 575515 h 624183"/>
                    <a:gd name="connsiteX1276" fmla="*/ 311831 w 590426"/>
                    <a:gd name="connsiteY1276" fmla="*/ 575199 h 624183"/>
                    <a:gd name="connsiteX1277" fmla="*/ 312049 w 590426"/>
                    <a:gd name="connsiteY1277" fmla="*/ 574859 h 624183"/>
                    <a:gd name="connsiteX1278" fmla="*/ 312669 w 590426"/>
                    <a:gd name="connsiteY1278" fmla="*/ 573887 h 624183"/>
                    <a:gd name="connsiteX1279" fmla="*/ 313081 w 590426"/>
                    <a:gd name="connsiteY1279" fmla="*/ 574082 h 624183"/>
                    <a:gd name="connsiteX1280" fmla="*/ 319493 w 590426"/>
                    <a:gd name="connsiteY1280" fmla="*/ 576802 h 624183"/>
                    <a:gd name="connsiteX1281" fmla="*/ 320391 w 590426"/>
                    <a:gd name="connsiteY1281" fmla="*/ 577178 h 624183"/>
                    <a:gd name="connsiteX1282" fmla="*/ 321363 w 590426"/>
                    <a:gd name="connsiteY1282" fmla="*/ 577263 h 624183"/>
                    <a:gd name="connsiteX1283" fmla="*/ 324933 w 590426"/>
                    <a:gd name="connsiteY1283" fmla="*/ 577555 h 624183"/>
                    <a:gd name="connsiteX1284" fmla="*/ 325589 w 590426"/>
                    <a:gd name="connsiteY1284" fmla="*/ 577603 h 624183"/>
                    <a:gd name="connsiteX1285" fmla="*/ 326244 w 590426"/>
                    <a:gd name="connsiteY1285" fmla="*/ 577506 h 624183"/>
                    <a:gd name="connsiteX1286" fmla="*/ 326378 w 590426"/>
                    <a:gd name="connsiteY1286" fmla="*/ 577494 h 624183"/>
                    <a:gd name="connsiteX1287" fmla="*/ 330749 w 590426"/>
                    <a:gd name="connsiteY1287" fmla="*/ 580153 h 624183"/>
                    <a:gd name="connsiteX1288" fmla="*/ 331721 w 590426"/>
                    <a:gd name="connsiteY1288" fmla="*/ 580736 h 624183"/>
                    <a:gd name="connsiteX1289" fmla="*/ 332850 w 590426"/>
                    <a:gd name="connsiteY1289" fmla="*/ 580942 h 624183"/>
                    <a:gd name="connsiteX1290" fmla="*/ 338314 w 590426"/>
                    <a:gd name="connsiteY1290" fmla="*/ 581914 h 624183"/>
                    <a:gd name="connsiteX1291" fmla="*/ 339249 w 590426"/>
                    <a:gd name="connsiteY1291" fmla="*/ 582084 h 624183"/>
                    <a:gd name="connsiteX1292" fmla="*/ 340197 w 590426"/>
                    <a:gd name="connsiteY1292" fmla="*/ 581962 h 624183"/>
                    <a:gd name="connsiteX1293" fmla="*/ 343803 w 590426"/>
                    <a:gd name="connsiteY1293" fmla="*/ 581477 h 624183"/>
                    <a:gd name="connsiteX1294" fmla="*/ 344459 w 590426"/>
                    <a:gd name="connsiteY1294" fmla="*/ 581392 h 624183"/>
                    <a:gd name="connsiteX1295" fmla="*/ 345078 w 590426"/>
                    <a:gd name="connsiteY1295" fmla="*/ 581161 h 624183"/>
                    <a:gd name="connsiteX1296" fmla="*/ 347798 w 590426"/>
                    <a:gd name="connsiteY1296" fmla="*/ 580165 h 624183"/>
                    <a:gd name="connsiteX1297" fmla="*/ 350166 w 590426"/>
                    <a:gd name="connsiteY1297" fmla="*/ 579898 h 624183"/>
                    <a:gd name="connsiteX1298" fmla="*/ 355861 w 590426"/>
                    <a:gd name="connsiteY1298" fmla="*/ 581003 h 624183"/>
                    <a:gd name="connsiteX1299" fmla="*/ 357039 w 590426"/>
                    <a:gd name="connsiteY1299" fmla="*/ 581234 h 624183"/>
                    <a:gd name="connsiteX1300" fmla="*/ 358217 w 590426"/>
                    <a:gd name="connsiteY1300" fmla="*/ 580991 h 624183"/>
                    <a:gd name="connsiteX1301" fmla="*/ 360512 w 590426"/>
                    <a:gd name="connsiteY1301" fmla="*/ 580530 h 624183"/>
                    <a:gd name="connsiteX1302" fmla="*/ 362394 w 590426"/>
                    <a:gd name="connsiteY1302" fmla="*/ 580153 h 624183"/>
                    <a:gd name="connsiteX1303" fmla="*/ 363717 w 590426"/>
                    <a:gd name="connsiteY1303" fmla="*/ 578757 h 624183"/>
                    <a:gd name="connsiteX1304" fmla="*/ 365029 w 590426"/>
                    <a:gd name="connsiteY1304" fmla="*/ 577372 h 624183"/>
                    <a:gd name="connsiteX1305" fmla="*/ 366365 w 590426"/>
                    <a:gd name="connsiteY1305" fmla="*/ 575964 h 624183"/>
                    <a:gd name="connsiteX1306" fmla="*/ 366632 w 590426"/>
                    <a:gd name="connsiteY1306" fmla="*/ 574045 h 624183"/>
                    <a:gd name="connsiteX1307" fmla="*/ 366862 w 590426"/>
                    <a:gd name="connsiteY1307" fmla="*/ 572406 h 624183"/>
                    <a:gd name="connsiteX1308" fmla="*/ 366996 w 590426"/>
                    <a:gd name="connsiteY1308" fmla="*/ 571483 h 624183"/>
                    <a:gd name="connsiteX1309" fmla="*/ 366947 w 590426"/>
                    <a:gd name="connsiteY1309" fmla="*/ 571180 h 624183"/>
                    <a:gd name="connsiteX1310" fmla="*/ 370517 w 590426"/>
                    <a:gd name="connsiteY1310" fmla="*/ 569516 h 624183"/>
                    <a:gd name="connsiteX1311" fmla="*/ 374100 w 590426"/>
                    <a:gd name="connsiteY1311" fmla="*/ 568484 h 624183"/>
                    <a:gd name="connsiteX1312" fmla="*/ 374755 w 590426"/>
                    <a:gd name="connsiteY1312" fmla="*/ 568520 h 624183"/>
                    <a:gd name="connsiteX1313" fmla="*/ 375800 w 590426"/>
                    <a:gd name="connsiteY1313" fmla="*/ 568715 h 624183"/>
                    <a:gd name="connsiteX1314" fmla="*/ 377876 w 590426"/>
                    <a:gd name="connsiteY1314" fmla="*/ 569322 h 624183"/>
                    <a:gd name="connsiteX1315" fmla="*/ 378459 w 590426"/>
                    <a:gd name="connsiteY1315" fmla="*/ 569577 h 624183"/>
                    <a:gd name="connsiteX1316" fmla="*/ 381288 w 590426"/>
                    <a:gd name="connsiteY1316" fmla="*/ 571835 h 624183"/>
                    <a:gd name="connsiteX1317" fmla="*/ 381616 w 590426"/>
                    <a:gd name="connsiteY1317" fmla="*/ 572321 h 624183"/>
                    <a:gd name="connsiteX1318" fmla="*/ 384130 w 590426"/>
                    <a:gd name="connsiteY1318" fmla="*/ 578380 h 624183"/>
                    <a:gd name="connsiteX1319" fmla="*/ 384324 w 590426"/>
                    <a:gd name="connsiteY1319" fmla="*/ 578842 h 624183"/>
                    <a:gd name="connsiteX1320" fmla="*/ 384579 w 590426"/>
                    <a:gd name="connsiteY1320" fmla="*/ 579267 h 624183"/>
                    <a:gd name="connsiteX1321" fmla="*/ 385040 w 590426"/>
                    <a:gd name="connsiteY1321" fmla="*/ 580007 h 624183"/>
                    <a:gd name="connsiteX1322" fmla="*/ 385344 w 590426"/>
                    <a:gd name="connsiteY1322" fmla="*/ 580493 h 624183"/>
                    <a:gd name="connsiteX1323" fmla="*/ 385733 w 590426"/>
                    <a:gd name="connsiteY1323" fmla="*/ 580918 h 624183"/>
                    <a:gd name="connsiteX1324" fmla="*/ 387858 w 590426"/>
                    <a:gd name="connsiteY1324" fmla="*/ 583213 h 624183"/>
                    <a:gd name="connsiteX1325" fmla="*/ 389521 w 590426"/>
                    <a:gd name="connsiteY1325" fmla="*/ 585010 h 624183"/>
                    <a:gd name="connsiteX1326" fmla="*/ 391962 w 590426"/>
                    <a:gd name="connsiteY1326" fmla="*/ 585156 h 624183"/>
                    <a:gd name="connsiteX1327" fmla="*/ 395131 w 590426"/>
                    <a:gd name="connsiteY1327" fmla="*/ 585338 h 624183"/>
                    <a:gd name="connsiteX1328" fmla="*/ 400341 w 590426"/>
                    <a:gd name="connsiteY1328" fmla="*/ 587075 h 624183"/>
                    <a:gd name="connsiteX1329" fmla="*/ 401288 w 590426"/>
                    <a:gd name="connsiteY1329" fmla="*/ 587390 h 624183"/>
                    <a:gd name="connsiteX1330" fmla="*/ 402296 w 590426"/>
                    <a:gd name="connsiteY1330" fmla="*/ 587390 h 624183"/>
                    <a:gd name="connsiteX1331" fmla="*/ 405513 w 590426"/>
                    <a:gd name="connsiteY1331" fmla="*/ 587366 h 624183"/>
                    <a:gd name="connsiteX1332" fmla="*/ 406521 w 590426"/>
                    <a:gd name="connsiteY1332" fmla="*/ 587366 h 624183"/>
                    <a:gd name="connsiteX1333" fmla="*/ 407468 w 590426"/>
                    <a:gd name="connsiteY1333" fmla="*/ 587038 h 624183"/>
                    <a:gd name="connsiteX1334" fmla="*/ 410055 w 590426"/>
                    <a:gd name="connsiteY1334" fmla="*/ 586140 h 624183"/>
                    <a:gd name="connsiteX1335" fmla="*/ 410443 w 590426"/>
                    <a:gd name="connsiteY1335" fmla="*/ 586006 h 624183"/>
                    <a:gd name="connsiteX1336" fmla="*/ 410808 w 590426"/>
                    <a:gd name="connsiteY1336" fmla="*/ 585824 h 624183"/>
                    <a:gd name="connsiteX1337" fmla="*/ 414329 w 590426"/>
                    <a:gd name="connsiteY1337" fmla="*/ 584039 h 624183"/>
                    <a:gd name="connsiteX1338" fmla="*/ 415131 w 590426"/>
                    <a:gd name="connsiteY1338" fmla="*/ 583772 h 624183"/>
                    <a:gd name="connsiteX1339" fmla="*/ 419150 w 590426"/>
                    <a:gd name="connsiteY1339" fmla="*/ 584027 h 624183"/>
                    <a:gd name="connsiteX1340" fmla="*/ 420206 w 590426"/>
                    <a:gd name="connsiteY1340" fmla="*/ 584087 h 624183"/>
                    <a:gd name="connsiteX1341" fmla="*/ 421226 w 590426"/>
                    <a:gd name="connsiteY1341" fmla="*/ 583796 h 624183"/>
                    <a:gd name="connsiteX1342" fmla="*/ 423473 w 590426"/>
                    <a:gd name="connsiteY1342" fmla="*/ 583140 h 624183"/>
                    <a:gd name="connsiteX1343" fmla="*/ 424699 w 590426"/>
                    <a:gd name="connsiteY1343" fmla="*/ 582788 h 624183"/>
                    <a:gd name="connsiteX1344" fmla="*/ 425683 w 590426"/>
                    <a:gd name="connsiteY1344" fmla="*/ 581962 h 624183"/>
                    <a:gd name="connsiteX1345" fmla="*/ 427225 w 590426"/>
                    <a:gd name="connsiteY1345" fmla="*/ 580663 h 624183"/>
                    <a:gd name="connsiteX1346" fmla="*/ 427723 w 590426"/>
                    <a:gd name="connsiteY1346" fmla="*/ 580250 h 624183"/>
                    <a:gd name="connsiteX1347" fmla="*/ 428111 w 590426"/>
                    <a:gd name="connsiteY1347" fmla="*/ 579740 h 624183"/>
                    <a:gd name="connsiteX1348" fmla="*/ 433175 w 590426"/>
                    <a:gd name="connsiteY1348" fmla="*/ 573244 h 624183"/>
                    <a:gd name="connsiteX1349" fmla="*/ 439089 w 590426"/>
                    <a:gd name="connsiteY1349" fmla="*/ 570706 h 624183"/>
                    <a:gd name="connsiteX1350" fmla="*/ 442622 w 590426"/>
                    <a:gd name="connsiteY1350" fmla="*/ 569844 h 624183"/>
                    <a:gd name="connsiteX1351" fmla="*/ 443363 w 590426"/>
                    <a:gd name="connsiteY1351" fmla="*/ 569662 h 624183"/>
                    <a:gd name="connsiteX1352" fmla="*/ 444031 w 590426"/>
                    <a:gd name="connsiteY1352" fmla="*/ 569310 h 624183"/>
                    <a:gd name="connsiteX1353" fmla="*/ 446678 w 590426"/>
                    <a:gd name="connsiteY1353" fmla="*/ 567901 h 624183"/>
                    <a:gd name="connsiteX1354" fmla="*/ 447067 w 590426"/>
                    <a:gd name="connsiteY1354" fmla="*/ 567695 h 624183"/>
                    <a:gd name="connsiteX1355" fmla="*/ 447419 w 590426"/>
                    <a:gd name="connsiteY1355" fmla="*/ 567439 h 624183"/>
                    <a:gd name="connsiteX1356" fmla="*/ 451232 w 590426"/>
                    <a:gd name="connsiteY1356" fmla="*/ 564634 h 624183"/>
                    <a:gd name="connsiteX1357" fmla="*/ 456320 w 590426"/>
                    <a:gd name="connsiteY1357" fmla="*/ 562109 h 624183"/>
                    <a:gd name="connsiteX1358" fmla="*/ 457133 w 590426"/>
                    <a:gd name="connsiteY1358" fmla="*/ 561708 h 624183"/>
                    <a:gd name="connsiteX1359" fmla="*/ 457801 w 590426"/>
                    <a:gd name="connsiteY1359" fmla="*/ 561077 h 624183"/>
                    <a:gd name="connsiteX1360" fmla="*/ 460035 w 590426"/>
                    <a:gd name="connsiteY1360" fmla="*/ 558952 h 624183"/>
                    <a:gd name="connsiteX1361" fmla="*/ 461760 w 590426"/>
                    <a:gd name="connsiteY1361" fmla="*/ 557312 h 624183"/>
                    <a:gd name="connsiteX1362" fmla="*/ 461917 w 590426"/>
                    <a:gd name="connsiteY1362" fmla="*/ 554944 h 624183"/>
                    <a:gd name="connsiteX1363" fmla="*/ 462039 w 590426"/>
                    <a:gd name="connsiteY1363" fmla="*/ 553074 h 624183"/>
                    <a:gd name="connsiteX1364" fmla="*/ 462209 w 590426"/>
                    <a:gd name="connsiteY1364" fmla="*/ 550452 h 624183"/>
                    <a:gd name="connsiteX1365" fmla="*/ 460424 w 590426"/>
                    <a:gd name="connsiteY1365" fmla="*/ 548533 h 624183"/>
                    <a:gd name="connsiteX1366" fmla="*/ 459052 w 590426"/>
                    <a:gd name="connsiteY1366" fmla="*/ 547052 h 624183"/>
                    <a:gd name="connsiteX1367" fmla="*/ 458457 w 590426"/>
                    <a:gd name="connsiteY1367" fmla="*/ 546408 h 624183"/>
                    <a:gd name="connsiteX1368" fmla="*/ 457692 w 590426"/>
                    <a:gd name="connsiteY1368" fmla="*/ 545959 h 624183"/>
                    <a:gd name="connsiteX1369" fmla="*/ 454656 w 590426"/>
                    <a:gd name="connsiteY1369" fmla="*/ 544174 h 624183"/>
                    <a:gd name="connsiteX1370" fmla="*/ 454547 w 590426"/>
                    <a:gd name="connsiteY1370" fmla="*/ 544076 h 624183"/>
                    <a:gd name="connsiteX1371" fmla="*/ 454462 w 590426"/>
                    <a:gd name="connsiteY1371" fmla="*/ 543919 h 624183"/>
                    <a:gd name="connsiteX1372" fmla="*/ 454134 w 590426"/>
                    <a:gd name="connsiteY1372" fmla="*/ 542777 h 624183"/>
                    <a:gd name="connsiteX1373" fmla="*/ 453150 w 590426"/>
                    <a:gd name="connsiteY1373" fmla="*/ 540215 h 624183"/>
                    <a:gd name="connsiteX1374" fmla="*/ 453004 w 590426"/>
                    <a:gd name="connsiteY1374" fmla="*/ 539656 h 624183"/>
                    <a:gd name="connsiteX1375" fmla="*/ 452883 w 590426"/>
                    <a:gd name="connsiteY1375" fmla="*/ 538794 h 624183"/>
                    <a:gd name="connsiteX1376" fmla="*/ 452968 w 590426"/>
                    <a:gd name="connsiteY1376" fmla="*/ 538151 h 624183"/>
                    <a:gd name="connsiteX1377" fmla="*/ 453891 w 590426"/>
                    <a:gd name="connsiteY1377" fmla="*/ 534690 h 624183"/>
                    <a:gd name="connsiteX1378" fmla="*/ 457230 w 590426"/>
                    <a:gd name="connsiteY1378" fmla="*/ 525777 h 624183"/>
                    <a:gd name="connsiteX1379" fmla="*/ 458032 w 590426"/>
                    <a:gd name="connsiteY1379" fmla="*/ 524296 h 624183"/>
                    <a:gd name="connsiteX1380" fmla="*/ 459210 w 590426"/>
                    <a:gd name="connsiteY1380" fmla="*/ 522948 h 624183"/>
                    <a:gd name="connsiteX1381" fmla="*/ 459428 w 590426"/>
                    <a:gd name="connsiteY1381" fmla="*/ 522693 h 624183"/>
                    <a:gd name="connsiteX1382" fmla="*/ 459622 w 590426"/>
                    <a:gd name="connsiteY1382" fmla="*/ 522426 h 624183"/>
                    <a:gd name="connsiteX1383" fmla="*/ 460181 w 590426"/>
                    <a:gd name="connsiteY1383" fmla="*/ 521624 h 624183"/>
                    <a:gd name="connsiteX1384" fmla="*/ 460776 w 590426"/>
                    <a:gd name="connsiteY1384" fmla="*/ 520774 h 624183"/>
                    <a:gd name="connsiteX1385" fmla="*/ 461043 w 590426"/>
                    <a:gd name="connsiteY1385" fmla="*/ 519766 h 624183"/>
                    <a:gd name="connsiteX1386" fmla="*/ 461286 w 590426"/>
                    <a:gd name="connsiteY1386" fmla="*/ 518880 h 624183"/>
                    <a:gd name="connsiteX1387" fmla="*/ 461832 w 590426"/>
                    <a:gd name="connsiteY1387" fmla="*/ 516888 h 624183"/>
                    <a:gd name="connsiteX1388" fmla="*/ 461517 w 590426"/>
                    <a:gd name="connsiteY1388" fmla="*/ 516123 h 624183"/>
                    <a:gd name="connsiteX1389" fmla="*/ 461917 w 590426"/>
                    <a:gd name="connsiteY1389" fmla="*/ 516063 h 624183"/>
                    <a:gd name="connsiteX1390" fmla="*/ 462986 w 590426"/>
                    <a:gd name="connsiteY1390" fmla="*/ 515383 h 624183"/>
                    <a:gd name="connsiteX1391" fmla="*/ 464200 w 590426"/>
                    <a:gd name="connsiteY1391" fmla="*/ 514606 h 624183"/>
                    <a:gd name="connsiteX1392" fmla="*/ 468025 w 590426"/>
                    <a:gd name="connsiteY1392" fmla="*/ 512165 h 624183"/>
                    <a:gd name="connsiteX1393" fmla="*/ 467831 w 590426"/>
                    <a:gd name="connsiteY1393" fmla="*/ 511509 h 624183"/>
                    <a:gd name="connsiteX1394" fmla="*/ 467892 w 590426"/>
                    <a:gd name="connsiteY1394" fmla="*/ 511521 h 624183"/>
                    <a:gd name="connsiteX1395" fmla="*/ 468426 w 590426"/>
                    <a:gd name="connsiteY1395" fmla="*/ 511691 h 624183"/>
                    <a:gd name="connsiteX1396" fmla="*/ 468972 w 590426"/>
                    <a:gd name="connsiteY1396" fmla="*/ 511764 h 624183"/>
                    <a:gd name="connsiteX1397" fmla="*/ 470587 w 590426"/>
                    <a:gd name="connsiteY1397" fmla="*/ 511958 h 624183"/>
                    <a:gd name="connsiteX1398" fmla="*/ 471207 w 590426"/>
                    <a:gd name="connsiteY1398" fmla="*/ 512031 h 624183"/>
                    <a:gd name="connsiteX1399" fmla="*/ 471838 w 590426"/>
                    <a:gd name="connsiteY1399" fmla="*/ 511983 h 624183"/>
                    <a:gd name="connsiteX1400" fmla="*/ 473550 w 590426"/>
                    <a:gd name="connsiteY1400" fmla="*/ 511837 h 624183"/>
                    <a:gd name="connsiteX1401" fmla="*/ 474971 w 590426"/>
                    <a:gd name="connsiteY1401" fmla="*/ 511716 h 624183"/>
                    <a:gd name="connsiteX1402" fmla="*/ 476198 w 590426"/>
                    <a:gd name="connsiteY1402" fmla="*/ 510975 h 624183"/>
                    <a:gd name="connsiteX1403" fmla="*/ 477982 w 590426"/>
                    <a:gd name="connsiteY1403" fmla="*/ 509882 h 624183"/>
                    <a:gd name="connsiteX1404" fmla="*/ 479209 w 590426"/>
                    <a:gd name="connsiteY1404" fmla="*/ 509129 h 624183"/>
                    <a:gd name="connsiteX1405" fmla="*/ 479342 w 590426"/>
                    <a:gd name="connsiteY1405" fmla="*/ 508910 h 624183"/>
                    <a:gd name="connsiteX1406" fmla="*/ 480047 w 590426"/>
                    <a:gd name="connsiteY1406" fmla="*/ 509238 h 624183"/>
                    <a:gd name="connsiteX1407" fmla="*/ 481492 w 590426"/>
                    <a:gd name="connsiteY1407" fmla="*/ 509918 h 624183"/>
                    <a:gd name="connsiteX1408" fmla="*/ 483070 w 590426"/>
                    <a:gd name="connsiteY1408" fmla="*/ 509797 h 624183"/>
                    <a:gd name="connsiteX1409" fmla="*/ 484042 w 590426"/>
                    <a:gd name="connsiteY1409" fmla="*/ 509724 h 624183"/>
                    <a:gd name="connsiteX1410" fmla="*/ 485402 w 590426"/>
                    <a:gd name="connsiteY1410" fmla="*/ 509627 h 624183"/>
                    <a:gd name="connsiteX1411" fmla="*/ 486580 w 590426"/>
                    <a:gd name="connsiteY1411" fmla="*/ 508959 h 624183"/>
                    <a:gd name="connsiteX1412" fmla="*/ 487685 w 590426"/>
                    <a:gd name="connsiteY1412" fmla="*/ 508340 h 624183"/>
                    <a:gd name="connsiteX1413" fmla="*/ 489118 w 590426"/>
                    <a:gd name="connsiteY1413" fmla="*/ 507538 h 624183"/>
                    <a:gd name="connsiteX1414" fmla="*/ 489943 w 590426"/>
                    <a:gd name="connsiteY1414" fmla="*/ 506130 h 624183"/>
                    <a:gd name="connsiteX1415" fmla="*/ 490417 w 590426"/>
                    <a:gd name="connsiteY1415" fmla="*/ 505328 h 624183"/>
                    <a:gd name="connsiteX1416" fmla="*/ 490466 w 590426"/>
                    <a:gd name="connsiteY1416" fmla="*/ 505413 h 624183"/>
                    <a:gd name="connsiteX1417" fmla="*/ 492530 w 590426"/>
                    <a:gd name="connsiteY1417" fmla="*/ 508704 h 624183"/>
                    <a:gd name="connsiteX1418" fmla="*/ 492773 w 590426"/>
                    <a:gd name="connsiteY1418" fmla="*/ 509080 h 624183"/>
                    <a:gd name="connsiteX1419" fmla="*/ 493052 w 590426"/>
                    <a:gd name="connsiteY1419" fmla="*/ 509408 h 624183"/>
                    <a:gd name="connsiteX1420" fmla="*/ 494193 w 590426"/>
                    <a:gd name="connsiteY1420" fmla="*/ 510756 h 624183"/>
                    <a:gd name="connsiteX1421" fmla="*/ 494703 w 590426"/>
                    <a:gd name="connsiteY1421" fmla="*/ 511363 h 624183"/>
                    <a:gd name="connsiteX1422" fmla="*/ 495347 w 590426"/>
                    <a:gd name="connsiteY1422" fmla="*/ 511813 h 624183"/>
                    <a:gd name="connsiteX1423" fmla="*/ 496731 w 590426"/>
                    <a:gd name="connsiteY1423" fmla="*/ 512772 h 624183"/>
                    <a:gd name="connsiteX1424" fmla="*/ 497581 w 590426"/>
                    <a:gd name="connsiteY1424" fmla="*/ 513367 h 624183"/>
                    <a:gd name="connsiteX1425" fmla="*/ 498589 w 590426"/>
                    <a:gd name="connsiteY1425" fmla="*/ 513634 h 624183"/>
                    <a:gd name="connsiteX1426" fmla="*/ 502414 w 590426"/>
                    <a:gd name="connsiteY1426" fmla="*/ 514691 h 624183"/>
                    <a:gd name="connsiteX1427" fmla="*/ 503689 w 590426"/>
                    <a:gd name="connsiteY1427" fmla="*/ 515443 h 624183"/>
                    <a:gd name="connsiteX1428" fmla="*/ 505000 w 590426"/>
                    <a:gd name="connsiteY1428" fmla="*/ 516196 h 624183"/>
                    <a:gd name="connsiteX1429" fmla="*/ 506518 w 590426"/>
                    <a:gd name="connsiteY1429" fmla="*/ 516257 h 624183"/>
                    <a:gd name="connsiteX1430" fmla="*/ 512942 w 590426"/>
                    <a:gd name="connsiteY1430" fmla="*/ 516512 h 624183"/>
                    <a:gd name="connsiteX1431" fmla="*/ 515103 w 590426"/>
                    <a:gd name="connsiteY1431" fmla="*/ 516597 h 624183"/>
                    <a:gd name="connsiteX1432" fmla="*/ 516828 w 590426"/>
                    <a:gd name="connsiteY1432" fmla="*/ 515310 h 624183"/>
                    <a:gd name="connsiteX1433" fmla="*/ 527501 w 590426"/>
                    <a:gd name="connsiteY1433" fmla="*/ 507296 h 624183"/>
                    <a:gd name="connsiteX1434" fmla="*/ 533804 w 590426"/>
                    <a:gd name="connsiteY1434" fmla="*/ 503628 h 624183"/>
                    <a:gd name="connsiteX1435" fmla="*/ 534763 w 590426"/>
                    <a:gd name="connsiteY1435" fmla="*/ 503070 h 624183"/>
                    <a:gd name="connsiteX1436" fmla="*/ 535467 w 590426"/>
                    <a:gd name="connsiteY1436" fmla="*/ 502208 h 624183"/>
                    <a:gd name="connsiteX1437" fmla="*/ 536256 w 590426"/>
                    <a:gd name="connsiteY1437" fmla="*/ 501224 h 624183"/>
                    <a:gd name="connsiteX1438" fmla="*/ 537726 w 590426"/>
                    <a:gd name="connsiteY1438" fmla="*/ 499427 h 624183"/>
                    <a:gd name="connsiteX1439" fmla="*/ 537616 w 590426"/>
                    <a:gd name="connsiteY1439" fmla="*/ 497108 h 624183"/>
                    <a:gd name="connsiteX1440" fmla="*/ 537544 w 590426"/>
                    <a:gd name="connsiteY1440" fmla="*/ 495468 h 624183"/>
                    <a:gd name="connsiteX1441" fmla="*/ 537556 w 590426"/>
                    <a:gd name="connsiteY1441" fmla="*/ 495371 h 624183"/>
                    <a:gd name="connsiteX1442" fmla="*/ 538734 w 590426"/>
                    <a:gd name="connsiteY1442" fmla="*/ 493100 h 624183"/>
                    <a:gd name="connsiteX1443" fmla="*/ 539098 w 590426"/>
                    <a:gd name="connsiteY1443" fmla="*/ 492396 h 624183"/>
                    <a:gd name="connsiteX1444" fmla="*/ 539268 w 590426"/>
                    <a:gd name="connsiteY1444" fmla="*/ 491631 h 624183"/>
                    <a:gd name="connsiteX1445" fmla="*/ 539669 w 590426"/>
                    <a:gd name="connsiteY1445" fmla="*/ 489870 h 624183"/>
                    <a:gd name="connsiteX1446" fmla="*/ 539766 w 590426"/>
                    <a:gd name="connsiteY1446" fmla="*/ 489433 h 624183"/>
                    <a:gd name="connsiteX1447" fmla="*/ 539790 w 590426"/>
                    <a:gd name="connsiteY1447" fmla="*/ 488984 h 624183"/>
                    <a:gd name="connsiteX1448" fmla="*/ 539899 w 590426"/>
                    <a:gd name="connsiteY1448" fmla="*/ 487466 h 624183"/>
                    <a:gd name="connsiteX1449" fmla="*/ 540009 w 590426"/>
                    <a:gd name="connsiteY1449" fmla="*/ 486070 h 624183"/>
                    <a:gd name="connsiteX1450" fmla="*/ 539499 w 590426"/>
                    <a:gd name="connsiteY1450" fmla="*/ 484770 h 624183"/>
                    <a:gd name="connsiteX1451" fmla="*/ 539159 w 590426"/>
                    <a:gd name="connsiteY1451" fmla="*/ 483908 h 624183"/>
                    <a:gd name="connsiteX1452" fmla="*/ 538940 w 590426"/>
                    <a:gd name="connsiteY1452" fmla="*/ 483374 h 624183"/>
                    <a:gd name="connsiteX1453" fmla="*/ 538636 w 590426"/>
                    <a:gd name="connsiteY1453" fmla="*/ 482888 h 624183"/>
                    <a:gd name="connsiteX1454" fmla="*/ 538224 w 590426"/>
                    <a:gd name="connsiteY1454" fmla="*/ 482232 h 624183"/>
                    <a:gd name="connsiteX1455" fmla="*/ 537762 w 590426"/>
                    <a:gd name="connsiteY1455" fmla="*/ 481504 h 624183"/>
                    <a:gd name="connsiteX1456" fmla="*/ 537106 w 590426"/>
                    <a:gd name="connsiteY1456" fmla="*/ 480933 h 624183"/>
                    <a:gd name="connsiteX1457" fmla="*/ 536366 w 590426"/>
                    <a:gd name="connsiteY1457" fmla="*/ 480290 h 624183"/>
                    <a:gd name="connsiteX1458" fmla="*/ 535698 w 590426"/>
                    <a:gd name="connsiteY1458" fmla="*/ 479695 h 624183"/>
                    <a:gd name="connsiteX1459" fmla="*/ 534884 w 590426"/>
                    <a:gd name="connsiteY1459" fmla="*/ 479330 h 624183"/>
                    <a:gd name="connsiteX1460" fmla="*/ 533913 w 590426"/>
                    <a:gd name="connsiteY1460" fmla="*/ 478881 h 624183"/>
                    <a:gd name="connsiteX1461" fmla="*/ 533512 w 590426"/>
                    <a:gd name="connsiteY1461" fmla="*/ 478699 h 624183"/>
                    <a:gd name="connsiteX1462" fmla="*/ 533087 w 590426"/>
                    <a:gd name="connsiteY1462" fmla="*/ 478578 h 624183"/>
                    <a:gd name="connsiteX1463" fmla="*/ 531958 w 590426"/>
                    <a:gd name="connsiteY1463" fmla="*/ 478250 h 624183"/>
                    <a:gd name="connsiteX1464" fmla="*/ 531885 w 590426"/>
                    <a:gd name="connsiteY1464" fmla="*/ 477861 h 624183"/>
                    <a:gd name="connsiteX1465" fmla="*/ 531776 w 590426"/>
                    <a:gd name="connsiteY1465" fmla="*/ 477351 h 624183"/>
                    <a:gd name="connsiteX1466" fmla="*/ 531582 w 590426"/>
                    <a:gd name="connsiteY1466" fmla="*/ 476865 h 624183"/>
                    <a:gd name="connsiteX1467" fmla="*/ 531290 w 590426"/>
                    <a:gd name="connsiteY1467" fmla="*/ 476125 h 624183"/>
                    <a:gd name="connsiteX1468" fmla="*/ 531241 w 590426"/>
                    <a:gd name="connsiteY1468" fmla="*/ 476003 h 624183"/>
                    <a:gd name="connsiteX1469" fmla="*/ 531897 w 590426"/>
                    <a:gd name="connsiteY1469" fmla="*/ 475675 h 624183"/>
                    <a:gd name="connsiteX1470" fmla="*/ 535916 w 590426"/>
                    <a:gd name="connsiteY1470" fmla="*/ 473210 h 624183"/>
                    <a:gd name="connsiteX1471" fmla="*/ 538114 w 590426"/>
                    <a:gd name="connsiteY1471" fmla="*/ 472142 h 624183"/>
                    <a:gd name="connsiteX1472" fmla="*/ 538527 w 590426"/>
                    <a:gd name="connsiteY1472" fmla="*/ 471935 h 624183"/>
                    <a:gd name="connsiteX1473" fmla="*/ 538904 w 590426"/>
                    <a:gd name="connsiteY1473" fmla="*/ 471680 h 624183"/>
                    <a:gd name="connsiteX1474" fmla="*/ 550962 w 590426"/>
                    <a:gd name="connsiteY1474" fmla="*/ 463387 h 624183"/>
                    <a:gd name="connsiteX1475" fmla="*/ 551277 w 590426"/>
                    <a:gd name="connsiteY1475" fmla="*/ 463168 h 624183"/>
                    <a:gd name="connsiteX1476" fmla="*/ 551569 w 590426"/>
                    <a:gd name="connsiteY1476" fmla="*/ 462913 h 624183"/>
                    <a:gd name="connsiteX1477" fmla="*/ 554434 w 590426"/>
                    <a:gd name="connsiteY1477" fmla="*/ 460351 h 624183"/>
                    <a:gd name="connsiteX1478" fmla="*/ 554690 w 590426"/>
                    <a:gd name="connsiteY1478" fmla="*/ 460120 h 624183"/>
                    <a:gd name="connsiteX1479" fmla="*/ 554932 w 590426"/>
                    <a:gd name="connsiteY1479" fmla="*/ 459853 h 624183"/>
                    <a:gd name="connsiteX1480" fmla="*/ 556304 w 590426"/>
                    <a:gd name="connsiteY1480" fmla="*/ 458299 h 624183"/>
                    <a:gd name="connsiteX1481" fmla="*/ 556839 w 590426"/>
                    <a:gd name="connsiteY1481" fmla="*/ 457692 h 624183"/>
                    <a:gd name="connsiteX1482" fmla="*/ 557203 w 590426"/>
                    <a:gd name="connsiteY1482" fmla="*/ 456963 h 624183"/>
                    <a:gd name="connsiteX1483" fmla="*/ 557774 w 590426"/>
                    <a:gd name="connsiteY1483" fmla="*/ 455797 h 624183"/>
                    <a:gd name="connsiteX1484" fmla="*/ 558721 w 590426"/>
                    <a:gd name="connsiteY1484" fmla="*/ 453879 h 624183"/>
                    <a:gd name="connsiteX1485" fmla="*/ 558259 w 590426"/>
                    <a:gd name="connsiteY1485" fmla="*/ 451790 h 624183"/>
                    <a:gd name="connsiteX1486" fmla="*/ 558090 w 590426"/>
                    <a:gd name="connsiteY1486" fmla="*/ 451013 h 624183"/>
                    <a:gd name="connsiteX1487" fmla="*/ 557494 w 590426"/>
                    <a:gd name="connsiteY1487" fmla="*/ 448342 h 624183"/>
                    <a:gd name="connsiteX1488" fmla="*/ 555102 w 590426"/>
                    <a:gd name="connsiteY1488" fmla="*/ 447018 h 624183"/>
                    <a:gd name="connsiteX1489" fmla="*/ 554447 w 590426"/>
                    <a:gd name="connsiteY1489" fmla="*/ 446654 h 624183"/>
                    <a:gd name="connsiteX1490" fmla="*/ 554556 w 590426"/>
                    <a:gd name="connsiteY1490" fmla="*/ 445937 h 624183"/>
                    <a:gd name="connsiteX1491" fmla="*/ 556086 w 590426"/>
                    <a:gd name="connsiteY1491" fmla="*/ 445233 h 624183"/>
                    <a:gd name="connsiteX1492" fmla="*/ 556159 w 590426"/>
                    <a:gd name="connsiteY1492" fmla="*/ 445233 h 624183"/>
                    <a:gd name="connsiteX1493" fmla="*/ 558660 w 590426"/>
                    <a:gd name="connsiteY1493" fmla="*/ 446302 h 624183"/>
                    <a:gd name="connsiteX1494" fmla="*/ 559790 w 590426"/>
                    <a:gd name="connsiteY1494" fmla="*/ 446787 h 624183"/>
                    <a:gd name="connsiteX1495" fmla="*/ 561028 w 590426"/>
                    <a:gd name="connsiteY1495" fmla="*/ 446787 h 624183"/>
                    <a:gd name="connsiteX1496" fmla="*/ 563262 w 590426"/>
                    <a:gd name="connsiteY1496" fmla="*/ 446799 h 624183"/>
                    <a:gd name="connsiteX1497" fmla="*/ 563736 w 590426"/>
                    <a:gd name="connsiteY1497" fmla="*/ 446799 h 624183"/>
                    <a:gd name="connsiteX1498" fmla="*/ 564197 w 590426"/>
                    <a:gd name="connsiteY1498" fmla="*/ 446739 h 624183"/>
                    <a:gd name="connsiteX1499" fmla="*/ 567342 w 590426"/>
                    <a:gd name="connsiteY1499" fmla="*/ 446265 h 624183"/>
                    <a:gd name="connsiteX1500" fmla="*/ 567439 w 590426"/>
                    <a:gd name="connsiteY1500" fmla="*/ 446496 h 624183"/>
                    <a:gd name="connsiteX1501" fmla="*/ 569018 w 590426"/>
                    <a:gd name="connsiteY1501" fmla="*/ 451924 h 624183"/>
                    <a:gd name="connsiteX1502" fmla="*/ 569225 w 590426"/>
                    <a:gd name="connsiteY1502" fmla="*/ 452628 h 624183"/>
                    <a:gd name="connsiteX1503" fmla="*/ 569589 w 590426"/>
                    <a:gd name="connsiteY1503" fmla="*/ 453272 h 624183"/>
                    <a:gd name="connsiteX1504" fmla="*/ 571313 w 590426"/>
                    <a:gd name="connsiteY1504" fmla="*/ 456234 h 624183"/>
                    <a:gd name="connsiteX1505" fmla="*/ 572345 w 590426"/>
                    <a:gd name="connsiteY1505" fmla="*/ 458020 h 624183"/>
                    <a:gd name="connsiteX1506" fmla="*/ 574264 w 590426"/>
                    <a:gd name="connsiteY1506" fmla="*/ 458797 h 624183"/>
                    <a:gd name="connsiteX1507" fmla="*/ 576377 w 590426"/>
                    <a:gd name="connsiteY1507" fmla="*/ 459659 h 624183"/>
                    <a:gd name="connsiteX1508" fmla="*/ 578453 w 590426"/>
                    <a:gd name="connsiteY1508" fmla="*/ 460509 h 624183"/>
                    <a:gd name="connsiteX1509" fmla="*/ 580578 w 590426"/>
                    <a:gd name="connsiteY1509" fmla="*/ 459804 h 624183"/>
                    <a:gd name="connsiteX1510" fmla="*/ 582533 w 590426"/>
                    <a:gd name="connsiteY1510" fmla="*/ 459161 h 624183"/>
                    <a:gd name="connsiteX1511" fmla="*/ 584221 w 590426"/>
                    <a:gd name="connsiteY1511" fmla="*/ 458602 h 624183"/>
                    <a:gd name="connsiteX1512" fmla="*/ 585338 w 590426"/>
                    <a:gd name="connsiteY1512" fmla="*/ 457230 h 624183"/>
                    <a:gd name="connsiteX1513" fmla="*/ 587123 w 590426"/>
                    <a:gd name="connsiteY1513" fmla="*/ 455032 h 624183"/>
                    <a:gd name="connsiteX1514" fmla="*/ 587840 w 590426"/>
                    <a:gd name="connsiteY1514" fmla="*/ 454158 h 624183"/>
                    <a:gd name="connsiteX1515" fmla="*/ 588192 w 590426"/>
                    <a:gd name="connsiteY1515" fmla="*/ 453077 h 624183"/>
                    <a:gd name="connsiteX1516" fmla="*/ 588993 w 590426"/>
                    <a:gd name="connsiteY1516" fmla="*/ 450600 h 624183"/>
                    <a:gd name="connsiteX1517" fmla="*/ 589127 w 590426"/>
                    <a:gd name="connsiteY1517" fmla="*/ 450175 h 624183"/>
                    <a:gd name="connsiteX1518" fmla="*/ 589200 w 590426"/>
                    <a:gd name="connsiteY1518" fmla="*/ 449738 h 624183"/>
                    <a:gd name="connsiteX1519" fmla="*/ 589613 w 590426"/>
                    <a:gd name="connsiteY1519" fmla="*/ 447322 h 624183"/>
                    <a:gd name="connsiteX1520" fmla="*/ 589722 w 590426"/>
                    <a:gd name="connsiteY1520" fmla="*/ 446642 h 624183"/>
                    <a:gd name="connsiteX1521" fmla="*/ 589685 w 590426"/>
                    <a:gd name="connsiteY1521" fmla="*/ 445962 h 624183"/>
                    <a:gd name="connsiteX1522" fmla="*/ 589564 w 590426"/>
                    <a:gd name="connsiteY1522" fmla="*/ 443922 h 624183"/>
                    <a:gd name="connsiteX1523" fmla="*/ 589540 w 590426"/>
                    <a:gd name="connsiteY1523" fmla="*/ 443399 h 624183"/>
                    <a:gd name="connsiteX1524" fmla="*/ 589418 w 590426"/>
                    <a:gd name="connsiteY1524" fmla="*/ 442889 h 624183"/>
                    <a:gd name="connsiteX1525" fmla="*/ 587779 w 590426"/>
                    <a:gd name="connsiteY1525" fmla="*/ 435810 h 624183"/>
                    <a:gd name="connsiteX1526" fmla="*/ 587585 w 590426"/>
                    <a:gd name="connsiteY1526" fmla="*/ 433758 h 624183"/>
                    <a:gd name="connsiteX1527" fmla="*/ 587670 w 590426"/>
                    <a:gd name="connsiteY1527" fmla="*/ 428330 h 624183"/>
                    <a:gd name="connsiteX1528" fmla="*/ 587718 w 590426"/>
                    <a:gd name="connsiteY1528" fmla="*/ 428099 h 624183"/>
                    <a:gd name="connsiteX1529" fmla="*/ 588507 w 590426"/>
                    <a:gd name="connsiteY1529" fmla="*/ 426885 h 624183"/>
                    <a:gd name="connsiteX1530" fmla="*/ 588714 w 590426"/>
                    <a:gd name="connsiteY1530" fmla="*/ 426581 h 624183"/>
                    <a:gd name="connsiteX1531" fmla="*/ 588872 w 590426"/>
                    <a:gd name="connsiteY1531" fmla="*/ 426254 h 624183"/>
                    <a:gd name="connsiteX1532" fmla="*/ 589673 w 590426"/>
                    <a:gd name="connsiteY1532" fmla="*/ 424639 h 624183"/>
                    <a:gd name="connsiteX1533" fmla="*/ 590426 w 590426"/>
                    <a:gd name="connsiteY1533" fmla="*/ 423109 h 624183"/>
                    <a:gd name="connsiteX1534" fmla="*/ 590280 w 590426"/>
                    <a:gd name="connsiteY1534" fmla="*/ 421409 h 624183"/>
                    <a:gd name="connsiteX1535" fmla="*/ 590171 w 590426"/>
                    <a:gd name="connsiteY1535" fmla="*/ 420121 h 624183"/>
                    <a:gd name="connsiteX1536" fmla="*/ 590062 w 590426"/>
                    <a:gd name="connsiteY1536" fmla="*/ 418810 h 624183"/>
                    <a:gd name="connsiteX1537" fmla="*/ 589406 w 590426"/>
                    <a:gd name="connsiteY1537" fmla="*/ 417656 h 624183"/>
                    <a:gd name="connsiteX1538" fmla="*/ 588653 w 590426"/>
                    <a:gd name="connsiteY1538" fmla="*/ 416333 h 624183"/>
                    <a:gd name="connsiteX1539" fmla="*/ 588386 w 590426"/>
                    <a:gd name="connsiteY1539" fmla="*/ 415859 h 624183"/>
                    <a:gd name="connsiteX1540" fmla="*/ 588046 w 590426"/>
                    <a:gd name="connsiteY1540" fmla="*/ 415446 h 624183"/>
                    <a:gd name="connsiteX1541" fmla="*/ 587196 w 590426"/>
                    <a:gd name="connsiteY1541" fmla="*/ 414426 h 624183"/>
                    <a:gd name="connsiteX1542" fmla="*/ 587281 w 590426"/>
                    <a:gd name="connsiteY1542" fmla="*/ 413078 h 624183"/>
                    <a:gd name="connsiteX1543" fmla="*/ 588520 w 590426"/>
                    <a:gd name="connsiteY1543" fmla="*/ 406995 h 624183"/>
                    <a:gd name="connsiteX1544" fmla="*/ 588641 w 590426"/>
                    <a:gd name="connsiteY1544" fmla="*/ 406400 h 624183"/>
                    <a:gd name="connsiteX1545" fmla="*/ 588641 w 590426"/>
                    <a:gd name="connsiteY1545" fmla="*/ 405793 h 624183"/>
                    <a:gd name="connsiteX1546" fmla="*/ 588641 w 590426"/>
                    <a:gd name="connsiteY1546" fmla="*/ 404530 h 624183"/>
                    <a:gd name="connsiteX1547" fmla="*/ 588641 w 590426"/>
                    <a:gd name="connsiteY1547" fmla="*/ 403704 h 624183"/>
                    <a:gd name="connsiteX1548" fmla="*/ 588423 w 590426"/>
                    <a:gd name="connsiteY1548" fmla="*/ 402915 h 624183"/>
                    <a:gd name="connsiteX1549" fmla="*/ 588070 w 590426"/>
                    <a:gd name="connsiteY1549" fmla="*/ 401652 h 624183"/>
                    <a:gd name="connsiteX1550" fmla="*/ 587888 w 590426"/>
                    <a:gd name="connsiteY1550" fmla="*/ 401021 h 624183"/>
                    <a:gd name="connsiteX1551" fmla="*/ 587585 w 590426"/>
                    <a:gd name="connsiteY1551" fmla="*/ 400438 h 624183"/>
                    <a:gd name="connsiteX1552" fmla="*/ 587257 w 590426"/>
                    <a:gd name="connsiteY1552" fmla="*/ 399818 h 624183"/>
                    <a:gd name="connsiteX1553" fmla="*/ 586455 w 590426"/>
                    <a:gd name="connsiteY1553" fmla="*/ 396989 h 624183"/>
                    <a:gd name="connsiteX1554" fmla="*/ 586225 w 590426"/>
                    <a:gd name="connsiteY1554" fmla="*/ 396200 h 624183"/>
                    <a:gd name="connsiteX1555" fmla="*/ 585800 w 590426"/>
                    <a:gd name="connsiteY1555" fmla="*/ 395495 h 624183"/>
                    <a:gd name="connsiteX1556" fmla="*/ 584998 w 590426"/>
                    <a:gd name="connsiteY1556" fmla="*/ 394184 h 624183"/>
                    <a:gd name="connsiteX1557" fmla="*/ 584209 w 590426"/>
                    <a:gd name="connsiteY1557" fmla="*/ 392897 h 624183"/>
                    <a:gd name="connsiteX1558" fmla="*/ 582910 w 590426"/>
                    <a:gd name="connsiteY1558" fmla="*/ 392120 h 624183"/>
                    <a:gd name="connsiteX1559" fmla="*/ 581538 w 590426"/>
                    <a:gd name="connsiteY1559" fmla="*/ 391306 h 624183"/>
                    <a:gd name="connsiteX1560" fmla="*/ 580481 w 590426"/>
                    <a:gd name="connsiteY1560" fmla="*/ 390675 h 624183"/>
                    <a:gd name="connsiteX1561" fmla="*/ 580275 w 590426"/>
                    <a:gd name="connsiteY1561" fmla="*/ 390650 h 624183"/>
                    <a:gd name="connsiteX1562" fmla="*/ 579680 w 590426"/>
                    <a:gd name="connsiteY1562" fmla="*/ 387603 h 624183"/>
                    <a:gd name="connsiteX1563" fmla="*/ 579582 w 590426"/>
                    <a:gd name="connsiteY1563" fmla="*/ 387080 h 624183"/>
                    <a:gd name="connsiteX1564" fmla="*/ 579388 w 590426"/>
                    <a:gd name="connsiteY1564" fmla="*/ 386570 h 624183"/>
                    <a:gd name="connsiteX1565" fmla="*/ 579097 w 590426"/>
                    <a:gd name="connsiteY1565" fmla="*/ 385818 h 624183"/>
                    <a:gd name="connsiteX1566" fmla="*/ 578963 w 590426"/>
                    <a:gd name="connsiteY1566" fmla="*/ 385478 h 624183"/>
                    <a:gd name="connsiteX1567" fmla="*/ 578793 w 590426"/>
                    <a:gd name="connsiteY1567" fmla="*/ 385162 h 624183"/>
                    <a:gd name="connsiteX1568" fmla="*/ 578502 w 590426"/>
                    <a:gd name="connsiteY1568" fmla="*/ 384615 h 624183"/>
                    <a:gd name="connsiteX1569" fmla="*/ 577348 w 590426"/>
                    <a:gd name="connsiteY1569" fmla="*/ 382442 h 624183"/>
                    <a:gd name="connsiteX1570" fmla="*/ 575017 w 590426"/>
                    <a:gd name="connsiteY1570" fmla="*/ 381689 h 624183"/>
                    <a:gd name="connsiteX1571" fmla="*/ 573827 w 590426"/>
                    <a:gd name="connsiteY1571" fmla="*/ 381300 h 624183"/>
                    <a:gd name="connsiteX1572" fmla="*/ 572175 w 590426"/>
                    <a:gd name="connsiteY1572" fmla="*/ 381288 h 624183"/>
                    <a:gd name="connsiteX1573" fmla="*/ 570779 w 590426"/>
                    <a:gd name="connsiteY1573" fmla="*/ 381422 h 624183"/>
                    <a:gd name="connsiteX1574" fmla="*/ 570087 w 590426"/>
                    <a:gd name="connsiteY1574" fmla="*/ 381738 h 624183"/>
                    <a:gd name="connsiteX1575" fmla="*/ 569892 w 590426"/>
                    <a:gd name="connsiteY1575" fmla="*/ 381701 h 624183"/>
                    <a:gd name="connsiteX1576" fmla="*/ 566784 w 590426"/>
                    <a:gd name="connsiteY1576" fmla="*/ 381155 h 624183"/>
                    <a:gd name="connsiteX1577" fmla="*/ 566274 w 590426"/>
                    <a:gd name="connsiteY1577" fmla="*/ 381070 h 624183"/>
                    <a:gd name="connsiteX1578" fmla="*/ 565752 w 590426"/>
                    <a:gd name="connsiteY1578" fmla="*/ 381070 h 624183"/>
                    <a:gd name="connsiteX1579" fmla="*/ 564829 w 590426"/>
                    <a:gd name="connsiteY1579" fmla="*/ 381070 h 624183"/>
                    <a:gd name="connsiteX1580" fmla="*/ 563080 w 590426"/>
                    <a:gd name="connsiteY1580" fmla="*/ 381203 h 624183"/>
                    <a:gd name="connsiteX1581" fmla="*/ 561659 w 590426"/>
                    <a:gd name="connsiteY1581" fmla="*/ 381325 h 624183"/>
                    <a:gd name="connsiteX1582" fmla="*/ 561137 w 590426"/>
                    <a:gd name="connsiteY1582" fmla="*/ 381653 h 624183"/>
                    <a:gd name="connsiteX1583" fmla="*/ 560409 w 590426"/>
                    <a:gd name="connsiteY1583" fmla="*/ 381033 h 624183"/>
                    <a:gd name="connsiteX1584" fmla="*/ 555187 w 590426"/>
                    <a:gd name="connsiteY1584" fmla="*/ 374974 h 624183"/>
                    <a:gd name="connsiteX1585" fmla="*/ 554835 w 590426"/>
                    <a:gd name="connsiteY1585" fmla="*/ 374561 h 624183"/>
                    <a:gd name="connsiteX1586" fmla="*/ 554422 w 590426"/>
                    <a:gd name="connsiteY1586" fmla="*/ 374221 h 624183"/>
                    <a:gd name="connsiteX1587" fmla="*/ 550755 w 590426"/>
                    <a:gd name="connsiteY1587" fmla="*/ 371246 h 624183"/>
                    <a:gd name="connsiteX1588" fmla="*/ 554289 w 590426"/>
                    <a:gd name="connsiteY1588" fmla="*/ 369704 h 624183"/>
                    <a:gd name="connsiteX1589" fmla="*/ 556183 w 590426"/>
                    <a:gd name="connsiteY1589" fmla="*/ 369425 h 624183"/>
                    <a:gd name="connsiteX1590" fmla="*/ 557980 w 590426"/>
                    <a:gd name="connsiteY1590" fmla="*/ 369364 h 624183"/>
                    <a:gd name="connsiteX1591" fmla="*/ 564732 w 590426"/>
                    <a:gd name="connsiteY1591" fmla="*/ 371185 h 624183"/>
                    <a:gd name="connsiteX1592" fmla="*/ 568885 w 590426"/>
                    <a:gd name="connsiteY1592" fmla="*/ 372315 h 624183"/>
                    <a:gd name="connsiteX1593" fmla="*/ 571325 w 590426"/>
                    <a:gd name="connsiteY1593" fmla="*/ 368769 h 624183"/>
                    <a:gd name="connsiteX1594" fmla="*/ 574130 w 590426"/>
                    <a:gd name="connsiteY1594" fmla="*/ 364689 h 624183"/>
                    <a:gd name="connsiteX1595" fmla="*/ 574628 w 590426"/>
                    <a:gd name="connsiteY1595" fmla="*/ 363972 h 624183"/>
                    <a:gd name="connsiteX1596" fmla="*/ 574895 w 590426"/>
                    <a:gd name="connsiteY1596" fmla="*/ 363147 h 624183"/>
                    <a:gd name="connsiteX1597" fmla="*/ 575818 w 590426"/>
                    <a:gd name="connsiteY1597" fmla="*/ 360342 h 624183"/>
                    <a:gd name="connsiteX1598" fmla="*/ 575976 w 590426"/>
                    <a:gd name="connsiteY1598" fmla="*/ 359892 h 624183"/>
                    <a:gd name="connsiteX1599" fmla="*/ 576049 w 590426"/>
                    <a:gd name="connsiteY1599" fmla="*/ 359419 h 624183"/>
                    <a:gd name="connsiteX1600" fmla="*/ 576280 w 590426"/>
                    <a:gd name="connsiteY1600" fmla="*/ 358010 h 624183"/>
                    <a:gd name="connsiteX1601" fmla="*/ 576401 w 590426"/>
                    <a:gd name="connsiteY1601" fmla="*/ 357269 h 624183"/>
                    <a:gd name="connsiteX1602" fmla="*/ 576340 w 590426"/>
                    <a:gd name="connsiteY1602" fmla="*/ 356517 h 624183"/>
                    <a:gd name="connsiteX1603" fmla="*/ 576231 w 590426"/>
                    <a:gd name="connsiteY1603" fmla="*/ 355169 h 624183"/>
                    <a:gd name="connsiteX1604" fmla="*/ 576170 w 590426"/>
                    <a:gd name="connsiteY1604" fmla="*/ 354416 h 624183"/>
                    <a:gd name="connsiteX1605" fmla="*/ 575915 w 590426"/>
                    <a:gd name="connsiteY1605" fmla="*/ 353699 h 624183"/>
                    <a:gd name="connsiteX1606" fmla="*/ 575454 w 590426"/>
                    <a:gd name="connsiteY1606" fmla="*/ 352364 h 624183"/>
                    <a:gd name="connsiteX1607" fmla="*/ 575053 w 590426"/>
                    <a:gd name="connsiteY1607" fmla="*/ 351198 h 624183"/>
                    <a:gd name="connsiteX1608" fmla="*/ 574227 w 590426"/>
                    <a:gd name="connsiteY1608" fmla="*/ 350275 h 624183"/>
                    <a:gd name="connsiteX1609" fmla="*/ 573487 w 590426"/>
                    <a:gd name="connsiteY1609" fmla="*/ 349449 h 624183"/>
                    <a:gd name="connsiteX1610" fmla="*/ 572673 w 590426"/>
                    <a:gd name="connsiteY1610" fmla="*/ 348539 h 624183"/>
                    <a:gd name="connsiteX1611" fmla="*/ 571568 w 590426"/>
                    <a:gd name="connsiteY1611" fmla="*/ 348017 h 624183"/>
                    <a:gd name="connsiteX1612" fmla="*/ 570354 w 590426"/>
                    <a:gd name="connsiteY1612" fmla="*/ 347446 h 624183"/>
                    <a:gd name="connsiteX1613" fmla="*/ 569856 w 590426"/>
                    <a:gd name="connsiteY1613" fmla="*/ 347203 h 624183"/>
                    <a:gd name="connsiteX1614" fmla="*/ 569334 w 590426"/>
                    <a:gd name="connsiteY1614" fmla="*/ 347069 h 624183"/>
                    <a:gd name="connsiteX1615" fmla="*/ 568071 w 590426"/>
                    <a:gd name="connsiteY1615" fmla="*/ 346729 h 624183"/>
                    <a:gd name="connsiteX1616" fmla="*/ 566432 w 590426"/>
                    <a:gd name="connsiteY1616" fmla="*/ 343014 h 624183"/>
                    <a:gd name="connsiteX1617" fmla="*/ 566274 w 590426"/>
                    <a:gd name="connsiteY1617" fmla="*/ 342662 h 624183"/>
                    <a:gd name="connsiteX1618" fmla="*/ 566067 w 590426"/>
                    <a:gd name="connsiteY1618" fmla="*/ 342334 h 624183"/>
                    <a:gd name="connsiteX1619" fmla="*/ 564562 w 590426"/>
                    <a:gd name="connsiteY1619" fmla="*/ 339832 h 624183"/>
                    <a:gd name="connsiteX1620" fmla="*/ 564319 w 590426"/>
                    <a:gd name="connsiteY1620" fmla="*/ 339431 h 624183"/>
                    <a:gd name="connsiteX1621" fmla="*/ 564027 w 590426"/>
                    <a:gd name="connsiteY1621" fmla="*/ 339079 h 624183"/>
                    <a:gd name="connsiteX1622" fmla="*/ 562254 w 590426"/>
                    <a:gd name="connsiteY1622" fmla="*/ 336954 h 624183"/>
                    <a:gd name="connsiteX1623" fmla="*/ 561854 w 590426"/>
                    <a:gd name="connsiteY1623" fmla="*/ 336469 h 624183"/>
                    <a:gd name="connsiteX1624" fmla="*/ 561368 w 590426"/>
                    <a:gd name="connsiteY1624" fmla="*/ 336080 h 624183"/>
                    <a:gd name="connsiteX1625" fmla="*/ 552965 w 590426"/>
                    <a:gd name="connsiteY1625" fmla="*/ 329401 h 624183"/>
                    <a:gd name="connsiteX1626" fmla="*/ 549237 w 590426"/>
                    <a:gd name="connsiteY1626" fmla="*/ 325467 h 624183"/>
                    <a:gd name="connsiteX1627" fmla="*/ 548885 w 590426"/>
                    <a:gd name="connsiteY1627" fmla="*/ 325091 h 624183"/>
                    <a:gd name="connsiteX1628" fmla="*/ 548472 w 590426"/>
                    <a:gd name="connsiteY1628" fmla="*/ 324787 h 624183"/>
                    <a:gd name="connsiteX1629" fmla="*/ 538442 w 590426"/>
                    <a:gd name="connsiteY1629" fmla="*/ 317271 h 624183"/>
                    <a:gd name="connsiteX1630" fmla="*/ 535504 w 590426"/>
                    <a:gd name="connsiteY1630" fmla="*/ 314417 h 624183"/>
                    <a:gd name="connsiteX1631" fmla="*/ 534350 w 590426"/>
                    <a:gd name="connsiteY1631" fmla="*/ 312705 h 624183"/>
                    <a:gd name="connsiteX1632" fmla="*/ 533731 w 590426"/>
                    <a:gd name="connsiteY1632" fmla="*/ 311078 h 624183"/>
                    <a:gd name="connsiteX1633" fmla="*/ 533294 w 590426"/>
                    <a:gd name="connsiteY1633" fmla="*/ 309378 h 624183"/>
                    <a:gd name="connsiteX1634" fmla="*/ 533160 w 590426"/>
                    <a:gd name="connsiteY1634" fmla="*/ 308528 h 624183"/>
                    <a:gd name="connsiteX1635" fmla="*/ 533184 w 590426"/>
                    <a:gd name="connsiteY1635" fmla="*/ 307435 h 624183"/>
                    <a:gd name="connsiteX1636" fmla="*/ 533318 w 590426"/>
                    <a:gd name="connsiteY1636" fmla="*/ 306779 h 624183"/>
                    <a:gd name="connsiteX1637" fmla="*/ 533597 w 590426"/>
                    <a:gd name="connsiteY1637" fmla="*/ 306136 h 624183"/>
                    <a:gd name="connsiteX1638" fmla="*/ 535625 w 590426"/>
                    <a:gd name="connsiteY1638" fmla="*/ 302626 h 624183"/>
                    <a:gd name="connsiteX1639" fmla="*/ 536645 w 590426"/>
                    <a:gd name="connsiteY1639" fmla="*/ 300853 h 624183"/>
                    <a:gd name="connsiteX1640" fmla="*/ 536390 w 590426"/>
                    <a:gd name="connsiteY1640" fmla="*/ 298826 h 624183"/>
                    <a:gd name="connsiteX1641" fmla="*/ 536147 w 590426"/>
                    <a:gd name="connsiteY1641" fmla="*/ 296895 h 624183"/>
                    <a:gd name="connsiteX1642" fmla="*/ 535783 w 590426"/>
                    <a:gd name="connsiteY1642" fmla="*/ 293981 h 624183"/>
                    <a:gd name="connsiteX1643" fmla="*/ 533269 w 590426"/>
                    <a:gd name="connsiteY1643" fmla="*/ 292463 h 624183"/>
                    <a:gd name="connsiteX1644" fmla="*/ 532140 w 590426"/>
                    <a:gd name="connsiteY1644" fmla="*/ 291771 h 624183"/>
                    <a:gd name="connsiteX1645" fmla="*/ 532346 w 590426"/>
                    <a:gd name="connsiteY1645" fmla="*/ 285638 h 624183"/>
                    <a:gd name="connsiteX1646" fmla="*/ 532419 w 590426"/>
                    <a:gd name="connsiteY1646" fmla="*/ 285225 h 624183"/>
                    <a:gd name="connsiteX1647" fmla="*/ 534666 w 590426"/>
                    <a:gd name="connsiteY1647" fmla="*/ 282700 h 624183"/>
                    <a:gd name="connsiteX1648" fmla="*/ 535164 w 590426"/>
                    <a:gd name="connsiteY1648" fmla="*/ 282141 h 624183"/>
                    <a:gd name="connsiteX1649" fmla="*/ 535504 w 590426"/>
                    <a:gd name="connsiteY1649" fmla="*/ 281485 h 624183"/>
                    <a:gd name="connsiteX1650" fmla="*/ 536779 w 590426"/>
                    <a:gd name="connsiteY1650" fmla="*/ 279057 h 624183"/>
                    <a:gd name="connsiteX1651" fmla="*/ 538491 w 590426"/>
                    <a:gd name="connsiteY1651" fmla="*/ 275815 h 624183"/>
                    <a:gd name="connsiteX1652" fmla="*/ 536414 w 590426"/>
                    <a:gd name="connsiteY1652" fmla="*/ 272791 h 624183"/>
                    <a:gd name="connsiteX1653" fmla="*/ 535504 w 590426"/>
                    <a:gd name="connsiteY1653" fmla="*/ 271467 h 624183"/>
                    <a:gd name="connsiteX1654" fmla="*/ 534277 w 590426"/>
                    <a:gd name="connsiteY1654" fmla="*/ 269683 h 624183"/>
                    <a:gd name="connsiteX1655" fmla="*/ 532201 w 590426"/>
                    <a:gd name="connsiteY1655" fmla="*/ 269075 h 624183"/>
                    <a:gd name="connsiteX1656" fmla="*/ 530404 w 590426"/>
                    <a:gd name="connsiteY1656" fmla="*/ 268553 h 624183"/>
                    <a:gd name="connsiteX1657" fmla="*/ 529408 w 590426"/>
                    <a:gd name="connsiteY1657" fmla="*/ 268262 h 624183"/>
                    <a:gd name="connsiteX1658" fmla="*/ 528983 w 590426"/>
                    <a:gd name="connsiteY1658" fmla="*/ 266537 h 624183"/>
                    <a:gd name="connsiteX1659" fmla="*/ 528801 w 590426"/>
                    <a:gd name="connsiteY1659" fmla="*/ 265785 h 624183"/>
                    <a:gd name="connsiteX1660" fmla="*/ 528436 w 590426"/>
                    <a:gd name="connsiteY1660" fmla="*/ 265105 h 624183"/>
                    <a:gd name="connsiteX1661" fmla="*/ 527064 w 590426"/>
                    <a:gd name="connsiteY1661" fmla="*/ 262555 h 624183"/>
                    <a:gd name="connsiteX1662" fmla="*/ 526761 w 590426"/>
                    <a:gd name="connsiteY1662" fmla="*/ 261996 h 624183"/>
                    <a:gd name="connsiteX1663" fmla="*/ 526348 w 590426"/>
                    <a:gd name="connsiteY1663" fmla="*/ 261510 h 624183"/>
                    <a:gd name="connsiteX1664" fmla="*/ 525425 w 590426"/>
                    <a:gd name="connsiteY1664" fmla="*/ 260417 h 624183"/>
                    <a:gd name="connsiteX1665" fmla="*/ 524927 w 590426"/>
                    <a:gd name="connsiteY1665" fmla="*/ 259835 h 624183"/>
                    <a:gd name="connsiteX1666" fmla="*/ 524308 w 590426"/>
                    <a:gd name="connsiteY1666" fmla="*/ 259385 h 624183"/>
                    <a:gd name="connsiteX1667" fmla="*/ 523446 w 590426"/>
                    <a:gd name="connsiteY1667" fmla="*/ 258778 h 624183"/>
                    <a:gd name="connsiteX1668" fmla="*/ 521430 w 590426"/>
                    <a:gd name="connsiteY1668" fmla="*/ 257345 h 624183"/>
                    <a:gd name="connsiteX1669" fmla="*/ 518989 w 590426"/>
                    <a:gd name="connsiteY1669" fmla="*/ 257722 h 624183"/>
                    <a:gd name="connsiteX1670" fmla="*/ 516743 w 590426"/>
                    <a:gd name="connsiteY1670" fmla="*/ 258074 h 624183"/>
                    <a:gd name="connsiteX1671" fmla="*/ 516561 w 590426"/>
                    <a:gd name="connsiteY1671" fmla="*/ 258232 h 624183"/>
                    <a:gd name="connsiteX1672" fmla="*/ 515577 w 590426"/>
                    <a:gd name="connsiteY1672" fmla="*/ 257576 h 624183"/>
                    <a:gd name="connsiteX1673" fmla="*/ 514496 w 590426"/>
                    <a:gd name="connsiteY1673" fmla="*/ 256860 h 624183"/>
                    <a:gd name="connsiteX1674" fmla="*/ 513391 w 590426"/>
                    <a:gd name="connsiteY1674" fmla="*/ 256119 h 624183"/>
                    <a:gd name="connsiteX1675" fmla="*/ 512080 w 590426"/>
                    <a:gd name="connsiteY1675" fmla="*/ 255912 h 624183"/>
                    <a:gd name="connsiteX1676" fmla="*/ 509494 w 590426"/>
                    <a:gd name="connsiteY1676" fmla="*/ 255512 h 624183"/>
                    <a:gd name="connsiteX1677" fmla="*/ 508716 w 590426"/>
                    <a:gd name="connsiteY1677" fmla="*/ 255390 h 624183"/>
                    <a:gd name="connsiteX1678" fmla="*/ 507939 w 590426"/>
                    <a:gd name="connsiteY1678" fmla="*/ 255463 h 624183"/>
                    <a:gd name="connsiteX1679" fmla="*/ 507684 w 590426"/>
                    <a:gd name="connsiteY1679" fmla="*/ 255487 h 624183"/>
                    <a:gd name="connsiteX1680" fmla="*/ 507417 w 590426"/>
                    <a:gd name="connsiteY1680" fmla="*/ 255002 h 624183"/>
                    <a:gd name="connsiteX1681" fmla="*/ 506591 w 590426"/>
                    <a:gd name="connsiteY1681" fmla="*/ 254310 h 624183"/>
                    <a:gd name="connsiteX1682" fmla="*/ 505450 w 590426"/>
                    <a:gd name="connsiteY1682" fmla="*/ 253362 h 624183"/>
                    <a:gd name="connsiteX1683" fmla="*/ 503313 w 590426"/>
                    <a:gd name="connsiteY1683" fmla="*/ 251590 h 624183"/>
                    <a:gd name="connsiteX1684" fmla="*/ 500568 w 590426"/>
                    <a:gd name="connsiteY1684" fmla="*/ 252051 h 624183"/>
                    <a:gd name="connsiteX1685" fmla="*/ 499718 w 590426"/>
                    <a:gd name="connsiteY1685" fmla="*/ 252197 h 624183"/>
                    <a:gd name="connsiteX1686" fmla="*/ 496367 w 590426"/>
                    <a:gd name="connsiteY1686" fmla="*/ 245542 h 624183"/>
                    <a:gd name="connsiteX1687" fmla="*/ 488899 w 590426"/>
                    <a:gd name="connsiteY1687" fmla="*/ 232039 h 624183"/>
                    <a:gd name="connsiteX1688" fmla="*/ 488401 w 590426"/>
                    <a:gd name="connsiteY1688" fmla="*/ 231141 h 624183"/>
                    <a:gd name="connsiteX1689" fmla="*/ 487624 w 590426"/>
                    <a:gd name="connsiteY1689" fmla="*/ 230449 h 624183"/>
                    <a:gd name="connsiteX1690" fmla="*/ 485050 w 590426"/>
                    <a:gd name="connsiteY1690" fmla="*/ 228154 h 624183"/>
                    <a:gd name="connsiteX1691" fmla="*/ 480362 w 590426"/>
                    <a:gd name="connsiteY1691" fmla="*/ 223964 h 624183"/>
                    <a:gd name="connsiteX1692" fmla="*/ 476343 w 590426"/>
                    <a:gd name="connsiteY1692" fmla="*/ 228797 h 624183"/>
                    <a:gd name="connsiteX1693" fmla="*/ 475688 w 590426"/>
                    <a:gd name="connsiteY1693" fmla="*/ 229587 h 624183"/>
                    <a:gd name="connsiteX1694" fmla="*/ 472457 w 590426"/>
                    <a:gd name="connsiteY1694" fmla="*/ 230400 h 624183"/>
                    <a:gd name="connsiteX1695" fmla="*/ 469519 w 590426"/>
                    <a:gd name="connsiteY1695" fmla="*/ 231153 h 624183"/>
                    <a:gd name="connsiteX1696" fmla="*/ 468353 w 590426"/>
                    <a:gd name="connsiteY1696" fmla="*/ 233946 h 624183"/>
                    <a:gd name="connsiteX1697" fmla="*/ 467382 w 590426"/>
                    <a:gd name="connsiteY1697" fmla="*/ 236265 h 624183"/>
                    <a:gd name="connsiteX1698" fmla="*/ 466738 w 590426"/>
                    <a:gd name="connsiteY1698" fmla="*/ 237795 h 624183"/>
                    <a:gd name="connsiteX1699" fmla="*/ 466969 w 590426"/>
                    <a:gd name="connsiteY1699" fmla="*/ 239434 h 624183"/>
                    <a:gd name="connsiteX1700" fmla="*/ 467491 w 590426"/>
                    <a:gd name="connsiteY1700" fmla="*/ 243247 h 624183"/>
                    <a:gd name="connsiteX1701" fmla="*/ 466398 w 590426"/>
                    <a:gd name="connsiteY1701" fmla="*/ 244049 h 624183"/>
                    <a:gd name="connsiteX1702" fmla="*/ 465196 w 590426"/>
                    <a:gd name="connsiteY1702" fmla="*/ 244923 h 624183"/>
                    <a:gd name="connsiteX1703" fmla="*/ 463812 w 590426"/>
                    <a:gd name="connsiteY1703" fmla="*/ 245943 h 624183"/>
                    <a:gd name="connsiteX1704" fmla="*/ 463168 w 590426"/>
                    <a:gd name="connsiteY1704" fmla="*/ 247534 h 624183"/>
                    <a:gd name="connsiteX1705" fmla="*/ 462476 w 590426"/>
                    <a:gd name="connsiteY1705" fmla="*/ 249222 h 624183"/>
                    <a:gd name="connsiteX1706" fmla="*/ 462245 w 590426"/>
                    <a:gd name="connsiteY1706" fmla="*/ 249792 h 624183"/>
                    <a:gd name="connsiteX1707" fmla="*/ 462136 w 590426"/>
                    <a:gd name="connsiteY1707" fmla="*/ 250387 h 624183"/>
                    <a:gd name="connsiteX1708" fmla="*/ 462100 w 590426"/>
                    <a:gd name="connsiteY1708" fmla="*/ 250570 h 624183"/>
                    <a:gd name="connsiteX1709" fmla="*/ 461492 w 590426"/>
                    <a:gd name="connsiteY1709" fmla="*/ 250302 h 624183"/>
                    <a:gd name="connsiteX1710" fmla="*/ 460144 w 590426"/>
                    <a:gd name="connsiteY1710" fmla="*/ 249720 h 624183"/>
                    <a:gd name="connsiteX1711" fmla="*/ 458663 w 590426"/>
                    <a:gd name="connsiteY1711" fmla="*/ 249817 h 624183"/>
                    <a:gd name="connsiteX1712" fmla="*/ 456490 w 590426"/>
                    <a:gd name="connsiteY1712" fmla="*/ 249962 h 624183"/>
                    <a:gd name="connsiteX1713" fmla="*/ 455894 w 590426"/>
                    <a:gd name="connsiteY1713" fmla="*/ 249999 h 624183"/>
                    <a:gd name="connsiteX1714" fmla="*/ 455324 w 590426"/>
                    <a:gd name="connsiteY1714" fmla="*/ 250157 h 624183"/>
                    <a:gd name="connsiteX1715" fmla="*/ 453830 w 590426"/>
                    <a:gd name="connsiteY1715" fmla="*/ 250557 h 624183"/>
                    <a:gd name="connsiteX1716" fmla="*/ 453417 w 590426"/>
                    <a:gd name="connsiteY1716" fmla="*/ 250667 h 624183"/>
                    <a:gd name="connsiteX1717" fmla="*/ 453029 w 590426"/>
                    <a:gd name="connsiteY1717" fmla="*/ 250837 h 624183"/>
                    <a:gd name="connsiteX1718" fmla="*/ 451705 w 590426"/>
                    <a:gd name="connsiteY1718" fmla="*/ 251407 h 624183"/>
                    <a:gd name="connsiteX1719" fmla="*/ 451013 w 590426"/>
                    <a:gd name="connsiteY1719" fmla="*/ 250995 h 624183"/>
                    <a:gd name="connsiteX1720" fmla="*/ 448026 w 590426"/>
                    <a:gd name="connsiteY1720" fmla="*/ 247862 h 624183"/>
                    <a:gd name="connsiteX1721" fmla="*/ 446593 w 590426"/>
                    <a:gd name="connsiteY1721" fmla="*/ 245652 h 624183"/>
                    <a:gd name="connsiteX1722" fmla="*/ 445816 w 590426"/>
                    <a:gd name="connsiteY1722" fmla="*/ 243502 h 624183"/>
                    <a:gd name="connsiteX1723" fmla="*/ 443084 w 590426"/>
                    <a:gd name="connsiteY1723" fmla="*/ 231287 h 624183"/>
                    <a:gd name="connsiteX1724" fmla="*/ 442999 w 590426"/>
                    <a:gd name="connsiteY1724" fmla="*/ 230874 h 624183"/>
                    <a:gd name="connsiteX1725" fmla="*/ 442853 w 590426"/>
                    <a:gd name="connsiteY1725" fmla="*/ 230473 h 624183"/>
                    <a:gd name="connsiteX1726" fmla="*/ 432459 w 590426"/>
                    <a:gd name="connsiteY1726" fmla="*/ 202763 h 624183"/>
                    <a:gd name="connsiteX1727" fmla="*/ 432301 w 590426"/>
                    <a:gd name="connsiteY1727" fmla="*/ 202350 h 624183"/>
                    <a:gd name="connsiteX1728" fmla="*/ 432082 w 590426"/>
                    <a:gd name="connsiteY1728" fmla="*/ 201961 h 624183"/>
                    <a:gd name="connsiteX1729" fmla="*/ 408197 w 590426"/>
                    <a:gd name="connsiteY1729" fmla="*/ 158866 h 624183"/>
                    <a:gd name="connsiteX1730" fmla="*/ 406424 w 590426"/>
                    <a:gd name="connsiteY1730" fmla="*/ 155478 h 624183"/>
                    <a:gd name="connsiteX1731" fmla="*/ 406497 w 590426"/>
                    <a:gd name="connsiteY1731" fmla="*/ 155478 h 624183"/>
                    <a:gd name="connsiteX1732" fmla="*/ 408233 w 590426"/>
                    <a:gd name="connsiteY1732" fmla="*/ 155442 h 624183"/>
                    <a:gd name="connsiteX1733" fmla="*/ 409678 w 590426"/>
                    <a:gd name="connsiteY1733" fmla="*/ 154507 h 624183"/>
                    <a:gd name="connsiteX1734" fmla="*/ 410893 w 590426"/>
                    <a:gd name="connsiteY1734" fmla="*/ 153730 h 624183"/>
                    <a:gd name="connsiteX1735" fmla="*/ 413674 w 590426"/>
                    <a:gd name="connsiteY1735" fmla="*/ 151932 h 624183"/>
                    <a:gd name="connsiteX1736" fmla="*/ 413674 w 590426"/>
                    <a:gd name="connsiteY1736" fmla="*/ 148630 h 624183"/>
                    <a:gd name="connsiteX1737" fmla="*/ 413674 w 590426"/>
                    <a:gd name="connsiteY1737" fmla="*/ 147427 h 624183"/>
                    <a:gd name="connsiteX1738" fmla="*/ 413674 w 590426"/>
                    <a:gd name="connsiteY1738" fmla="*/ 146092 h 624183"/>
                    <a:gd name="connsiteX1739" fmla="*/ 413103 w 590426"/>
                    <a:gd name="connsiteY1739" fmla="*/ 144865 h 624183"/>
                    <a:gd name="connsiteX1740" fmla="*/ 412350 w 590426"/>
                    <a:gd name="connsiteY1740" fmla="*/ 143250 h 624183"/>
                    <a:gd name="connsiteX1741" fmla="*/ 405258 w 590426"/>
                    <a:gd name="connsiteY1741" fmla="*/ 130561 h 624183"/>
                    <a:gd name="connsiteX1742" fmla="*/ 405173 w 590426"/>
                    <a:gd name="connsiteY1742" fmla="*/ 130391 h 624183"/>
                    <a:gd name="connsiteX1743" fmla="*/ 404991 w 590426"/>
                    <a:gd name="connsiteY1743" fmla="*/ 130136 h 624183"/>
                    <a:gd name="connsiteX1744" fmla="*/ 398216 w 590426"/>
                    <a:gd name="connsiteY1744" fmla="*/ 120567 h 624183"/>
                    <a:gd name="connsiteX1745" fmla="*/ 396358 w 590426"/>
                    <a:gd name="connsiteY1745" fmla="*/ 117240 h 624183"/>
                    <a:gd name="connsiteX1746" fmla="*/ 395581 w 590426"/>
                    <a:gd name="connsiteY1746" fmla="*/ 115868 h 624183"/>
                    <a:gd name="connsiteX1747" fmla="*/ 394233 w 590426"/>
                    <a:gd name="connsiteY1747" fmla="*/ 115054 h 624183"/>
                    <a:gd name="connsiteX1748" fmla="*/ 390784 w 590426"/>
                    <a:gd name="connsiteY1748" fmla="*/ 112966 h 624183"/>
                    <a:gd name="connsiteX1749" fmla="*/ 390432 w 590426"/>
                    <a:gd name="connsiteY1749" fmla="*/ 112747 h 624183"/>
                    <a:gd name="connsiteX1750" fmla="*/ 390055 w 590426"/>
                    <a:gd name="connsiteY1750" fmla="*/ 112589 h 624183"/>
                    <a:gd name="connsiteX1751" fmla="*/ 379285 w 590426"/>
                    <a:gd name="connsiteY1751" fmla="*/ 107914 h 624183"/>
                    <a:gd name="connsiteX1752" fmla="*/ 370432 w 590426"/>
                    <a:gd name="connsiteY1752" fmla="*/ 102596 h 624183"/>
                    <a:gd name="connsiteX1753" fmla="*/ 370056 w 590426"/>
                    <a:gd name="connsiteY1753" fmla="*/ 102365 h 624183"/>
                    <a:gd name="connsiteX1754" fmla="*/ 369643 w 590426"/>
                    <a:gd name="connsiteY1754" fmla="*/ 102195 h 624183"/>
                    <a:gd name="connsiteX1755" fmla="*/ 362066 w 590426"/>
                    <a:gd name="connsiteY1755" fmla="*/ 99026 h 624183"/>
                    <a:gd name="connsiteX1756" fmla="*/ 361665 w 590426"/>
                    <a:gd name="connsiteY1756" fmla="*/ 98613 h 624183"/>
                    <a:gd name="connsiteX1757" fmla="*/ 359310 w 590426"/>
                    <a:gd name="connsiteY1757" fmla="*/ 96184 h 624183"/>
                    <a:gd name="connsiteX1758" fmla="*/ 356007 w 590426"/>
                    <a:gd name="connsiteY1758" fmla="*/ 96913 h 624183"/>
                    <a:gd name="connsiteX1759" fmla="*/ 354889 w 590426"/>
                    <a:gd name="connsiteY1759" fmla="*/ 97168 h 624183"/>
                    <a:gd name="connsiteX1760" fmla="*/ 352449 w 590426"/>
                    <a:gd name="connsiteY1760" fmla="*/ 96245 h 624183"/>
                    <a:gd name="connsiteX1761" fmla="*/ 351866 w 590426"/>
                    <a:gd name="connsiteY1761" fmla="*/ 96026 h 624183"/>
                    <a:gd name="connsiteX1762" fmla="*/ 351247 w 590426"/>
                    <a:gd name="connsiteY1762" fmla="*/ 95929 h 624183"/>
                    <a:gd name="connsiteX1763" fmla="*/ 344082 w 590426"/>
                    <a:gd name="connsiteY1763" fmla="*/ 94824 h 624183"/>
                    <a:gd name="connsiteX1764" fmla="*/ 350409 w 590426"/>
                    <a:gd name="connsiteY1764" fmla="*/ 88109 h 624183"/>
                    <a:gd name="connsiteX1765" fmla="*/ 350846 w 590426"/>
                    <a:gd name="connsiteY1765" fmla="*/ 87648 h 624183"/>
                    <a:gd name="connsiteX1766" fmla="*/ 351174 w 590426"/>
                    <a:gd name="connsiteY1766" fmla="*/ 87113 h 624183"/>
                    <a:gd name="connsiteX1767" fmla="*/ 353032 w 590426"/>
                    <a:gd name="connsiteY1767" fmla="*/ 84078 h 624183"/>
                    <a:gd name="connsiteX1768" fmla="*/ 353202 w 590426"/>
                    <a:gd name="connsiteY1768" fmla="*/ 83811 h 624183"/>
                    <a:gd name="connsiteX1769" fmla="*/ 353335 w 590426"/>
                    <a:gd name="connsiteY1769" fmla="*/ 83531 h 624183"/>
                    <a:gd name="connsiteX1770" fmla="*/ 354647 w 590426"/>
                    <a:gd name="connsiteY1770" fmla="*/ 80775 h 624183"/>
                    <a:gd name="connsiteX1771" fmla="*/ 354829 w 590426"/>
                    <a:gd name="connsiteY1771" fmla="*/ 80398 h 624183"/>
                    <a:gd name="connsiteX1772" fmla="*/ 354950 w 590426"/>
                    <a:gd name="connsiteY1772" fmla="*/ 79998 h 624183"/>
                    <a:gd name="connsiteX1773" fmla="*/ 355873 w 590426"/>
                    <a:gd name="connsiteY1773" fmla="*/ 77071 h 624183"/>
                    <a:gd name="connsiteX1774" fmla="*/ 356322 w 590426"/>
                    <a:gd name="connsiteY1774" fmla="*/ 75675 h 624183"/>
                    <a:gd name="connsiteX1775" fmla="*/ 356080 w 590426"/>
                    <a:gd name="connsiteY1775" fmla="*/ 74242 h 624183"/>
                    <a:gd name="connsiteX1776" fmla="*/ 355849 w 590426"/>
                    <a:gd name="connsiteY1776" fmla="*/ 72858 h 624183"/>
                    <a:gd name="connsiteX1777" fmla="*/ 355339 w 590426"/>
                    <a:gd name="connsiteY1777" fmla="*/ 69810 h 624183"/>
                    <a:gd name="connsiteX1778" fmla="*/ 352570 w 590426"/>
                    <a:gd name="connsiteY1778" fmla="*/ 68425 h 624183"/>
                    <a:gd name="connsiteX1779" fmla="*/ 351477 w 590426"/>
                    <a:gd name="connsiteY1779" fmla="*/ 67879 h 624183"/>
                    <a:gd name="connsiteX1780" fmla="*/ 349984 w 590426"/>
                    <a:gd name="connsiteY1780" fmla="*/ 67126 h 624183"/>
                    <a:gd name="connsiteX1781" fmla="*/ 348320 w 590426"/>
                    <a:gd name="connsiteY1781" fmla="*/ 67248 h 624183"/>
                    <a:gd name="connsiteX1782" fmla="*/ 347106 w 590426"/>
                    <a:gd name="connsiteY1782" fmla="*/ 67333 h 624183"/>
                    <a:gd name="connsiteX1783" fmla="*/ 346147 w 590426"/>
                    <a:gd name="connsiteY1783" fmla="*/ 67405 h 624183"/>
                    <a:gd name="connsiteX1784" fmla="*/ 345928 w 590426"/>
                    <a:gd name="connsiteY1784" fmla="*/ 67490 h 624183"/>
                    <a:gd name="connsiteX1785" fmla="*/ 346110 w 590426"/>
                    <a:gd name="connsiteY1785" fmla="*/ 66215 h 624183"/>
                    <a:gd name="connsiteX1786" fmla="*/ 357294 w 590426"/>
                    <a:gd name="connsiteY1786" fmla="*/ 63763 h 624183"/>
                    <a:gd name="connsiteX1787" fmla="*/ 357767 w 590426"/>
                    <a:gd name="connsiteY1787" fmla="*/ 63665 h 624183"/>
                    <a:gd name="connsiteX1788" fmla="*/ 358229 w 590426"/>
                    <a:gd name="connsiteY1788" fmla="*/ 63483 h 624183"/>
                    <a:gd name="connsiteX1789" fmla="*/ 361787 w 590426"/>
                    <a:gd name="connsiteY1789" fmla="*/ 62075 h 624183"/>
                    <a:gd name="connsiteX1790" fmla="*/ 362297 w 590426"/>
                    <a:gd name="connsiteY1790" fmla="*/ 61880 h 624183"/>
                    <a:gd name="connsiteX1791" fmla="*/ 362758 w 590426"/>
                    <a:gd name="connsiteY1791" fmla="*/ 61601 h 624183"/>
                    <a:gd name="connsiteX1792" fmla="*/ 365745 w 590426"/>
                    <a:gd name="connsiteY1792" fmla="*/ 59755 h 624183"/>
                    <a:gd name="connsiteX1793" fmla="*/ 366122 w 590426"/>
                    <a:gd name="connsiteY1793" fmla="*/ 59513 h 624183"/>
                    <a:gd name="connsiteX1794" fmla="*/ 366462 w 590426"/>
                    <a:gd name="connsiteY1794" fmla="*/ 59233 h 624183"/>
                    <a:gd name="connsiteX1795" fmla="*/ 369267 w 590426"/>
                    <a:gd name="connsiteY1795" fmla="*/ 56865 h 624183"/>
                    <a:gd name="connsiteX1796" fmla="*/ 369607 w 590426"/>
                    <a:gd name="connsiteY1796" fmla="*/ 56574 h 624183"/>
                    <a:gd name="connsiteX1797" fmla="*/ 369898 w 590426"/>
                    <a:gd name="connsiteY1797" fmla="*/ 56246 h 624183"/>
                    <a:gd name="connsiteX1798" fmla="*/ 376395 w 590426"/>
                    <a:gd name="connsiteY1798" fmla="*/ 48912 h 624183"/>
                    <a:gd name="connsiteX1799" fmla="*/ 390177 w 590426"/>
                    <a:gd name="connsiteY1799" fmla="*/ 38457 h 624183"/>
                    <a:gd name="connsiteX1800" fmla="*/ 398835 w 590426"/>
                    <a:gd name="connsiteY1800" fmla="*/ 33806 h 624183"/>
                    <a:gd name="connsiteX1801" fmla="*/ 399527 w 590426"/>
                    <a:gd name="connsiteY1801" fmla="*/ 33429 h 624183"/>
                    <a:gd name="connsiteX1802" fmla="*/ 400098 w 590426"/>
                    <a:gd name="connsiteY1802" fmla="*/ 32895 h 624183"/>
                    <a:gd name="connsiteX1803" fmla="*/ 401361 w 590426"/>
                    <a:gd name="connsiteY1803" fmla="*/ 31717 h 624183"/>
                    <a:gd name="connsiteX1804" fmla="*/ 402854 w 590426"/>
                    <a:gd name="connsiteY1804" fmla="*/ 30321 h 624183"/>
                    <a:gd name="connsiteX1805" fmla="*/ 403194 w 590426"/>
                    <a:gd name="connsiteY1805" fmla="*/ 28305 h 624183"/>
                    <a:gd name="connsiteX1806" fmla="*/ 403425 w 590426"/>
                    <a:gd name="connsiteY1806" fmla="*/ 26957 h 624183"/>
                    <a:gd name="connsiteX1807" fmla="*/ 403680 w 590426"/>
                    <a:gd name="connsiteY1807" fmla="*/ 25476 h 624183"/>
                    <a:gd name="connsiteX1808" fmla="*/ 403218 w 590426"/>
                    <a:gd name="connsiteY1808" fmla="*/ 24043 h 624183"/>
                    <a:gd name="connsiteX1809" fmla="*/ 402818 w 590426"/>
                    <a:gd name="connsiteY1809" fmla="*/ 22804 h 624183"/>
                    <a:gd name="connsiteX1810" fmla="*/ 402648 w 590426"/>
                    <a:gd name="connsiteY1810" fmla="*/ 22282 h 624183"/>
                    <a:gd name="connsiteX1811" fmla="*/ 402393 w 590426"/>
                    <a:gd name="connsiteY1811" fmla="*/ 21797 h 624183"/>
                    <a:gd name="connsiteX1812" fmla="*/ 394694 w 590426"/>
                    <a:gd name="connsiteY1812" fmla="*/ 7529 h 624183"/>
                    <a:gd name="connsiteX1813" fmla="*/ 394488 w 590426"/>
                    <a:gd name="connsiteY1813" fmla="*/ 7140 h 624183"/>
                    <a:gd name="connsiteX1814" fmla="*/ 394221 w 590426"/>
                    <a:gd name="connsiteY1814" fmla="*/ 6788 h 624183"/>
                    <a:gd name="connsiteX1815" fmla="*/ 393419 w 590426"/>
                    <a:gd name="connsiteY1815" fmla="*/ 5719 h 624183"/>
                    <a:gd name="connsiteX1816" fmla="*/ 391233 w 590426"/>
                    <a:gd name="connsiteY1816" fmla="*/ 3254 h 624183"/>
                    <a:gd name="connsiteX1817" fmla="*/ 389970 w 590426"/>
                    <a:gd name="connsiteY1817" fmla="*/ 1858 h 624183"/>
                    <a:gd name="connsiteX1818" fmla="*/ 388137 w 590426"/>
                    <a:gd name="connsiteY1818" fmla="*/ 1409 h 624183"/>
                    <a:gd name="connsiteX1819" fmla="*/ 386400 w 590426"/>
                    <a:gd name="connsiteY1819" fmla="*/ 984 h 624183"/>
                    <a:gd name="connsiteX1820" fmla="*/ 382466 w 590426"/>
                    <a:gd name="connsiteY1820" fmla="*/ 0 h 624183"/>
                    <a:gd name="connsiteX1821" fmla="*/ 382466 w 590426"/>
                    <a:gd name="connsiteY1821" fmla="*/ 0 h 624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Lst>
                  <a:rect l="l" t="t" r="r" b="b"/>
                  <a:pathLst>
                    <a:path w="590426" h="624183">
                      <a:moveTo>
                        <a:pt x="384968" y="6849"/>
                      </a:moveTo>
                      <a:lnTo>
                        <a:pt x="386704" y="7274"/>
                      </a:lnTo>
                      <a:lnTo>
                        <a:pt x="388538" y="9314"/>
                      </a:lnTo>
                      <a:lnTo>
                        <a:pt x="389339" y="10382"/>
                      </a:lnTo>
                      <a:lnTo>
                        <a:pt x="397038" y="24650"/>
                      </a:lnTo>
                      <a:lnTo>
                        <a:pt x="397438" y="25889"/>
                      </a:lnTo>
                      <a:lnTo>
                        <a:pt x="397208" y="27237"/>
                      </a:lnTo>
                      <a:lnTo>
                        <a:pt x="395945" y="28414"/>
                      </a:lnTo>
                      <a:lnTo>
                        <a:pt x="386874" y="33296"/>
                      </a:lnTo>
                      <a:lnTo>
                        <a:pt x="372230" y="44395"/>
                      </a:lnTo>
                      <a:lnTo>
                        <a:pt x="365332" y="52190"/>
                      </a:lnTo>
                      <a:lnTo>
                        <a:pt x="362527" y="54558"/>
                      </a:lnTo>
                      <a:lnTo>
                        <a:pt x="359540" y="56404"/>
                      </a:lnTo>
                      <a:lnTo>
                        <a:pt x="355982" y="57813"/>
                      </a:lnTo>
                      <a:lnTo>
                        <a:pt x="342892" y="60678"/>
                      </a:lnTo>
                      <a:lnTo>
                        <a:pt x="342139" y="61200"/>
                      </a:lnTo>
                      <a:lnTo>
                        <a:pt x="341107" y="62269"/>
                      </a:lnTo>
                      <a:lnTo>
                        <a:pt x="340197" y="64552"/>
                      </a:lnTo>
                      <a:lnTo>
                        <a:pt x="339784" y="67478"/>
                      </a:lnTo>
                      <a:lnTo>
                        <a:pt x="340197" y="70793"/>
                      </a:lnTo>
                      <a:lnTo>
                        <a:pt x="341338" y="73550"/>
                      </a:lnTo>
                      <a:lnTo>
                        <a:pt x="343354" y="74776"/>
                      </a:lnTo>
                      <a:lnTo>
                        <a:pt x="344665" y="74752"/>
                      </a:lnTo>
                      <a:lnTo>
                        <a:pt x="345697" y="74266"/>
                      </a:lnTo>
                      <a:lnTo>
                        <a:pt x="346499" y="73793"/>
                      </a:lnTo>
                      <a:lnTo>
                        <a:pt x="347531" y="73368"/>
                      </a:lnTo>
                      <a:lnTo>
                        <a:pt x="348745" y="73283"/>
                      </a:lnTo>
                      <a:lnTo>
                        <a:pt x="349838" y="73829"/>
                      </a:lnTo>
                      <a:lnTo>
                        <a:pt x="350069" y="75213"/>
                      </a:lnTo>
                      <a:lnTo>
                        <a:pt x="349146" y="78140"/>
                      </a:lnTo>
                      <a:lnTo>
                        <a:pt x="347835" y="80896"/>
                      </a:lnTo>
                      <a:lnTo>
                        <a:pt x="345977" y="83932"/>
                      </a:lnTo>
                      <a:lnTo>
                        <a:pt x="335254" y="95310"/>
                      </a:lnTo>
                      <a:lnTo>
                        <a:pt x="334441" y="97083"/>
                      </a:lnTo>
                      <a:lnTo>
                        <a:pt x="335024" y="98540"/>
                      </a:lnTo>
                      <a:lnTo>
                        <a:pt x="337088" y="99499"/>
                      </a:lnTo>
                      <a:lnTo>
                        <a:pt x="338922" y="100155"/>
                      </a:lnTo>
                      <a:lnTo>
                        <a:pt x="350299" y="101916"/>
                      </a:lnTo>
                      <a:lnTo>
                        <a:pt x="354428" y="103458"/>
                      </a:lnTo>
                      <a:lnTo>
                        <a:pt x="357306" y="102826"/>
                      </a:lnTo>
                      <a:lnTo>
                        <a:pt x="358569" y="104126"/>
                      </a:lnTo>
                      <a:lnTo>
                        <a:pt x="367287" y="107769"/>
                      </a:lnTo>
                      <a:lnTo>
                        <a:pt x="376480" y="113306"/>
                      </a:lnTo>
                      <a:lnTo>
                        <a:pt x="387615" y="118139"/>
                      </a:lnTo>
                      <a:lnTo>
                        <a:pt x="391063" y="120227"/>
                      </a:lnTo>
                      <a:lnTo>
                        <a:pt x="393249" y="124064"/>
                      </a:lnTo>
                      <a:lnTo>
                        <a:pt x="400025" y="133633"/>
                      </a:lnTo>
                      <a:lnTo>
                        <a:pt x="406910" y="145922"/>
                      </a:lnTo>
                      <a:lnTo>
                        <a:pt x="407663" y="147537"/>
                      </a:lnTo>
                      <a:lnTo>
                        <a:pt x="407663" y="148739"/>
                      </a:lnTo>
                      <a:lnTo>
                        <a:pt x="406448" y="149516"/>
                      </a:lnTo>
                      <a:lnTo>
                        <a:pt x="405246" y="149540"/>
                      </a:lnTo>
                      <a:lnTo>
                        <a:pt x="402830" y="149200"/>
                      </a:lnTo>
                      <a:lnTo>
                        <a:pt x="401397" y="149225"/>
                      </a:lnTo>
                      <a:lnTo>
                        <a:pt x="400025" y="149832"/>
                      </a:lnTo>
                      <a:lnTo>
                        <a:pt x="399090" y="150925"/>
                      </a:lnTo>
                      <a:lnTo>
                        <a:pt x="398932" y="153110"/>
                      </a:lnTo>
                      <a:lnTo>
                        <a:pt x="399211" y="154762"/>
                      </a:lnTo>
                      <a:lnTo>
                        <a:pt x="402951" y="161914"/>
                      </a:lnTo>
                      <a:lnTo>
                        <a:pt x="426836" y="205009"/>
                      </a:lnTo>
                      <a:lnTo>
                        <a:pt x="437231" y="232719"/>
                      </a:lnTo>
                      <a:lnTo>
                        <a:pt x="440048" y="245312"/>
                      </a:lnTo>
                      <a:lnTo>
                        <a:pt x="441189" y="248481"/>
                      </a:lnTo>
                      <a:lnTo>
                        <a:pt x="443314" y="251747"/>
                      </a:lnTo>
                      <a:lnTo>
                        <a:pt x="447273" y="255912"/>
                      </a:lnTo>
                      <a:lnTo>
                        <a:pt x="451353" y="258292"/>
                      </a:lnTo>
                      <a:lnTo>
                        <a:pt x="455494" y="256520"/>
                      </a:lnTo>
                      <a:lnTo>
                        <a:pt x="456987" y="256119"/>
                      </a:lnTo>
                      <a:lnTo>
                        <a:pt x="459161" y="255973"/>
                      </a:lnTo>
                      <a:lnTo>
                        <a:pt x="462610" y="257467"/>
                      </a:lnTo>
                      <a:lnTo>
                        <a:pt x="463933" y="257843"/>
                      </a:lnTo>
                      <a:lnTo>
                        <a:pt x="465257" y="257576"/>
                      </a:lnTo>
                      <a:lnTo>
                        <a:pt x="466507" y="256495"/>
                      </a:lnTo>
                      <a:lnTo>
                        <a:pt x="467612" y="254674"/>
                      </a:lnTo>
                      <a:lnTo>
                        <a:pt x="468183" y="251602"/>
                      </a:lnTo>
                      <a:lnTo>
                        <a:pt x="468875" y="249914"/>
                      </a:lnTo>
                      <a:lnTo>
                        <a:pt x="470077" y="249027"/>
                      </a:lnTo>
                      <a:lnTo>
                        <a:pt x="472591" y="249404"/>
                      </a:lnTo>
                      <a:lnTo>
                        <a:pt x="473575" y="248590"/>
                      </a:lnTo>
                      <a:lnTo>
                        <a:pt x="474145" y="246477"/>
                      </a:lnTo>
                      <a:lnTo>
                        <a:pt x="473065" y="238682"/>
                      </a:lnTo>
                      <a:lnTo>
                        <a:pt x="474036" y="236362"/>
                      </a:lnTo>
                      <a:lnTo>
                        <a:pt x="478347" y="235269"/>
                      </a:lnTo>
                      <a:lnTo>
                        <a:pt x="479197" y="234929"/>
                      </a:lnTo>
                      <a:lnTo>
                        <a:pt x="479840" y="234444"/>
                      </a:lnTo>
                      <a:lnTo>
                        <a:pt x="480411" y="233582"/>
                      </a:lnTo>
                      <a:lnTo>
                        <a:pt x="481103" y="232744"/>
                      </a:lnTo>
                      <a:lnTo>
                        <a:pt x="483678" y="235039"/>
                      </a:lnTo>
                      <a:lnTo>
                        <a:pt x="491036" y="248335"/>
                      </a:lnTo>
                      <a:lnTo>
                        <a:pt x="494934" y="256058"/>
                      </a:lnTo>
                      <a:lnTo>
                        <a:pt x="496039" y="259786"/>
                      </a:lnTo>
                      <a:lnTo>
                        <a:pt x="497520" y="260332"/>
                      </a:lnTo>
                      <a:lnTo>
                        <a:pt x="498553" y="260102"/>
                      </a:lnTo>
                      <a:lnTo>
                        <a:pt x="499876" y="259130"/>
                      </a:lnTo>
                      <a:lnTo>
                        <a:pt x="500629" y="258268"/>
                      </a:lnTo>
                      <a:lnTo>
                        <a:pt x="501661" y="258098"/>
                      </a:lnTo>
                      <a:lnTo>
                        <a:pt x="502803" y="259045"/>
                      </a:lnTo>
                      <a:lnTo>
                        <a:pt x="504308" y="261656"/>
                      </a:lnTo>
                      <a:lnTo>
                        <a:pt x="505851" y="262943"/>
                      </a:lnTo>
                      <a:lnTo>
                        <a:pt x="506713" y="263235"/>
                      </a:lnTo>
                      <a:lnTo>
                        <a:pt x="507296" y="262579"/>
                      </a:lnTo>
                      <a:lnTo>
                        <a:pt x="507575" y="262032"/>
                      </a:lnTo>
                      <a:lnTo>
                        <a:pt x="508036" y="261632"/>
                      </a:lnTo>
                      <a:lnTo>
                        <a:pt x="508668" y="261571"/>
                      </a:lnTo>
                      <a:lnTo>
                        <a:pt x="511254" y="261972"/>
                      </a:lnTo>
                      <a:lnTo>
                        <a:pt x="512335" y="262688"/>
                      </a:lnTo>
                      <a:lnTo>
                        <a:pt x="513318" y="264157"/>
                      </a:lnTo>
                      <a:lnTo>
                        <a:pt x="513719" y="266623"/>
                      </a:lnTo>
                      <a:lnTo>
                        <a:pt x="514290" y="268055"/>
                      </a:lnTo>
                      <a:lnTo>
                        <a:pt x="515322" y="268917"/>
                      </a:lnTo>
                      <a:lnTo>
                        <a:pt x="516123" y="268687"/>
                      </a:lnTo>
                      <a:lnTo>
                        <a:pt x="516876" y="268055"/>
                      </a:lnTo>
                      <a:lnTo>
                        <a:pt x="517678" y="266877"/>
                      </a:lnTo>
                      <a:lnTo>
                        <a:pt x="518880" y="264558"/>
                      </a:lnTo>
                      <a:lnTo>
                        <a:pt x="519463" y="263866"/>
                      </a:lnTo>
                      <a:lnTo>
                        <a:pt x="520034" y="263781"/>
                      </a:lnTo>
                      <a:lnTo>
                        <a:pt x="520896" y="264388"/>
                      </a:lnTo>
                      <a:lnTo>
                        <a:pt x="521819" y="265481"/>
                      </a:lnTo>
                      <a:lnTo>
                        <a:pt x="523191" y="268031"/>
                      </a:lnTo>
                      <a:lnTo>
                        <a:pt x="523701" y="270120"/>
                      </a:lnTo>
                      <a:lnTo>
                        <a:pt x="522668" y="274005"/>
                      </a:lnTo>
                      <a:lnTo>
                        <a:pt x="522851" y="274746"/>
                      </a:lnTo>
                      <a:lnTo>
                        <a:pt x="524283" y="274916"/>
                      </a:lnTo>
                      <a:lnTo>
                        <a:pt x="528813" y="274430"/>
                      </a:lnTo>
                      <a:lnTo>
                        <a:pt x="530610" y="274953"/>
                      </a:lnTo>
                      <a:lnTo>
                        <a:pt x="531521" y="276276"/>
                      </a:lnTo>
                      <a:lnTo>
                        <a:pt x="530246" y="278705"/>
                      </a:lnTo>
                      <a:lnTo>
                        <a:pt x="527380" y="281923"/>
                      </a:lnTo>
                      <a:lnTo>
                        <a:pt x="526688" y="283392"/>
                      </a:lnTo>
                      <a:lnTo>
                        <a:pt x="526409" y="285080"/>
                      </a:lnTo>
                      <a:lnTo>
                        <a:pt x="526117" y="293895"/>
                      </a:lnTo>
                      <a:lnTo>
                        <a:pt x="526627" y="295486"/>
                      </a:lnTo>
                      <a:lnTo>
                        <a:pt x="530246" y="297684"/>
                      </a:lnTo>
                      <a:lnTo>
                        <a:pt x="530489" y="299615"/>
                      </a:lnTo>
                      <a:lnTo>
                        <a:pt x="528303" y="303403"/>
                      </a:lnTo>
                      <a:lnTo>
                        <a:pt x="527611" y="304982"/>
                      </a:lnTo>
                      <a:lnTo>
                        <a:pt x="527259" y="306791"/>
                      </a:lnTo>
                      <a:lnTo>
                        <a:pt x="527198" y="308916"/>
                      </a:lnTo>
                      <a:lnTo>
                        <a:pt x="527562" y="311017"/>
                      </a:lnTo>
                      <a:lnTo>
                        <a:pt x="528181" y="313276"/>
                      </a:lnTo>
                      <a:lnTo>
                        <a:pt x="529056" y="315546"/>
                      </a:lnTo>
                      <a:lnTo>
                        <a:pt x="530938" y="318351"/>
                      </a:lnTo>
                      <a:lnTo>
                        <a:pt x="534617" y="321921"/>
                      </a:lnTo>
                      <a:lnTo>
                        <a:pt x="544951" y="329669"/>
                      </a:lnTo>
                      <a:lnTo>
                        <a:pt x="548970" y="333919"/>
                      </a:lnTo>
                      <a:lnTo>
                        <a:pt x="557701" y="340864"/>
                      </a:lnTo>
                      <a:lnTo>
                        <a:pt x="559474" y="342989"/>
                      </a:lnTo>
                      <a:lnTo>
                        <a:pt x="560979" y="345491"/>
                      </a:lnTo>
                      <a:lnTo>
                        <a:pt x="563092" y="350287"/>
                      </a:lnTo>
                      <a:lnTo>
                        <a:pt x="564015" y="351489"/>
                      </a:lnTo>
                      <a:lnTo>
                        <a:pt x="565278" y="352267"/>
                      </a:lnTo>
                      <a:lnTo>
                        <a:pt x="567865" y="352959"/>
                      </a:lnTo>
                      <a:lnTo>
                        <a:pt x="569079" y="353529"/>
                      </a:lnTo>
                      <a:lnTo>
                        <a:pt x="569819" y="354355"/>
                      </a:lnTo>
                      <a:lnTo>
                        <a:pt x="570281" y="355691"/>
                      </a:lnTo>
                      <a:lnTo>
                        <a:pt x="570390" y="357039"/>
                      </a:lnTo>
                      <a:lnTo>
                        <a:pt x="570159" y="358447"/>
                      </a:lnTo>
                      <a:lnTo>
                        <a:pt x="569237" y="361252"/>
                      </a:lnTo>
                      <a:lnTo>
                        <a:pt x="566432" y="365332"/>
                      </a:lnTo>
                      <a:lnTo>
                        <a:pt x="558794" y="363268"/>
                      </a:lnTo>
                      <a:lnTo>
                        <a:pt x="555746" y="363377"/>
                      </a:lnTo>
                      <a:lnTo>
                        <a:pt x="552710" y="363815"/>
                      </a:lnTo>
                      <a:lnTo>
                        <a:pt x="545643" y="366911"/>
                      </a:lnTo>
                      <a:lnTo>
                        <a:pt x="544319" y="367967"/>
                      </a:lnTo>
                      <a:lnTo>
                        <a:pt x="543858" y="368951"/>
                      </a:lnTo>
                      <a:lnTo>
                        <a:pt x="543749" y="370615"/>
                      </a:lnTo>
                      <a:lnTo>
                        <a:pt x="544040" y="372193"/>
                      </a:lnTo>
                      <a:lnTo>
                        <a:pt x="544550" y="373541"/>
                      </a:lnTo>
                      <a:lnTo>
                        <a:pt x="545242" y="374512"/>
                      </a:lnTo>
                      <a:lnTo>
                        <a:pt x="550694" y="378945"/>
                      </a:lnTo>
                      <a:lnTo>
                        <a:pt x="556207" y="385344"/>
                      </a:lnTo>
                      <a:lnTo>
                        <a:pt x="557980" y="386874"/>
                      </a:lnTo>
                      <a:lnTo>
                        <a:pt x="559073" y="388355"/>
                      </a:lnTo>
                      <a:lnTo>
                        <a:pt x="559996" y="389181"/>
                      </a:lnTo>
                      <a:lnTo>
                        <a:pt x="560919" y="389424"/>
                      </a:lnTo>
                      <a:lnTo>
                        <a:pt x="562692" y="387894"/>
                      </a:lnTo>
                      <a:lnTo>
                        <a:pt x="563724" y="387263"/>
                      </a:lnTo>
                      <a:lnTo>
                        <a:pt x="564938" y="387153"/>
                      </a:lnTo>
                      <a:lnTo>
                        <a:pt x="565861" y="387153"/>
                      </a:lnTo>
                      <a:lnTo>
                        <a:pt x="568787" y="387663"/>
                      </a:lnTo>
                      <a:lnTo>
                        <a:pt x="570791" y="388076"/>
                      </a:lnTo>
                      <a:lnTo>
                        <a:pt x="571544" y="387894"/>
                      </a:lnTo>
                      <a:lnTo>
                        <a:pt x="572345" y="387408"/>
                      </a:lnTo>
                      <a:lnTo>
                        <a:pt x="572855" y="387360"/>
                      </a:lnTo>
                      <a:lnTo>
                        <a:pt x="573256" y="387493"/>
                      </a:lnTo>
                      <a:lnTo>
                        <a:pt x="573547" y="388040"/>
                      </a:lnTo>
                      <a:lnTo>
                        <a:pt x="573839" y="388793"/>
                      </a:lnTo>
                      <a:lnTo>
                        <a:pt x="575041" y="394985"/>
                      </a:lnTo>
                      <a:lnTo>
                        <a:pt x="576012" y="395908"/>
                      </a:lnTo>
                      <a:lnTo>
                        <a:pt x="577118" y="396370"/>
                      </a:lnTo>
                      <a:lnTo>
                        <a:pt x="578550" y="396564"/>
                      </a:lnTo>
                      <a:lnTo>
                        <a:pt x="579922" y="397378"/>
                      </a:lnTo>
                      <a:lnTo>
                        <a:pt x="580724" y="398689"/>
                      </a:lnTo>
                      <a:lnTo>
                        <a:pt x="581707" y="402138"/>
                      </a:lnTo>
                      <a:lnTo>
                        <a:pt x="582327" y="403316"/>
                      </a:lnTo>
                      <a:lnTo>
                        <a:pt x="582679" y="404578"/>
                      </a:lnTo>
                      <a:lnTo>
                        <a:pt x="582679" y="405841"/>
                      </a:lnTo>
                      <a:lnTo>
                        <a:pt x="581355" y="412338"/>
                      </a:lnTo>
                      <a:lnTo>
                        <a:pt x="581125" y="415896"/>
                      </a:lnTo>
                      <a:lnTo>
                        <a:pt x="582047" y="417668"/>
                      </a:lnTo>
                      <a:lnTo>
                        <a:pt x="583480" y="419393"/>
                      </a:lnTo>
                      <a:lnTo>
                        <a:pt x="584233" y="420716"/>
                      </a:lnTo>
                      <a:lnTo>
                        <a:pt x="584342" y="422004"/>
                      </a:lnTo>
                      <a:lnTo>
                        <a:pt x="583541" y="423619"/>
                      </a:lnTo>
                      <a:lnTo>
                        <a:pt x="582448" y="425282"/>
                      </a:lnTo>
                      <a:lnTo>
                        <a:pt x="582047" y="426132"/>
                      </a:lnTo>
                      <a:lnTo>
                        <a:pt x="581707" y="427686"/>
                      </a:lnTo>
                      <a:lnTo>
                        <a:pt x="581598" y="434061"/>
                      </a:lnTo>
                      <a:lnTo>
                        <a:pt x="581865" y="436854"/>
                      </a:lnTo>
                      <a:lnTo>
                        <a:pt x="583602" y="444334"/>
                      </a:lnTo>
                      <a:lnTo>
                        <a:pt x="583723" y="446374"/>
                      </a:lnTo>
                      <a:lnTo>
                        <a:pt x="583310" y="448791"/>
                      </a:lnTo>
                      <a:lnTo>
                        <a:pt x="582509" y="451268"/>
                      </a:lnTo>
                      <a:lnTo>
                        <a:pt x="580724" y="453466"/>
                      </a:lnTo>
                      <a:lnTo>
                        <a:pt x="578769" y="454109"/>
                      </a:lnTo>
                      <a:lnTo>
                        <a:pt x="576656" y="453247"/>
                      </a:lnTo>
                      <a:lnTo>
                        <a:pt x="574932" y="450284"/>
                      </a:lnTo>
                      <a:lnTo>
                        <a:pt x="573256" y="444541"/>
                      </a:lnTo>
                      <a:lnTo>
                        <a:pt x="572163" y="441906"/>
                      </a:lnTo>
                      <a:lnTo>
                        <a:pt x="570912" y="440534"/>
                      </a:lnTo>
                      <a:lnTo>
                        <a:pt x="569176" y="439926"/>
                      </a:lnTo>
                      <a:lnTo>
                        <a:pt x="563384" y="440801"/>
                      </a:lnTo>
                      <a:lnTo>
                        <a:pt x="561150" y="440789"/>
                      </a:lnTo>
                      <a:lnTo>
                        <a:pt x="557470" y="439210"/>
                      </a:lnTo>
                      <a:lnTo>
                        <a:pt x="554835" y="439234"/>
                      </a:lnTo>
                      <a:lnTo>
                        <a:pt x="550124" y="441384"/>
                      </a:lnTo>
                      <a:lnTo>
                        <a:pt x="549431" y="442100"/>
                      </a:lnTo>
                      <a:lnTo>
                        <a:pt x="548909" y="443339"/>
                      </a:lnTo>
                      <a:lnTo>
                        <a:pt x="547999" y="449374"/>
                      </a:lnTo>
                      <a:lnTo>
                        <a:pt x="548108" y="450284"/>
                      </a:lnTo>
                      <a:lnTo>
                        <a:pt x="548460" y="450977"/>
                      </a:lnTo>
                      <a:lnTo>
                        <a:pt x="549091" y="451341"/>
                      </a:lnTo>
                      <a:lnTo>
                        <a:pt x="551265" y="451839"/>
                      </a:lnTo>
                      <a:lnTo>
                        <a:pt x="552249" y="452385"/>
                      </a:lnTo>
                      <a:lnTo>
                        <a:pt x="552419" y="453162"/>
                      </a:lnTo>
                      <a:lnTo>
                        <a:pt x="551848" y="454328"/>
                      </a:lnTo>
                      <a:lnTo>
                        <a:pt x="550464" y="455882"/>
                      </a:lnTo>
                      <a:lnTo>
                        <a:pt x="547598" y="458444"/>
                      </a:lnTo>
                      <a:lnTo>
                        <a:pt x="535540" y="466738"/>
                      </a:lnTo>
                      <a:lnTo>
                        <a:pt x="533075" y="467940"/>
                      </a:lnTo>
                      <a:lnTo>
                        <a:pt x="529274" y="470296"/>
                      </a:lnTo>
                      <a:lnTo>
                        <a:pt x="527198" y="471328"/>
                      </a:lnTo>
                      <a:lnTo>
                        <a:pt x="519511" y="473915"/>
                      </a:lnTo>
                      <a:lnTo>
                        <a:pt x="516816" y="475432"/>
                      </a:lnTo>
                      <a:lnTo>
                        <a:pt x="514751" y="477363"/>
                      </a:lnTo>
                      <a:lnTo>
                        <a:pt x="513598" y="479537"/>
                      </a:lnTo>
                      <a:lnTo>
                        <a:pt x="514059" y="481492"/>
                      </a:lnTo>
                      <a:lnTo>
                        <a:pt x="514751" y="482548"/>
                      </a:lnTo>
                      <a:lnTo>
                        <a:pt x="515905" y="482985"/>
                      </a:lnTo>
                      <a:lnTo>
                        <a:pt x="516755" y="482876"/>
                      </a:lnTo>
                      <a:lnTo>
                        <a:pt x="517908" y="482354"/>
                      </a:lnTo>
                      <a:lnTo>
                        <a:pt x="518880" y="481552"/>
                      </a:lnTo>
                      <a:lnTo>
                        <a:pt x="521928" y="477679"/>
                      </a:lnTo>
                      <a:lnTo>
                        <a:pt x="522851" y="476926"/>
                      </a:lnTo>
                      <a:lnTo>
                        <a:pt x="523579" y="476756"/>
                      </a:lnTo>
                      <a:lnTo>
                        <a:pt x="524454" y="477047"/>
                      </a:lnTo>
                      <a:lnTo>
                        <a:pt x="525134" y="477642"/>
                      </a:lnTo>
                      <a:lnTo>
                        <a:pt x="525716" y="478395"/>
                      </a:lnTo>
                      <a:lnTo>
                        <a:pt x="526008" y="479136"/>
                      </a:lnTo>
                      <a:lnTo>
                        <a:pt x="526226" y="480205"/>
                      </a:lnTo>
                      <a:lnTo>
                        <a:pt x="526627" y="481261"/>
                      </a:lnTo>
                      <a:lnTo>
                        <a:pt x="527149" y="482245"/>
                      </a:lnTo>
                      <a:lnTo>
                        <a:pt x="527902" y="483022"/>
                      </a:lnTo>
                      <a:lnTo>
                        <a:pt x="528995" y="483738"/>
                      </a:lnTo>
                      <a:lnTo>
                        <a:pt x="531460" y="484455"/>
                      </a:lnTo>
                      <a:lnTo>
                        <a:pt x="532431" y="484904"/>
                      </a:lnTo>
                      <a:lnTo>
                        <a:pt x="533172" y="485548"/>
                      </a:lnTo>
                      <a:lnTo>
                        <a:pt x="533585" y="486203"/>
                      </a:lnTo>
                      <a:lnTo>
                        <a:pt x="533925" y="487065"/>
                      </a:lnTo>
                      <a:lnTo>
                        <a:pt x="533816" y="488583"/>
                      </a:lnTo>
                      <a:lnTo>
                        <a:pt x="533415" y="490344"/>
                      </a:lnTo>
                      <a:lnTo>
                        <a:pt x="531800" y="493465"/>
                      </a:lnTo>
                      <a:lnTo>
                        <a:pt x="531521" y="495140"/>
                      </a:lnTo>
                      <a:lnTo>
                        <a:pt x="531630" y="497423"/>
                      </a:lnTo>
                      <a:lnTo>
                        <a:pt x="530829" y="498407"/>
                      </a:lnTo>
                      <a:lnTo>
                        <a:pt x="524223" y="502256"/>
                      </a:lnTo>
                      <a:lnTo>
                        <a:pt x="513258" y="510489"/>
                      </a:lnTo>
                      <a:lnTo>
                        <a:pt x="506834" y="510234"/>
                      </a:lnTo>
                      <a:lnTo>
                        <a:pt x="504867" y="509093"/>
                      </a:lnTo>
                      <a:lnTo>
                        <a:pt x="500277" y="507830"/>
                      </a:lnTo>
                      <a:lnTo>
                        <a:pt x="498893" y="506870"/>
                      </a:lnTo>
                      <a:lnTo>
                        <a:pt x="497751" y="505523"/>
                      </a:lnTo>
                      <a:lnTo>
                        <a:pt x="495687" y="502232"/>
                      </a:lnTo>
                      <a:lnTo>
                        <a:pt x="494193" y="498893"/>
                      </a:lnTo>
                      <a:lnTo>
                        <a:pt x="492299" y="491340"/>
                      </a:lnTo>
                      <a:lnTo>
                        <a:pt x="491498" y="490223"/>
                      </a:lnTo>
                      <a:lnTo>
                        <a:pt x="490405" y="489567"/>
                      </a:lnTo>
                      <a:lnTo>
                        <a:pt x="489020" y="489421"/>
                      </a:lnTo>
                      <a:lnTo>
                        <a:pt x="487636" y="489822"/>
                      </a:lnTo>
                      <a:lnTo>
                        <a:pt x="486385" y="490745"/>
                      </a:lnTo>
                      <a:lnTo>
                        <a:pt x="486045" y="492457"/>
                      </a:lnTo>
                      <a:lnTo>
                        <a:pt x="486507" y="493695"/>
                      </a:lnTo>
                      <a:lnTo>
                        <a:pt x="487126" y="494958"/>
                      </a:lnTo>
                      <a:lnTo>
                        <a:pt x="487539" y="495990"/>
                      </a:lnTo>
                      <a:lnTo>
                        <a:pt x="487539" y="497059"/>
                      </a:lnTo>
                      <a:lnTo>
                        <a:pt x="487248" y="498006"/>
                      </a:lnTo>
                      <a:lnTo>
                        <a:pt x="485463" y="501940"/>
                      </a:lnTo>
                      <a:lnTo>
                        <a:pt x="484783" y="503106"/>
                      </a:lnTo>
                      <a:lnTo>
                        <a:pt x="483678" y="503726"/>
                      </a:lnTo>
                      <a:lnTo>
                        <a:pt x="482706" y="503798"/>
                      </a:lnTo>
                      <a:lnTo>
                        <a:pt x="481844" y="503398"/>
                      </a:lnTo>
                      <a:lnTo>
                        <a:pt x="480690" y="502341"/>
                      </a:lnTo>
                      <a:lnTo>
                        <a:pt x="478517" y="499694"/>
                      </a:lnTo>
                      <a:lnTo>
                        <a:pt x="477193" y="498723"/>
                      </a:lnTo>
                      <a:lnTo>
                        <a:pt x="476161" y="498662"/>
                      </a:lnTo>
                      <a:lnTo>
                        <a:pt x="475129" y="499208"/>
                      </a:lnTo>
                      <a:lnTo>
                        <a:pt x="475068" y="500969"/>
                      </a:lnTo>
                      <a:lnTo>
                        <a:pt x="475481" y="502390"/>
                      </a:lnTo>
                      <a:lnTo>
                        <a:pt x="475518" y="503750"/>
                      </a:lnTo>
                      <a:lnTo>
                        <a:pt x="474898" y="504746"/>
                      </a:lnTo>
                      <a:lnTo>
                        <a:pt x="473113" y="505838"/>
                      </a:lnTo>
                      <a:lnTo>
                        <a:pt x="471401" y="505984"/>
                      </a:lnTo>
                      <a:lnTo>
                        <a:pt x="469786" y="505790"/>
                      </a:lnTo>
                      <a:lnTo>
                        <a:pt x="467382" y="505037"/>
                      </a:lnTo>
                      <a:lnTo>
                        <a:pt x="465075" y="504782"/>
                      </a:lnTo>
                      <a:lnTo>
                        <a:pt x="463642" y="504381"/>
                      </a:lnTo>
                      <a:lnTo>
                        <a:pt x="461978" y="503373"/>
                      </a:lnTo>
                      <a:lnTo>
                        <a:pt x="456526" y="499269"/>
                      </a:lnTo>
                      <a:lnTo>
                        <a:pt x="455032" y="499002"/>
                      </a:lnTo>
                      <a:lnTo>
                        <a:pt x="453709" y="499500"/>
                      </a:lnTo>
                      <a:lnTo>
                        <a:pt x="452215" y="500848"/>
                      </a:lnTo>
                      <a:lnTo>
                        <a:pt x="451414" y="501940"/>
                      </a:lnTo>
                      <a:lnTo>
                        <a:pt x="451584" y="503458"/>
                      </a:lnTo>
                      <a:lnTo>
                        <a:pt x="452215" y="504515"/>
                      </a:lnTo>
                      <a:lnTo>
                        <a:pt x="453308" y="505498"/>
                      </a:lnTo>
                      <a:lnTo>
                        <a:pt x="454340" y="506130"/>
                      </a:lnTo>
                      <a:lnTo>
                        <a:pt x="459513" y="507939"/>
                      </a:lnTo>
                      <a:lnTo>
                        <a:pt x="460776" y="508740"/>
                      </a:lnTo>
                      <a:lnTo>
                        <a:pt x="461007" y="509542"/>
                      </a:lnTo>
                      <a:lnTo>
                        <a:pt x="459792" y="510319"/>
                      </a:lnTo>
                      <a:lnTo>
                        <a:pt x="455773" y="510950"/>
                      </a:lnTo>
                      <a:lnTo>
                        <a:pt x="454802" y="511473"/>
                      </a:lnTo>
                      <a:lnTo>
                        <a:pt x="454231" y="512298"/>
                      </a:lnTo>
                      <a:lnTo>
                        <a:pt x="454170" y="513622"/>
                      </a:lnTo>
                      <a:lnTo>
                        <a:pt x="454340" y="514654"/>
                      </a:lnTo>
                      <a:lnTo>
                        <a:pt x="454632" y="515492"/>
                      </a:lnTo>
                      <a:lnTo>
                        <a:pt x="455154" y="516500"/>
                      </a:lnTo>
                      <a:lnTo>
                        <a:pt x="455494" y="517326"/>
                      </a:lnTo>
                      <a:lnTo>
                        <a:pt x="455251" y="518212"/>
                      </a:lnTo>
                      <a:lnTo>
                        <a:pt x="454692" y="519013"/>
                      </a:lnTo>
                      <a:lnTo>
                        <a:pt x="453077" y="520859"/>
                      </a:lnTo>
                      <a:lnTo>
                        <a:pt x="451754" y="523300"/>
                      </a:lnTo>
                      <a:lnTo>
                        <a:pt x="448087" y="533172"/>
                      </a:lnTo>
                      <a:lnTo>
                        <a:pt x="447054" y="537046"/>
                      </a:lnTo>
                      <a:lnTo>
                        <a:pt x="446824" y="538916"/>
                      </a:lnTo>
                      <a:lnTo>
                        <a:pt x="447115" y="540895"/>
                      </a:lnTo>
                      <a:lnTo>
                        <a:pt x="447577" y="542498"/>
                      </a:lnTo>
                      <a:lnTo>
                        <a:pt x="448366" y="544489"/>
                      </a:lnTo>
                      <a:lnTo>
                        <a:pt x="448888" y="546323"/>
                      </a:lnTo>
                      <a:lnTo>
                        <a:pt x="449859" y="548047"/>
                      </a:lnTo>
                      <a:lnTo>
                        <a:pt x="451195" y="549189"/>
                      </a:lnTo>
                      <a:lnTo>
                        <a:pt x="454692" y="551241"/>
                      </a:lnTo>
                      <a:lnTo>
                        <a:pt x="456064" y="552722"/>
                      </a:lnTo>
                      <a:lnTo>
                        <a:pt x="455943" y="554592"/>
                      </a:lnTo>
                      <a:lnTo>
                        <a:pt x="453709" y="556717"/>
                      </a:lnTo>
                      <a:lnTo>
                        <a:pt x="448147" y="559474"/>
                      </a:lnTo>
                      <a:lnTo>
                        <a:pt x="443897" y="562594"/>
                      </a:lnTo>
                      <a:lnTo>
                        <a:pt x="441250" y="564003"/>
                      </a:lnTo>
                      <a:lnTo>
                        <a:pt x="437231" y="564987"/>
                      </a:lnTo>
                      <a:lnTo>
                        <a:pt x="429423" y="568338"/>
                      </a:lnTo>
                      <a:lnTo>
                        <a:pt x="423388" y="576061"/>
                      </a:lnTo>
                      <a:lnTo>
                        <a:pt x="421846" y="577360"/>
                      </a:lnTo>
                      <a:lnTo>
                        <a:pt x="419599" y="578016"/>
                      </a:lnTo>
                      <a:lnTo>
                        <a:pt x="414378" y="577676"/>
                      </a:lnTo>
                      <a:lnTo>
                        <a:pt x="412022" y="578477"/>
                      </a:lnTo>
                      <a:lnTo>
                        <a:pt x="408124" y="580457"/>
                      </a:lnTo>
                      <a:lnTo>
                        <a:pt x="405538" y="581355"/>
                      </a:lnTo>
                      <a:lnTo>
                        <a:pt x="402320" y="581380"/>
                      </a:lnTo>
                      <a:lnTo>
                        <a:pt x="396346" y="579400"/>
                      </a:lnTo>
                      <a:lnTo>
                        <a:pt x="392387" y="579170"/>
                      </a:lnTo>
                      <a:lnTo>
                        <a:pt x="390262" y="576875"/>
                      </a:lnTo>
                      <a:lnTo>
                        <a:pt x="389800" y="576134"/>
                      </a:lnTo>
                      <a:lnTo>
                        <a:pt x="387044" y="569492"/>
                      </a:lnTo>
                      <a:lnTo>
                        <a:pt x="385842" y="567743"/>
                      </a:lnTo>
                      <a:lnTo>
                        <a:pt x="381701" y="564440"/>
                      </a:lnTo>
                      <a:lnTo>
                        <a:pt x="380038" y="563699"/>
                      </a:lnTo>
                      <a:lnTo>
                        <a:pt x="377281" y="562886"/>
                      </a:lnTo>
                      <a:lnTo>
                        <a:pt x="375557" y="562570"/>
                      </a:lnTo>
                      <a:lnTo>
                        <a:pt x="373493" y="562437"/>
                      </a:lnTo>
                      <a:lnTo>
                        <a:pt x="368441" y="563894"/>
                      </a:lnTo>
                      <a:lnTo>
                        <a:pt x="362527" y="566650"/>
                      </a:lnTo>
                      <a:lnTo>
                        <a:pt x="361143" y="568229"/>
                      </a:lnTo>
                      <a:lnTo>
                        <a:pt x="360633" y="569917"/>
                      </a:lnTo>
                      <a:lnTo>
                        <a:pt x="360912" y="571641"/>
                      </a:lnTo>
                      <a:lnTo>
                        <a:pt x="360682" y="573280"/>
                      </a:lnTo>
                      <a:lnTo>
                        <a:pt x="359370" y="574665"/>
                      </a:lnTo>
                      <a:lnTo>
                        <a:pt x="357075" y="575126"/>
                      </a:lnTo>
                      <a:lnTo>
                        <a:pt x="350469" y="573839"/>
                      </a:lnTo>
                      <a:lnTo>
                        <a:pt x="346450" y="574288"/>
                      </a:lnTo>
                      <a:lnTo>
                        <a:pt x="343050" y="575527"/>
                      </a:lnTo>
                      <a:lnTo>
                        <a:pt x="339444" y="576012"/>
                      </a:lnTo>
                      <a:lnTo>
                        <a:pt x="333979" y="575041"/>
                      </a:lnTo>
                      <a:lnTo>
                        <a:pt x="328867" y="571932"/>
                      </a:lnTo>
                      <a:lnTo>
                        <a:pt x="327264" y="571325"/>
                      </a:lnTo>
                      <a:lnTo>
                        <a:pt x="325491" y="571568"/>
                      </a:lnTo>
                      <a:lnTo>
                        <a:pt x="321921" y="571277"/>
                      </a:lnTo>
                      <a:lnTo>
                        <a:pt x="315729" y="568666"/>
                      </a:lnTo>
                      <a:lnTo>
                        <a:pt x="312571" y="567172"/>
                      </a:lnTo>
                      <a:lnTo>
                        <a:pt x="310908" y="566881"/>
                      </a:lnTo>
                      <a:lnTo>
                        <a:pt x="309645" y="567512"/>
                      </a:lnTo>
                      <a:lnTo>
                        <a:pt x="306998" y="571677"/>
                      </a:lnTo>
                      <a:lnTo>
                        <a:pt x="302748" y="576705"/>
                      </a:lnTo>
                      <a:lnTo>
                        <a:pt x="298218" y="584707"/>
                      </a:lnTo>
                      <a:lnTo>
                        <a:pt x="296725" y="586637"/>
                      </a:lnTo>
                      <a:lnTo>
                        <a:pt x="292414" y="590195"/>
                      </a:lnTo>
                      <a:lnTo>
                        <a:pt x="290811" y="591944"/>
                      </a:lnTo>
                      <a:lnTo>
                        <a:pt x="290629" y="593523"/>
                      </a:lnTo>
                      <a:lnTo>
                        <a:pt x="290751" y="595223"/>
                      </a:lnTo>
                      <a:lnTo>
                        <a:pt x="290338" y="596874"/>
                      </a:lnTo>
                      <a:lnTo>
                        <a:pt x="289026" y="597287"/>
                      </a:lnTo>
                      <a:lnTo>
                        <a:pt x="287933" y="596910"/>
                      </a:lnTo>
                      <a:lnTo>
                        <a:pt x="286379" y="596935"/>
                      </a:lnTo>
                      <a:lnTo>
                        <a:pt x="284485" y="598258"/>
                      </a:lnTo>
                      <a:lnTo>
                        <a:pt x="281728" y="602800"/>
                      </a:lnTo>
                      <a:lnTo>
                        <a:pt x="280587" y="605350"/>
                      </a:lnTo>
                      <a:lnTo>
                        <a:pt x="280417" y="607390"/>
                      </a:lnTo>
                      <a:lnTo>
                        <a:pt x="281170" y="608677"/>
                      </a:lnTo>
                      <a:lnTo>
                        <a:pt x="282238" y="610231"/>
                      </a:lnTo>
                      <a:lnTo>
                        <a:pt x="282991" y="611992"/>
                      </a:lnTo>
                      <a:lnTo>
                        <a:pt x="282663" y="613765"/>
                      </a:lnTo>
                      <a:lnTo>
                        <a:pt x="281449" y="614918"/>
                      </a:lnTo>
                      <a:lnTo>
                        <a:pt x="276337" y="615975"/>
                      </a:lnTo>
                      <a:lnTo>
                        <a:pt x="272658" y="617978"/>
                      </a:lnTo>
                      <a:lnTo>
                        <a:pt x="270071" y="617590"/>
                      </a:lnTo>
                      <a:lnTo>
                        <a:pt x="268930" y="612903"/>
                      </a:lnTo>
                      <a:lnTo>
                        <a:pt x="268529" y="611664"/>
                      </a:lnTo>
                      <a:lnTo>
                        <a:pt x="267497" y="609515"/>
                      </a:lnTo>
                      <a:lnTo>
                        <a:pt x="267266" y="608738"/>
                      </a:lnTo>
                      <a:lnTo>
                        <a:pt x="267145" y="607742"/>
                      </a:lnTo>
                      <a:lnTo>
                        <a:pt x="266926" y="606758"/>
                      </a:lnTo>
                      <a:lnTo>
                        <a:pt x="266113" y="605386"/>
                      </a:lnTo>
                      <a:lnTo>
                        <a:pt x="264850" y="603953"/>
                      </a:lnTo>
                      <a:lnTo>
                        <a:pt x="262494" y="601853"/>
                      </a:lnTo>
                      <a:lnTo>
                        <a:pt x="261753" y="600650"/>
                      </a:lnTo>
                      <a:lnTo>
                        <a:pt x="261571" y="599837"/>
                      </a:lnTo>
                      <a:lnTo>
                        <a:pt x="262203" y="598829"/>
                      </a:lnTo>
                      <a:lnTo>
                        <a:pt x="262445" y="598295"/>
                      </a:lnTo>
                      <a:lnTo>
                        <a:pt x="262445" y="597578"/>
                      </a:lnTo>
                      <a:lnTo>
                        <a:pt x="262154" y="596801"/>
                      </a:lnTo>
                      <a:lnTo>
                        <a:pt x="258766" y="593413"/>
                      </a:lnTo>
                      <a:lnTo>
                        <a:pt x="258365" y="592345"/>
                      </a:lnTo>
                      <a:lnTo>
                        <a:pt x="258365" y="591689"/>
                      </a:lnTo>
                      <a:lnTo>
                        <a:pt x="258766" y="591288"/>
                      </a:lnTo>
                      <a:lnTo>
                        <a:pt x="259798" y="590827"/>
                      </a:lnTo>
                      <a:lnTo>
                        <a:pt x="260600" y="590560"/>
                      </a:lnTo>
                      <a:lnTo>
                        <a:pt x="263477" y="588993"/>
                      </a:lnTo>
                      <a:lnTo>
                        <a:pt x="264619" y="588180"/>
                      </a:lnTo>
                      <a:lnTo>
                        <a:pt x="264910" y="587694"/>
                      </a:lnTo>
                      <a:lnTo>
                        <a:pt x="264971" y="587038"/>
                      </a:lnTo>
                      <a:lnTo>
                        <a:pt x="264910" y="585545"/>
                      </a:lnTo>
                      <a:lnTo>
                        <a:pt x="264497" y="582302"/>
                      </a:lnTo>
                      <a:lnTo>
                        <a:pt x="264558" y="580894"/>
                      </a:lnTo>
                      <a:lnTo>
                        <a:pt x="264740" y="580117"/>
                      </a:lnTo>
                      <a:lnTo>
                        <a:pt x="265068" y="579680"/>
                      </a:lnTo>
                      <a:lnTo>
                        <a:pt x="265542" y="579570"/>
                      </a:lnTo>
                      <a:lnTo>
                        <a:pt x="266234" y="579631"/>
                      </a:lnTo>
                      <a:lnTo>
                        <a:pt x="267035" y="579765"/>
                      </a:lnTo>
                      <a:lnTo>
                        <a:pt x="267667" y="579862"/>
                      </a:lnTo>
                      <a:lnTo>
                        <a:pt x="268638" y="579862"/>
                      </a:lnTo>
                      <a:lnTo>
                        <a:pt x="269670" y="579740"/>
                      </a:lnTo>
                      <a:lnTo>
                        <a:pt x="270363" y="579546"/>
                      </a:lnTo>
                      <a:lnTo>
                        <a:pt x="270763" y="579279"/>
                      </a:lnTo>
                      <a:lnTo>
                        <a:pt x="270763" y="578660"/>
                      </a:lnTo>
                      <a:lnTo>
                        <a:pt x="270363" y="577591"/>
                      </a:lnTo>
                      <a:lnTo>
                        <a:pt x="269391" y="575782"/>
                      </a:lnTo>
                      <a:lnTo>
                        <a:pt x="265943" y="571362"/>
                      </a:lnTo>
                      <a:lnTo>
                        <a:pt x="264279" y="568715"/>
                      </a:lnTo>
                      <a:lnTo>
                        <a:pt x="263587" y="567342"/>
                      </a:lnTo>
                      <a:lnTo>
                        <a:pt x="263186" y="565812"/>
                      </a:lnTo>
                      <a:lnTo>
                        <a:pt x="262907" y="563092"/>
                      </a:lnTo>
                      <a:lnTo>
                        <a:pt x="262263" y="562060"/>
                      </a:lnTo>
                      <a:lnTo>
                        <a:pt x="261292" y="561659"/>
                      </a:lnTo>
                      <a:lnTo>
                        <a:pt x="259798" y="561963"/>
                      </a:lnTo>
                      <a:lnTo>
                        <a:pt x="257042" y="563153"/>
                      </a:lnTo>
                      <a:lnTo>
                        <a:pt x="256058" y="563784"/>
                      </a:lnTo>
                      <a:lnTo>
                        <a:pt x="255487" y="564525"/>
                      </a:lnTo>
                      <a:lnTo>
                        <a:pt x="255147" y="565266"/>
                      </a:lnTo>
                      <a:lnTo>
                        <a:pt x="254455" y="569528"/>
                      </a:lnTo>
                      <a:lnTo>
                        <a:pt x="254176" y="570038"/>
                      </a:lnTo>
                      <a:lnTo>
                        <a:pt x="253775" y="570245"/>
                      </a:lnTo>
                      <a:lnTo>
                        <a:pt x="253192" y="570038"/>
                      </a:lnTo>
                      <a:lnTo>
                        <a:pt x="252379" y="569176"/>
                      </a:lnTo>
                      <a:lnTo>
                        <a:pt x="251189" y="567561"/>
                      </a:lnTo>
                      <a:lnTo>
                        <a:pt x="250205" y="566589"/>
                      </a:lnTo>
                      <a:lnTo>
                        <a:pt x="245785" y="564379"/>
                      </a:lnTo>
                      <a:lnTo>
                        <a:pt x="244862" y="563262"/>
                      </a:lnTo>
                      <a:lnTo>
                        <a:pt x="244474" y="561805"/>
                      </a:lnTo>
                      <a:lnTo>
                        <a:pt x="245045" y="558381"/>
                      </a:lnTo>
                      <a:lnTo>
                        <a:pt x="244923" y="557385"/>
                      </a:lnTo>
                      <a:lnTo>
                        <a:pt x="244644" y="556608"/>
                      </a:lnTo>
                      <a:lnTo>
                        <a:pt x="243612" y="554993"/>
                      </a:lnTo>
                      <a:lnTo>
                        <a:pt x="243429" y="554568"/>
                      </a:lnTo>
                      <a:lnTo>
                        <a:pt x="243551" y="553997"/>
                      </a:lnTo>
                      <a:lnTo>
                        <a:pt x="243952" y="553560"/>
                      </a:lnTo>
                      <a:lnTo>
                        <a:pt x="244583" y="553074"/>
                      </a:lnTo>
                      <a:lnTo>
                        <a:pt x="245154" y="552443"/>
                      </a:lnTo>
                      <a:lnTo>
                        <a:pt x="245615" y="551302"/>
                      </a:lnTo>
                      <a:lnTo>
                        <a:pt x="245955" y="549711"/>
                      </a:lnTo>
                      <a:lnTo>
                        <a:pt x="246077" y="547841"/>
                      </a:lnTo>
                      <a:lnTo>
                        <a:pt x="246077" y="546129"/>
                      </a:lnTo>
                      <a:lnTo>
                        <a:pt x="245895" y="544538"/>
                      </a:lnTo>
                      <a:lnTo>
                        <a:pt x="245215" y="543372"/>
                      </a:lnTo>
                      <a:lnTo>
                        <a:pt x="243952" y="542559"/>
                      </a:lnTo>
                      <a:lnTo>
                        <a:pt x="242179" y="543275"/>
                      </a:lnTo>
                      <a:lnTo>
                        <a:pt x="241426" y="544174"/>
                      </a:lnTo>
                      <a:lnTo>
                        <a:pt x="241025" y="545570"/>
                      </a:lnTo>
                      <a:lnTo>
                        <a:pt x="241025" y="546699"/>
                      </a:lnTo>
                      <a:lnTo>
                        <a:pt x="240734" y="548047"/>
                      </a:lnTo>
                      <a:lnTo>
                        <a:pt x="240382" y="549079"/>
                      </a:lnTo>
                      <a:lnTo>
                        <a:pt x="239702" y="550075"/>
                      </a:lnTo>
                      <a:lnTo>
                        <a:pt x="238779" y="550658"/>
                      </a:lnTo>
                      <a:lnTo>
                        <a:pt x="237285" y="551144"/>
                      </a:lnTo>
                      <a:lnTo>
                        <a:pt x="234929" y="551581"/>
                      </a:lnTo>
                      <a:lnTo>
                        <a:pt x="229708" y="553269"/>
                      </a:lnTo>
                      <a:lnTo>
                        <a:pt x="226891" y="553852"/>
                      </a:lnTo>
                      <a:lnTo>
                        <a:pt x="225227" y="553791"/>
                      </a:lnTo>
                      <a:lnTo>
                        <a:pt x="223163" y="552613"/>
                      </a:lnTo>
                      <a:lnTo>
                        <a:pt x="222301" y="551812"/>
                      </a:lnTo>
                      <a:lnTo>
                        <a:pt x="221269" y="550682"/>
                      </a:lnTo>
                      <a:lnTo>
                        <a:pt x="220297" y="549808"/>
                      </a:lnTo>
                      <a:lnTo>
                        <a:pt x="215877" y="547100"/>
                      </a:lnTo>
                      <a:lnTo>
                        <a:pt x="215064" y="546262"/>
                      </a:lnTo>
                      <a:lnTo>
                        <a:pt x="214323" y="545121"/>
                      </a:lnTo>
                      <a:lnTo>
                        <a:pt x="213910" y="543858"/>
                      </a:lnTo>
                      <a:lnTo>
                        <a:pt x="213449" y="541526"/>
                      </a:lnTo>
                      <a:lnTo>
                        <a:pt x="213169" y="540749"/>
                      </a:lnTo>
                      <a:lnTo>
                        <a:pt x="212477" y="539778"/>
                      </a:lnTo>
                      <a:lnTo>
                        <a:pt x="210826" y="538345"/>
                      </a:lnTo>
                      <a:lnTo>
                        <a:pt x="209842" y="537738"/>
                      </a:lnTo>
                      <a:lnTo>
                        <a:pt x="207948" y="537021"/>
                      </a:lnTo>
                      <a:lnTo>
                        <a:pt x="198355" y="535382"/>
                      </a:lnTo>
                      <a:lnTo>
                        <a:pt x="196339" y="534811"/>
                      </a:lnTo>
                      <a:lnTo>
                        <a:pt x="195489" y="534180"/>
                      </a:lnTo>
                      <a:lnTo>
                        <a:pt x="194676" y="533294"/>
                      </a:lnTo>
                      <a:lnTo>
                        <a:pt x="193595" y="531569"/>
                      </a:lnTo>
                      <a:lnTo>
                        <a:pt x="192963" y="530816"/>
                      </a:lnTo>
                      <a:lnTo>
                        <a:pt x="191579" y="530537"/>
                      </a:lnTo>
                      <a:lnTo>
                        <a:pt x="189746" y="530756"/>
                      </a:lnTo>
                      <a:lnTo>
                        <a:pt x="182399" y="532941"/>
                      </a:lnTo>
                      <a:lnTo>
                        <a:pt x="178258" y="533403"/>
                      </a:lnTo>
                      <a:lnTo>
                        <a:pt x="174700" y="533354"/>
                      </a:lnTo>
                      <a:lnTo>
                        <a:pt x="173425" y="533609"/>
                      </a:lnTo>
                      <a:lnTo>
                        <a:pt x="171835" y="534241"/>
                      </a:lnTo>
                      <a:lnTo>
                        <a:pt x="165690" y="538345"/>
                      </a:lnTo>
                      <a:lnTo>
                        <a:pt x="164598" y="539341"/>
                      </a:lnTo>
                      <a:lnTo>
                        <a:pt x="163675" y="540519"/>
                      </a:lnTo>
                      <a:lnTo>
                        <a:pt x="162181" y="543372"/>
                      </a:lnTo>
                      <a:lnTo>
                        <a:pt x="161270" y="544744"/>
                      </a:lnTo>
                      <a:lnTo>
                        <a:pt x="160578" y="545376"/>
                      </a:lnTo>
                      <a:lnTo>
                        <a:pt x="157190" y="545230"/>
                      </a:lnTo>
                      <a:lnTo>
                        <a:pt x="146905" y="541332"/>
                      </a:lnTo>
                      <a:lnTo>
                        <a:pt x="135370" y="538564"/>
                      </a:lnTo>
                      <a:lnTo>
                        <a:pt x="110841" y="535334"/>
                      </a:lnTo>
                      <a:lnTo>
                        <a:pt x="92978" y="535443"/>
                      </a:lnTo>
                      <a:lnTo>
                        <a:pt x="22756" y="531861"/>
                      </a:lnTo>
                      <a:lnTo>
                        <a:pt x="17304" y="530962"/>
                      </a:lnTo>
                      <a:lnTo>
                        <a:pt x="16854" y="527829"/>
                      </a:lnTo>
                      <a:lnTo>
                        <a:pt x="16854" y="527756"/>
                      </a:lnTo>
                      <a:lnTo>
                        <a:pt x="17243" y="526287"/>
                      </a:lnTo>
                      <a:lnTo>
                        <a:pt x="19429" y="520568"/>
                      </a:lnTo>
                      <a:lnTo>
                        <a:pt x="32798" y="499500"/>
                      </a:lnTo>
                      <a:lnTo>
                        <a:pt x="33102" y="498613"/>
                      </a:lnTo>
                      <a:lnTo>
                        <a:pt x="34025" y="494643"/>
                      </a:lnTo>
                      <a:lnTo>
                        <a:pt x="34195" y="491170"/>
                      </a:lnTo>
                      <a:lnTo>
                        <a:pt x="32980" y="487405"/>
                      </a:lnTo>
                      <a:lnTo>
                        <a:pt x="28499" y="485802"/>
                      </a:lnTo>
                      <a:lnTo>
                        <a:pt x="28900" y="483107"/>
                      </a:lnTo>
                      <a:lnTo>
                        <a:pt x="26253" y="474085"/>
                      </a:lnTo>
                      <a:lnTo>
                        <a:pt x="21967" y="465305"/>
                      </a:lnTo>
                      <a:lnTo>
                        <a:pt x="18166" y="459962"/>
                      </a:lnTo>
                      <a:lnTo>
                        <a:pt x="8925" y="455202"/>
                      </a:lnTo>
                      <a:lnTo>
                        <a:pt x="9496" y="454364"/>
                      </a:lnTo>
                      <a:lnTo>
                        <a:pt x="10698" y="451147"/>
                      </a:lnTo>
                      <a:lnTo>
                        <a:pt x="13685" y="448111"/>
                      </a:lnTo>
                      <a:lnTo>
                        <a:pt x="17425" y="446241"/>
                      </a:lnTo>
                      <a:lnTo>
                        <a:pt x="20922" y="446581"/>
                      </a:lnTo>
                      <a:lnTo>
                        <a:pt x="20522" y="445209"/>
                      </a:lnTo>
                      <a:lnTo>
                        <a:pt x="20121" y="442306"/>
                      </a:lnTo>
                      <a:lnTo>
                        <a:pt x="19720" y="440959"/>
                      </a:lnTo>
                      <a:lnTo>
                        <a:pt x="22877" y="441991"/>
                      </a:lnTo>
                      <a:lnTo>
                        <a:pt x="25221" y="441578"/>
                      </a:lnTo>
                      <a:lnTo>
                        <a:pt x="27067" y="440145"/>
                      </a:lnTo>
                      <a:lnTo>
                        <a:pt x="36599" y="427431"/>
                      </a:lnTo>
                      <a:lnTo>
                        <a:pt x="37752" y="424699"/>
                      </a:lnTo>
                      <a:lnTo>
                        <a:pt x="39355" y="423096"/>
                      </a:lnTo>
                      <a:lnTo>
                        <a:pt x="46762" y="421081"/>
                      </a:lnTo>
                      <a:lnTo>
                        <a:pt x="49288" y="418446"/>
                      </a:lnTo>
                      <a:lnTo>
                        <a:pt x="50029" y="413479"/>
                      </a:lnTo>
                      <a:lnTo>
                        <a:pt x="49410" y="409569"/>
                      </a:lnTo>
                      <a:lnTo>
                        <a:pt x="49227" y="406036"/>
                      </a:lnTo>
                      <a:lnTo>
                        <a:pt x="51122" y="402138"/>
                      </a:lnTo>
                      <a:lnTo>
                        <a:pt x="53939" y="398981"/>
                      </a:lnTo>
                      <a:lnTo>
                        <a:pt x="56477" y="396661"/>
                      </a:lnTo>
                      <a:lnTo>
                        <a:pt x="59403" y="394779"/>
                      </a:lnTo>
                      <a:lnTo>
                        <a:pt x="63423" y="392897"/>
                      </a:lnTo>
                      <a:lnTo>
                        <a:pt x="67721" y="392035"/>
                      </a:lnTo>
                      <a:lnTo>
                        <a:pt x="69215" y="390942"/>
                      </a:lnTo>
                      <a:lnTo>
                        <a:pt x="69785" y="388015"/>
                      </a:lnTo>
                      <a:lnTo>
                        <a:pt x="70417" y="386352"/>
                      </a:lnTo>
                      <a:lnTo>
                        <a:pt x="73125" y="384373"/>
                      </a:lnTo>
                      <a:lnTo>
                        <a:pt x="74388" y="380207"/>
                      </a:lnTo>
                      <a:lnTo>
                        <a:pt x="75808" y="378544"/>
                      </a:lnTo>
                      <a:lnTo>
                        <a:pt x="78856" y="375982"/>
                      </a:lnTo>
                      <a:lnTo>
                        <a:pt x="82718" y="370469"/>
                      </a:lnTo>
                      <a:lnTo>
                        <a:pt x="84260" y="369012"/>
                      </a:lnTo>
                      <a:lnTo>
                        <a:pt x="87138" y="366996"/>
                      </a:lnTo>
                      <a:lnTo>
                        <a:pt x="88510" y="365478"/>
                      </a:lnTo>
                      <a:lnTo>
                        <a:pt x="88340" y="364009"/>
                      </a:lnTo>
                      <a:lnTo>
                        <a:pt x="86676" y="359941"/>
                      </a:lnTo>
                      <a:lnTo>
                        <a:pt x="87308" y="359079"/>
                      </a:lnTo>
                      <a:lnTo>
                        <a:pt x="91036" y="357986"/>
                      </a:lnTo>
                      <a:lnTo>
                        <a:pt x="94824" y="355193"/>
                      </a:lnTo>
                      <a:lnTo>
                        <a:pt x="96901" y="351514"/>
                      </a:lnTo>
                      <a:lnTo>
                        <a:pt x="95516" y="347786"/>
                      </a:lnTo>
                      <a:lnTo>
                        <a:pt x="96779" y="345637"/>
                      </a:lnTo>
                      <a:lnTo>
                        <a:pt x="98394" y="343791"/>
                      </a:lnTo>
                      <a:lnTo>
                        <a:pt x="100337" y="342504"/>
                      </a:lnTo>
                      <a:lnTo>
                        <a:pt x="102754" y="342054"/>
                      </a:lnTo>
                      <a:lnTo>
                        <a:pt x="104818" y="342212"/>
                      </a:lnTo>
                      <a:lnTo>
                        <a:pt x="109699" y="343572"/>
                      </a:lnTo>
                      <a:lnTo>
                        <a:pt x="113767" y="343852"/>
                      </a:lnTo>
                      <a:lnTo>
                        <a:pt x="115261" y="342212"/>
                      </a:lnTo>
                      <a:lnTo>
                        <a:pt x="116014" y="339322"/>
                      </a:lnTo>
                      <a:lnTo>
                        <a:pt x="118078" y="335764"/>
                      </a:lnTo>
                      <a:lnTo>
                        <a:pt x="121344" y="332887"/>
                      </a:lnTo>
                      <a:lnTo>
                        <a:pt x="124514" y="331393"/>
                      </a:lnTo>
                      <a:lnTo>
                        <a:pt x="128011" y="330847"/>
                      </a:lnTo>
                      <a:lnTo>
                        <a:pt x="132212" y="330761"/>
                      </a:lnTo>
                      <a:lnTo>
                        <a:pt x="135892" y="329535"/>
                      </a:lnTo>
                      <a:lnTo>
                        <a:pt x="138818" y="326681"/>
                      </a:lnTo>
                      <a:lnTo>
                        <a:pt x="141453" y="323415"/>
                      </a:lnTo>
                      <a:lnTo>
                        <a:pt x="144319" y="320889"/>
                      </a:lnTo>
                      <a:lnTo>
                        <a:pt x="144319" y="316603"/>
                      </a:lnTo>
                      <a:lnTo>
                        <a:pt x="147197" y="312960"/>
                      </a:lnTo>
                      <a:lnTo>
                        <a:pt x="151204" y="310094"/>
                      </a:lnTo>
                      <a:lnTo>
                        <a:pt x="162072" y="304460"/>
                      </a:lnTo>
                      <a:lnTo>
                        <a:pt x="160457" y="302541"/>
                      </a:lnTo>
                      <a:lnTo>
                        <a:pt x="157020" y="299554"/>
                      </a:lnTo>
                      <a:lnTo>
                        <a:pt x="154203" y="297951"/>
                      </a:lnTo>
                      <a:lnTo>
                        <a:pt x="150463" y="297854"/>
                      </a:lnTo>
                      <a:lnTo>
                        <a:pt x="142255" y="299263"/>
                      </a:lnTo>
                      <a:lnTo>
                        <a:pt x="139146" y="297976"/>
                      </a:lnTo>
                      <a:lnTo>
                        <a:pt x="136681" y="295049"/>
                      </a:lnTo>
                      <a:lnTo>
                        <a:pt x="135078" y="292463"/>
                      </a:lnTo>
                      <a:lnTo>
                        <a:pt x="134094" y="289512"/>
                      </a:lnTo>
                      <a:lnTo>
                        <a:pt x="133463" y="285517"/>
                      </a:lnTo>
                      <a:lnTo>
                        <a:pt x="133973" y="281328"/>
                      </a:lnTo>
                      <a:lnTo>
                        <a:pt x="136972" y="273107"/>
                      </a:lnTo>
                      <a:lnTo>
                        <a:pt x="137021" y="263842"/>
                      </a:lnTo>
                      <a:lnTo>
                        <a:pt x="138357" y="259070"/>
                      </a:lnTo>
                      <a:lnTo>
                        <a:pt x="145703" y="241244"/>
                      </a:lnTo>
                      <a:lnTo>
                        <a:pt x="147998" y="237686"/>
                      </a:lnTo>
                      <a:lnTo>
                        <a:pt x="151046" y="234031"/>
                      </a:lnTo>
                      <a:lnTo>
                        <a:pt x="153280" y="230704"/>
                      </a:lnTo>
                      <a:lnTo>
                        <a:pt x="154252" y="226830"/>
                      </a:lnTo>
                      <a:lnTo>
                        <a:pt x="153802" y="222896"/>
                      </a:lnTo>
                      <a:lnTo>
                        <a:pt x="148120" y="214687"/>
                      </a:lnTo>
                      <a:lnTo>
                        <a:pt x="142716" y="195052"/>
                      </a:lnTo>
                      <a:lnTo>
                        <a:pt x="132212" y="176850"/>
                      </a:lnTo>
                      <a:lnTo>
                        <a:pt x="130318" y="174482"/>
                      </a:lnTo>
                      <a:lnTo>
                        <a:pt x="130889" y="173802"/>
                      </a:lnTo>
                      <a:lnTo>
                        <a:pt x="132904" y="170475"/>
                      </a:lnTo>
                      <a:lnTo>
                        <a:pt x="133293" y="170183"/>
                      </a:lnTo>
                      <a:lnTo>
                        <a:pt x="134787" y="169528"/>
                      </a:lnTo>
                      <a:lnTo>
                        <a:pt x="135309" y="169066"/>
                      </a:lnTo>
                      <a:lnTo>
                        <a:pt x="135710" y="168143"/>
                      </a:lnTo>
                      <a:lnTo>
                        <a:pt x="136220" y="165678"/>
                      </a:lnTo>
                      <a:lnTo>
                        <a:pt x="136632" y="164670"/>
                      </a:lnTo>
                      <a:lnTo>
                        <a:pt x="138065" y="162752"/>
                      </a:lnTo>
                      <a:lnTo>
                        <a:pt x="138867" y="162060"/>
                      </a:lnTo>
                      <a:lnTo>
                        <a:pt x="139207" y="161112"/>
                      </a:lnTo>
                      <a:lnTo>
                        <a:pt x="139328" y="158356"/>
                      </a:lnTo>
                      <a:lnTo>
                        <a:pt x="139960" y="153790"/>
                      </a:lnTo>
                      <a:lnTo>
                        <a:pt x="141745" y="150463"/>
                      </a:lnTo>
                      <a:lnTo>
                        <a:pt x="144598" y="147646"/>
                      </a:lnTo>
                      <a:lnTo>
                        <a:pt x="158745" y="137252"/>
                      </a:lnTo>
                      <a:lnTo>
                        <a:pt x="161780" y="136195"/>
                      </a:lnTo>
                      <a:lnTo>
                        <a:pt x="164197" y="134410"/>
                      </a:lnTo>
                      <a:lnTo>
                        <a:pt x="169467" y="124842"/>
                      </a:lnTo>
                      <a:lnTo>
                        <a:pt x="181586" y="127173"/>
                      </a:lnTo>
                      <a:lnTo>
                        <a:pt x="185496" y="126372"/>
                      </a:lnTo>
                      <a:lnTo>
                        <a:pt x="189005" y="120980"/>
                      </a:lnTo>
                      <a:lnTo>
                        <a:pt x="190656" y="113706"/>
                      </a:lnTo>
                      <a:lnTo>
                        <a:pt x="193935" y="109201"/>
                      </a:lnTo>
                      <a:lnTo>
                        <a:pt x="202265" y="112067"/>
                      </a:lnTo>
                      <a:lnTo>
                        <a:pt x="205252" y="108485"/>
                      </a:lnTo>
                      <a:lnTo>
                        <a:pt x="208980" y="107854"/>
                      </a:lnTo>
                      <a:lnTo>
                        <a:pt x="213169" y="108291"/>
                      </a:lnTo>
                      <a:lnTo>
                        <a:pt x="217771" y="107793"/>
                      </a:lnTo>
                      <a:lnTo>
                        <a:pt x="220054" y="106615"/>
                      </a:lnTo>
                      <a:lnTo>
                        <a:pt x="221208" y="105146"/>
                      </a:lnTo>
                      <a:lnTo>
                        <a:pt x="222009" y="103373"/>
                      </a:lnTo>
                      <a:lnTo>
                        <a:pt x="223454" y="101333"/>
                      </a:lnTo>
                      <a:lnTo>
                        <a:pt x="225227" y="100483"/>
                      </a:lnTo>
                      <a:lnTo>
                        <a:pt x="229817" y="100786"/>
                      </a:lnTo>
                      <a:lnTo>
                        <a:pt x="231724" y="100677"/>
                      </a:lnTo>
                      <a:lnTo>
                        <a:pt x="230279" y="94788"/>
                      </a:lnTo>
                      <a:lnTo>
                        <a:pt x="233727" y="94108"/>
                      </a:lnTo>
                      <a:lnTo>
                        <a:pt x="245215" y="98261"/>
                      </a:lnTo>
                      <a:lnTo>
                        <a:pt x="246769" y="98346"/>
                      </a:lnTo>
                      <a:lnTo>
                        <a:pt x="248372" y="97629"/>
                      </a:lnTo>
                      <a:lnTo>
                        <a:pt x="250375" y="95711"/>
                      </a:lnTo>
                      <a:lnTo>
                        <a:pt x="251990" y="95043"/>
                      </a:lnTo>
                      <a:lnTo>
                        <a:pt x="256362" y="96196"/>
                      </a:lnTo>
                      <a:lnTo>
                        <a:pt x="258705" y="96427"/>
                      </a:lnTo>
                      <a:lnTo>
                        <a:pt x="258535" y="91667"/>
                      </a:lnTo>
                      <a:lnTo>
                        <a:pt x="262785" y="87733"/>
                      </a:lnTo>
                      <a:lnTo>
                        <a:pt x="268529" y="84940"/>
                      </a:lnTo>
                      <a:lnTo>
                        <a:pt x="272949" y="83507"/>
                      </a:lnTo>
                      <a:lnTo>
                        <a:pt x="275475" y="83094"/>
                      </a:lnTo>
                      <a:lnTo>
                        <a:pt x="281328" y="83507"/>
                      </a:lnTo>
                      <a:lnTo>
                        <a:pt x="281971" y="81236"/>
                      </a:lnTo>
                      <a:lnTo>
                        <a:pt x="283914" y="74145"/>
                      </a:lnTo>
                      <a:lnTo>
                        <a:pt x="285408" y="70648"/>
                      </a:lnTo>
                      <a:lnTo>
                        <a:pt x="291431" y="64127"/>
                      </a:lnTo>
                      <a:lnTo>
                        <a:pt x="293386" y="60023"/>
                      </a:lnTo>
                      <a:lnTo>
                        <a:pt x="292244" y="55275"/>
                      </a:lnTo>
                      <a:lnTo>
                        <a:pt x="287351" y="49458"/>
                      </a:lnTo>
                      <a:lnTo>
                        <a:pt x="282020" y="45293"/>
                      </a:lnTo>
                      <a:lnTo>
                        <a:pt x="287411" y="43715"/>
                      </a:lnTo>
                      <a:lnTo>
                        <a:pt x="299311" y="44637"/>
                      </a:lnTo>
                      <a:lnTo>
                        <a:pt x="303731" y="42452"/>
                      </a:lnTo>
                      <a:lnTo>
                        <a:pt x="305334" y="40788"/>
                      </a:lnTo>
                      <a:lnTo>
                        <a:pt x="307981" y="39501"/>
                      </a:lnTo>
                      <a:lnTo>
                        <a:pt x="308953" y="39574"/>
                      </a:lnTo>
                      <a:lnTo>
                        <a:pt x="309414" y="40958"/>
                      </a:lnTo>
                      <a:lnTo>
                        <a:pt x="308953" y="44492"/>
                      </a:lnTo>
                      <a:lnTo>
                        <a:pt x="309475" y="45718"/>
                      </a:lnTo>
                      <a:lnTo>
                        <a:pt x="310726" y="47042"/>
                      </a:lnTo>
                      <a:lnTo>
                        <a:pt x="313264" y="48329"/>
                      </a:lnTo>
                      <a:lnTo>
                        <a:pt x="314988" y="49519"/>
                      </a:lnTo>
                      <a:lnTo>
                        <a:pt x="316239" y="50490"/>
                      </a:lnTo>
                      <a:lnTo>
                        <a:pt x="320319" y="51923"/>
                      </a:lnTo>
                      <a:lnTo>
                        <a:pt x="326985" y="42622"/>
                      </a:lnTo>
                      <a:lnTo>
                        <a:pt x="333591" y="36477"/>
                      </a:lnTo>
                      <a:lnTo>
                        <a:pt x="340828" y="32142"/>
                      </a:lnTo>
                      <a:lnTo>
                        <a:pt x="354076" y="31219"/>
                      </a:lnTo>
                      <a:lnTo>
                        <a:pt x="357015" y="29932"/>
                      </a:lnTo>
                      <a:lnTo>
                        <a:pt x="358447" y="28524"/>
                      </a:lnTo>
                      <a:lnTo>
                        <a:pt x="361714" y="26144"/>
                      </a:lnTo>
                      <a:lnTo>
                        <a:pt x="362867" y="25027"/>
                      </a:lnTo>
                      <a:lnTo>
                        <a:pt x="363450" y="23436"/>
                      </a:lnTo>
                      <a:lnTo>
                        <a:pt x="364240" y="19538"/>
                      </a:lnTo>
                      <a:lnTo>
                        <a:pt x="365393" y="17765"/>
                      </a:lnTo>
                      <a:lnTo>
                        <a:pt x="375678" y="14256"/>
                      </a:lnTo>
                      <a:lnTo>
                        <a:pt x="379467" y="11414"/>
                      </a:lnTo>
                      <a:lnTo>
                        <a:pt x="381470" y="10783"/>
                      </a:lnTo>
                      <a:lnTo>
                        <a:pt x="383413" y="8974"/>
                      </a:lnTo>
                      <a:lnTo>
                        <a:pt x="384968" y="6849"/>
                      </a:lnTo>
                      <a:moveTo>
                        <a:pt x="382466" y="0"/>
                      </a:moveTo>
                      <a:lnTo>
                        <a:pt x="380074" y="3266"/>
                      </a:lnTo>
                      <a:lnTo>
                        <a:pt x="378848" y="4930"/>
                      </a:lnTo>
                      <a:lnTo>
                        <a:pt x="378325" y="5416"/>
                      </a:lnTo>
                      <a:lnTo>
                        <a:pt x="377621" y="5646"/>
                      </a:lnTo>
                      <a:lnTo>
                        <a:pt x="376638" y="5950"/>
                      </a:lnTo>
                      <a:lnTo>
                        <a:pt x="375812" y="6569"/>
                      </a:lnTo>
                      <a:lnTo>
                        <a:pt x="372788" y="8828"/>
                      </a:lnTo>
                      <a:lnTo>
                        <a:pt x="363414" y="12034"/>
                      </a:lnTo>
                      <a:lnTo>
                        <a:pt x="361422" y="12714"/>
                      </a:lnTo>
                      <a:lnTo>
                        <a:pt x="360281" y="14487"/>
                      </a:lnTo>
                      <a:lnTo>
                        <a:pt x="359127" y="16259"/>
                      </a:lnTo>
                      <a:lnTo>
                        <a:pt x="358496" y="17231"/>
                      </a:lnTo>
                      <a:lnTo>
                        <a:pt x="358265" y="18360"/>
                      </a:lnTo>
                      <a:lnTo>
                        <a:pt x="357610" y="21639"/>
                      </a:lnTo>
                      <a:lnTo>
                        <a:pt x="354853" y="23642"/>
                      </a:lnTo>
                      <a:lnTo>
                        <a:pt x="354489" y="23909"/>
                      </a:lnTo>
                      <a:lnTo>
                        <a:pt x="354173" y="24225"/>
                      </a:lnTo>
                      <a:lnTo>
                        <a:pt x="353529" y="24857"/>
                      </a:lnTo>
                      <a:lnTo>
                        <a:pt x="352607" y="25233"/>
                      </a:lnTo>
                      <a:lnTo>
                        <a:pt x="340403" y="26083"/>
                      </a:lnTo>
                      <a:lnTo>
                        <a:pt x="338946" y="26192"/>
                      </a:lnTo>
                      <a:lnTo>
                        <a:pt x="337695" y="26945"/>
                      </a:lnTo>
                      <a:lnTo>
                        <a:pt x="330458" y="31280"/>
                      </a:lnTo>
                      <a:lnTo>
                        <a:pt x="329911" y="31608"/>
                      </a:lnTo>
                      <a:lnTo>
                        <a:pt x="329450" y="32045"/>
                      </a:lnTo>
                      <a:lnTo>
                        <a:pt x="322844" y="38190"/>
                      </a:lnTo>
                      <a:lnTo>
                        <a:pt x="322395" y="38602"/>
                      </a:lnTo>
                      <a:lnTo>
                        <a:pt x="322043" y="39100"/>
                      </a:lnTo>
                      <a:lnTo>
                        <a:pt x="318230" y="44419"/>
                      </a:lnTo>
                      <a:lnTo>
                        <a:pt x="316688" y="43350"/>
                      </a:lnTo>
                      <a:lnTo>
                        <a:pt x="316360" y="43120"/>
                      </a:lnTo>
                      <a:lnTo>
                        <a:pt x="316008" y="42937"/>
                      </a:lnTo>
                      <a:lnTo>
                        <a:pt x="315316" y="42585"/>
                      </a:lnTo>
                      <a:lnTo>
                        <a:pt x="315425" y="41760"/>
                      </a:lnTo>
                      <a:lnTo>
                        <a:pt x="315607" y="40375"/>
                      </a:lnTo>
                      <a:lnTo>
                        <a:pt x="315158" y="39052"/>
                      </a:lnTo>
                      <a:lnTo>
                        <a:pt x="314696" y="37667"/>
                      </a:lnTo>
                      <a:lnTo>
                        <a:pt x="313421" y="33842"/>
                      </a:lnTo>
                      <a:lnTo>
                        <a:pt x="309390" y="33551"/>
                      </a:lnTo>
                      <a:lnTo>
                        <a:pt x="308419" y="33478"/>
                      </a:lnTo>
                      <a:lnTo>
                        <a:pt x="306791" y="33357"/>
                      </a:lnTo>
                      <a:lnTo>
                        <a:pt x="305322" y="34073"/>
                      </a:lnTo>
                      <a:lnTo>
                        <a:pt x="302675" y="35360"/>
                      </a:lnTo>
                      <a:lnTo>
                        <a:pt x="301703" y="35834"/>
                      </a:lnTo>
                      <a:lnTo>
                        <a:pt x="300951" y="36599"/>
                      </a:lnTo>
                      <a:lnTo>
                        <a:pt x="300076" y="37497"/>
                      </a:lnTo>
                      <a:lnTo>
                        <a:pt x="298097" y="38481"/>
                      </a:lnTo>
                      <a:lnTo>
                        <a:pt x="287861" y="37692"/>
                      </a:lnTo>
                      <a:lnTo>
                        <a:pt x="286755" y="37607"/>
                      </a:lnTo>
                      <a:lnTo>
                        <a:pt x="285687" y="37910"/>
                      </a:lnTo>
                      <a:lnTo>
                        <a:pt x="280295" y="39501"/>
                      </a:lnTo>
                      <a:lnTo>
                        <a:pt x="268954" y="42828"/>
                      </a:lnTo>
                      <a:lnTo>
                        <a:pt x="278280" y="50102"/>
                      </a:lnTo>
                      <a:lnTo>
                        <a:pt x="283101" y="53878"/>
                      </a:lnTo>
                      <a:lnTo>
                        <a:pt x="286658" y="58116"/>
                      </a:lnTo>
                      <a:lnTo>
                        <a:pt x="286962" y="59379"/>
                      </a:lnTo>
                      <a:lnTo>
                        <a:pt x="286331" y="60703"/>
                      </a:lnTo>
                      <a:lnTo>
                        <a:pt x="280927" y="66543"/>
                      </a:lnTo>
                      <a:lnTo>
                        <a:pt x="280211" y="67308"/>
                      </a:lnTo>
                      <a:lnTo>
                        <a:pt x="279798" y="68280"/>
                      </a:lnTo>
                      <a:lnTo>
                        <a:pt x="278304" y="71777"/>
                      </a:lnTo>
                      <a:lnTo>
                        <a:pt x="278146" y="72153"/>
                      </a:lnTo>
                      <a:lnTo>
                        <a:pt x="278037" y="72554"/>
                      </a:lnTo>
                      <a:lnTo>
                        <a:pt x="276786" y="77108"/>
                      </a:lnTo>
                      <a:lnTo>
                        <a:pt x="275875" y="77047"/>
                      </a:lnTo>
                      <a:lnTo>
                        <a:pt x="275171" y="76998"/>
                      </a:lnTo>
                      <a:lnTo>
                        <a:pt x="274467" y="77120"/>
                      </a:lnTo>
                      <a:lnTo>
                        <a:pt x="271941" y="77533"/>
                      </a:lnTo>
                      <a:lnTo>
                        <a:pt x="271492" y="77606"/>
                      </a:lnTo>
                      <a:lnTo>
                        <a:pt x="271055" y="77751"/>
                      </a:lnTo>
                      <a:lnTo>
                        <a:pt x="266635" y="79184"/>
                      </a:lnTo>
                      <a:lnTo>
                        <a:pt x="266234" y="79318"/>
                      </a:lnTo>
                      <a:lnTo>
                        <a:pt x="265845" y="79500"/>
                      </a:lnTo>
                      <a:lnTo>
                        <a:pt x="260102" y="82293"/>
                      </a:lnTo>
                      <a:lnTo>
                        <a:pt x="259300" y="82693"/>
                      </a:lnTo>
                      <a:lnTo>
                        <a:pt x="258632" y="83301"/>
                      </a:lnTo>
                      <a:lnTo>
                        <a:pt x="254382" y="87235"/>
                      </a:lnTo>
                      <a:lnTo>
                        <a:pt x="252549" y="88935"/>
                      </a:lnTo>
                      <a:lnTo>
                        <a:pt x="251541" y="88668"/>
                      </a:lnTo>
                      <a:lnTo>
                        <a:pt x="249647" y="89457"/>
                      </a:lnTo>
                      <a:lnTo>
                        <a:pt x="248032" y="90125"/>
                      </a:lnTo>
                      <a:lnTo>
                        <a:pt x="246987" y="90562"/>
                      </a:lnTo>
                      <a:lnTo>
                        <a:pt x="246174" y="91339"/>
                      </a:lnTo>
                      <a:lnTo>
                        <a:pt x="245542" y="91946"/>
                      </a:lnTo>
                      <a:lnTo>
                        <a:pt x="235779" y="88413"/>
                      </a:lnTo>
                      <a:lnTo>
                        <a:pt x="234201" y="87842"/>
                      </a:lnTo>
                      <a:lnTo>
                        <a:pt x="232549" y="88158"/>
                      </a:lnTo>
                      <a:lnTo>
                        <a:pt x="229101" y="88838"/>
                      </a:lnTo>
                      <a:lnTo>
                        <a:pt x="222847" y="90064"/>
                      </a:lnTo>
                      <a:lnTo>
                        <a:pt x="223916" y="94387"/>
                      </a:lnTo>
                      <a:lnTo>
                        <a:pt x="222592" y="95018"/>
                      </a:lnTo>
                      <a:lnTo>
                        <a:pt x="220819" y="95868"/>
                      </a:lnTo>
                      <a:lnTo>
                        <a:pt x="219399" y="96548"/>
                      </a:lnTo>
                      <a:lnTo>
                        <a:pt x="218488" y="97836"/>
                      </a:lnTo>
                      <a:lnTo>
                        <a:pt x="217043" y="99876"/>
                      </a:lnTo>
                      <a:lnTo>
                        <a:pt x="216703" y="100349"/>
                      </a:lnTo>
                      <a:lnTo>
                        <a:pt x="216460" y="100884"/>
                      </a:lnTo>
                      <a:lnTo>
                        <a:pt x="216011" y="101879"/>
                      </a:lnTo>
                      <a:lnTo>
                        <a:pt x="215986" y="101891"/>
                      </a:lnTo>
                      <a:lnTo>
                        <a:pt x="213157" y="102195"/>
                      </a:lnTo>
                      <a:lnTo>
                        <a:pt x="209611" y="101831"/>
                      </a:lnTo>
                      <a:lnTo>
                        <a:pt x="208786" y="101746"/>
                      </a:lnTo>
                      <a:lnTo>
                        <a:pt x="207972" y="101879"/>
                      </a:lnTo>
                      <a:lnTo>
                        <a:pt x="204244" y="102511"/>
                      </a:lnTo>
                      <a:lnTo>
                        <a:pt x="202022" y="102887"/>
                      </a:lnTo>
                      <a:lnTo>
                        <a:pt x="200577" y="104624"/>
                      </a:lnTo>
                      <a:lnTo>
                        <a:pt x="200274" y="104988"/>
                      </a:lnTo>
                      <a:lnTo>
                        <a:pt x="195914" y="103482"/>
                      </a:lnTo>
                      <a:lnTo>
                        <a:pt x="191664" y="102013"/>
                      </a:lnTo>
                      <a:lnTo>
                        <a:pt x="189017" y="105644"/>
                      </a:lnTo>
                      <a:lnTo>
                        <a:pt x="185738" y="110149"/>
                      </a:lnTo>
                      <a:lnTo>
                        <a:pt x="184998" y="111156"/>
                      </a:lnTo>
                      <a:lnTo>
                        <a:pt x="184718" y="112371"/>
                      </a:lnTo>
                      <a:lnTo>
                        <a:pt x="183310" y="118588"/>
                      </a:lnTo>
                      <a:lnTo>
                        <a:pt x="181780" y="120944"/>
                      </a:lnTo>
                      <a:lnTo>
                        <a:pt x="181537" y="120992"/>
                      </a:lnTo>
                      <a:lnTo>
                        <a:pt x="170596" y="118892"/>
                      </a:lnTo>
                      <a:lnTo>
                        <a:pt x="166261" y="118066"/>
                      </a:lnTo>
                      <a:lnTo>
                        <a:pt x="164136" y="121927"/>
                      </a:lnTo>
                      <a:lnTo>
                        <a:pt x="159510" y="130330"/>
                      </a:lnTo>
                      <a:lnTo>
                        <a:pt x="158902" y="130779"/>
                      </a:lnTo>
                      <a:lnTo>
                        <a:pt x="156741" y="131532"/>
                      </a:lnTo>
                      <a:lnTo>
                        <a:pt x="155879" y="131824"/>
                      </a:lnTo>
                      <a:lnTo>
                        <a:pt x="155138" y="132370"/>
                      </a:lnTo>
                      <a:lnTo>
                        <a:pt x="140992" y="142764"/>
                      </a:lnTo>
                      <a:lnTo>
                        <a:pt x="140640" y="143020"/>
                      </a:lnTo>
                      <a:lnTo>
                        <a:pt x="140324" y="143323"/>
                      </a:lnTo>
                      <a:lnTo>
                        <a:pt x="137482" y="146140"/>
                      </a:lnTo>
                      <a:lnTo>
                        <a:pt x="136827" y="146784"/>
                      </a:lnTo>
                      <a:lnTo>
                        <a:pt x="136390" y="147585"/>
                      </a:lnTo>
                      <a:lnTo>
                        <a:pt x="134604" y="150912"/>
                      </a:lnTo>
                      <a:lnTo>
                        <a:pt x="134094" y="151872"/>
                      </a:lnTo>
                      <a:lnTo>
                        <a:pt x="133949" y="152952"/>
                      </a:lnTo>
                      <a:lnTo>
                        <a:pt x="133317" y="157518"/>
                      </a:lnTo>
                      <a:lnTo>
                        <a:pt x="133232" y="159072"/>
                      </a:lnTo>
                      <a:lnTo>
                        <a:pt x="133208" y="159109"/>
                      </a:lnTo>
                      <a:lnTo>
                        <a:pt x="131775" y="161028"/>
                      </a:lnTo>
                      <a:lnTo>
                        <a:pt x="131314" y="161647"/>
                      </a:lnTo>
                      <a:lnTo>
                        <a:pt x="131022" y="162351"/>
                      </a:lnTo>
                      <a:lnTo>
                        <a:pt x="130609" y="163359"/>
                      </a:lnTo>
                      <a:lnTo>
                        <a:pt x="130391" y="163893"/>
                      </a:lnTo>
                      <a:lnTo>
                        <a:pt x="130269" y="164440"/>
                      </a:lnTo>
                      <a:lnTo>
                        <a:pt x="130172" y="164938"/>
                      </a:lnTo>
                      <a:lnTo>
                        <a:pt x="129674" y="165302"/>
                      </a:lnTo>
                      <a:lnTo>
                        <a:pt x="128715" y="166018"/>
                      </a:lnTo>
                      <a:lnTo>
                        <a:pt x="127707" y="167330"/>
                      </a:lnTo>
                      <a:lnTo>
                        <a:pt x="125934" y="170256"/>
                      </a:lnTo>
                      <a:lnTo>
                        <a:pt x="125679" y="170560"/>
                      </a:lnTo>
                      <a:lnTo>
                        <a:pt x="122462" y="174373"/>
                      </a:lnTo>
                      <a:lnTo>
                        <a:pt x="125570" y="178270"/>
                      </a:lnTo>
                      <a:lnTo>
                        <a:pt x="127185" y="180286"/>
                      </a:lnTo>
                      <a:lnTo>
                        <a:pt x="137057" y="197420"/>
                      </a:lnTo>
                      <a:lnTo>
                        <a:pt x="142255" y="216302"/>
                      </a:lnTo>
                      <a:lnTo>
                        <a:pt x="142522" y="217298"/>
                      </a:lnTo>
                      <a:lnTo>
                        <a:pt x="143105" y="218148"/>
                      </a:lnTo>
                      <a:lnTo>
                        <a:pt x="147925" y="225106"/>
                      </a:lnTo>
                      <a:lnTo>
                        <a:pt x="148071" y="226417"/>
                      </a:lnTo>
                      <a:lnTo>
                        <a:pt x="147622" y="228190"/>
                      </a:lnTo>
                      <a:lnTo>
                        <a:pt x="146152" y="230376"/>
                      </a:lnTo>
                      <a:lnTo>
                        <a:pt x="143311" y="233788"/>
                      </a:lnTo>
                      <a:lnTo>
                        <a:pt x="143068" y="234067"/>
                      </a:lnTo>
                      <a:lnTo>
                        <a:pt x="142862" y="234383"/>
                      </a:lnTo>
                      <a:lnTo>
                        <a:pt x="140567" y="237941"/>
                      </a:lnTo>
                      <a:lnTo>
                        <a:pt x="140275" y="238414"/>
                      </a:lnTo>
                      <a:lnTo>
                        <a:pt x="140057" y="238924"/>
                      </a:lnTo>
                      <a:lnTo>
                        <a:pt x="132710" y="256750"/>
                      </a:lnTo>
                      <a:lnTo>
                        <a:pt x="132577" y="257078"/>
                      </a:lnTo>
                      <a:lnTo>
                        <a:pt x="132480" y="257418"/>
                      </a:lnTo>
                      <a:lnTo>
                        <a:pt x="131144" y="262190"/>
                      </a:lnTo>
                      <a:lnTo>
                        <a:pt x="130925" y="262980"/>
                      </a:lnTo>
                      <a:lnTo>
                        <a:pt x="130925" y="263793"/>
                      </a:lnTo>
                      <a:lnTo>
                        <a:pt x="130877" y="272002"/>
                      </a:lnTo>
                      <a:lnTo>
                        <a:pt x="128242" y="279239"/>
                      </a:lnTo>
                      <a:lnTo>
                        <a:pt x="127999" y="279895"/>
                      </a:lnTo>
                      <a:lnTo>
                        <a:pt x="127914" y="280587"/>
                      </a:lnTo>
                      <a:lnTo>
                        <a:pt x="127404" y="284776"/>
                      </a:lnTo>
                      <a:lnTo>
                        <a:pt x="127294" y="285626"/>
                      </a:lnTo>
                      <a:lnTo>
                        <a:pt x="127428" y="286464"/>
                      </a:lnTo>
                      <a:lnTo>
                        <a:pt x="128059" y="290459"/>
                      </a:lnTo>
                      <a:lnTo>
                        <a:pt x="128132" y="290957"/>
                      </a:lnTo>
                      <a:lnTo>
                        <a:pt x="128290" y="291431"/>
                      </a:lnTo>
                      <a:lnTo>
                        <a:pt x="129274" y="294381"/>
                      </a:lnTo>
                      <a:lnTo>
                        <a:pt x="129492" y="295049"/>
                      </a:lnTo>
                      <a:lnTo>
                        <a:pt x="129869" y="295656"/>
                      </a:lnTo>
                      <a:lnTo>
                        <a:pt x="131472" y="298243"/>
                      </a:lnTo>
                      <a:lnTo>
                        <a:pt x="131714" y="298619"/>
                      </a:lnTo>
                      <a:lnTo>
                        <a:pt x="131994" y="298959"/>
                      </a:lnTo>
                      <a:lnTo>
                        <a:pt x="134459" y="301886"/>
                      </a:lnTo>
                      <a:lnTo>
                        <a:pt x="135406" y="303015"/>
                      </a:lnTo>
                      <a:lnTo>
                        <a:pt x="136766" y="303573"/>
                      </a:lnTo>
                      <a:lnTo>
                        <a:pt x="139874" y="304861"/>
                      </a:lnTo>
                      <a:lnTo>
                        <a:pt x="141502" y="305541"/>
                      </a:lnTo>
                      <a:lnTo>
                        <a:pt x="143238" y="305237"/>
                      </a:lnTo>
                      <a:lnTo>
                        <a:pt x="149334" y="304193"/>
                      </a:lnTo>
                      <a:lnTo>
                        <a:pt x="148375" y="304691"/>
                      </a:lnTo>
                      <a:lnTo>
                        <a:pt x="147986" y="304897"/>
                      </a:lnTo>
                      <a:lnTo>
                        <a:pt x="147634" y="305152"/>
                      </a:lnTo>
                      <a:lnTo>
                        <a:pt x="143627" y="308018"/>
                      </a:lnTo>
                      <a:lnTo>
                        <a:pt x="142935" y="308516"/>
                      </a:lnTo>
                      <a:lnTo>
                        <a:pt x="142400" y="309183"/>
                      </a:lnTo>
                      <a:lnTo>
                        <a:pt x="139522" y="312826"/>
                      </a:lnTo>
                      <a:lnTo>
                        <a:pt x="138211" y="314490"/>
                      </a:lnTo>
                      <a:lnTo>
                        <a:pt x="138211" y="316603"/>
                      </a:lnTo>
                      <a:lnTo>
                        <a:pt x="138211" y="318145"/>
                      </a:lnTo>
                      <a:lnTo>
                        <a:pt x="137410" y="318861"/>
                      </a:lnTo>
                      <a:lnTo>
                        <a:pt x="137021" y="319201"/>
                      </a:lnTo>
                      <a:lnTo>
                        <a:pt x="136705" y="319602"/>
                      </a:lnTo>
                      <a:lnTo>
                        <a:pt x="134301" y="322589"/>
                      </a:lnTo>
                      <a:lnTo>
                        <a:pt x="132625" y="324216"/>
                      </a:lnTo>
                      <a:lnTo>
                        <a:pt x="131144" y="324714"/>
                      </a:lnTo>
                      <a:lnTo>
                        <a:pt x="127865" y="324775"/>
                      </a:lnTo>
                      <a:lnTo>
                        <a:pt x="127452" y="324787"/>
                      </a:lnTo>
                      <a:lnTo>
                        <a:pt x="127039" y="324848"/>
                      </a:lnTo>
                      <a:lnTo>
                        <a:pt x="123542" y="325394"/>
                      </a:lnTo>
                      <a:lnTo>
                        <a:pt x="122680" y="325528"/>
                      </a:lnTo>
                      <a:lnTo>
                        <a:pt x="121891" y="325904"/>
                      </a:lnTo>
                      <a:lnTo>
                        <a:pt x="118722" y="327398"/>
                      </a:lnTo>
                      <a:lnTo>
                        <a:pt x="117944" y="327762"/>
                      </a:lnTo>
                      <a:lnTo>
                        <a:pt x="117301" y="328333"/>
                      </a:lnTo>
                      <a:lnTo>
                        <a:pt x="114034" y="331211"/>
                      </a:lnTo>
                      <a:lnTo>
                        <a:pt x="113294" y="331867"/>
                      </a:lnTo>
                      <a:lnTo>
                        <a:pt x="112796" y="332717"/>
                      </a:lnTo>
                      <a:lnTo>
                        <a:pt x="110731" y="336274"/>
                      </a:lnTo>
                      <a:lnTo>
                        <a:pt x="110319" y="336991"/>
                      </a:lnTo>
                      <a:lnTo>
                        <a:pt x="110209" y="337416"/>
                      </a:lnTo>
                      <a:lnTo>
                        <a:pt x="106421" y="336359"/>
                      </a:lnTo>
                      <a:lnTo>
                        <a:pt x="105850" y="336189"/>
                      </a:lnTo>
                      <a:lnTo>
                        <a:pt x="105243" y="336153"/>
                      </a:lnTo>
                      <a:lnTo>
                        <a:pt x="103179" y="335995"/>
                      </a:lnTo>
                      <a:lnTo>
                        <a:pt x="102401" y="335934"/>
                      </a:lnTo>
                      <a:lnTo>
                        <a:pt x="101636" y="336080"/>
                      </a:lnTo>
                      <a:lnTo>
                        <a:pt x="99220" y="336529"/>
                      </a:lnTo>
                      <a:lnTo>
                        <a:pt x="97994" y="336760"/>
                      </a:lnTo>
                      <a:lnTo>
                        <a:pt x="96961" y="337452"/>
                      </a:lnTo>
                      <a:lnTo>
                        <a:pt x="95018" y="338739"/>
                      </a:lnTo>
                      <a:lnTo>
                        <a:pt x="94338" y="339189"/>
                      </a:lnTo>
                      <a:lnTo>
                        <a:pt x="93804" y="339796"/>
                      </a:lnTo>
                      <a:lnTo>
                        <a:pt x="92189" y="341642"/>
                      </a:lnTo>
                      <a:lnTo>
                        <a:pt x="91825" y="342067"/>
                      </a:lnTo>
                      <a:lnTo>
                        <a:pt x="91533" y="342552"/>
                      </a:lnTo>
                      <a:lnTo>
                        <a:pt x="90271" y="344702"/>
                      </a:lnTo>
                      <a:lnTo>
                        <a:pt x="88801" y="347191"/>
                      </a:lnTo>
                      <a:lnTo>
                        <a:pt x="89809" y="349911"/>
                      </a:lnTo>
                      <a:lnTo>
                        <a:pt x="90210" y="350992"/>
                      </a:lnTo>
                      <a:lnTo>
                        <a:pt x="90161" y="351089"/>
                      </a:lnTo>
                      <a:lnTo>
                        <a:pt x="88279" y="352473"/>
                      </a:lnTo>
                      <a:lnTo>
                        <a:pt x="85583" y="353262"/>
                      </a:lnTo>
                      <a:lnTo>
                        <a:pt x="83604" y="353845"/>
                      </a:lnTo>
                      <a:lnTo>
                        <a:pt x="82378" y="355509"/>
                      </a:lnTo>
                      <a:lnTo>
                        <a:pt x="81746" y="356371"/>
                      </a:lnTo>
                      <a:lnTo>
                        <a:pt x="79743" y="359103"/>
                      </a:lnTo>
                      <a:lnTo>
                        <a:pt x="81018" y="362248"/>
                      </a:lnTo>
                      <a:lnTo>
                        <a:pt x="81528" y="363499"/>
                      </a:lnTo>
                      <a:lnTo>
                        <a:pt x="80738" y="364045"/>
                      </a:lnTo>
                      <a:lnTo>
                        <a:pt x="80374" y="364300"/>
                      </a:lnTo>
                      <a:lnTo>
                        <a:pt x="80046" y="364604"/>
                      </a:lnTo>
                      <a:lnTo>
                        <a:pt x="78504" y="366061"/>
                      </a:lnTo>
                      <a:lnTo>
                        <a:pt x="78055" y="366486"/>
                      </a:lnTo>
                      <a:lnTo>
                        <a:pt x="77703" y="366996"/>
                      </a:lnTo>
                      <a:lnTo>
                        <a:pt x="74303" y="371853"/>
                      </a:lnTo>
                      <a:lnTo>
                        <a:pt x="71862" y="373893"/>
                      </a:lnTo>
                      <a:lnTo>
                        <a:pt x="71473" y="374221"/>
                      </a:lnTo>
                      <a:lnTo>
                        <a:pt x="71145" y="374597"/>
                      </a:lnTo>
                      <a:lnTo>
                        <a:pt x="69725" y="376261"/>
                      </a:lnTo>
                      <a:lnTo>
                        <a:pt x="68899" y="377233"/>
                      </a:lnTo>
                      <a:lnTo>
                        <a:pt x="68535" y="378447"/>
                      </a:lnTo>
                      <a:lnTo>
                        <a:pt x="67867" y="380669"/>
                      </a:lnTo>
                      <a:lnTo>
                        <a:pt x="66798" y="381446"/>
                      </a:lnTo>
                      <a:lnTo>
                        <a:pt x="65341" y="382515"/>
                      </a:lnTo>
                      <a:lnTo>
                        <a:pt x="64698" y="384203"/>
                      </a:lnTo>
                      <a:lnTo>
                        <a:pt x="64066" y="385866"/>
                      </a:lnTo>
                      <a:lnTo>
                        <a:pt x="63884" y="386352"/>
                      </a:lnTo>
                      <a:lnTo>
                        <a:pt x="63835" y="386619"/>
                      </a:lnTo>
                      <a:lnTo>
                        <a:pt x="62184" y="386947"/>
                      </a:lnTo>
                      <a:lnTo>
                        <a:pt x="61468" y="387093"/>
                      </a:lnTo>
                      <a:lnTo>
                        <a:pt x="60800" y="387396"/>
                      </a:lnTo>
                      <a:lnTo>
                        <a:pt x="56780" y="389278"/>
                      </a:lnTo>
                      <a:lnTo>
                        <a:pt x="56416" y="389448"/>
                      </a:lnTo>
                      <a:lnTo>
                        <a:pt x="56076" y="389667"/>
                      </a:lnTo>
                      <a:lnTo>
                        <a:pt x="53150" y="391549"/>
                      </a:lnTo>
                      <a:lnTo>
                        <a:pt x="52713" y="391828"/>
                      </a:lnTo>
                      <a:lnTo>
                        <a:pt x="52324" y="392180"/>
                      </a:lnTo>
                      <a:lnTo>
                        <a:pt x="49786" y="394500"/>
                      </a:lnTo>
                      <a:lnTo>
                        <a:pt x="49555" y="394706"/>
                      </a:lnTo>
                      <a:lnTo>
                        <a:pt x="49349" y="394937"/>
                      </a:lnTo>
                      <a:lnTo>
                        <a:pt x="46532" y="398094"/>
                      </a:lnTo>
                      <a:lnTo>
                        <a:pt x="45973" y="398725"/>
                      </a:lnTo>
                      <a:lnTo>
                        <a:pt x="45609" y="399478"/>
                      </a:lnTo>
                      <a:lnTo>
                        <a:pt x="43715" y="403376"/>
                      </a:lnTo>
                      <a:lnTo>
                        <a:pt x="43035" y="404773"/>
                      </a:lnTo>
                      <a:lnTo>
                        <a:pt x="43107" y="406327"/>
                      </a:lnTo>
                      <a:lnTo>
                        <a:pt x="43290" y="409861"/>
                      </a:lnTo>
                      <a:lnTo>
                        <a:pt x="43302" y="410188"/>
                      </a:lnTo>
                      <a:lnTo>
                        <a:pt x="43350" y="410504"/>
                      </a:lnTo>
                      <a:lnTo>
                        <a:pt x="43824" y="413491"/>
                      </a:lnTo>
                      <a:lnTo>
                        <a:pt x="43508" y="415616"/>
                      </a:lnTo>
                      <a:lnTo>
                        <a:pt x="43496" y="415641"/>
                      </a:lnTo>
                      <a:lnTo>
                        <a:pt x="37704" y="417219"/>
                      </a:lnTo>
                      <a:lnTo>
                        <a:pt x="36149" y="417644"/>
                      </a:lnTo>
                      <a:lnTo>
                        <a:pt x="35008" y="418786"/>
                      </a:lnTo>
                      <a:lnTo>
                        <a:pt x="33405" y="420389"/>
                      </a:lnTo>
                      <a:lnTo>
                        <a:pt x="32567" y="421226"/>
                      </a:lnTo>
                      <a:lnTo>
                        <a:pt x="32106" y="422319"/>
                      </a:lnTo>
                      <a:lnTo>
                        <a:pt x="31244" y="424359"/>
                      </a:lnTo>
                      <a:lnTo>
                        <a:pt x="22829" y="435579"/>
                      </a:lnTo>
                      <a:lnTo>
                        <a:pt x="21554" y="435166"/>
                      </a:lnTo>
                      <a:lnTo>
                        <a:pt x="10577" y="431572"/>
                      </a:lnTo>
                      <a:lnTo>
                        <a:pt x="13467" y="441384"/>
                      </a:lnTo>
                      <a:lnTo>
                        <a:pt x="10917" y="442659"/>
                      </a:lnTo>
                      <a:lnTo>
                        <a:pt x="10018" y="443108"/>
                      </a:lnTo>
                      <a:lnTo>
                        <a:pt x="9314" y="443837"/>
                      </a:lnTo>
                      <a:lnTo>
                        <a:pt x="6327" y="446872"/>
                      </a:lnTo>
                      <a:lnTo>
                        <a:pt x="5416" y="447795"/>
                      </a:lnTo>
                      <a:lnTo>
                        <a:pt x="4967" y="449009"/>
                      </a:lnTo>
                      <a:lnTo>
                        <a:pt x="4019" y="451547"/>
                      </a:lnTo>
                      <a:lnTo>
                        <a:pt x="3861" y="451778"/>
                      </a:lnTo>
                      <a:lnTo>
                        <a:pt x="0" y="457449"/>
                      </a:lnTo>
                      <a:lnTo>
                        <a:pt x="6096" y="460594"/>
                      </a:lnTo>
                      <a:lnTo>
                        <a:pt x="14025" y="464674"/>
                      </a:lnTo>
                      <a:lnTo>
                        <a:pt x="16684" y="468414"/>
                      </a:lnTo>
                      <a:lnTo>
                        <a:pt x="20522" y="476282"/>
                      </a:lnTo>
                      <a:lnTo>
                        <a:pt x="22647" y="483532"/>
                      </a:lnTo>
                      <a:lnTo>
                        <a:pt x="22440" y="484916"/>
                      </a:lnTo>
                      <a:lnTo>
                        <a:pt x="21712" y="489834"/>
                      </a:lnTo>
                      <a:lnTo>
                        <a:pt x="26399" y="491510"/>
                      </a:lnTo>
                      <a:lnTo>
                        <a:pt x="28014" y="492080"/>
                      </a:lnTo>
                      <a:lnTo>
                        <a:pt x="27929" y="493793"/>
                      </a:lnTo>
                      <a:lnTo>
                        <a:pt x="27212" y="496865"/>
                      </a:lnTo>
                      <a:lnTo>
                        <a:pt x="14244" y="517301"/>
                      </a:lnTo>
                      <a:lnTo>
                        <a:pt x="13916" y="517811"/>
                      </a:lnTo>
                      <a:lnTo>
                        <a:pt x="13697" y="518382"/>
                      </a:lnTo>
                      <a:lnTo>
                        <a:pt x="11511" y="524101"/>
                      </a:lnTo>
                      <a:lnTo>
                        <a:pt x="11390" y="524405"/>
                      </a:lnTo>
                      <a:lnTo>
                        <a:pt x="11305" y="524721"/>
                      </a:lnTo>
                      <a:lnTo>
                        <a:pt x="10929" y="526190"/>
                      </a:lnTo>
                      <a:lnTo>
                        <a:pt x="10722" y="526943"/>
                      </a:lnTo>
                      <a:lnTo>
                        <a:pt x="10722" y="527720"/>
                      </a:lnTo>
                      <a:lnTo>
                        <a:pt x="10722" y="528145"/>
                      </a:lnTo>
                      <a:lnTo>
                        <a:pt x="10783" y="528643"/>
                      </a:lnTo>
                      <a:lnTo>
                        <a:pt x="11232" y="531776"/>
                      </a:lnTo>
                      <a:lnTo>
                        <a:pt x="11864" y="536184"/>
                      </a:lnTo>
                      <a:lnTo>
                        <a:pt x="16259" y="536912"/>
                      </a:lnTo>
                      <a:lnTo>
                        <a:pt x="21712" y="537811"/>
                      </a:lnTo>
                      <a:lnTo>
                        <a:pt x="22052" y="537871"/>
                      </a:lnTo>
                      <a:lnTo>
                        <a:pt x="22392" y="537884"/>
                      </a:lnTo>
                      <a:lnTo>
                        <a:pt x="92614" y="541466"/>
                      </a:lnTo>
                      <a:lnTo>
                        <a:pt x="110404" y="541369"/>
                      </a:lnTo>
                      <a:lnTo>
                        <a:pt x="134204" y="544501"/>
                      </a:lnTo>
                      <a:lnTo>
                        <a:pt x="145060" y="547112"/>
                      </a:lnTo>
                      <a:lnTo>
                        <a:pt x="154980" y="550877"/>
                      </a:lnTo>
                      <a:lnTo>
                        <a:pt x="155903" y="551229"/>
                      </a:lnTo>
                      <a:lnTo>
                        <a:pt x="156887" y="551265"/>
                      </a:lnTo>
                      <a:lnTo>
                        <a:pt x="160275" y="551411"/>
                      </a:lnTo>
                      <a:lnTo>
                        <a:pt x="162776" y="551520"/>
                      </a:lnTo>
                      <a:lnTo>
                        <a:pt x="164622" y="549832"/>
                      </a:lnTo>
                      <a:lnTo>
                        <a:pt x="165314" y="549201"/>
                      </a:lnTo>
                      <a:lnTo>
                        <a:pt x="165860" y="548691"/>
                      </a:lnTo>
                      <a:lnTo>
                        <a:pt x="166273" y="548072"/>
                      </a:lnTo>
                      <a:lnTo>
                        <a:pt x="167184" y="546699"/>
                      </a:lnTo>
                      <a:lnTo>
                        <a:pt x="167354" y="546444"/>
                      </a:lnTo>
                      <a:lnTo>
                        <a:pt x="167500" y="546165"/>
                      </a:lnTo>
                      <a:lnTo>
                        <a:pt x="168738" y="543809"/>
                      </a:lnTo>
                      <a:lnTo>
                        <a:pt x="168993" y="543469"/>
                      </a:lnTo>
                      <a:lnTo>
                        <a:pt x="169370" y="543129"/>
                      </a:lnTo>
                      <a:lnTo>
                        <a:pt x="174603" y="539632"/>
                      </a:lnTo>
                      <a:lnTo>
                        <a:pt x="175089" y="539438"/>
                      </a:lnTo>
                      <a:lnTo>
                        <a:pt x="175198" y="539414"/>
                      </a:lnTo>
                      <a:lnTo>
                        <a:pt x="178113" y="539450"/>
                      </a:lnTo>
                      <a:lnTo>
                        <a:pt x="178489" y="539450"/>
                      </a:lnTo>
                      <a:lnTo>
                        <a:pt x="178866" y="539414"/>
                      </a:lnTo>
                      <a:lnTo>
                        <a:pt x="183006" y="538952"/>
                      </a:lnTo>
                      <a:lnTo>
                        <a:pt x="183540" y="538891"/>
                      </a:lnTo>
                      <a:lnTo>
                        <a:pt x="184063" y="538734"/>
                      </a:lnTo>
                      <a:lnTo>
                        <a:pt x="189806" y="537021"/>
                      </a:lnTo>
                      <a:lnTo>
                        <a:pt x="190146" y="537386"/>
                      </a:lnTo>
                      <a:lnTo>
                        <a:pt x="190960" y="538272"/>
                      </a:lnTo>
                      <a:lnTo>
                        <a:pt x="191336" y="538673"/>
                      </a:lnTo>
                      <a:lnTo>
                        <a:pt x="191773" y="539001"/>
                      </a:lnTo>
                      <a:lnTo>
                        <a:pt x="192623" y="539632"/>
                      </a:lnTo>
                      <a:lnTo>
                        <a:pt x="193522" y="540312"/>
                      </a:lnTo>
                      <a:lnTo>
                        <a:pt x="194603" y="540616"/>
                      </a:lnTo>
                      <a:lnTo>
                        <a:pt x="196618" y="541186"/>
                      </a:lnTo>
                      <a:lnTo>
                        <a:pt x="196922" y="541271"/>
                      </a:lnTo>
                      <a:lnTo>
                        <a:pt x="197238" y="541320"/>
                      </a:lnTo>
                      <a:lnTo>
                        <a:pt x="206248" y="542862"/>
                      </a:lnTo>
                      <a:lnTo>
                        <a:pt x="207037" y="543154"/>
                      </a:lnTo>
                      <a:lnTo>
                        <a:pt x="207122" y="543202"/>
                      </a:lnTo>
                      <a:lnTo>
                        <a:pt x="207584" y="543603"/>
                      </a:lnTo>
                      <a:lnTo>
                        <a:pt x="207851" y="544975"/>
                      </a:lnTo>
                      <a:lnTo>
                        <a:pt x="207924" y="545339"/>
                      </a:lnTo>
                      <a:lnTo>
                        <a:pt x="208045" y="545704"/>
                      </a:lnTo>
                      <a:lnTo>
                        <a:pt x="208458" y="546966"/>
                      </a:lnTo>
                      <a:lnTo>
                        <a:pt x="208713" y="547707"/>
                      </a:lnTo>
                      <a:lnTo>
                        <a:pt x="209138" y="548375"/>
                      </a:lnTo>
                      <a:lnTo>
                        <a:pt x="209891" y="549517"/>
                      </a:lnTo>
                      <a:lnTo>
                        <a:pt x="210206" y="550014"/>
                      </a:lnTo>
                      <a:lnTo>
                        <a:pt x="210631" y="550452"/>
                      </a:lnTo>
                      <a:lnTo>
                        <a:pt x="211445" y="551289"/>
                      </a:lnTo>
                      <a:lnTo>
                        <a:pt x="211967" y="551836"/>
                      </a:lnTo>
                      <a:lnTo>
                        <a:pt x="212623" y="552237"/>
                      </a:lnTo>
                      <a:lnTo>
                        <a:pt x="216581" y="554665"/>
                      </a:lnTo>
                      <a:lnTo>
                        <a:pt x="216909" y="554957"/>
                      </a:lnTo>
                      <a:lnTo>
                        <a:pt x="217735" y="555867"/>
                      </a:lnTo>
                      <a:lnTo>
                        <a:pt x="218949" y="557021"/>
                      </a:lnTo>
                      <a:lnTo>
                        <a:pt x="219459" y="557507"/>
                      </a:lnTo>
                      <a:lnTo>
                        <a:pt x="220066" y="557859"/>
                      </a:lnTo>
                      <a:lnTo>
                        <a:pt x="222131" y="559037"/>
                      </a:lnTo>
                      <a:lnTo>
                        <a:pt x="223430" y="559777"/>
                      </a:lnTo>
                      <a:lnTo>
                        <a:pt x="224924" y="559826"/>
                      </a:lnTo>
                      <a:lnTo>
                        <a:pt x="226599" y="559887"/>
                      </a:lnTo>
                      <a:lnTo>
                        <a:pt x="227328" y="559911"/>
                      </a:lnTo>
                      <a:lnTo>
                        <a:pt x="228044" y="559765"/>
                      </a:lnTo>
                      <a:lnTo>
                        <a:pt x="230862" y="559182"/>
                      </a:lnTo>
                      <a:lnTo>
                        <a:pt x="231189" y="559122"/>
                      </a:lnTo>
                      <a:lnTo>
                        <a:pt x="231505" y="559012"/>
                      </a:lnTo>
                      <a:lnTo>
                        <a:pt x="236350" y="557446"/>
                      </a:lnTo>
                      <a:lnTo>
                        <a:pt x="237868" y="557167"/>
                      </a:lnTo>
                      <a:lnTo>
                        <a:pt x="237965" y="557409"/>
                      </a:lnTo>
                      <a:lnTo>
                        <a:pt x="238402" y="558223"/>
                      </a:lnTo>
                      <a:lnTo>
                        <a:pt x="238730" y="558745"/>
                      </a:lnTo>
                      <a:lnTo>
                        <a:pt x="238390" y="560773"/>
                      </a:lnTo>
                      <a:lnTo>
                        <a:pt x="238172" y="562072"/>
                      </a:lnTo>
                      <a:lnTo>
                        <a:pt x="238512" y="563347"/>
                      </a:lnTo>
                      <a:lnTo>
                        <a:pt x="238900" y="564804"/>
                      </a:lnTo>
                      <a:lnTo>
                        <a:pt x="239240" y="566067"/>
                      </a:lnTo>
                      <a:lnTo>
                        <a:pt x="240066" y="567075"/>
                      </a:lnTo>
                      <a:lnTo>
                        <a:pt x="240989" y="568192"/>
                      </a:lnTo>
                      <a:lnTo>
                        <a:pt x="241814" y="569200"/>
                      </a:lnTo>
                      <a:lnTo>
                        <a:pt x="242980" y="569771"/>
                      </a:lnTo>
                      <a:lnTo>
                        <a:pt x="246526" y="571544"/>
                      </a:lnTo>
                      <a:lnTo>
                        <a:pt x="247412" y="572746"/>
                      </a:lnTo>
                      <a:lnTo>
                        <a:pt x="247631" y="573025"/>
                      </a:lnTo>
                      <a:lnTo>
                        <a:pt x="247874" y="573280"/>
                      </a:lnTo>
                      <a:lnTo>
                        <a:pt x="248687" y="574142"/>
                      </a:lnTo>
                      <a:lnTo>
                        <a:pt x="249695" y="575211"/>
                      </a:lnTo>
                      <a:lnTo>
                        <a:pt x="251080" y="575709"/>
                      </a:lnTo>
                      <a:lnTo>
                        <a:pt x="251662" y="575915"/>
                      </a:lnTo>
                      <a:lnTo>
                        <a:pt x="254140" y="576802"/>
                      </a:lnTo>
                      <a:lnTo>
                        <a:pt x="256483" y="575587"/>
                      </a:lnTo>
                      <a:lnTo>
                        <a:pt x="258135" y="574737"/>
                      </a:lnTo>
                      <a:lnTo>
                        <a:pt x="259434" y="572892"/>
                      </a:lnTo>
                      <a:lnTo>
                        <a:pt x="259567" y="572649"/>
                      </a:lnTo>
                      <a:lnTo>
                        <a:pt x="260733" y="574531"/>
                      </a:lnTo>
                      <a:lnTo>
                        <a:pt x="260891" y="574786"/>
                      </a:lnTo>
                      <a:lnTo>
                        <a:pt x="261073" y="575005"/>
                      </a:lnTo>
                      <a:lnTo>
                        <a:pt x="260162" y="575952"/>
                      </a:lnTo>
                      <a:lnTo>
                        <a:pt x="259385" y="576984"/>
                      </a:lnTo>
                      <a:lnTo>
                        <a:pt x="258766" y="578696"/>
                      </a:lnTo>
                      <a:lnTo>
                        <a:pt x="258584" y="579473"/>
                      </a:lnTo>
                      <a:lnTo>
                        <a:pt x="258462" y="580007"/>
                      </a:lnTo>
                      <a:lnTo>
                        <a:pt x="258438" y="580554"/>
                      </a:lnTo>
                      <a:lnTo>
                        <a:pt x="258377" y="581950"/>
                      </a:lnTo>
                      <a:lnTo>
                        <a:pt x="258353" y="582485"/>
                      </a:lnTo>
                      <a:lnTo>
                        <a:pt x="258414" y="583007"/>
                      </a:lnTo>
                      <a:lnTo>
                        <a:pt x="258620" y="584622"/>
                      </a:lnTo>
                      <a:lnTo>
                        <a:pt x="258110" y="584901"/>
                      </a:lnTo>
                      <a:lnTo>
                        <a:pt x="257819" y="584998"/>
                      </a:lnTo>
                      <a:lnTo>
                        <a:pt x="256228" y="585678"/>
                      </a:lnTo>
                      <a:lnTo>
                        <a:pt x="255232" y="586127"/>
                      </a:lnTo>
                      <a:lnTo>
                        <a:pt x="254455" y="586893"/>
                      </a:lnTo>
                      <a:lnTo>
                        <a:pt x="252646" y="588665"/>
                      </a:lnTo>
                      <a:lnTo>
                        <a:pt x="252245" y="591604"/>
                      </a:lnTo>
                      <a:lnTo>
                        <a:pt x="252245" y="592260"/>
                      </a:lnTo>
                      <a:lnTo>
                        <a:pt x="252245" y="593365"/>
                      </a:lnTo>
                      <a:lnTo>
                        <a:pt x="252634" y="594397"/>
                      </a:lnTo>
                      <a:lnTo>
                        <a:pt x="253035" y="595465"/>
                      </a:lnTo>
                      <a:lnTo>
                        <a:pt x="253496" y="596692"/>
                      </a:lnTo>
                      <a:lnTo>
                        <a:pt x="254419" y="597615"/>
                      </a:lnTo>
                      <a:lnTo>
                        <a:pt x="255208" y="598404"/>
                      </a:lnTo>
                      <a:lnTo>
                        <a:pt x="255050" y="598659"/>
                      </a:lnTo>
                      <a:lnTo>
                        <a:pt x="255597" y="601100"/>
                      </a:lnTo>
                      <a:lnTo>
                        <a:pt x="255779" y="601913"/>
                      </a:lnTo>
                      <a:lnTo>
                        <a:pt x="256010" y="602897"/>
                      </a:lnTo>
                      <a:lnTo>
                        <a:pt x="256532" y="603759"/>
                      </a:lnTo>
                      <a:lnTo>
                        <a:pt x="257272" y="604961"/>
                      </a:lnTo>
                      <a:lnTo>
                        <a:pt x="257746" y="605714"/>
                      </a:lnTo>
                      <a:lnTo>
                        <a:pt x="258414" y="606297"/>
                      </a:lnTo>
                      <a:lnTo>
                        <a:pt x="260490" y="608155"/>
                      </a:lnTo>
                      <a:lnTo>
                        <a:pt x="261134" y="608883"/>
                      </a:lnTo>
                      <a:lnTo>
                        <a:pt x="261195" y="609369"/>
                      </a:lnTo>
                      <a:lnTo>
                        <a:pt x="261255" y="609879"/>
                      </a:lnTo>
                      <a:lnTo>
                        <a:pt x="261401" y="610377"/>
                      </a:lnTo>
                      <a:lnTo>
                        <a:pt x="261632" y="611154"/>
                      </a:lnTo>
                      <a:lnTo>
                        <a:pt x="261765" y="611616"/>
                      </a:lnTo>
                      <a:lnTo>
                        <a:pt x="261972" y="612053"/>
                      </a:lnTo>
                      <a:lnTo>
                        <a:pt x="262822" y="613825"/>
                      </a:lnTo>
                      <a:lnTo>
                        <a:pt x="263101" y="614676"/>
                      </a:lnTo>
                      <a:lnTo>
                        <a:pt x="264109" y="618925"/>
                      </a:lnTo>
                      <a:lnTo>
                        <a:pt x="265080" y="622896"/>
                      </a:lnTo>
                      <a:lnTo>
                        <a:pt x="269124" y="623503"/>
                      </a:lnTo>
                      <a:lnTo>
                        <a:pt x="271710" y="623892"/>
                      </a:lnTo>
                      <a:lnTo>
                        <a:pt x="273726" y="624183"/>
                      </a:lnTo>
                      <a:lnTo>
                        <a:pt x="275511" y="623212"/>
                      </a:lnTo>
                      <a:lnTo>
                        <a:pt x="278389" y="621645"/>
                      </a:lnTo>
                      <a:lnTo>
                        <a:pt x="282627" y="620771"/>
                      </a:lnTo>
                      <a:lnTo>
                        <a:pt x="284327" y="620419"/>
                      </a:lnTo>
                      <a:lnTo>
                        <a:pt x="285590" y="619217"/>
                      </a:lnTo>
                      <a:lnTo>
                        <a:pt x="286804" y="618063"/>
                      </a:lnTo>
                      <a:lnTo>
                        <a:pt x="288225" y="616716"/>
                      </a:lnTo>
                      <a:lnTo>
                        <a:pt x="288577" y="614785"/>
                      </a:lnTo>
                      <a:lnTo>
                        <a:pt x="288905" y="613012"/>
                      </a:lnTo>
                      <a:lnTo>
                        <a:pt x="289245" y="611203"/>
                      </a:lnTo>
                      <a:lnTo>
                        <a:pt x="288516" y="609503"/>
                      </a:lnTo>
                      <a:lnTo>
                        <a:pt x="287763" y="607742"/>
                      </a:lnTo>
                      <a:lnTo>
                        <a:pt x="287521" y="607183"/>
                      </a:lnTo>
                      <a:lnTo>
                        <a:pt x="287181" y="606673"/>
                      </a:lnTo>
                      <a:lnTo>
                        <a:pt x="286792" y="606115"/>
                      </a:lnTo>
                      <a:lnTo>
                        <a:pt x="287059" y="605520"/>
                      </a:lnTo>
                      <a:lnTo>
                        <a:pt x="288346" y="603395"/>
                      </a:lnTo>
                      <a:lnTo>
                        <a:pt x="288868" y="603577"/>
                      </a:lnTo>
                      <a:lnTo>
                        <a:pt x="290787" y="602970"/>
                      </a:lnTo>
                      <a:lnTo>
                        <a:pt x="292098" y="602557"/>
                      </a:lnTo>
                      <a:lnTo>
                        <a:pt x="295353" y="601537"/>
                      </a:lnTo>
                      <a:lnTo>
                        <a:pt x="296166" y="598234"/>
                      </a:lnTo>
                      <a:lnTo>
                        <a:pt x="296579" y="596583"/>
                      </a:lnTo>
                      <a:lnTo>
                        <a:pt x="296810" y="595648"/>
                      </a:lnTo>
                      <a:lnTo>
                        <a:pt x="296749" y="594700"/>
                      </a:lnTo>
                      <a:lnTo>
                        <a:pt x="296725" y="594373"/>
                      </a:lnTo>
                      <a:lnTo>
                        <a:pt x="300526" y="591227"/>
                      </a:lnTo>
                      <a:lnTo>
                        <a:pt x="301048" y="590790"/>
                      </a:lnTo>
                      <a:lnTo>
                        <a:pt x="301461" y="590256"/>
                      </a:lnTo>
                      <a:lnTo>
                        <a:pt x="302954" y="588325"/>
                      </a:lnTo>
                      <a:lnTo>
                        <a:pt x="303221" y="587985"/>
                      </a:lnTo>
                      <a:lnTo>
                        <a:pt x="303440" y="587609"/>
                      </a:lnTo>
                      <a:lnTo>
                        <a:pt x="307690" y="580105"/>
                      </a:lnTo>
                      <a:lnTo>
                        <a:pt x="311563" y="575515"/>
                      </a:lnTo>
                      <a:lnTo>
                        <a:pt x="311831" y="575199"/>
                      </a:lnTo>
                      <a:lnTo>
                        <a:pt x="312049" y="574859"/>
                      </a:lnTo>
                      <a:lnTo>
                        <a:pt x="312669" y="573887"/>
                      </a:lnTo>
                      <a:lnTo>
                        <a:pt x="313081" y="574082"/>
                      </a:lnTo>
                      <a:lnTo>
                        <a:pt x="319493" y="576802"/>
                      </a:lnTo>
                      <a:lnTo>
                        <a:pt x="320391" y="577178"/>
                      </a:lnTo>
                      <a:lnTo>
                        <a:pt x="321363" y="577263"/>
                      </a:lnTo>
                      <a:lnTo>
                        <a:pt x="324933" y="577555"/>
                      </a:lnTo>
                      <a:lnTo>
                        <a:pt x="325589" y="577603"/>
                      </a:lnTo>
                      <a:lnTo>
                        <a:pt x="326244" y="577506"/>
                      </a:lnTo>
                      <a:lnTo>
                        <a:pt x="326378" y="577494"/>
                      </a:lnTo>
                      <a:lnTo>
                        <a:pt x="330749" y="580153"/>
                      </a:lnTo>
                      <a:lnTo>
                        <a:pt x="331721" y="580736"/>
                      </a:lnTo>
                      <a:lnTo>
                        <a:pt x="332850" y="580942"/>
                      </a:lnTo>
                      <a:lnTo>
                        <a:pt x="338314" y="581914"/>
                      </a:lnTo>
                      <a:lnTo>
                        <a:pt x="339249" y="582084"/>
                      </a:lnTo>
                      <a:lnTo>
                        <a:pt x="340197" y="581962"/>
                      </a:lnTo>
                      <a:lnTo>
                        <a:pt x="343803" y="581477"/>
                      </a:lnTo>
                      <a:lnTo>
                        <a:pt x="344459" y="581392"/>
                      </a:lnTo>
                      <a:lnTo>
                        <a:pt x="345078" y="581161"/>
                      </a:lnTo>
                      <a:lnTo>
                        <a:pt x="347798" y="580165"/>
                      </a:lnTo>
                      <a:lnTo>
                        <a:pt x="350166" y="579898"/>
                      </a:lnTo>
                      <a:lnTo>
                        <a:pt x="355861" y="581003"/>
                      </a:lnTo>
                      <a:lnTo>
                        <a:pt x="357039" y="581234"/>
                      </a:lnTo>
                      <a:lnTo>
                        <a:pt x="358217" y="580991"/>
                      </a:lnTo>
                      <a:lnTo>
                        <a:pt x="360512" y="580530"/>
                      </a:lnTo>
                      <a:lnTo>
                        <a:pt x="362394" y="580153"/>
                      </a:lnTo>
                      <a:lnTo>
                        <a:pt x="363717" y="578757"/>
                      </a:lnTo>
                      <a:lnTo>
                        <a:pt x="365029" y="577372"/>
                      </a:lnTo>
                      <a:lnTo>
                        <a:pt x="366365" y="575964"/>
                      </a:lnTo>
                      <a:lnTo>
                        <a:pt x="366632" y="574045"/>
                      </a:lnTo>
                      <a:lnTo>
                        <a:pt x="366862" y="572406"/>
                      </a:lnTo>
                      <a:lnTo>
                        <a:pt x="366996" y="571483"/>
                      </a:lnTo>
                      <a:lnTo>
                        <a:pt x="366947" y="571180"/>
                      </a:lnTo>
                      <a:lnTo>
                        <a:pt x="370517" y="569516"/>
                      </a:lnTo>
                      <a:lnTo>
                        <a:pt x="374100" y="568484"/>
                      </a:lnTo>
                      <a:lnTo>
                        <a:pt x="374755" y="568520"/>
                      </a:lnTo>
                      <a:lnTo>
                        <a:pt x="375800" y="568715"/>
                      </a:lnTo>
                      <a:lnTo>
                        <a:pt x="377876" y="569322"/>
                      </a:lnTo>
                      <a:lnTo>
                        <a:pt x="378459" y="569577"/>
                      </a:lnTo>
                      <a:lnTo>
                        <a:pt x="381288" y="571835"/>
                      </a:lnTo>
                      <a:lnTo>
                        <a:pt x="381616" y="572321"/>
                      </a:lnTo>
                      <a:lnTo>
                        <a:pt x="384130" y="578380"/>
                      </a:lnTo>
                      <a:lnTo>
                        <a:pt x="384324" y="578842"/>
                      </a:lnTo>
                      <a:lnTo>
                        <a:pt x="384579" y="579267"/>
                      </a:lnTo>
                      <a:lnTo>
                        <a:pt x="385040" y="580007"/>
                      </a:lnTo>
                      <a:lnTo>
                        <a:pt x="385344" y="580493"/>
                      </a:lnTo>
                      <a:lnTo>
                        <a:pt x="385733" y="580918"/>
                      </a:lnTo>
                      <a:lnTo>
                        <a:pt x="387858" y="583213"/>
                      </a:lnTo>
                      <a:lnTo>
                        <a:pt x="389521" y="585010"/>
                      </a:lnTo>
                      <a:lnTo>
                        <a:pt x="391962" y="585156"/>
                      </a:lnTo>
                      <a:lnTo>
                        <a:pt x="395131" y="585338"/>
                      </a:lnTo>
                      <a:lnTo>
                        <a:pt x="400341" y="587075"/>
                      </a:lnTo>
                      <a:lnTo>
                        <a:pt x="401288" y="587390"/>
                      </a:lnTo>
                      <a:lnTo>
                        <a:pt x="402296" y="587390"/>
                      </a:lnTo>
                      <a:lnTo>
                        <a:pt x="405513" y="587366"/>
                      </a:lnTo>
                      <a:lnTo>
                        <a:pt x="406521" y="587366"/>
                      </a:lnTo>
                      <a:lnTo>
                        <a:pt x="407468" y="587038"/>
                      </a:lnTo>
                      <a:lnTo>
                        <a:pt x="410055" y="586140"/>
                      </a:lnTo>
                      <a:lnTo>
                        <a:pt x="410443" y="586006"/>
                      </a:lnTo>
                      <a:lnTo>
                        <a:pt x="410808" y="585824"/>
                      </a:lnTo>
                      <a:lnTo>
                        <a:pt x="414329" y="584039"/>
                      </a:lnTo>
                      <a:lnTo>
                        <a:pt x="415131" y="583772"/>
                      </a:lnTo>
                      <a:lnTo>
                        <a:pt x="419150" y="584027"/>
                      </a:lnTo>
                      <a:lnTo>
                        <a:pt x="420206" y="584087"/>
                      </a:lnTo>
                      <a:lnTo>
                        <a:pt x="421226" y="583796"/>
                      </a:lnTo>
                      <a:lnTo>
                        <a:pt x="423473" y="583140"/>
                      </a:lnTo>
                      <a:lnTo>
                        <a:pt x="424699" y="582788"/>
                      </a:lnTo>
                      <a:lnTo>
                        <a:pt x="425683" y="581962"/>
                      </a:lnTo>
                      <a:lnTo>
                        <a:pt x="427225" y="580663"/>
                      </a:lnTo>
                      <a:lnTo>
                        <a:pt x="427723" y="580250"/>
                      </a:lnTo>
                      <a:lnTo>
                        <a:pt x="428111" y="579740"/>
                      </a:lnTo>
                      <a:lnTo>
                        <a:pt x="433175" y="573244"/>
                      </a:lnTo>
                      <a:lnTo>
                        <a:pt x="439089" y="570706"/>
                      </a:lnTo>
                      <a:lnTo>
                        <a:pt x="442622" y="569844"/>
                      </a:lnTo>
                      <a:lnTo>
                        <a:pt x="443363" y="569662"/>
                      </a:lnTo>
                      <a:lnTo>
                        <a:pt x="444031" y="569310"/>
                      </a:lnTo>
                      <a:lnTo>
                        <a:pt x="446678" y="567901"/>
                      </a:lnTo>
                      <a:lnTo>
                        <a:pt x="447067" y="567695"/>
                      </a:lnTo>
                      <a:lnTo>
                        <a:pt x="447419" y="567439"/>
                      </a:lnTo>
                      <a:lnTo>
                        <a:pt x="451232" y="564634"/>
                      </a:lnTo>
                      <a:lnTo>
                        <a:pt x="456320" y="562109"/>
                      </a:lnTo>
                      <a:lnTo>
                        <a:pt x="457133" y="561708"/>
                      </a:lnTo>
                      <a:lnTo>
                        <a:pt x="457801" y="561077"/>
                      </a:lnTo>
                      <a:lnTo>
                        <a:pt x="460035" y="558952"/>
                      </a:lnTo>
                      <a:lnTo>
                        <a:pt x="461760" y="557312"/>
                      </a:lnTo>
                      <a:lnTo>
                        <a:pt x="461917" y="554944"/>
                      </a:lnTo>
                      <a:lnTo>
                        <a:pt x="462039" y="553074"/>
                      </a:lnTo>
                      <a:lnTo>
                        <a:pt x="462209" y="550452"/>
                      </a:lnTo>
                      <a:lnTo>
                        <a:pt x="460424" y="548533"/>
                      </a:lnTo>
                      <a:lnTo>
                        <a:pt x="459052" y="547052"/>
                      </a:lnTo>
                      <a:lnTo>
                        <a:pt x="458457" y="546408"/>
                      </a:lnTo>
                      <a:lnTo>
                        <a:pt x="457692" y="545959"/>
                      </a:lnTo>
                      <a:lnTo>
                        <a:pt x="454656" y="544174"/>
                      </a:lnTo>
                      <a:lnTo>
                        <a:pt x="454547" y="544076"/>
                      </a:lnTo>
                      <a:lnTo>
                        <a:pt x="454462" y="543919"/>
                      </a:lnTo>
                      <a:lnTo>
                        <a:pt x="454134" y="542777"/>
                      </a:lnTo>
                      <a:lnTo>
                        <a:pt x="453150" y="540215"/>
                      </a:lnTo>
                      <a:lnTo>
                        <a:pt x="453004" y="539656"/>
                      </a:lnTo>
                      <a:lnTo>
                        <a:pt x="452883" y="538794"/>
                      </a:lnTo>
                      <a:lnTo>
                        <a:pt x="452968" y="538151"/>
                      </a:lnTo>
                      <a:lnTo>
                        <a:pt x="453891" y="534690"/>
                      </a:lnTo>
                      <a:lnTo>
                        <a:pt x="457230" y="525777"/>
                      </a:lnTo>
                      <a:lnTo>
                        <a:pt x="458032" y="524296"/>
                      </a:lnTo>
                      <a:lnTo>
                        <a:pt x="459210" y="522948"/>
                      </a:lnTo>
                      <a:lnTo>
                        <a:pt x="459428" y="522693"/>
                      </a:lnTo>
                      <a:lnTo>
                        <a:pt x="459622" y="522426"/>
                      </a:lnTo>
                      <a:lnTo>
                        <a:pt x="460181" y="521624"/>
                      </a:lnTo>
                      <a:lnTo>
                        <a:pt x="460776" y="520774"/>
                      </a:lnTo>
                      <a:lnTo>
                        <a:pt x="461043" y="519766"/>
                      </a:lnTo>
                      <a:lnTo>
                        <a:pt x="461286" y="518880"/>
                      </a:lnTo>
                      <a:lnTo>
                        <a:pt x="461832" y="516888"/>
                      </a:lnTo>
                      <a:lnTo>
                        <a:pt x="461517" y="516123"/>
                      </a:lnTo>
                      <a:lnTo>
                        <a:pt x="461917" y="516063"/>
                      </a:lnTo>
                      <a:lnTo>
                        <a:pt x="462986" y="515383"/>
                      </a:lnTo>
                      <a:lnTo>
                        <a:pt x="464200" y="514606"/>
                      </a:lnTo>
                      <a:lnTo>
                        <a:pt x="468025" y="512165"/>
                      </a:lnTo>
                      <a:lnTo>
                        <a:pt x="467831" y="511509"/>
                      </a:lnTo>
                      <a:lnTo>
                        <a:pt x="467892" y="511521"/>
                      </a:lnTo>
                      <a:lnTo>
                        <a:pt x="468426" y="511691"/>
                      </a:lnTo>
                      <a:lnTo>
                        <a:pt x="468972" y="511764"/>
                      </a:lnTo>
                      <a:lnTo>
                        <a:pt x="470587" y="511958"/>
                      </a:lnTo>
                      <a:lnTo>
                        <a:pt x="471207" y="512031"/>
                      </a:lnTo>
                      <a:lnTo>
                        <a:pt x="471838" y="511983"/>
                      </a:lnTo>
                      <a:lnTo>
                        <a:pt x="473550" y="511837"/>
                      </a:lnTo>
                      <a:lnTo>
                        <a:pt x="474971" y="511716"/>
                      </a:lnTo>
                      <a:lnTo>
                        <a:pt x="476198" y="510975"/>
                      </a:lnTo>
                      <a:lnTo>
                        <a:pt x="477982" y="509882"/>
                      </a:lnTo>
                      <a:lnTo>
                        <a:pt x="479209" y="509129"/>
                      </a:lnTo>
                      <a:lnTo>
                        <a:pt x="479342" y="508910"/>
                      </a:lnTo>
                      <a:lnTo>
                        <a:pt x="480047" y="509238"/>
                      </a:lnTo>
                      <a:lnTo>
                        <a:pt x="481492" y="509918"/>
                      </a:lnTo>
                      <a:lnTo>
                        <a:pt x="483070" y="509797"/>
                      </a:lnTo>
                      <a:lnTo>
                        <a:pt x="484042" y="509724"/>
                      </a:lnTo>
                      <a:lnTo>
                        <a:pt x="485402" y="509627"/>
                      </a:lnTo>
                      <a:lnTo>
                        <a:pt x="486580" y="508959"/>
                      </a:lnTo>
                      <a:lnTo>
                        <a:pt x="487685" y="508340"/>
                      </a:lnTo>
                      <a:lnTo>
                        <a:pt x="489118" y="507538"/>
                      </a:lnTo>
                      <a:lnTo>
                        <a:pt x="489943" y="506130"/>
                      </a:lnTo>
                      <a:lnTo>
                        <a:pt x="490417" y="505328"/>
                      </a:lnTo>
                      <a:lnTo>
                        <a:pt x="490466" y="505413"/>
                      </a:lnTo>
                      <a:lnTo>
                        <a:pt x="492530" y="508704"/>
                      </a:lnTo>
                      <a:lnTo>
                        <a:pt x="492773" y="509080"/>
                      </a:lnTo>
                      <a:lnTo>
                        <a:pt x="493052" y="509408"/>
                      </a:lnTo>
                      <a:lnTo>
                        <a:pt x="494193" y="510756"/>
                      </a:lnTo>
                      <a:lnTo>
                        <a:pt x="494703" y="511363"/>
                      </a:lnTo>
                      <a:lnTo>
                        <a:pt x="495347" y="511813"/>
                      </a:lnTo>
                      <a:lnTo>
                        <a:pt x="496731" y="512772"/>
                      </a:lnTo>
                      <a:lnTo>
                        <a:pt x="497581" y="513367"/>
                      </a:lnTo>
                      <a:lnTo>
                        <a:pt x="498589" y="513634"/>
                      </a:lnTo>
                      <a:lnTo>
                        <a:pt x="502414" y="514691"/>
                      </a:lnTo>
                      <a:lnTo>
                        <a:pt x="503689" y="515443"/>
                      </a:lnTo>
                      <a:lnTo>
                        <a:pt x="505000" y="516196"/>
                      </a:lnTo>
                      <a:lnTo>
                        <a:pt x="506518" y="516257"/>
                      </a:lnTo>
                      <a:lnTo>
                        <a:pt x="512942" y="516512"/>
                      </a:lnTo>
                      <a:lnTo>
                        <a:pt x="515103" y="516597"/>
                      </a:lnTo>
                      <a:lnTo>
                        <a:pt x="516828" y="515310"/>
                      </a:lnTo>
                      <a:lnTo>
                        <a:pt x="527501" y="507296"/>
                      </a:lnTo>
                      <a:lnTo>
                        <a:pt x="533804" y="503628"/>
                      </a:lnTo>
                      <a:lnTo>
                        <a:pt x="534763" y="503070"/>
                      </a:lnTo>
                      <a:lnTo>
                        <a:pt x="535467" y="502208"/>
                      </a:lnTo>
                      <a:lnTo>
                        <a:pt x="536256" y="501224"/>
                      </a:lnTo>
                      <a:lnTo>
                        <a:pt x="537726" y="499427"/>
                      </a:lnTo>
                      <a:lnTo>
                        <a:pt x="537616" y="497108"/>
                      </a:lnTo>
                      <a:lnTo>
                        <a:pt x="537544" y="495468"/>
                      </a:lnTo>
                      <a:lnTo>
                        <a:pt x="537556" y="495371"/>
                      </a:lnTo>
                      <a:lnTo>
                        <a:pt x="538734" y="493100"/>
                      </a:lnTo>
                      <a:lnTo>
                        <a:pt x="539098" y="492396"/>
                      </a:lnTo>
                      <a:lnTo>
                        <a:pt x="539268" y="491631"/>
                      </a:lnTo>
                      <a:lnTo>
                        <a:pt x="539669" y="489870"/>
                      </a:lnTo>
                      <a:lnTo>
                        <a:pt x="539766" y="489433"/>
                      </a:lnTo>
                      <a:lnTo>
                        <a:pt x="539790" y="488984"/>
                      </a:lnTo>
                      <a:lnTo>
                        <a:pt x="539899" y="487466"/>
                      </a:lnTo>
                      <a:lnTo>
                        <a:pt x="540009" y="486070"/>
                      </a:lnTo>
                      <a:lnTo>
                        <a:pt x="539499" y="484770"/>
                      </a:lnTo>
                      <a:lnTo>
                        <a:pt x="539159" y="483908"/>
                      </a:lnTo>
                      <a:lnTo>
                        <a:pt x="538940" y="483374"/>
                      </a:lnTo>
                      <a:lnTo>
                        <a:pt x="538636" y="482888"/>
                      </a:lnTo>
                      <a:lnTo>
                        <a:pt x="538224" y="482232"/>
                      </a:lnTo>
                      <a:lnTo>
                        <a:pt x="537762" y="481504"/>
                      </a:lnTo>
                      <a:lnTo>
                        <a:pt x="537106" y="480933"/>
                      </a:lnTo>
                      <a:lnTo>
                        <a:pt x="536366" y="480290"/>
                      </a:lnTo>
                      <a:lnTo>
                        <a:pt x="535698" y="479695"/>
                      </a:lnTo>
                      <a:lnTo>
                        <a:pt x="534884" y="479330"/>
                      </a:lnTo>
                      <a:lnTo>
                        <a:pt x="533913" y="478881"/>
                      </a:lnTo>
                      <a:lnTo>
                        <a:pt x="533512" y="478699"/>
                      </a:lnTo>
                      <a:lnTo>
                        <a:pt x="533087" y="478578"/>
                      </a:lnTo>
                      <a:lnTo>
                        <a:pt x="531958" y="478250"/>
                      </a:lnTo>
                      <a:lnTo>
                        <a:pt x="531885" y="477861"/>
                      </a:lnTo>
                      <a:lnTo>
                        <a:pt x="531776" y="477351"/>
                      </a:lnTo>
                      <a:lnTo>
                        <a:pt x="531582" y="476865"/>
                      </a:lnTo>
                      <a:lnTo>
                        <a:pt x="531290" y="476125"/>
                      </a:lnTo>
                      <a:lnTo>
                        <a:pt x="531241" y="476003"/>
                      </a:lnTo>
                      <a:lnTo>
                        <a:pt x="531897" y="475675"/>
                      </a:lnTo>
                      <a:lnTo>
                        <a:pt x="535916" y="473210"/>
                      </a:lnTo>
                      <a:lnTo>
                        <a:pt x="538114" y="472142"/>
                      </a:lnTo>
                      <a:lnTo>
                        <a:pt x="538527" y="471935"/>
                      </a:lnTo>
                      <a:lnTo>
                        <a:pt x="538904" y="471680"/>
                      </a:lnTo>
                      <a:lnTo>
                        <a:pt x="550962" y="463387"/>
                      </a:lnTo>
                      <a:lnTo>
                        <a:pt x="551277" y="463168"/>
                      </a:lnTo>
                      <a:lnTo>
                        <a:pt x="551569" y="462913"/>
                      </a:lnTo>
                      <a:lnTo>
                        <a:pt x="554434" y="460351"/>
                      </a:lnTo>
                      <a:lnTo>
                        <a:pt x="554690" y="460120"/>
                      </a:lnTo>
                      <a:lnTo>
                        <a:pt x="554932" y="459853"/>
                      </a:lnTo>
                      <a:lnTo>
                        <a:pt x="556304" y="458299"/>
                      </a:lnTo>
                      <a:lnTo>
                        <a:pt x="556839" y="457692"/>
                      </a:lnTo>
                      <a:lnTo>
                        <a:pt x="557203" y="456963"/>
                      </a:lnTo>
                      <a:lnTo>
                        <a:pt x="557774" y="455797"/>
                      </a:lnTo>
                      <a:lnTo>
                        <a:pt x="558721" y="453879"/>
                      </a:lnTo>
                      <a:lnTo>
                        <a:pt x="558259" y="451790"/>
                      </a:lnTo>
                      <a:lnTo>
                        <a:pt x="558090" y="451013"/>
                      </a:lnTo>
                      <a:lnTo>
                        <a:pt x="557494" y="448342"/>
                      </a:lnTo>
                      <a:lnTo>
                        <a:pt x="555102" y="447018"/>
                      </a:lnTo>
                      <a:lnTo>
                        <a:pt x="554447" y="446654"/>
                      </a:lnTo>
                      <a:lnTo>
                        <a:pt x="554556" y="445937"/>
                      </a:lnTo>
                      <a:lnTo>
                        <a:pt x="556086" y="445233"/>
                      </a:lnTo>
                      <a:lnTo>
                        <a:pt x="556159" y="445233"/>
                      </a:lnTo>
                      <a:lnTo>
                        <a:pt x="558660" y="446302"/>
                      </a:lnTo>
                      <a:lnTo>
                        <a:pt x="559790" y="446787"/>
                      </a:lnTo>
                      <a:lnTo>
                        <a:pt x="561028" y="446787"/>
                      </a:lnTo>
                      <a:lnTo>
                        <a:pt x="563262" y="446799"/>
                      </a:lnTo>
                      <a:lnTo>
                        <a:pt x="563736" y="446799"/>
                      </a:lnTo>
                      <a:lnTo>
                        <a:pt x="564197" y="446739"/>
                      </a:lnTo>
                      <a:lnTo>
                        <a:pt x="567342" y="446265"/>
                      </a:lnTo>
                      <a:lnTo>
                        <a:pt x="567439" y="446496"/>
                      </a:lnTo>
                      <a:lnTo>
                        <a:pt x="569018" y="451924"/>
                      </a:lnTo>
                      <a:lnTo>
                        <a:pt x="569225" y="452628"/>
                      </a:lnTo>
                      <a:lnTo>
                        <a:pt x="569589" y="453272"/>
                      </a:lnTo>
                      <a:lnTo>
                        <a:pt x="571313" y="456234"/>
                      </a:lnTo>
                      <a:lnTo>
                        <a:pt x="572345" y="458020"/>
                      </a:lnTo>
                      <a:lnTo>
                        <a:pt x="574264" y="458797"/>
                      </a:lnTo>
                      <a:lnTo>
                        <a:pt x="576377" y="459659"/>
                      </a:lnTo>
                      <a:lnTo>
                        <a:pt x="578453" y="460509"/>
                      </a:lnTo>
                      <a:lnTo>
                        <a:pt x="580578" y="459804"/>
                      </a:lnTo>
                      <a:lnTo>
                        <a:pt x="582533" y="459161"/>
                      </a:lnTo>
                      <a:lnTo>
                        <a:pt x="584221" y="458602"/>
                      </a:lnTo>
                      <a:lnTo>
                        <a:pt x="585338" y="457230"/>
                      </a:lnTo>
                      <a:lnTo>
                        <a:pt x="587123" y="455032"/>
                      </a:lnTo>
                      <a:lnTo>
                        <a:pt x="587840" y="454158"/>
                      </a:lnTo>
                      <a:lnTo>
                        <a:pt x="588192" y="453077"/>
                      </a:lnTo>
                      <a:lnTo>
                        <a:pt x="588993" y="450600"/>
                      </a:lnTo>
                      <a:lnTo>
                        <a:pt x="589127" y="450175"/>
                      </a:lnTo>
                      <a:lnTo>
                        <a:pt x="589200" y="449738"/>
                      </a:lnTo>
                      <a:lnTo>
                        <a:pt x="589613" y="447322"/>
                      </a:lnTo>
                      <a:lnTo>
                        <a:pt x="589722" y="446642"/>
                      </a:lnTo>
                      <a:lnTo>
                        <a:pt x="589685" y="445962"/>
                      </a:lnTo>
                      <a:lnTo>
                        <a:pt x="589564" y="443922"/>
                      </a:lnTo>
                      <a:lnTo>
                        <a:pt x="589540" y="443399"/>
                      </a:lnTo>
                      <a:lnTo>
                        <a:pt x="589418" y="442889"/>
                      </a:lnTo>
                      <a:lnTo>
                        <a:pt x="587779" y="435810"/>
                      </a:lnTo>
                      <a:lnTo>
                        <a:pt x="587585" y="433758"/>
                      </a:lnTo>
                      <a:lnTo>
                        <a:pt x="587670" y="428330"/>
                      </a:lnTo>
                      <a:lnTo>
                        <a:pt x="587718" y="428099"/>
                      </a:lnTo>
                      <a:lnTo>
                        <a:pt x="588507" y="426885"/>
                      </a:lnTo>
                      <a:lnTo>
                        <a:pt x="588714" y="426581"/>
                      </a:lnTo>
                      <a:lnTo>
                        <a:pt x="588872" y="426254"/>
                      </a:lnTo>
                      <a:lnTo>
                        <a:pt x="589673" y="424639"/>
                      </a:lnTo>
                      <a:lnTo>
                        <a:pt x="590426" y="423109"/>
                      </a:lnTo>
                      <a:lnTo>
                        <a:pt x="590280" y="421409"/>
                      </a:lnTo>
                      <a:lnTo>
                        <a:pt x="590171" y="420121"/>
                      </a:lnTo>
                      <a:lnTo>
                        <a:pt x="590062" y="418810"/>
                      </a:lnTo>
                      <a:lnTo>
                        <a:pt x="589406" y="417656"/>
                      </a:lnTo>
                      <a:lnTo>
                        <a:pt x="588653" y="416333"/>
                      </a:lnTo>
                      <a:lnTo>
                        <a:pt x="588386" y="415859"/>
                      </a:lnTo>
                      <a:lnTo>
                        <a:pt x="588046" y="415446"/>
                      </a:lnTo>
                      <a:lnTo>
                        <a:pt x="587196" y="414426"/>
                      </a:lnTo>
                      <a:lnTo>
                        <a:pt x="587281" y="413078"/>
                      </a:lnTo>
                      <a:lnTo>
                        <a:pt x="588520" y="406995"/>
                      </a:lnTo>
                      <a:lnTo>
                        <a:pt x="588641" y="406400"/>
                      </a:lnTo>
                      <a:lnTo>
                        <a:pt x="588641" y="405793"/>
                      </a:lnTo>
                      <a:lnTo>
                        <a:pt x="588641" y="404530"/>
                      </a:lnTo>
                      <a:lnTo>
                        <a:pt x="588641" y="403704"/>
                      </a:lnTo>
                      <a:lnTo>
                        <a:pt x="588423" y="402915"/>
                      </a:lnTo>
                      <a:lnTo>
                        <a:pt x="588070" y="401652"/>
                      </a:lnTo>
                      <a:lnTo>
                        <a:pt x="587888" y="401021"/>
                      </a:lnTo>
                      <a:lnTo>
                        <a:pt x="587585" y="400438"/>
                      </a:lnTo>
                      <a:lnTo>
                        <a:pt x="587257" y="399818"/>
                      </a:lnTo>
                      <a:lnTo>
                        <a:pt x="586455" y="396989"/>
                      </a:lnTo>
                      <a:lnTo>
                        <a:pt x="586225" y="396200"/>
                      </a:lnTo>
                      <a:lnTo>
                        <a:pt x="585800" y="395495"/>
                      </a:lnTo>
                      <a:lnTo>
                        <a:pt x="584998" y="394184"/>
                      </a:lnTo>
                      <a:lnTo>
                        <a:pt x="584209" y="392897"/>
                      </a:lnTo>
                      <a:lnTo>
                        <a:pt x="582910" y="392120"/>
                      </a:lnTo>
                      <a:lnTo>
                        <a:pt x="581538" y="391306"/>
                      </a:lnTo>
                      <a:lnTo>
                        <a:pt x="580481" y="390675"/>
                      </a:lnTo>
                      <a:lnTo>
                        <a:pt x="580275" y="390650"/>
                      </a:lnTo>
                      <a:lnTo>
                        <a:pt x="579680" y="387603"/>
                      </a:lnTo>
                      <a:lnTo>
                        <a:pt x="579582" y="387080"/>
                      </a:lnTo>
                      <a:lnTo>
                        <a:pt x="579388" y="386570"/>
                      </a:lnTo>
                      <a:lnTo>
                        <a:pt x="579097" y="385818"/>
                      </a:lnTo>
                      <a:lnTo>
                        <a:pt x="578963" y="385478"/>
                      </a:lnTo>
                      <a:lnTo>
                        <a:pt x="578793" y="385162"/>
                      </a:lnTo>
                      <a:lnTo>
                        <a:pt x="578502" y="384615"/>
                      </a:lnTo>
                      <a:lnTo>
                        <a:pt x="577348" y="382442"/>
                      </a:lnTo>
                      <a:lnTo>
                        <a:pt x="575017" y="381689"/>
                      </a:lnTo>
                      <a:lnTo>
                        <a:pt x="573827" y="381300"/>
                      </a:lnTo>
                      <a:lnTo>
                        <a:pt x="572175" y="381288"/>
                      </a:lnTo>
                      <a:lnTo>
                        <a:pt x="570779" y="381422"/>
                      </a:lnTo>
                      <a:lnTo>
                        <a:pt x="570087" y="381738"/>
                      </a:lnTo>
                      <a:lnTo>
                        <a:pt x="569892" y="381701"/>
                      </a:lnTo>
                      <a:lnTo>
                        <a:pt x="566784" y="381155"/>
                      </a:lnTo>
                      <a:lnTo>
                        <a:pt x="566274" y="381070"/>
                      </a:lnTo>
                      <a:lnTo>
                        <a:pt x="565752" y="381070"/>
                      </a:lnTo>
                      <a:lnTo>
                        <a:pt x="564829" y="381070"/>
                      </a:lnTo>
                      <a:lnTo>
                        <a:pt x="563080" y="381203"/>
                      </a:lnTo>
                      <a:lnTo>
                        <a:pt x="561659" y="381325"/>
                      </a:lnTo>
                      <a:lnTo>
                        <a:pt x="561137" y="381653"/>
                      </a:lnTo>
                      <a:lnTo>
                        <a:pt x="560409" y="381033"/>
                      </a:lnTo>
                      <a:lnTo>
                        <a:pt x="555187" y="374974"/>
                      </a:lnTo>
                      <a:lnTo>
                        <a:pt x="554835" y="374561"/>
                      </a:lnTo>
                      <a:lnTo>
                        <a:pt x="554422" y="374221"/>
                      </a:lnTo>
                      <a:lnTo>
                        <a:pt x="550755" y="371246"/>
                      </a:lnTo>
                      <a:lnTo>
                        <a:pt x="554289" y="369704"/>
                      </a:lnTo>
                      <a:lnTo>
                        <a:pt x="556183" y="369425"/>
                      </a:lnTo>
                      <a:lnTo>
                        <a:pt x="557980" y="369364"/>
                      </a:lnTo>
                      <a:lnTo>
                        <a:pt x="564732" y="371185"/>
                      </a:lnTo>
                      <a:lnTo>
                        <a:pt x="568885" y="372315"/>
                      </a:lnTo>
                      <a:lnTo>
                        <a:pt x="571325" y="368769"/>
                      </a:lnTo>
                      <a:lnTo>
                        <a:pt x="574130" y="364689"/>
                      </a:lnTo>
                      <a:lnTo>
                        <a:pt x="574628" y="363972"/>
                      </a:lnTo>
                      <a:lnTo>
                        <a:pt x="574895" y="363147"/>
                      </a:lnTo>
                      <a:lnTo>
                        <a:pt x="575818" y="360342"/>
                      </a:lnTo>
                      <a:lnTo>
                        <a:pt x="575976" y="359892"/>
                      </a:lnTo>
                      <a:lnTo>
                        <a:pt x="576049" y="359419"/>
                      </a:lnTo>
                      <a:lnTo>
                        <a:pt x="576280" y="358010"/>
                      </a:lnTo>
                      <a:lnTo>
                        <a:pt x="576401" y="357269"/>
                      </a:lnTo>
                      <a:lnTo>
                        <a:pt x="576340" y="356517"/>
                      </a:lnTo>
                      <a:lnTo>
                        <a:pt x="576231" y="355169"/>
                      </a:lnTo>
                      <a:lnTo>
                        <a:pt x="576170" y="354416"/>
                      </a:lnTo>
                      <a:lnTo>
                        <a:pt x="575915" y="353699"/>
                      </a:lnTo>
                      <a:lnTo>
                        <a:pt x="575454" y="352364"/>
                      </a:lnTo>
                      <a:lnTo>
                        <a:pt x="575053" y="351198"/>
                      </a:lnTo>
                      <a:lnTo>
                        <a:pt x="574227" y="350275"/>
                      </a:lnTo>
                      <a:lnTo>
                        <a:pt x="573487" y="349449"/>
                      </a:lnTo>
                      <a:lnTo>
                        <a:pt x="572673" y="348539"/>
                      </a:lnTo>
                      <a:lnTo>
                        <a:pt x="571568" y="348017"/>
                      </a:lnTo>
                      <a:lnTo>
                        <a:pt x="570354" y="347446"/>
                      </a:lnTo>
                      <a:lnTo>
                        <a:pt x="569856" y="347203"/>
                      </a:lnTo>
                      <a:lnTo>
                        <a:pt x="569334" y="347069"/>
                      </a:lnTo>
                      <a:lnTo>
                        <a:pt x="568071" y="346729"/>
                      </a:lnTo>
                      <a:lnTo>
                        <a:pt x="566432" y="343014"/>
                      </a:lnTo>
                      <a:lnTo>
                        <a:pt x="566274" y="342662"/>
                      </a:lnTo>
                      <a:lnTo>
                        <a:pt x="566067" y="342334"/>
                      </a:lnTo>
                      <a:lnTo>
                        <a:pt x="564562" y="339832"/>
                      </a:lnTo>
                      <a:lnTo>
                        <a:pt x="564319" y="339431"/>
                      </a:lnTo>
                      <a:lnTo>
                        <a:pt x="564027" y="339079"/>
                      </a:lnTo>
                      <a:lnTo>
                        <a:pt x="562254" y="336954"/>
                      </a:lnTo>
                      <a:lnTo>
                        <a:pt x="561854" y="336469"/>
                      </a:lnTo>
                      <a:lnTo>
                        <a:pt x="561368" y="336080"/>
                      </a:lnTo>
                      <a:lnTo>
                        <a:pt x="552965" y="329401"/>
                      </a:lnTo>
                      <a:lnTo>
                        <a:pt x="549237" y="325467"/>
                      </a:lnTo>
                      <a:lnTo>
                        <a:pt x="548885" y="325091"/>
                      </a:lnTo>
                      <a:lnTo>
                        <a:pt x="548472" y="324787"/>
                      </a:lnTo>
                      <a:lnTo>
                        <a:pt x="538442" y="317271"/>
                      </a:lnTo>
                      <a:lnTo>
                        <a:pt x="535504" y="314417"/>
                      </a:lnTo>
                      <a:lnTo>
                        <a:pt x="534350" y="312705"/>
                      </a:lnTo>
                      <a:lnTo>
                        <a:pt x="533731" y="311078"/>
                      </a:lnTo>
                      <a:lnTo>
                        <a:pt x="533294" y="309378"/>
                      </a:lnTo>
                      <a:lnTo>
                        <a:pt x="533160" y="308528"/>
                      </a:lnTo>
                      <a:lnTo>
                        <a:pt x="533184" y="307435"/>
                      </a:lnTo>
                      <a:lnTo>
                        <a:pt x="533318" y="306779"/>
                      </a:lnTo>
                      <a:lnTo>
                        <a:pt x="533597" y="306136"/>
                      </a:lnTo>
                      <a:lnTo>
                        <a:pt x="535625" y="302626"/>
                      </a:lnTo>
                      <a:lnTo>
                        <a:pt x="536645" y="300853"/>
                      </a:lnTo>
                      <a:lnTo>
                        <a:pt x="536390" y="298826"/>
                      </a:lnTo>
                      <a:lnTo>
                        <a:pt x="536147" y="296895"/>
                      </a:lnTo>
                      <a:lnTo>
                        <a:pt x="535783" y="293981"/>
                      </a:lnTo>
                      <a:lnTo>
                        <a:pt x="533269" y="292463"/>
                      </a:lnTo>
                      <a:lnTo>
                        <a:pt x="532140" y="291771"/>
                      </a:lnTo>
                      <a:lnTo>
                        <a:pt x="532346" y="285638"/>
                      </a:lnTo>
                      <a:lnTo>
                        <a:pt x="532419" y="285225"/>
                      </a:lnTo>
                      <a:lnTo>
                        <a:pt x="534666" y="282700"/>
                      </a:lnTo>
                      <a:lnTo>
                        <a:pt x="535164" y="282141"/>
                      </a:lnTo>
                      <a:lnTo>
                        <a:pt x="535504" y="281485"/>
                      </a:lnTo>
                      <a:lnTo>
                        <a:pt x="536779" y="279057"/>
                      </a:lnTo>
                      <a:lnTo>
                        <a:pt x="538491" y="275815"/>
                      </a:lnTo>
                      <a:lnTo>
                        <a:pt x="536414" y="272791"/>
                      </a:lnTo>
                      <a:lnTo>
                        <a:pt x="535504" y="271467"/>
                      </a:lnTo>
                      <a:lnTo>
                        <a:pt x="534277" y="269683"/>
                      </a:lnTo>
                      <a:lnTo>
                        <a:pt x="532201" y="269075"/>
                      </a:lnTo>
                      <a:lnTo>
                        <a:pt x="530404" y="268553"/>
                      </a:lnTo>
                      <a:lnTo>
                        <a:pt x="529408" y="268262"/>
                      </a:lnTo>
                      <a:lnTo>
                        <a:pt x="528983" y="266537"/>
                      </a:lnTo>
                      <a:lnTo>
                        <a:pt x="528801" y="265785"/>
                      </a:lnTo>
                      <a:lnTo>
                        <a:pt x="528436" y="265105"/>
                      </a:lnTo>
                      <a:lnTo>
                        <a:pt x="527064" y="262555"/>
                      </a:lnTo>
                      <a:lnTo>
                        <a:pt x="526761" y="261996"/>
                      </a:lnTo>
                      <a:lnTo>
                        <a:pt x="526348" y="261510"/>
                      </a:lnTo>
                      <a:lnTo>
                        <a:pt x="525425" y="260417"/>
                      </a:lnTo>
                      <a:lnTo>
                        <a:pt x="524927" y="259835"/>
                      </a:lnTo>
                      <a:lnTo>
                        <a:pt x="524308" y="259385"/>
                      </a:lnTo>
                      <a:lnTo>
                        <a:pt x="523446" y="258778"/>
                      </a:lnTo>
                      <a:lnTo>
                        <a:pt x="521430" y="257345"/>
                      </a:lnTo>
                      <a:lnTo>
                        <a:pt x="518989" y="257722"/>
                      </a:lnTo>
                      <a:lnTo>
                        <a:pt x="516743" y="258074"/>
                      </a:lnTo>
                      <a:lnTo>
                        <a:pt x="516561" y="258232"/>
                      </a:lnTo>
                      <a:lnTo>
                        <a:pt x="515577" y="257576"/>
                      </a:lnTo>
                      <a:lnTo>
                        <a:pt x="514496" y="256860"/>
                      </a:lnTo>
                      <a:lnTo>
                        <a:pt x="513391" y="256119"/>
                      </a:lnTo>
                      <a:lnTo>
                        <a:pt x="512080" y="255912"/>
                      </a:lnTo>
                      <a:lnTo>
                        <a:pt x="509494" y="255512"/>
                      </a:lnTo>
                      <a:lnTo>
                        <a:pt x="508716" y="255390"/>
                      </a:lnTo>
                      <a:lnTo>
                        <a:pt x="507939" y="255463"/>
                      </a:lnTo>
                      <a:lnTo>
                        <a:pt x="507684" y="255487"/>
                      </a:lnTo>
                      <a:lnTo>
                        <a:pt x="507417" y="255002"/>
                      </a:lnTo>
                      <a:lnTo>
                        <a:pt x="506591" y="254310"/>
                      </a:lnTo>
                      <a:lnTo>
                        <a:pt x="505450" y="253362"/>
                      </a:lnTo>
                      <a:lnTo>
                        <a:pt x="503313" y="251590"/>
                      </a:lnTo>
                      <a:lnTo>
                        <a:pt x="500568" y="252051"/>
                      </a:lnTo>
                      <a:lnTo>
                        <a:pt x="499718" y="252197"/>
                      </a:lnTo>
                      <a:lnTo>
                        <a:pt x="496367" y="245542"/>
                      </a:lnTo>
                      <a:lnTo>
                        <a:pt x="488899" y="232039"/>
                      </a:lnTo>
                      <a:lnTo>
                        <a:pt x="488401" y="231141"/>
                      </a:lnTo>
                      <a:lnTo>
                        <a:pt x="487624" y="230449"/>
                      </a:lnTo>
                      <a:lnTo>
                        <a:pt x="485050" y="228154"/>
                      </a:lnTo>
                      <a:lnTo>
                        <a:pt x="480362" y="223964"/>
                      </a:lnTo>
                      <a:lnTo>
                        <a:pt x="476343" y="228797"/>
                      </a:lnTo>
                      <a:lnTo>
                        <a:pt x="475688" y="229587"/>
                      </a:lnTo>
                      <a:lnTo>
                        <a:pt x="472457" y="230400"/>
                      </a:lnTo>
                      <a:lnTo>
                        <a:pt x="469519" y="231153"/>
                      </a:lnTo>
                      <a:lnTo>
                        <a:pt x="468353" y="233946"/>
                      </a:lnTo>
                      <a:lnTo>
                        <a:pt x="467382" y="236265"/>
                      </a:lnTo>
                      <a:lnTo>
                        <a:pt x="466738" y="237795"/>
                      </a:lnTo>
                      <a:lnTo>
                        <a:pt x="466969" y="239434"/>
                      </a:lnTo>
                      <a:lnTo>
                        <a:pt x="467491" y="243247"/>
                      </a:lnTo>
                      <a:lnTo>
                        <a:pt x="466398" y="244049"/>
                      </a:lnTo>
                      <a:lnTo>
                        <a:pt x="465196" y="244923"/>
                      </a:lnTo>
                      <a:lnTo>
                        <a:pt x="463812" y="245943"/>
                      </a:lnTo>
                      <a:lnTo>
                        <a:pt x="463168" y="247534"/>
                      </a:lnTo>
                      <a:lnTo>
                        <a:pt x="462476" y="249222"/>
                      </a:lnTo>
                      <a:lnTo>
                        <a:pt x="462245" y="249792"/>
                      </a:lnTo>
                      <a:lnTo>
                        <a:pt x="462136" y="250387"/>
                      </a:lnTo>
                      <a:lnTo>
                        <a:pt x="462100" y="250570"/>
                      </a:lnTo>
                      <a:lnTo>
                        <a:pt x="461492" y="250302"/>
                      </a:lnTo>
                      <a:lnTo>
                        <a:pt x="460144" y="249720"/>
                      </a:lnTo>
                      <a:lnTo>
                        <a:pt x="458663" y="249817"/>
                      </a:lnTo>
                      <a:lnTo>
                        <a:pt x="456490" y="249962"/>
                      </a:lnTo>
                      <a:lnTo>
                        <a:pt x="455894" y="249999"/>
                      </a:lnTo>
                      <a:lnTo>
                        <a:pt x="455324" y="250157"/>
                      </a:lnTo>
                      <a:lnTo>
                        <a:pt x="453830" y="250557"/>
                      </a:lnTo>
                      <a:lnTo>
                        <a:pt x="453417" y="250667"/>
                      </a:lnTo>
                      <a:lnTo>
                        <a:pt x="453029" y="250837"/>
                      </a:lnTo>
                      <a:lnTo>
                        <a:pt x="451705" y="251407"/>
                      </a:lnTo>
                      <a:lnTo>
                        <a:pt x="451013" y="250995"/>
                      </a:lnTo>
                      <a:lnTo>
                        <a:pt x="448026" y="247862"/>
                      </a:lnTo>
                      <a:lnTo>
                        <a:pt x="446593" y="245652"/>
                      </a:lnTo>
                      <a:lnTo>
                        <a:pt x="445816" y="243502"/>
                      </a:lnTo>
                      <a:lnTo>
                        <a:pt x="443084" y="231287"/>
                      </a:lnTo>
                      <a:lnTo>
                        <a:pt x="442999" y="230874"/>
                      </a:lnTo>
                      <a:lnTo>
                        <a:pt x="442853" y="230473"/>
                      </a:lnTo>
                      <a:lnTo>
                        <a:pt x="432459" y="202763"/>
                      </a:lnTo>
                      <a:lnTo>
                        <a:pt x="432301" y="202350"/>
                      </a:lnTo>
                      <a:lnTo>
                        <a:pt x="432082" y="201961"/>
                      </a:lnTo>
                      <a:lnTo>
                        <a:pt x="408197" y="158866"/>
                      </a:lnTo>
                      <a:lnTo>
                        <a:pt x="406424" y="155478"/>
                      </a:lnTo>
                      <a:lnTo>
                        <a:pt x="406497" y="155478"/>
                      </a:lnTo>
                      <a:lnTo>
                        <a:pt x="408233" y="155442"/>
                      </a:lnTo>
                      <a:lnTo>
                        <a:pt x="409678" y="154507"/>
                      </a:lnTo>
                      <a:lnTo>
                        <a:pt x="410893" y="153730"/>
                      </a:lnTo>
                      <a:lnTo>
                        <a:pt x="413674" y="151932"/>
                      </a:lnTo>
                      <a:lnTo>
                        <a:pt x="413674" y="148630"/>
                      </a:lnTo>
                      <a:lnTo>
                        <a:pt x="413674" y="147427"/>
                      </a:lnTo>
                      <a:lnTo>
                        <a:pt x="413674" y="146092"/>
                      </a:lnTo>
                      <a:lnTo>
                        <a:pt x="413103" y="144865"/>
                      </a:lnTo>
                      <a:lnTo>
                        <a:pt x="412350" y="143250"/>
                      </a:lnTo>
                      <a:lnTo>
                        <a:pt x="405258" y="130561"/>
                      </a:lnTo>
                      <a:lnTo>
                        <a:pt x="405173" y="130391"/>
                      </a:lnTo>
                      <a:lnTo>
                        <a:pt x="404991" y="130136"/>
                      </a:lnTo>
                      <a:lnTo>
                        <a:pt x="398216" y="120567"/>
                      </a:lnTo>
                      <a:lnTo>
                        <a:pt x="396358" y="117240"/>
                      </a:lnTo>
                      <a:lnTo>
                        <a:pt x="395581" y="115868"/>
                      </a:lnTo>
                      <a:lnTo>
                        <a:pt x="394233" y="115054"/>
                      </a:lnTo>
                      <a:lnTo>
                        <a:pt x="390784" y="112966"/>
                      </a:lnTo>
                      <a:lnTo>
                        <a:pt x="390432" y="112747"/>
                      </a:lnTo>
                      <a:lnTo>
                        <a:pt x="390055" y="112589"/>
                      </a:lnTo>
                      <a:lnTo>
                        <a:pt x="379285" y="107914"/>
                      </a:lnTo>
                      <a:lnTo>
                        <a:pt x="370432" y="102596"/>
                      </a:lnTo>
                      <a:lnTo>
                        <a:pt x="370056" y="102365"/>
                      </a:lnTo>
                      <a:lnTo>
                        <a:pt x="369643" y="102195"/>
                      </a:lnTo>
                      <a:lnTo>
                        <a:pt x="362066" y="99026"/>
                      </a:lnTo>
                      <a:lnTo>
                        <a:pt x="361665" y="98613"/>
                      </a:lnTo>
                      <a:lnTo>
                        <a:pt x="359310" y="96184"/>
                      </a:lnTo>
                      <a:lnTo>
                        <a:pt x="356007" y="96913"/>
                      </a:lnTo>
                      <a:lnTo>
                        <a:pt x="354889" y="97168"/>
                      </a:lnTo>
                      <a:lnTo>
                        <a:pt x="352449" y="96245"/>
                      </a:lnTo>
                      <a:lnTo>
                        <a:pt x="351866" y="96026"/>
                      </a:lnTo>
                      <a:lnTo>
                        <a:pt x="351247" y="95929"/>
                      </a:lnTo>
                      <a:lnTo>
                        <a:pt x="344082" y="94824"/>
                      </a:lnTo>
                      <a:lnTo>
                        <a:pt x="350409" y="88109"/>
                      </a:lnTo>
                      <a:lnTo>
                        <a:pt x="350846" y="87648"/>
                      </a:lnTo>
                      <a:lnTo>
                        <a:pt x="351174" y="87113"/>
                      </a:lnTo>
                      <a:lnTo>
                        <a:pt x="353032" y="84078"/>
                      </a:lnTo>
                      <a:lnTo>
                        <a:pt x="353202" y="83811"/>
                      </a:lnTo>
                      <a:lnTo>
                        <a:pt x="353335" y="83531"/>
                      </a:lnTo>
                      <a:lnTo>
                        <a:pt x="354647" y="80775"/>
                      </a:lnTo>
                      <a:lnTo>
                        <a:pt x="354829" y="80398"/>
                      </a:lnTo>
                      <a:lnTo>
                        <a:pt x="354950" y="79998"/>
                      </a:lnTo>
                      <a:lnTo>
                        <a:pt x="355873" y="77071"/>
                      </a:lnTo>
                      <a:lnTo>
                        <a:pt x="356322" y="75675"/>
                      </a:lnTo>
                      <a:lnTo>
                        <a:pt x="356080" y="74242"/>
                      </a:lnTo>
                      <a:lnTo>
                        <a:pt x="355849" y="72858"/>
                      </a:lnTo>
                      <a:lnTo>
                        <a:pt x="355339" y="69810"/>
                      </a:lnTo>
                      <a:lnTo>
                        <a:pt x="352570" y="68425"/>
                      </a:lnTo>
                      <a:lnTo>
                        <a:pt x="351477" y="67879"/>
                      </a:lnTo>
                      <a:lnTo>
                        <a:pt x="349984" y="67126"/>
                      </a:lnTo>
                      <a:lnTo>
                        <a:pt x="348320" y="67248"/>
                      </a:lnTo>
                      <a:lnTo>
                        <a:pt x="347106" y="67333"/>
                      </a:lnTo>
                      <a:lnTo>
                        <a:pt x="346147" y="67405"/>
                      </a:lnTo>
                      <a:lnTo>
                        <a:pt x="345928" y="67490"/>
                      </a:lnTo>
                      <a:lnTo>
                        <a:pt x="346110" y="66215"/>
                      </a:lnTo>
                      <a:lnTo>
                        <a:pt x="357294" y="63763"/>
                      </a:lnTo>
                      <a:lnTo>
                        <a:pt x="357767" y="63665"/>
                      </a:lnTo>
                      <a:lnTo>
                        <a:pt x="358229" y="63483"/>
                      </a:lnTo>
                      <a:lnTo>
                        <a:pt x="361787" y="62075"/>
                      </a:lnTo>
                      <a:lnTo>
                        <a:pt x="362297" y="61880"/>
                      </a:lnTo>
                      <a:lnTo>
                        <a:pt x="362758" y="61601"/>
                      </a:lnTo>
                      <a:lnTo>
                        <a:pt x="365745" y="59755"/>
                      </a:lnTo>
                      <a:lnTo>
                        <a:pt x="366122" y="59513"/>
                      </a:lnTo>
                      <a:lnTo>
                        <a:pt x="366462" y="59233"/>
                      </a:lnTo>
                      <a:lnTo>
                        <a:pt x="369267" y="56865"/>
                      </a:lnTo>
                      <a:lnTo>
                        <a:pt x="369607" y="56574"/>
                      </a:lnTo>
                      <a:lnTo>
                        <a:pt x="369898" y="56246"/>
                      </a:lnTo>
                      <a:lnTo>
                        <a:pt x="376395" y="48912"/>
                      </a:lnTo>
                      <a:lnTo>
                        <a:pt x="390177" y="38457"/>
                      </a:lnTo>
                      <a:lnTo>
                        <a:pt x="398835" y="33806"/>
                      </a:lnTo>
                      <a:lnTo>
                        <a:pt x="399527" y="33429"/>
                      </a:lnTo>
                      <a:lnTo>
                        <a:pt x="400098" y="32895"/>
                      </a:lnTo>
                      <a:lnTo>
                        <a:pt x="401361" y="31717"/>
                      </a:lnTo>
                      <a:lnTo>
                        <a:pt x="402854" y="30321"/>
                      </a:lnTo>
                      <a:lnTo>
                        <a:pt x="403194" y="28305"/>
                      </a:lnTo>
                      <a:lnTo>
                        <a:pt x="403425" y="26957"/>
                      </a:lnTo>
                      <a:lnTo>
                        <a:pt x="403680" y="25476"/>
                      </a:lnTo>
                      <a:lnTo>
                        <a:pt x="403218" y="24043"/>
                      </a:lnTo>
                      <a:lnTo>
                        <a:pt x="402818" y="22804"/>
                      </a:lnTo>
                      <a:lnTo>
                        <a:pt x="402648" y="22282"/>
                      </a:lnTo>
                      <a:lnTo>
                        <a:pt x="402393" y="21797"/>
                      </a:lnTo>
                      <a:lnTo>
                        <a:pt x="394694" y="7529"/>
                      </a:lnTo>
                      <a:lnTo>
                        <a:pt x="394488" y="7140"/>
                      </a:lnTo>
                      <a:lnTo>
                        <a:pt x="394221" y="6788"/>
                      </a:lnTo>
                      <a:lnTo>
                        <a:pt x="393419" y="5719"/>
                      </a:lnTo>
                      <a:lnTo>
                        <a:pt x="391233" y="3254"/>
                      </a:lnTo>
                      <a:lnTo>
                        <a:pt x="389970" y="1858"/>
                      </a:lnTo>
                      <a:lnTo>
                        <a:pt x="388137" y="1409"/>
                      </a:lnTo>
                      <a:lnTo>
                        <a:pt x="386400" y="984"/>
                      </a:lnTo>
                      <a:lnTo>
                        <a:pt x="382466" y="0"/>
                      </a:lnTo>
                      <a:lnTo>
                        <a:pt x="382466" y="0"/>
                      </a:lnTo>
                      <a:close/>
                    </a:path>
                  </a:pathLst>
                </a:custGeom>
                <a:solidFill>
                  <a:srgbClr val="FFFFFF"/>
                </a:solidFill>
                <a:ln w="12138" cap="flat">
                  <a:noFill/>
                  <a:prstDash val="solid"/>
                  <a:miter/>
                </a:ln>
              </p:spPr>
              <p:txBody>
                <a:bodyPr rtlCol="0" anchor="ctr"/>
                <a:lstStyle/>
                <a:p>
                  <a:endParaRPr lang="en-US"/>
                </a:p>
              </p:txBody>
            </p:sp>
          </p:grpSp>
          <p:grpSp>
            <p:nvGrpSpPr>
              <p:cNvPr id="269" name="Graphic 280">
                <a:extLst>
                  <a:ext uri="{FF2B5EF4-FFF2-40B4-BE49-F238E27FC236}">
                    <a16:creationId xmlns:a16="http://schemas.microsoft.com/office/drawing/2014/main" id="{5FCB9E1C-0027-4BB5-911D-820C76E2014E}"/>
                  </a:ext>
                </a:extLst>
              </p:cNvPr>
              <p:cNvGrpSpPr/>
              <p:nvPr/>
            </p:nvGrpSpPr>
            <p:grpSpPr>
              <a:xfrm>
                <a:off x="4746433" y="1464748"/>
                <a:ext cx="654212" cy="605483"/>
                <a:chOff x="4746433" y="1464748"/>
                <a:chExt cx="654212" cy="605483"/>
              </a:xfrm>
            </p:grpSpPr>
            <p:sp>
              <p:nvSpPr>
                <p:cNvPr id="310" name="Freeform: Shape 309">
                  <a:extLst>
                    <a:ext uri="{FF2B5EF4-FFF2-40B4-BE49-F238E27FC236}">
                      <a16:creationId xmlns:a16="http://schemas.microsoft.com/office/drawing/2014/main" id="{27E6C124-E769-40E3-A0EA-0C56CC657E14}"/>
                    </a:ext>
                  </a:extLst>
                </p:cNvPr>
                <p:cNvSpPr/>
                <p:nvPr/>
              </p:nvSpPr>
              <p:spPr>
                <a:xfrm>
                  <a:off x="4749748" y="1467869"/>
                  <a:ext cx="647692" cy="598658"/>
                </a:xfrm>
                <a:custGeom>
                  <a:avLst/>
                  <a:gdLst>
                    <a:gd name="connsiteX0" fmla="*/ 378119 w 647692"/>
                    <a:gd name="connsiteY0" fmla="*/ 597979 h 598658"/>
                    <a:gd name="connsiteX1" fmla="*/ 369619 w 647692"/>
                    <a:gd name="connsiteY1" fmla="*/ 593523 h 598658"/>
                    <a:gd name="connsiteX2" fmla="*/ 365187 w 647692"/>
                    <a:gd name="connsiteY2" fmla="*/ 589552 h 598658"/>
                    <a:gd name="connsiteX3" fmla="*/ 363341 w 647692"/>
                    <a:gd name="connsiteY3" fmla="*/ 589588 h 598658"/>
                    <a:gd name="connsiteX4" fmla="*/ 362782 w 647692"/>
                    <a:gd name="connsiteY4" fmla="*/ 590098 h 598658"/>
                    <a:gd name="connsiteX5" fmla="*/ 359710 w 647692"/>
                    <a:gd name="connsiteY5" fmla="*/ 590815 h 598658"/>
                    <a:gd name="connsiteX6" fmla="*/ 356796 w 647692"/>
                    <a:gd name="connsiteY6" fmla="*/ 591070 h 598658"/>
                    <a:gd name="connsiteX7" fmla="*/ 352765 w 647692"/>
                    <a:gd name="connsiteY7" fmla="*/ 590936 h 598658"/>
                    <a:gd name="connsiteX8" fmla="*/ 350239 w 647692"/>
                    <a:gd name="connsiteY8" fmla="*/ 590025 h 598658"/>
                    <a:gd name="connsiteX9" fmla="*/ 348842 w 647692"/>
                    <a:gd name="connsiteY9" fmla="*/ 589382 h 598658"/>
                    <a:gd name="connsiteX10" fmla="*/ 348369 w 647692"/>
                    <a:gd name="connsiteY10" fmla="*/ 587087 h 598658"/>
                    <a:gd name="connsiteX11" fmla="*/ 345673 w 647692"/>
                    <a:gd name="connsiteY11" fmla="*/ 588253 h 598658"/>
                    <a:gd name="connsiteX12" fmla="*/ 340476 w 647692"/>
                    <a:gd name="connsiteY12" fmla="*/ 588690 h 598658"/>
                    <a:gd name="connsiteX13" fmla="*/ 337780 w 647692"/>
                    <a:gd name="connsiteY13" fmla="*/ 586735 h 598658"/>
                    <a:gd name="connsiteX14" fmla="*/ 335509 w 647692"/>
                    <a:gd name="connsiteY14" fmla="*/ 583869 h 598658"/>
                    <a:gd name="connsiteX15" fmla="*/ 334623 w 647692"/>
                    <a:gd name="connsiteY15" fmla="*/ 583505 h 598658"/>
                    <a:gd name="connsiteX16" fmla="*/ 326414 w 647692"/>
                    <a:gd name="connsiteY16" fmla="*/ 582193 h 598658"/>
                    <a:gd name="connsiteX17" fmla="*/ 323682 w 647692"/>
                    <a:gd name="connsiteY17" fmla="*/ 581185 h 598658"/>
                    <a:gd name="connsiteX18" fmla="*/ 320173 w 647692"/>
                    <a:gd name="connsiteY18" fmla="*/ 578902 h 598658"/>
                    <a:gd name="connsiteX19" fmla="*/ 315364 w 647692"/>
                    <a:gd name="connsiteY19" fmla="*/ 576644 h 598658"/>
                    <a:gd name="connsiteX20" fmla="*/ 310774 w 647692"/>
                    <a:gd name="connsiteY20" fmla="*/ 579255 h 598658"/>
                    <a:gd name="connsiteX21" fmla="*/ 307156 w 647692"/>
                    <a:gd name="connsiteY21" fmla="*/ 578490 h 598658"/>
                    <a:gd name="connsiteX22" fmla="*/ 305504 w 647692"/>
                    <a:gd name="connsiteY22" fmla="*/ 575770 h 598658"/>
                    <a:gd name="connsiteX23" fmla="*/ 305116 w 647692"/>
                    <a:gd name="connsiteY23" fmla="*/ 574349 h 598658"/>
                    <a:gd name="connsiteX24" fmla="*/ 304921 w 647692"/>
                    <a:gd name="connsiteY24" fmla="*/ 572588 h 598658"/>
                    <a:gd name="connsiteX25" fmla="*/ 295875 w 647692"/>
                    <a:gd name="connsiteY25" fmla="*/ 565448 h 598658"/>
                    <a:gd name="connsiteX26" fmla="*/ 292390 w 647692"/>
                    <a:gd name="connsiteY26" fmla="*/ 561247 h 598658"/>
                    <a:gd name="connsiteX27" fmla="*/ 291200 w 647692"/>
                    <a:gd name="connsiteY27" fmla="*/ 556462 h 598658"/>
                    <a:gd name="connsiteX28" fmla="*/ 293507 w 647692"/>
                    <a:gd name="connsiteY28" fmla="*/ 552358 h 598658"/>
                    <a:gd name="connsiteX29" fmla="*/ 294527 w 647692"/>
                    <a:gd name="connsiteY29" fmla="*/ 550051 h 598658"/>
                    <a:gd name="connsiteX30" fmla="*/ 294818 w 647692"/>
                    <a:gd name="connsiteY30" fmla="*/ 547902 h 598658"/>
                    <a:gd name="connsiteX31" fmla="*/ 294442 w 647692"/>
                    <a:gd name="connsiteY31" fmla="*/ 542874 h 598658"/>
                    <a:gd name="connsiteX32" fmla="*/ 295207 w 647692"/>
                    <a:gd name="connsiteY32" fmla="*/ 536839 h 598658"/>
                    <a:gd name="connsiteX33" fmla="*/ 294855 w 647692"/>
                    <a:gd name="connsiteY33" fmla="*/ 534484 h 598658"/>
                    <a:gd name="connsiteX34" fmla="*/ 293762 w 647692"/>
                    <a:gd name="connsiteY34" fmla="*/ 532565 h 598658"/>
                    <a:gd name="connsiteX35" fmla="*/ 291248 w 647692"/>
                    <a:gd name="connsiteY35" fmla="*/ 529274 h 598658"/>
                    <a:gd name="connsiteX36" fmla="*/ 289390 w 647692"/>
                    <a:gd name="connsiteY36" fmla="*/ 527331 h 598658"/>
                    <a:gd name="connsiteX37" fmla="*/ 284715 w 647692"/>
                    <a:gd name="connsiteY37" fmla="*/ 524490 h 598658"/>
                    <a:gd name="connsiteX38" fmla="*/ 276689 w 647692"/>
                    <a:gd name="connsiteY38" fmla="*/ 519985 h 598658"/>
                    <a:gd name="connsiteX39" fmla="*/ 271419 w 647692"/>
                    <a:gd name="connsiteY39" fmla="*/ 518151 h 598658"/>
                    <a:gd name="connsiteX40" fmla="*/ 267849 w 647692"/>
                    <a:gd name="connsiteY40" fmla="*/ 515868 h 598658"/>
                    <a:gd name="connsiteX41" fmla="*/ 266671 w 647692"/>
                    <a:gd name="connsiteY41" fmla="*/ 513027 h 598658"/>
                    <a:gd name="connsiteX42" fmla="*/ 266756 w 647692"/>
                    <a:gd name="connsiteY42" fmla="*/ 511084 h 598658"/>
                    <a:gd name="connsiteX43" fmla="*/ 266562 w 647692"/>
                    <a:gd name="connsiteY43" fmla="*/ 510635 h 598658"/>
                    <a:gd name="connsiteX44" fmla="*/ 265566 w 647692"/>
                    <a:gd name="connsiteY44" fmla="*/ 509785 h 598658"/>
                    <a:gd name="connsiteX45" fmla="*/ 264352 w 647692"/>
                    <a:gd name="connsiteY45" fmla="*/ 509226 h 598658"/>
                    <a:gd name="connsiteX46" fmla="*/ 262555 w 647692"/>
                    <a:gd name="connsiteY46" fmla="*/ 508850 h 598658"/>
                    <a:gd name="connsiteX47" fmla="*/ 260126 w 647692"/>
                    <a:gd name="connsiteY47" fmla="*/ 507393 h 598658"/>
                    <a:gd name="connsiteX48" fmla="*/ 258074 w 647692"/>
                    <a:gd name="connsiteY48" fmla="*/ 505037 h 598658"/>
                    <a:gd name="connsiteX49" fmla="*/ 256690 w 647692"/>
                    <a:gd name="connsiteY49" fmla="*/ 501856 h 598658"/>
                    <a:gd name="connsiteX50" fmla="*/ 255694 w 647692"/>
                    <a:gd name="connsiteY50" fmla="*/ 497593 h 598658"/>
                    <a:gd name="connsiteX51" fmla="*/ 254856 w 647692"/>
                    <a:gd name="connsiteY51" fmla="*/ 495966 h 598658"/>
                    <a:gd name="connsiteX52" fmla="*/ 253314 w 647692"/>
                    <a:gd name="connsiteY52" fmla="*/ 494048 h 598658"/>
                    <a:gd name="connsiteX53" fmla="*/ 250861 w 647692"/>
                    <a:gd name="connsiteY53" fmla="*/ 491534 h 598658"/>
                    <a:gd name="connsiteX54" fmla="*/ 248833 w 647692"/>
                    <a:gd name="connsiteY54" fmla="*/ 491194 h 598658"/>
                    <a:gd name="connsiteX55" fmla="*/ 247194 w 647692"/>
                    <a:gd name="connsiteY55" fmla="*/ 491473 h 598658"/>
                    <a:gd name="connsiteX56" fmla="*/ 244401 w 647692"/>
                    <a:gd name="connsiteY56" fmla="*/ 492323 h 598658"/>
                    <a:gd name="connsiteX57" fmla="*/ 240940 w 647692"/>
                    <a:gd name="connsiteY57" fmla="*/ 491825 h 598658"/>
                    <a:gd name="connsiteX58" fmla="*/ 238159 w 647692"/>
                    <a:gd name="connsiteY58" fmla="*/ 490550 h 598658"/>
                    <a:gd name="connsiteX59" fmla="*/ 235719 w 647692"/>
                    <a:gd name="connsiteY59" fmla="*/ 488122 h 598658"/>
                    <a:gd name="connsiteX60" fmla="*/ 234043 w 647692"/>
                    <a:gd name="connsiteY60" fmla="*/ 484649 h 598658"/>
                    <a:gd name="connsiteX61" fmla="*/ 233679 w 647692"/>
                    <a:gd name="connsiteY61" fmla="*/ 484710 h 598658"/>
                    <a:gd name="connsiteX62" fmla="*/ 233011 w 647692"/>
                    <a:gd name="connsiteY62" fmla="*/ 485074 h 598658"/>
                    <a:gd name="connsiteX63" fmla="*/ 230813 w 647692"/>
                    <a:gd name="connsiteY63" fmla="*/ 486786 h 598658"/>
                    <a:gd name="connsiteX64" fmla="*/ 229429 w 647692"/>
                    <a:gd name="connsiteY64" fmla="*/ 488110 h 598658"/>
                    <a:gd name="connsiteX65" fmla="*/ 229004 w 647692"/>
                    <a:gd name="connsiteY65" fmla="*/ 488778 h 598658"/>
                    <a:gd name="connsiteX66" fmla="*/ 227134 w 647692"/>
                    <a:gd name="connsiteY66" fmla="*/ 491315 h 598658"/>
                    <a:gd name="connsiteX67" fmla="*/ 215938 w 647692"/>
                    <a:gd name="connsiteY67" fmla="*/ 482415 h 598658"/>
                    <a:gd name="connsiteX68" fmla="*/ 211603 w 647692"/>
                    <a:gd name="connsiteY68" fmla="*/ 477873 h 598658"/>
                    <a:gd name="connsiteX69" fmla="*/ 201646 w 647692"/>
                    <a:gd name="connsiteY69" fmla="*/ 470466 h 598658"/>
                    <a:gd name="connsiteX70" fmla="*/ 197687 w 647692"/>
                    <a:gd name="connsiteY70" fmla="*/ 466665 h 598658"/>
                    <a:gd name="connsiteX71" fmla="*/ 195380 w 647692"/>
                    <a:gd name="connsiteY71" fmla="*/ 463362 h 598658"/>
                    <a:gd name="connsiteX72" fmla="*/ 194190 w 647692"/>
                    <a:gd name="connsiteY72" fmla="*/ 460460 h 598658"/>
                    <a:gd name="connsiteX73" fmla="*/ 193473 w 647692"/>
                    <a:gd name="connsiteY73" fmla="*/ 457947 h 598658"/>
                    <a:gd name="connsiteX74" fmla="*/ 193061 w 647692"/>
                    <a:gd name="connsiteY74" fmla="*/ 455530 h 598658"/>
                    <a:gd name="connsiteX75" fmla="*/ 193073 w 647692"/>
                    <a:gd name="connsiteY75" fmla="*/ 452822 h 598658"/>
                    <a:gd name="connsiteX76" fmla="*/ 193486 w 647692"/>
                    <a:gd name="connsiteY76" fmla="*/ 450515 h 598658"/>
                    <a:gd name="connsiteX77" fmla="*/ 194384 w 647692"/>
                    <a:gd name="connsiteY77" fmla="*/ 448293 h 598658"/>
                    <a:gd name="connsiteX78" fmla="*/ 195999 w 647692"/>
                    <a:gd name="connsiteY78" fmla="*/ 445476 h 598658"/>
                    <a:gd name="connsiteX79" fmla="*/ 192939 w 647692"/>
                    <a:gd name="connsiteY79" fmla="*/ 443606 h 598658"/>
                    <a:gd name="connsiteX80" fmla="*/ 192077 w 647692"/>
                    <a:gd name="connsiteY80" fmla="*/ 440934 h 598658"/>
                    <a:gd name="connsiteX81" fmla="*/ 192223 w 647692"/>
                    <a:gd name="connsiteY81" fmla="*/ 431087 h 598658"/>
                    <a:gd name="connsiteX82" fmla="*/ 192551 w 647692"/>
                    <a:gd name="connsiteY82" fmla="*/ 429010 h 598658"/>
                    <a:gd name="connsiteX83" fmla="*/ 193498 w 647692"/>
                    <a:gd name="connsiteY83" fmla="*/ 426751 h 598658"/>
                    <a:gd name="connsiteX84" fmla="*/ 196193 w 647692"/>
                    <a:gd name="connsiteY84" fmla="*/ 423570 h 598658"/>
                    <a:gd name="connsiteX85" fmla="*/ 193473 w 647692"/>
                    <a:gd name="connsiteY85" fmla="*/ 424056 h 598658"/>
                    <a:gd name="connsiteX86" fmla="*/ 191324 w 647692"/>
                    <a:gd name="connsiteY86" fmla="*/ 423874 h 598658"/>
                    <a:gd name="connsiteX87" fmla="*/ 189260 w 647692"/>
                    <a:gd name="connsiteY87" fmla="*/ 423606 h 598658"/>
                    <a:gd name="connsiteX88" fmla="*/ 188568 w 647692"/>
                    <a:gd name="connsiteY88" fmla="*/ 420838 h 598658"/>
                    <a:gd name="connsiteX89" fmla="*/ 188592 w 647692"/>
                    <a:gd name="connsiteY89" fmla="*/ 419344 h 598658"/>
                    <a:gd name="connsiteX90" fmla="*/ 189418 w 647692"/>
                    <a:gd name="connsiteY90" fmla="*/ 416199 h 598658"/>
                    <a:gd name="connsiteX91" fmla="*/ 189102 w 647692"/>
                    <a:gd name="connsiteY91" fmla="*/ 414876 h 598658"/>
                    <a:gd name="connsiteX92" fmla="*/ 189005 w 647692"/>
                    <a:gd name="connsiteY92" fmla="*/ 414718 h 598658"/>
                    <a:gd name="connsiteX93" fmla="*/ 187997 w 647692"/>
                    <a:gd name="connsiteY93" fmla="*/ 416248 h 598658"/>
                    <a:gd name="connsiteX94" fmla="*/ 186418 w 647692"/>
                    <a:gd name="connsiteY94" fmla="*/ 417547 h 598658"/>
                    <a:gd name="connsiteX95" fmla="*/ 184281 w 647692"/>
                    <a:gd name="connsiteY95" fmla="*/ 418166 h 598658"/>
                    <a:gd name="connsiteX96" fmla="*/ 182253 w 647692"/>
                    <a:gd name="connsiteY96" fmla="*/ 417377 h 598658"/>
                    <a:gd name="connsiteX97" fmla="*/ 180602 w 647692"/>
                    <a:gd name="connsiteY97" fmla="*/ 416029 h 598658"/>
                    <a:gd name="connsiteX98" fmla="*/ 179752 w 647692"/>
                    <a:gd name="connsiteY98" fmla="*/ 413843 h 598658"/>
                    <a:gd name="connsiteX99" fmla="*/ 179303 w 647692"/>
                    <a:gd name="connsiteY99" fmla="*/ 411439 h 598658"/>
                    <a:gd name="connsiteX100" fmla="*/ 178999 w 647692"/>
                    <a:gd name="connsiteY100" fmla="*/ 410990 h 598658"/>
                    <a:gd name="connsiteX101" fmla="*/ 178270 w 647692"/>
                    <a:gd name="connsiteY101" fmla="*/ 410869 h 598658"/>
                    <a:gd name="connsiteX102" fmla="*/ 176510 w 647692"/>
                    <a:gd name="connsiteY102" fmla="*/ 412872 h 598658"/>
                    <a:gd name="connsiteX103" fmla="*/ 174057 w 647692"/>
                    <a:gd name="connsiteY103" fmla="*/ 412046 h 598658"/>
                    <a:gd name="connsiteX104" fmla="*/ 172770 w 647692"/>
                    <a:gd name="connsiteY104" fmla="*/ 411391 h 598658"/>
                    <a:gd name="connsiteX105" fmla="*/ 171215 w 647692"/>
                    <a:gd name="connsiteY105" fmla="*/ 410103 h 598658"/>
                    <a:gd name="connsiteX106" fmla="*/ 169916 w 647692"/>
                    <a:gd name="connsiteY106" fmla="*/ 408076 h 598658"/>
                    <a:gd name="connsiteX107" fmla="*/ 168690 w 647692"/>
                    <a:gd name="connsiteY107" fmla="*/ 409035 h 598658"/>
                    <a:gd name="connsiteX108" fmla="*/ 167196 w 647692"/>
                    <a:gd name="connsiteY108" fmla="*/ 409375 h 598658"/>
                    <a:gd name="connsiteX109" fmla="*/ 165326 w 647692"/>
                    <a:gd name="connsiteY109" fmla="*/ 409290 h 598658"/>
                    <a:gd name="connsiteX110" fmla="*/ 162412 w 647692"/>
                    <a:gd name="connsiteY110" fmla="*/ 408221 h 598658"/>
                    <a:gd name="connsiteX111" fmla="*/ 160882 w 647692"/>
                    <a:gd name="connsiteY111" fmla="*/ 403024 h 598658"/>
                    <a:gd name="connsiteX112" fmla="*/ 157178 w 647692"/>
                    <a:gd name="connsiteY112" fmla="*/ 395823 h 598658"/>
                    <a:gd name="connsiteX113" fmla="*/ 150196 w 647692"/>
                    <a:gd name="connsiteY113" fmla="*/ 383231 h 598658"/>
                    <a:gd name="connsiteX114" fmla="*/ 148994 w 647692"/>
                    <a:gd name="connsiteY114" fmla="*/ 383935 h 598658"/>
                    <a:gd name="connsiteX115" fmla="*/ 147950 w 647692"/>
                    <a:gd name="connsiteY115" fmla="*/ 384324 h 598658"/>
                    <a:gd name="connsiteX116" fmla="*/ 145108 w 647692"/>
                    <a:gd name="connsiteY116" fmla="*/ 385041 h 598658"/>
                    <a:gd name="connsiteX117" fmla="*/ 145035 w 647692"/>
                    <a:gd name="connsiteY117" fmla="*/ 385211 h 598658"/>
                    <a:gd name="connsiteX118" fmla="*/ 146007 w 647692"/>
                    <a:gd name="connsiteY118" fmla="*/ 392181 h 598658"/>
                    <a:gd name="connsiteX119" fmla="*/ 145363 w 647692"/>
                    <a:gd name="connsiteY119" fmla="*/ 395508 h 598658"/>
                    <a:gd name="connsiteX120" fmla="*/ 145108 w 647692"/>
                    <a:gd name="connsiteY120" fmla="*/ 396455 h 598658"/>
                    <a:gd name="connsiteX121" fmla="*/ 142327 w 647692"/>
                    <a:gd name="connsiteY121" fmla="*/ 398713 h 598658"/>
                    <a:gd name="connsiteX122" fmla="*/ 140044 w 647692"/>
                    <a:gd name="connsiteY122" fmla="*/ 398386 h 598658"/>
                    <a:gd name="connsiteX123" fmla="*/ 139862 w 647692"/>
                    <a:gd name="connsiteY123" fmla="*/ 398847 h 598658"/>
                    <a:gd name="connsiteX124" fmla="*/ 139449 w 647692"/>
                    <a:gd name="connsiteY124" fmla="*/ 401348 h 598658"/>
                    <a:gd name="connsiteX125" fmla="*/ 137944 w 647692"/>
                    <a:gd name="connsiteY125" fmla="*/ 404202 h 598658"/>
                    <a:gd name="connsiteX126" fmla="*/ 135503 w 647692"/>
                    <a:gd name="connsiteY126" fmla="*/ 406509 h 598658"/>
                    <a:gd name="connsiteX127" fmla="*/ 132674 w 647692"/>
                    <a:gd name="connsiteY127" fmla="*/ 407080 h 598658"/>
                    <a:gd name="connsiteX128" fmla="*/ 130634 w 647692"/>
                    <a:gd name="connsiteY128" fmla="*/ 406497 h 598658"/>
                    <a:gd name="connsiteX129" fmla="*/ 127489 w 647692"/>
                    <a:gd name="connsiteY129" fmla="*/ 405161 h 598658"/>
                    <a:gd name="connsiteX130" fmla="*/ 126056 w 647692"/>
                    <a:gd name="connsiteY130" fmla="*/ 405271 h 598658"/>
                    <a:gd name="connsiteX131" fmla="*/ 125133 w 647692"/>
                    <a:gd name="connsiteY131" fmla="*/ 405562 h 598658"/>
                    <a:gd name="connsiteX132" fmla="*/ 119996 w 647692"/>
                    <a:gd name="connsiteY132" fmla="*/ 407796 h 598658"/>
                    <a:gd name="connsiteX133" fmla="*/ 114593 w 647692"/>
                    <a:gd name="connsiteY133" fmla="*/ 404651 h 598658"/>
                    <a:gd name="connsiteX134" fmla="*/ 109966 w 647692"/>
                    <a:gd name="connsiteY134" fmla="*/ 399952 h 598658"/>
                    <a:gd name="connsiteX135" fmla="*/ 107501 w 647692"/>
                    <a:gd name="connsiteY135" fmla="*/ 396261 h 598658"/>
                    <a:gd name="connsiteX136" fmla="*/ 106044 w 647692"/>
                    <a:gd name="connsiteY136" fmla="*/ 392472 h 598658"/>
                    <a:gd name="connsiteX137" fmla="*/ 103118 w 647692"/>
                    <a:gd name="connsiteY137" fmla="*/ 379491 h 598658"/>
                    <a:gd name="connsiteX138" fmla="*/ 92845 w 647692"/>
                    <a:gd name="connsiteY138" fmla="*/ 352194 h 598658"/>
                    <a:gd name="connsiteX139" fmla="*/ 69154 w 647692"/>
                    <a:gd name="connsiteY139" fmla="*/ 309499 h 598658"/>
                    <a:gd name="connsiteX140" fmla="*/ 65378 w 647692"/>
                    <a:gd name="connsiteY140" fmla="*/ 302286 h 598658"/>
                    <a:gd name="connsiteX141" fmla="*/ 64795 w 647692"/>
                    <a:gd name="connsiteY141" fmla="*/ 299736 h 598658"/>
                    <a:gd name="connsiteX142" fmla="*/ 64989 w 647692"/>
                    <a:gd name="connsiteY142" fmla="*/ 295826 h 598658"/>
                    <a:gd name="connsiteX143" fmla="*/ 67017 w 647692"/>
                    <a:gd name="connsiteY143" fmla="*/ 293458 h 598658"/>
                    <a:gd name="connsiteX144" fmla="*/ 69020 w 647692"/>
                    <a:gd name="connsiteY144" fmla="*/ 292560 h 598658"/>
                    <a:gd name="connsiteX145" fmla="*/ 71643 w 647692"/>
                    <a:gd name="connsiteY145" fmla="*/ 292281 h 598658"/>
                    <a:gd name="connsiteX146" fmla="*/ 72493 w 647692"/>
                    <a:gd name="connsiteY146" fmla="*/ 292390 h 598658"/>
                    <a:gd name="connsiteX147" fmla="*/ 66228 w 647692"/>
                    <a:gd name="connsiteY147" fmla="*/ 281230 h 598658"/>
                    <a:gd name="connsiteX148" fmla="*/ 59622 w 647692"/>
                    <a:gd name="connsiteY148" fmla="*/ 271953 h 598658"/>
                    <a:gd name="connsiteX149" fmla="*/ 57667 w 647692"/>
                    <a:gd name="connsiteY149" fmla="*/ 268529 h 598658"/>
                    <a:gd name="connsiteX150" fmla="*/ 54886 w 647692"/>
                    <a:gd name="connsiteY150" fmla="*/ 266853 h 598658"/>
                    <a:gd name="connsiteX151" fmla="*/ 44127 w 647692"/>
                    <a:gd name="connsiteY151" fmla="*/ 262202 h 598658"/>
                    <a:gd name="connsiteX152" fmla="*/ 34571 w 647692"/>
                    <a:gd name="connsiteY152" fmla="*/ 256483 h 598658"/>
                    <a:gd name="connsiteX153" fmla="*/ 25658 w 647692"/>
                    <a:gd name="connsiteY153" fmla="*/ 252792 h 598658"/>
                    <a:gd name="connsiteX154" fmla="*/ 25148 w 647692"/>
                    <a:gd name="connsiteY154" fmla="*/ 252270 h 598658"/>
                    <a:gd name="connsiteX155" fmla="*/ 23059 w 647692"/>
                    <a:gd name="connsiteY155" fmla="*/ 252731 h 598658"/>
                    <a:gd name="connsiteX156" fmla="*/ 18093 w 647692"/>
                    <a:gd name="connsiteY156" fmla="*/ 250873 h 598658"/>
                    <a:gd name="connsiteX157" fmla="*/ 7310 w 647692"/>
                    <a:gd name="connsiteY157" fmla="*/ 249270 h 598658"/>
                    <a:gd name="connsiteX158" fmla="*/ 4930 w 647692"/>
                    <a:gd name="connsiteY158" fmla="*/ 248469 h 598658"/>
                    <a:gd name="connsiteX159" fmla="*/ 1494 w 647692"/>
                    <a:gd name="connsiteY159" fmla="*/ 246915 h 598658"/>
                    <a:gd name="connsiteX160" fmla="*/ 0 w 647692"/>
                    <a:gd name="connsiteY160" fmla="*/ 243114 h 598658"/>
                    <a:gd name="connsiteX161" fmla="*/ 1348 w 647692"/>
                    <a:gd name="connsiteY161" fmla="*/ 240163 h 598658"/>
                    <a:gd name="connsiteX162" fmla="*/ 12616 w 647692"/>
                    <a:gd name="connsiteY162" fmla="*/ 227959 h 598658"/>
                    <a:gd name="connsiteX163" fmla="*/ 14098 w 647692"/>
                    <a:gd name="connsiteY163" fmla="*/ 225422 h 598658"/>
                    <a:gd name="connsiteX164" fmla="*/ 14996 w 647692"/>
                    <a:gd name="connsiteY164" fmla="*/ 223491 h 598658"/>
                    <a:gd name="connsiteX165" fmla="*/ 14231 w 647692"/>
                    <a:gd name="connsiteY165" fmla="*/ 223892 h 598658"/>
                    <a:gd name="connsiteX166" fmla="*/ 11378 w 647692"/>
                    <a:gd name="connsiteY166" fmla="*/ 223940 h 598658"/>
                    <a:gd name="connsiteX167" fmla="*/ 7759 w 647692"/>
                    <a:gd name="connsiteY167" fmla="*/ 221742 h 598658"/>
                    <a:gd name="connsiteX168" fmla="*/ 6241 w 647692"/>
                    <a:gd name="connsiteY168" fmla="*/ 218063 h 598658"/>
                    <a:gd name="connsiteX169" fmla="*/ 5622 w 647692"/>
                    <a:gd name="connsiteY169" fmla="*/ 213971 h 598658"/>
                    <a:gd name="connsiteX170" fmla="*/ 6047 w 647692"/>
                    <a:gd name="connsiteY170" fmla="*/ 210243 h 598658"/>
                    <a:gd name="connsiteX171" fmla="*/ 7140 w 647692"/>
                    <a:gd name="connsiteY171" fmla="*/ 207256 h 598658"/>
                    <a:gd name="connsiteX172" fmla="*/ 9010 w 647692"/>
                    <a:gd name="connsiteY172" fmla="*/ 204997 h 598658"/>
                    <a:gd name="connsiteX173" fmla="*/ 9981 w 647692"/>
                    <a:gd name="connsiteY173" fmla="*/ 204317 h 598658"/>
                    <a:gd name="connsiteX174" fmla="*/ 24189 w 647692"/>
                    <a:gd name="connsiteY174" fmla="*/ 200966 h 598658"/>
                    <a:gd name="connsiteX175" fmla="*/ 27273 w 647692"/>
                    <a:gd name="connsiteY175" fmla="*/ 199691 h 598658"/>
                    <a:gd name="connsiteX176" fmla="*/ 29787 w 647692"/>
                    <a:gd name="connsiteY176" fmla="*/ 198100 h 598658"/>
                    <a:gd name="connsiteX177" fmla="*/ 32227 w 647692"/>
                    <a:gd name="connsiteY177" fmla="*/ 195987 h 598658"/>
                    <a:gd name="connsiteX178" fmla="*/ 38797 w 647692"/>
                    <a:gd name="connsiteY178" fmla="*/ 188507 h 598658"/>
                    <a:gd name="connsiteX179" fmla="*/ 53890 w 647692"/>
                    <a:gd name="connsiteY179" fmla="*/ 176996 h 598658"/>
                    <a:gd name="connsiteX180" fmla="*/ 63095 w 647692"/>
                    <a:gd name="connsiteY180" fmla="*/ 172005 h 598658"/>
                    <a:gd name="connsiteX181" fmla="*/ 62998 w 647692"/>
                    <a:gd name="connsiteY181" fmla="*/ 171713 h 598658"/>
                    <a:gd name="connsiteX182" fmla="*/ 55517 w 647692"/>
                    <a:gd name="connsiteY182" fmla="*/ 157931 h 598658"/>
                    <a:gd name="connsiteX183" fmla="*/ 53939 w 647692"/>
                    <a:gd name="connsiteY183" fmla="*/ 156110 h 598658"/>
                    <a:gd name="connsiteX184" fmla="*/ 48730 w 647692"/>
                    <a:gd name="connsiteY184" fmla="*/ 154835 h 598658"/>
                    <a:gd name="connsiteX185" fmla="*/ 52785 w 647692"/>
                    <a:gd name="connsiteY185" fmla="*/ 149188 h 598658"/>
                    <a:gd name="connsiteX186" fmla="*/ 54461 w 647692"/>
                    <a:gd name="connsiteY186" fmla="*/ 145934 h 598658"/>
                    <a:gd name="connsiteX187" fmla="*/ 54218 w 647692"/>
                    <a:gd name="connsiteY187" fmla="*/ 142935 h 598658"/>
                    <a:gd name="connsiteX188" fmla="*/ 60460 w 647692"/>
                    <a:gd name="connsiteY188" fmla="*/ 134422 h 598658"/>
                    <a:gd name="connsiteX189" fmla="*/ 64127 w 647692"/>
                    <a:gd name="connsiteY189" fmla="*/ 131107 h 598658"/>
                    <a:gd name="connsiteX190" fmla="*/ 65110 w 647692"/>
                    <a:gd name="connsiteY190" fmla="*/ 130500 h 598658"/>
                    <a:gd name="connsiteX191" fmla="*/ 65560 w 647692"/>
                    <a:gd name="connsiteY191" fmla="*/ 128557 h 598658"/>
                    <a:gd name="connsiteX192" fmla="*/ 65548 w 647692"/>
                    <a:gd name="connsiteY192" fmla="*/ 126894 h 598658"/>
                    <a:gd name="connsiteX193" fmla="*/ 65341 w 647692"/>
                    <a:gd name="connsiteY193" fmla="*/ 125012 h 598658"/>
                    <a:gd name="connsiteX194" fmla="*/ 61868 w 647692"/>
                    <a:gd name="connsiteY194" fmla="*/ 117750 h 598658"/>
                    <a:gd name="connsiteX195" fmla="*/ 61067 w 647692"/>
                    <a:gd name="connsiteY195" fmla="*/ 114872 h 598658"/>
                    <a:gd name="connsiteX196" fmla="*/ 61298 w 647692"/>
                    <a:gd name="connsiteY196" fmla="*/ 106943 h 598658"/>
                    <a:gd name="connsiteX197" fmla="*/ 63095 w 647692"/>
                    <a:gd name="connsiteY197" fmla="*/ 102584 h 598658"/>
                    <a:gd name="connsiteX198" fmla="*/ 63034 w 647692"/>
                    <a:gd name="connsiteY198" fmla="*/ 102037 h 598658"/>
                    <a:gd name="connsiteX199" fmla="*/ 62536 w 647692"/>
                    <a:gd name="connsiteY199" fmla="*/ 100228 h 598658"/>
                    <a:gd name="connsiteX200" fmla="*/ 58893 w 647692"/>
                    <a:gd name="connsiteY200" fmla="*/ 95771 h 598658"/>
                    <a:gd name="connsiteX201" fmla="*/ 57509 w 647692"/>
                    <a:gd name="connsiteY201" fmla="*/ 93416 h 598658"/>
                    <a:gd name="connsiteX202" fmla="*/ 56562 w 647692"/>
                    <a:gd name="connsiteY202" fmla="*/ 91327 h 598658"/>
                    <a:gd name="connsiteX203" fmla="*/ 55469 w 647692"/>
                    <a:gd name="connsiteY203" fmla="*/ 89688 h 598658"/>
                    <a:gd name="connsiteX204" fmla="*/ 53587 w 647692"/>
                    <a:gd name="connsiteY204" fmla="*/ 87417 h 598658"/>
                    <a:gd name="connsiteX205" fmla="*/ 47370 w 647692"/>
                    <a:gd name="connsiteY205" fmla="*/ 81176 h 598658"/>
                    <a:gd name="connsiteX206" fmla="*/ 44820 w 647692"/>
                    <a:gd name="connsiteY206" fmla="*/ 78055 h 598658"/>
                    <a:gd name="connsiteX207" fmla="*/ 43120 w 647692"/>
                    <a:gd name="connsiteY207" fmla="*/ 74351 h 598658"/>
                    <a:gd name="connsiteX208" fmla="*/ 42597 w 647692"/>
                    <a:gd name="connsiteY208" fmla="*/ 70684 h 598658"/>
                    <a:gd name="connsiteX209" fmla="*/ 43472 w 647692"/>
                    <a:gd name="connsiteY209" fmla="*/ 66507 h 598658"/>
                    <a:gd name="connsiteX210" fmla="*/ 45342 w 647692"/>
                    <a:gd name="connsiteY210" fmla="*/ 64261 h 598658"/>
                    <a:gd name="connsiteX211" fmla="*/ 48390 w 647692"/>
                    <a:gd name="connsiteY211" fmla="*/ 62257 h 598658"/>
                    <a:gd name="connsiteX212" fmla="*/ 52907 w 647692"/>
                    <a:gd name="connsiteY212" fmla="*/ 61055 h 598658"/>
                    <a:gd name="connsiteX213" fmla="*/ 55991 w 647692"/>
                    <a:gd name="connsiteY213" fmla="*/ 61018 h 598658"/>
                    <a:gd name="connsiteX214" fmla="*/ 58638 w 647692"/>
                    <a:gd name="connsiteY214" fmla="*/ 61504 h 598658"/>
                    <a:gd name="connsiteX215" fmla="*/ 63750 w 647692"/>
                    <a:gd name="connsiteY215" fmla="*/ 63641 h 598658"/>
                    <a:gd name="connsiteX216" fmla="*/ 64916 w 647692"/>
                    <a:gd name="connsiteY216" fmla="*/ 63823 h 598658"/>
                    <a:gd name="connsiteX217" fmla="*/ 67005 w 647692"/>
                    <a:gd name="connsiteY217" fmla="*/ 64613 h 598658"/>
                    <a:gd name="connsiteX218" fmla="*/ 69275 w 647692"/>
                    <a:gd name="connsiteY218" fmla="*/ 66203 h 598658"/>
                    <a:gd name="connsiteX219" fmla="*/ 72505 w 647692"/>
                    <a:gd name="connsiteY219" fmla="*/ 69871 h 598658"/>
                    <a:gd name="connsiteX220" fmla="*/ 73040 w 647692"/>
                    <a:gd name="connsiteY220" fmla="*/ 69688 h 598658"/>
                    <a:gd name="connsiteX221" fmla="*/ 75748 w 647692"/>
                    <a:gd name="connsiteY221" fmla="*/ 67964 h 598658"/>
                    <a:gd name="connsiteX222" fmla="*/ 90198 w 647692"/>
                    <a:gd name="connsiteY222" fmla="*/ 55991 h 598658"/>
                    <a:gd name="connsiteX223" fmla="*/ 94351 w 647692"/>
                    <a:gd name="connsiteY223" fmla="*/ 51304 h 598658"/>
                    <a:gd name="connsiteX224" fmla="*/ 95407 w 647692"/>
                    <a:gd name="connsiteY224" fmla="*/ 49920 h 598658"/>
                    <a:gd name="connsiteX225" fmla="*/ 99596 w 647692"/>
                    <a:gd name="connsiteY225" fmla="*/ 46738 h 598658"/>
                    <a:gd name="connsiteX226" fmla="*/ 109966 w 647692"/>
                    <a:gd name="connsiteY226" fmla="*/ 42355 h 598658"/>
                    <a:gd name="connsiteX227" fmla="*/ 118139 w 647692"/>
                    <a:gd name="connsiteY227" fmla="*/ 39938 h 598658"/>
                    <a:gd name="connsiteX228" fmla="*/ 121830 w 647692"/>
                    <a:gd name="connsiteY228" fmla="*/ 38420 h 598658"/>
                    <a:gd name="connsiteX229" fmla="*/ 125279 w 647692"/>
                    <a:gd name="connsiteY229" fmla="*/ 36101 h 598658"/>
                    <a:gd name="connsiteX230" fmla="*/ 129395 w 647692"/>
                    <a:gd name="connsiteY230" fmla="*/ 31705 h 598658"/>
                    <a:gd name="connsiteX231" fmla="*/ 130488 w 647692"/>
                    <a:gd name="connsiteY231" fmla="*/ 28973 h 598658"/>
                    <a:gd name="connsiteX232" fmla="*/ 130986 w 647692"/>
                    <a:gd name="connsiteY232" fmla="*/ 26763 h 598658"/>
                    <a:gd name="connsiteX233" fmla="*/ 130974 w 647692"/>
                    <a:gd name="connsiteY233" fmla="*/ 24517 h 598658"/>
                    <a:gd name="connsiteX234" fmla="*/ 132564 w 647692"/>
                    <a:gd name="connsiteY234" fmla="*/ 21797 h 598658"/>
                    <a:gd name="connsiteX235" fmla="*/ 135564 w 647692"/>
                    <a:gd name="connsiteY235" fmla="*/ 18773 h 598658"/>
                    <a:gd name="connsiteX236" fmla="*/ 147172 w 647692"/>
                    <a:gd name="connsiteY236" fmla="*/ 11621 h 598658"/>
                    <a:gd name="connsiteX237" fmla="*/ 155648 w 647692"/>
                    <a:gd name="connsiteY237" fmla="*/ 7735 h 598658"/>
                    <a:gd name="connsiteX238" fmla="*/ 177991 w 647692"/>
                    <a:gd name="connsiteY238" fmla="*/ 3437 h 598658"/>
                    <a:gd name="connsiteX239" fmla="*/ 183565 w 647692"/>
                    <a:gd name="connsiteY239" fmla="*/ 0 h 598658"/>
                    <a:gd name="connsiteX240" fmla="*/ 188410 w 647692"/>
                    <a:gd name="connsiteY240" fmla="*/ 510 h 598658"/>
                    <a:gd name="connsiteX241" fmla="*/ 199156 w 647692"/>
                    <a:gd name="connsiteY241" fmla="*/ 8913 h 598658"/>
                    <a:gd name="connsiteX242" fmla="*/ 200152 w 647692"/>
                    <a:gd name="connsiteY242" fmla="*/ 9204 h 598658"/>
                    <a:gd name="connsiteX243" fmla="*/ 220977 w 647692"/>
                    <a:gd name="connsiteY243" fmla="*/ 7541 h 598658"/>
                    <a:gd name="connsiteX244" fmla="*/ 224620 w 647692"/>
                    <a:gd name="connsiteY244" fmla="*/ 8209 h 598658"/>
                    <a:gd name="connsiteX245" fmla="*/ 228239 w 647692"/>
                    <a:gd name="connsiteY245" fmla="*/ 10188 h 598658"/>
                    <a:gd name="connsiteX246" fmla="*/ 240309 w 647692"/>
                    <a:gd name="connsiteY246" fmla="*/ 23618 h 598658"/>
                    <a:gd name="connsiteX247" fmla="*/ 243211 w 647692"/>
                    <a:gd name="connsiteY247" fmla="*/ 25294 h 598658"/>
                    <a:gd name="connsiteX248" fmla="*/ 253787 w 647692"/>
                    <a:gd name="connsiteY248" fmla="*/ 34170 h 598658"/>
                    <a:gd name="connsiteX249" fmla="*/ 258802 w 647692"/>
                    <a:gd name="connsiteY249" fmla="*/ 40436 h 598658"/>
                    <a:gd name="connsiteX250" fmla="*/ 260976 w 647692"/>
                    <a:gd name="connsiteY250" fmla="*/ 42634 h 598658"/>
                    <a:gd name="connsiteX251" fmla="*/ 263441 w 647692"/>
                    <a:gd name="connsiteY251" fmla="*/ 44115 h 598658"/>
                    <a:gd name="connsiteX252" fmla="*/ 271285 w 647692"/>
                    <a:gd name="connsiteY252" fmla="*/ 47649 h 598658"/>
                    <a:gd name="connsiteX253" fmla="*/ 288383 w 647692"/>
                    <a:gd name="connsiteY253" fmla="*/ 59889 h 598658"/>
                    <a:gd name="connsiteX254" fmla="*/ 296992 w 647692"/>
                    <a:gd name="connsiteY254" fmla="*/ 64613 h 598658"/>
                    <a:gd name="connsiteX255" fmla="*/ 312256 w 647692"/>
                    <a:gd name="connsiteY255" fmla="*/ 69567 h 598658"/>
                    <a:gd name="connsiteX256" fmla="*/ 336311 w 647692"/>
                    <a:gd name="connsiteY256" fmla="*/ 76828 h 598658"/>
                    <a:gd name="connsiteX257" fmla="*/ 338484 w 647692"/>
                    <a:gd name="connsiteY257" fmla="*/ 76756 h 598658"/>
                    <a:gd name="connsiteX258" fmla="*/ 338897 w 647692"/>
                    <a:gd name="connsiteY258" fmla="*/ 76403 h 598658"/>
                    <a:gd name="connsiteX259" fmla="*/ 339796 w 647692"/>
                    <a:gd name="connsiteY259" fmla="*/ 74363 h 598658"/>
                    <a:gd name="connsiteX260" fmla="*/ 340864 w 647692"/>
                    <a:gd name="connsiteY260" fmla="*/ 73295 h 598658"/>
                    <a:gd name="connsiteX261" fmla="*/ 343621 w 647692"/>
                    <a:gd name="connsiteY261" fmla="*/ 71935 h 598658"/>
                    <a:gd name="connsiteX262" fmla="*/ 352971 w 647692"/>
                    <a:gd name="connsiteY262" fmla="*/ 70988 h 598658"/>
                    <a:gd name="connsiteX263" fmla="*/ 358945 w 647692"/>
                    <a:gd name="connsiteY263" fmla="*/ 69640 h 598658"/>
                    <a:gd name="connsiteX264" fmla="*/ 362151 w 647692"/>
                    <a:gd name="connsiteY264" fmla="*/ 68146 h 598658"/>
                    <a:gd name="connsiteX265" fmla="*/ 370420 w 647692"/>
                    <a:gd name="connsiteY265" fmla="*/ 66058 h 598658"/>
                    <a:gd name="connsiteX266" fmla="*/ 372740 w 647692"/>
                    <a:gd name="connsiteY266" fmla="*/ 65123 h 598658"/>
                    <a:gd name="connsiteX267" fmla="*/ 374950 w 647692"/>
                    <a:gd name="connsiteY267" fmla="*/ 63920 h 598658"/>
                    <a:gd name="connsiteX268" fmla="*/ 377233 w 647692"/>
                    <a:gd name="connsiteY268" fmla="*/ 62220 h 598658"/>
                    <a:gd name="connsiteX269" fmla="*/ 381822 w 647692"/>
                    <a:gd name="connsiteY269" fmla="*/ 57630 h 598658"/>
                    <a:gd name="connsiteX270" fmla="*/ 383608 w 647692"/>
                    <a:gd name="connsiteY270" fmla="*/ 56185 h 598658"/>
                    <a:gd name="connsiteX271" fmla="*/ 386145 w 647692"/>
                    <a:gd name="connsiteY271" fmla="*/ 55068 h 598658"/>
                    <a:gd name="connsiteX272" fmla="*/ 389922 w 647692"/>
                    <a:gd name="connsiteY272" fmla="*/ 54036 h 598658"/>
                    <a:gd name="connsiteX273" fmla="*/ 390760 w 647692"/>
                    <a:gd name="connsiteY273" fmla="*/ 53393 h 598658"/>
                    <a:gd name="connsiteX274" fmla="*/ 391889 w 647692"/>
                    <a:gd name="connsiteY274" fmla="*/ 52421 h 598658"/>
                    <a:gd name="connsiteX275" fmla="*/ 394439 w 647692"/>
                    <a:gd name="connsiteY275" fmla="*/ 49640 h 598658"/>
                    <a:gd name="connsiteX276" fmla="*/ 395180 w 647692"/>
                    <a:gd name="connsiteY276" fmla="*/ 49203 h 598658"/>
                    <a:gd name="connsiteX277" fmla="*/ 399005 w 647692"/>
                    <a:gd name="connsiteY277" fmla="*/ 47467 h 598658"/>
                    <a:gd name="connsiteX278" fmla="*/ 400814 w 647692"/>
                    <a:gd name="connsiteY278" fmla="*/ 46228 h 598658"/>
                    <a:gd name="connsiteX279" fmla="*/ 403230 w 647692"/>
                    <a:gd name="connsiteY279" fmla="*/ 45888 h 598658"/>
                    <a:gd name="connsiteX280" fmla="*/ 405975 w 647692"/>
                    <a:gd name="connsiteY280" fmla="*/ 46337 h 598658"/>
                    <a:gd name="connsiteX281" fmla="*/ 406849 w 647692"/>
                    <a:gd name="connsiteY281" fmla="*/ 46556 h 598658"/>
                    <a:gd name="connsiteX282" fmla="*/ 409642 w 647692"/>
                    <a:gd name="connsiteY282" fmla="*/ 49555 h 598658"/>
                    <a:gd name="connsiteX283" fmla="*/ 411828 w 647692"/>
                    <a:gd name="connsiteY283" fmla="*/ 53125 h 598658"/>
                    <a:gd name="connsiteX284" fmla="*/ 415884 w 647692"/>
                    <a:gd name="connsiteY284" fmla="*/ 57800 h 598658"/>
                    <a:gd name="connsiteX285" fmla="*/ 426678 w 647692"/>
                    <a:gd name="connsiteY285" fmla="*/ 68559 h 598658"/>
                    <a:gd name="connsiteX286" fmla="*/ 433272 w 647692"/>
                    <a:gd name="connsiteY286" fmla="*/ 76598 h 598658"/>
                    <a:gd name="connsiteX287" fmla="*/ 440084 w 647692"/>
                    <a:gd name="connsiteY287" fmla="*/ 91242 h 598658"/>
                    <a:gd name="connsiteX288" fmla="*/ 442695 w 647692"/>
                    <a:gd name="connsiteY288" fmla="*/ 93355 h 598658"/>
                    <a:gd name="connsiteX289" fmla="*/ 445573 w 647692"/>
                    <a:gd name="connsiteY289" fmla="*/ 97216 h 598658"/>
                    <a:gd name="connsiteX290" fmla="*/ 447030 w 647692"/>
                    <a:gd name="connsiteY290" fmla="*/ 100422 h 598658"/>
                    <a:gd name="connsiteX291" fmla="*/ 447892 w 647692"/>
                    <a:gd name="connsiteY291" fmla="*/ 112249 h 598658"/>
                    <a:gd name="connsiteX292" fmla="*/ 448924 w 647692"/>
                    <a:gd name="connsiteY292" fmla="*/ 114617 h 598658"/>
                    <a:gd name="connsiteX293" fmla="*/ 450491 w 647692"/>
                    <a:gd name="connsiteY293" fmla="*/ 116427 h 598658"/>
                    <a:gd name="connsiteX294" fmla="*/ 454850 w 647692"/>
                    <a:gd name="connsiteY294" fmla="*/ 120834 h 598658"/>
                    <a:gd name="connsiteX295" fmla="*/ 456963 w 647692"/>
                    <a:gd name="connsiteY295" fmla="*/ 123846 h 598658"/>
                    <a:gd name="connsiteX296" fmla="*/ 458274 w 647692"/>
                    <a:gd name="connsiteY296" fmla="*/ 127634 h 598658"/>
                    <a:gd name="connsiteX297" fmla="*/ 459052 w 647692"/>
                    <a:gd name="connsiteY297" fmla="*/ 129383 h 598658"/>
                    <a:gd name="connsiteX298" fmla="*/ 460278 w 647692"/>
                    <a:gd name="connsiteY298" fmla="*/ 130342 h 598658"/>
                    <a:gd name="connsiteX299" fmla="*/ 464953 w 647692"/>
                    <a:gd name="connsiteY299" fmla="*/ 130172 h 598658"/>
                    <a:gd name="connsiteX300" fmla="*/ 466714 w 647692"/>
                    <a:gd name="connsiteY300" fmla="*/ 129310 h 598658"/>
                    <a:gd name="connsiteX301" fmla="*/ 468353 w 647692"/>
                    <a:gd name="connsiteY301" fmla="*/ 127307 h 598658"/>
                    <a:gd name="connsiteX302" fmla="*/ 469470 w 647692"/>
                    <a:gd name="connsiteY302" fmla="*/ 125497 h 598658"/>
                    <a:gd name="connsiteX303" fmla="*/ 471535 w 647692"/>
                    <a:gd name="connsiteY303" fmla="*/ 123712 h 598658"/>
                    <a:gd name="connsiteX304" fmla="*/ 473708 w 647692"/>
                    <a:gd name="connsiteY304" fmla="*/ 122607 h 598658"/>
                    <a:gd name="connsiteX305" fmla="*/ 474048 w 647692"/>
                    <a:gd name="connsiteY305" fmla="*/ 122109 h 598658"/>
                    <a:gd name="connsiteX306" fmla="*/ 474558 w 647692"/>
                    <a:gd name="connsiteY306" fmla="*/ 121053 h 598658"/>
                    <a:gd name="connsiteX307" fmla="*/ 474935 w 647692"/>
                    <a:gd name="connsiteY307" fmla="*/ 120434 h 598658"/>
                    <a:gd name="connsiteX308" fmla="*/ 477497 w 647692"/>
                    <a:gd name="connsiteY308" fmla="*/ 118867 h 598658"/>
                    <a:gd name="connsiteX309" fmla="*/ 481565 w 647692"/>
                    <a:gd name="connsiteY309" fmla="*/ 117689 h 598658"/>
                    <a:gd name="connsiteX310" fmla="*/ 485438 w 647692"/>
                    <a:gd name="connsiteY310" fmla="*/ 117204 h 598658"/>
                    <a:gd name="connsiteX311" fmla="*/ 489373 w 647692"/>
                    <a:gd name="connsiteY311" fmla="*/ 114508 h 598658"/>
                    <a:gd name="connsiteX312" fmla="*/ 492712 w 647692"/>
                    <a:gd name="connsiteY312" fmla="*/ 113427 h 598658"/>
                    <a:gd name="connsiteX313" fmla="*/ 496573 w 647692"/>
                    <a:gd name="connsiteY313" fmla="*/ 113294 h 598658"/>
                    <a:gd name="connsiteX314" fmla="*/ 500665 w 647692"/>
                    <a:gd name="connsiteY314" fmla="*/ 113707 h 598658"/>
                    <a:gd name="connsiteX315" fmla="*/ 502766 w 647692"/>
                    <a:gd name="connsiteY315" fmla="*/ 113172 h 598658"/>
                    <a:gd name="connsiteX316" fmla="*/ 503033 w 647692"/>
                    <a:gd name="connsiteY316" fmla="*/ 112990 h 598658"/>
                    <a:gd name="connsiteX317" fmla="*/ 505535 w 647692"/>
                    <a:gd name="connsiteY317" fmla="*/ 109578 h 598658"/>
                    <a:gd name="connsiteX318" fmla="*/ 508413 w 647692"/>
                    <a:gd name="connsiteY318" fmla="*/ 107574 h 598658"/>
                    <a:gd name="connsiteX319" fmla="*/ 513816 w 647692"/>
                    <a:gd name="connsiteY319" fmla="*/ 105656 h 598658"/>
                    <a:gd name="connsiteX320" fmla="*/ 513938 w 647692"/>
                    <a:gd name="connsiteY320" fmla="*/ 105546 h 598658"/>
                    <a:gd name="connsiteX321" fmla="*/ 514059 w 647692"/>
                    <a:gd name="connsiteY321" fmla="*/ 105194 h 598658"/>
                    <a:gd name="connsiteX322" fmla="*/ 513646 w 647692"/>
                    <a:gd name="connsiteY322" fmla="*/ 101527 h 598658"/>
                    <a:gd name="connsiteX323" fmla="*/ 514581 w 647692"/>
                    <a:gd name="connsiteY323" fmla="*/ 99511 h 598658"/>
                    <a:gd name="connsiteX324" fmla="*/ 516293 w 647692"/>
                    <a:gd name="connsiteY324" fmla="*/ 98261 h 598658"/>
                    <a:gd name="connsiteX325" fmla="*/ 517751 w 647692"/>
                    <a:gd name="connsiteY325" fmla="*/ 97836 h 598658"/>
                    <a:gd name="connsiteX326" fmla="*/ 519754 w 647692"/>
                    <a:gd name="connsiteY326" fmla="*/ 97508 h 598658"/>
                    <a:gd name="connsiteX327" fmla="*/ 523676 w 647692"/>
                    <a:gd name="connsiteY327" fmla="*/ 97301 h 598658"/>
                    <a:gd name="connsiteX328" fmla="*/ 525656 w 647692"/>
                    <a:gd name="connsiteY328" fmla="*/ 97544 h 598658"/>
                    <a:gd name="connsiteX329" fmla="*/ 528242 w 647692"/>
                    <a:gd name="connsiteY329" fmla="*/ 98576 h 598658"/>
                    <a:gd name="connsiteX330" fmla="*/ 529007 w 647692"/>
                    <a:gd name="connsiteY330" fmla="*/ 99511 h 598658"/>
                    <a:gd name="connsiteX331" fmla="*/ 529881 w 647692"/>
                    <a:gd name="connsiteY331" fmla="*/ 100835 h 598658"/>
                    <a:gd name="connsiteX332" fmla="*/ 530452 w 647692"/>
                    <a:gd name="connsiteY332" fmla="*/ 102329 h 598658"/>
                    <a:gd name="connsiteX333" fmla="*/ 531970 w 647692"/>
                    <a:gd name="connsiteY333" fmla="*/ 107769 h 598658"/>
                    <a:gd name="connsiteX334" fmla="*/ 532504 w 647692"/>
                    <a:gd name="connsiteY334" fmla="*/ 111229 h 598658"/>
                    <a:gd name="connsiteX335" fmla="*/ 532723 w 647692"/>
                    <a:gd name="connsiteY335" fmla="*/ 114629 h 598658"/>
                    <a:gd name="connsiteX336" fmla="*/ 532019 w 647692"/>
                    <a:gd name="connsiteY336" fmla="*/ 121454 h 598658"/>
                    <a:gd name="connsiteX337" fmla="*/ 531375 w 647692"/>
                    <a:gd name="connsiteY337" fmla="*/ 124283 h 598658"/>
                    <a:gd name="connsiteX338" fmla="*/ 530719 w 647692"/>
                    <a:gd name="connsiteY338" fmla="*/ 126311 h 598658"/>
                    <a:gd name="connsiteX339" fmla="*/ 529311 w 647692"/>
                    <a:gd name="connsiteY339" fmla="*/ 128824 h 598658"/>
                    <a:gd name="connsiteX340" fmla="*/ 526894 w 647692"/>
                    <a:gd name="connsiteY340" fmla="*/ 131204 h 598658"/>
                    <a:gd name="connsiteX341" fmla="*/ 521588 w 647692"/>
                    <a:gd name="connsiteY341" fmla="*/ 134447 h 598658"/>
                    <a:gd name="connsiteX342" fmla="*/ 518151 w 647692"/>
                    <a:gd name="connsiteY342" fmla="*/ 136985 h 598658"/>
                    <a:gd name="connsiteX343" fmla="*/ 516840 w 647692"/>
                    <a:gd name="connsiteY343" fmla="*/ 138442 h 598658"/>
                    <a:gd name="connsiteX344" fmla="*/ 515285 w 647692"/>
                    <a:gd name="connsiteY344" fmla="*/ 141963 h 598658"/>
                    <a:gd name="connsiteX345" fmla="*/ 514290 w 647692"/>
                    <a:gd name="connsiteY345" fmla="*/ 147622 h 598658"/>
                    <a:gd name="connsiteX346" fmla="*/ 513331 w 647692"/>
                    <a:gd name="connsiteY346" fmla="*/ 150621 h 598658"/>
                    <a:gd name="connsiteX347" fmla="*/ 511643 w 647692"/>
                    <a:gd name="connsiteY347" fmla="*/ 153936 h 598658"/>
                    <a:gd name="connsiteX348" fmla="*/ 511412 w 647692"/>
                    <a:gd name="connsiteY348" fmla="*/ 155442 h 598658"/>
                    <a:gd name="connsiteX349" fmla="*/ 511910 w 647692"/>
                    <a:gd name="connsiteY349" fmla="*/ 157615 h 598658"/>
                    <a:gd name="connsiteX350" fmla="*/ 512978 w 647692"/>
                    <a:gd name="connsiteY350" fmla="*/ 158720 h 598658"/>
                    <a:gd name="connsiteX351" fmla="*/ 514387 w 647692"/>
                    <a:gd name="connsiteY351" fmla="*/ 159522 h 598658"/>
                    <a:gd name="connsiteX352" fmla="*/ 514897 w 647692"/>
                    <a:gd name="connsiteY352" fmla="*/ 159461 h 598658"/>
                    <a:gd name="connsiteX353" fmla="*/ 522693 w 647692"/>
                    <a:gd name="connsiteY353" fmla="*/ 151119 h 598658"/>
                    <a:gd name="connsiteX354" fmla="*/ 530282 w 647692"/>
                    <a:gd name="connsiteY354" fmla="*/ 146250 h 598658"/>
                    <a:gd name="connsiteX355" fmla="*/ 537058 w 647692"/>
                    <a:gd name="connsiteY355" fmla="*/ 159971 h 598658"/>
                    <a:gd name="connsiteX356" fmla="*/ 544222 w 647692"/>
                    <a:gd name="connsiteY356" fmla="*/ 169953 h 598658"/>
                    <a:gd name="connsiteX357" fmla="*/ 545291 w 647692"/>
                    <a:gd name="connsiteY357" fmla="*/ 172940 h 598658"/>
                    <a:gd name="connsiteX358" fmla="*/ 545667 w 647692"/>
                    <a:gd name="connsiteY358" fmla="*/ 174227 h 598658"/>
                    <a:gd name="connsiteX359" fmla="*/ 544234 w 647692"/>
                    <a:gd name="connsiteY359" fmla="*/ 176631 h 598658"/>
                    <a:gd name="connsiteX360" fmla="*/ 542461 w 647692"/>
                    <a:gd name="connsiteY360" fmla="*/ 178477 h 598658"/>
                    <a:gd name="connsiteX361" fmla="*/ 542146 w 647692"/>
                    <a:gd name="connsiteY361" fmla="*/ 179485 h 598658"/>
                    <a:gd name="connsiteX362" fmla="*/ 542097 w 647692"/>
                    <a:gd name="connsiteY362" fmla="*/ 181112 h 598658"/>
                    <a:gd name="connsiteX363" fmla="*/ 542340 w 647692"/>
                    <a:gd name="connsiteY363" fmla="*/ 181173 h 598658"/>
                    <a:gd name="connsiteX364" fmla="*/ 547343 w 647692"/>
                    <a:gd name="connsiteY364" fmla="*/ 201257 h 598658"/>
                    <a:gd name="connsiteX365" fmla="*/ 547185 w 647692"/>
                    <a:gd name="connsiteY365" fmla="*/ 206612 h 598658"/>
                    <a:gd name="connsiteX366" fmla="*/ 546238 w 647692"/>
                    <a:gd name="connsiteY366" fmla="*/ 210486 h 598658"/>
                    <a:gd name="connsiteX367" fmla="*/ 547829 w 647692"/>
                    <a:gd name="connsiteY367" fmla="*/ 210971 h 598658"/>
                    <a:gd name="connsiteX368" fmla="*/ 555794 w 647692"/>
                    <a:gd name="connsiteY368" fmla="*/ 215039 h 598658"/>
                    <a:gd name="connsiteX369" fmla="*/ 560360 w 647692"/>
                    <a:gd name="connsiteY369" fmla="*/ 221038 h 598658"/>
                    <a:gd name="connsiteX370" fmla="*/ 563821 w 647692"/>
                    <a:gd name="connsiteY370" fmla="*/ 227972 h 598658"/>
                    <a:gd name="connsiteX371" fmla="*/ 581756 w 647692"/>
                    <a:gd name="connsiteY371" fmla="*/ 251177 h 598658"/>
                    <a:gd name="connsiteX372" fmla="*/ 586637 w 647692"/>
                    <a:gd name="connsiteY372" fmla="*/ 254698 h 598658"/>
                    <a:gd name="connsiteX373" fmla="*/ 594494 w 647692"/>
                    <a:gd name="connsiteY373" fmla="*/ 259058 h 598658"/>
                    <a:gd name="connsiteX374" fmla="*/ 597275 w 647692"/>
                    <a:gd name="connsiteY374" fmla="*/ 261571 h 598658"/>
                    <a:gd name="connsiteX375" fmla="*/ 600395 w 647692"/>
                    <a:gd name="connsiteY375" fmla="*/ 267558 h 598658"/>
                    <a:gd name="connsiteX376" fmla="*/ 599752 w 647692"/>
                    <a:gd name="connsiteY376" fmla="*/ 272378 h 598658"/>
                    <a:gd name="connsiteX377" fmla="*/ 595429 w 647692"/>
                    <a:gd name="connsiteY377" fmla="*/ 282056 h 598658"/>
                    <a:gd name="connsiteX378" fmla="*/ 594445 w 647692"/>
                    <a:gd name="connsiteY378" fmla="*/ 285736 h 598658"/>
                    <a:gd name="connsiteX379" fmla="*/ 593134 w 647692"/>
                    <a:gd name="connsiteY379" fmla="*/ 294175 h 598658"/>
                    <a:gd name="connsiteX380" fmla="*/ 591859 w 647692"/>
                    <a:gd name="connsiteY380" fmla="*/ 298534 h 598658"/>
                    <a:gd name="connsiteX381" fmla="*/ 586880 w 647692"/>
                    <a:gd name="connsiteY381" fmla="*/ 306051 h 598658"/>
                    <a:gd name="connsiteX382" fmla="*/ 586674 w 647692"/>
                    <a:gd name="connsiteY382" fmla="*/ 307314 h 598658"/>
                    <a:gd name="connsiteX383" fmla="*/ 591191 w 647692"/>
                    <a:gd name="connsiteY383" fmla="*/ 312146 h 598658"/>
                    <a:gd name="connsiteX384" fmla="*/ 590997 w 647692"/>
                    <a:gd name="connsiteY384" fmla="*/ 315243 h 598658"/>
                    <a:gd name="connsiteX385" fmla="*/ 590463 w 647692"/>
                    <a:gd name="connsiteY385" fmla="*/ 317744 h 598658"/>
                    <a:gd name="connsiteX386" fmla="*/ 590499 w 647692"/>
                    <a:gd name="connsiteY386" fmla="*/ 317999 h 598658"/>
                    <a:gd name="connsiteX387" fmla="*/ 591143 w 647692"/>
                    <a:gd name="connsiteY387" fmla="*/ 319068 h 598658"/>
                    <a:gd name="connsiteX388" fmla="*/ 593146 w 647692"/>
                    <a:gd name="connsiteY388" fmla="*/ 321363 h 598658"/>
                    <a:gd name="connsiteX389" fmla="*/ 595137 w 647692"/>
                    <a:gd name="connsiteY389" fmla="*/ 325795 h 598658"/>
                    <a:gd name="connsiteX390" fmla="*/ 595866 w 647692"/>
                    <a:gd name="connsiteY390" fmla="*/ 326730 h 598658"/>
                    <a:gd name="connsiteX391" fmla="*/ 597117 w 647692"/>
                    <a:gd name="connsiteY391" fmla="*/ 327058 h 598658"/>
                    <a:gd name="connsiteX392" fmla="*/ 599703 w 647692"/>
                    <a:gd name="connsiteY392" fmla="*/ 326852 h 598658"/>
                    <a:gd name="connsiteX393" fmla="*/ 600991 w 647692"/>
                    <a:gd name="connsiteY393" fmla="*/ 326815 h 598658"/>
                    <a:gd name="connsiteX394" fmla="*/ 608859 w 647692"/>
                    <a:gd name="connsiteY394" fmla="*/ 334514 h 598658"/>
                    <a:gd name="connsiteX395" fmla="*/ 614615 w 647692"/>
                    <a:gd name="connsiteY395" fmla="*/ 341581 h 598658"/>
                    <a:gd name="connsiteX396" fmla="*/ 612891 w 647692"/>
                    <a:gd name="connsiteY396" fmla="*/ 346341 h 598658"/>
                    <a:gd name="connsiteX397" fmla="*/ 609308 w 647692"/>
                    <a:gd name="connsiteY397" fmla="*/ 350154 h 598658"/>
                    <a:gd name="connsiteX398" fmla="*/ 591568 w 647692"/>
                    <a:gd name="connsiteY398" fmla="*/ 364009 h 598658"/>
                    <a:gd name="connsiteX399" fmla="*/ 591349 w 647692"/>
                    <a:gd name="connsiteY399" fmla="*/ 365345 h 598658"/>
                    <a:gd name="connsiteX400" fmla="*/ 596631 w 647692"/>
                    <a:gd name="connsiteY400" fmla="*/ 368502 h 598658"/>
                    <a:gd name="connsiteX401" fmla="*/ 603723 w 647692"/>
                    <a:gd name="connsiteY401" fmla="*/ 374464 h 598658"/>
                    <a:gd name="connsiteX402" fmla="*/ 603164 w 647692"/>
                    <a:gd name="connsiteY402" fmla="*/ 382843 h 598658"/>
                    <a:gd name="connsiteX403" fmla="*/ 600311 w 647692"/>
                    <a:gd name="connsiteY403" fmla="*/ 391610 h 598658"/>
                    <a:gd name="connsiteX404" fmla="*/ 599108 w 647692"/>
                    <a:gd name="connsiteY404" fmla="*/ 399114 h 598658"/>
                    <a:gd name="connsiteX405" fmla="*/ 599545 w 647692"/>
                    <a:gd name="connsiteY405" fmla="*/ 401822 h 598658"/>
                    <a:gd name="connsiteX406" fmla="*/ 599740 w 647692"/>
                    <a:gd name="connsiteY406" fmla="*/ 402235 h 598658"/>
                    <a:gd name="connsiteX407" fmla="*/ 600784 w 647692"/>
                    <a:gd name="connsiteY407" fmla="*/ 403085 h 598658"/>
                    <a:gd name="connsiteX408" fmla="*/ 605423 w 647692"/>
                    <a:gd name="connsiteY408" fmla="*/ 405271 h 598658"/>
                    <a:gd name="connsiteX409" fmla="*/ 606953 w 647692"/>
                    <a:gd name="connsiteY409" fmla="*/ 405283 h 598658"/>
                    <a:gd name="connsiteX410" fmla="*/ 611033 w 647692"/>
                    <a:gd name="connsiteY410" fmla="*/ 404214 h 598658"/>
                    <a:gd name="connsiteX411" fmla="*/ 617140 w 647692"/>
                    <a:gd name="connsiteY411" fmla="*/ 404736 h 598658"/>
                    <a:gd name="connsiteX412" fmla="*/ 618440 w 647692"/>
                    <a:gd name="connsiteY412" fmla="*/ 404639 h 598658"/>
                    <a:gd name="connsiteX413" fmla="*/ 620783 w 647692"/>
                    <a:gd name="connsiteY413" fmla="*/ 403498 h 598658"/>
                    <a:gd name="connsiteX414" fmla="*/ 623333 w 647692"/>
                    <a:gd name="connsiteY414" fmla="*/ 401045 h 598658"/>
                    <a:gd name="connsiteX415" fmla="*/ 624900 w 647692"/>
                    <a:gd name="connsiteY415" fmla="*/ 404190 h 598658"/>
                    <a:gd name="connsiteX416" fmla="*/ 628458 w 647692"/>
                    <a:gd name="connsiteY416" fmla="*/ 409266 h 598658"/>
                    <a:gd name="connsiteX417" fmla="*/ 629599 w 647692"/>
                    <a:gd name="connsiteY417" fmla="*/ 410480 h 598658"/>
                    <a:gd name="connsiteX418" fmla="*/ 635319 w 647692"/>
                    <a:gd name="connsiteY418" fmla="*/ 416005 h 598658"/>
                    <a:gd name="connsiteX419" fmla="*/ 646405 w 647692"/>
                    <a:gd name="connsiteY419" fmla="*/ 432434 h 598658"/>
                    <a:gd name="connsiteX420" fmla="*/ 647692 w 647692"/>
                    <a:gd name="connsiteY420" fmla="*/ 437449 h 598658"/>
                    <a:gd name="connsiteX421" fmla="*/ 646514 w 647692"/>
                    <a:gd name="connsiteY421" fmla="*/ 443254 h 598658"/>
                    <a:gd name="connsiteX422" fmla="*/ 638816 w 647692"/>
                    <a:gd name="connsiteY422" fmla="*/ 445622 h 598658"/>
                    <a:gd name="connsiteX423" fmla="*/ 633036 w 647692"/>
                    <a:gd name="connsiteY423" fmla="*/ 446411 h 598658"/>
                    <a:gd name="connsiteX424" fmla="*/ 619739 w 647692"/>
                    <a:gd name="connsiteY424" fmla="*/ 445670 h 598658"/>
                    <a:gd name="connsiteX425" fmla="*/ 614712 w 647692"/>
                    <a:gd name="connsiteY425" fmla="*/ 442537 h 598658"/>
                    <a:gd name="connsiteX426" fmla="*/ 611761 w 647692"/>
                    <a:gd name="connsiteY426" fmla="*/ 439684 h 598658"/>
                    <a:gd name="connsiteX427" fmla="*/ 608859 w 647692"/>
                    <a:gd name="connsiteY427" fmla="*/ 435689 h 598658"/>
                    <a:gd name="connsiteX428" fmla="*/ 604998 w 647692"/>
                    <a:gd name="connsiteY428" fmla="*/ 427929 h 598658"/>
                    <a:gd name="connsiteX429" fmla="*/ 602982 w 647692"/>
                    <a:gd name="connsiteY429" fmla="*/ 427516 h 598658"/>
                    <a:gd name="connsiteX430" fmla="*/ 598999 w 647692"/>
                    <a:gd name="connsiteY430" fmla="*/ 427686 h 598658"/>
                    <a:gd name="connsiteX431" fmla="*/ 592648 w 647692"/>
                    <a:gd name="connsiteY431" fmla="*/ 426715 h 598658"/>
                    <a:gd name="connsiteX432" fmla="*/ 586273 w 647692"/>
                    <a:gd name="connsiteY432" fmla="*/ 426302 h 598658"/>
                    <a:gd name="connsiteX433" fmla="*/ 582873 w 647692"/>
                    <a:gd name="connsiteY433" fmla="*/ 426618 h 598658"/>
                    <a:gd name="connsiteX434" fmla="*/ 579570 w 647692"/>
                    <a:gd name="connsiteY434" fmla="*/ 426387 h 598658"/>
                    <a:gd name="connsiteX435" fmla="*/ 575429 w 647692"/>
                    <a:gd name="connsiteY435" fmla="*/ 425136 h 598658"/>
                    <a:gd name="connsiteX436" fmla="*/ 572807 w 647692"/>
                    <a:gd name="connsiteY436" fmla="*/ 423789 h 598658"/>
                    <a:gd name="connsiteX437" fmla="*/ 570342 w 647692"/>
                    <a:gd name="connsiteY437" fmla="*/ 423254 h 598658"/>
                    <a:gd name="connsiteX438" fmla="*/ 566589 w 647692"/>
                    <a:gd name="connsiteY438" fmla="*/ 423145 h 598658"/>
                    <a:gd name="connsiteX439" fmla="*/ 559207 w 647692"/>
                    <a:gd name="connsiteY439" fmla="*/ 424080 h 598658"/>
                    <a:gd name="connsiteX440" fmla="*/ 555661 w 647692"/>
                    <a:gd name="connsiteY440" fmla="*/ 425027 h 598658"/>
                    <a:gd name="connsiteX441" fmla="*/ 551921 w 647692"/>
                    <a:gd name="connsiteY441" fmla="*/ 425513 h 598658"/>
                    <a:gd name="connsiteX442" fmla="*/ 548824 w 647692"/>
                    <a:gd name="connsiteY442" fmla="*/ 424869 h 598658"/>
                    <a:gd name="connsiteX443" fmla="*/ 544841 w 647692"/>
                    <a:gd name="connsiteY443" fmla="*/ 422526 h 598658"/>
                    <a:gd name="connsiteX444" fmla="*/ 538369 w 647692"/>
                    <a:gd name="connsiteY444" fmla="*/ 415786 h 598658"/>
                    <a:gd name="connsiteX445" fmla="*/ 537398 w 647692"/>
                    <a:gd name="connsiteY445" fmla="*/ 415094 h 598658"/>
                    <a:gd name="connsiteX446" fmla="*/ 535249 w 647692"/>
                    <a:gd name="connsiteY446" fmla="*/ 415507 h 598658"/>
                    <a:gd name="connsiteX447" fmla="*/ 531921 w 647692"/>
                    <a:gd name="connsiteY447" fmla="*/ 415459 h 598658"/>
                    <a:gd name="connsiteX448" fmla="*/ 528667 w 647692"/>
                    <a:gd name="connsiteY448" fmla="*/ 413297 h 598658"/>
                    <a:gd name="connsiteX449" fmla="*/ 527344 w 647692"/>
                    <a:gd name="connsiteY449" fmla="*/ 410978 h 598658"/>
                    <a:gd name="connsiteX450" fmla="*/ 526736 w 647692"/>
                    <a:gd name="connsiteY450" fmla="*/ 410808 h 598658"/>
                    <a:gd name="connsiteX451" fmla="*/ 522984 w 647692"/>
                    <a:gd name="connsiteY451" fmla="*/ 410978 h 598658"/>
                    <a:gd name="connsiteX452" fmla="*/ 515868 w 647692"/>
                    <a:gd name="connsiteY452" fmla="*/ 410006 h 598658"/>
                    <a:gd name="connsiteX453" fmla="*/ 513428 w 647692"/>
                    <a:gd name="connsiteY453" fmla="*/ 410091 h 598658"/>
                    <a:gd name="connsiteX454" fmla="*/ 511849 w 647692"/>
                    <a:gd name="connsiteY454" fmla="*/ 410747 h 598658"/>
                    <a:gd name="connsiteX455" fmla="*/ 503240 w 647692"/>
                    <a:gd name="connsiteY455" fmla="*/ 416442 h 598658"/>
                    <a:gd name="connsiteX456" fmla="*/ 493392 w 647692"/>
                    <a:gd name="connsiteY456" fmla="*/ 419502 h 598658"/>
                    <a:gd name="connsiteX457" fmla="*/ 481006 w 647692"/>
                    <a:gd name="connsiteY457" fmla="*/ 426278 h 598658"/>
                    <a:gd name="connsiteX458" fmla="*/ 472615 w 647692"/>
                    <a:gd name="connsiteY458" fmla="*/ 432119 h 598658"/>
                    <a:gd name="connsiteX459" fmla="*/ 466289 w 647692"/>
                    <a:gd name="connsiteY459" fmla="*/ 435069 h 598658"/>
                    <a:gd name="connsiteX460" fmla="*/ 463435 w 647692"/>
                    <a:gd name="connsiteY460" fmla="*/ 435749 h 598658"/>
                    <a:gd name="connsiteX461" fmla="*/ 459428 w 647692"/>
                    <a:gd name="connsiteY461" fmla="*/ 435980 h 598658"/>
                    <a:gd name="connsiteX462" fmla="*/ 450272 w 647692"/>
                    <a:gd name="connsiteY462" fmla="*/ 434474 h 598658"/>
                    <a:gd name="connsiteX463" fmla="*/ 448681 w 647692"/>
                    <a:gd name="connsiteY463" fmla="*/ 434499 h 598658"/>
                    <a:gd name="connsiteX464" fmla="*/ 447455 w 647692"/>
                    <a:gd name="connsiteY464" fmla="*/ 435045 h 598658"/>
                    <a:gd name="connsiteX465" fmla="*/ 445961 w 647692"/>
                    <a:gd name="connsiteY465" fmla="*/ 436235 h 598658"/>
                    <a:gd name="connsiteX466" fmla="*/ 440558 w 647692"/>
                    <a:gd name="connsiteY466" fmla="*/ 441554 h 598658"/>
                    <a:gd name="connsiteX467" fmla="*/ 434754 w 647692"/>
                    <a:gd name="connsiteY467" fmla="*/ 448572 h 598658"/>
                    <a:gd name="connsiteX468" fmla="*/ 423327 w 647692"/>
                    <a:gd name="connsiteY468" fmla="*/ 459659 h 598658"/>
                    <a:gd name="connsiteX469" fmla="*/ 422598 w 647692"/>
                    <a:gd name="connsiteY469" fmla="*/ 460655 h 598658"/>
                    <a:gd name="connsiteX470" fmla="*/ 422526 w 647692"/>
                    <a:gd name="connsiteY470" fmla="*/ 460970 h 598658"/>
                    <a:gd name="connsiteX471" fmla="*/ 424044 w 647692"/>
                    <a:gd name="connsiteY471" fmla="*/ 463727 h 598658"/>
                    <a:gd name="connsiteX472" fmla="*/ 424626 w 647692"/>
                    <a:gd name="connsiteY472" fmla="*/ 466714 h 598658"/>
                    <a:gd name="connsiteX473" fmla="*/ 424724 w 647692"/>
                    <a:gd name="connsiteY473" fmla="*/ 467552 h 598658"/>
                    <a:gd name="connsiteX474" fmla="*/ 423230 w 647692"/>
                    <a:gd name="connsiteY474" fmla="*/ 470794 h 598658"/>
                    <a:gd name="connsiteX475" fmla="*/ 420947 w 647692"/>
                    <a:gd name="connsiteY475" fmla="*/ 473344 h 598658"/>
                    <a:gd name="connsiteX476" fmla="*/ 417766 w 647692"/>
                    <a:gd name="connsiteY476" fmla="*/ 475044 h 598658"/>
                    <a:gd name="connsiteX477" fmla="*/ 415458 w 647692"/>
                    <a:gd name="connsiteY477" fmla="*/ 475044 h 598658"/>
                    <a:gd name="connsiteX478" fmla="*/ 414475 w 647692"/>
                    <a:gd name="connsiteY478" fmla="*/ 474716 h 598658"/>
                    <a:gd name="connsiteX479" fmla="*/ 415616 w 647692"/>
                    <a:gd name="connsiteY479" fmla="*/ 476695 h 598658"/>
                    <a:gd name="connsiteX480" fmla="*/ 416867 w 647692"/>
                    <a:gd name="connsiteY480" fmla="*/ 477800 h 598658"/>
                    <a:gd name="connsiteX481" fmla="*/ 417984 w 647692"/>
                    <a:gd name="connsiteY481" fmla="*/ 478177 h 598658"/>
                    <a:gd name="connsiteX482" fmla="*/ 420716 w 647692"/>
                    <a:gd name="connsiteY482" fmla="*/ 480545 h 598658"/>
                    <a:gd name="connsiteX483" fmla="*/ 421639 w 647692"/>
                    <a:gd name="connsiteY483" fmla="*/ 483580 h 598658"/>
                    <a:gd name="connsiteX484" fmla="*/ 421894 w 647692"/>
                    <a:gd name="connsiteY484" fmla="*/ 489336 h 598658"/>
                    <a:gd name="connsiteX485" fmla="*/ 419976 w 647692"/>
                    <a:gd name="connsiteY485" fmla="*/ 497023 h 598658"/>
                    <a:gd name="connsiteX486" fmla="*/ 414208 w 647692"/>
                    <a:gd name="connsiteY486" fmla="*/ 496962 h 598658"/>
                    <a:gd name="connsiteX487" fmla="*/ 412301 w 647692"/>
                    <a:gd name="connsiteY487" fmla="*/ 495590 h 598658"/>
                    <a:gd name="connsiteX488" fmla="*/ 411670 w 647692"/>
                    <a:gd name="connsiteY488" fmla="*/ 496513 h 598658"/>
                    <a:gd name="connsiteX489" fmla="*/ 409678 w 647692"/>
                    <a:gd name="connsiteY489" fmla="*/ 502669 h 598658"/>
                    <a:gd name="connsiteX490" fmla="*/ 405113 w 647692"/>
                    <a:gd name="connsiteY490" fmla="*/ 512274 h 598658"/>
                    <a:gd name="connsiteX491" fmla="*/ 404991 w 647692"/>
                    <a:gd name="connsiteY491" fmla="*/ 514970 h 598658"/>
                    <a:gd name="connsiteX492" fmla="*/ 405258 w 647692"/>
                    <a:gd name="connsiteY492" fmla="*/ 515881 h 598658"/>
                    <a:gd name="connsiteX493" fmla="*/ 410613 w 647692"/>
                    <a:gd name="connsiteY493" fmla="*/ 520798 h 598658"/>
                    <a:gd name="connsiteX494" fmla="*/ 411658 w 647692"/>
                    <a:gd name="connsiteY494" fmla="*/ 525085 h 598658"/>
                    <a:gd name="connsiteX495" fmla="*/ 411901 w 647692"/>
                    <a:gd name="connsiteY495" fmla="*/ 530209 h 598658"/>
                    <a:gd name="connsiteX496" fmla="*/ 412277 w 647692"/>
                    <a:gd name="connsiteY496" fmla="*/ 531278 h 598658"/>
                    <a:gd name="connsiteX497" fmla="*/ 414936 w 647692"/>
                    <a:gd name="connsiteY497" fmla="*/ 534314 h 598658"/>
                    <a:gd name="connsiteX498" fmla="*/ 416163 w 647692"/>
                    <a:gd name="connsiteY498" fmla="*/ 536524 h 598658"/>
                    <a:gd name="connsiteX499" fmla="*/ 417571 w 647692"/>
                    <a:gd name="connsiteY499" fmla="*/ 542559 h 598658"/>
                    <a:gd name="connsiteX500" fmla="*/ 417268 w 647692"/>
                    <a:gd name="connsiteY500" fmla="*/ 545655 h 598658"/>
                    <a:gd name="connsiteX501" fmla="*/ 415786 w 647692"/>
                    <a:gd name="connsiteY501" fmla="*/ 548582 h 598658"/>
                    <a:gd name="connsiteX502" fmla="*/ 415422 w 647692"/>
                    <a:gd name="connsiteY502" fmla="*/ 549213 h 598658"/>
                    <a:gd name="connsiteX503" fmla="*/ 413188 w 647692"/>
                    <a:gd name="connsiteY503" fmla="*/ 550658 h 598658"/>
                    <a:gd name="connsiteX504" fmla="*/ 416296 w 647692"/>
                    <a:gd name="connsiteY504" fmla="*/ 555843 h 598658"/>
                    <a:gd name="connsiteX505" fmla="*/ 416843 w 647692"/>
                    <a:gd name="connsiteY505" fmla="*/ 556511 h 598658"/>
                    <a:gd name="connsiteX506" fmla="*/ 418021 w 647692"/>
                    <a:gd name="connsiteY506" fmla="*/ 556839 h 598658"/>
                    <a:gd name="connsiteX507" fmla="*/ 420000 w 647692"/>
                    <a:gd name="connsiteY507" fmla="*/ 556924 h 598658"/>
                    <a:gd name="connsiteX508" fmla="*/ 423364 w 647692"/>
                    <a:gd name="connsiteY508" fmla="*/ 557580 h 598658"/>
                    <a:gd name="connsiteX509" fmla="*/ 425501 w 647692"/>
                    <a:gd name="connsiteY509" fmla="*/ 560105 h 598658"/>
                    <a:gd name="connsiteX510" fmla="*/ 425877 w 647692"/>
                    <a:gd name="connsiteY510" fmla="*/ 562218 h 598658"/>
                    <a:gd name="connsiteX511" fmla="*/ 425974 w 647692"/>
                    <a:gd name="connsiteY511" fmla="*/ 564452 h 598658"/>
                    <a:gd name="connsiteX512" fmla="*/ 425379 w 647692"/>
                    <a:gd name="connsiteY512" fmla="*/ 567998 h 598658"/>
                    <a:gd name="connsiteX513" fmla="*/ 421991 w 647692"/>
                    <a:gd name="connsiteY513" fmla="*/ 572200 h 598658"/>
                    <a:gd name="connsiteX514" fmla="*/ 418834 w 647692"/>
                    <a:gd name="connsiteY514" fmla="*/ 572540 h 598658"/>
                    <a:gd name="connsiteX515" fmla="*/ 415349 w 647692"/>
                    <a:gd name="connsiteY515" fmla="*/ 574191 h 598658"/>
                    <a:gd name="connsiteX516" fmla="*/ 400717 w 647692"/>
                    <a:gd name="connsiteY516" fmla="*/ 582873 h 598658"/>
                    <a:gd name="connsiteX517" fmla="*/ 395921 w 647692"/>
                    <a:gd name="connsiteY517" fmla="*/ 584962 h 598658"/>
                    <a:gd name="connsiteX518" fmla="*/ 391500 w 647692"/>
                    <a:gd name="connsiteY518" fmla="*/ 585921 h 598658"/>
                    <a:gd name="connsiteX519" fmla="*/ 387105 w 647692"/>
                    <a:gd name="connsiteY519" fmla="*/ 586200 h 598658"/>
                    <a:gd name="connsiteX520" fmla="*/ 382673 w 647692"/>
                    <a:gd name="connsiteY520" fmla="*/ 586978 h 598658"/>
                    <a:gd name="connsiteX521" fmla="*/ 380037 w 647692"/>
                    <a:gd name="connsiteY521" fmla="*/ 588155 h 598658"/>
                    <a:gd name="connsiteX522" fmla="*/ 379333 w 647692"/>
                    <a:gd name="connsiteY522" fmla="*/ 589188 h 598658"/>
                    <a:gd name="connsiteX523" fmla="*/ 379442 w 647692"/>
                    <a:gd name="connsiteY523" fmla="*/ 589625 h 598658"/>
                    <a:gd name="connsiteX524" fmla="*/ 381519 w 647692"/>
                    <a:gd name="connsiteY524" fmla="*/ 592138 h 598658"/>
                    <a:gd name="connsiteX525" fmla="*/ 383765 w 647692"/>
                    <a:gd name="connsiteY525" fmla="*/ 596085 h 598658"/>
                    <a:gd name="connsiteX526" fmla="*/ 379953 w 647692"/>
                    <a:gd name="connsiteY526" fmla="*/ 598659 h 598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Lst>
                  <a:rect l="l" t="t" r="r" b="b"/>
                  <a:pathLst>
                    <a:path w="647692" h="598658">
                      <a:moveTo>
                        <a:pt x="378119" y="597979"/>
                      </a:moveTo>
                      <a:lnTo>
                        <a:pt x="369619" y="593523"/>
                      </a:lnTo>
                      <a:lnTo>
                        <a:pt x="365187" y="589552"/>
                      </a:lnTo>
                      <a:lnTo>
                        <a:pt x="363341" y="589588"/>
                      </a:lnTo>
                      <a:lnTo>
                        <a:pt x="362782" y="590098"/>
                      </a:lnTo>
                      <a:lnTo>
                        <a:pt x="359710" y="590815"/>
                      </a:lnTo>
                      <a:lnTo>
                        <a:pt x="356796" y="591070"/>
                      </a:lnTo>
                      <a:lnTo>
                        <a:pt x="352765" y="590936"/>
                      </a:lnTo>
                      <a:lnTo>
                        <a:pt x="350239" y="590025"/>
                      </a:lnTo>
                      <a:lnTo>
                        <a:pt x="348842" y="589382"/>
                      </a:lnTo>
                      <a:lnTo>
                        <a:pt x="348369" y="587087"/>
                      </a:lnTo>
                      <a:lnTo>
                        <a:pt x="345673" y="588253"/>
                      </a:lnTo>
                      <a:lnTo>
                        <a:pt x="340476" y="588690"/>
                      </a:lnTo>
                      <a:lnTo>
                        <a:pt x="337780" y="586735"/>
                      </a:lnTo>
                      <a:lnTo>
                        <a:pt x="335509" y="583869"/>
                      </a:lnTo>
                      <a:lnTo>
                        <a:pt x="334623" y="583505"/>
                      </a:lnTo>
                      <a:lnTo>
                        <a:pt x="326414" y="582193"/>
                      </a:lnTo>
                      <a:lnTo>
                        <a:pt x="323682" y="581185"/>
                      </a:lnTo>
                      <a:lnTo>
                        <a:pt x="320173" y="578902"/>
                      </a:lnTo>
                      <a:lnTo>
                        <a:pt x="315364" y="576644"/>
                      </a:lnTo>
                      <a:lnTo>
                        <a:pt x="310774" y="579255"/>
                      </a:lnTo>
                      <a:lnTo>
                        <a:pt x="307156" y="578490"/>
                      </a:lnTo>
                      <a:lnTo>
                        <a:pt x="305504" y="575770"/>
                      </a:lnTo>
                      <a:lnTo>
                        <a:pt x="305116" y="574349"/>
                      </a:lnTo>
                      <a:lnTo>
                        <a:pt x="304921" y="572588"/>
                      </a:lnTo>
                      <a:lnTo>
                        <a:pt x="295875" y="565448"/>
                      </a:lnTo>
                      <a:lnTo>
                        <a:pt x="292390" y="561247"/>
                      </a:lnTo>
                      <a:lnTo>
                        <a:pt x="291200" y="556462"/>
                      </a:lnTo>
                      <a:lnTo>
                        <a:pt x="293507" y="552358"/>
                      </a:lnTo>
                      <a:lnTo>
                        <a:pt x="294527" y="550051"/>
                      </a:lnTo>
                      <a:lnTo>
                        <a:pt x="294818" y="547902"/>
                      </a:lnTo>
                      <a:lnTo>
                        <a:pt x="294442" y="542874"/>
                      </a:lnTo>
                      <a:lnTo>
                        <a:pt x="295207" y="536839"/>
                      </a:lnTo>
                      <a:lnTo>
                        <a:pt x="294855" y="534484"/>
                      </a:lnTo>
                      <a:lnTo>
                        <a:pt x="293762" y="532565"/>
                      </a:lnTo>
                      <a:lnTo>
                        <a:pt x="291248" y="529274"/>
                      </a:lnTo>
                      <a:lnTo>
                        <a:pt x="289390" y="527331"/>
                      </a:lnTo>
                      <a:lnTo>
                        <a:pt x="284715" y="524490"/>
                      </a:lnTo>
                      <a:lnTo>
                        <a:pt x="276689" y="519985"/>
                      </a:lnTo>
                      <a:lnTo>
                        <a:pt x="271419" y="518151"/>
                      </a:lnTo>
                      <a:lnTo>
                        <a:pt x="267849" y="515868"/>
                      </a:lnTo>
                      <a:lnTo>
                        <a:pt x="266671" y="513027"/>
                      </a:lnTo>
                      <a:lnTo>
                        <a:pt x="266756" y="511084"/>
                      </a:lnTo>
                      <a:lnTo>
                        <a:pt x="266562" y="510635"/>
                      </a:lnTo>
                      <a:lnTo>
                        <a:pt x="265566" y="509785"/>
                      </a:lnTo>
                      <a:lnTo>
                        <a:pt x="264352" y="509226"/>
                      </a:lnTo>
                      <a:lnTo>
                        <a:pt x="262555" y="508850"/>
                      </a:lnTo>
                      <a:lnTo>
                        <a:pt x="260126" y="507393"/>
                      </a:lnTo>
                      <a:lnTo>
                        <a:pt x="258074" y="505037"/>
                      </a:lnTo>
                      <a:lnTo>
                        <a:pt x="256690" y="501856"/>
                      </a:lnTo>
                      <a:lnTo>
                        <a:pt x="255694" y="497593"/>
                      </a:lnTo>
                      <a:lnTo>
                        <a:pt x="254856" y="495966"/>
                      </a:lnTo>
                      <a:lnTo>
                        <a:pt x="253314" y="494048"/>
                      </a:lnTo>
                      <a:lnTo>
                        <a:pt x="250861" y="491534"/>
                      </a:lnTo>
                      <a:lnTo>
                        <a:pt x="248833" y="491194"/>
                      </a:lnTo>
                      <a:lnTo>
                        <a:pt x="247194" y="491473"/>
                      </a:lnTo>
                      <a:lnTo>
                        <a:pt x="244401" y="492323"/>
                      </a:lnTo>
                      <a:lnTo>
                        <a:pt x="240940" y="491825"/>
                      </a:lnTo>
                      <a:lnTo>
                        <a:pt x="238159" y="490550"/>
                      </a:lnTo>
                      <a:lnTo>
                        <a:pt x="235719" y="488122"/>
                      </a:lnTo>
                      <a:lnTo>
                        <a:pt x="234043" y="484649"/>
                      </a:lnTo>
                      <a:lnTo>
                        <a:pt x="233679" y="484710"/>
                      </a:lnTo>
                      <a:lnTo>
                        <a:pt x="233011" y="485074"/>
                      </a:lnTo>
                      <a:lnTo>
                        <a:pt x="230813" y="486786"/>
                      </a:lnTo>
                      <a:lnTo>
                        <a:pt x="229429" y="488110"/>
                      </a:lnTo>
                      <a:lnTo>
                        <a:pt x="229004" y="488778"/>
                      </a:lnTo>
                      <a:lnTo>
                        <a:pt x="227134" y="491315"/>
                      </a:lnTo>
                      <a:lnTo>
                        <a:pt x="215938" y="482415"/>
                      </a:lnTo>
                      <a:lnTo>
                        <a:pt x="211603" y="477873"/>
                      </a:lnTo>
                      <a:lnTo>
                        <a:pt x="201646" y="470466"/>
                      </a:lnTo>
                      <a:lnTo>
                        <a:pt x="197687" y="466665"/>
                      </a:lnTo>
                      <a:lnTo>
                        <a:pt x="195380" y="463362"/>
                      </a:lnTo>
                      <a:lnTo>
                        <a:pt x="194190" y="460460"/>
                      </a:lnTo>
                      <a:lnTo>
                        <a:pt x="193473" y="457947"/>
                      </a:lnTo>
                      <a:lnTo>
                        <a:pt x="193061" y="455530"/>
                      </a:lnTo>
                      <a:lnTo>
                        <a:pt x="193073" y="452822"/>
                      </a:lnTo>
                      <a:lnTo>
                        <a:pt x="193486" y="450515"/>
                      </a:lnTo>
                      <a:lnTo>
                        <a:pt x="194384" y="448293"/>
                      </a:lnTo>
                      <a:lnTo>
                        <a:pt x="195999" y="445476"/>
                      </a:lnTo>
                      <a:lnTo>
                        <a:pt x="192939" y="443606"/>
                      </a:lnTo>
                      <a:lnTo>
                        <a:pt x="192077" y="440934"/>
                      </a:lnTo>
                      <a:lnTo>
                        <a:pt x="192223" y="431087"/>
                      </a:lnTo>
                      <a:lnTo>
                        <a:pt x="192551" y="429010"/>
                      </a:lnTo>
                      <a:lnTo>
                        <a:pt x="193498" y="426751"/>
                      </a:lnTo>
                      <a:lnTo>
                        <a:pt x="196193" y="423570"/>
                      </a:lnTo>
                      <a:lnTo>
                        <a:pt x="193473" y="424056"/>
                      </a:lnTo>
                      <a:lnTo>
                        <a:pt x="191324" y="423874"/>
                      </a:lnTo>
                      <a:lnTo>
                        <a:pt x="189260" y="423606"/>
                      </a:lnTo>
                      <a:lnTo>
                        <a:pt x="188568" y="420838"/>
                      </a:lnTo>
                      <a:lnTo>
                        <a:pt x="188592" y="419344"/>
                      </a:lnTo>
                      <a:lnTo>
                        <a:pt x="189418" y="416199"/>
                      </a:lnTo>
                      <a:lnTo>
                        <a:pt x="189102" y="414876"/>
                      </a:lnTo>
                      <a:lnTo>
                        <a:pt x="189005" y="414718"/>
                      </a:lnTo>
                      <a:lnTo>
                        <a:pt x="187997" y="416248"/>
                      </a:lnTo>
                      <a:lnTo>
                        <a:pt x="186418" y="417547"/>
                      </a:lnTo>
                      <a:lnTo>
                        <a:pt x="184281" y="418166"/>
                      </a:lnTo>
                      <a:lnTo>
                        <a:pt x="182253" y="417377"/>
                      </a:lnTo>
                      <a:lnTo>
                        <a:pt x="180602" y="416029"/>
                      </a:lnTo>
                      <a:lnTo>
                        <a:pt x="179752" y="413843"/>
                      </a:lnTo>
                      <a:lnTo>
                        <a:pt x="179303" y="411439"/>
                      </a:lnTo>
                      <a:lnTo>
                        <a:pt x="178999" y="410990"/>
                      </a:lnTo>
                      <a:lnTo>
                        <a:pt x="178270" y="410869"/>
                      </a:lnTo>
                      <a:lnTo>
                        <a:pt x="176510" y="412872"/>
                      </a:lnTo>
                      <a:lnTo>
                        <a:pt x="174057" y="412046"/>
                      </a:lnTo>
                      <a:lnTo>
                        <a:pt x="172770" y="411391"/>
                      </a:lnTo>
                      <a:lnTo>
                        <a:pt x="171215" y="410103"/>
                      </a:lnTo>
                      <a:lnTo>
                        <a:pt x="169916" y="408076"/>
                      </a:lnTo>
                      <a:lnTo>
                        <a:pt x="168690" y="409035"/>
                      </a:lnTo>
                      <a:lnTo>
                        <a:pt x="167196" y="409375"/>
                      </a:lnTo>
                      <a:lnTo>
                        <a:pt x="165326" y="409290"/>
                      </a:lnTo>
                      <a:lnTo>
                        <a:pt x="162412" y="408221"/>
                      </a:lnTo>
                      <a:lnTo>
                        <a:pt x="160882" y="403024"/>
                      </a:lnTo>
                      <a:lnTo>
                        <a:pt x="157178" y="395823"/>
                      </a:lnTo>
                      <a:lnTo>
                        <a:pt x="150196" y="383231"/>
                      </a:lnTo>
                      <a:lnTo>
                        <a:pt x="148994" y="383935"/>
                      </a:lnTo>
                      <a:lnTo>
                        <a:pt x="147950" y="384324"/>
                      </a:lnTo>
                      <a:lnTo>
                        <a:pt x="145108" y="385041"/>
                      </a:lnTo>
                      <a:lnTo>
                        <a:pt x="145035" y="385211"/>
                      </a:lnTo>
                      <a:lnTo>
                        <a:pt x="146007" y="392181"/>
                      </a:lnTo>
                      <a:lnTo>
                        <a:pt x="145363" y="395508"/>
                      </a:lnTo>
                      <a:lnTo>
                        <a:pt x="145108" y="396455"/>
                      </a:lnTo>
                      <a:lnTo>
                        <a:pt x="142327" y="398713"/>
                      </a:lnTo>
                      <a:lnTo>
                        <a:pt x="140044" y="398386"/>
                      </a:lnTo>
                      <a:lnTo>
                        <a:pt x="139862" y="398847"/>
                      </a:lnTo>
                      <a:lnTo>
                        <a:pt x="139449" y="401348"/>
                      </a:lnTo>
                      <a:lnTo>
                        <a:pt x="137944" y="404202"/>
                      </a:lnTo>
                      <a:lnTo>
                        <a:pt x="135503" y="406509"/>
                      </a:lnTo>
                      <a:lnTo>
                        <a:pt x="132674" y="407080"/>
                      </a:lnTo>
                      <a:lnTo>
                        <a:pt x="130634" y="406497"/>
                      </a:lnTo>
                      <a:lnTo>
                        <a:pt x="127489" y="405161"/>
                      </a:lnTo>
                      <a:lnTo>
                        <a:pt x="126056" y="405271"/>
                      </a:lnTo>
                      <a:lnTo>
                        <a:pt x="125133" y="405562"/>
                      </a:lnTo>
                      <a:lnTo>
                        <a:pt x="119996" y="407796"/>
                      </a:lnTo>
                      <a:lnTo>
                        <a:pt x="114593" y="404651"/>
                      </a:lnTo>
                      <a:lnTo>
                        <a:pt x="109966" y="399952"/>
                      </a:lnTo>
                      <a:lnTo>
                        <a:pt x="107501" y="396261"/>
                      </a:lnTo>
                      <a:lnTo>
                        <a:pt x="106044" y="392472"/>
                      </a:lnTo>
                      <a:lnTo>
                        <a:pt x="103118" y="379491"/>
                      </a:lnTo>
                      <a:lnTo>
                        <a:pt x="92845" y="352194"/>
                      </a:lnTo>
                      <a:lnTo>
                        <a:pt x="69154" y="309499"/>
                      </a:lnTo>
                      <a:lnTo>
                        <a:pt x="65378" y="302286"/>
                      </a:lnTo>
                      <a:lnTo>
                        <a:pt x="64795" y="299736"/>
                      </a:lnTo>
                      <a:lnTo>
                        <a:pt x="64989" y="295826"/>
                      </a:lnTo>
                      <a:lnTo>
                        <a:pt x="67017" y="293458"/>
                      </a:lnTo>
                      <a:lnTo>
                        <a:pt x="69020" y="292560"/>
                      </a:lnTo>
                      <a:lnTo>
                        <a:pt x="71643" y="292281"/>
                      </a:lnTo>
                      <a:lnTo>
                        <a:pt x="72493" y="292390"/>
                      </a:lnTo>
                      <a:lnTo>
                        <a:pt x="66228" y="281230"/>
                      </a:lnTo>
                      <a:lnTo>
                        <a:pt x="59622" y="271953"/>
                      </a:lnTo>
                      <a:lnTo>
                        <a:pt x="57667" y="268529"/>
                      </a:lnTo>
                      <a:lnTo>
                        <a:pt x="54886" y="266853"/>
                      </a:lnTo>
                      <a:lnTo>
                        <a:pt x="44127" y="262202"/>
                      </a:lnTo>
                      <a:lnTo>
                        <a:pt x="34571" y="256483"/>
                      </a:lnTo>
                      <a:lnTo>
                        <a:pt x="25658" y="252792"/>
                      </a:lnTo>
                      <a:lnTo>
                        <a:pt x="25148" y="252270"/>
                      </a:lnTo>
                      <a:lnTo>
                        <a:pt x="23059" y="252731"/>
                      </a:lnTo>
                      <a:lnTo>
                        <a:pt x="18093" y="250873"/>
                      </a:lnTo>
                      <a:lnTo>
                        <a:pt x="7310" y="249270"/>
                      </a:lnTo>
                      <a:lnTo>
                        <a:pt x="4930" y="248469"/>
                      </a:lnTo>
                      <a:lnTo>
                        <a:pt x="1494" y="246915"/>
                      </a:lnTo>
                      <a:lnTo>
                        <a:pt x="0" y="243114"/>
                      </a:lnTo>
                      <a:lnTo>
                        <a:pt x="1348" y="240163"/>
                      </a:lnTo>
                      <a:lnTo>
                        <a:pt x="12616" y="227959"/>
                      </a:lnTo>
                      <a:lnTo>
                        <a:pt x="14098" y="225422"/>
                      </a:lnTo>
                      <a:lnTo>
                        <a:pt x="14996" y="223491"/>
                      </a:lnTo>
                      <a:lnTo>
                        <a:pt x="14231" y="223892"/>
                      </a:lnTo>
                      <a:lnTo>
                        <a:pt x="11378" y="223940"/>
                      </a:lnTo>
                      <a:lnTo>
                        <a:pt x="7759" y="221742"/>
                      </a:lnTo>
                      <a:lnTo>
                        <a:pt x="6241" y="218063"/>
                      </a:lnTo>
                      <a:lnTo>
                        <a:pt x="5622" y="213971"/>
                      </a:lnTo>
                      <a:lnTo>
                        <a:pt x="6047" y="210243"/>
                      </a:lnTo>
                      <a:lnTo>
                        <a:pt x="7140" y="207256"/>
                      </a:lnTo>
                      <a:lnTo>
                        <a:pt x="9010" y="204997"/>
                      </a:lnTo>
                      <a:lnTo>
                        <a:pt x="9981" y="204317"/>
                      </a:lnTo>
                      <a:lnTo>
                        <a:pt x="24189" y="200966"/>
                      </a:lnTo>
                      <a:lnTo>
                        <a:pt x="27273" y="199691"/>
                      </a:lnTo>
                      <a:lnTo>
                        <a:pt x="29787" y="198100"/>
                      </a:lnTo>
                      <a:lnTo>
                        <a:pt x="32227" y="195987"/>
                      </a:lnTo>
                      <a:lnTo>
                        <a:pt x="38797" y="188507"/>
                      </a:lnTo>
                      <a:lnTo>
                        <a:pt x="53890" y="176996"/>
                      </a:lnTo>
                      <a:lnTo>
                        <a:pt x="63095" y="172005"/>
                      </a:lnTo>
                      <a:lnTo>
                        <a:pt x="62998" y="171713"/>
                      </a:lnTo>
                      <a:lnTo>
                        <a:pt x="55517" y="157931"/>
                      </a:lnTo>
                      <a:lnTo>
                        <a:pt x="53939" y="156110"/>
                      </a:lnTo>
                      <a:lnTo>
                        <a:pt x="48730" y="154835"/>
                      </a:lnTo>
                      <a:lnTo>
                        <a:pt x="52785" y="149188"/>
                      </a:lnTo>
                      <a:lnTo>
                        <a:pt x="54461" y="145934"/>
                      </a:lnTo>
                      <a:lnTo>
                        <a:pt x="54218" y="142935"/>
                      </a:lnTo>
                      <a:lnTo>
                        <a:pt x="60460" y="134422"/>
                      </a:lnTo>
                      <a:lnTo>
                        <a:pt x="64127" y="131107"/>
                      </a:lnTo>
                      <a:lnTo>
                        <a:pt x="65110" y="130500"/>
                      </a:lnTo>
                      <a:lnTo>
                        <a:pt x="65560" y="128557"/>
                      </a:lnTo>
                      <a:lnTo>
                        <a:pt x="65548" y="126894"/>
                      </a:lnTo>
                      <a:lnTo>
                        <a:pt x="65341" y="125012"/>
                      </a:lnTo>
                      <a:lnTo>
                        <a:pt x="61868" y="117750"/>
                      </a:lnTo>
                      <a:lnTo>
                        <a:pt x="61067" y="114872"/>
                      </a:lnTo>
                      <a:lnTo>
                        <a:pt x="61298" y="106943"/>
                      </a:lnTo>
                      <a:lnTo>
                        <a:pt x="63095" y="102584"/>
                      </a:lnTo>
                      <a:lnTo>
                        <a:pt x="63034" y="102037"/>
                      </a:lnTo>
                      <a:lnTo>
                        <a:pt x="62536" y="100228"/>
                      </a:lnTo>
                      <a:lnTo>
                        <a:pt x="58893" y="95771"/>
                      </a:lnTo>
                      <a:lnTo>
                        <a:pt x="57509" y="93416"/>
                      </a:lnTo>
                      <a:lnTo>
                        <a:pt x="56562" y="91327"/>
                      </a:lnTo>
                      <a:lnTo>
                        <a:pt x="55469" y="89688"/>
                      </a:lnTo>
                      <a:lnTo>
                        <a:pt x="53587" y="87417"/>
                      </a:lnTo>
                      <a:lnTo>
                        <a:pt x="47370" y="81176"/>
                      </a:lnTo>
                      <a:lnTo>
                        <a:pt x="44820" y="78055"/>
                      </a:lnTo>
                      <a:lnTo>
                        <a:pt x="43120" y="74351"/>
                      </a:lnTo>
                      <a:lnTo>
                        <a:pt x="42597" y="70684"/>
                      </a:lnTo>
                      <a:lnTo>
                        <a:pt x="43472" y="66507"/>
                      </a:lnTo>
                      <a:lnTo>
                        <a:pt x="45342" y="64261"/>
                      </a:lnTo>
                      <a:lnTo>
                        <a:pt x="48390" y="62257"/>
                      </a:lnTo>
                      <a:lnTo>
                        <a:pt x="52907" y="61055"/>
                      </a:lnTo>
                      <a:lnTo>
                        <a:pt x="55991" y="61018"/>
                      </a:lnTo>
                      <a:lnTo>
                        <a:pt x="58638" y="61504"/>
                      </a:lnTo>
                      <a:lnTo>
                        <a:pt x="63750" y="63641"/>
                      </a:lnTo>
                      <a:lnTo>
                        <a:pt x="64916" y="63823"/>
                      </a:lnTo>
                      <a:lnTo>
                        <a:pt x="67005" y="64613"/>
                      </a:lnTo>
                      <a:lnTo>
                        <a:pt x="69275" y="66203"/>
                      </a:lnTo>
                      <a:lnTo>
                        <a:pt x="72505" y="69871"/>
                      </a:lnTo>
                      <a:lnTo>
                        <a:pt x="73040" y="69688"/>
                      </a:lnTo>
                      <a:lnTo>
                        <a:pt x="75748" y="67964"/>
                      </a:lnTo>
                      <a:lnTo>
                        <a:pt x="90198" y="55991"/>
                      </a:lnTo>
                      <a:lnTo>
                        <a:pt x="94351" y="51304"/>
                      </a:lnTo>
                      <a:lnTo>
                        <a:pt x="95407" y="49920"/>
                      </a:lnTo>
                      <a:lnTo>
                        <a:pt x="99596" y="46738"/>
                      </a:lnTo>
                      <a:lnTo>
                        <a:pt x="109966" y="42355"/>
                      </a:lnTo>
                      <a:lnTo>
                        <a:pt x="118139" y="39938"/>
                      </a:lnTo>
                      <a:lnTo>
                        <a:pt x="121830" y="38420"/>
                      </a:lnTo>
                      <a:lnTo>
                        <a:pt x="125279" y="36101"/>
                      </a:lnTo>
                      <a:lnTo>
                        <a:pt x="129395" y="31705"/>
                      </a:lnTo>
                      <a:lnTo>
                        <a:pt x="130488" y="28973"/>
                      </a:lnTo>
                      <a:lnTo>
                        <a:pt x="130986" y="26763"/>
                      </a:lnTo>
                      <a:lnTo>
                        <a:pt x="130974" y="24517"/>
                      </a:lnTo>
                      <a:lnTo>
                        <a:pt x="132564" y="21797"/>
                      </a:lnTo>
                      <a:lnTo>
                        <a:pt x="135564" y="18773"/>
                      </a:lnTo>
                      <a:lnTo>
                        <a:pt x="147172" y="11621"/>
                      </a:lnTo>
                      <a:lnTo>
                        <a:pt x="155648" y="7735"/>
                      </a:lnTo>
                      <a:lnTo>
                        <a:pt x="177991" y="3437"/>
                      </a:lnTo>
                      <a:lnTo>
                        <a:pt x="183565" y="0"/>
                      </a:lnTo>
                      <a:lnTo>
                        <a:pt x="188410" y="510"/>
                      </a:lnTo>
                      <a:lnTo>
                        <a:pt x="199156" y="8913"/>
                      </a:lnTo>
                      <a:lnTo>
                        <a:pt x="200152" y="9204"/>
                      </a:lnTo>
                      <a:lnTo>
                        <a:pt x="220977" y="7541"/>
                      </a:lnTo>
                      <a:lnTo>
                        <a:pt x="224620" y="8209"/>
                      </a:lnTo>
                      <a:lnTo>
                        <a:pt x="228239" y="10188"/>
                      </a:lnTo>
                      <a:lnTo>
                        <a:pt x="240309" y="23618"/>
                      </a:lnTo>
                      <a:lnTo>
                        <a:pt x="243211" y="25294"/>
                      </a:lnTo>
                      <a:lnTo>
                        <a:pt x="253787" y="34170"/>
                      </a:lnTo>
                      <a:lnTo>
                        <a:pt x="258802" y="40436"/>
                      </a:lnTo>
                      <a:lnTo>
                        <a:pt x="260976" y="42634"/>
                      </a:lnTo>
                      <a:lnTo>
                        <a:pt x="263441" y="44115"/>
                      </a:lnTo>
                      <a:lnTo>
                        <a:pt x="271285" y="47649"/>
                      </a:lnTo>
                      <a:lnTo>
                        <a:pt x="288383" y="59889"/>
                      </a:lnTo>
                      <a:lnTo>
                        <a:pt x="296992" y="64613"/>
                      </a:lnTo>
                      <a:lnTo>
                        <a:pt x="312256" y="69567"/>
                      </a:lnTo>
                      <a:lnTo>
                        <a:pt x="336311" y="76828"/>
                      </a:lnTo>
                      <a:lnTo>
                        <a:pt x="338484" y="76756"/>
                      </a:lnTo>
                      <a:lnTo>
                        <a:pt x="338897" y="76403"/>
                      </a:lnTo>
                      <a:lnTo>
                        <a:pt x="339796" y="74363"/>
                      </a:lnTo>
                      <a:lnTo>
                        <a:pt x="340864" y="73295"/>
                      </a:lnTo>
                      <a:lnTo>
                        <a:pt x="343621" y="71935"/>
                      </a:lnTo>
                      <a:lnTo>
                        <a:pt x="352971" y="70988"/>
                      </a:lnTo>
                      <a:lnTo>
                        <a:pt x="358945" y="69640"/>
                      </a:lnTo>
                      <a:lnTo>
                        <a:pt x="362151" y="68146"/>
                      </a:lnTo>
                      <a:lnTo>
                        <a:pt x="370420" y="66058"/>
                      </a:lnTo>
                      <a:lnTo>
                        <a:pt x="372740" y="65123"/>
                      </a:lnTo>
                      <a:lnTo>
                        <a:pt x="374950" y="63920"/>
                      </a:lnTo>
                      <a:lnTo>
                        <a:pt x="377233" y="62220"/>
                      </a:lnTo>
                      <a:lnTo>
                        <a:pt x="381822" y="57630"/>
                      </a:lnTo>
                      <a:lnTo>
                        <a:pt x="383608" y="56185"/>
                      </a:lnTo>
                      <a:lnTo>
                        <a:pt x="386145" y="55068"/>
                      </a:lnTo>
                      <a:lnTo>
                        <a:pt x="389922" y="54036"/>
                      </a:lnTo>
                      <a:lnTo>
                        <a:pt x="390760" y="53393"/>
                      </a:lnTo>
                      <a:lnTo>
                        <a:pt x="391889" y="52421"/>
                      </a:lnTo>
                      <a:lnTo>
                        <a:pt x="394439" y="49640"/>
                      </a:lnTo>
                      <a:lnTo>
                        <a:pt x="395180" y="49203"/>
                      </a:lnTo>
                      <a:lnTo>
                        <a:pt x="399005" y="47467"/>
                      </a:lnTo>
                      <a:lnTo>
                        <a:pt x="400814" y="46228"/>
                      </a:lnTo>
                      <a:lnTo>
                        <a:pt x="403230" y="45888"/>
                      </a:lnTo>
                      <a:lnTo>
                        <a:pt x="405975" y="46337"/>
                      </a:lnTo>
                      <a:lnTo>
                        <a:pt x="406849" y="46556"/>
                      </a:lnTo>
                      <a:lnTo>
                        <a:pt x="409642" y="49555"/>
                      </a:lnTo>
                      <a:lnTo>
                        <a:pt x="411828" y="53125"/>
                      </a:lnTo>
                      <a:lnTo>
                        <a:pt x="415884" y="57800"/>
                      </a:lnTo>
                      <a:lnTo>
                        <a:pt x="426678" y="68559"/>
                      </a:lnTo>
                      <a:lnTo>
                        <a:pt x="433272" y="76598"/>
                      </a:lnTo>
                      <a:lnTo>
                        <a:pt x="440084" y="91242"/>
                      </a:lnTo>
                      <a:lnTo>
                        <a:pt x="442695" y="93355"/>
                      </a:lnTo>
                      <a:lnTo>
                        <a:pt x="445573" y="97216"/>
                      </a:lnTo>
                      <a:lnTo>
                        <a:pt x="447030" y="100422"/>
                      </a:lnTo>
                      <a:lnTo>
                        <a:pt x="447892" y="112249"/>
                      </a:lnTo>
                      <a:lnTo>
                        <a:pt x="448924" y="114617"/>
                      </a:lnTo>
                      <a:lnTo>
                        <a:pt x="450491" y="116427"/>
                      </a:lnTo>
                      <a:lnTo>
                        <a:pt x="454850" y="120834"/>
                      </a:lnTo>
                      <a:lnTo>
                        <a:pt x="456963" y="123846"/>
                      </a:lnTo>
                      <a:lnTo>
                        <a:pt x="458274" y="127634"/>
                      </a:lnTo>
                      <a:lnTo>
                        <a:pt x="459052" y="129383"/>
                      </a:lnTo>
                      <a:lnTo>
                        <a:pt x="460278" y="130342"/>
                      </a:lnTo>
                      <a:lnTo>
                        <a:pt x="464953" y="130172"/>
                      </a:lnTo>
                      <a:lnTo>
                        <a:pt x="466714" y="129310"/>
                      </a:lnTo>
                      <a:lnTo>
                        <a:pt x="468353" y="127307"/>
                      </a:lnTo>
                      <a:lnTo>
                        <a:pt x="469470" y="125497"/>
                      </a:lnTo>
                      <a:lnTo>
                        <a:pt x="471535" y="123712"/>
                      </a:lnTo>
                      <a:lnTo>
                        <a:pt x="473708" y="122607"/>
                      </a:lnTo>
                      <a:lnTo>
                        <a:pt x="474048" y="122109"/>
                      </a:lnTo>
                      <a:lnTo>
                        <a:pt x="474558" y="121053"/>
                      </a:lnTo>
                      <a:lnTo>
                        <a:pt x="474935" y="120434"/>
                      </a:lnTo>
                      <a:lnTo>
                        <a:pt x="477497" y="118867"/>
                      </a:lnTo>
                      <a:lnTo>
                        <a:pt x="481565" y="117689"/>
                      </a:lnTo>
                      <a:lnTo>
                        <a:pt x="485438" y="117204"/>
                      </a:lnTo>
                      <a:lnTo>
                        <a:pt x="489373" y="114508"/>
                      </a:lnTo>
                      <a:lnTo>
                        <a:pt x="492712" y="113427"/>
                      </a:lnTo>
                      <a:lnTo>
                        <a:pt x="496573" y="113294"/>
                      </a:lnTo>
                      <a:lnTo>
                        <a:pt x="500665" y="113707"/>
                      </a:lnTo>
                      <a:lnTo>
                        <a:pt x="502766" y="113172"/>
                      </a:lnTo>
                      <a:lnTo>
                        <a:pt x="503033" y="112990"/>
                      </a:lnTo>
                      <a:lnTo>
                        <a:pt x="505535" y="109578"/>
                      </a:lnTo>
                      <a:lnTo>
                        <a:pt x="508413" y="107574"/>
                      </a:lnTo>
                      <a:lnTo>
                        <a:pt x="513816" y="105656"/>
                      </a:lnTo>
                      <a:lnTo>
                        <a:pt x="513938" y="105546"/>
                      </a:lnTo>
                      <a:lnTo>
                        <a:pt x="514059" y="105194"/>
                      </a:lnTo>
                      <a:lnTo>
                        <a:pt x="513646" y="101527"/>
                      </a:lnTo>
                      <a:lnTo>
                        <a:pt x="514581" y="99511"/>
                      </a:lnTo>
                      <a:lnTo>
                        <a:pt x="516293" y="98261"/>
                      </a:lnTo>
                      <a:lnTo>
                        <a:pt x="517751" y="97836"/>
                      </a:lnTo>
                      <a:lnTo>
                        <a:pt x="519754" y="97508"/>
                      </a:lnTo>
                      <a:lnTo>
                        <a:pt x="523676" y="97301"/>
                      </a:lnTo>
                      <a:lnTo>
                        <a:pt x="525656" y="97544"/>
                      </a:lnTo>
                      <a:lnTo>
                        <a:pt x="528242" y="98576"/>
                      </a:lnTo>
                      <a:lnTo>
                        <a:pt x="529007" y="99511"/>
                      </a:lnTo>
                      <a:lnTo>
                        <a:pt x="529881" y="100835"/>
                      </a:lnTo>
                      <a:lnTo>
                        <a:pt x="530452" y="102329"/>
                      </a:lnTo>
                      <a:lnTo>
                        <a:pt x="531970" y="107769"/>
                      </a:lnTo>
                      <a:lnTo>
                        <a:pt x="532504" y="111229"/>
                      </a:lnTo>
                      <a:lnTo>
                        <a:pt x="532723" y="114629"/>
                      </a:lnTo>
                      <a:lnTo>
                        <a:pt x="532019" y="121454"/>
                      </a:lnTo>
                      <a:lnTo>
                        <a:pt x="531375" y="124283"/>
                      </a:lnTo>
                      <a:lnTo>
                        <a:pt x="530719" y="126311"/>
                      </a:lnTo>
                      <a:lnTo>
                        <a:pt x="529311" y="128824"/>
                      </a:lnTo>
                      <a:lnTo>
                        <a:pt x="526894" y="131204"/>
                      </a:lnTo>
                      <a:lnTo>
                        <a:pt x="521588" y="134447"/>
                      </a:lnTo>
                      <a:lnTo>
                        <a:pt x="518151" y="136985"/>
                      </a:lnTo>
                      <a:lnTo>
                        <a:pt x="516840" y="138442"/>
                      </a:lnTo>
                      <a:lnTo>
                        <a:pt x="515285" y="141963"/>
                      </a:lnTo>
                      <a:lnTo>
                        <a:pt x="514290" y="147622"/>
                      </a:lnTo>
                      <a:lnTo>
                        <a:pt x="513331" y="150621"/>
                      </a:lnTo>
                      <a:lnTo>
                        <a:pt x="511643" y="153936"/>
                      </a:lnTo>
                      <a:lnTo>
                        <a:pt x="511412" y="155442"/>
                      </a:lnTo>
                      <a:lnTo>
                        <a:pt x="511910" y="157615"/>
                      </a:lnTo>
                      <a:lnTo>
                        <a:pt x="512978" y="158720"/>
                      </a:lnTo>
                      <a:lnTo>
                        <a:pt x="514387" y="159522"/>
                      </a:lnTo>
                      <a:lnTo>
                        <a:pt x="514897" y="159461"/>
                      </a:lnTo>
                      <a:lnTo>
                        <a:pt x="522693" y="151119"/>
                      </a:lnTo>
                      <a:lnTo>
                        <a:pt x="530282" y="146250"/>
                      </a:lnTo>
                      <a:lnTo>
                        <a:pt x="537058" y="159971"/>
                      </a:lnTo>
                      <a:lnTo>
                        <a:pt x="544222" y="169953"/>
                      </a:lnTo>
                      <a:lnTo>
                        <a:pt x="545291" y="172940"/>
                      </a:lnTo>
                      <a:lnTo>
                        <a:pt x="545667" y="174227"/>
                      </a:lnTo>
                      <a:lnTo>
                        <a:pt x="544234" y="176631"/>
                      </a:lnTo>
                      <a:lnTo>
                        <a:pt x="542461" y="178477"/>
                      </a:lnTo>
                      <a:lnTo>
                        <a:pt x="542146" y="179485"/>
                      </a:lnTo>
                      <a:lnTo>
                        <a:pt x="542097" y="181112"/>
                      </a:lnTo>
                      <a:lnTo>
                        <a:pt x="542340" y="181173"/>
                      </a:lnTo>
                      <a:lnTo>
                        <a:pt x="547343" y="201257"/>
                      </a:lnTo>
                      <a:lnTo>
                        <a:pt x="547185" y="206612"/>
                      </a:lnTo>
                      <a:lnTo>
                        <a:pt x="546238" y="210486"/>
                      </a:lnTo>
                      <a:lnTo>
                        <a:pt x="547829" y="210971"/>
                      </a:lnTo>
                      <a:lnTo>
                        <a:pt x="555794" y="215039"/>
                      </a:lnTo>
                      <a:lnTo>
                        <a:pt x="560360" y="221038"/>
                      </a:lnTo>
                      <a:lnTo>
                        <a:pt x="563821" y="227972"/>
                      </a:lnTo>
                      <a:lnTo>
                        <a:pt x="581756" y="251177"/>
                      </a:lnTo>
                      <a:lnTo>
                        <a:pt x="586637" y="254698"/>
                      </a:lnTo>
                      <a:lnTo>
                        <a:pt x="594494" y="259058"/>
                      </a:lnTo>
                      <a:lnTo>
                        <a:pt x="597275" y="261571"/>
                      </a:lnTo>
                      <a:lnTo>
                        <a:pt x="600395" y="267558"/>
                      </a:lnTo>
                      <a:lnTo>
                        <a:pt x="599752" y="272378"/>
                      </a:lnTo>
                      <a:lnTo>
                        <a:pt x="595429" y="282056"/>
                      </a:lnTo>
                      <a:lnTo>
                        <a:pt x="594445" y="285736"/>
                      </a:lnTo>
                      <a:lnTo>
                        <a:pt x="593134" y="294175"/>
                      </a:lnTo>
                      <a:lnTo>
                        <a:pt x="591859" y="298534"/>
                      </a:lnTo>
                      <a:lnTo>
                        <a:pt x="586880" y="306051"/>
                      </a:lnTo>
                      <a:lnTo>
                        <a:pt x="586674" y="307314"/>
                      </a:lnTo>
                      <a:lnTo>
                        <a:pt x="591191" y="312146"/>
                      </a:lnTo>
                      <a:lnTo>
                        <a:pt x="590997" y="315243"/>
                      </a:lnTo>
                      <a:lnTo>
                        <a:pt x="590463" y="317744"/>
                      </a:lnTo>
                      <a:lnTo>
                        <a:pt x="590499" y="317999"/>
                      </a:lnTo>
                      <a:lnTo>
                        <a:pt x="591143" y="319068"/>
                      </a:lnTo>
                      <a:lnTo>
                        <a:pt x="593146" y="321363"/>
                      </a:lnTo>
                      <a:lnTo>
                        <a:pt x="595137" y="325795"/>
                      </a:lnTo>
                      <a:lnTo>
                        <a:pt x="595866" y="326730"/>
                      </a:lnTo>
                      <a:lnTo>
                        <a:pt x="597117" y="327058"/>
                      </a:lnTo>
                      <a:lnTo>
                        <a:pt x="599703" y="326852"/>
                      </a:lnTo>
                      <a:lnTo>
                        <a:pt x="600991" y="326815"/>
                      </a:lnTo>
                      <a:lnTo>
                        <a:pt x="608859" y="334514"/>
                      </a:lnTo>
                      <a:lnTo>
                        <a:pt x="614615" y="341581"/>
                      </a:lnTo>
                      <a:lnTo>
                        <a:pt x="612891" y="346341"/>
                      </a:lnTo>
                      <a:lnTo>
                        <a:pt x="609308" y="350154"/>
                      </a:lnTo>
                      <a:lnTo>
                        <a:pt x="591568" y="364009"/>
                      </a:lnTo>
                      <a:lnTo>
                        <a:pt x="591349" y="365345"/>
                      </a:lnTo>
                      <a:lnTo>
                        <a:pt x="596631" y="368502"/>
                      </a:lnTo>
                      <a:lnTo>
                        <a:pt x="603723" y="374464"/>
                      </a:lnTo>
                      <a:lnTo>
                        <a:pt x="603164" y="382843"/>
                      </a:lnTo>
                      <a:lnTo>
                        <a:pt x="600311" y="391610"/>
                      </a:lnTo>
                      <a:lnTo>
                        <a:pt x="599108" y="399114"/>
                      </a:lnTo>
                      <a:lnTo>
                        <a:pt x="599545" y="401822"/>
                      </a:lnTo>
                      <a:lnTo>
                        <a:pt x="599740" y="402235"/>
                      </a:lnTo>
                      <a:lnTo>
                        <a:pt x="600784" y="403085"/>
                      </a:lnTo>
                      <a:lnTo>
                        <a:pt x="605423" y="405271"/>
                      </a:lnTo>
                      <a:lnTo>
                        <a:pt x="606953" y="405283"/>
                      </a:lnTo>
                      <a:lnTo>
                        <a:pt x="611033" y="404214"/>
                      </a:lnTo>
                      <a:lnTo>
                        <a:pt x="617140" y="404736"/>
                      </a:lnTo>
                      <a:lnTo>
                        <a:pt x="618440" y="404639"/>
                      </a:lnTo>
                      <a:lnTo>
                        <a:pt x="620783" y="403498"/>
                      </a:lnTo>
                      <a:lnTo>
                        <a:pt x="623333" y="401045"/>
                      </a:lnTo>
                      <a:lnTo>
                        <a:pt x="624900" y="404190"/>
                      </a:lnTo>
                      <a:lnTo>
                        <a:pt x="628458" y="409266"/>
                      </a:lnTo>
                      <a:lnTo>
                        <a:pt x="629599" y="410480"/>
                      </a:lnTo>
                      <a:lnTo>
                        <a:pt x="635319" y="416005"/>
                      </a:lnTo>
                      <a:lnTo>
                        <a:pt x="646405" y="432434"/>
                      </a:lnTo>
                      <a:lnTo>
                        <a:pt x="647692" y="437449"/>
                      </a:lnTo>
                      <a:lnTo>
                        <a:pt x="646514" y="443254"/>
                      </a:lnTo>
                      <a:lnTo>
                        <a:pt x="638816" y="445622"/>
                      </a:lnTo>
                      <a:lnTo>
                        <a:pt x="633036" y="446411"/>
                      </a:lnTo>
                      <a:lnTo>
                        <a:pt x="619739" y="445670"/>
                      </a:lnTo>
                      <a:lnTo>
                        <a:pt x="614712" y="442537"/>
                      </a:lnTo>
                      <a:lnTo>
                        <a:pt x="611761" y="439684"/>
                      </a:lnTo>
                      <a:lnTo>
                        <a:pt x="608859" y="435689"/>
                      </a:lnTo>
                      <a:lnTo>
                        <a:pt x="604998" y="427929"/>
                      </a:lnTo>
                      <a:lnTo>
                        <a:pt x="602982" y="427516"/>
                      </a:lnTo>
                      <a:lnTo>
                        <a:pt x="598999" y="427686"/>
                      </a:lnTo>
                      <a:lnTo>
                        <a:pt x="592648" y="426715"/>
                      </a:lnTo>
                      <a:lnTo>
                        <a:pt x="586273" y="426302"/>
                      </a:lnTo>
                      <a:lnTo>
                        <a:pt x="582873" y="426618"/>
                      </a:lnTo>
                      <a:lnTo>
                        <a:pt x="579570" y="426387"/>
                      </a:lnTo>
                      <a:lnTo>
                        <a:pt x="575429" y="425136"/>
                      </a:lnTo>
                      <a:lnTo>
                        <a:pt x="572807" y="423789"/>
                      </a:lnTo>
                      <a:lnTo>
                        <a:pt x="570342" y="423254"/>
                      </a:lnTo>
                      <a:lnTo>
                        <a:pt x="566589" y="423145"/>
                      </a:lnTo>
                      <a:lnTo>
                        <a:pt x="559207" y="424080"/>
                      </a:lnTo>
                      <a:lnTo>
                        <a:pt x="555661" y="425027"/>
                      </a:lnTo>
                      <a:lnTo>
                        <a:pt x="551921" y="425513"/>
                      </a:lnTo>
                      <a:lnTo>
                        <a:pt x="548824" y="424869"/>
                      </a:lnTo>
                      <a:lnTo>
                        <a:pt x="544841" y="422526"/>
                      </a:lnTo>
                      <a:lnTo>
                        <a:pt x="538369" y="415786"/>
                      </a:lnTo>
                      <a:lnTo>
                        <a:pt x="537398" y="415094"/>
                      </a:lnTo>
                      <a:lnTo>
                        <a:pt x="535249" y="415507"/>
                      </a:lnTo>
                      <a:lnTo>
                        <a:pt x="531921" y="415459"/>
                      </a:lnTo>
                      <a:lnTo>
                        <a:pt x="528667" y="413297"/>
                      </a:lnTo>
                      <a:lnTo>
                        <a:pt x="527344" y="410978"/>
                      </a:lnTo>
                      <a:lnTo>
                        <a:pt x="526736" y="410808"/>
                      </a:lnTo>
                      <a:lnTo>
                        <a:pt x="522984" y="410978"/>
                      </a:lnTo>
                      <a:lnTo>
                        <a:pt x="515868" y="410006"/>
                      </a:lnTo>
                      <a:lnTo>
                        <a:pt x="513428" y="410091"/>
                      </a:lnTo>
                      <a:lnTo>
                        <a:pt x="511849" y="410747"/>
                      </a:lnTo>
                      <a:lnTo>
                        <a:pt x="503240" y="416442"/>
                      </a:lnTo>
                      <a:lnTo>
                        <a:pt x="493392" y="419502"/>
                      </a:lnTo>
                      <a:lnTo>
                        <a:pt x="481006" y="426278"/>
                      </a:lnTo>
                      <a:lnTo>
                        <a:pt x="472615" y="432119"/>
                      </a:lnTo>
                      <a:lnTo>
                        <a:pt x="466289" y="435069"/>
                      </a:lnTo>
                      <a:lnTo>
                        <a:pt x="463435" y="435749"/>
                      </a:lnTo>
                      <a:lnTo>
                        <a:pt x="459428" y="435980"/>
                      </a:lnTo>
                      <a:lnTo>
                        <a:pt x="450272" y="434474"/>
                      </a:lnTo>
                      <a:lnTo>
                        <a:pt x="448681" y="434499"/>
                      </a:lnTo>
                      <a:lnTo>
                        <a:pt x="447455" y="435045"/>
                      </a:lnTo>
                      <a:lnTo>
                        <a:pt x="445961" y="436235"/>
                      </a:lnTo>
                      <a:lnTo>
                        <a:pt x="440558" y="441554"/>
                      </a:lnTo>
                      <a:lnTo>
                        <a:pt x="434754" y="448572"/>
                      </a:lnTo>
                      <a:lnTo>
                        <a:pt x="423327" y="459659"/>
                      </a:lnTo>
                      <a:lnTo>
                        <a:pt x="422598" y="460655"/>
                      </a:lnTo>
                      <a:lnTo>
                        <a:pt x="422526" y="460970"/>
                      </a:lnTo>
                      <a:lnTo>
                        <a:pt x="424044" y="463727"/>
                      </a:lnTo>
                      <a:lnTo>
                        <a:pt x="424626" y="466714"/>
                      </a:lnTo>
                      <a:lnTo>
                        <a:pt x="424724" y="467552"/>
                      </a:lnTo>
                      <a:lnTo>
                        <a:pt x="423230" y="470794"/>
                      </a:lnTo>
                      <a:lnTo>
                        <a:pt x="420947" y="473344"/>
                      </a:lnTo>
                      <a:lnTo>
                        <a:pt x="417766" y="475044"/>
                      </a:lnTo>
                      <a:lnTo>
                        <a:pt x="415458" y="475044"/>
                      </a:lnTo>
                      <a:lnTo>
                        <a:pt x="414475" y="474716"/>
                      </a:lnTo>
                      <a:lnTo>
                        <a:pt x="415616" y="476695"/>
                      </a:lnTo>
                      <a:lnTo>
                        <a:pt x="416867" y="477800"/>
                      </a:lnTo>
                      <a:lnTo>
                        <a:pt x="417984" y="478177"/>
                      </a:lnTo>
                      <a:lnTo>
                        <a:pt x="420716" y="480545"/>
                      </a:lnTo>
                      <a:lnTo>
                        <a:pt x="421639" y="483580"/>
                      </a:lnTo>
                      <a:lnTo>
                        <a:pt x="421894" y="489336"/>
                      </a:lnTo>
                      <a:lnTo>
                        <a:pt x="419976" y="497023"/>
                      </a:lnTo>
                      <a:lnTo>
                        <a:pt x="414208" y="496962"/>
                      </a:lnTo>
                      <a:lnTo>
                        <a:pt x="412301" y="495590"/>
                      </a:lnTo>
                      <a:lnTo>
                        <a:pt x="411670" y="496513"/>
                      </a:lnTo>
                      <a:lnTo>
                        <a:pt x="409678" y="502669"/>
                      </a:lnTo>
                      <a:lnTo>
                        <a:pt x="405113" y="512274"/>
                      </a:lnTo>
                      <a:lnTo>
                        <a:pt x="404991" y="514970"/>
                      </a:lnTo>
                      <a:lnTo>
                        <a:pt x="405258" y="515881"/>
                      </a:lnTo>
                      <a:lnTo>
                        <a:pt x="410613" y="520798"/>
                      </a:lnTo>
                      <a:lnTo>
                        <a:pt x="411658" y="525085"/>
                      </a:lnTo>
                      <a:lnTo>
                        <a:pt x="411901" y="530209"/>
                      </a:lnTo>
                      <a:lnTo>
                        <a:pt x="412277" y="531278"/>
                      </a:lnTo>
                      <a:lnTo>
                        <a:pt x="414936" y="534314"/>
                      </a:lnTo>
                      <a:lnTo>
                        <a:pt x="416163" y="536524"/>
                      </a:lnTo>
                      <a:lnTo>
                        <a:pt x="417571" y="542559"/>
                      </a:lnTo>
                      <a:lnTo>
                        <a:pt x="417268" y="545655"/>
                      </a:lnTo>
                      <a:lnTo>
                        <a:pt x="415786" y="548582"/>
                      </a:lnTo>
                      <a:lnTo>
                        <a:pt x="415422" y="549213"/>
                      </a:lnTo>
                      <a:lnTo>
                        <a:pt x="413188" y="550658"/>
                      </a:lnTo>
                      <a:lnTo>
                        <a:pt x="416296" y="555843"/>
                      </a:lnTo>
                      <a:lnTo>
                        <a:pt x="416843" y="556511"/>
                      </a:lnTo>
                      <a:lnTo>
                        <a:pt x="418021" y="556839"/>
                      </a:lnTo>
                      <a:lnTo>
                        <a:pt x="420000" y="556924"/>
                      </a:lnTo>
                      <a:lnTo>
                        <a:pt x="423364" y="557580"/>
                      </a:lnTo>
                      <a:lnTo>
                        <a:pt x="425501" y="560105"/>
                      </a:lnTo>
                      <a:lnTo>
                        <a:pt x="425877" y="562218"/>
                      </a:lnTo>
                      <a:lnTo>
                        <a:pt x="425974" y="564452"/>
                      </a:lnTo>
                      <a:lnTo>
                        <a:pt x="425379" y="567998"/>
                      </a:lnTo>
                      <a:lnTo>
                        <a:pt x="421991" y="572200"/>
                      </a:lnTo>
                      <a:lnTo>
                        <a:pt x="418834" y="572540"/>
                      </a:lnTo>
                      <a:lnTo>
                        <a:pt x="415349" y="574191"/>
                      </a:lnTo>
                      <a:lnTo>
                        <a:pt x="400717" y="582873"/>
                      </a:lnTo>
                      <a:lnTo>
                        <a:pt x="395921" y="584962"/>
                      </a:lnTo>
                      <a:lnTo>
                        <a:pt x="391500" y="585921"/>
                      </a:lnTo>
                      <a:lnTo>
                        <a:pt x="387105" y="586200"/>
                      </a:lnTo>
                      <a:lnTo>
                        <a:pt x="382673" y="586978"/>
                      </a:lnTo>
                      <a:lnTo>
                        <a:pt x="380037" y="588155"/>
                      </a:lnTo>
                      <a:lnTo>
                        <a:pt x="379333" y="589188"/>
                      </a:lnTo>
                      <a:lnTo>
                        <a:pt x="379442" y="589625"/>
                      </a:lnTo>
                      <a:lnTo>
                        <a:pt x="381519" y="592138"/>
                      </a:lnTo>
                      <a:lnTo>
                        <a:pt x="383765" y="596085"/>
                      </a:lnTo>
                      <a:lnTo>
                        <a:pt x="379953" y="598659"/>
                      </a:lnTo>
                      <a:close/>
                    </a:path>
                  </a:pathLst>
                </a:custGeom>
                <a:solidFill>
                  <a:srgbClr val="D7D7D2"/>
                </a:solidFill>
                <a:ln w="12138" cap="flat">
                  <a:noFill/>
                  <a:prstDash val="solid"/>
                  <a:miter/>
                </a:ln>
              </p:spPr>
              <p:txBody>
                <a:bodyPr rtlCol="0" anchor="ctr"/>
                <a:lstStyle/>
                <a:p>
                  <a:endParaRPr lang="en-US"/>
                </a:p>
              </p:txBody>
            </p:sp>
            <p:sp>
              <p:nvSpPr>
                <p:cNvPr id="311" name="Freeform: Shape 310">
                  <a:extLst>
                    <a:ext uri="{FF2B5EF4-FFF2-40B4-BE49-F238E27FC236}">
                      <a16:creationId xmlns:a16="http://schemas.microsoft.com/office/drawing/2014/main" id="{FD531E17-ACAA-4CD1-AA32-641CB22773AB}"/>
                    </a:ext>
                  </a:extLst>
                </p:cNvPr>
                <p:cNvSpPr/>
                <p:nvPr/>
              </p:nvSpPr>
              <p:spPr>
                <a:xfrm>
                  <a:off x="4746433" y="1464748"/>
                  <a:ext cx="654212" cy="605483"/>
                </a:xfrm>
                <a:custGeom>
                  <a:avLst/>
                  <a:gdLst>
                    <a:gd name="connsiteX0" fmla="*/ 187548 w 654212"/>
                    <a:gd name="connsiteY0" fmla="*/ 6241 h 605483"/>
                    <a:gd name="connsiteX1" fmla="*/ 190535 w 654212"/>
                    <a:gd name="connsiteY1" fmla="*/ 6557 h 605483"/>
                    <a:gd name="connsiteX2" fmla="*/ 200589 w 654212"/>
                    <a:gd name="connsiteY2" fmla="*/ 14426 h 605483"/>
                    <a:gd name="connsiteX3" fmla="*/ 203164 w 654212"/>
                    <a:gd name="connsiteY3" fmla="*/ 15397 h 605483"/>
                    <a:gd name="connsiteX4" fmla="*/ 224523 w 654212"/>
                    <a:gd name="connsiteY4" fmla="*/ 13685 h 605483"/>
                    <a:gd name="connsiteX5" fmla="*/ 227279 w 654212"/>
                    <a:gd name="connsiteY5" fmla="*/ 14292 h 605483"/>
                    <a:gd name="connsiteX6" fmla="*/ 229987 w 654212"/>
                    <a:gd name="connsiteY6" fmla="*/ 15919 h 605483"/>
                    <a:gd name="connsiteX7" fmla="*/ 241341 w 654212"/>
                    <a:gd name="connsiteY7" fmla="*/ 28754 h 605483"/>
                    <a:gd name="connsiteX8" fmla="*/ 244911 w 654212"/>
                    <a:gd name="connsiteY8" fmla="*/ 30989 h 605483"/>
                    <a:gd name="connsiteX9" fmla="*/ 255135 w 654212"/>
                    <a:gd name="connsiteY9" fmla="*/ 39610 h 605483"/>
                    <a:gd name="connsiteX10" fmla="*/ 259725 w 654212"/>
                    <a:gd name="connsiteY10" fmla="*/ 45439 h 605483"/>
                    <a:gd name="connsiteX11" fmla="*/ 262130 w 654212"/>
                    <a:gd name="connsiteY11" fmla="*/ 47880 h 605483"/>
                    <a:gd name="connsiteX12" fmla="*/ 265117 w 654212"/>
                    <a:gd name="connsiteY12" fmla="*/ 49798 h 605483"/>
                    <a:gd name="connsiteX13" fmla="*/ 273337 w 654212"/>
                    <a:gd name="connsiteY13" fmla="*/ 53538 h 605483"/>
                    <a:gd name="connsiteX14" fmla="*/ 289925 w 654212"/>
                    <a:gd name="connsiteY14" fmla="*/ 65475 h 605483"/>
                    <a:gd name="connsiteX15" fmla="*/ 298838 w 654212"/>
                    <a:gd name="connsiteY15" fmla="*/ 70393 h 605483"/>
                    <a:gd name="connsiteX16" fmla="*/ 314611 w 654212"/>
                    <a:gd name="connsiteY16" fmla="*/ 75578 h 605483"/>
                    <a:gd name="connsiteX17" fmla="*/ 338739 w 654212"/>
                    <a:gd name="connsiteY17" fmla="*/ 82851 h 605483"/>
                    <a:gd name="connsiteX18" fmla="*/ 342977 w 654212"/>
                    <a:gd name="connsiteY18" fmla="*/ 82876 h 605483"/>
                    <a:gd name="connsiteX19" fmla="*/ 344192 w 654212"/>
                    <a:gd name="connsiteY19" fmla="*/ 81819 h 605483"/>
                    <a:gd name="connsiteX20" fmla="*/ 345564 w 654212"/>
                    <a:gd name="connsiteY20" fmla="*/ 79318 h 605483"/>
                    <a:gd name="connsiteX21" fmla="*/ 346317 w 654212"/>
                    <a:gd name="connsiteY21" fmla="*/ 78565 h 605483"/>
                    <a:gd name="connsiteX22" fmla="*/ 347239 w 654212"/>
                    <a:gd name="connsiteY22" fmla="*/ 78079 h 605483"/>
                    <a:gd name="connsiteX23" fmla="*/ 356590 w 654212"/>
                    <a:gd name="connsiteY23" fmla="*/ 77132 h 605483"/>
                    <a:gd name="connsiteX24" fmla="*/ 362916 w 654212"/>
                    <a:gd name="connsiteY24" fmla="*/ 75723 h 605483"/>
                    <a:gd name="connsiteX25" fmla="*/ 366692 w 654212"/>
                    <a:gd name="connsiteY25" fmla="*/ 74035 h 605483"/>
                    <a:gd name="connsiteX26" fmla="*/ 374452 w 654212"/>
                    <a:gd name="connsiteY26" fmla="*/ 72129 h 605483"/>
                    <a:gd name="connsiteX27" fmla="*/ 377160 w 654212"/>
                    <a:gd name="connsiteY27" fmla="*/ 71073 h 605483"/>
                    <a:gd name="connsiteX28" fmla="*/ 379685 w 654212"/>
                    <a:gd name="connsiteY28" fmla="*/ 69725 h 605483"/>
                    <a:gd name="connsiteX29" fmla="*/ 382332 w 654212"/>
                    <a:gd name="connsiteY29" fmla="*/ 67794 h 605483"/>
                    <a:gd name="connsiteX30" fmla="*/ 387263 w 654212"/>
                    <a:gd name="connsiteY30" fmla="*/ 62913 h 605483"/>
                    <a:gd name="connsiteX31" fmla="*/ 388805 w 654212"/>
                    <a:gd name="connsiteY31" fmla="*/ 61686 h 605483"/>
                    <a:gd name="connsiteX32" fmla="*/ 390529 w 654212"/>
                    <a:gd name="connsiteY32" fmla="*/ 61030 h 605483"/>
                    <a:gd name="connsiteX33" fmla="*/ 394026 w 654212"/>
                    <a:gd name="connsiteY33" fmla="*/ 60083 h 605483"/>
                    <a:gd name="connsiteX34" fmla="*/ 395629 w 654212"/>
                    <a:gd name="connsiteY34" fmla="*/ 59124 h 605483"/>
                    <a:gd name="connsiteX35" fmla="*/ 397123 w 654212"/>
                    <a:gd name="connsiteY35" fmla="*/ 57898 h 605483"/>
                    <a:gd name="connsiteX36" fmla="*/ 399660 w 654212"/>
                    <a:gd name="connsiteY36" fmla="*/ 55165 h 605483"/>
                    <a:gd name="connsiteX37" fmla="*/ 400013 w 654212"/>
                    <a:gd name="connsiteY37" fmla="*/ 54959 h 605483"/>
                    <a:gd name="connsiteX38" fmla="*/ 403571 w 654212"/>
                    <a:gd name="connsiteY38" fmla="*/ 53356 h 605483"/>
                    <a:gd name="connsiteX39" fmla="*/ 405222 w 654212"/>
                    <a:gd name="connsiteY39" fmla="*/ 52263 h 605483"/>
                    <a:gd name="connsiteX40" fmla="*/ 406958 w 654212"/>
                    <a:gd name="connsiteY40" fmla="*/ 52020 h 605483"/>
                    <a:gd name="connsiteX41" fmla="*/ 408561 w 654212"/>
                    <a:gd name="connsiteY41" fmla="*/ 52409 h 605483"/>
                    <a:gd name="connsiteX42" fmla="*/ 410735 w 654212"/>
                    <a:gd name="connsiteY42" fmla="*/ 54740 h 605483"/>
                    <a:gd name="connsiteX43" fmla="*/ 412520 w 654212"/>
                    <a:gd name="connsiteY43" fmla="*/ 57776 h 605483"/>
                    <a:gd name="connsiteX44" fmla="*/ 416879 w 654212"/>
                    <a:gd name="connsiteY44" fmla="*/ 62888 h 605483"/>
                    <a:gd name="connsiteX45" fmla="*/ 427856 w 654212"/>
                    <a:gd name="connsiteY45" fmla="*/ 73829 h 605483"/>
                    <a:gd name="connsiteX46" fmla="*/ 434231 w 654212"/>
                    <a:gd name="connsiteY46" fmla="*/ 81637 h 605483"/>
                    <a:gd name="connsiteX47" fmla="*/ 440947 w 654212"/>
                    <a:gd name="connsiteY47" fmla="*/ 96281 h 605483"/>
                    <a:gd name="connsiteX48" fmla="*/ 444104 w 654212"/>
                    <a:gd name="connsiteY48" fmla="*/ 98831 h 605483"/>
                    <a:gd name="connsiteX49" fmla="*/ 446399 w 654212"/>
                    <a:gd name="connsiteY49" fmla="*/ 102086 h 605483"/>
                    <a:gd name="connsiteX50" fmla="*/ 447552 w 654212"/>
                    <a:gd name="connsiteY50" fmla="*/ 104745 h 605483"/>
                    <a:gd name="connsiteX51" fmla="*/ 448172 w 654212"/>
                    <a:gd name="connsiteY51" fmla="*/ 115540 h 605483"/>
                    <a:gd name="connsiteX52" fmla="*/ 449386 w 654212"/>
                    <a:gd name="connsiteY52" fmla="*/ 118794 h 605483"/>
                    <a:gd name="connsiteX53" fmla="*/ 451402 w 654212"/>
                    <a:gd name="connsiteY53" fmla="*/ 121405 h 605483"/>
                    <a:gd name="connsiteX54" fmla="*/ 455992 w 654212"/>
                    <a:gd name="connsiteY54" fmla="*/ 126080 h 605483"/>
                    <a:gd name="connsiteX55" fmla="*/ 457764 w 654212"/>
                    <a:gd name="connsiteY55" fmla="*/ 128679 h 605483"/>
                    <a:gd name="connsiteX56" fmla="*/ 458687 w 654212"/>
                    <a:gd name="connsiteY56" fmla="*/ 131654 h 605483"/>
                    <a:gd name="connsiteX57" fmla="*/ 459890 w 654212"/>
                    <a:gd name="connsiteY57" fmla="*/ 134434 h 605483"/>
                    <a:gd name="connsiteX58" fmla="*/ 462597 w 654212"/>
                    <a:gd name="connsiteY58" fmla="*/ 136535 h 605483"/>
                    <a:gd name="connsiteX59" fmla="*/ 469021 w 654212"/>
                    <a:gd name="connsiteY59" fmla="*/ 136304 h 605483"/>
                    <a:gd name="connsiteX60" fmla="*/ 471947 w 654212"/>
                    <a:gd name="connsiteY60" fmla="*/ 134872 h 605483"/>
                    <a:gd name="connsiteX61" fmla="*/ 474012 w 654212"/>
                    <a:gd name="connsiteY61" fmla="*/ 132346 h 605483"/>
                    <a:gd name="connsiteX62" fmla="*/ 475347 w 654212"/>
                    <a:gd name="connsiteY62" fmla="*/ 130245 h 605483"/>
                    <a:gd name="connsiteX63" fmla="*/ 476659 w 654212"/>
                    <a:gd name="connsiteY63" fmla="*/ 129274 h 605483"/>
                    <a:gd name="connsiteX64" fmla="*/ 478335 w 654212"/>
                    <a:gd name="connsiteY64" fmla="*/ 128460 h 605483"/>
                    <a:gd name="connsiteX65" fmla="*/ 479415 w 654212"/>
                    <a:gd name="connsiteY65" fmla="*/ 127464 h 605483"/>
                    <a:gd name="connsiteX66" fmla="*/ 480460 w 654212"/>
                    <a:gd name="connsiteY66" fmla="*/ 125764 h 605483"/>
                    <a:gd name="connsiteX67" fmla="*/ 482403 w 654212"/>
                    <a:gd name="connsiteY67" fmla="*/ 124562 h 605483"/>
                    <a:gd name="connsiteX68" fmla="*/ 485608 w 654212"/>
                    <a:gd name="connsiteY68" fmla="*/ 123761 h 605483"/>
                    <a:gd name="connsiteX69" fmla="*/ 489870 w 654212"/>
                    <a:gd name="connsiteY69" fmla="*/ 123239 h 605483"/>
                    <a:gd name="connsiteX70" fmla="*/ 494400 w 654212"/>
                    <a:gd name="connsiteY70" fmla="*/ 120130 h 605483"/>
                    <a:gd name="connsiteX71" fmla="*/ 496816 w 654212"/>
                    <a:gd name="connsiteY71" fmla="*/ 119474 h 605483"/>
                    <a:gd name="connsiteX72" fmla="*/ 499913 w 654212"/>
                    <a:gd name="connsiteY72" fmla="*/ 119450 h 605483"/>
                    <a:gd name="connsiteX73" fmla="*/ 503653 w 654212"/>
                    <a:gd name="connsiteY73" fmla="*/ 119851 h 605483"/>
                    <a:gd name="connsiteX74" fmla="*/ 506640 w 654212"/>
                    <a:gd name="connsiteY74" fmla="*/ 119280 h 605483"/>
                    <a:gd name="connsiteX75" fmla="*/ 508534 w 654212"/>
                    <a:gd name="connsiteY75" fmla="*/ 118248 h 605483"/>
                    <a:gd name="connsiteX76" fmla="*/ 511291 w 654212"/>
                    <a:gd name="connsiteY76" fmla="*/ 114508 h 605483"/>
                    <a:gd name="connsiteX77" fmla="*/ 513294 w 654212"/>
                    <a:gd name="connsiteY77" fmla="*/ 113306 h 605483"/>
                    <a:gd name="connsiteX78" fmla="*/ 518115 w 654212"/>
                    <a:gd name="connsiteY78" fmla="*/ 111642 h 605483"/>
                    <a:gd name="connsiteX79" fmla="*/ 519839 w 654212"/>
                    <a:gd name="connsiteY79" fmla="*/ 110404 h 605483"/>
                    <a:gd name="connsiteX80" fmla="*/ 520471 w 654212"/>
                    <a:gd name="connsiteY80" fmla="*/ 108691 h 605483"/>
                    <a:gd name="connsiteX81" fmla="*/ 520070 w 654212"/>
                    <a:gd name="connsiteY81" fmla="*/ 105158 h 605483"/>
                    <a:gd name="connsiteX82" fmla="*/ 520471 w 654212"/>
                    <a:gd name="connsiteY82" fmla="*/ 104296 h 605483"/>
                    <a:gd name="connsiteX83" fmla="*/ 521916 w 654212"/>
                    <a:gd name="connsiteY83" fmla="*/ 103871 h 605483"/>
                    <a:gd name="connsiteX84" fmla="*/ 523506 w 654212"/>
                    <a:gd name="connsiteY84" fmla="*/ 103640 h 605483"/>
                    <a:gd name="connsiteX85" fmla="*/ 527137 w 654212"/>
                    <a:gd name="connsiteY85" fmla="*/ 103458 h 605483"/>
                    <a:gd name="connsiteX86" fmla="*/ 528521 w 654212"/>
                    <a:gd name="connsiteY86" fmla="*/ 103664 h 605483"/>
                    <a:gd name="connsiteX87" fmla="*/ 529651 w 654212"/>
                    <a:gd name="connsiteY87" fmla="*/ 104174 h 605483"/>
                    <a:gd name="connsiteX88" fmla="*/ 530355 w 654212"/>
                    <a:gd name="connsiteY88" fmla="*/ 105036 h 605483"/>
                    <a:gd name="connsiteX89" fmla="*/ 530926 w 654212"/>
                    <a:gd name="connsiteY89" fmla="*/ 106530 h 605483"/>
                    <a:gd name="connsiteX90" fmla="*/ 532359 w 654212"/>
                    <a:gd name="connsiteY90" fmla="*/ 111703 h 605483"/>
                    <a:gd name="connsiteX91" fmla="*/ 532820 w 654212"/>
                    <a:gd name="connsiteY91" fmla="*/ 114799 h 605483"/>
                    <a:gd name="connsiteX92" fmla="*/ 533002 w 654212"/>
                    <a:gd name="connsiteY92" fmla="*/ 117932 h 605483"/>
                    <a:gd name="connsiteX93" fmla="*/ 532310 w 654212"/>
                    <a:gd name="connsiteY93" fmla="*/ 124247 h 605483"/>
                    <a:gd name="connsiteX94" fmla="*/ 531727 w 654212"/>
                    <a:gd name="connsiteY94" fmla="*/ 126712 h 605483"/>
                    <a:gd name="connsiteX95" fmla="*/ 531144 w 654212"/>
                    <a:gd name="connsiteY95" fmla="*/ 128497 h 605483"/>
                    <a:gd name="connsiteX96" fmla="*/ 530015 w 654212"/>
                    <a:gd name="connsiteY96" fmla="*/ 130391 h 605483"/>
                    <a:gd name="connsiteX97" fmla="*/ 528157 w 654212"/>
                    <a:gd name="connsiteY97" fmla="*/ 132091 h 605483"/>
                    <a:gd name="connsiteX98" fmla="*/ 523348 w 654212"/>
                    <a:gd name="connsiteY98" fmla="*/ 134957 h 605483"/>
                    <a:gd name="connsiteX99" fmla="*/ 519669 w 654212"/>
                    <a:gd name="connsiteY99" fmla="*/ 137652 h 605483"/>
                    <a:gd name="connsiteX100" fmla="*/ 517945 w 654212"/>
                    <a:gd name="connsiteY100" fmla="*/ 139486 h 605483"/>
                    <a:gd name="connsiteX101" fmla="*/ 517083 w 654212"/>
                    <a:gd name="connsiteY101" fmla="*/ 141077 h 605483"/>
                    <a:gd name="connsiteX102" fmla="*/ 515832 w 654212"/>
                    <a:gd name="connsiteY102" fmla="*/ 143833 h 605483"/>
                    <a:gd name="connsiteX103" fmla="*/ 514618 w 654212"/>
                    <a:gd name="connsiteY103" fmla="*/ 150172 h 605483"/>
                    <a:gd name="connsiteX104" fmla="*/ 513756 w 654212"/>
                    <a:gd name="connsiteY104" fmla="*/ 152807 h 605483"/>
                    <a:gd name="connsiteX105" fmla="*/ 512262 w 654212"/>
                    <a:gd name="connsiteY105" fmla="*/ 155636 h 605483"/>
                    <a:gd name="connsiteX106" fmla="*/ 511631 w 654212"/>
                    <a:gd name="connsiteY106" fmla="*/ 158696 h 605483"/>
                    <a:gd name="connsiteX107" fmla="*/ 512262 w 654212"/>
                    <a:gd name="connsiteY107" fmla="*/ 161428 h 605483"/>
                    <a:gd name="connsiteX108" fmla="*/ 513816 w 654212"/>
                    <a:gd name="connsiteY108" fmla="*/ 163602 h 605483"/>
                    <a:gd name="connsiteX109" fmla="*/ 515990 w 654212"/>
                    <a:gd name="connsiteY109" fmla="*/ 165156 h 605483"/>
                    <a:gd name="connsiteX110" fmla="*/ 517714 w 654212"/>
                    <a:gd name="connsiteY110" fmla="*/ 165702 h 605483"/>
                    <a:gd name="connsiteX111" fmla="*/ 519669 w 654212"/>
                    <a:gd name="connsiteY111" fmla="*/ 165472 h 605483"/>
                    <a:gd name="connsiteX112" fmla="*/ 528218 w 654212"/>
                    <a:gd name="connsiteY112" fmla="*/ 156316 h 605483"/>
                    <a:gd name="connsiteX113" fmla="*/ 532359 w 654212"/>
                    <a:gd name="connsiteY113" fmla="*/ 153730 h 605483"/>
                    <a:gd name="connsiteX114" fmla="*/ 537653 w 654212"/>
                    <a:gd name="connsiteY114" fmla="*/ 164440 h 605483"/>
                    <a:gd name="connsiteX115" fmla="*/ 545060 w 654212"/>
                    <a:gd name="connsiteY115" fmla="*/ 174834 h 605483"/>
                    <a:gd name="connsiteX116" fmla="*/ 545691 w 654212"/>
                    <a:gd name="connsiteY116" fmla="*/ 176935 h 605483"/>
                    <a:gd name="connsiteX117" fmla="*/ 544939 w 654212"/>
                    <a:gd name="connsiteY117" fmla="*/ 178198 h 605483"/>
                    <a:gd name="connsiteX118" fmla="*/ 543676 w 654212"/>
                    <a:gd name="connsiteY118" fmla="*/ 179400 h 605483"/>
                    <a:gd name="connsiteX119" fmla="*/ 542753 w 654212"/>
                    <a:gd name="connsiteY119" fmla="*/ 181233 h 605483"/>
                    <a:gd name="connsiteX120" fmla="*/ 542401 w 654212"/>
                    <a:gd name="connsiteY120" fmla="*/ 183832 h 605483"/>
                    <a:gd name="connsiteX121" fmla="*/ 542704 w 654212"/>
                    <a:gd name="connsiteY121" fmla="*/ 185034 h 605483"/>
                    <a:gd name="connsiteX122" fmla="*/ 543214 w 654212"/>
                    <a:gd name="connsiteY122" fmla="*/ 186006 h 605483"/>
                    <a:gd name="connsiteX123" fmla="*/ 547695 w 654212"/>
                    <a:gd name="connsiteY123" fmla="*/ 205070 h 605483"/>
                    <a:gd name="connsiteX124" fmla="*/ 547464 w 654212"/>
                    <a:gd name="connsiteY124" fmla="*/ 209575 h 605483"/>
                    <a:gd name="connsiteX125" fmla="*/ 546493 w 654212"/>
                    <a:gd name="connsiteY125" fmla="*/ 213339 h 605483"/>
                    <a:gd name="connsiteX126" fmla="*/ 546772 w 654212"/>
                    <a:gd name="connsiteY126" fmla="*/ 215926 h 605483"/>
                    <a:gd name="connsiteX127" fmla="*/ 548788 w 654212"/>
                    <a:gd name="connsiteY127" fmla="*/ 216557 h 605483"/>
                    <a:gd name="connsiteX128" fmla="*/ 548837 w 654212"/>
                    <a:gd name="connsiteY128" fmla="*/ 216581 h 605483"/>
                    <a:gd name="connsiteX129" fmla="*/ 550282 w 654212"/>
                    <a:gd name="connsiteY129" fmla="*/ 217006 h 605483"/>
                    <a:gd name="connsiteX130" fmla="*/ 557106 w 654212"/>
                    <a:gd name="connsiteY130" fmla="*/ 220540 h 605483"/>
                    <a:gd name="connsiteX131" fmla="*/ 561247 w 654212"/>
                    <a:gd name="connsiteY131" fmla="*/ 225992 h 605483"/>
                    <a:gd name="connsiteX132" fmla="*/ 564404 w 654212"/>
                    <a:gd name="connsiteY132" fmla="*/ 232428 h 605483"/>
                    <a:gd name="connsiteX133" fmla="*/ 582667 w 654212"/>
                    <a:gd name="connsiteY133" fmla="*/ 256143 h 605483"/>
                    <a:gd name="connsiteX134" fmla="*/ 588119 w 654212"/>
                    <a:gd name="connsiteY134" fmla="*/ 260247 h 605483"/>
                    <a:gd name="connsiteX135" fmla="*/ 596327 w 654212"/>
                    <a:gd name="connsiteY135" fmla="*/ 264837 h 605483"/>
                    <a:gd name="connsiteX136" fmla="*/ 598501 w 654212"/>
                    <a:gd name="connsiteY136" fmla="*/ 266902 h 605483"/>
                    <a:gd name="connsiteX137" fmla="*/ 600578 w 654212"/>
                    <a:gd name="connsiteY137" fmla="*/ 271188 h 605483"/>
                    <a:gd name="connsiteX138" fmla="*/ 600055 w 654212"/>
                    <a:gd name="connsiteY138" fmla="*/ 275098 h 605483"/>
                    <a:gd name="connsiteX139" fmla="*/ 595987 w 654212"/>
                    <a:gd name="connsiteY139" fmla="*/ 283902 h 605483"/>
                    <a:gd name="connsiteX140" fmla="*/ 594834 w 654212"/>
                    <a:gd name="connsiteY140" fmla="*/ 288043 h 605483"/>
                    <a:gd name="connsiteX141" fmla="*/ 593450 w 654212"/>
                    <a:gd name="connsiteY141" fmla="*/ 296822 h 605483"/>
                    <a:gd name="connsiteX142" fmla="*/ 592260 w 654212"/>
                    <a:gd name="connsiteY142" fmla="*/ 300793 h 605483"/>
                    <a:gd name="connsiteX143" fmla="*/ 587305 w 654212"/>
                    <a:gd name="connsiteY143" fmla="*/ 308030 h 605483"/>
                    <a:gd name="connsiteX144" fmla="*/ 586747 w 654212"/>
                    <a:gd name="connsiteY144" fmla="*/ 311418 h 605483"/>
                    <a:gd name="connsiteX145" fmla="*/ 591385 w 654212"/>
                    <a:gd name="connsiteY145" fmla="*/ 316384 h 605483"/>
                    <a:gd name="connsiteX146" fmla="*/ 591276 w 654212"/>
                    <a:gd name="connsiteY146" fmla="*/ 318181 h 605483"/>
                    <a:gd name="connsiteX147" fmla="*/ 590815 w 654212"/>
                    <a:gd name="connsiteY147" fmla="*/ 320173 h 605483"/>
                    <a:gd name="connsiteX148" fmla="*/ 590924 w 654212"/>
                    <a:gd name="connsiteY148" fmla="*/ 322213 h 605483"/>
                    <a:gd name="connsiteX149" fmla="*/ 591847 w 654212"/>
                    <a:gd name="connsiteY149" fmla="*/ 323755 h 605483"/>
                    <a:gd name="connsiteX150" fmla="*/ 594142 w 654212"/>
                    <a:gd name="connsiteY150" fmla="*/ 326451 h 605483"/>
                    <a:gd name="connsiteX151" fmla="*/ 595635 w 654212"/>
                    <a:gd name="connsiteY151" fmla="*/ 330069 h 605483"/>
                    <a:gd name="connsiteX152" fmla="*/ 596680 w 654212"/>
                    <a:gd name="connsiteY152" fmla="*/ 331587 h 605483"/>
                    <a:gd name="connsiteX153" fmla="*/ 598052 w 654212"/>
                    <a:gd name="connsiteY153" fmla="*/ 332692 h 605483"/>
                    <a:gd name="connsiteX154" fmla="*/ 599655 w 654212"/>
                    <a:gd name="connsiteY154" fmla="*/ 333117 h 605483"/>
                    <a:gd name="connsiteX155" fmla="*/ 603103 w 654212"/>
                    <a:gd name="connsiteY155" fmla="*/ 333008 h 605483"/>
                    <a:gd name="connsiteX156" fmla="*/ 610049 w 654212"/>
                    <a:gd name="connsiteY156" fmla="*/ 339808 h 605483"/>
                    <a:gd name="connsiteX157" fmla="*/ 614481 w 654212"/>
                    <a:gd name="connsiteY157" fmla="*/ 345284 h 605483"/>
                    <a:gd name="connsiteX158" fmla="*/ 613558 w 654212"/>
                    <a:gd name="connsiteY158" fmla="*/ 347847 h 605483"/>
                    <a:gd name="connsiteX159" fmla="*/ 610401 w 654212"/>
                    <a:gd name="connsiteY159" fmla="*/ 351198 h 605483"/>
                    <a:gd name="connsiteX160" fmla="*/ 592078 w 654212"/>
                    <a:gd name="connsiteY160" fmla="*/ 365466 h 605483"/>
                    <a:gd name="connsiteX161" fmla="*/ 591325 w 654212"/>
                    <a:gd name="connsiteY161" fmla="*/ 370020 h 605483"/>
                    <a:gd name="connsiteX162" fmla="*/ 598392 w 654212"/>
                    <a:gd name="connsiteY162" fmla="*/ 374233 h 605483"/>
                    <a:gd name="connsiteX163" fmla="*/ 603905 w 654212"/>
                    <a:gd name="connsiteY163" fmla="*/ 378908 h 605483"/>
                    <a:gd name="connsiteX164" fmla="*/ 603443 w 654212"/>
                    <a:gd name="connsiteY164" fmla="*/ 385769 h 605483"/>
                    <a:gd name="connsiteX165" fmla="*/ 600748 w 654212"/>
                    <a:gd name="connsiteY165" fmla="*/ 393759 h 605483"/>
                    <a:gd name="connsiteX166" fmla="*/ 599424 w 654212"/>
                    <a:gd name="connsiteY166" fmla="*/ 401737 h 605483"/>
                    <a:gd name="connsiteX167" fmla="*/ 599837 w 654212"/>
                    <a:gd name="connsiteY167" fmla="*/ 405295 h 605483"/>
                    <a:gd name="connsiteX168" fmla="*/ 600638 w 654212"/>
                    <a:gd name="connsiteY168" fmla="*/ 407298 h 605483"/>
                    <a:gd name="connsiteX169" fmla="*/ 602181 w 654212"/>
                    <a:gd name="connsiteY169" fmla="*/ 408561 h 605483"/>
                    <a:gd name="connsiteX170" fmla="*/ 608033 w 654212"/>
                    <a:gd name="connsiteY170" fmla="*/ 411415 h 605483"/>
                    <a:gd name="connsiteX171" fmla="*/ 610231 w 654212"/>
                    <a:gd name="connsiteY171" fmla="*/ 411439 h 605483"/>
                    <a:gd name="connsiteX172" fmla="*/ 615052 w 654212"/>
                    <a:gd name="connsiteY172" fmla="*/ 410286 h 605483"/>
                    <a:gd name="connsiteX173" fmla="*/ 620103 w 654212"/>
                    <a:gd name="connsiteY173" fmla="*/ 410868 h 605483"/>
                    <a:gd name="connsiteX174" fmla="*/ 622569 w 654212"/>
                    <a:gd name="connsiteY174" fmla="*/ 410747 h 605483"/>
                    <a:gd name="connsiteX175" fmla="*/ 625434 w 654212"/>
                    <a:gd name="connsiteY175" fmla="*/ 409338 h 605483"/>
                    <a:gd name="connsiteX176" fmla="*/ 625726 w 654212"/>
                    <a:gd name="connsiteY176" fmla="*/ 409059 h 605483"/>
                    <a:gd name="connsiteX177" fmla="*/ 629283 w 654212"/>
                    <a:gd name="connsiteY177" fmla="*/ 414135 h 605483"/>
                    <a:gd name="connsiteX178" fmla="*/ 630668 w 654212"/>
                    <a:gd name="connsiteY178" fmla="*/ 415653 h 605483"/>
                    <a:gd name="connsiteX179" fmla="*/ 636521 w 654212"/>
                    <a:gd name="connsiteY179" fmla="*/ 421311 h 605483"/>
                    <a:gd name="connsiteX180" fmla="*/ 641633 w 654212"/>
                    <a:gd name="connsiteY180" fmla="*/ 429010 h 605483"/>
                    <a:gd name="connsiteX181" fmla="*/ 647206 w 654212"/>
                    <a:gd name="connsiteY181" fmla="*/ 437255 h 605483"/>
                    <a:gd name="connsiteX182" fmla="*/ 647899 w 654212"/>
                    <a:gd name="connsiteY182" fmla="*/ 440582 h 605483"/>
                    <a:gd name="connsiteX183" fmla="*/ 647206 w 654212"/>
                    <a:gd name="connsiteY183" fmla="*/ 444007 h 605483"/>
                    <a:gd name="connsiteX184" fmla="*/ 641232 w 654212"/>
                    <a:gd name="connsiteY184" fmla="*/ 445840 h 605483"/>
                    <a:gd name="connsiteX185" fmla="*/ 638537 w 654212"/>
                    <a:gd name="connsiteY185" fmla="*/ 446180 h 605483"/>
                    <a:gd name="connsiteX186" fmla="*/ 635950 w 654212"/>
                    <a:gd name="connsiteY186" fmla="*/ 446520 h 605483"/>
                    <a:gd name="connsiteX187" fmla="*/ 624001 w 654212"/>
                    <a:gd name="connsiteY187" fmla="*/ 445804 h 605483"/>
                    <a:gd name="connsiteX188" fmla="*/ 619630 w 654212"/>
                    <a:gd name="connsiteY188" fmla="*/ 443084 h 605483"/>
                    <a:gd name="connsiteX189" fmla="*/ 617226 w 654212"/>
                    <a:gd name="connsiteY189" fmla="*/ 440667 h 605483"/>
                    <a:gd name="connsiteX190" fmla="*/ 614639 w 654212"/>
                    <a:gd name="connsiteY190" fmla="*/ 437049 h 605483"/>
                    <a:gd name="connsiteX191" fmla="*/ 611033 w 654212"/>
                    <a:gd name="connsiteY191" fmla="*/ 429702 h 605483"/>
                    <a:gd name="connsiteX192" fmla="*/ 609588 w 654212"/>
                    <a:gd name="connsiteY192" fmla="*/ 428209 h 605483"/>
                    <a:gd name="connsiteX193" fmla="*/ 606892 w 654212"/>
                    <a:gd name="connsiteY193" fmla="*/ 427662 h 605483"/>
                    <a:gd name="connsiteX194" fmla="*/ 602241 w 654212"/>
                    <a:gd name="connsiteY194" fmla="*/ 427771 h 605483"/>
                    <a:gd name="connsiteX195" fmla="*/ 596437 w 654212"/>
                    <a:gd name="connsiteY195" fmla="*/ 426836 h 605483"/>
                    <a:gd name="connsiteX196" fmla="*/ 589782 w 654212"/>
                    <a:gd name="connsiteY196" fmla="*/ 426399 h 605483"/>
                    <a:gd name="connsiteX197" fmla="*/ 585933 w 654212"/>
                    <a:gd name="connsiteY197" fmla="*/ 426715 h 605483"/>
                    <a:gd name="connsiteX198" fmla="*/ 583128 w 654212"/>
                    <a:gd name="connsiteY198" fmla="*/ 426484 h 605483"/>
                    <a:gd name="connsiteX199" fmla="*/ 579667 w 654212"/>
                    <a:gd name="connsiteY199" fmla="*/ 425367 h 605483"/>
                    <a:gd name="connsiteX200" fmla="*/ 577555 w 654212"/>
                    <a:gd name="connsiteY200" fmla="*/ 424238 h 605483"/>
                    <a:gd name="connsiteX201" fmla="*/ 574397 w 654212"/>
                    <a:gd name="connsiteY201" fmla="*/ 423436 h 605483"/>
                    <a:gd name="connsiteX202" fmla="*/ 570038 w 654212"/>
                    <a:gd name="connsiteY202" fmla="*/ 423242 h 605483"/>
                    <a:gd name="connsiteX203" fmla="*/ 562157 w 654212"/>
                    <a:gd name="connsiteY203" fmla="*/ 424189 h 605483"/>
                    <a:gd name="connsiteX204" fmla="*/ 558199 w 654212"/>
                    <a:gd name="connsiteY204" fmla="*/ 425221 h 605483"/>
                    <a:gd name="connsiteX205" fmla="*/ 554871 w 654212"/>
                    <a:gd name="connsiteY205" fmla="*/ 425622 h 605483"/>
                    <a:gd name="connsiteX206" fmla="*/ 552965 w 654212"/>
                    <a:gd name="connsiteY206" fmla="*/ 425076 h 605483"/>
                    <a:gd name="connsiteX207" fmla="*/ 549759 w 654212"/>
                    <a:gd name="connsiteY207" fmla="*/ 423072 h 605483"/>
                    <a:gd name="connsiteX208" fmla="*/ 543894 w 654212"/>
                    <a:gd name="connsiteY208" fmla="*/ 416831 h 605483"/>
                    <a:gd name="connsiteX209" fmla="*/ 542231 w 654212"/>
                    <a:gd name="connsiteY209" fmla="*/ 415580 h 605483"/>
                    <a:gd name="connsiteX210" fmla="*/ 540640 w 654212"/>
                    <a:gd name="connsiteY210" fmla="*/ 415143 h 605483"/>
                    <a:gd name="connsiteX211" fmla="*/ 537981 w 654212"/>
                    <a:gd name="connsiteY211" fmla="*/ 415653 h 605483"/>
                    <a:gd name="connsiteX212" fmla="*/ 536208 w 654212"/>
                    <a:gd name="connsiteY212" fmla="*/ 415580 h 605483"/>
                    <a:gd name="connsiteX213" fmla="*/ 534253 w 654212"/>
                    <a:gd name="connsiteY213" fmla="*/ 414281 h 605483"/>
                    <a:gd name="connsiteX214" fmla="*/ 533281 w 654212"/>
                    <a:gd name="connsiteY214" fmla="*/ 412593 h 605483"/>
                    <a:gd name="connsiteX215" fmla="*/ 531897 w 654212"/>
                    <a:gd name="connsiteY215" fmla="*/ 411524 h 605483"/>
                    <a:gd name="connsiteX216" fmla="*/ 530076 w 654212"/>
                    <a:gd name="connsiteY216" fmla="*/ 411038 h 605483"/>
                    <a:gd name="connsiteX217" fmla="*/ 526275 w 654212"/>
                    <a:gd name="connsiteY217" fmla="*/ 411063 h 605483"/>
                    <a:gd name="connsiteX218" fmla="*/ 519608 w 654212"/>
                    <a:gd name="connsiteY218" fmla="*/ 410116 h 605483"/>
                    <a:gd name="connsiteX219" fmla="*/ 516682 w 654212"/>
                    <a:gd name="connsiteY219" fmla="*/ 410176 h 605483"/>
                    <a:gd name="connsiteX220" fmla="*/ 514217 w 654212"/>
                    <a:gd name="connsiteY220" fmla="*/ 410978 h 605483"/>
                    <a:gd name="connsiteX221" fmla="*/ 504903 w 654212"/>
                    <a:gd name="connsiteY221" fmla="*/ 417013 h 605483"/>
                    <a:gd name="connsiteX222" fmla="*/ 495833 w 654212"/>
                    <a:gd name="connsiteY222" fmla="*/ 419709 h 605483"/>
                    <a:gd name="connsiteX223" fmla="*/ 482864 w 654212"/>
                    <a:gd name="connsiteY223" fmla="*/ 426739 h 605483"/>
                    <a:gd name="connsiteX224" fmla="*/ 474194 w 654212"/>
                    <a:gd name="connsiteY224" fmla="*/ 432750 h 605483"/>
                    <a:gd name="connsiteX225" fmla="*/ 468341 w 654212"/>
                    <a:gd name="connsiteY225" fmla="*/ 435421 h 605483"/>
                    <a:gd name="connsiteX226" fmla="*/ 466095 w 654212"/>
                    <a:gd name="connsiteY226" fmla="*/ 435907 h 605483"/>
                    <a:gd name="connsiteX227" fmla="*/ 462597 w 654212"/>
                    <a:gd name="connsiteY227" fmla="*/ 436077 h 605483"/>
                    <a:gd name="connsiteX228" fmla="*/ 454097 w 654212"/>
                    <a:gd name="connsiteY228" fmla="*/ 434608 h 605483"/>
                    <a:gd name="connsiteX229" fmla="*/ 452033 w 654212"/>
                    <a:gd name="connsiteY229" fmla="*/ 434584 h 605483"/>
                    <a:gd name="connsiteX230" fmla="*/ 449847 w 654212"/>
                    <a:gd name="connsiteY230" fmla="*/ 435276 h 605483"/>
                    <a:gd name="connsiteX231" fmla="*/ 447552 w 654212"/>
                    <a:gd name="connsiteY231" fmla="*/ 436854 h 605483"/>
                    <a:gd name="connsiteX232" fmla="*/ 441748 w 654212"/>
                    <a:gd name="connsiteY232" fmla="*/ 442501 h 605483"/>
                    <a:gd name="connsiteX233" fmla="*/ 435725 w 654212"/>
                    <a:gd name="connsiteY233" fmla="*/ 449762 h 605483"/>
                    <a:gd name="connsiteX234" fmla="*/ 424529 w 654212"/>
                    <a:gd name="connsiteY234" fmla="*/ 460594 h 605483"/>
                    <a:gd name="connsiteX235" fmla="*/ 423084 w 654212"/>
                    <a:gd name="connsiteY235" fmla="*/ 462488 h 605483"/>
                    <a:gd name="connsiteX236" fmla="*/ 422623 w 654212"/>
                    <a:gd name="connsiteY236" fmla="*/ 464552 h 605483"/>
                    <a:gd name="connsiteX237" fmla="*/ 424699 w 654212"/>
                    <a:gd name="connsiteY237" fmla="*/ 468317 h 605483"/>
                    <a:gd name="connsiteX238" fmla="*/ 424918 w 654212"/>
                    <a:gd name="connsiteY238" fmla="*/ 470187 h 605483"/>
                    <a:gd name="connsiteX239" fmla="*/ 423788 w 654212"/>
                    <a:gd name="connsiteY239" fmla="*/ 472652 h 605483"/>
                    <a:gd name="connsiteX240" fmla="*/ 422113 w 654212"/>
                    <a:gd name="connsiteY240" fmla="*/ 474315 h 605483"/>
                    <a:gd name="connsiteX241" fmla="*/ 420388 w 654212"/>
                    <a:gd name="connsiteY241" fmla="*/ 475129 h 605483"/>
                    <a:gd name="connsiteX242" fmla="*/ 418774 w 654212"/>
                    <a:gd name="connsiteY242" fmla="*/ 475129 h 605483"/>
                    <a:gd name="connsiteX243" fmla="*/ 416879 w 654212"/>
                    <a:gd name="connsiteY243" fmla="*/ 474352 h 605483"/>
                    <a:gd name="connsiteX244" fmla="*/ 415228 w 654212"/>
                    <a:gd name="connsiteY244" fmla="*/ 474024 h 605483"/>
                    <a:gd name="connsiteX245" fmla="*/ 413965 w 654212"/>
                    <a:gd name="connsiteY245" fmla="*/ 475177 h 605483"/>
                    <a:gd name="connsiteX246" fmla="*/ 414014 w 654212"/>
                    <a:gd name="connsiteY246" fmla="*/ 477412 h 605483"/>
                    <a:gd name="connsiteX247" fmla="*/ 416308 w 654212"/>
                    <a:gd name="connsiteY247" fmla="*/ 481346 h 605483"/>
                    <a:gd name="connsiteX248" fmla="*/ 418033 w 654212"/>
                    <a:gd name="connsiteY248" fmla="*/ 483070 h 605483"/>
                    <a:gd name="connsiteX249" fmla="*/ 419927 w 654212"/>
                    <a:gd name="connsiteY249" fmla="*/ 484018 h 605483"/>
                    <a:gd name="connsiteX250" fmla="*/ 421360 w 654212"/>
                    <a:gd name="connsiteY250" fmla="*/ 485341 h 605483"/>
                    <a:gd name="connsiteX251" fmla="*/ 422052 w 654212"/>
                    <a:gd name="connsiteY251" fmla="*/ 487588 h 605483"/>
                    <a:gd name="connsiteX252" fmla="*/ 422174 w 654212"/>
                    <a:gd name="connsiteY252" fmla="*/ 492542 h 605483"/>
                    <a:gd name="connsiteX253" fmla="*/ 420959 w 654212"/>
                    <a:gd name="connsiteY253" fmla="*/ 497083 h 605483"/>
                    <a:gd name="connsiteX254" fmla="*/ 418494 w 654212"/>
                    <a:gd name="connsiteY254" fmla="*/ 497059 h 605483"/>
                    <a:gd name="connsiteX255" fmla="*/ 417632 w 654212"/>
                    <a:gd name="connsiteY255" fmla="*/ 496452 h 605483"/>
                    <a:gd name="connsiteX256" fmla="*/ 415968 w 654212"/>
                    <a:gd name="connsiteY256" fmla="*/ 494995 h 605483"/>
                    <a:gd name="connsiteX257" fmla="*/ 414354 w 654212"/>
                    <a:gd name="connsiteY257" fmla="*/ 495165 h 605483"/>
                    <a:gd name="connsiteX258" fmla="*/ 412471 w 654212"/>
                    <a:gd name="connsiteY258" fmla="*/ 497921 h 605483"/>
                    <a:gd name="connsiteX259" fmla="*/ 410116 w 654212"/>
                    <a:gd name="connsiteY259" fmla="*/ 504806 h 605483"/>
                    <a:gd name="connsiteX260" fmla="*/ 405683 w 654212"/>
                    <a:gd name="connsiteY260" fmla="*/ 514083 h 605483"/>
                    <a:gd name="connsiteX261" fmla="*/ 405283 w 654212"/>
                    <a:gd name="connsiteY261" fmla="*/ 517763 h 605483"/>
                    <a:gd name="connsiteX262" fmla="*/ 405914 w 654212"/>
                    <a:gd name="connsiteY262" fmla="*/ 520689 h 605483"/>
                    <a:gd name="connsiteX263" fmla="*/ 411196 w 654212"/>
                    <a:gd name="connsiteY263" fmla="*/ 525534 h 605483"/>
                    <a:gd name="connsiteX264" fmla="*/ 412010 w 654212"/>
                    <a:gd name="connsiteY264" fmla="*/ 528922 h 605483"/>
                    <a:gd name="connsiteX265" fmla="*/ 412180 w 654212"/>
                    <a:gd name="connsiteY265" fmla="*/ 533439 h 605483"/>
                    <a:gd name="connsiteX266" fmla="*/ 412921 w 654212"/>
                    <a:gd name="connsiteY266" fmla="*/ 535965 h 605483"/>
                    <a:gd name="connsiteX267" fmla="*/ 415968 w 654212"/>
                    <a:gd name="connsiteY267" fmla="*/ 539438 h 605483"/>
                    <a:gd name="connsiteX268" fmla="*/ 416770 w 654212"/>
                    <a:gd name="connsiteY268" fmla="*/ 541016 h 605483"/>
                    <a:gd name="connsiteX269" fmla="*/ 417911 w 654212"/>
                    <a:gd name="connsiteY269" fmla="*/ 546323 h 605483"/>
                    <a:gd name="connsiteX270" fmla="*/ 417583 w 654212"/>
                    <a:gd name="connsiteY270" fmla="*/ 548278 h 605483"/>
                    <a:gd name="connsiteX271" fmla="*/ 416479 w 654212"/>
                    <a:gd name="connsiteY271" fmla="*/ 550172 h 605483"/>
                    <a:gd name="connsiteX272" fmla="*/ 413103 w 654212"/>
                    <a:gd name="connsiteY272" fmla="*/ 552358 h 605483"/>
                    <a:gd name="connsiteX273" fmla="*/ 412751 w 654212"/>
                    <a:gd name="connsiteY273" fmla="*/ 553439 h 605483"/>
                    <a:gd name="connsiteX274" fmla="*/ 417001 w 654212"/>
                    <a:gd name="connsiteY274" fmla="*/ 560530 h 605483"/>
                    <a:gd name="connsiteX275" fmla="*/ 418434 w 654212"/>
                    <a:gd name="connsiteY275" fmla="*/ 562291 h 605483"/>
                    <a:gd name="connsiteX276" fmla="*/ 420498 w 654212"/>
                    <a:gd name="connsiteY276" fmla="*/ 562886 h 605483"/>
                    <a:gd name="connsiteX277" fmla="*/ 423084 w 654212"/>
                    <a:gd name="connsiteY277" fmla="*/ 563080 h 605483"/>
                    <a:gd name="connsiteX278" fmla="*/ 425039 w 654212"/>
                    <a:gd name="connsiteY278" fmla="*/ 563469 h 605483"/>
                    <a:gd name="connsiteX279" fmla="*/ 425962 w 654212"/>
                    <a:gd name="connsiteY279" fmla="*/ 564562 h 605483"/>
                    <a:gd name="connsiteX280" fmla="*/ 426193 w 654212"/>
                    <a:gd name="connsiteY280" fmla="*/ 565873 h 605483"/>
                    <a:gd name="connsiteX281" fmla="*/ 426254 w 654212"/>
                    <a:gd name="connsiteY281" fmla="*/ 567682 h 605483"/>
                    <a:gd name="connsiteX282" fmla="*/ 425853 w 654212"/>
                    <a:gd name="connsiteY282" fmla="*/ 569807 h 605483"/>
                    <a:gd name="connsiteX283" fmla="*/ 423728 w 654212"/>
                    <a:gd name="connsiteY283" fmla="*/ 572442 h 605483"/>
                    <a:gd name="connsiteX284" fmla="*/ 421821 w 654212"/>
                    <a:gd name="connsiteY284" fmla="*/ 572649 h 605483"/>
                    <a:gd name="connsiteX285" fmla="*/ 417462 w 654212"/>
                    <a:gd name="connsiteY285" fmla="*/ 574519 h 605483"/>
                    <a:gd name="connsiteX286" fmla="*/ 402478 w 654212"/>
                    <a:gd name="connsiteY286" fmla="*/ 583395 h 605483"/>
                    <a:gd name="connsiteX287" fmla="*/ 398046 w 654212"/>
                    <a:gd name="connsiteY287" fmla="*/ 585290 h 605483"/>
                    <a:gd name="connsiteX288" fmla="*/ 394208 w 654212"/>
                    <a:gd name="connsiteY288" fmla="*/ 586067 h 605483"/>
                    <a:gd name="connsiteX289" fmla="*/ 390238 w 654212"/>
                    <a:gd name="connsiteY289" fmla="*/ 586297 h 605483"/>
                    <a:gd name="connsiteX290" fmla="*/ 385478 w 654212"/>
                    <a:gd name="connsiteY290" fmla="*/ 587111 h 605483"/>
                    <a:gd name="connsiteX291" fmla="*/ 381337 w 654212"/>
                    <a:gd name="connsiteY291" fmla="*/ 588847 h 605483"/>
                    <a:gd name="connsiteX292" fmla="*/ 379382 w 654212"/>
                    <a:gd name="connsiteY292" fmla="*/ 591689 h 605483"/>
                    <a:gd name="connsiteX293" fmla="*/ 379795 w 654212"/>
                    <a:gd name="connsiteY293" fmla="*/ 593438 h 605483"/>
                    <a:gd name="connsiteX294" fmla="*/ 382369 w 654212"/>
                    <a:gd name="connsiteY294" fmla="*/ 597032 h 605483"/>
                    <a:gd name="connsiteX295" fmla="*/ 383061 w 654212"/>
                    <a:gd name="connsiteY295" fmla="*/ 598258 h 605483"/>
                    <a:gd name="connsiteX296" fmla="*/ 382843 w 654212"/>
                    <a:gd name="connsiteY296" fmla="*/ 598404 h 605483"/>
                    <a:gd name="connsiteX297" fmla="*/ 374330 w 654212"/>
                    <a:gd name="connsiteY297" fmla="*/ 593960 h 605483"/>
                    <a:gd name="connsiteX298" fmla="*/ 369631 w 654212"/>
                    <a:gd name="connsiteY298" fmla="*/ 589613 h 605483"/>
                    <a:gd name="connsiteX299" fmla="*/ 366595 w 654212"/>
                    <a:gd name="connsiteY299" fmla="*/ 589673 h 605483"/>
                    <a:gd name="connsiteX300" fmla="*/ 364859 w 654212"/>
                    <a:gd name="connsiteY300" fmla="*/ 590450 h 605483"/>
                    <a:gd name="connsiteX301" fmla="*/ 362394 w 654212"/>
                    <a:gd name="connsiteY301" fmla="*/ 590973 h 605483"/>
                    <a:gd name="connsiteX302" fmla="*/ 359868 w 654212"/>
                    <a:gd name="connsiteY302" fmla="*/ 591167 h 605483"/>
                    <a:gd name="connsiteX303" fmla="*/ 356189 w 654212"/>
                    <a:gd name="connsiteY303" fmla="*/ 591021 h 605483"/>
                    <a:gd name="connsiteX304" fmla="*/ 354817 w 654212"/>
                    <a:gd name="connsiteY304" fmla="*/ 590390 h 605483"/>
                    <a:gd name="connsiteX305" fmla="*/ 354635 w 654212"/>
                    <a:gd name="connsiteY305" fmla="*/ 589503 h 605483"/>
                    <a:gd name="connsiteX306" fmla="*/ 357682 w 654212"/>
                    <a:gd name="connsiteY306" fmla="*/ 586200 h 605483"/>
                    <a:gd name="connsiteX307" fmla="*/ 358496 w 654212"/>
                    <a:gd name="connsiteY307" fmla="*/ 584743 h 605483"/>
                    <a:gd name="connsiteX308" fmla="*/ 358132 w 654212"/>
                    <a:gd name="connsiteY308" fmla="*/ 583480 h 605483"/>
                    <a:gd name="connsiteX309" fmla="*/ 356760 w 654212"/>
                    <a:gd name="connsiteY309" fmla="*/ 583565 h 605483"/>
                    <a:gd name="connsiteX310" fmla="*/ 350615 w 654212"/>
                    <a:gd name="connsiteY310" fmla="*/ 587403 h 605483"/>
                    <a:gd name="connsiteX311" fmla="*/ 347810 w 654212"/>
                    <a:gd name="connsiteY311" fmla="*/ 588568 h 605483"/>
                    <a:gd name="connsiteX312" fmla="*/ 344702 w 654212"/>
                    <a:gd name="connsiteY312" fmla="*/ 588726 h 605483"/>
                    <a:gd name="connsiteX313" fmla="*/ 342880 w 654212"/>
                    <a:gd name="connsiteY313" fmla="*/ 587403 h 605483"/>
                    <a:gd name="connsiteX314" fmla="*/ 341836 w 654212"/>
                    <a:gd name="connsiteY314" fmla="*/ 585909 h 605483"/>
                    <a:gd name="connsiteX315" fmla="*/ 340695 w 654212"/>
                    <a:gd name="connsiteY315" fmla="*/ 584476 h 605483"/>
                    <a:gd name="connsiteX316" fmla="*/ 339079 w 654212"/>
                    <a:gd name="connsiteY316" fmla="*/ 583820 h 605483"/>
                    <a:gd name="connsiteX317" fmla="*/ 330227 w 654212"/>
                    <a:gd name="connsiteY317" fmla="*/ 582327 h 605483"/>
                    <a:gd name="connsiteX318" fmla="*/ 328114 w 654212"/>
                    <a:gd name="connsiteY318" fmla="*/ 581489 h 605483"/>
                    <a:gd name="connsiteX319" fmla="*/ 325176 w 654212"/>
                    <a:gd name="connsiteY319" fmla="*/ 579510 h 605483"/>
                    <a:gd name="connsiteX320" fmla="*/ 318534 w 654212"/>
                    <a:gd name="connsiteY320" fmla="*/ 576352 h 605483"/>
                    <a:gd name="connsiteX321" fmla="*/ 313579 w 654212"/>
                    <a:gd name="connsiteY321" fmla="*/ 579170 h 605483"/>
                    <a:gd name="connsiteX322" fmla="*/ 312377 w 654212"/>
                    <a:gd name="connsiteY322" fmla="*/ 578915 h 605483"/>
                    <a:gd name="connsiteX323" fmla="*/ 311624 w 654212"/>
                    <a:gd name="connsiteY323" fmla="*/ 577676 h 605483"/>
                    <a:gd name="connsiteX324" fmla="*/ 311345 w 654212"/>
                    <a:gd name="connsiteY324" fmla="*/ 576668 h 605483"/>
                    <a:gd name="connsiteX325" fmla="*/ 311114 w 654212"/>
                    <a:gd name="connsiteY325" fmla="*/ 574118 h 605483"/>
                    <a:gd name="connsiteX326" fmla="*/ 301060 w 654212"/>
                    <a:gd name="connsiteY326" fmla="*/ 566189 h 605483"/>
                    <a:gd name="connsiteX327" fmla="*/ 298485 w 654212"/>
                    <a:gd name="connsiteY327" fmla="*/ 562983 h 605483"/>
                    <a:gd name="connsiteX328" fmla="*/ 297745 w 654212"/>
                    <a:gd name="connsiteY328" fmla="*/ 560020 h 605483"/>
                    <a:gd name="connsiteX329" fmla="*/ 299457 w 654212"/>
                    <a:gd name="connsiteY329" fmla="*/ 556972 h 605483"/>
                    <a:gd name="connsiteX330" fmla="*/ 300611 w 654212"/>
                    <a:gd name="connsiteY330" fmla="*/ 554422 h 605483"/>
                    <a:gd name="connsiteX331" fmla="*/ 301121 w 654212"/>
                    <a:gd name="connsiteY331" fmla="*/ 551557 h 605483"/>
                    <a:gd name="connsiteX332" fmla="*/ 300781 w 654212"/>
                    <a:gd name="connsiteY332" fmla="*/ 545813 h 605483"/>
                    <a:gd name="connsiteX333" fmla="*/ 301521 w 654212"/>
                    <a:gd name="connsiteY333" fmla="*/ 540373 h 605483"/>
                    <a:gd name="connsiteX334" fmla="*/ 301181 w 654212"/>
                    <a:gd name="connsiteY334" fmla="*/ 537276 h 605483"/>
                    <a:gd name="connsiteX335" fmla="*/ 299809 w 654212"/>
                    <a:gd name="connsiteY335" fmla="*/ 534386 h 605483"/>
                    <a:gd name="connsiteX336" fmla="*/ 296992 w 654212"/>
                    <a:gd name="connsiteY336" fmla="*/ 530586 h 605483"/>
                    <a:gd name="connsiteX337" fmla="*/ 294916 w 654212"/>
                    <a:gd name="connsiteY337" fmla="*/ 528376 h 605483"/>
                    <a:gd name="connsiteX338" fmla="*/ 289645 w 654212"/>
                    <a:gd name="connsiteY338" fmla="*/ 525048 h 605483"/>
                    <a:gd name="connsiteX339" fmla="*/ 281485 w 654212"/>
                    <a:gd name="connsiteY339" fmla="*/ 520458 h 605483"/>
                    <a:gd name="connsiteX340" fmla="*/ 275742 w 654212"/>
                    <a:gd name="connsiteY340" fmla="*/ 518418 h 605483"/>
                    <a:gd name="connsiteX341" fmla="*/ 273617 w 654212"/>
                    <a:gd name="connsiteY341" fmla="*/ 516986 h 605483"/>
                    <a:gd name="connsiteX342" fmla="*/ 273046 w 654212"/>
                    <a:gd name="connsiteY342" fmla="*/ 515601 h 605483"/>
                    <a:gd name="connsiteX343" fmla="*/ 273095 w 654212"/>
                    <a:gd name="connsiteY343" fmla="*/ 514338 h 605483"/>
                    <a:gd name="connsiteX344" fmla="*/ 272354 w 654212"/>
                    <a:gd name="connsiteY344" fmla="*/ 511898 h 605483"/>
                    <a:gd name="connsiteX345" fmla="*/ 270873 w 654212"/>
                    <a:gd name="connsiteY345" fmla="*/ 510611 h 605483"/>
                    <a:gd name="connsiteX346" fmla="*/ 269075 w 654212"/>
                    <a:gd name="connsiteY346" fmla="*/ 509663 h 605483"/>
                    <a:gd name="connsiteX347" fmla="*/ 266610 w 654212"/>
                    <a:gd name="connsiteY347" fmla="*/ 509032 h 605483"/>
                    <a:gd name="connsiteX348" fmla="*/ 265177 w 654212"/>
                    <a:gd name="connsiteY348" fmla="*/ 508024 h 605483"/>
                    <a:gd name="connsiteX349" fmla="*/ 263745 w 654212"/>
                    <a:gd name="connsiteY349" fmla="*/ 506251 h 605483"/>
                    <a:gd name="connsiteX350" fmla="*/ 262834 w 654212"/>
                    <a:gd name="connsiteY350" fmla="*/ 503883 h 605483"/>
                    <a:gd name="connsiteX351" fmla="*/ 261960 w 654212"/>
                    <a:gd name="connsiteY351" fmla="*/ 500046 h 605483"/>
                    <a:gd name="connsiteX352" fmla="*/ 260915 w 654212"/>
                    <a:gd name="connsiteY352" fmla="*/ 497800 h 605483"/>
                    <a:gd name="connsiteX353" fmla="*/ 259033 w 654212"/>
                    <a:gd name="connsiteY353" fmla="*/ 495335 h 605483"/>
                    <a:gd name="connsiteX354" fmla="*/ 255645 w 654212"/>
                    <a:gd name="connsiteY354" fmla="*/ 491825 h 605483"/>
                    <a:gd name="connsiteX355" fmla="*/ 252658 w 654212"/>
                    <a:gd name="connsiteY355" fmla="*/ 491315 h 605483"/>
                    <a:gd name="connsiteX356" fmla="*/ 250193 w 654212"/>
                    <a:gd name="connsiteY356" fmla="*/ 491570 h 605483"/>
                    <a:gd name="connsiteX357" fmla="*/ 247497 w 654212"/>
                    <a:gd name="connsiteY357" fmla="*/ 492348 h 605483"/>
                    <a:gd name="connsiteX358" fmla="*/ 244680 w 654212"/>
                    <a:gd name="connsiteY358" fmla="*/ 491947 h 605483"/>
                    <a:gd name="connsiteX359" fmla="*/ 242895 w 654212"/>
                    <a:gd name="connsiteY359" fmla="*/ 491000 h 605483"/>
                    <a:gd name="connsiteX360" fmla="*/ 241280 w 654212"/>
                    <a:gd name="connsiteY360" fmla="*/ 489215 h 605483"/>
                    <a:gd name="connsiteX361" fmla="*/ 239677 w 654212"/>
                    <a:gd name="connsiteY361" fmla="*/ 485608 h 605483"/>
                    <a:gd name="connsiteX362" fmla="*/ 238937 w 654212"/>
                    <a:gd name="connsiteY362" fmla="*/ 484880 h 605483"/>
                    <a:gd name="connsiteX363" fmla="*/ 237734 w 654212"/>
                    <a:gd name="connsiteY363" fmla="*/ 484600 h 605483"/>
                    <a:gd name="connsiteX364" fmla="*/ 236411 w 654212"/>
                    <a:gd name="connsiteY364" fmla="*/ 484855 h 605483"/>
                    <a:gd name="connsiteX365" fmla="*/ 235136 w 654212"/>
                    <a:gd name="connsiteY365" fmla="*/ 485402 h 605483"/>
                    <a:gd name="connsiteX366" fmla="*/ 232331 w 654212"/>
                    <a:gd name="connsiteY366" fmla="*/ 487466 h 605483"/>
                    <a:gd name="connsiteX367" fmla="*/ 230667 w 654212"/>
                    <a:gd name="connsiteY367" fmla="*/ 489020 h 605483"/>
                    <a:gd name="connsiteX368" fmla="*/ 229866 w 654212"/>
                    <a:gd name="connsiteY368" fmla="*/ 490101 h 605483"/>
                    <a:gd name="connsiteX369" fmla="*/ 221135 w 654212"/>
                    <a:gd name="connsiteY369" fmla="*/ 483155 h 605483"/>
                    <a:gd name="connsiteX370" fmla="*/ 217116 w 654212"/>
                    <a:gd name="connsiteY370" fmla="*/ 478905 h 605483"/>
                    <a:gd name="connsiteX371" fmla="*/ 206782 w 654212"/>
                    <a:gd name="connsiteY371" fmla="*/ 471158 h 605483"/>
                    <a:gd name="connsiteX372" fmla="*/ 203103 w 654212"/>
                    <a:gd name="connsiteY372" fmla="*/ 467600 h 605483"/>
                    <a:gd name="connsiteX373" fmla="*/ 201208 w 654212"/>
                    <a:gd name="connsiteY373" fmla="*/ 464783 h 605483"/>
                    <a:gd name="connsiteX374" fmla="*/ 200346 w 654212"/>
                    <a:gd name="connsiteY374" fmla="*/ 462512 h 605483"/>
                    <a:gd name="connsiteX375" fmla="*/ 199715 w 654212"/>
                    <a:gd name="connsiteY375" fmla="*/ 460254 h 605483"/>
                    <a:gd name="connsiteX376" fmla="*/ 199363 w 654212"/>
                    <a:gd name="connsiteY376" fmla="*/ 458153 h 605483"/>
                    <a:gd name="connsiteX377" fmla="*/ 199424 w 654212"/>
                    <a:gd name="connsiteY377" fmla="*/ 456028 h 605483"/>
                    <a:gd name="connsiteX378" fmla="*/ 199776 w 654212"/>
                    <a:gd name="connsiteY378" fmla="*/ 454219 h 605483"/>
                    <a:gd name="connsiteX379" fmla="*/ 200468 w 654212"/>
                    <a:gd name="connsiteY379" fmla="*/ 452640 h 605483"/>
                    <a:gd name="connsiteX380" fmla="*/ 202653 w 654212"/>
                    <a:gd name="connsiteY380" fmla="*/ 448852 h 605483"/>
                    <a:gd name="connsiteX381" fmla="*/ 202411 w 654212"/>
                    <a:gd name="connsiteY381" fmla="*/ 446933 h 605483"/>
                    <a:gd name="connsiteX382" fmla="*/ 198792 w 654212"/>
                    <a:gd name="connsiteY382" fmla="*/ 444723 h 605483"/>
                    <a:gd name="connsiteX383" fmla="*/ 198282 w 654212"/>
                    <a:gd name="connsiteY383" fmla="*/ 443132 h 605483"/>
                    <a:gd name="connsiteX384" fmla="*/ 198573 w 654212"/>
                    <a:gd name="connsiteY384" fmla="*/ 434316 h 605483"/>
                    <a:gd name="connsiteX385" fmla="*/ 198853 w 654212"/>
                    <a:gd name="connsiteY385" fmla="*/ 432629 h 605483"/>
                    <a:gd name="connsiteX386" fmla="*/ 199545 w 654212"/>
                    <a:gd name="connsiteY386" fmla="*/ 431171 h 605483"/>
                    <a:gd name="connsiteX387" fmla="*/ 202411 w 654212"/>
                    <a:gd name="connsiteY387" fmla="*/ 427954 h 605483"/>
                    <a:gd name="connsiteX388" fmla="*/ 203686 w 654212"/>
                    <a:gd name="connsiteY388" fmla="*/ 425513 h 605483"/>
                    <a:gd name="connsiteX389" fmla="*/ 202763 w 654212"/>
                    <a:gd name="connsiteY389" fmla="*/ 424189 h 605483"/>
                    <a:gd name="connsiteX390" fmla="*/ 200978 w 654212"/>
                    <a:gd name="connsiteY390" fmla="*/ 423667 h 605483"/>
                    <a:gd name="connsiteX391" fmla="*/ 196448 w 654212"/>
                    <a:gd name="connsiteY391" fmla="*/ 424165 h 605483"/>
                    <a:gd name="connsiteX392" fmla="*/ 195016 w 654212"/>
                    <a:gd name="connsiteY392" fmla="*/ 423983 h 605483"/>
                    <a:gd name="connsiteX393" fmla="*/ 194833 w 654212"/>
                    <a:gd name="connsiteY393" fmla="*/ 423242 h 605483"/>
                    <a:gd name="connsiteX394" fmla="*/ 195866 w 654212"/>
                    <a:gd name="connsiteY394" fmla="*/ 419356 h 605483"/>
                    <a:gd name="connsiteX395" fmla="*/ 195356 w 654212"/>
                    <a:gd name="connsiteY395" fmla="*/ 417268 h 605483"/>
                    <a:gd name="connsiteX396" fmla="*/ 193984 w 654212"/>
                    <a:gd name="connsiteY396" fmla="*/ 414718 h 605483"/>
                    <a:gd name="connsiteX397" fmla="*/ 193061 w 654212"/>
                    <a:gd name="connsiteY397" fmla="*/ 413625 h 605483"/>
                    <a:gd name="connsiteX398" fmla="*/ 192198 w 654212"/>
                    <a:gd name="connsiteY398" fmla="*/ 413018 h 605483"/>
                    <a:gd name="connsiteX399" fmla="*/ 191616 w 654212"/>
                    <a:gd name="connsiteY399" fmla="*/ 413103 h 605483"/>
                    <a:gd name="connsiteX400" fmla="*/ 191045 w 654212"/>
                    <a:gd name="connsiteY400" fmla="*/ 413795 h 605483"/>
                    <a:gd name="connsiteX401" fmla="*/ 189843 w 654212"/>
                    <a:gd name="connsiteY401" fmla="*/ 416114 h 605483"/>
                    <a:gd name="connsiteX402" fmla="*/ 189041 w 654212"/>
                    <a:gd name="connsiteY402" fmla="*/ 417304 h 605483"/>
                    <a:gd name="connsiteX403" fmla="*/ 188288 w 654212"/>
                    <a:gd name="connsiteY403" fmla="*/ 417923 h 605483"/>
                    <a:gd name="connsiteX404" fmla="*/ 187487 w 654212"/>
                    <a:gd name="connsiteY404" fmla="*/ 418154 h 605483"/>
                    <a:gd name="connsiteX405" fmla="*/ 186455 w 654212"/>
                    <a:gd name="connsiteY405" fmla="*/ 417304 h 605483"/>
                    <a:gd name="connsiteX406" fmla="*/ 185884 w 654212"/>
                    <a:gd name="connsiteY406" fmla="*/ 415859 h 605483"/>
                    <a:gd name="connsiteX407" fmla="*/ 185483 w 654212"/>
                    <a:gd name="connsiteY407" fmla="*/ 413394 h 605483"/>
                    <a:gd name="connsiteX408" fmla="*/ 184500 w 654212"/>
                    <a:gd name="connsiteY408" fmla="*/ 411925 h 605483"/>
                    <a:gd name="connsiteX409" fmla="*/ 183419 w 654212"/>
                    <a:gd name="connsiteY409" fmla="*/ 411208 h 605483"/>
                    <a:gd name="connsiteX410" fmla="*/ 180833 w 654212"/>
                    <a:gd name="connsiteY410" fmla="*/ 410808 h 605483"/>
                    <a:gd name="connsiteX411" fmla="*/ 180201 w 654212"/>
                    <a:gd name="connsiteY411" fmla="*/ 410868 h 605483"/>
                    <a:gd name="connsiteX412" fmla="*/ 179740 w 654212"/>
                    <a:gd name="connsiteY412" fmla="*/ 411269 h 605483"/>
                    <a:gd name="connsiteX413" fmla="*/ 179461 w 654212"/>
                    <a:gd name="connsiteY413" fmla="*/ 411816 h 605483"/>
                    <a:gd name="connsiteX414" fmla="*/ 178878 w 654212"/>
                    <a:gd name="connsiteY414" fmla="*/ 412471 h 605483"/>
                    <a:gd name="connsiteX415" fmla="*/ 178016 w 654212"/>
                    <a:gd name="connsiteY415" fmla="*/ 412180 h 605483"/>
                    <a:gd name="connsiteX416" fmla="*/ 176461 w 654212"/>
                    <a:gd name="connsiteY416" fmla="*/ 410893 h 605483"/>
                    <a:gd name="connsiteX417" fmla="*/ 174968 w 654212"/>
                    <a:gd name="connsiteY417" fmla="*/ 408282 h 605483"/>
                    <a:gd name="connsiteX418" fmla="*/ 173826 w 654212"/>
                    <a:gd name="connsiteY418" fmla="*/ 407335 h 605483"/>
                    <a:gd name="connsiteX419" fmla="*/ 172794 w 654212"/>
                    <a:gd name="connsiteY419" fmla="*/ 407505 h 605483"/>
                    <a:gd name="connsiteX420" fmla="*/ 172041 w 654212"/>
                    <a:gd name="connsiteY420" fmla="*/ 408367 h 605483"/>
                    <a:gd name="connsiteX421" fmla="*/ 170718 w 654212"/>
                    <a:gd name="connsiteY421" fmla="*/ 409338 h 605483"/>
                    <a:gd name="connsiteX422" fmla="*/ 169685 w 654212"/>
                    <a:gd name="connsiteY422" fmla="*/ 409569 h 605483"/>
                    <a:gd name="connsiteX423" fmla="*/ 168204 w 654212"/>
                    <a:gd name="connsiteY423" fmla="*/ 409023 h 605483"/>
                    <a:gd name="connsiteX424" fmla="*/ 167099 w 654212"/>
                    <a:gd name="connsiteY424" fmla="*/ 405295 h 605483"/>
                    <a:gd name="connsiteX425" fmla="*/ 163201 w 654212"/>
                    <a:gd name="connsiteY425" fmla="*/ 397572 h 605483"/>
                    <a:gd name="connsiteX426" fmla="*/ 155842 w 654212"/>
                    <a:gd name="connsiteY426" fmla="*/ 384275 h 605483"/>
                    <a:gd name="connsiteX427" fmla="*/ 153268 w 654212"/>
                    <a:gd name="connsiteY427" fmla="*/ 381980 h 605483"/>
                    <a:gd name="connsiteX428" fmla="*/ 152576 w 654212"/>
                    <a:gd name="connsiteY428" fmla="*/ 382818 h 605483"/>
                    <a:gd name="connsiteX429" fmla="*/ 152005 w 654212"/>
                    <a:gd name="connsiteY429" fmla="*/ 383680 h 605483"/>
                    <a:gd name="connsiteX430" fmla="*/ 151362 w 654212"/>
                    <a:gd name="connsiteY430" fmla="*/ 384166 h 605483"/>
                    <a:gd name="connsiteX431" fmla="*/ 150512 w 654212"/>
                    <a:gd name="connsiteY431" fmla="*/ 384506 h 605483"/>
                    <a:gd name="connsiteX432" fmla="*/ 146201 w 654212"/>
                    <a:gd name="connsiteY432" fmla="*/ 385599 h 605483"/>
                    <a:gd name="connsiteX433" fmla="*/ 145230 w 654212"/>
                    <a:gd name="connsiteY433" fmla="*/ 387930 h 605483"/>
                    <a:gd name="connsiteX434" fmla="*/ 146310 w 654212"/>
                    <a:gd name="connsiteY434" fmla="*/ 395714 h 605483"/>
                    <a:gd name="connsiteX435" fmla="*/ 145740 w 654212"/>
                    <a:gd name="connsiteY435" fmla="*/ 397839 h 605483"/>
                    <a:gd name="connsiteX436" fmla="*/ 144756 w 654212"/>
                    <a:gd name="connsiteY436" fmla="*/ 398641 h 605483"/>
                    <a:gd name="connsiteX437" fmla="*/ 142242 w 654212"/>
                    <a:gd name="connsiteY437" fmla="*/ 398264 h 605483"/>
                    <a:gd name="connsiteX438" fmla="*/ 141028 w 654212"/>
                    <a:gd name="connsiteY438" fmla="*/ 399151 h 605483"/>
                    <a:gd name="connsiteX439" fmla="*/ 140348 w 654212"/>
                    <a:gd name="connsiteY439" fmla="*/ 400851 h 605483"/>
                    <a:gd name="connsiteX440" fmla="*/ 139777 w 654212"/>
                    <a:gd name="connsiteY440" fmla="*/ 403923 h 605483"/>
                    <a:gd name="connsiteX441" fmla="*/ 138672 w 654212"/>
                    <a:gd name="connsiteY441" fmla="*/ 405732 h 605483"/>
                    <a:gd name="connsiteX442" fmla="*/ 137422 w 654212"/>
                    <a:gd name="connsiteY442" fmla="*/ 406813 h 605483"/>
                    <a:gd name="connsiteX443" fmla="*/ 136098 w 654212"/>
                    <a:gd name="connsiteY443" fmla="*/ 407080 h 605483"/>
                    <a:gd name="connsiteX444" fmla="*/ 134774 w 654212"/>
                    <a:gd name="connsiteY444" fmla="*/ 406703 h 605483"/>
                    <a:gd name="connsiteX445" fmla="*/ 131326 w 654212"/>
                    <a:gd name="connsiteY445" fmla="*/ 405210 h 605483"/>
                    <a:gd name="connsiteX446" fmla="*/ 129152 w 654212"/>
                    <a:gd name="connsiteY446" fmla="*/ 405356 h 605483"/>
                    <a:gd name="connsiteX447" fmla="*/ 127659 w 654212"/>
                    <a:gd name="connsiteY447" fmla="*/ 405756 h 605483"/>
                    <a:gd name="connsiteX448" fmla="*/ 123518 w 654212"/>
                    <a:gd name="connsiteY448" fmla="*/ 407529 h 605483"/>
                    <a:gd name="connsiteX449" fmla="*/ 119438 w 654212"/>
                    <a:gd name="connsiteY449" fmla="*/ 405149 h 605483"/>
                    <a:gd name="connsiteX450" fmla="*/ 115479 w 654212"/>
                    <a:gd name="connsiteY450" fmla="*/ 400984 h 605483"/>
                    <a:gd name="connsiteX451" fmla="*/ 113354 w 654212"/>
                    <a:gd name="connsiteY451" fmla="*/ 397718 h 605483"/>
                    <a:gd name="connsiteX452" fmla="*/ 112201 w 654212"/>
                    <a:gd name="connsiteY452" fmla="*/ 394560 h 605483"/>
                    <a:gd name="connsiteX453" fmla="*/ 109396 w 654212"/>
                    <a:gd name="connsiteY453" fmla="*/ 381956 h 605483"/>
                    <a:gd name="connsiteX454" fmla="*/ 99001 w 654212"/>
                    <a:gd name="connsiteY454" fmla="*/ 354246 h 605483"/>
                    <a:gd name="connsiteX455" fmla="*/ 75116 w 654212"/>
                    <a:gd name="connsiteY455" fmla="*/ 311151 h 605483"/>
                    <a:gd name="connsiteX456" fmla="*/ 71376 w 654212"/>
                    <a:gd name="connsiteY456" fmla="*/ 303999 h 605483"/>
                    <a:gd name="connsiteX457" fmla="*/ 71097 w 654212"/>
                    <a:gd name="connsiteY457" fmla="*/ 302347 h 605483"/>
                    <a:gd name="connsiteX458" fmla="*/ 71255 w 654212"/>
                    <a:gd name="connsiteY458" fmla="*/ 300161 h 605483"/>
                    <a:gd name="connsiteX459" fmla="*/ 72190 w 654212"/>
                    <a:gd name="connsiteY459" fmla="*/ 299068 h 605483"/>
                    <a:gd name="connsiteX460" fmla="*/ 73562 w 654212"/>
                    <a:gd name="connsiteY460" fmla="*/ 298461 h 605483"/>
                    <a:gd name="connsiteX461" fmla="*/ 74995 w 654212"/>
                    <a:gd name="connsiteY461" fmla="*/ 298437 h 605483"/>
                    <a:gd name="connsiteX462" fmla="*/ 77411 w 654212"/>
                    <a:gd name="connsiteY462" fmla="*/ 298777 h 605483"/>
                    <a:gd name="connsiteX463" fmla="*/ 78613 w 654212"/>
                    <a:gd name="connsiteY463" fmla="*/ 298753 h 605483"/>
                    <a:gd name="connsiteX464" fmla="*/ 79816 w 654212"/>
                    <a:gd name="connsiteY464" fmla="*/ 297976 h 605483"/>
                    <a:gd name="connsiteX465" fmla="*/ 79816 w 654212"/>
                    <a:gd name="connsiteY465" fmla="*/ 296773 h 605483"/>
                    <a:gd name="connsiteX466" fmla="*/ 79075 w 654212"/>
                    <a:gd name="connsiteY466" fmla="*/ 295158 h 605483"/>
                    <a:gd name="connsiteX467" fmla="*/ 72190 w 654212"/>
                    <a:gd name="connsiteY467" fmla="*/ 282870 h 605483"/>
                    <a:gd name="connsiteX468" fmla="*/ 65414 w 654212"/>
                    <a:gd name="connsiteY468" fmla="*/ 273313 h 605483"/>
                    <a:gd name="connsiteX469" fmla="*/ 63228 w 654212"/>
                    <a:gd name="connsiteY469" fmla="*/ 269464 h 605483"/>
                    <a:gd name="connsiteX470" fmla="*/ 59780 w 654212"/>
                    <a:gd name="connsiteY470" fmla="*/ 267375 h 605483"/>
                    <a:gd name="connsiteX471" fmla="*/ 48645 w 654212"/>
                    <a:gd name="connsiteY471" fmla="*/ 262542 h 605483"/>
                    <a:gd name="connsiteX472" fmla="*/ 39452 w 654212"/>
                    <a:gd name="connsiteY472" fmla="*/ 257005 h 605483"/>
                    <a:gd name="connsiteX473" fmla="*/ 30722 w 654212"/>
                    <a:gd name="connsiteY473" fmla="*/ 253362 h 605483"/>
                    <a:gd name="connsiteX474" fmla="*/ 29471 w 654212"/>
                    <a:gd name="connsiteY474" fmla="*/ 252063 h 605483"/>
                    <a:gd name="connsiteX475" fmla="*/ 26593 w 654212"/>
                    <a:gd name="connsiteY475" fmla="*/ 252695 h 605483"/>
                    <a:gd name="connsiteX476" fmla="*/ 22464 w 654212"/>
                    <a:gd name="connsiteY476" fmla="*/ 251152 h 605483"/>
                    <a:gd name="connsiteX477" fmla="*/ 11087 w 654212"/>
                    <a:gd name="connsiteY477" fmla="*/ 249392 h 605483"/>
                    <a:gd name="connsiteX478" fmla="*/ 9253 w 654212"/>
                    <a:gd name="connsiteY478" fmla="*/ 248736 h 605483"/>
                    <a:gd name="connsiteX479" fmla="*/ 7189 w 654212"/>
                    <a:gd name="connsiteY479" fmla="*/ 247789 h 605483"/>
                    <a:gd name="connsiteX480" fmla="*/ 6606 w 654212"/>
                    <a:gd name="connsiteY480" fmla="*/ 246320 h 605483"/>
                    <a:gd name="connsiteX481" fmla="*/ 7419 w 654212"/>
                    <a:gd name="connsiteY481" fmla="*/ 244547 h 605483"/>
                    <a:gd name="connsiteX482" fmla="*/ 18141 w 654212"/>
                    <a:gd name="connsiteY482" fmla="*/ 233169 h 605483"/>
                    <a:gd name="connsiteX483" fmla="*/ 19999 w 654212"/>
                    <a:gd name="connsiteY483" fmla="*/ 230133 h 605483"/>
                    <a:gd name="connsiteX484" fmla="*/ 21311 w 654212"/>
                    <a:gd name="connsiteY484" fmla="*/ 227376 h 605483"/>
                    <a:gd name="connsiteX485" fmla="*/ 22234 w 654212"/>
                    <a:gd name="connsiteY485" fmla="*/ 224450 h 605483"/>
                    <a:gd name="connsiteX486" fmla="*/ 22003 w 654212"/>
                    <a:gd name="connsiteY486" fmla="*/ 223066 h 605483"/>
                    <a:gd name="connsiteX487" fmla="*/ 20910 w 654212"/>
                    <a:gd name="connsiteY487" fmla="*/ 222531 h 605483"/>
                    <a:gd name="connsiteX488" fmla="*/ 19696 w 654212"/>
                    <a:gd name="connsiteY488" fmla="*/ 222604 h 605483"/>
                    <a:gd name="connsiteX489" fmla="*/ 18664 w 654212"/>
                    <a:gd name="connsiteY489" fmla="*/ 223041 h 605483"/>
                    <a:gd name="connsiteX490" fmla="*/ 17862 w 654212"/>
                    <a:gd name="connsiteY490" fmla="*/ 223503 h 605483"/>
                    <a:gd name="connsiteX491" fmla="*/ 16830 w 654212"/>
                    <a:gd name="connsiteY491" fmla="*/ 223989 h 605483"/>
                    <a:gd name="connsiteX492" fmla="*/ 15519 w 654212"/>
                    <a:gd name="connsiteY492" fmla="*/ 224013 h 605483"/>
                    <a:gd name="connsiteX493" fmla="*/ 13503 w 654212"/>
                    <a:gd name="connsiteY493" fmla="*/ 222786 h 605483"/>
                    <a:gd name="connsiteX494" fmla="*/ 12361 w 654212"/>
                    <a:gd name="connsiteY494" fmla="*/ 220030 h 605483"/>
                    <a:gd name="connsiteX495" fmla="*/ 11949 w 654212"/>
                    <a:gd name="connsiteY495" fmla="*/ 216715 h 605483"/>
                    <a:gd name="connsiteX496" fmla="*/ 12361 w 654212"/>
                    <a:gd name="connsiteY496" fmla="*/ 213789 h 605483"/>
                    <a:gd name="connsiteX497" fmla="*/ 13272 w 654212"/>
                    <a:gd name="connsiteY497" fmla="*/ 211506 h 605483"/>
                    <a:gd name="connsiteX498" fmla="*/ 14304 w 654212"/>
                    <a:gd name="connsiteY498" fmla="*/ 210437 h 605483"/>
                    <a:gd name="connsiteX499" fmla="*/ 15045 w 654212"/>
                    <a:gd name="connsiteY499" fmla="*/ 209915 h 605483"/>
                    <a:gd name="connsiteX500" fmla="*/ 28147 w 654212"/>
                    <a:gd name="connsiteY500" fmla="*/ 207049 h 605483"/>
                    <a:gd name="connsiteX501" fmla="*/ 31705 w 654212"/>
                    <a:gd name="connsiteY501" fmla="*/ 205641 h 605483"/>
                    <a:gd name="connsiteX502" fmla="*/ 34692 w 654212"/>
                    <a:gd name="connsiteY502" fmla="*/ 203807 h 605483"/>
                    <a:gd name="connsiteX503" fmla="*/ 37497 w 654212"/>
                    <a:gd name="connsiteY503" fmla="*/ 201427 h 605483"/>
                    <a:gd name="connsiteX504" fmla="*/ 44382 w 654212"/>
                    <a:gd name="connsiteY504" fmla="*/ 193643 h 605483"/>
                    <a:gd name="connsiteX505" fmla="*/ 59039 w 654212"/>
                    <a:gd name="connsiteY505" fmla="*/ 182533 h 605483"/>
                    <a:gd name="connsiteX506" fmla="*/ 68110 w 654212"/>
                    <a:gd name="connsiteY506" fmla="*/ 177651 h 605483"/>
                    <a:gd name="connsiteX507" fmla="*/ 69373 w 654212"/>
                    <a:gd name="connsiteY507" fmla="*/ 176473 h 605483"/>
                    <a:gd name="connsiteX508" fmla="*/ 69603 w 654212"/>
                    <a:gd name="connsiteY508" fmla="*/ 175125 h 605483"/>
                    <a:gd name="connsiteX509" fmla="*/ 69190 w 654212"/>
                    <a:gd name="connsiteY509" fmla="*/ 173887 h 605483"/>
                    <a:gd name="connsiteX510" fmla="*/ 61504 w 654212"/>
                    <a:gd name="connsiteY510" fmla="*/ 159619 h 605483"/>
                    <a:gd name="connsiteX511" fmla="*/ 60703 w 654212"/>
                    <a:gd name="connsiteY511" fmla="*/ 158550 h 605483"/>
                    <a:gd name="connsiteX512" fmla="*/ 58869 w 654212"/>
                    <a:gd name="connsiteY512" fmla="*/ 156510 h 605483"/>
                    <a:gd name="connsiteX513" fmla="*/ 57133 w 654212"/>
                    <a:gd name="connsiteY513" fmla="*/ 156085 h 605483"/>
                    <a:gd name="connsiteX514" fmla="*/ 58565 w 654212"/>
                    <a:gd name="connsiteY514" fmla="*/ 154082 h 605483"/>
                    <a:gd name="connsiteX515" fmla="*/ 60873 w 654212"/>
                    <a:gd name="connsiteY515" fmla="*/ 149662 h 605483"/>
                    <a:gd name="connsiteX516" fmla="*/ 60642 w 654212"/>
                    <a:gd name="connsiteY516" fmla="*/ 146930 h 605483"/>
                    <a:gd name="connsiteX517" fmla="*/ 66215 w 654212"/>
                    <a:gd name="connsiteY517" fmla="*/ 139340 h 605483"/>
                    <a:gd name="connsiteX518" fmla="*/ 69433 w 654212"/>
                    <a:gd name="connsiteY518" fmla="*/ 136511 h 605483"/>
                    <a:gd name="connsiteX519" fmla="*/ 70866 w 654212"/>
                    <a:gd name="connsiteY519" fmla="*/ 135673 h 605483"/>
                    <a:gd name="connsiteX520" fmla="*/ 71255 w 654212"/>
                    <a:gd name="connsiteY520" fmla="*/ 135078 h 605483"/>
                    <a:gd name="connsiteX521" fmla="*/ 71838 w 654212"/>
                    <a:gd name="connsiteY521" fmla="*/ 132309 h 605483"/>
                    <a:gd name="connsiteX522" fmla="*/ 71898 w 654212"/>
                    <a:gd name="connsiteY522" fmla="*/ 130099 h 605483"/>
                    <a:gd name="connsiteX523" fmla="*/ 71680 w 654212"/>
                    <a:gd name="connsiteY523" fmla="*/ 127841 h 605483"/>
                    <a:gd name="connsiteX524" fmla="*/ 67940 w 654212"/>
                    <a:gd name="connsiteY524" fmla="*/ 119620 h 605483"/>
                    <a:gd name="connsiteX525" fmla="*/ 67308 w 654212"/>
                    <a:gd name="connsiteY525" fmla="*/ 117216 h 605483"/>
                    <a:gd name="connsiteX526" fmla="*/ 67636 w 654212"/>
                    <a:gd name="connsiteY526" fmla="*/ 110209 h 605483"/>
                    <a:gd name="connsiteX527" fmla="*/ 69494 w 654212"/>
                    <a:gd name="connsiteY527" fmla="*/ 106166 h 605483"/>
                    <a:gd name="connsiteX528" fmla="*/ 69373 w 654212"/>
                    <a:gd name="connsiteY528" fmla="*/ 104866 h 605483"/>
                    <a:gd name="connsiteX529" fmla="*/ 68790 w 654212"/>
                    <a:gd name="connsiteY529" fmla="*/ 102596 h 605483"/>
                    <a:gd name="connsiteX530" fmla="*/ 67636 w 654212"/>
                    <a:gd name="connsiteY530" fmla="*/ 100738 h 605483"/>
                    <a:gd name="connsiteX531" fmla="*/ 64552 w 654212"/>
                    <a:gd name="connsiteY531" fmla="*/ 96974 h 605483"/>
                    <a:gd name="connsiteX532" fmla="*/ 63459 w 654212"/>
                    <a:gd name="connsiteY532" fmla="*/ 95043 h 605483"/>
                    <a:gd name="connsiteX533" fmla="*/ 62645 w 654212"/>
                    <a:gd name="connsiteY533" fmla="*/ 93209 h 605483"/>
                    <a:gd name="connsiteX534" fmla="*/ 61334 w 654212"/>
                    <a:gd name="connsiteY534" fmla="*/ 91169 h 605483"/>
                    <a:gd name="connsiteX535" fmla="*/ 59258 w 654212"/>
                    <a:gd name="connsiteY535" fmla="*/ 88619 h 605483"/>
                    <a:gd name="connsiteX536" fmla="*/ 52834 w 654212"/>
                    <a:gd name="connsiteY536" fmla="*/ 82159 h 605483"/>
                    <a:gd name="connsiteX537" fmla="*/ 50478 w 654212"/>
                    <a:gd name="connsiteY537" fmla="*/ 79257 h 605483"/>
                    <a:gd name="connsiteX538" fmla="*/ 49215 w 654212"/>
                    <a:gd name="connsiteY538" fmla="*/ 76282 h 605483"/>
                    <a:gd name="connsiteX539" fmla="*/ 48924 w 654212"/>
                    <a:gd name="connsiteY539" fmla="*/ 73489 h 605483"/>
                    <a:gd name="connsiteX540" fmla="*/ 49555 w 654212"/>
                    <a:gd name="connsiteY540" fmla="*/ 71048 h 605483"/>
                    <a:gd name="connsiteX541" fmla="*/ 50988 w 654212"/>
                    <a:gd name="connsiteY541" fmla="*/ 69324 h 605483"/>
                    <a:gd name="connsiteX542" fmla="*/ 53235 w 654212"/>
                    <a:gd name="connsiteY542" fmla="*/ 68000 h 605483"/>
                    <a:gd name="connsiteX543" fmla="*/ 56914 w 654212"/>
                    <a:gd name="connsiteY543" fmla="*/ 67138 h 605483"/>
                    <a:gd name="connsiteX544" fmla="*/ 59258 w 654212"/>
                    <a:gd name="connsiteY544" fmla="*/ 67175 h 605483"/>
                    <a:gd name="connsiteX545" fmla="*/ 61334 w 654212"/>
                    <a:gd name="connsiteY545" fmla="*/ 67600 h 605483"/>
                    <a:gd name="connsiteX546" fmla="*/ 65863 w 654212"/>
                    <a:gd name="connsiteY546" fmla="*/ 69555 h 605483"/>
                    <a:gd name="connsiteX547" fmla="*/ 67588 w 654212"/>
                    <a:gd name="connsiteY547" fmla="*/ 69919 h 605483"/>
                    <a:gd name="connsiteX548" fmla="*/ 69190 w 654212"/>
                    <a:gd name="connsiteY548" fmla="*/ 70563 h 605483"/>
                    <a:gd name="connsiteX549" fmla="*/ 70745 w 654212"/>
                    <a:gd name="connsiteY549" fmla="*/ 71740 h 605483"/>
                    <a:gd name="connsiteX550" fmla="*/ 73793 w 654212"/>
                    <a:gd name="connsiteY550" fmla="*/ 75298 h 605483"/>
                    <a:gd name="connsiteX551" fmla="*/ 75226 w 654212"/>
                    <a:gd name="connsiteY551" fmla="*/ 76379 h 605483"/>
                    <a:gd name="connsiteX552" fmla="*/ 77290 w 654212"/>
                    <a:gd name="connsiteY552" fmla="*/ 75699 h 605483"/>
                    <a:gd name="connsiteX553" fmla="*/ 80629 w 654212"/>
                    <a:gd name="connsiteY553" fmla="*/ 73683 h 605483"/>
                    <a:gd name="connsiteX554" fmla="*/ 95444 w 654212"/>
                    <a:gd name="connsiteY554" fmla="*/ 61455 h 605483"/>
                    <a:gd name="connsiteX555" fmla="*/ 99924 w 654212"/>
                    <a:gd name="connsiteY555" fmla="*/ 56453 h 605483"/>
                    <a:gd name="connsiteX556" fmla="*/ 101126 w 654212"/>
                    <a:gd name="connsiteY556" fmla="*/ 54886 h 605483"/>
                    <a:gd name="connsiteX557" fmla="*/ 104684 w 654212"/>
                    <a:gd name="connsiteY557" fmla="*/ 52324 h 605483"/>
                    <a:gd name="connsiteX558" fmla="*/ 114447 w 654212"/>
                    <a:gd name="connsiteY558" fmla="*/ 48280 h 605483"/>
                    <a:gd name="connsiteX559" fmla="*/ 122304 w 654212"/>
                    <a:gd name="connsiteY559" fmla="*/ 45973 h 605483"/>
                    <a:gd name="connsiteX560" fmla="*/ 126287 w 654212"/>
                    <a:gd name="connsiteY560" fmla="*/ 44346 h 605483"/>
                    <a:gd name="connsiteX561" fmla="*/ 130245 w 654212"/>
                    <a:gd name="connsiteY561" fmla="*/ 41760 h 605483"/>
                    <a:gd name="connsiteX562" fmla="*/ 134896 w 654212"/>
                    <a:gd name="connsiteY562" fmla="*/ 36939 h 605483"/>
                    <a:gd name="connsiteX563" fmla="*/ 136547 w 654212"/>
                    <a:gd name="connsiteY563" fmla="*/ 33381 h 605483"/>
                    <a:gd name="connsiteX564" fmla="*/ 137240 w 654212"/>
                    <a:gd name="connsiteY564" fmla="*/ 30625 h 605483"/>
                    <a:gd name="connsiteX565" fmla="*/ 137300 w 654212"/>
                    <a:gd name="connsiteY565" fmla="*/ 28499 h 605483"/>
                    <a:gd name="connsiteX566" fmla="*/ 138502 w 654212"/>
                    <a:gd name="connsiteY566" fmla="*/ 26459 h 605483"/>
                    <a:gd name="connsiteX567" fmla="*/ 140980 w 654212"/>
                    <a:gd name="connsiteY567" fmla="*/ 24079 h 605483"/>
                    <a:gd name="connsiteX568" fmla="*/ 152066 w 654212"/>
                    <a:gd name="connsiteY568" fmla="*/ 17328 h 605483"/>
                    <a:gd name="connsiteX569" fmla="*/ 160214 w 654212"/>
                    <a:gd name="connsiteY569" fmla="*/ 13624 h 605483"/>
                    <a:gd name="connsiteX570" fmla="*/ 181865 w 654212"/>
                    <a:gd name="connsiteY570" fmla="*/ 9544 h 605483"/>
                    <a:gd name="connsiteX571" fmla="*/ 187548 w 654212"/>
                    <a:gd name="connsiteY571" fmla="*/ 6241 h 605483"/>
                    <a:gd name="connsiteX572" fmla="*/ 186212 w 654212"/>
                    <a:gd name="connsiteY572" fmla="*/ 0 h 605483"/>
                    <a:gd name="connsiteX573" fmla="*/ 184500 w 654212"/>
                    <a:gd name="connsiteY573" fmla="*/ 996 h 605483"/>
                    <a:gd name="connsiteX574" fmla="*/ 179716 w 654212"/>
                    <a:gd name="connsiteY574" fmla="*/ 3776 h 605483"/>
                    <a:gd name="connsiteX575" fmla="*/ 159085 w 654212"/>
                    <a:gd name="connsiteY575" fmla="*/ 7662 h 605483"/>
                    <a:gd name="connsiteX576" fmla="*/ 158368 w 654212"/>
                    <a:gd name="connsiteY576" fmla="*/ 7796 h 605483"/>
                    <a:gd name="connsiteX577" fmla="*/ 157700 w 654212"/>
                    <a:gd name="connsiteY577" fmla="*/ 8099 h 605483"/>
                    <a:gd name="connsiteX578" fmla="*/ 149552 w 654212"/>
                    <a:gd name="connsiteY578" fmla="*/ 11803 h 605483"/>
                    <a:gd name="connsiteX579" fmla="*/ 149225 w 654212"/>
                    <a:gd name="connsiteY579" fmla="*/ 11949 h 605483"/>
                    <a:gd name="connsiteX580" fmla="*/ 148909 w 654212"/>
                    <a:gd name="connsiteY580" fmla="*/ 12143 h 605483"/>
                    <a:gd name="connsiteX581" fmla="*/ 137822 w 654212"/>
                    <a:gd name="connsiteY581" fmla="*/ 18894 h 605483"/>
                    <a:gd name="connsiteX582" fmla="*/ 137264 w 654212"/>
                    <a:gd name="connsiteY582" fmla="*/ 19247 h 605483"/>
                    <a:gd name="connsiteX583" fmla="*/ 136778 w 654212"/>
                    <a:gd name="connsiteY583" fmla="*/ 19708 h 605483"/>
                    <a:gd name="connsiteX584" fmla="*/ 134301 w 654212"/>
                    <a:gd name="connsiteY584" fmla="*/ 22088 h 605483"/>
                    <a:gd name="connsiteX585" fmla="*/ 133694 w 654212"/>
                    <a:gd name="connsiteY585" fmla="*/ 22671 h 605483"/>
                    <a:gd name="connsiteX586" fmla="*/ 133269 w 654212"/>
                    <a:gd name="connsiteY586" fmla="*/ 23399 h 605483"/>
                    <a:gd name="connsiteX587" fmla="*/ 132067 w 654212"/>
                    <a:gd name="connsiteY587" fmla="*/ 25439 h 605483"/>
                    <a:gd name="connsiteX588" fmla="*/ 131277 w 654212"/>
                    <a:gd name="connsiteY588" fmla="*/ 26787 h 605483"/>
                    <a:gd name="connsiteX589" fmla="*/ 131229 w 654212"/>
                    <a:gd name="connsiteY589" fmla="*/ 28342 h 605483"/>
                    <a:gd name="connsiteX590" fmla="*/ 131192 w 654212"/>
                    <a:gd name="connsiteY590" fmla="*/ 29811 h 605483"/>
                    <a:gd name="connsiteX591" fmla="*/ 130804 w 654212"/>
                    <a:gd name="connsiteY591" fmla="*/ 31353 h 605483"/>
                    <a:gd name="connsiteX592" fmla="*/ 129820 w 654212"/>
                    <a:gd name="connsiteY592" fmla="*/ 33466 h 605483"/>
                    <a:gd name="connsiteX593" fmla="*/ 126347 w 654212"/>
                    <a:gd name="connsiteY593" fmla="*/ 37060 h 605483"/>
                    <a:gd name="connsiteX594" fmla="*/ 123445 w 654212"/>
                    <a:gd name="connsiteY594" fmla="*/ 38955 h 605483"/>
                    <a:gd name="connsiteX595" fmla="*/ 120288 w 654212"/>
                    <a:gd name="connsiteY595" fmla="*/ 40242 h 605483"/>
                    <a:gd name="connsiteX596" fmla="*/ 112723 w 654212"/>
                    <a:gd name="connsiteY596" fmla="*/ 42464 h 605483"/>
                    <a:gd name="connsiteX597" fmla="*/ 112407 w 654212"/>
                    <a:gd name="connsiteY597" fmla="*/ 42561 h 605483"/>
                    <a:gd name="connsiteX598" fmla="*/ 112104 w 654212"/>
                    <a:gd name="connsiteY598" fmla="*/ 42682 h 605483"/>
                    <a:gd name="connsiteX599" fmla="*/ 102341 w 654212"/>
                    <a:gd name="connsiteY599" fmla="*/ 46726 h 605483"/>
                    <a:gd name="connsiteX600" fmla="*/ 101685 w 654212"/>
                    <a:gd name="connsiteY600" fmla="*/ 46993 h 605483"/>
                    <a:gd name="connsiteX601" fmla="*/ 101114 w 654212"/>
                    <a:gd name="connsiteY601" fmla="*/ 47406 h 605483"/>
                    <a:gd name="connsiteX602" fmla="*/ 97556 w 654212"/>
                    <a:gd name="connsiteY602" fmla="*/ 49968 h 605483"/>
                    <a:gd name="connsiteX603" fmla="*/ 96828 w 654212"/>
                    <a:gd name="connsiteY603" fmla="*/ 50490 h 605483"/>
                    <a:gd name="connsiteX604" fmla="*/ 96281 w 654212"/>
                    <a:gd name="connsiteY604" fmla="*/ 51207 h 605483"/>
                    <a:gd name="connsiteX605" fmla="*/ 95079 w 654212"/>
                    <a:gd name="connsiteY605" fmla="*/ 52773 h 605483"/>
                    <a:gd name="connsiteX606" fmla="*/ 91206 w 654212"/>
                    <a:gd name="connsiteY606" fmla="*/ 57072 h 605483"/>
                    <a:gd name="connsiteX607" fmla="*/ 77083 w 654212"/>
                    <a:gd name="connsiteY607" fmla="*/ 68729 h 605483"/>
                    <a:gd name="connsiteX608" fmla="*/ 76452 w 654212"/>
                    <a:gd name="connsiteY608" fmla="*/ 69118 h 605483"/>
                    <a:gd name="connsiteX609" fmla="*/ 75335 w 654212"/>
                    <a:gd name="connsiteY609" fmla="*/ 67806 h 605483"/>
                    <a:gd name="connsiteX610" fmla="*/ 74910 w 654212"/>
                    <a:gd name="connsiteY610" fmla="*/ 67308 h 605483"/>
                    <a:gd name="connsiteX611" fmla="*/ 74388 w 654212"/>
                    <a:gd name="connsiteY611" fmla="*/ 66920 h 605483"/>
                    <a:gd name="connsiteX612" fmla="*/ 72833 w 654212"/>
                    <a:gd name="connsiteY612" fmla="*/ 65742 h 605483"/>
                    <a:gd name="connsiteX613" fmla="*/ 72178 w 654212"/>
                    <a:gd name="connsiteY613" fmla="*/ 65232 h 605483"/>
                    <a:gd name="connsiteX614" fmla="*/ 71413 w 654212"/>
                    <a:gd name="connsiteY614" fmla="*/ 64928 h 605483"/>
                    <a:gd name="connsiteX615" fmla="*/ 69810 w 654212"/>
                    <a:gd name="connsiteY615" fmla="*/ 64285 h 605483"/>
                    <a:gd name="connsiteX616" fmla="*/ 69324 w 654212"/>
                    <a:gd name="connsiteY616" fmla="*/ 64090 h 605483"/>
                    <a:gd name="connsiteX617" fmla="*/ 68814 w 654212"/>
                    <a:gd name="connsiteY617" fmla="*/ 63981 h 605483"/>
                    <a:gd name="connsiteX618" fmla="*/ 67673 w 654212"/>
                    <a:gd name="connsiteY618" fmla="*/ 63738 h 605483"/>
                    <a:gd name="connsiteX619" fmla="*/ 63702 w 654212"/>
                    <a:gd name="connsiteY619" fmla="*/ 62026 h 605483"/>
                    <a:gd name="connsiteX620" fmla="*/ 63131 w 654212"/>
                    <a:gd name="connsiteY620" fmla="*/ 61771 h 605483"/>
                    <a:gd name="connsiteX621" fmla="*/ 62524 w 654212"/>
                    <a:gd name="connsiteY621" fmla="*/ 61650 h 605483"/>
                    <a:gd name="connsiteX622" fmla="*/ 60448 w 654212"/>
                    <a:gd name="connsiteY622" fmla="*/ 61225 h 605483"/>
                    <a:gd name="connsiteX623" fmla="*/ 59889 w 654212"/>
                    <a:gd name="connsiteY623" fmla="*/ 61115 h 605483"/>
                    <a:gd name="connsiteX624" fmla="*/ 59318 w 654212"/>
                    <a:gd name="connsiteY624" fmla="*/ 61103 h 605483"/>
                    <a:gd name="connsiteX625" fmla="*/ 56975 w 654212"/>
                    <a:gd name="connsiteY625" fmla="*/ 61067 h 605483"/>
                    <a:gd name="connsiteX626" fmla="*/ 56270 w 654212"/>
                    <a:gd name="connsiteY626" fmla="*/ 61055 h 605483"/>
                    <a:gd name="connsiteX627" fmla="*/ 55542 w 654212"/>
                    <a:gd name="connsiteY627" fmla="*/ 61225 h 605483"/>
                    <a:gd name="connsiteX628" fmla="*/ 51862 w 654212"/>
                    <a:gd name="connsiteY628" fmla="*/ 62087 h 605483"/>
                    <a:gd name="connsiteX629" fmla="*/ 50964 w 654212"/>
                    <a:gd name="connsiteY629" fmla="*/ 62293 h 605483"/>
                    <a:gd name="connsiteX630" fmla="*/ 50175 w 654212"/>
                    <a:gd name="connsiteY630" fmla="*/ 62767 h 605483"/>
                    <a:gd name="connsiteX631" fmla="*/ 47928 w 654212"/>
                    <a:gd name="connsiteY631" fmla="*/ 64090 h 605483"/>
                    <a:gd name="connsiteX632" fmla="*/ 47017 w 654212"/>
                    <a:gd name="connsiteY632" fmla="*/ 64625 h 605483"/>
                    <a:gd name="connsiteX633" fmla="*/ 46337 w 654212"/>
                    <a:gd name="connsiteY633" fmla="*/ 65438 h 605483"/>
                    <a:gd name="connsiteX634" fmla="*/ 44905 w 654212"/>
                    <a:gd name="connsiteY634" fmla="*/ 67163 h 605483"/>
                    <a:gd name="connsiteX635" fmla="*/ 44030 w 654212"/>
                    <a:gd name="connsiteY635" fmla="*/ 68207 h 605483"/>
                    <a:gd name="connsiteX636" fmla="*/ 43690 w 654212"/>
                    <a:gd name="connsiteY636" fmla="*/ 69518 h 605483"/>
                    <a:gd name="connsiteX637" fmla="*/ 43059 w 654212"/>
                    <a:gd name="connsiteY637" fmla="*/ 71959 h 605483"/>
                    <a:gd name="connsiteX638" fmla="*/ 42780 w 654212"/>
                    <a:gd name="connsiteY638" fmla="*/ 73028 h 605483"/>
                    <a:gd name="connsiteX639" fmla="*/ 42901 w 654212"/>
                    <a:gd name="connsiteY639" fmla="*/ 74120 h 605483"/>
                    <a:gd name="connsiteX640" fmla="*/ 43192 w 654212"/>
                    <a:gd name="connsiteY640" fmla="*/ 76913 h 605483"/>
                    <a:gd name="connsiteX641" fmla="*/ 43290 w 654212"/>
                    <a:gd name="connsiteY641" fmla="*/ 77812 h 605483"/>
                    <a:gd name="connsiteX642" fmla="*/ 43642 w 654212"/>
                    <a:gd name="connsiteY642" fmla="*/ 78638 h 605483"/>
                    <a:gd name="connsiteX643" fmla="*/ 44905 w 654212"/>
                    <a:gd name="connsiteY643" fmla="*/ 81613 h 605483"/>
                    <a:gd name="connsiteX644" fmla="*/ 45245 w 654212"/>
                    <a:gd name="connsiteY644" fmla="*/ 82402 h 605483"/>
                    <a:gd name="connsiteX645" fmla="*/ 45779 w 654212"/>
                    <a:gd name="connsiteY645" fmla="*/ 83070 h 605483"/>
                    <a:gd name="connsiteX646" fmla="*/ 48135 w 654212"/>
                    <a:gd name="connsiteY646" fmla="*/ 85972 h 605483"/>
                    <a:gd name="connsiteX647" fmla="*/ 48329 w 654212"/>
                    <a:gd name="connsiteY647" fmla="*/ 86215 h 605483"/>
                    <a:gd name="connsiteX648" fmla="*/ 48547 w 654212"/>
                    <a:gd name="connsiteY648" fmla="*/ 86433 h 605483"/>
                    <a:gd name="connsiteX649" fmla="*/ 54971 w 654212"/>
                    <a:gd name="connsiteY649" fmla="*/ 92893 h 605483"/>
                    <a:gd name="connsiteX650" fmla="*/ 56416 w 654212"/>
                    <a:gd name="connsiteY650" fmla="*/ 94703 h 605483"/>
                    <a:gd name="connsiteX651" fmla="*/ 57303 w 654212"/>
                    <a:gd name="connsiteY651" fmla="*/ 96087 h 605483"/>
                    <a:gd name="connsiteX652" fmla="*/ 57922 w 654212"/>
                    <a:gd name="connsiteY652" fmla="*/ 97496 h 605483"/>
                    <a:gd name="connsiteX653" fmla="*/ 59270 w 654212"/>
                    <a:gd name="connsiteY653" fmla="*/ 99949 h 605483"/>
                    <a:gd name="connsiteX654" fmla="*/ 59525 w 654212"/>
                    <a:gd name="connsiteY654" fmla="*/ 100410 h 605483"/>
                    <a:gd name="connsiteX655" fmla="*/ 59853 w 654212"/>
                    <a:gd name="connsiteY655" fmla="*/ 100823 h 605483"/>
                    <a:gd name="connsiteX656" fmla="*/ 62682 w 654212"/>
                    <a:gd name="connsiteY656" fmla="*/ 104284 h 605483"/>
                    <a:gd name="connsiteX657" fmla="*/ 63131 w 654212"/>
                    <a:gd name="connsiteY657" fmla="*/ 105012 h 605483"/>
                    <a:gd name="connsiteX658" fmla="*/ 63204 w 654212"/>
                    <a:gd name="connsiteY658" fmla="*/ 105291 h 605483"/>
                    <a:gd name="connsiteX659" fmla="*/ 62111 w 654212"/>
                    <a:gd name="connsiteY659" fmla="*/ 107671 h 605483"/>
                    <a:gd name="connsiteX660" fmla="*/ 61613 w 654212"/>
                    <a:gd name="connsiteY660" fmla="*/ 108740 h 605483"/>
                    <a:gd name="connsiteX661" fmla="*/ 61565 w 654212"/>
                    <a:gd name="connsiteY661" fmla="*/ 109918 h 605483"/>
                    <a:gd name="connsiteX662" fmla="*/ 61237 w 654212"/>
                    <a:gd name="connsiteY662" fmla="*/ 116924 h 605483"/>
                    <a:gd name="connsiteX663" fmla="*/ 61200 w 654212"/>
                    <a:gd name="connsiteY663" fmla="*/ 117859 h 605483"/>
                    <a:gd name="connsiteX664" fmla="*/ 61443 w 654212"/>
                    <a:gd name="connsiteY664" fmla="*/ 118758 h 605483"/>
                    <a:gd name="connsiteX665" fmla="*/ 62075 w 654212"/>
                    <a:gd name="connsiteY665" fmla="*/ 121162 h 605483"/>
                    <a:gd name="connsiteX666" fmla="*/ 62208 w 654212"/>
                    <a:gd name="connsiteY666" fmla="*/ 121660 h 605483"/>
                    <a:gd name="connsiteX667" fmla="*/ 62415 w 654212"/>
                    <a:gd name="connsiteY667" fmla="*/ 122122 h 605483"/>
                    <a:gd name="connsiteX668" fmla="*/ 65730 w 654212"/>
                    <a:gd name="connsiteY668" fmla="*/ 129432 h 605483"/>
                    <a:gd name="connsiteX669" fmla="*/ 65815 w 654212"/>
                    <a:gd name="connsiteY669" fmla="*/ 130318 h 605483"/>
                    <a:gd name="connsiteX670" fmla="*/ 65778 w 654212"/>
                    <a:gd name="connsiteY670" fmla="*/ 131593 h 605483"/>
                    <a:gd name="connsiteX671" fmla="*/ 65766 w 654212"/>
                    <a:gd name="connsiteY671" fmla="*/ 131642 h 605483"/>
                    <a:gd name="connsiteX672" fmla="*/ 65426 w 654212"/>
                    <a:gd name="connsiteY672" fmla="*/ 131945 h 605483"/>
                    <a:gd name="connsiteX673" fmla="*/ 62208 w 654212"/>
                    <a:gd name="connsiteY673" fmla="*/ 134774 h 605483"/>
                    <a:gd name="connsiteX674" fmla="*/ 61710 w 654212"/>
                    <a:gd name="connsiteY674" fmla="*/ 135212 h 605483"/>
                    <a:gd name="connsiteX675" fmla="*/ 61322 w 654212"/>
                    <a:gd name="connsiteY675" fmla="*/ 135746 h 605483"/>
                    <a:gd name="connsiteX676" fmla="*/ 55748 w 654212"/>
                    <a:gd name="connsiteY676" fmla="*/ 143335 h 605483"/>
                    <a:gd name="connsiteX677" fmla="*/ 54400 w 654212"/>
                    <a:gd name="connsiteY677" fmla="*/ 145169 h 605483"/>
                    <a:gd name="connsiteX678" fmla="*/ 54595 w 654212"/>
                    <a:gd name="connsiteY678" fmla="*/ 147440 h 605483"/>
                    <a:gd name="connsiteX679" fmla="*/ 54680 w 654212"/>
                    <a:gd name="connsiteY679" fmla="*/ 148423 h 605483"/>
                    <a:gd name="connsiteX680" fmla="*/ 53393 w 654212"/>
                    <a:gd name="connsiteY680" fmla="*/ 150900 h 605483"/>
                    <a:gd name="connsiteX681" fmla="*/ 52202 w 654212"/>
                    <a:gd name="connsiteY681" fmla="*/ 152552 h 605483"/>
                    <a:gd name="connsiteX682" fmla="*/ 46969 w 654212"/>
                    <a:gd name="connsiteY682" fmla="*/ 159850 h 605483"/>
                    <a:gd name="connsiteX683" fmla="*/ 55603 w 654212"/>
                    <a:gd name="connsiteY683" fmla="*/ 161975 h 605483"/>
                    <a:gd name="connsiteX684" fmla="*/ 56185 w 654212"/>
                    <a:gd name="connsiteY684" fmla="*/ 162618 h 605483"/>
                    <a:gd name="connsiteX685" fmla="*/ 56319 w 654212"/>
                    <a:gd name="connsiteY685" fmla="*/ 162812 h 605483"/>
                    <a:gd name="connsiteX686" fmla="*/ 62293 w 654212"/>
                    <a:gd name="connsiteY686" fmla="*/ 173911 h 605483"/>
                    <a:gd name="connsiteX687" fmla="*/ 56161 w 654212"/>
                    <a:gd name="connsiteY687" fmla="*/ 177202 h 605483"/>
                    <a:gd name="connsiteX688" fmla="*/ 55748 w 654212"/>
                    <a:gd name="connsiteY688" fmla="*/ 177433 h 605483"/>
                    <a:gd name="connsiteX689" fmla="*/ 55372 w 654212"/>
                    <a:gd name="connsiteY689" fmla="*/ 177712 h 605483"/>
                    <a:gd name="connsiteX690" fmla="*/ 40715 w 654212"/>
                    <a:gd name="connsiteY690" fmla="*/ 188823 h 605483"/>
                    <a:gd name="connsiteX691" fmla="*/ 40230 w 654212"/>
                    <a:gd name="connsiteY691" fmla="*/ 189187 h 605483"/>
                    <a:gd name="connsiteX692" fmla="*/ 39829 w 654212"/>
                    <a:gd name="connsiteY692" fmla="*/ 189648 h 605483"/>
                    <a:gd name="connsiteX693" fmla="*/ 33235 w 654212"/>
                    <a:gd name="connsiteY693" fmla="*/ 197104 h 605483"/>
                    <a:gd name="connsiteX694" fmla="*/ 31122 w 654212"/>
                    <a:gd name="connsiteY694" fmla="*/ 198889 h 605483"/>
                    <a:gd name="connsiteX695" fmla="*/ 28973 w 654212"/>
                    <a:gd name="connsiteY695" fmla="*/ 200201 h 605483"/>
                    <a:gd name="connsiteX696" fmla="*/ 26362 w 654212"/>
                    <a:gd name="connsiteY696" fmla="*/ 201233 h 605483"/>
                    <a:gd name="connsiteX697" fmla="*/ 13734 w 654212"/>
                    <a:gd name="connsiteY697" fmla="*/ 204001 h 605483"/>
                    <a:gd name="connsiteX698" fmla="*/ 12531 w 654212"/>
                    <a:gd name="connsiteY698" fmla="*/ 204256 h 605483"/>
                    <a:gd name="connsiteX699" fmla="*/ 11524 w 654212"/>
                    <a:gd name="connsiteY699" fmla="*/ 204973 h 605483"/>
                    <a:gd name="connsiteX700" fmla="*/ 10783 w 654212"/>
                    <a:gd name="connsiteY700" fmla="*/ 205495 h 605483"/>
                    <a:gd name="connsiteX701" fmla="*/ 10321 w 654212"/>
                    <a:gd name="connsiteY701" fmla="*/ 205823 h 605483"/>
                    <a:gd name="connsiteX702" fmla="*/ 9933 w 654212"/>
                    <a:gd name="connsiteY702" fmla="*/ 206224 h 605483"/>
                    <a:gd name="connsiteX703" fmla="*/ 8901 w 654212"/>
                    <a:gd name="connsiteY703" fmla="*/ 207292 h 605483"/>
                    <a:gd name="connsiteX704" fmla="*/ 8075 w 654212"/>
                    <a:gd name="connsiteY704" fmla="*/ 208154 h 605483"/>
                    <a:gd name="connsiteX705" fmla="*/ 7626 w 654212"/>
                    <a:gd name="connsiteY705" fmla="*/ 209271 h 605483"/>
                    <a:gd name="connsiteX706" fmla="*/ 6715 w 654212"/>
                    <a:gd name="connsiteY706" fmla="*/ 211554 h 605483"/>
                    <a:gd name="connsiteX707" fmla="*/ 6448 w 654212"/>
                    <a:gd name="connsiteY707" fmla="*/ 212234 h 605483"/>
                    <a:gd name="connsiteX708" fmla="*/ 6351 w 654212"/>
                    <a:gd name="connsiteY708" fmla="*/ 212951 h 605483"/>
                    <a:gd name="connsiteX709" fmla="*/ 5938 w 654212"/>
                    <a:gd name="connsiteY709" fmla="*/ 215877 h 605483"/>
                    <a:gd name="connsiteX710" fmla="*/ 5829 w 654212"/>
                    <a:gd name="connsiteY710" fmla="*/ 216679 h 605483"/>
                    <a:gd name="connsiteX711" fmla="*/ 5926 w 654212"/>
                    <a:gd name="connsiteY711" fmla="*/ 217480 h 605483"/>
                    <a:gd name="connsiteX712" fmla="*/ 6339 w 654212"/>
                    <a:gd name="connsiteY712" fmla="*/ 220795 h 605483"/>
                    <a:gd name="connsiteX713" fmla="*/ 6436 w 654212"/>
                    <a:gd name="connsiteY713" fmla="*/ 221609 h 605483"/>
                    <a:gd name="connsiteX714" fmla="*/ 6751 w 654212"/>
                    <a:gd name="connsiteY714" fmla="*/ 222361 h 605483"/>
                    <a:gd name="connsiteX715" fmla="*/ 7893 w 654212"/>
                    <a:gd name="connsiteY715" fmla="*/ 225118 h 605483"/>
                    <a:gd name="connsiteX716" fmla="*/ 8646 w 654212"/>
                    <a:gd name="connsiteY716" fmla="*/ 226952 h 605483"/>
                    <a:gd name="connsiteX717" fmla="*/ 10346 w 654212"/>
                    <a:gd name="connsiteY717" fmla="*/ 227984 h 605483"/>
                    <a:gd name="connsiteX718" fmla="*/ 12361 w 654212"/>
                    <a:gd name="connsiteY718" fmla="*/ 229210 h 605483"/>
                    <a:gd name="connsiteX719" fmla="*/ 13114 w 654212"/>
                    <a:gd name="connsiteY719" fmla="*/ 229672 h 605483"/>
                    <a:gd name="connsiteX720" fmla="*/ 2999 w 654212"/>
                    <a:gd name="connsiteY720" fmla="*/ 240394 h 605483"/>
                    <a:gd name="connsiteX721" fmla="*/ 2307 w 654212"/>
                    <a:gd name="connsiteY721" fmla="*/ 241122 h 605483"/>
                    <a:gd name="connsiteX722" fmla="*/ 1894 w 654212"/>
                    <a:gd name="connsiteY722" fmla="*/ 242033 h 605483"/>
                    <a:gd name="connsiteX723" fmla="*/ 1081 w 654212"/>
                    <a:gd name="connsiteY723" fmla="*/ 243806 h 605483"/>
                    <a:gd name="connsiteX724" fmla="*/ 0 w 654212"/>
                    <a:gd name="connsiteY724" fmla="*/ 246162 h 605483"/>
                    <a:gd name="connsiteX725" fmla="*/ 959 w 654212"/>
                    <a:gd name="connsiteY725" fmla="*/ 248566 h 605483"/>
                    <a:gd name="connsiteX726" fmla="*/ 1542 w 654212"/>
                    <a:gd name="connsiteY726" fmla="*/ 250035 h 605483"/>
                    <a:gd name="connsiteX727" fmla="*/ 2441 w 654212"/>
                    <a:gd name="connsiteY727" fmla="*/ 252306 h 605483"/>
                    <a:gd name="connsiteX728" fmla="*/ 4663 w 654212"/>
                    <a:gd name="connsiteY728" fmla="*/ 253326 h 605483"/>
                    <a:gd name="connsiteX729" fmla="*/ 6727 w 654212"/>
                    <a:gd name="connsiteY729" fmla="*/ 254273 h 605483"/>
                    <a:gd name="connsiteX730" fmla="*/ 9059 w 654212"/>
                    <a:gd name="connsiteY730" fmla="*/ 255123 h 605483"/>
                    <a:gd name="connsiteX731" fmla="*/ 9593 w 654212"/>
                    <a:gd name="connsiteY731" fmla="*/ 255317 h 605483"/>
                    <a:gd name="connsiteX732" fmla="*/ 10151 w 654212"/>
                    <a:gd name="connsiteY732" fmla="*/ 255402 h 605483"/>
                    <a:gd name="connsiteX733" fmla="*/ 20922 w 654212"/>
                    <a:gd name="connsiteY733" fmla="*/ 257066 h 605483"/>
                    <a:gd name="connsiteX734" fmla="*/ 24468 w 654212"/>
                    <a:gd name="connsiteY734" fmla="*/ 258390 h 605483"/>
                    <a:gd name="connsiteX735" fmla="*/ 26144 w 654212"/>
                    <a:gd name="connsiteY735" fmla="*/ 259021 h 605483"/>
                    <a:gd name="connsiteX736" fmla="*/ 27674 w 654212"/>
                    <a:gd name="connsiteY736" fmla="*/ 258681 h 605483"/>
                    <a:gd name="connsiteX737" fmla="*/ 28390 w 654212"/>
                    <a:gd name="connsiteY737" fmla="*/ 258972 h 605483"/>
                    <a:gd name="connsiteX738" fmla="*/ 36708 w 654212"/>
                    <a:gd name="connsiteY738" fmla="*/ 262445 h 605483"/>
                    <a:gd name="connsiteX739" fmla="*/ 45512 w 654212"/>
                    <a:gd name="connsiteY739" fmla="*/ 267752 h 605483"/>
                    <a:gd name="connsiteX740" fmla="*/ 45864 w 654212"/>
                    <a:gd name="connsiteY740" fmla="*/ 267958 h 605483"/>
                    <a:gd name="connsiteX741" fmla="*/ 46228 w 654212"/>
                    <a:gd name="connsiteY741" fmla="*/ 268116 h 605483"/>
                    <a:gd name="connsiteX742" fmla="*/ 56987 w 654212"/>
                    <a:gd name="connsiteY742" fmla="*/ 272791 h 605483"/>
                    <a:gd name="connsiteX743" fmla="*/ 58735 w 654212"/>
                    <a:gd name="connsiteY743" fmla="*/ 273848 h 605483"/>
                    <a:gd name="connsiteX744" fmla="*/ 60144 w 654212"/>
                    <a:gd name="connsiteY744" fmla="*/ 276325 h 605483"/>
                    <a:gd name="connsiteX745" fmla="*/ 67053 w 654212"/>
                    <a:gd name="connsiteY745" fmla="*/ 286124 h 605483"/>
                    <a:gd name="connsiteX746" fmla="*/ 70915 w 654212"/>
                    <a:gd name="connsiteY746" fmla="*/ 293009 h 605483"/>
                    <a:gd name="connsiteX747" fmla="*/ 69725 w 654212"/>
                    <a:gd name="connsiteY747" fmla="*/ 293531 h 605483"/>
                    <a:gd name="connsiteX748" fmla="*/ 68462 w 654212"/>
                    <a:gd name="connsiteY748" fmla="*/ 294090 h 605483"/>
                    <a:gd name="connsiteX749" fmla="*/ 67563 w 654212"/>
                    <a:gd name="connsiteY749" fmla="*/ 295134 h 605483"/>
                    <a:gd name="connsiteX750" fmla="*/ 66628 w 654212"/>
                    <a:gd name="connsiteY750" fmla="*/ 296227 h 605483"/>
                    <a:gd name="connsiteX751" fmla="*/ 65341 w 654212"/>
                    <a:gd name="connsiteY751" fmla="*/ 297745 h 605483"/>
                    <a:gd name="connsiteX752" fmla="*/ 65195 w 654212"/>
                    <a:gd name="connsiteY752" fmla="*/ 299724 h 605483"/>
                    <a:gd name="connsiteX753" fmla="*/ 65038 w 654212"/>
                    <a:gd name="connsiteY753" fmla="*/ 301910 h 605483"/>
                    <a:gd name="connsiteX754" fmla="*/ 64989 w 654212"/>
                    <a:gd name="connsiteY754" fmla="*/ 302651 h 605483"/>
                    <a:gd name="connsiteX755" fmla="*/ 65110 w 654212"/>
                    <a:gd name="connsiteY755" fmla="*/ 303379 h 605483"/>
                    <a:gd name="connsiteX756" fmla="*/ 65390 w 654212"/>
                    <a:gd name="connsiteY756" fmla="*/ 305031 h 605483"/>
                    <a:gd name="connsiteX757" fmla="*/ 65548 w 654212"/>
                    <a:gd name="connsiteY757" fmla="*/ 305978 h 605483"/>
                    <a:gd name="connsiteX758" fmla="*/ 65997 w 654212"/>
                    <a:gd name="connsiteY758" fmla="*/ 306828 h 605483"/>
                    <a:gd name="connsiteX759" fmla="*/ 69737 w 654212"/>
                    <a:gd name="connsiteY759" fmla="*/ 313980 h 605483"/>
                    <a:gd name="connsiteX760" fmla="*/ 93476 w 654212"/>
                    <a:gd name="connsiteY760" fmla="*/ 356808 h 605483"/>
                    <a:gd name="connsiteX761" fmla="*/ 103567 w 654212"/>
                    <a:gd name="connsiteY761" fmla="*/ 383693 h 605483"/>
                    <a:gd name="connsiteX762" fmla="*/ 106275 w 654212"/>
                    <a:gd name="connsiteY762" fmla="*/ 395884 h 605483"/>
                    <a:gd name="connsiteX763" fmla="*/ 106360 w 654212"/>
                    <a:gd name="connsiteY763" fmla="*/ 396273 h 605483"/>
                    <a:gd name="connsiteX764" fmla="*/ 106494 w 654212"/>
                    <a:gd name="connsiteY764" fmla="*/ 396637 h 605483"/>
                    <a:gd name="connsiteX765" fmla="*/ 107647 w 654212"/>
                    <a:gd name="connsiteY765" fmla="*/ 399794 h 605483"/>
                    <a:gd name="connsiteX766" fmla="*/ 107890 w 654212"/>
                    <a:gd name="connsiteY766" fmla="*/ 400450 h 605483"/>
                    <a:gd name="connsiteX767" fmla="*/ 108279 w 654212"/>
                    <a:gd name="connsiteY767" fmla="*/ 401033 h 605483"/>
                    <a:gd name="connsiteX768" fmla="*/ 110404 w 654212"/>
                    <a:gd name="connsiteY768" fmla="*/ 404299 h 605483"/>
                    <a:gd name="connsiteX769" fmla="*/ 110707 w 654212"/>
                    <a:gd name="connsiteY769" fmla="*/ 404761 h 605483"/>
                    <a:gd name="connsiteX770" fmla="*/ 111084 w 654212"/>
                    <a:gd name="connsiteY770" fmla="*/ 405161 h 605483"/>
                    <a:gd name="connsiteX771" fmla="*/ 115042 w 654212"/>
                    <a:gd name="connsiteY771" fmla="*/ 409326 h 605483"/>
                    <a:gd name="connsiteX772" fmla="*/ 115637 w 654212"/>
                    <a:gd name="connsiteY772" fmla="*/ 409958 h 605483"/>
                    <a:gd name="connsiteX773" fmla="*/ 116390 w 654212"/>
                    <a:gd name="connsiteY773" fmla="*/ 410395 h 605483"/>
                    <a:gd name="connsiteX774" fmla="*/ 120470 w 654212"/>
                    <a:gd name="connsiteY774" fmla="*/ 412775 h 605483"/>
                    <a:gd name="connsiteX775" fmla="*/ 123105 w 654212"/>
                    <a:gd name="connsiteY775" fmla="*/ 414305 h 605483"/>
                    <a:gd name="connsiteX776" fmla="*/ 125910 w 654212"/>
                    <a:gd name="connsiteY776" fmla="*/ 413103 h 605483"/>
                    <a:gd name="connsiteX777" fmla="*/ 129650 w 654212"/>
                    <a:gd name="connsiteY777" fmla="*/ 411512 h 605483"/>
                    <a:gd name="connsiteX778" fmla="*/ 130160 w 654212"/>
                    <a:gd name="connsiteY778" fmla="*/ 411378 h 605483"/>
                    <a:gd name="connsiteX779" fmla="*/ 130282 w 654212"/>
                    <a:gd name="connsiteY779" fmla="*/ 411378 h 605483"/>
                    <a:gd name="connsiteX780" fmla="*/ 132370 w 654212"/>
                    <a:gd name="connsiteY780" fmla="*/ 412289 h 605483"/>
                    <a:gd name="connsiteX781" fmla="*/ 132734 w 654212"/>
                    <a:gd name="connsiteY781" fmla="*/ 412447 h 605483"/>
                    <a:gd name="connsiteX782" fmla="*/ 133111 w 654212"/>
                    <a:gd name="connsiteY782" fmla="*/ 412556 h 605483"/>
                    <a:gd name="connsiteX783" fmla="*/ 134422 w 654212"/>
                    <a:gd name="connsiteY783" fmla="*/ 412933 h 605483"/>
                    <a:gd name="connsiteX784" fmla="*/ 135867 w 654212"/>
                    <a:gd name="connsiteY784" fmla="*/ 413346 h 605483"/>
                    <a:gd name="connsiteX785" fmla="*/ 137337 w 654212"/>
                    <a:gd name="connsiteY785" fmla="*/ 413042 h 605483"/>
                    <a:gd name="connsiteX786" fmla="*/ 138660 w 654212"/>
                    <a:gd name="connsiteY786" fmla="*/ 412775 h 605483"/>
                    <a:gd name="connsiteX787" fmla="*/ 140202 w 654212"/>
                    <a:gd name="connsiteY787" fmla="*/ 412459 h 605483"/>
                    <a:gd name="connsiteX788" fmla="*/ 141404 w 654212"/>
                    <a:gd name="connsiteY788" fmla="*/ 411427 h 605483"/>
                    <a:gd name="connsiteX789" fmla="*/ 142655 w 654212"/>
                    <a:gd name="connsiteY789" fmla="*/ 410346 h 605483"/>
                    <a:gd name="connsiteX790" fmla="*/ 143372 w 654212"/>
                    <a:gd name="connsiteY790" fmla="*/ 409727 h 605483"/>
                    <a:gd name="connsiteX791" fmla="*/ 143870 w 654212"/>
                    <a:gd name="connsiteY791" fmla="*/ 408926 h 605483"/>
                    <a:gd name="connsiteX792" fmla="*/ 144975 w 654212"/>
                    <a:gd name="connsiteY792" fmla="*/ 407116 h 605483"/>
                    <a:gd name="connsiteX793" fmla="*/ 145557 w 654212"/>
                    <a:gd name="connsiteY793" fmla="*/ 406157 h 605483"/>
                    <a:gd name="connsiteX794" fmla="*/ 145764 w 654212"/>
                    <a:gd name="connsiteY794" fmla="*/ 405052 h 605483"/>
                    <a:gd name="connsiteX795" fmla="*/ 145776 w 654212"/>
                    <a:gd name="connsiteY795" fmla="*/ 404955 h 605483"/>
                    <a:gd name="connsiteX796" fmla="*/ 146517 w 654212"/>
                    <a:gd name="connsiteY796" fmla="*/ 405064 h 605483"/>
                    <a:gd name="connsiteX797" fmla="*/ 148593 w 654212"/>
                    <a:gd name="connsiteY797" fmla="*/ 403376 h 605483"/>
                    <a:gd name="connsiteX798" fmla="*/ 149577 w 654212"/>
                    <a:gd name="connsiteY798" fmla="*/ 402575 h 605483"/>
                    <a:gd name="connsiteX799" fmla="*/ 151095 w 654212"/>
                    <a:gd name="connsiteY799" fmla="*/ 401336 h 605483"/>
                    <a:gd name="connsiteX800" fmla="*/ 151605 w 654212"/>
                    <a:gd name="connsiteY800" fmla="*/ 399442 h 605483"/>
                    <a:gd name="connsiteX801" fmla="*/ 152175 w 654212"/>
                    <a:gd name="connsiteY801" fmla="*/ 397317 h 605483"/>
                    <a:gd name="connsiteX802" fmla="*/ 152491 w 654212"/>
                    <a:gd name="connsiteY802" fmla="*/ 396127 h 605483"/>
                    <a:gd name="connsiteX803" fmla="*/ 152321 w 654212"/>
                    <a:gd name="connsiteY803" fmla="*/ 394900 h 605483"/>
                    <a:gd name="connsiteX804" fmla="*/ 151714 w 654212"/>
                    <a:gd name="connsiteY804" fmla="*/ 390480 h 605483"/>
                    <a:gd name="connsiteX805" fmla="*/ 152005 w 654212"/>
                    <a:gd name="connsiteY805" fmla="*/ 390408 h 605483"/>
                    <a:gd name="connsiteX806" fmla="*/ 152260 w 654212"/>
                    <a:gd name="connsiteY806" fmla="*/ 390347 h 605483"/>
                    <a:gd name="connsiteX807" fmla="*/ 157895 w 654212"/>
                    <a:gd name="connsiteY807" fmla="*/ 400535 h 605483"/>
                    <a:gd name="connsiteX808" fmla="*/ 161440 w 654212"/>
                    <a:gd name="connsiteY808" fmla="*/ 407566 h 605483"/>
                    <a:gd name="connsiteX809" fmla="*/ 162388 w 654212"/>
                    <a:gd name="connsiteY809" fmla="*/ 410771 h 605483"/>
                    <a:gd name="connsiteX810" fmla="*/ 163250 w 654212"/>
                    <a:gd name="connsiteY810" fmla="*/ 413698 h 605483"/>
                    <a:gd name="connsiteX811" fmla="*/ 166103 w 654212"/>
                    <a:gd name="connsiteY811" fmla="*/ 414754 h 605483"/>
                    <a:gd name="connsiteX812" fmla="*/ 167585 w 654212"/>
                    <a:gd name="connsiteY812" fmla="*/ 415301 h 605483"/>
                    <a:gd name="connsiteX813" fmla="*/ 169273 w 654212"/>
                    <a:gd name="connsiteY813" fmla="*/ 415920 h 605483"/>
                    <a:gd name="connsiteX814" fmla="*/ 171021 w 654212"/>
                    <a:gd name="connsiteY814" fmla="*/ 415531 h 605483"/>
                    <a:gd name="connsiteX815" fmla="*/ 172053 w 654212"/>
                    <a:gd name="connsiteY815" fmla="*/ 415301 h 605483"/>
                    <a:gd name="connsiteX816" fmla="*/ 172187 w 654212"/>
                    <a:gd name="connsiteY816" fmla="*/ 415276 h 605483"/>
                    <a:gd name="connsiteX817" fmla="*/ 172600 w 654212"/>
                    <a:gd name="connsiteY817" fmla="*/ 415616 h 605483"/>
                    <a:gd name="connsiteX818" fmla="*/ 174154 w 654212"/>
                    <a:gd name="connsiteY818" fmla="*/ 416903 h 605483"/>
                    <a:gd name="connsiteX819" fmla="*/ 175016 w 654212"/>
                    <a:gd name="connsiteY819" fmla="*/ 417620 h 605483"/>
                    <a:gd name="connsiteX820" fmla="*/ 176073 w 654212"/>
                    <a:gd name="connsiteY820" fmla="*/ 417972 h 605483"/>
                    <a:gd name="connsiteX821" fmla="*/ 176935 w 654212"/>
                    <a:gd name="connsiteY821" fmla="*/ 418263 h 605483"/>
                    <a:gd name="connsiteX822" fmla="*/ 180760 w 654212"/>
                    <a:gd name="connsiteY822" fmla="*/ 419551 h 605483"/>
                    <a:gd name="connsiteX823" fmla="*/ 180784 w 654212"/>
                    <a:gd name="connsiteY823" fmla="*/ 419514 h 605483"/>
                    <a:gd name="connsiteX824" fmla="*/ 180796 w 654212"/>
                    <a:gd name="connsiteY824" fmla="*/ 419563 h 605483"/>
                    <a:gd name="connsiteX825" fmla="*/ 181367 w 654212"/>
                    <a:gd name="connsiteY825" fmla="*/ 421032 h 605483"/>
                    <a:gd name="connsiteX826" fmla="*/ 182593 w 654212"/>
                    <a:gd name="connsiteY826" fmla="*/ 422040 h 605483"/>
                    <a:gd name="connsiteX827" fmla="*/ 183625 w 654212"/>
                    <a:gd name="connsiteY827" fmla="*/ 422890 h 605483"/>
                    <a:gd name="connsiteX828" fmla="*/ 186090 w 654212"/>
                    <a:gd name="connsiteY828" fmla="*/ 424918 h 605483"/>
                    <a:gd name="connsiteX829" fmla="*/ 188786 w 654212"/>
                    <a:gd name="connsiteY829" fmla="*/ 424141 h 605483"/>
                    <a:gd name="connsiteX830" fmla="*/ 188932 w 654212"/>
                    <a:gd name="connsiteY830" fmla="*/ 424748 h 605483"/>
                    <a:gd name="connsiteX831" fmla="*/ 189114 w 654212"/>
                    <a:gd name="connsiteY831" fmla="*/ 425489 h 605483"/>
                    <a:gd name="connsiteX832" fmla="*/ 190122 w 654212"/>
                    <a:gd name="connsiteY832" fmla="*/ 429532 h 605483"/>
                    <a:gd name="connsiteX833" fmla="*/ 193425 w 654212"/>
                    <a:gd name="connsiteY833" fmla="*/ 429957 h 605483"/>
                    <a:gd name="connsiteX834" fmla="*/ 193364 w 654212"/>
                    <a:gd name="connsiteY834" fmla="*/ 430079 h 605483"/>
                    <a:gd name="connsiteX835" fmla="*/ 193000 w 654212"/>
                    <a:gd name="connsiteY835" fmla="*/ 430856 h 605483"/>
                    <a:gd name="connsiteX836" fmla="*/ 192866 w 654212"/>
                    <a:gd name="connsiteY836" fmla="*/ 431694 h 605483"/>
                    <a:gd name="connsiteX837" fmla="*/ 192587 w 654212"/>
                    <a:gd name="connsiteY837" fmla="*/ 433381 h 605483"/>
                    <a:gd name="connsiteX838" fmla="*/ 192526 w 654212"/>
                    <a:gd name="connsiteY838" fmla="*/ 433770 h 605483"/>
                    <a:gd name="connsiteX839" fmla="*/ 192514 w 654212"/>
                    <a:gd name="connsiteY839" fmla="*/ 434171 h 605483"/>
                    <a:gd name="connsiteX840" fmla="*/ 192223 w 654212"/>
                    <a:gd name="connsiteY840" fmla="*/ 442987 h 605483"/>
                    <a:gd name="connsiteX841" fmla="*/ 192186 w 654212"/>
                    <a:gd name="connsiteY841" fmla="*/ 444043 h 605483"/>
                    <a:gd name="connsiteX842" fmla="*/ 192502 w 654212"/>
                    <a:gd name="connsiteY842" fmla="*/ 445051 h 605483"/>
                    <a:gd name="connsiteX843" fmla="*/ 193012 w 654212"/>
                    <a:gd name="connsiteY843" fmla="*/ 446642 h 605483"/>
                    <a:gd name="connsiteX844" fmla="*/ 193704 w 654212"/>
                    <a:gd name="connsiteY844" fmla="*/ 448791 h 605483"/>
                    <a:gd name="connsiteX845" fmla="*/ 195198 w 654212"/>
                    <a:gd name="connsiteY845" fmla="*/ 449702 h 605483"/>
                    <a:gd name="connsiteX846" fmla="*/ 195052 w 654212"/>
                    <a:gd name="connsiteY846" fmla="*/ 449957 h 605483"/>
                    <a:gd name="connsiteX847" fmla="*/ 194918 w 654212"/>
                    <a:gd name="connsiteY847" fmla="*/ 450260 h 605483"/>
                    <a:gd name="connsiteX848" fmla="*/ 194226 w 654212"/>
                    <a:gd name="connsiteY848" fmla="*/ 451839 h 605483"/>
                    <a:gd name="connsiteX849" fmla="*/ 193959 w 654212"/>
                    <a:gd name="connsiteY849" fmla="*/ 452446 h 605483"/>
                    <a:gd name="connsiteX850" fmla="*/ 193826 w 654212"/>
                    <a:gd name="connsiteY850" fmla="*/ 453102 h 605483"/>
                    <a:gd name="connsiteX851" fmla="*/ 193473 w 654212"/>
                    <a:gd name="connsiteY851" fmla="*/ 454911 h 605483"/>
                    <a:gd name="connsiteX852" fmla="*/ 193376 w 654212"/>
                    <a:gd name="connsiteY852" fmla="*/ 455409 h 605483"/>
                    <a:gd name="connsiteX853" fmla="*/ 193364 w 654212"/>
                    <a:gd name="connsiteY853" fmla="*/ 455919 h 605483"/>
                    <a:gd name="connsiteX854" fmla="*/ 193304 w 654212"/>
                    <a:gd name="connsiteY854" fmla="*/ 458044 h 605483"/>
                    <a:gd name="connsiteX855" fmla="*/ 193291 w 654212"/>
                    <a:gd name="connsiteY855" fmla="*/ 458627 h 605483"/>
                    <a:gd name="connsiteX856" fmla="*/ 193388 w 654212"/>
                    <a:gd name="connsiteY856" fmla="*/ 459210 h 605483"/>
                    <a:gd name="connsiteX857" fmla="*/ 193741 w 654212"/>
                    <a:gd name="connsiteY857" fmla="*/ 461310 h 605483"/>
                    <a:gd name="connsiteX858" fmla="*/ 193789 w 654212"/>
                    <a:gd name="connsiteY858" fmla="*/ 461638 h 605483"/>
                    <a:gd name="connsiteX859" fmla="*/ 193874 w 654212"/>
                    <a:gd name="connsiteY859" fmla="*/ 461954 h 605483"/>
                    <a:gd name="connsiteX860" fmla="*/ 194506 w 654212"/>
                    <a:gd name="connsiteY860" fmla="*/ 464212 h 605483"/>
                    <a:gd name="connsiteX861" fmla="*/ 195526 w 654212"/>
                    <a:gd name="connsiteY861" fmla="*/ 466993 h 605483"/>
                    <a:gd name="connsiteX862" fmla="*/ 195781 w 654212"/>
                    <a:gd name="connsiteY862" fmla="*/ 467649 h 605483"/>
                    <a:gd name="connsiteX863" fmla="*/ 196181 w 654212"/>
                    <a:gd name="connsiteY863" fmla="*/ 468232 h 605483"/>
                    <a:gd name="connsiteX864" fmla="*/ 198076 w 654212"/>
                    <a:gd name="connsiteY864" fmla="*/ 471049 h 605483"/>
                    <a:gd name="connsiteX865" fmla="*/ 198428 w 654212"/>
                    <a:gd name="connsiteY865" fmla="*/ 471571 h 605483"/>
                    <a:gd name="connsiteX866" fmla="*/ 198889 w 654212"/>
                    <a:gd name="connsiteY866" fmla="*/ 472020 h 605483"/>
                    <a:gd name="connsiteX867" fmla="*/ 202569 w 654212"/>
                    <a:gd name="connsiteY867" fmla="*/ 475578 h 605483"/>
                    <a:gd name="connsiteX868" fmla="*/ 202836 w 654212"/>
                    <a:gd name="connsiteY868" fmla="*/ 475845 h 605483"/>
                    <a:gd name="connsiteX869" fmla="*/ 203139 w 654212"/>
                    <a:gd name="connsiteY869" fmla="*/ 476076 h 605483"/>
                    <a:gd name="connsiteX870" fmla="*/ 213060 w 654212"/>
                    <a:gd name="connsiteY870" fmla="*/ 483520 h 605483"/>
                    <a:gd name="connsiteX871" fmla="*/ 216727 w 654212"/>
                    <a:gd name="connsiteY871" fmla="*/ 487393 h 605483"/>
                    <a:gd name="connsiteX872" fmla="*/ 217019 w 654212"/>
                    <a:gd name="connsiteY872" fmla="*/ 487697 h 605483"/>
                    <a:gd name="connsiteX873" fmla="*/ 217346 w 654212"/>
                    <a:gd name="connsiteY873" fmla="*/ 487964 h 605483"/>
                    <a:gd name="connsiteX874" fmla="*/ 226077 w 654212"/>
                    <a:gd name="connsiteY874" fmla="*/ 494910 h 605483"/>
                    <a:gd name="connsiteX875" fmla="*/ 231007 w 654212"/>
                    <a:gd name="connsiteY875" fmla="*/ 498832 h 605483"/>
                    <a:gd name="connsiteX876" fmla="*/ 234747 w 654212"/>
                    <a:gd name="connsiteY876" fmla="*/ 493768 h 605483"/>
                    <a:gd name="connsiteX877" fmla="*/ 235221 w 654212"/>
                    <a:gd name="connsiteY877" fmla="*/ 493125 h 605483"/>
                    <a:gd name="connsiteX878" fmla="*/ 236022 w 654212"/>
                    <a:gd name="connsiteY878" fmla="*/ 492384 h 605483"/>
                    <a:gd name="connsiteX879" fmla="*/ 236132 w 654212"/>
                    <a:gd name="connsiteY879" fmla="*/ 492627 h 605483"/>
                    <a:gd name="connsiteX880" fmla="*/ 236775 w 654212"/>
                    <a:gd name="connsiteY880" fmla="*/ 493343 h 605483"/>
                    <a:gd name="connsiteX881" fmla="*/ 238390 w 654212"/>
                    <a:gd name="connsiteY881" fmla="*/ 495128 h 605483"/>
                    <a:gd name="connsiteX882" fmla="*/ 239107 w 654212"/>
                    <a:gd name="connsiteY882" fmla="*/ 495918 h 605483"/>
                    <a:gd name="connsiteX883" fmla="*/ 240042 w 654212"/>
                    <a:gd name="connsiteY883" fmla="*/ 496415 h 605483"/>
                    <a:gd name="connsiteX884" fmla="*/ 241827 w 654212"/>
                    <a:gd name="connsiteY884" fmla="*/ 497363 h 605483"/>
                    <a:gd name="connsiteX885" fmla="*/ 242774 w 654212"/>
                    <a:gd name="connsiteY885" fmla="*/ 497860 h 605483"/>
                    <a:gd name="connsiteX886" fmla="*/ 243818 w 654212"/>
                    <a:gd name="connsiteY886" fmla="*/ 498018 h 605483"/>
                    <a:gd name="connsiteX887" fmla="*/ 246635 w 654212"/>
                    <a:gd name="connsiteY887" fmla="*/ 498419 h 605483"/>
                    <a:gd name="connsiteX888" fmla="*/ 247922 w 654212"/>
                    <a:gd name="connsiteY888" fmla="*/ 498601 h 605483"/>
                    <a:gd name="connsiteX889" fmla="*/ 249173 w 654212"/>
                    <a:gd name="connsiteY889" fmla="*/ 498237 h 605483"/>
                    <a:gd name="connsiteX890" fmla="*/ 251359 w 654212"/>
                    <a:gd name="connsiteY890" fmla="*/ 497605 h 605483"/>
                    <a:gd name="connsiteX891" fmla="*/ 252464 w 654212"/>
                    <a:gd name="connsiteY891" fmla="*/ 497496 h 605483"/>
                    <a:gd name="connsiteX892" fmla="*/ 252670 w 654212"/>
                    <a:gd name="connsiteY892" fmla="*/ 497533 h 605483"/>
                    <a:gd name="connsiteX893" fmla="*/ 254431 w 654212"/>
                    <a:gd name="connsiteY893" fmla="*/ 499342 h 605483"/>
                    <a:gd name="connsiteX894" fmla="*/ 255694 w 654212"/>
                    <a:gd name="connsiteY894" fmla="*/ 501006 h 605483"/>
                    <a:gd name="connsiteX895" fmla="*/ 256192 w 654212"/>
                    <a:gd name="connsiteY895" fmla="*/ 502074 h 605483"/>
                    <a:gd name="connsiteX896" fmla="*/ 256920 w 654212"/>
                    <a:gd name="connsiteY896" fmla="*/ 505280 h 605483"/>
                    <a:gd name="connsiteX897" fmla="*/ 257017 w 654212"/>
                    <a:gd name="connsiteY897" fmla="*/ 505705 h 605483"/>
                    <a:gd name="connsiteX898" fmla="*/ 257175 w 654212"/>
                    <a:gd name="connsiteY898" fmla="*/ 506118 h 605483"/>
                    <a:gd name="connsiteX899" fmla="*/ 258086 w 654212"/>
                    <a:gd name="connsiteY899" fmla="*/ 508486 h 605483"/>
                    <a:gd name="connsiteX900" fmla="*/ 258426 w 654212"/>
                    <a:gd name="connsiteY900" fmla="*/ 509372 h 605483"/>
                    <a:gd name="connsiteX901" fmla="*/ 259021 w 654212"/>
                    <a:gd name="connsiteY901" fmla="*/ 510113 h 605483"/>
                    <a:gd name="connsiteX902" fmla="*/ 260454 w 654212"/>
                    <a:gd name="connsiteY902" fmla="*/ 511886 h 605483"/>
                    <a:gd name="connsiteX903" fmla="*/ 260988 w 654212"/>
                    <a:gd name="connsiteY903" fmla="*/ 512553 h 605483"/>
                    <a:gd name="connsiteX904" fmla="*/ 261692 w 654212"/>
                    <a:gd name="connsiteY904" fmla="*/ 513051 h 605483"/>
                    <a:gd name="connsiteX905" fmla="*/ 263125 w 654212"/>
                    <a:gd name="connsiteY905" fmla="*/ 514059 h 605483"/>
                    <a:gd name="connsiteX906" fmla="*/ 264036 w 654212"/>
                    <a:gd name="connsiteY906" fmla="*/ 514703 h 605483"/>
                    <a:gd name="connsiteX907" fmla="*/ 265117 w 654212"/>
                    <a:gd name="connsiteY907" fmla="*/ 514970 h 605483"/>
                    <a:gd name="connsiteX908" fmla="*/ 266890 w 654212"/>
                    <a:gd name="connsiteY908" fmla="*/ 515419 h 605483"/>
                    <a:gd name="connsiteX909" fmla="*/ 266987 w 654212"/>
                    <a:gd name="connsiteY909" fmla="*/ 515468 h 605483"/>
                    <a:gd name="connsiteX910" fmla="*/ 266938 w 654212"/>
                    <a:gd name="connsiteY910" fmla="*/ 516743 h 605483"/>
                    <a:gd name="connsiteX911" fmla="*/ 267460 w 654212"/>
                    <a:gd name="connsiteY911" fmla="*/ 517981 h 605483"/>
                    <a:gd name="connsiteX912" fmla="*/ 268031 w 654212"/>
                    <a:gd name="connsiteY912" fmla="*/ 519366 h 605483"/>
                    <a:gd name="connsiteX913" fmla="*/ 268735 w 654212"/>
                    <a:gd name="connsiteY913" fmla="*/ 521041 h 605483"/>
                    <a:gd name="connsiteX914" fmla="*/ 270241 w 654212"/>
                    <a:gd name="connsiteY914" fmla="*/ 522049 h 605483"/>
                    <a:gd name="connsiteX915" fmla="*/ 272366 w 654212"/>
                    <a:gd name="connsiteY915" fmla="*/ 523482 h 605483"/>
                    <a:gd name="connsiteX916" fmla="*/ 273010 w 654212"/>
                    <a:gd name="connsiteY916" fmla="*/ 523919 h 605483"/>
                    <a:gd name="connsiteX917" fmla="*/ 273738 w 654212"/>
                    <a:gd name="connsiteY917" fmla="*/ 524174 h 605483"/>
                    <a:gd name="connsiteX918" fmla="*/ 278996 w 654212"/>
                    <a:gd name="connsiteY918" fmla="*/ 526044 h 605483"/>
                    <a:gd name="connsiteX919" fmla="*/ 286695 w 654212"/>
                    <a:gd name="connsiteY919" fmla="*/ 530367 h 605483"/>
                    <a:gd name="connsiteX920" fmla="*/ 291042 w 654212"/>
                    <a:gd name="connsiteY920" fmla="*/ 533124 h 605483"/>
                    <a:gd name="connsiteX921" fmla="*/ 292353 w 654212"/>
                    <a:gd name="connsiteY921" fmla="*/ 534508 h 605483"/>
                    <a:gd name="connsiteX922" fmla="*/ 294612 w 654212"/>
                    <a:gd name="connsiteY922" fmla="*/ 537556 h 605483"/>
                    <a:gd name="connsiteX923" fmla="*/ 295292 w 654212"/>
                    <a:gd name="connsiteY923" fmla="*/ 538989 h 605483"/>
                    <a:gd name="connsiteX924" fmla="*/ 295438 w 654212"/>
                    <a:gd name="connsiteY924" fmla="*/ 540312 h 605483"/>
                    <a:gd name="connsiteX925" fmla="*/ 294794 w 654212"/>
                    <a:gd name="connsiteY925" fmla="*/ 545024 h 605483"/>
                    <a:gd name="connsiteX926" fmla="*/ 294721 w 654212"/>
                    <a:gd name="connsiteY926" fmla="*/ 545606 h 605483"/>
                    <a:gd name="connsiteX927" fmla="*/ 294758 w 654212"/>
                    <a:gd name="connsiteY927" fmla="*/ 546189 h 605483"/>
                    <a:gd name="connsiteX928" fmla="*/ 295049 w 654212"/>
                    <a:gd name="connsiteY928" fmla="*/ 551217 h 605483"/>
                    <a:gd name="connsiteX929" fmla="*/ 294794 w 654212"/>
                    <a:gd name="connsiteY929" fmla="*/ 552637 h 605483"/>
                    <a:gd name="connsiteX930" fmla="*/ 293956 w 654212"/>
                    <a:gd name="connsiteY930" fmla="*/ 554495 h 605483"/>
                    <a:gd name="connsiteX931" fmla="*/ 292475 w 654212"/>
                    <a:gd name="connsiteY931" fmla="*/ 557057 h 605483"/>
                    <a:gd name="connsiteX932" fmla="*/ 291297 w 654212"/>
                    <a:gd name="connsiteY932" fmla="*/ 559158 h 605483"/>
                    <a:gd name="connsiteX933" fmla="*/ 291880 w 654212"/>
                    <a:gd name="connsiteY933" fmla="*/ 561502 h 605483"/>
                    <a:gd name="connsiteX934" fmla="*/ 292620 w 654212"/>
                    <a:gd name="connsiteY934" fmla="*/ 564464 h 605483"/>
                    <a:gd name="connsiteX935" fmla="*/ 292936 w 654212"/>
                    <a:gd name="connsiteY935" fmla="*/ 565752 h 605483"/>
                    <a:gd name="connsiteX936" fmla="*/ 293774 w 654212"/>
                    <a:gd name="connsiteY936" fmla="*/ 566796 h 605483"/>
                    <a:gd name="connsiteX937" fmla="*/ 296348 w 654212"/>
                    <a:gd name="connsiteY937" fmla="*/ 570002 h 605483"/>
                    <a:gd name="connsiteX938" fmla="*/ 296785 w 654212"/>
                    <a:gd name="connsiteY938" fmla="*/ 570536 h 605483"/>
                    <a:gd name="connsiteX939" fmla="*/ 297320 w 654212"/>
                    <a:gd name="connsiteY939" fmla="*/ 570961 h 605483"/>
                    <a:gd name="connsiteX940" fmla="*/ 305322 w 654212"/>
                    <a:gd name="connsiteY940" fmla="*/ 577275 h 605483"/>
                    <a:gd name="connsiteX941" fmla="*/ 305359 w 654212"/>
                    <a:gd name="connsiteY941" fmla="*/ 577773 h 605483"/>
                    <a:gd name="connsiteX942" fmla="*/ 305504 w 654212"/>
                    <a:gd name="connsiteY942" fmla="*/ 578295 h 605483"/>
                    <a:gd name="connsiteX943" fmla="*/ 305784 w 654212"/>
                    <a:gd name="connsiteY943" fmla="*/ 579303 h 605483"/>
                    <a:gd name="connsiteX944" fmla="*/ 306014 w 654212"/>
                    <a:gd name="connsiteY944" fmla="*/ 580117 h 605483"/>
                    <a:gd name="connsiteX945" fmla="*/ 306451 w 654212"/>
                    <a:gd name="connsiteY945" fmla="*/ 580845 h 605483"/>
                    <a:gd name="connsiteX946" fmla="*/ 307204 w 654212"/>
                    <a:gd name="connsiteY946" fmla="*/ 582084 h 605483"/>
                    <a:gd name="connsiteX947" fmla="*/ 308564 w 654212"/>
                    <a:gd name="connsiteY947" fmla="*/ 584330 h 605483"/>
                    <a:gd name="connsiteX948" fmla="*/ 311126 w 654212"/>
                    <a:gd name="connsiteY948" fmla="*/ 584877 h 605483"/>
                    <a:gd name="connsiteX949" fmla="*/ 312328 w 654212"/>
                    <a:gd name="connsiteY949" fmla="*/ 585132 h 605483"/>
                    <a:gd name="connsiteX950" fmla="*/ 314587 w 654212"/>
                    <a:gd name="connsiteY950" fmla="*/ 585605 h 605483"/>
                    <a:gd name="connsiteX951" fmla="*/ 316591 w 654212"/>
                    <a:gd name="connsiteY951" fmla="*/ 584464 h 605483"/>
                    <a:gd name="connsiteX952" fmla="*/ 318801 w 654212"/>
                    <a:gd name="connsiteY952" fmla="*/ 583213 h 605483"/>
                    <a:gd name="connsiteX953" fmla="*/ 322164 w 654212"/>
                    <a:gd name="connsiteY953" fmla="*/ 584816 h 605483"/>
                    <a:gd name="connsiteX954" fmla="*/ 324727 w 654212"/>
                    <a:gd name="connsiteY954" fmla="*/ 586540 h 605483"/>
                    <a:gd name="connsiteX955" fmla="*/ 325273 w 654212"/>
                    <a:gd name="connsiteY955" fmla="*/ 586905 h 605483"/>
                    <a:gd name="connsiteX956" fmla="*/ 325880 w 654212"/>
                    <a:gd name="connsiteY956" fmla="*/ 587147 h 605483"/>
                    <a:gd name="connsiteX957" fmla="*/ 327993 w 654212"/>
                    <a:gd name="connsiteY957" fmla="*/ 587985 h 605483"/>
                    <a:gd name="connsiteX958" fmla="*/ 328588 w 654212"/>
                    <a:gd name="connsiteY958" fmla="*/ 588228 h 605483"/>
                    <a:gd name="connsiteX959" fmla="*/ 329219 w 654212"/>
                    <a:gd name="connsiteY959" fmla="*/ 588337 h 605483"/>
                    <a:gd name="connsiteX960" fmla="*/ 337052 w 654212"/>
                    <a:gd name="connsiteY960" fmla="*/ 589649 h 605483"/>
                    <a:gd name="connsiteX961" fmla="*/ 337088 w 654212"/>
                    <a:gd name="connsiteY961" fmla="*/ 589710 h 605483"/>
                    <a:gd name="connsiteX962" fmla="*/ 337902 w 654212"/>
                    <a:gd name="connsiteY962" fmla="*/ 590900 h 605483"/>
                    <a:gd name="connsiteX963" fmla="*/ 338484 w 654212"/>
                    <a:gd name="connsiteY963" fmla="*/ 591738 h 605483"/>
                    <a:gd name="connsiteX964" fmla="*/ 339310 w 654212"/>
                    <a:gd name="connsiteY964" fmla="*/ 592333 h 605483"/>
                    <a:gd name="connsiteX965" fmla="*/ 341132 w 654212"/>
                    <a:gd name="connsiteY965" fmla="*/ 593656 h 605483"/>
                    <a:gd name="connsiteX966" fmla="*/ 342868 w 654212"/>
                    <a:gd name="connsiteY966" fmla="*/ 594919 h 605483"/>
                    <a:gd name="connsiteX967" fmla="*/ 345017 w 654212"/>
                    <a:gd name="connsiteY967" fmla="*/ 594810 h 605483"/>
                    <a:gd name="connsiteX968" fmla="*/ 348126 w 654212"/>
                    <a:gd name="connsiteY968" fmla="*/ 594652 h 605483"/>
                    <a:gd name="connsiteX969" fmla="*/ 349170 w 654212"/>
                    <a:gd name="connsiteY969" fmla="*/ 594591 h 605483"/>
                    <a:gd name="connsiteX970" fmla="*/ 349462 w 654212"/>
                    <a:gd name="connsiteY970" fmla="*/ 594470 h 605483"/>
                    <a:gd name="connsiteX971" fmla="*/ 349486 w 654212"/>
                    <a:gd name="connsiteY971" fmla="*/ 594628 h 605483"/>
                    <a:gd name="connsiteX972" fmla="*/ 352267 w 654212"/>
                    <a:gd name="connsiteY972" fmla="*/ 595903 h 605483"/>
                    <a:gd name="connsiteX973" fmla="*/ 353639 w 654212"/>
                    <a:gd name="connsiteY973" fmla="*/ 596534 h 605483"/>
                    <a:gd name="connsiteX974" fmla="*/ 354744 w 654212"/>
                    <a:gd name="connsiteY974" fmla="*/ 597044 h 605483"/>
                    <a:gd name="connsiteX975" fmla="*/ 355958 w 654212"/>
                    <a:gd name="connsiteY975" fmla="*/ 597093 h 605483"/>
                    <a:gd name="connsiteX976" fmla="*/ 359637 w 654212"/>
                    <a:gd name="connsiteY976" fmla="*/ 597238 h 605483"/>
                    <a:gd name="connsiteX977" fmla="*/ 359990 w 654212"/>
                    <a:gd name="connsiteY977" fmla="*/ 597250 h 605483"/>
                    <a:gd name="connsiteX978" fmla="*/ 360342 w 654212"/>
                    <a:gd name="connsiteY978" fmla="*/ 597226 h 605483"/>
                    <a:gd name="connsiteX979" fmla="*/ 362867 w 654212"/>
                    <a:gd name="connsiteY979" fmla="*/ 597032 h 605483"/>
                    <a:gd name="connsiteX980" fmla="*/ 363268 w 654212"/>
                    <a:gd name="connsiteY980" fmla="*/ 597008 h 605483"/>
                    <a:gd name="connsiteX981" fmla="*/ 363657 w 654212"/>
                    <a:gd name="connsiteY981" fmla="*/ 596923 h 605483"/>
                    <a:gd name="connsiteX982" fmla="*/ 366122 w 654212"/>
                    <a:gd name="connsiteY982" fmla="*/ 596400 h 605483"/>
                    <a:gd name="connsiteX983" fmla="*/ 366753 w 654212"/>
                    <a:gd name="connsiteY983" fmla="*/ 596267 h 605483"/>
                    <a:gd name="connsiteX984" fmla="*/ 367336 w 654212"/>
                    <a:gd name="connsiteY984" fmla="*/ 596012 h 605483"/>
                    <a:gd name="connsiteX985" fmla="*/ 367506 w 654212"/>
                    <a:gd name="connsiteY985" fmla="*/ 595939 h 605483"/>
                    <a:gd name="connsiteX986" fmla="*/ 370214 w 654212"/>
                    <a:gd name="connsiteY986" fmla="*/ 598440 h 605483"/>
                    <a:gd name="connsiteX987" fmla="*/ 370809 w 654212"/>
                    <a:gd name="connsiteY987" fmla="*/ 598987 h 605483"/>
                    <a:gd name="connsiteX988" fmla="*/ 371525 w 654212"/>
                    <a:gd name="connsiteY988" fmla="*/ 599363 h 605483"/>
                    <a:gd name="connsiteX989" fmla="*/ 380038 w 654212"/>
                    <a:gd name="connsiteY989" fmla="*/ 603808 h 605483"/>
                    <a:gd name="connsiteX990" fmla="*/ 383243 w 654212"/>
                    <a:gd name="connsiteY990" fmla="*/ 605483 h 605483"/>
                    <a:gd name="connsiteX991" fmla="*/ 386243 w 654212"/>
                    <a:gd name="connsiteY991" fmla="*/ 603455 h 605483"/>
                    <a:gd name="connsiteX992" fmla="*/ 390893 w 654212"/>
                    <a:gd name="connsiteY992" fmla="*/ 600323 h 605483"/>
                    <a:gd name="connsiteX993" fmla="*/ 388355 w 654212"/>
                    <a:gd name="connsiteY993" fmla="*/ 595295 h 605483"/>
                    <a:gd name="connsiteX994" fmla="*/ 387663 w 654212"/>
                    <a:gd name="connsiteY994" fmla="*/ 594069 h 605483"/>
                    <a:gd name="connsiteX995" fmla="*/ 387505 w 654212"/>
                    <a:gd name="connsiteY995" fmla="*/ 593790 h 605483"/>
                    <a:gd name="connsiteX996" fmla="*/ 387311 w 654212"/>
                    <a:gd name="connsiteY996" fmla="*/ 593535 h 605483"/>
                    <a:gd name="connsiteX997" fmla="*/ 387008 w 654212"/>
                    <a:gd name="connsiteY997" fmla="*/ 593098 h 605483"/>
                    <a:gd name="connsiteX998" fmla="*/ 387202 w 654212"/>
                    <a:gd name="connsiteY998" fmla="*/ 593025 h 605483"/>
                    <a:gd name="connsiteX999" fmla="*/ 390942 w 654212"/>
                    <a:gd name="connsiteY999" fmla="*/ 592381 h 605483"/>
                    <a:gd name="connsiteX1000" fmla="*/ 394573 w 654212"/>
                    <a:gd name="connsiteY1000" fmla="*/ 592163 h 605483"/>
                    <a:gd name="connsiteX1001" fmla="*/ 394998 w 654212"/>
                    <a:gd name="connsiteY1001" fmla="*/ 592138 h 605483"/>
                    <a:gd name="connsiteX1002" fmla="*/ 395423 w 654212"/>
                    <a:gd name="connsiteY1002" fmla="*/ 592053 h 605483"/>
                    <a:gd name="connsiteX1003" fmla="*/ 399260 w 654212"/>
                    <a:gd name="connsiteY1003" fmla="*/ 591276 h 605483"/>
                    <a:gd name="connsiteX1004" fmla="*/ 399867 w 654212"/>
                    <a:gd name="connsiteY1004" fmla="*/ 591155 h 605483"/>
                    <a:gd name="connsiteX1005" fmla="*/ 400438 w 654212"/>
                    <a:gd name="connsiteY1005" fmla="*/ 590900 h 605483"/>
                    <a:gd name="connsiteX1006" fmla="*/ 404870 w 654212"/>
                    <a:gd name="connsiteY1006" fmla="*/ 589005 h 605483"/>
                    <a:gd name="connsiteX1007" fmla="*/ 405234 w 654212"/>
                    <a:gd name="connsiteY1007" fmla="*/ 588847 h 605483"/>
                    <a:gd name="connsiteX1008" fmla="*/ 405574 w 654212"/>
                    <a:gd name="connsiteY1008" fmla="*/ 588641 h 605483"/>
                    <a:gd name="connsiteX1009" fmla="*/ 420219 w 654212"/>
                    <a:gd name="connsiteY1009" fmla="*/ 579971 h 605483"/>
                    <a:gd name="connsiteX1010" fmla="*/ 423376 w 654212"/>
                    <a:gd name="connsiteY1010" fmla="*/ 578611 h 605483"/>
                    <a:gd name="connsiteX1011" fmla="*/ 424384 w 654212"/>
                    <a:gd name="connsiteY1011" fmla="*/ 578502 h 605483"/>
                    <a:gd name="connsiteX1012" fmla="*/ 426873 w 654212"/>
                    <a:gd name="connsiteY1012" fmla="*/ 578235 h 605483"/>
                    <a:gd name="connsiteX1013" fmla="*/ 428451 w 654212"/>
                    <a:gd name="connsiteY1013" fmla="*/ 576280 h 605483"/>
                    <a:gd name="connsiteX1014" fmla="*/ 430576 w 654212"/>
                    <a:gd name="connsiteY1014" fmla="*/ 573645 h 605483"/>
                    <a:gd name="connsiteX1015" fmla="*/ 431536 w 654212"/>
                    <a:gd name="connsiteY1015" fmla="*/ 572455 h 605483"/>
                    <a:gd name="connsiteX1016" fmla="*/ 431815 w 654212"/>
                    <a:gd name="connsiteY1016" fmla="*/ 570961 h 605483"/>
                    <a:gd name="connsiteX1017" fmla="*/ 432216 w 654212"/>
                    <a:gd name="connsiteY1017" fmla="*/ 568836 h 605483"/>
                    <a:gd name="connsiteX1018" fmla="*/ 432337 w 654212"/>
                    <a:gd name="connsiteY1018" fmla="*/ 568168 h 605483"/>
                    <a:gd name="connsiteX1019" fmla="*/ 432313 w 654212"/>
                    <a:gd name="connsiteY1019" fmla="*/ 567500 h 605483"/>
                    <a:gd name="connsiteX1020" fmla="*/ 432252 w 654212"/>
                    <a:gd name="connsiteY1020" fmla="*/ 565691 h 605483"/>
                    <a:gd name="connsiteX1021" fmla="*/ 432240 w 654212"/>
                    <a:gd name="connsiteY1021" fmla="*/ 565266 h 605483"/>
                    <a:gd name="connsiteX1022" fmla="*/ 432167 w 654212"/>
                    <a:gd name="connsiteY1022" fmla="*/ 564841 h 605483"/>
                    <a:gd name="connsiteX1023" fmla="*/ 431936 w 654212"/>
                    <a:gd name="connsiteY1023" fmla="*/ 563529 h 605483"/>
                    <a:gd name="connsiteX1024" fmla="*/ 431657 w 654212"/>
                    <a:gd name="connsiteY1024" fmla="*/ 561914 h 605483"/>
                    <a:gd name="connsiteX1025" fmla="*/ 430601 w 654212"/>
                    <a:gd name="connsiteY1025" fmla="*/ 560664 h 605483"/>
                    <a:gd name="connsiteX1026" fmla="*/ 429678 w 654212"/>
                    <a:gd name="connsiteY1026" fmla="*/ 559571 h 605483"/>
                    <a:gd name="connsiteX1027" fmla="*/ 428318 w 654212"/>
                    <a:gd name="connsiteY1027" fmla="*/ 557956 h 605483"/>
                    <a:gd name="connsiteX1028" fmla="*/ 426241 w 654212"/>
                    <a:gd name="connsiteY1028" fmla="*/ 557543 h 605483"/>
                    <a:gd name="connsiteX1029" fmla="*/ 424286 w 654212"/>
                    <a:gd name="connsiteY1029" fmla="*/ 557154 h 605483"/>
                    <a:gd name="connsiteX1030" fmla="*/ 423922 w 654212"/>
                    <a:gd name="connsiteY1030" fmla="*/ 557082 h 605483"/>
                    <a:gd name="connsiteX1031" fmla="*/ 423546 w 654212"/>
                    <a:gd name="connsiteY1031" fmla="*/ 557057 h 605483"/>
                    <a:gd name="connsiteX1032" fmla="*/ 421906 w 654212"/>
                    <a:gd name="connsiteY1032" fmla="*/ 556936 h 605483"/>
                    <a:gd name="connsiteX1033" fmla="*/ 420607 w 654212"/>
                    <a:gd name="connsiteY1033" fmla="*/ 554762 h 605483"/>
                    <a:gd name="connsiteX1034" fmla="*/ 420996 w 654212"/>
                    <a:gd name="connsiteY1034" fmla="*/ 554507 h 605483"/>
                    <a:gd name="connsiteX1035" fmla="*/ 421724 w 654212"/>
                    <a:gd name="connsiteY1035" fmla="*/ 553269 h 605483"/>
                    <a:gd name="connsiteX1036" fmla="*/ 422829 w 654212"/>
                    <a:gd name="connsiteY1036" fmla="*/ 551374 h 605483"/>
                    <a:gd name="connsiteX1037" fmla="*/ 423400 w 654212"/>
                    <a:gd name="connsiteY1037" fmla="*/ 550403 h 605483"/>
                    <a:gd name="connsiteX1038" fmla="*/ 423582 w 654212"/>
                    <a:gd name="connsiteY1038" fmla="*/ 549298 h 605483"/>
                    <a:gd name="connsiteX1039" fmla="*/ 423910 w 654212"/>
                    <a:gd name="connsiteY1039" fmla="*/ 547343 h 605483"/>
                    <a:gd name="connsiteX1040" fmla="*/ 424104 w 654212"/>
                    <a:gd name="connsiteY1040" fmla="*/ 546202 h 605483"/>
                    <a:gd name="connsiteX1041" fmla="*/ 423861 w 654212"/>
                    <a:gd name="connsiteY1041" fmla="*/ 545072 h 605483"/>
                    <a:gd name="connsiteX1042" fmla="*/ 422720 w 654212"/>
                    <a:gd name="connsiteY1042" fmla="*/ 539766 h 605483"/>
                    <a:gd name="connsiteX1043" fmla="*/ 422550 w 654212"/>
                    <a:gd name="connsiteY1043" fmla="*/ 539001 h 605483"/>
                    <a:gd name="connsiteX1044" fmla="*/ 422198 w 654212"/>
                    <a:gd name="connsiteY1044" fmla="*/ 538296 h 605483"/>
                    <a:gd name="connsiteX1045" fmla="*/ 421396 w 654212"/>
                    <a:gd name="connsiteY1045" fmla="*/ 536718 h 605483"/>
                    <a:gd name="connsiteX1046" fmla="*/ 421056 w 654212"/>
                    <a:gd name="connsiteY1046" fmla="*/ 536038 h 605483"/>
                    <a:gd name="connsiteX1047" fmla="*/ 420546 w 654212"/>
                    <a:gd name="connsiteY1047" fmla="*/ 535467 h 605483"/>
                    <a:gd name="connsiteX1048" fmla="*/ 418385 w 654212"/>
                    <a:gd name="connsiteY1048" fmla="*/ 533002 h 605483"/>
                    <a:gd name="connsiteX1049" fmla="*/ 418239 w 654212"/>
                    <a:gd name="connsiteY1049" fmla="*/ 532492 h 605483"/>
                    <a:gd name="connsiteX1050" fmla="*/ 418094 w 654212"/>
                    <a:gd name="connsiteY1050" fmla="*/ 528728 h 605483"/>
                    <a:gd name="connsiteX1051" fmla="*/ 418081 w 654212"/>
                    <a:gd name="connsiteY1051" fmla="*/ 528121 h 605483"/>
                    <a:gd name="connsiteX1052" fmla="*/ 417936 w 654212"/>
                    <a:gd name="connsiteY1052" fmla="*/ 527526 h 605483"/>
                    <a:gd name="connsiteX1053" fmla="*/ 417122 w 654212"/>
                    <a:gd name="connsiteY1053" fmla="*/ 524138 h 605483"/>
                    <a:gd name="connsiteX1054" fmla="*/ 416685 w 654212"/>
                    <a:gd name="connsiteY1054" fmla="*/ 522341 h 605483"/>
                    <a:gd name="connsiteX1055" fmla="*/ 415325 w 654212"/>
                    <a:gd name="connsiteY1055" fmla="*/ 521090 h 605483"/>
                    <a:gd name="connsiteX1056" fmla="*/ 411476 w 654212"/>
                    <a:gd name="connsiteY1056" fmla="*/ 517544 h 605483"/>
                    <a:gd name="connsiteX1057" fmla="*/ 411463 w 654212"/>
                    <a:gd name="connsiteY1057" fmla="*/ 517471 h 605483"/>
                    <a:gd name="connsiteX1058" fmla="*/ 411646 w 654212"/>
                    <a:gd name="connsiteY1058" fmla="*/ 515796 h 605483"/>
                    <a:gd name="connsiteX1059" fmla="*/ 415628 w 654212"/>
                    <a:gd name="connsiteY1059" fmla="*/ 507441 h 605483"/>
                    <a:gd name="connsiteX1060" fmla="*/ 415786 w 654212"/>
                    <a:gd name="connsiteY1060" fmla="*/ 507126 h 605483"/>
                    <a:gd name="connsiteX1061" fmla="*/ 415896 w 654212"/>
                    <a:gd name="connsiteY1061" fmla="*/ 506798 h 605483"/>
                    <a:gd name="connsiteX1062" fmla="*/ 417146 w 654212"/>
                    <a:gd name="connsiteY1062" fmla="*/ 503143 h 605483"/>
                    <a:gd name="connsiteX1063" fmla="*/ 418470 w 654212"/>
                    <a:gd name="connsiteY1063" fmla="*/ 503155 h 605483"/>
                    <a:gd name="connsiteX1064" fmla="*/ 420935 w 654212"/>
                    <a:gd name="connsiteY1064" fmla="*/ 503179 h 605483"/>
                    <a:gd name="connsiteX1065" fmla="*/ 425646 w 654212"/>
                    <a:gd name="connsiteY1065" fmla="*/ 503228 h 605483"/>
                    <a:gd name="connsiteX1066" fmla="*/ 426861 w 654212"/>
                    <a:gd name="connsiteY1066" fmla="*/ 498674 h 605483"/>
                    <a:gd name="connsiteX1067" fmla="*/ 428075 w 654212"/>
                    <a:gd name="connsiteY1067" fmla="*/ 494133 h 605483"/>
                    <a:gd name="connsiteX1068" fmla="*/ 428306 w 654212"/>
                    <a:gd name="connsiteY1068" fmla="*/ 493283 h 605483"/>
                    <a:gd name="connsiteX1069" fmla="*/ 428294 w 654212"/>
                    <a:gd name="connsiteY1069" fmla="*/ 492408 h 605483"/>
                    <a:gd name="connsiteX1070" fmla="*/ 428172 w 654212"/>
                    <a:gd name="connsiteY1070" fmla="*/ 487454 h 605483"/>
                    <a:gd name="connsiteX1071" fmla="*/ 428148 w 654212"/>
                    <a:gd name="connsiteY1071" fmla="*/ 486628 h 605483"/>
                    <a:gd name="connsiteX1072" fmla="*/ 427905 w 654212"/>
                    <a:gd name="connsiteY1072" fmla="*/ 485839 h 605483"/>
                    <a:gd name="connsiteX1073" fmla="*/ 427213 w 654212"/>
                    <a:gd name="connsiteY1073" fmla="*/ 483592 h 605483"/>
                    <a:gd name="connsiteX1074" fmla="*/ 426727 w 654212"/>
                    <a:gd name="connsiteY1074" fmla="*/ 482026 h 605483"/>
                    <a:gd name="connsiteX1075" fmla="*/ 425513 w 654212"/>
                    <a:gd name="connsiteY1075" fmla="*/ 480909 h 605483"/>
                    <a:gd name="connsiteX1076" fmla="*/ 424481 w 654212"/>
                    <a:gd name="connsiteY1076" fmla="*/ 479962 h 605483"/>
                    <a:gd name="connsiteX1077" fmla="*/ 424748 w 654212"/>
                    <a:gd name="connsiteY1077" fmla="*/ 479828 h 605483"/>
                    <a:gd name="connsiteX1078" fmla="*/ 425683 w 654212"/>
                    <a:gd name="connsiteY1078" fmla="*/ 479379 h 605483"/>
                    <a:gd name="connsiteX1079" fmla="*/ 426424 w 654212"/>
                    <a:gd name="connsiteY1079" fmla="*/ 478650 h 605483"/>
                    <a:gd name="connsiteX1080" fmla="*/ 428099 w 654212"/>
                    <a:gd name="connsiteY1080" fmla="*/ 476987 h 605483"/>
                    <a:gd name="connsiteX1081" fmla="*/ 428876 w 654212"/>
                    <a:gd name="connsiteY1081" fmla="*/ 476210 h 605483"/>
                    <a:gd name="connsiteX1082" fmla="*/ 429338 w 654212"/>
                    <a:gd name="connsiteY1082" fmla="*/ 475202 h 605483"/>
                    <a:gd name="connsiteX1083" fmla="*/ 430467 w 654212"/>
                    <a:gd name="connsiteY1083" fmla="*/ 472737 h 605483"/>
                    <a:gd name="connsiteX1084" fmla="*/ 431184 w 654212"/>
                    <a:gd name="connsiteY1084" fmla="*/ 471195 h 605483"/>
                    <a:gd name="connsiteX1085" fmla="*/ 430977 w 654212"/>
                    <a:gd name="connsiteY1085" fmla="*/ 469507 h 605483"/>
                    <a:gd name="connsiteX1086" fmla="*/ 430759 w 654212"/>
                    <a:gd name="connsiteY1086" fmla="*/ 467637 h 605483"/>
                    <a:gd name="connsiteX1087" fmla="*/ 430625 w 654212"/>
                    <a:gd name="connsiteY1087" fmla="*/ 466447 h 605483"/>
                    <a:gd name="connsiteX1088" fmla="*/ 430054 w 654212"/>
                    <a:gd name="connsiteY1088" fmla="*/ 465415 h 605483"/>
                    <a:gd name="connsiteX1089" fmla="*/ 429459 w 654212"/>
                    <a:gd name="connsiteY1089" fmla="*/ 464334 h 605483"/>
                    <a:gd name="connsiteX1090" fmla="*/ 439987 w 654212"/>
                    <a:gd name="connsiteY1090" fmla="*/ 454158 h 605483"/>
                    <a:gd name="connsiteX1091" fmla="*/ 440230 w 654212"/>
                    <a:gd name="connsiteY1091" fmla="*/ 453927 h 605483"/>
                    <a:gd name="connsiteX1092" fmla="*/ 440449 w 654212"/>
                    <a:gd name="connsiteY1092" fmla="*/ 453672 h 605483"/>
                    <a:gd name="connsiteX1093" fmla="*/ 446265 w 654212"/>
                    <a:gd name="connsiteY1093" fmla="*/ 446666 h 605483"/>
                    <a:gd name="connsiteX1094" fmla="*/ 451474 w 654212"/>
                    <a:gd name="connsiteY1094" fmla="*/ 441602 h 605483"/>
                    <a:gd name="connsiteX1095" fmla="*/ 452604 w 654212"/>
                    <a:gd name="connsiteY1095" fmla="*/ 440825 h 605483"/>
                    <a:gd name="connsiteX1096" fmla="*/ 453004 w 654212"/>
                    <a:gd name="connsiteY1096" fmla="*/ 440704 h 605483"/>
                    <a:gd name="connsiteX1097" fmla="*/ 453599 w 654212"/>
                    <a:gd name="connsiteY1097" fmla="*/ 440704 h 605483"/>
                    <a:gd name="connsiteX1098" fmla="*/ 461626 w 654212"/>
                    <a:gd name="connsiteY1098" fmla="*/ 442088 h 605483"/>
                    <a:gd name="connsiteX1099" fmla="*/ 462282 w 654212"/>
                    <a:gd name="connsiteY1099" fmla="*/ 442197 h 605483"/>
                    <a:gd name="connsiteX1100" fmla="*/ 462950 w 654212"/>
                    <a:gd name="connsiteY1100" fmla="*/ 442173 h 605483"/>
                    <a:gd name="connsiteX1101" fmla="*/ 466447 w 654212"/>
                    <a:gd name="connsiteY1101" fmla="*/ 442003 h 605483"/>
                    <a:gd name="connsiteX1102" fmla="*/ 466957 w 654212"/>
                    <a:gd name="connsiteY1102" fmla="*/ 441979 h 605483"/>
                    <a:gd name="connsiteX1103" fmla="*/ 467455 w 654212"/>
                    <a:gd name="connsiteY1103" fmla="*/ 441869 h 605483"/>
                    <a:gd name="connsiteX1104" fmla="*/ 469701 w 654212"/>
                    <a:gd name="connsiteY1104" fmla="*/ 441384 h 605483"/>
                    <a:gd name="connsiteX1105" fmla="*/ 470344 w 654212"/>
                    <a:gd name="connsiteY1105" fmla="*/ 441238 h 605483"/>
                    <a:gd name="connsiteX1106" fmla="*/ 470940 w 654212"/>
                    <a:gd name="connsiteY1106" fmla="*/ 440971 h 605483"/>
                    <a:gd name="connsiteX1107" fmla="*/ 476792 w 654212"/>
                    <a:gd name="connsiteY1107" fmla="*/ 438299 h 605483"/>
                    <a:gd name="connsiteX1108" fmla="*/ 477290 w 654212"/>
                    <a:gd name="connsiteY1108" fmla="*/ 438069 h 605483"/>
                    <a:gd name="connsiteX1109" fmla="*/ 477740 w 654212"/>
                    <a:gd name="connsiteY1109" fmla="*/ 437753 h 605483"/>
                    <a:gd name="connsiteX1110" fmla="*/ 486130 w 654212"/>
                    <a:gd name="connsiteY1110" fmla="*/ 431936 h 605483"/>
                    <a:gd name="connsiteX1111" fmla="*/ 498249 w 654212"/>
                    <a:gd name="connsiteY1111" fmla="*/ 425367 h 605483"/>
                    <a:gd name="connsiteX1112" fmla="*/ 506713 w 654212"/>
                    <a:gd name="connsiteY1112" fmla="*/ 422841 h 605483"/>
                    <a:gd name="connsiteX1113" fmla="*/ 507551 w 654212"/>
                    <a:gd name="connsiteY1113" fmla="*/ 422586 h 605483"/>
                    <a:gd name="connsiteX1114" fmla="*/ 508291 w 654212"/>
                    <a:gd name="connsiteY1114" fmla="*/ 422113 h 605483"/>
                    <a:gd name="connsiteX1115" fmla="*/ 516937 w 654212"/>
                    <a:gd name="connsiteY1115" fmla="*/ 416515 h 605483"/>
                    <a:gd name="connsiteX1116" fmla="*/ 517787 w 654212"/>
                    <a:gd name="connsiteY1116" fmla="*/ 416248 h 605483"/>
                    <a:gd name="connsiteX1117" fmla="*/ 519329 w 654212"/>
                    <a:gd name="connsiteY1117" fmla="*/ 416211 h 605483"/>
                    <a:gd name="connsiteX1118" fmla="*/ 525510 w 654212"/>
                    <a:gd name="connsiteY1118" fmla="*/ 417086 h 605483"/>
                    <a:gd name="connsiteX1119" fmla="*/ 525947 w 654212"/>
                    <a:gd name="connsiteY1119" fmla="*/ 417146 h 605483"/>
                    <a:gd name="connsiteX1120" fmla="*/ 526396 w 654212"/>
                    <a:gd name="connsiteY1120" fmla="*/ 417146 h 605483"/>
                    <a:gd name="connsiteX1121" fmla="*/ 528971 w 654212"/>
                    <a:gd name="connsiteY1121" fmla="*/ 417134 h 605483"/>
                    <a:gd name="connsiteX1122" fmla="*/ 529080 w 654212"/>
                    <a:gd name="connsiteY1122" fmla="*/ 417328 h 605483"/>
                    <a:gd name="connsiteX1123" fmla="*/ 529796 w 654212"/>
                    <a:gd name="connsiteY1123" fmla="*/ 418567 h 605483"/>
                    <a:gd name="connsiteX1124" fmla="*/ 530986 w 654212"/>
                    <a:gd name="connsiteY1124" fmla="*/ 419356 h 605483"/>
                    <a:gd name="connsiteX1125" fmla="*/ 532941 w 654212"/>
                    <a:gd name="connsiteY1125" fmla="*/ 420656 h 605483"/>
                    <a:gd name="connsiteX1126" fmla="*/ 534362 w 654212"/>
                    <a:gd name="connsiteY1126" fmla="*/ 421603 h 605483"/>
                    <a:gd name="connsiteX1127" fmla="*/ 536062 w 654212"/>
                    <a:gd name="connsiteY1127" fmla="*/ 421664 h 605483"/>
                    <a:gd name="connsiteX1128" fmla="*/ 537835 w 654212"/>
                    <a:gd name="connsiteY1128" fmla="*/ 421736 h 605483"/>
                    <a:gd name="connsiteX1129" fmla="*/ 538539 w 654212"/>
                    <a:gd name="connsiteY1129" fmla="*/ 421761 h 605483"/>
                    <a:gd name="connsiteX1130" fmla="*/ 539231 w 654212"/>
                    <a:gd name="connsiteY1130" fmla="*/ 421627 h 605483"/>
                    <a:gd name="connsiteX1131" fmla="*/ 540021 w 654212"/>
                    <a:gd name="connsiteY1131" fmla="*/ 421469 h 605483"/>
                    <a:gd name="connsiteX1132" fmla="*/ 545437 w 654212"/>
                    <a:gd name="connsiteY1132" fmla="*/ 427237 h 605483"/>
                    <a:gd name="connsiteX1133" fmla="*/ 545971 w 654212"/>
                    <a:gd name="connsiteY1133" fmla="*/ 427808 h 605483"/>
                    <a:gd name="connsiteX1134" fmla="*/ 546639 w 654212"/>
                    <a:gd name="connsiteY1134" fmla="*/ 428221 h 605483"/>
                    <a:gd name="connsiteX1135" fmla="*/ 549844 w 654212"/>
                    <a:gd name="connsiteY1135" fmla="*/ 430224 h 605483"/>
                    <a:gd name="connsiteX1136" fmla="*/ 550573 w 654212"/>
                    <a:gd name="connsiteY1136" fmla="*/ 430686 h 605483"/>
                    <a:gd name="connsiteX1137" fmla="*/ 551399 w 654212"/>
                    <a:gd name="connsiteY1137" fmla="*/ 430916 h 605483"/>
                    <a:gd name="connsiteX1138" fmla="*/ 553305 w 654212"/>
                    <a:gd name="connsiteY1138" fmla="*/ 431463 h 605483"/>
                    <a:gd name="connsiteX1139" fmla="*/ 554483 w 654212"/>
                    <a:gd name="connsiteY1139" fmla="*/ 431803 h 605483"/>
                    <a:gd name="connsiteX1140" fmla="*/ 555709 w 654212"/>
                    <a:gd name="connsiteY1140" fmla="*/ 431657 h 605483"/>
                    <a:gd name="connsiteX1141" fmla="*/ 559037 w 654212"/>
                    <a:gd name="connsiteY1141" fmla="*/ 431256 h 605483"/>
                    <a:gd name="connsiteX1142" fmla="*/ 559450 w 654212"/>
                    <a:gd name="connsiteY1142" fmla="*/ 431208 h 605483"/>
                    <a:gd name="connsiteX1143" fmla="*/ 559838 w 654212"/>
                    <a:gd name="connsiteY1143" fmla="*/ 431111 h 605483"/>
                    <a:gd name="connsiteX1144" fmla="*/ 563396 w 654212"/>
                    <a:gd name="connsiteY1144" fmla="*/ 430176 h 605483"/>
                    <a:gd name="connsiteX1145" fmla="*/ 570366 w 654212"/>
                    <a:gd name="connsiteY1145" fmla="*/ 429338 h 605483"/>
                    <a:gd name="connsiteX1146" fmla="*/ 573620 w 654212"/>
                    <a:gd name="connsiteY1146" fmla="*/ 429484 h 605483"/>
                    <a:gd name="connsiteX1147" fmla="*/ 575442 w 654212"/>
                    <a:gd name="connsiteY1147" fmla="*/ 429957 h 605483"/>
                    <a:gd name="connsiteX1148" fmla="*/ 576899 w 654212"/>
                    <a:gd name="connsiteY1148" fmla="*/ 430734 h 605483"/>
                    <a:gd name="connsiteX1149" fmla="*/ 577385 w 654212"/>
                    <a:gd name="connsiteY1149" fmla="*/ 430989 h 605483"/>
                    <a:gd name="connsiteX1150" fmla="*/ 577907 w 654212"/>
                    <a:gd name="connsiteY1150" fmla="*/ 431159 h 605483"/>
                    <a:gd name="connsiteX1151" fmla="*/ 581367 w 654212"/>
                    <a:gd name="connsiteY1151" fmla="*/ 432276 h 605483"/>
                    <a:gd name="connsiteX1152" fmla="*/ 582035 w 654212"/>
                    <a:gd name="connsiteY1152" fmla="*/ 432495 h 605483"/>
                    <a:gd name="connsiteX1153" fmla="*/ 582740 w 654212"/>
                    <a:gd name="connsiteY1153" fmla="*/ 432556 h 605483"/>
                    <a:gd name="connsiteX1154" fmla="*/ 585545 w 654212"/>
                    <a:gd name="connsiteY1154" fmla="*/ 432786 h 605483"/>
                    <a:gd name="connsiteX1155" fmla="*/ 586042 w 654212"/>
                    <a:gd name="connsiteY1155" fmla="*/ 432823 h 605483"/>
                    <a:gd name="connsiteX1156" fmla="*/ 586540 w 654212"/>
                    <a:gd name="connsiteY1156" fmla="*/ 432786 h 605483"/>
                    <a:gd name="connsiteX1157" fmla="*/ 589940 w 654212"/>
                    <a:gd name="connsiteY1157" fmla="*/ 432507 h 605483"/>
                    <a:gd name="connsiteX1158" fmla="*/ 596158 w 654212"/>
                    <a:gd name="connsiteY1158" fmla="*/ 432920 h 605483"/>
                    <a:gd name="connsiteX1159" fmla="*/ 601403 w 654212"/>
                    <a:gd name="connsiteY1159" fmla="*/ 433782 h 605483"/>
                    <a:gd name="connsiteX1160" fmla="*/ 601950 w 654212"/>
                    <a:gd name="connsiteY1160" fmla="*/ 433867 h 605483"/>
                    <a:gd name="connsiteX1161" fmla="*/ 602508 w 654212"/>
                    <a:gd name="connsiteY1161" fmla="*/ 433855 h 605483"/>
                    <a:gd name="connsiteX1162" fmla="*/ 606382 w 654212"/>
                    <a:gd name="connsiteY1162" fmla="*/ 433770 h 605483"/>
                    <a:gd name="connsiteX1163" fmla="*/ 609321 w 654212"/>
                    <a:gd name="connsiteY1163" fmla="*/ 439744 h 605483"/>
                    <a:gd name="connsiteX1164" fmla="*/ 609539 w 654212"/>
                    <a:gd name="connsiteY1164" fmla="*/ 440194 h 605483"/>
                    <a:gd name="connsiteX1165" fmla="*/ 609830 w 654212"/>
                    <a:gd name="connsiteY1165" fmla="*/ 440594 h 605483"/>
                    <a:gd name="connsiteX1166" fmla="*/ 612417 w 654212"/>
                    <a:gd name="connsiteY1166" fmla="*/ 444213 h 605483"/>
                    <a:gd name="connsiteX1167" fmla="*/ 612696 w 654212"/>
                    <a:gd name="connsiteY1167" fmla="*/ 444614 h 605483"/>
                    <a:gd name="connsiteX1168" fmla="*/ 613036 w 654212"/>
                    <a:gd name="connsiteY1168" fmla="*/ 444954 h 605483"/>
                    <a:gd name="connsiteX1169" fmla="*/ 615441 w 654212"/>
                    <a:gd name="connsiteY1169" fmla="*/ 447370 h 605483"/>
                    <a:gd name="connsiteX1170" fmla="*/ 615951 w 654212"/>
                    <a:gd name="connsiteY1170" fmla="*/ 447880 h 605483"/>
                    <a:gd name="connsiteX1171" fmla="*/ 616546 w 654212"/>
                    <a:gd name="connsiteY1171" fmla="*/ 448257 h 605483"/>
                    <a:gd name="connsiteX1172" fmla="*/ 620917 w 654212"/>
                    <a:gd name="connsiteY1172" fmla="*/ 450977 h 605483"/>
                    <a:gd name="connsiteX1173" fmla="*/ 622229 w 654212"/>
                    <a:gd name="connsiteY1173" fmla="*/ 451790 h 605483"/>
                    <a:gd name="connsiteX1174" fmla="*/ 623758 w 654212"/>
                    <a:gd name="connsiteY1174" fmla="*/ 451875 h 605483"/>
                    <a:gd name="connsiteX1175" fmla="*/ 635707 w 654212"/>
                    <a:gd name="connsiteY1175" fmla="*/ 452592 h 605483"/>
                    <a:gd name="connsiteX1176" fmla="*/ 636278 w 654212"/>
                    <a:gd name="connsiteY1176" fmla="*/ 452628 h 605483"/>
                    <a:gd name="connsiteX1177" fmla="*/ 636849 w 654212"/>
                    <a:gd name="connsiteY1177" fmla="*/ 452555 h 605483"/>
                    <a:gd name="connsiteX1178" fmla="*/ 639435 w 654212"/>
                    <a:gd name="connsiteY1178" fmla="*/ 452215 h 605483"/>
                    <a:gd name="connsiteX1179" fmla="*/ 642094 w 654212"/>
                    <a:gd name="connsiteY1179" fmla="*/ 451887 h 605483"/>
                    <a:gd name="connsiteX1180" fmla="*/ 642617 w 654212"/>
                    <a:gd name="connsiteY1180" fmla="*/ 451827 h 605483"/>
                    <a:gd name="connsiteX1181" fmla="*/ 643126 w 654212"/>
                    <a:gd name="connsiteY1181" fmla="*/ 451669 h 605483"/>
                    <a:gd name="connsiteX1182" fmla="*/ 649101 w 654212"/>
                    <a:gd name="connsiteY1182" fmla="*/ 449835 h 605483"/>
                    <a:gd name="connsiteX1183" fmla="*/ 652562 w 654212"/>
                    <a:gd name="connsiteY1183" fmla="*/ 448779 h 605483"/>
                    <a:gd name="connsiteX1184" fmla="*/ 653278 w 654212"/>
                    <a:gd name="connsiteY1184" fmla="*/ 445233 h 605483"/>
                    <a:gd name="connsiteX1185" fmla="*/ 653970 w 654212"/>
                    <a:gd name="connsiteY1185" fmla="*/ 441809 h 605483"/>
                    <a:gd name="connsiteX1186" fmla="*/ 654213 w 654212"/>
                    <a:gd name="connsiteY1186" fmla="*/ 440582 h 605483"/>
                    <a:gd name="connsiteX1187" fmla="*/ 653958 w 654212"/>
                    <a:gd name="connsiteY1187" fmla="*/ 439356 h 605483"/>
                    <a:gd name="connsiteX1188" fmla="*/ 653266 w 654212"/>
                    <a:gd name="connsiteY1188" fmla="*/ 436029 h 605483"/>
                    <a:gd name="connsiteX1189" fmla="*/ 653023 w 654212"/>
                    <a:gd name="connsiteY1189" fmla="*/ 434863 h 605483"/>
                    <a:gd name="connsiteX1190" fmla="*/ 652355 w 654212"/>
                    <a:gd name="connsiteY1190" fmla="*/ 433867 h 605483"/>
                    <a:gd name="connsiteX1191" fmla="*/ 646781 w 654212"/>
                    <a:gd name="connsiteY1191" fmla="*/ 425622 h 605483"/>
                    <a:gd name="connsiteX1192" fmla="*/ 641706 w 654212"/>
                    <a:gd name="connsiteY1192" fmla="*/ 417972 h 605483"/>
                    <a:gd name="connsiteX1193" fmla="*/ 641341 w 654212"/>
                    <a:gd name="connsiteY1193" fmla="*/ 417426 h 605483"/>
                    <a:gd name="connsiteX1194" fmla="*/ 640868 w 654212"/>
                    <a:gd name="connsiteY1194" fmla="*/ 416964 h 605483"/>
                    <a:gd name="connsiteX1195" fmla="*/ 635015 w 654212"/>
                    <a:gd name="connsiteY1195" fmla="*/ 411306 h 605483"/>
                    <a:gd name="connsiteX1196" fmla="*/ 634177 w 654212"/>
                    <a:gd name="connsiteY1196" fmla="*/ 410371 h 605483"/>
                    <a:gd name="connsiteX1197" fmla="*/ 630826 w 654212"/>
                    <a:gd name="connsiteY1197" fmla="*/ 405586 h 605483"/>
                    <a:gd name="connsiteX1198" fmla="*/ 626758 w 654212"/>
                    <a:gd name="connsiteY1198" fmla="*/ 399794 h 605483"/>
                    <a:gd name="connsiteX1199" fmla="*/ 622034 w 654212"/>
                    <a:gd name="connsiteY1199" fmla="*/ 404323 h 605483"/>
                    <a:gd name="connsiteX1200" fmla="*/ 621136 w 654212"/>
                    <a:gd name="connsiteY1200" fmla="*/ 404773 h 605483"/>
                    <a:gd name="connsiteX1201" fmla="*/ 620431 w 654212"/>
                    <a:gd name="connsiteY1201" fmla="*/ 404809 h 605483"/>
                    <a:gd name="connsiteX1202" fmla="*/ 615878 w 654212"/>
                    <a:gd name="connsiteY1202" fmla="*/ 404287 h 605483"/>
                    <a:gd name="connsiteX1203" fmla="*/ 614809 w 654212"/>
                    <a:gd name="connsiteY1203" fmla="*/ 404166 h 605483"/>
                    <a:gd name="connsiteX1204" fmla="*/ 613765 w 654212"/>
                    <a:gd name="connsiteY1204" fmla="*/ 404421 h 605483"/>
                    <a:gd name="connsiteX1205" fmla="*/ 609673 w 654212"/>
                    <a:gd name="connsiteY1205" fmla="*/ 405404 h 605483"/>
                    <a:gd name="connsiteX1206" fmla="*/ 609600 w 654212"/>
                    <a:gd name="connsiteY1206" fmla="*/ 405404 h 605483"/>
                    <a:gd name="connsiteX1207" fmla="*/ 605872 w 654212"/>
                    <a:gd name="connsiteY1207" fmla="*/ 403583 h 605483"/>
                    <a:gd name="connsiteX1208" fmla="*/ 605678 w 654212"/>
                    <a:gd name="connsiteY1208" fmla="*/ 401919 h 605483"/>
                    <a:gd name="connsiteX1209" fmla="*/ 606783 w 654212"/>
                    <a:gd name="connsiteY1209" fmla="*/ 395277 h 605483"/>
                    <a:gd name="connsiteX1210" fmla="*/ 609308 w 654212"/>
                    <a:gd name="connsiteY1210" fmla="*/ 387748 h 605483"/>
                    <a:gd name="connsiteX1211" fmla="*/ 609563 w 654212"/>
                    <a:gd name="connsiteY1211" fmla="*/ 386995 h 605483"/>
                    <a:gd name="connsiteX1212" fmla="*/ 609612 w 654212"/>
                    <a:gd name="connsiteY1212" fmla="*/ 386218 h 605483"/>
                    <a:gd name="connsiteX1213" fmla="*/ 610073 w 654212"/>
                    <a:gd name="connsiteY1213" fmla="*/ 379357 h 605483"/>
                    <a:gd name="connsiteX1214" fmla="*/ 610280 w 654212"/>
                    <a:gd name="connsiteY1214" fmla="*/ 376297 h 605483"/>
                    <a:gd name="connsiteX1215" fmla="*/ 607948 w 654212"/>
                    <a:gd name="connsiteY1215" fmla="*/ 374318 h 605483"/>
                    <a:gd name="connsiteX1216" fmla="*/ 602435 w 654212"/>
                    <a:gd name="connsiteY1216" fmla="*/ 369643 h 605483"/>
                    <a:gd name="connsiteX1217" fmla="*/ 602047 w 654212"/>
                    <a:gd name="connsiteY1217" fmla="*/ 369315 h 605483"/>
                    <a:gd name="connsiteX1218" fmla="*/ 601622 w 654212"/>
                    <a:gd name="connsiteY1218" fmla="*/ 369060 h 605483"/>
                    <a:gd name="connsiteX1219" fmla="*/ 599303 w 654212"/>
                    <a:gd name="connsiteY1219" fmla="*/ 367676 h 605483"/>
                    <a:gd name="connsiteX1220" fmla="*/ 614251 w 654212"/>
                    <a:gd name="connsiteY1220" fmla="*/ 356031 h 605483"/>
                    <a:gd name="connsiteX1221" fmla="*/ 614627 w 654212"/>
                    <a:gd name="connsiteY1221" fmla="*/ 355739 h 605483"/>
                    <a:gd name="connsiteX1222" fmla="*/ 614943 w 654212"/>
                    <a:gd name="connsiteY1222" fmla="*/ 355399 h 605483"/>
                    <a:gd name="connsiteX1223" fmla="*/ 618100 w 654212"/>
                    <a:gd name="connsiteY1223" fmla="*/ 352048 h 605483"/>
                    <a:gd name="connsiteX1224" fmla="*/ 618962 w 654212"/>
                    <a:gd name="connsiteY1224" fmla="*/ 351137 h 605483"/>
                    <a:gd name="connsiteX1225" fmla="*/ 619387 w 654212"/>
                    <a:gd name="connsiteY1225" fmla="*/ 349959 h 605483"/>
                    <a:gd name="connsiteX1226" fmla="*/ 620310 w 654212"/>
                    <a:gd name="connsiteY1226" fmla="*/ 347397 h 605483"/>
                    <a:gd name="connsiteX1227" fmla="*/ 621476 w 654212"/>
                    <a:gd name="connsiteY1227" fmla="*/ 344167 h 605483"/>
                    <a:gd name="connsiteX1228" fmla="*/ 619326 w 654212"/>
                    <a:gd name="connsiteY1228" fmla="*/ 341508 h 605483"/>
                    <a:gd name="connsiteX1229" fmla="*/ 614894 w 654212"/>
                    <a:gd name="connsiteY1229" fmla="*/ 336031 h 605483"/>
                    <a:gd name="connsiteX1230" fmla="*/ 614675 w 654212"/>
                    <a:gd name="connsiteY1230" fmla="*/ 335764 h 605483"/>
                    <a:gd name="connsiteX1231" fmla="*/ 614421 w 654212"/>
                    <a:gd name="connsiteY1231" fmla="*/ 335509 h 605483"/>
                    <a:gd name="connsiteX1232" fmla="*/ 607475 w 654212"/>
                    <a:gd name="connsiteY1232" fmla="*/ 328709 h 605483"/>
                    <a:gd name="connsiteX1233" fmla="*/ 605629 w 654212"/>
                    <a:gd name="connsiteY1233" fmla="*/ 326900 h 605483"/>
                    <a:gd name="connsiteX1234" fmla="*/ 603043 w 654212"/>
                    <a:gd name="connsiteY1234" fmla="*/ 326985 h 605483"/>
                    <a:gd name="connsiteX1235" fmla="*/ 601063 w 654212"/>
                    <a:gd name="connsiteY1235" fmla="*/ 327046 h 605483"/>
                    <a:gd name="connsiteX1236" fmla="*/ 599873 w 654212"/>
                    <a:gd name="connsiteY1236" fmla="*/ 324180 h 605483"/>
                    <a:gd name="connsiteX1237" fmla="*/ 599509 w 654212"/>
                    <a:gd name="connsiteY1237" fmla="*/ 323294 h 605483"/>
                    <a:gd name="connsiteX1238" fmla="*/ 598890 w 654212"/>
                    <a:gd name="connsiteY1238" fmla="*/ 322565 h 605483"/>
                    <a:gd name="connsiteX1239" fmla="*/ 597105 w 654212"/>
                    <a:gd name="connsiteY1239" fmla="*/ 320464 h 605483"/>
                    <a:gd name="connsiteX1240" fmla="*/ 597311 w 654212"/>
                    <a:gd name="connsiteY1240" fmla="*/ 319602 h 605483"/>
                    <a:gd name="connsiteX1241" fmla="*/ 597421 w 654212"/>
                    <a:gd name="connsiteY1241" fmla="*/ 319104 h 605483"/>
                    <a:gd name="connsiteX1242" fmla="*/ 597445 w 654212"/>
                    <a:gd name="connsiteY1242" fmla="*/ 318594 h 605483"/>
                    <a:gd name="connsiteX1243" fmla="*/ 597554 w 654212"/>
                    <a:gd name="connsiteY1243" fmla="*/ 316797 h 605483"/>
                    <a:gd name="connsiteX1244" fmla="*/ 597724 w 654212"/>
                    <a:gd name="connsiteY1244" fmla="*/ 314186 h 605483"/>
                    <a:gd name="connsiteX1245" fmla="*/ 595939 w 654212"/>
                    <a:gd name="connsiteY1245" fmla="*/ 312280 h 605483"/>
                    <a:gd name="connsiteX1246" fmla="*/ 593607 w 654212"/>
                    <a:gd name="connsiteY1246" fmla="*/ 309779 h 605483"/>
                    <a:gd name="connsiteX1247" fmla="*/ 597384 w 654212"/>
                    <a:gd name="connsiteY1247" fmla="*/ 304253 h 605483"/>
                    <a:gd name="connsiteX1248" fmla="*/ 597918 w 654212"/>
                    <a:gd name="connsiteY1248" fmla="*/ 303476 h 605483"/>
                    <a:gd name="connsiteX1249" fmla="*/ 598185 w 654212"/>
                    <a:gd name="connsiteY1249" fmla="*/ 302578 h 605483"/>
                    <a:gd name="connsiteX1250" fmla="*/ 599375 w 654212"/>
                    <a:gd name="connsiteY1250" fmla="*/ 298607 h 605483"/>
                    <a:gd name="connsiteX1251" fmla="*/ 599497 w 654212"/>
                    <a:gd name="connsiteY1251" fmla="*/ 298206 h 605483"/>
                    <a:gd name="connsiteX1252" fmla="*/ 599558 w 654212"/>
                    <a:gd name="connsiteY1252" fmla="*/ 297793 h 605483"/>
                    <a:gd name="connsiteX1253" fmla="*/ 600881 w 654212"/>
                    <a:gd name="connsiteY1253" fmla="*/ 289366 h 605483"/>
                    <a:gd name="connsiteX1254" fmla="*/ 601816 w 654212"/>
                    <a:gd name="connsiteY1254" fmla="*/ 286039 h 605483"/>
                    <a:gd name="connsiteX1255" fmla="*/ 605678 w 654212"/>
                    <a:gd name="connsiteY1255" fmla="*/ 277673 h 605483"/>
                    <a:gd name="connsiteX1256" fmla="*/ 606066 w 654212"/>
                    <a:gd name="connsiteY1256" fmla="*/ 276847 h 605483"/>
                    <a:gd name="connsiteX1257" fmla="*/ 606188 w 654212"/>
                    <a:gd name="connsiteY1257" fmla="*/ 275936 h 605483"/>
                    <a:gd name="connsiteX1258" fmla="*/ 606710 w 654212"/>
                    <a:gd name="connsiteY1258" fmla="*/ 272026 h 605483"/>
                    <a:gd name="connsiteX1259" fmla="*/ 606953 w 654212"/>
                    <a:gd name="connsiteY1259" fmla="*/ 270229 h 605483"/>
                    <a:gd name="connsiteX1260" fmla="*/ 606163 w 654212"/>
                    <a:gd name="connsiteY1260" fmla="*/ 268590 h 605483"/>
                    <a:gd name="connsiteX1261" fmla="*/ 604087 w 654212"/>
                    <a:gd name="connsiteY1261" fmla="*/ 264303 h 605483"/>
                    <a:gd name="connsiteX1262" fmla="*/ 603601 w 654212"/>
                    <a:gd name="connsiteY1262" fmla="*/ 263307 h 605483"/>
                    <a:gd name="connsiteX1263" fmla="*/ 602800 w 654212"/>
                    <a:gd name="connsiteY1263" fmla="*/ 262542 h 605483"/>
                    <a:gd name="connsiteX1264" fmla="*/ 600626 w 654212"/>
                    <a:gd name="connsiteY1264" fmla="*/ 260478 h 605483"/>
                    <a:gd name="connsiteX1265" fmla="*/ 600080 w 654212"/>
                    <a:gd name="connsiteY1265" fmla="*/ 259956 h 605483"/>
                    <a:gd name="connsiteX1266" fmla="*/ 599412 w 654212"/>
                    <a:gd name="connsiteY1266" fmla="*/ 259580 h 605483"/>
                    <a:gd name="connsiteX1267" fmla="*/ 591567 w 654212"/>
                    <a:gd name="connsiteY1267" fmla="*/ 255196 h 605483"/>
                    <a:gd name="connsiteX1268" fmla="*/ 587099 w 654212"/>
                    <a:gd name="connsiteY1268" fmla="*/ 251832 h 605483"/>
                    <a:gd name="connsiteX1269" fmla="*/ 569710 w 654212"/>
                    <a:gd name="connsiteY1269" fmla="*/ 229259 h 605483"/>
                    <a:gd name="connsiteX1270" fmla="*/ 566820 w 654212"/>
                    <a:gd name="connsiteY1270" fmla="*/ 223369 h 605483"/>
                    <a:gd name="connsiteX1271" fmla="*/ 566565 w 654212"/>
                    <a:gd name="connsiteY1271" fmla="*/ 222847 h 605483"/>
                    <a:gd name="connsiteX1272" fmla="*/ 566201 w 654212"/>
                    <a:gd name="connsiteY1272" fmla="*/ 222374 h 605483"/>
                    <a:gd name="connsiteX1273" fmla="*/ 562060 w 654212"/>
                    <a:gd name="connsiteY1273" fmla="*/ 216921 h 605483"/>
                    <a:gd name="connsiteX1274" fmla="*/ 561234 w 654212"/>
                    <a:gd name="connsiteY1274" fmla="*/ 215841 h 605483"/>
                    <a:gd name="connsiteX1275" fmla="*/ 560020 w 654212"/>
                    <a:gd name="connsiteY1275" fmla="*/ 215209 h 605483"/>
                    <a:gd name="connsiteX1276" fmla="*/ 553317 w 654212"/>
                    <a:gd name="connsiteY1276" fmla="*/ 211736 h 605483"/>
                    <a:gd name="connsiteX1277" fmla="*/ 553463 w 654212"/>
                    <a:gd name="connsiteY1277" fmla="*/ 211154 h 605483"/>
                    <a:gd name="connsiteX1278" fmla="*/ 553621 w 654212"/>
                    <a:gd name="connsiteY1278" fmla="*/ 210559 h 605483"/>
                    <a:gd name="connsiteX1279" fmla="*/ 553657 w 654212"/>
                    <a:gd name="connsiteY1279" fmla="*/ 209939 h 605483"/>
                    <a:gd name="connsiteX1280" fmla="*/ 553888 w 654212"/>
                    <a:gd name="connsiteY1280" fmla="*/ 205434 h 605483"/>
                    <a:gd name="connsiteX1281" fmla="*/ 553924 w 654212"/>
                    <a:gd name="connsiteY1281" fmla="*/ 204572 h 605483"/>
                    <a:gd name="connsiteX1282" fmla="*/ 553730 w 654212"/>
                    <a:gd name="connsiteY1282" fmla="*/ 203734 h 605483"/>
                    <a:gd name="connsiteX1283" fmla="*/ 549249 w 654212"/>
                    <a:gd name="connsiteY1283" fmla="*/ 184670 h 605483"/>
                    <a:gd name="connsiteX1284" fmla="*/ 549067 w 654212"/>
                    <a:gd name="connsiteY1284" fmla="*/ 183917 h 605483"/>
                    <a:gd name="connsiteX1285" fmla="*/ 548727 w 654212"/>
                    <a:gd name="connsiteY1285" fmla="*/ 183273 h 605483"/>
                    <a:gd name="connsiteX1286" fmla="*/ 548751 w 654212"/>
                    <a:gd name="connsiteY1286" fmla="*/ 183116 h 605483"/>
                    <a:gd name="connsiteX1287" fmla="*/ 549249 w 654212"/>
                    <a:gd name="connsiteY1287" fmla="*/ 182642 h 605483"/>
                    <a:gd name="connsiteX1288" fmla="*/ 549844 w 654212"/>
                    <a:gd name="connsiteY1288" fmla="*/ 182071 h 605483"/>
                    <a:gd name="connsiteX1289" fmla="*/ 550269 w 654212"/>
                    <a:gd name="connsiteY1289" fmla="*/ 181355 h 605483"/>
                    <a:gd name="connsiteX1290" fmla="*/ 551022 w 654212"/>
                    <a:gd name="connsiteY1290" fmla="*/ 180092 h 605483"/>
                    <a:gd name="connsiteX1291" fmla="*/ 552382 w 654212"/>
                    <a:gd name="connsiteY1291" fmla="*/ 177809 h 605483"/>
                    <a:gd name="connsiteX1292" fmla="*/ 551617 w 654212"/>
                    <a:gd name="connsiteY1292" fmla="*/ 175247 h 605483"/>
                    <a:gd name="connsiteX1293" fmla="*/ 550986 w 654212"/>
                    <a:gd name="connsiteY1293" fmla="*/ 173146 h 605483"/>
                    <a:gd name="connsiteX1294" fmla="*/ 550694 w 654212"/>
                    <a:gd name="connsiteY1294" fmla="*/ 172187 h 605483"/>
                    <a:gd name="connsiteX1295" fmla="*/ 550111 w 654212"/>
                    <a:gd name="connsiteY1295" fmla="*/ 171373 h 605483"/>
                    <a:gd name="connsiteX1296" fmla="*/ 542984 w 654212"/>
                    <a:gd name="connsiteY1296" fmla="*/ 161368 h 605483"/>
                    <a:gd name="connsiteX1297" fmla="*/ 537908 w 654212"/>
                    <a:gd name="connsiteY1297" fmla="*/ 151095 h 605483"/>
                    <a:gd name="connsiteX1298" fmla="*/ 534933 w 654212"/>
                    <a:gd name="connsiteY1298" fmla="*/ 145084 h 605483"/>
                    <a:gd name="connsiteX1299" fmla="*/ 529238 w 654212"/>
                    <a:gd name="connsiteY1299" fmla="*/ 148642 h 605483"/>
                    <a:gd name="connsiteX1300" fmla="*/ 525097 w 654212"/>
                    <a:gd name="connsiteY1300" fmla="*/ 151228 h 605483"/>
                    <a:gd name="connsiteX1301" fmla="*/ 524417 w 654212"/>
                    <a:gd name="connsiteY1301" fmla="*/ 151653 h 605483"/>
                    <a:gd name="connsiteX1302" fmla="*/ 523883 w 654212"/>
                    <a:gd name="connsiteY1302" fmla="*/ 152236 h 605483"/>
                    <a:gd name="connsiteX1303" fmla="*/ 517969 w 654212"/>
                    <a:gd name="connsiteY1303" fmla="*/ 158562 h 605483"/>
                    <a:gd name="connsiteX1304" fmla="*/ 518139 w 654212"/>
                    <a:gd name="connsiteY1304" fmla="*/ 157773 h 605483"/>
                    <a:gd name="connsiteX1305" fmla="*/ 519232 w 654212"/>
                    <a:gd name="connsiteY1305" fmla="*/ 155709 h 605483"/>
                    <a:gd name="connsiteX1306" fmla="*/ 519475 w 654212"/>
                    <a:gd name="connsiteY1306" fmla="*/ 155248 h 605483"/>
                    <a:gd name="connsiteX1307" fmla="*/ 519633 w 654212"/>
                    <a:gd name="connsiteY1307" fmla="*/ 154750 h 605483"/>
                    <a:gd name="connsiteX1308" fmla="*/ 520495 w 654212"/>
                    <a:gd name="connsiteY1308" fmla="*/ 152115 h 605483"/>
                    <a:gd name="connsiteX1309" fmla="*/ 520616 w 654212"/>
                    <a:gd name="connsiteY1309" fmla="*/ 151750 h 605483"/>
                    <a:gd name="connsiteX1310" fmla="*/ 520689 w 654212"/>
                    <a:gd name="connsiteY1310" fmla="*/ 151374 h 605483"/>
                    <a:gd name="connsiteX1311" fmla="*/ 521770 w 654212"/>
                    <a:gd name="connsiteY1311" fmla="*/ 145740 h 605483"/>
                    <a:gd name="connsiteX1312" fmla="*/ 522729 w 654212"/>
                    <a:gd name="connsiteY1312" fmla="*/ 143639 h 605483"/>
                    <a:gd name="connsiteX1313" fmla="*/ 522996 w 654212"/>
                    <a:gd name="connsiteY1313" fmla="*/ 143153 h 605483"/>
                    <a:gd name="connsiteX1314" fmla="*/ 523822 w 654212"/>
                    <a:gd name="connsiteY1314" fmla="*/ 142279 h 605483"/>
                    <a:gd name="connsiteX1315" fmla="*/ 527052 w 654212"/>
                    <a:gd name="connsiteY1315" fmla="*/ 139911 h 605483"/>
                    <a:gd name="connsiteX1316" fmla="*/ 531375 w 654212"/>
                    <a:gd name="connsiteY1316" fmla="*/ 137373 h 605483"/>
                    <a:gd name="connsiteX1317" fmla="*/ 531909 w 654212"/>
                    <a:gd name="connsiteY1317" fmla="*/ 137057 h 605483"/>
                    <a:gd name="connsiteX1318" fmla="*/ 532371 w 654212"/>
                    <a:gd name="connsiteY1318" fmla="*/ 136632 h 605483"/>
                    <a:gd name="connsiteX1319" fmla="*/ 534229 w 654212"/>
                    <a:gd name="connsiteY1319" fmla="*/ 134932 h 605483"/>
                    <a:gd name="connsiteX1320" fmla="*/ 534884 w 654212"/>
                    <a:gd name="connsiteY1320" fmla="*/ 134325 h 605483"/>
                    <a:gd name="connsiteX1321" fmla="*/ 535346 w 654212"/>
                    <a:gd name="connsiteY1321" fmla="*/ 133572 h 605483"/>
                    <a:gd name="connsiteX1322" fmla="*/ 536475 w 654212"/>
                    <a:gd name="connsiteY1322" fmla="*/ 131678 h 605483"/>
                    <a:gd name="connsiteX1323" fmla="*/ 536827 w 654212"/>
                    <a:gd name="connsiteY1323" fmla="*/ 131095 h 605483"/>
                    <a:gd name="connsiteX1324" fmla="*/ 537046 w 654212"/>
                    <a:gd name="connsiteY1324" fmla="*/ 130452 h 605483"/>
                    <a:gd name="connsiteX1325" fmla="*/ 537629 w 654212"/>
                    <a:gd name="connsiteY1325" fmla="*/ 128667 h 605483"/>
                    <a:gd name="connsiteX1326" fmla="*/ 538345 w 654212"/>
                    <a:gd name="connsiteY1326" fmla="*/ 125716 h 605483"/>
                    <a:gd name="connsiteX1327" fmla="*/ 538430 w 654212"/>
                    <a:gd name="connsiteY1327" fmla="*/ 125352 h 605483"/>
                    <a:gd name="connsiteX1328" fmla="*/ 538466 w 654212"/>
                    <a:gd name="connsiteY1328" fmla="*/ 124987 h 605483"/>
                    <a:gd name="connsiteX1329" fmla="*/ 539159 w 654212"/>
                    <a:gd name="connsiteY1329" fmla="*/ 118673 h 605483"/>
                    <a:gd name="connsiteX1330" fmla="*/ 539207 w 654212"/>
                    <a:gd name="connsiteY1330" fmla="*/ 118163 h 605483"/>
                    <a:gd name="connsiteX1331" fmla="*/ 539183 w 654212"/>
                    <a:gd name="connsiteY1331" fmla="*/ 117653 h 605483"/>
                    <a:gd name="connsiteX1332" fmla="*/ 539001 w 654212"/>
                    <a:gd name="connsiteY1332" fmla="*/ 114520 h 605483"/>
                    <a:gd name="connsiteX1333" fmla="*/ 538491 w 654212"/>
                    <a:gd name="connsiteY1333" fmla="*/ 110889 h 605483"/>
                    <a:gd name="connsiteX1334" fmla="*/ 538442 w 654212"/>
                    <a:gd name="connsiteY1334" fmla="*/ 110525 h 605483"/>
                    <a:gd name="connsiteX1335" fmla="*/ 538345 w 654212"/>
                    <a:gd name="connsiteY1335" fmla="*/ 110173 h 605483"/>
                    <a:gd name="connsiteX1336" fmla="*/ 536912 w 654212"/>
                    <a:gd name="connsiteY1336" fmla="*/ 105000 h 605483"/>
                    <a:gd name="connsiteX1337" fmla="*/ 536159 w 654212"/>
                    <a:gd name="connsiteY1337" fmla="*/ 102972 h 605483"/>
                    <a:gd name="connsiteX1338" fmla="*/ 535807 w 654212"/>
                    <a:gd name="connsiteY1338" fmla="*/ 102049 h 605483"/>
                    <a:gd name="connsiteX1339" fmla="*/ 535188 w 654212"/>
                    <a:gd name="connsiteY1339" fmla="*/ 101296 h 605483"/>
                    <a:gd name="connsiteX1340" fmla="*/ 534484 w 654212"/>
                    <a:gd name="connsiteY1340" fmla="*/ 100434 h 605483"/>
                    <a:gd name="connsiteX1341" fmla="*/ 533573 w 654212"/>
                    <a:gd name="connsiteY1341" fmla="*/ 99329 h 605483"/>
                    <a:gd name="connsiteX1342" fmla="*/ 532261 w 654212"/>
                    <a:gd name="connsiteY1342" fmla="*/ 98734 h 605483"/>
                    <a:gd name="connsiteX1343" fmla="*/ 531132 w 654212"/>
                    <a:gd name="connsiteY1343" fmla="*/ 98224 h 605483"/>
                    <a:gd name="connsiteX1344" fmla="*/ 530379 w 654212"/>
                    <a:gd name="connsiteY1344" fmla="*/ 97884 h 605483"/>
                    <a:gd name="connsiteX1345" fmla="*/ 529554 w 654212"/>
                    <a:gd name="connsiteY1345" fmla="*/ 97763 h 605483"/>
                    <a:gd name="connsiteX1346" fmla="*/ 528169 w 654212"/>
                    <a:gd name="connsiteY1346" fmla="*/ 97556 h 605483"/>
                    <a:gd name="connsiteX1347" fmla="*/ 527574 w 654212"/>
                    <a:gd name="connsiteY1347" fmla="*/ 97471 h 605483"/>
                    <a:gd name="connsiteX1348" fmla="*/ 526967 w 654212"/>
                    <a:gd name="connsiteY1348" fmla="*/ 97496 h 605483"/>
                    <a:gd name="connsiteX1349" fmla="*/ 523336 w 654212"/>
                    <a:gd name="connsiteY1349" fmla="*/ 97678 h 605483"/>
                    <a:gd name="connsiteX1350" fmla="*/ 521187 w 654212"/>
                    <a:gd name="connsiteY1350" fmla="*/ 97969 h 605483"/>
                    <a:gd name="connsiteX1351" fmla="*/ 520750 w 654212"/>
                    <a:gd name="connsiteY1351" fmla="*/ 98030 h 605483"/>
                    <a:gd name="connsiteX1352" fmla="*/ 520337 w 654212"/>
                    <a:gd name="connsiteY1352" fmla="*/ 98151 h 605483"/>
                    <a:gd name="connsiteX1353" fmla="*/ 518892 w 654212"/>
                    <a:gd name="connsiteY1353" fmla="*/ 98576 h 605483"/>
                    <a:gd name="connsiteX1354" fmla="*/ 516257 w 654212"/>
                    <a:gd name="connsiteY1354" fmla="*/ 99354 h 605483"/>
                    <a:gd name="connsiteX1355" fmla="*/ 515103 w 654212"/>
                    <a:gd name="connsiteY1355" fmla="*/ 101855 h 605483"/>
                    <a:gd name="connsiteX1356" fmla="*/ 514715 w 654212"/>
                    <a:gd name="connsiteY1356" fmla="*/ 102717 h 605483"/>
                    <a:gd name="connsiteX1357" fmla="*/ 513998 w 654212"/>
                    <a:gd name="connsiteY1357" fmla="*/ 104259 h 605483"/>
                    <a:gd name="connsiteX1358" fmla="*/ 514193 w 654212"/>
                    <a:gd name="connsiteY1358" fmla="*/ 105947 h 605483"/>
                    <a:gd name="connsiteX1359" fmla="*/ 514278 w 654212"/>
                    <a:gd name="connsiteY1359" fmla="*/ 106712 h 605483"/>
                    <a:gd name="connsiteX1360" fmla="*/ 511473 w 654212"/>
                    <a:gd name="connsiteY1360" fmla="*/ 107684 h 605483"/>
                    <a:gd name="connsiteX1361" fmla="*/ 510866 w 654212"/>
                    <a:gd name="connsiteY1361" fmla="*/ 107890 h 605483"/>
                    <a:gd name="connsiteX1362" fmla="*/ 510319 w 654212"/>
                    <a:gd name="connsiteY1362" fmla="*/ 108218 h 605483"/>
                    <a:gd name="connsiteX1363" fmla="*/ 508315 w 654212"/>
                    <a:gd name="connsiteY1363" fmla="*/ 109420 h 605483"/>
                    <a:gd name="connsiteX1364" fmla="*/ 507271 w 654212"/>
                    <a:gd name="connsiteY1364" fmla="*/ 110051 h 605483"/>
                    <a:gd name="connsiteX1365" fmla="*/ 506555 w 654212"/>
                    <a:gd name="connsiteY1365" fmla="*/ 111035 h 605483"/>
                    <a:gd name="connsiteX1366" fmla="*/ 504636 w 654212"/>
                    <a:gd name="connsiteY1366" fmla="*/ 113634 h 605483"/>
                    <a:gd name="connsiteX1367" fmla="*/ 503555 w 654212"/>
                    <a:gd name="connsiteY1367" fmla="*/ 113840 h 605483"/>
                    <a:gd name="connsiteX1368" fmla="*/ 500714 w 654212"/>
                    <a:gd name="connsiteY1368" fmla="*/ 113536 h 605483"/>
                    <a:gd name="connsiteX1369" fmla="*/ 500374 w 654212"/>
                    <a:gd name="connsiteY1369" fmla="*/ 113500 h 605483"/>
                    <a:gd name="connsiteX1370" fmla="*/ 500034 w 654212"/>
                    <a:gd name="connsiteY1370" fmla="*/ 113500 h 605483"/>
                    <a:gd name="connsiteX1371" fmla="*/ 496938 w 654212"/>
                    <a:gd name="connsiteY1371" fmla="*/ 113524 h 605483"/>
                    <a:gd name="connsiteX1372" fmla="*/ 496160 w 654212"/>
                    <a:gd name="connsiteY1372" fmla="*/ 113524 h 605483"/>
                    <a:gd name="connsiteX1373" fmla="*/ 495408 w 654212"/>
                    <a:gd name="connsiteY1373" fmla="*/ 113731 h 605483"/>
                    <a:gd name="connsiteX1374" fmla="*/ 492991 w 654212"/>
                    <a:gd name="connsiteY1374" fmla="*/ 114386 h 605483"/>
                    <a:gd name="connsiteX1375" fmla="*/ 491983 w 654212"/>
                    <a:gd name="connsiteY1375" fmla="*/ 114654 h 605483"/>
                    <a:gd name="connsiteX1376" fmla="*/ 491133 w 654212"/>
                    <a:gd name="connsiteY1376" fmla="*/ 115236 h 605483"/>
                    <a:gd name="connsiteX1377" fmla="*/ 487830 w 654212"/>
                    <a:gd name="connsiteY1377" fmla="*/ 117507 h 605483"/>
                    <a:gd name="connsiteX1378" fmla="*/ 485050 w 654212"/>
                    <a:gd name="connsiteY1378" fmla="*/ 117847 h 605483"/>
                    <a:gd name="connsiteX1379" fmla="*/ 484685 w 654212"/>
                    <a:gd name="connsiteY1379" fmla="*/ 117884 h 605483"/>
                    <a:gd name="connsiteX1380" fmla="*/ 484321 w 654212"/>
                    <a:gd name="connsiteY1380" fmla="*/ 117969 h 605483"/>
                    <a:gd name="connsiteX1381" fmla="*/ 481115 w 654212"/>
                    <a:gd name="connsiteY1381" fmla="*/ 118770 h 605483"/>
                    <a:gd name="connsiteX1382" fmla="*/ 480192 w 654212"/>
                    <a:gd name="connsiteY1382" fmla="*/ 119001 h 605483"/>
                    <a:gd name="connsiteX1383" fmla="*/ 479391 w 654212"/>
                    <a:gd name="connsiteY1383" fmla="*/ 119499 h 605483"/>
                    <a:gd name="connsiteX1384" fmla="*/ 477448 w 654212"/>
                    <a:gd name="connsiteY1384" fmla="*/ 120701 h 605483"/>
                    <a:gd name="connsiteX1385" fmla="*/ 476222 w 654212"/>
                    <a:gd name="connsiteY1385" fmla="*/ 121454 h 605483"/>
                    <a:gd name="connsiteX1386" fmla="*/ 475469 w 654212"/>
                    <a:gd name="connsiteY1386" fmla="*/ 122680 h 605483"/>
                    <a:gd name="connsiteX1387" fmla="*/ 474947 w 654212"/>
                    <a:gd name="connsiteY1387" fmla="*/ 123542 h 605483"/>
                    <a:gd name="connsiteX1388" fmla="*/ 474194 w 654212"/>
                    <a:gd name="connsiteY1388" fmla="*/ 123907 h 605483"/>
                    <a:gd name="connsiteX1389" fmla="*/ 473684 w 654212"/>
                    <a:gd name="connsiteY1389" fmla="*/ 124162 h 605483"/>
                    <a:gd name="connsiteX1390" fmla="*/ 473222 w 654212"/>
                    <a:gd name="connsiteY1390" fmla="*/ 124502 h 605483"/>
                    <a:gd name="connsiteX1391" fmla="*/ 471911 w 654212"/>
                    <a:gd name="connsiteY1391" fmla="*/ 125473 h 605483"/>
                    <a:gd name="connsiteX1392" fmla="*/ 471000 w 654212"/>
                    <a:gd name="connsiteY1392" fmla="*/ 126141 h 605483"/>
                    <a:gd name="connsiteX1393" fmla="*/ 470393 w 654212"/>
                    <a:gd name="connsiteY1393" fmla="*/ 127100 h 605483"/>
                    <a:gd name="connsiteX1394" fmla="*/ 469252 w 654212"/>
                    <a:gd name="connsiteY1394" fmla="*/ 128897 h 605483"/>
                    <a:gd name="connsiteX1395" fmla="*/ 468256 w 654212"/>
                    <a:gd name="connsiteY1395" fmla="*/ 130112 h 605483"/>
                    <a:gd name="connsiteX1396" fmla="*/ 467685 w 654212"/>
                    <a:gd name="connsiteY1396" fmla="*/ 130391 h 605483"/>
                    <a:gd name="connsiteX1397" fmla="*/ 464917 w 654212"/>
                    <a:gd name="connsiteY1397" fmla="*/ 130488 h 605483"/>
                    <a:gd name="connsiteX1398" fmla="*/ 464552 w 654212"/>
                    <a:gd name="connsiteY1398" fmla="*/ 129662 h 605483"/>
                    <a:gd name="connsiteX1399" fmla="*/ 463727 w 654212"/>
                    <a:gd name="connsiteY1399" fmla="*/ 127003 h 605483"/>
                    <a:gd name="connsiteX1400" fmla="*/ 463459 w 654212"/>
                    <a:gd name="connsiteY1400" fmla="*/ 126129 h 605483"/>
                    <a:gd name="connsiteX1401" fmla="*/ 462950 w 654212"/>
                    <a:gd name="connsiteY1401" fmla="*/ 125376 h 605483"/>
                    <a:gd name="connsiteX1402" fmla="*/ 461177 w 654212"/>
                    <a:gd name="connsiteY1402" fmla="*/ 122777 h 605483"/>
                    <a:gd name="connsiteX1403" fmla="*/ 460873 w 654212"/>
                    <a:gd name="connsiteY1403" fmla="*/ 122328 h 605483"/>
                    <a:gd name="connsiteX1404" fmla="*/ 460497 w 654212"/>
                    <a:gd name="connsiteY1404" fmla="*/ 121939 h 605483"/>
                    <a:gd name="connsiteX1405" fmla="*/ 456150 w 654212"/>
                    <a:gd name="connsiteY1405" fmla="*/ 117519 h 605483"/>
                    <a:gd name="connsiteX1406" fmla="*/ 454923 w 654212"/>
                    <a:gd name="connsiteY1406" fmla="*/ 115929 h 605483"/>
                    <a:gd name="connsiteX1407" fmla="*/ 454352 w 654212"/>
                    <a:gd name="connsiteY1407" fmla="*/ 114399 h 605483"/>
                    <a:gd name="connsiteX1408" fmla="*/ 453782 w 654212"/>
                    <a:gd name="connsiteY1408" fmla="*/ 104514 h 605483"/>
                    <a:gd name="connsiteX1409" fmla="*/ 453721 w 654212"/>
                    <a:gd name="connsiteY1409" fmla="*/ 103446 h 605483"/>
                    <a:gd name="connsiteX1410" fmla="*/ 453296 w 654212"/>
                    <a:gd name="connsiteY1410" fmla="*/ 102450 h 605483"/>
                    <a:gd name="connsiteX1411" fmla="*/ 452142 w 654212"/>
                    <a:gd name="connsiteY1411" fmla="*/ 99791 h 605483"/>
                    <a:gd name="connsiteX1412" fmla="*/ 451887 w 654212"/>
                    <a:gd name="connsiteY1412" fmla="*/ 99220 h 605483"/>
                    <a:gd name="connsiteX1413" fmla="*/ 451523 w 654212"/>
                    <a:gd name="connsiteY1413" fmla="*/ 98710 h 605483"/>
                    <a:gd name="connsiteX1414" fmla="*/ 449228 w 654212"/>
                    <a:gd name="connsiteY1414" fmla="*/ 95456 h 605483"/>
                    <a:gd name="connsiteX1415" fmla="*/ 448730 w 654212"/>
                    <a:gd name="connsiteY1415" fmla="*/ 94763 h 605483"/>
                    <a:gd name="connsiteX1416" fmla="*/ 448074 w 654212"/>
                    <a:gd name="connsiteY1416" fmla="*/ 94229 h 605483"/>
                    <a:gd name="connsiteX1417" fmla="*/ 446022 w 654212"/>
                    <a:gd name="connsiteY1417" fmla="*/ 92578 h 605483"/>
                    <a:gd name="connsiteX1418" fmla="*/ 439914 w 654212"/>
                    <a:gd name="connsiteY1418" fmla="*/ 79233 h 605483"/>
                    <a:gd name="connsiteX1419" fmla="*/ 439587 w 654212"/>
                    <a:gd name="connsiteY1419" fmla="*/ 78528 h 605483"/>
                    <a:gd name="connsiteX1420" fmla="*/ 439089 w 654212"/>
                    <a:gd name="connsiteY1420" fmla="*/ 77921 h 605483"/>
                    <a:gd name="connsiteX1421" fmla="*/ 432714 w 654212"/>
                    <a:gd name="connsiteY1421" fmla="*/ 70113 h 605483"/>
                    <a:gd name="connsiteX1422" fmla="*/ 432519 w 654212"/>
                    <a:gd name="connsiteY1422" fmla="*/ 69870 h 605483"/>
                    <a:gd name="connsiteX1423" fmla="*/ 432301 w 654212"/>
                    <a:gd name="connsiteY1423" fmla="*/ 69652 h 605483"/>
                    <a:gd name="connsiteX1424" fmla="*/ 421324 w 654212"/>
                    <a:gd name="connsiteY1424" fmla="*/ 58711 h 605483"/>
                    <a:gd name="connsiteX1425" fmla="*/ 417644 w 654212"/>
                    <a:gd name="connsiteY1425" fmla="*/ 54376 h 605483"/>
                    <a:gd name="connsiteX1426" fmla="*/ 416126 w 654212"/>
                    <a:gd name="connsiteY1426" fmla="*/ 51790 h 605483"/>
                    <a:gd name="connsiteX1427" fmla="*/ 415786 w 654212"/>
                    <a:gd name="connsiteY1427" fmla="*/ 51219 h 605483"/>
                    <a:gd name="connsiteX1428" fmla="*/ 415325 w 654212"/>
                    <a:gd name="connsiteY1428" fmla="*/ 50721 h 605483"/>
                    <a:gd name="connsiteX1429" fmla="*/ 413151 w 654212"/>
                    <a:gd name="connsiteY1429" fmla="*/ 48390 h 605483"/>
                    <a:gd name="connsiteX1430" fmla="*/ 411913 w 654212"/>
                    <a:gd name="connsiteY1430" fmla="*/ 47066 h 605483"/>
                    <a:gd name="connsiteX1431" fmla="*/ 410152 w 654212"/>
                    <a:gd name="connsiteY1431" fmla="*/ 46629 h 605483"/>
                    <a:gd name="connsiteX1432" fmla="*/ 408549 w 654212"/>
                    <a:gd name="connsiteY1432" fmla="*/ 46240 h 605483"/>
                    <a:gd name="connsiteX1433" fmla="*/ 407420 w 654212"/>
                    <a:gd name="connsiteY1433" fmla="*/ 45973 h 605483"/>
                    <a:gd name="connsiteX1434" fmla="*/ 406266 w 654212"/>
                    <a:gd name="connsiteY1434" fmla="*/ 46131 h 605483"/>
                    <a:gd name="connsiteX1435" fmla="*/ 404530 w 654212"/>
                    <a:gd name="connsiteY1435" fmla="*/ 46374 h 605483"/>
                    <a:gd name="connsiteX1436" fmla="*/ 403170 w 654212"/>
                    <a:gd name="connsiteY1436" fmla="*/ 46568 h 605483"/>
                    <a:gd name="connsiteX1437" fmla="*/ 402028 w 654212"/>
                    <a:gd name="connsiteY1437" fmla="*/ 47321 h 605483"/>
                    <a:gd name="connsiteX1438" fmla="*/ 400778 w 654212"/>
                    <a:gd name="connsiteY1438" fmla="*/ 48147 h 605483"/>
                    <a:gd name="connsiteX1439" fmla="*/ 397657 w 654212"/>
                    <a:gd name="connsiteY1439" fmla="*/ 49555 h 605483"/>
                    <a:gd name="connsiteX1440" fmla="*/ 397390 w 654212"/>
                    <a:gd name="connsiteY1440" fmla="*/ 49677 h 605483"/>
                    <a:gd name="connsiteX1441" fmla="*/ 396783 w 654212"/>
                    <a:gd name="connsiteY1441" fmla="*/ 50029 h 605483"/>
                    <a:gd name="connsiteX1442" fmla="*/ 395993 w 654212"/>
                    <a:gd name="connsiteY1442" fmla="*/ 50490 h 605483"/>
                    <a:gd name="connsiteX1443" fmla="*/ 395374 w 654212"/>
                    <a:gd name="connsiteY1443" fmla="*/ 51158 h 605483"/>
                    <a:gd name="connsiteX1444" fmla="*/ 393115 w 654212"/>
                    <a:gd name="connsiteY1444" fmla="*/ 53599 h 605483"/>
                    <a:gd name="connsiteX1445" fmla="*/ 392278 w 654212"/>
                    <a:gd name="connsiteY1445" fmla="*/ 54279 h 605483"/>
                    <a:gd name="connsiteX1446" fmla="*/ 391780 w 654212"/>
                    <a:gd name="connsiteY1446" fmla="*/ 54570 h 605483"/>
                    <a:gd name="connsiteX1447" fmla="*/ 389096 w 654212"/>
                    <a:gd name="connsiteY1447" fmla="*/ 55299 h 605483"/>
                    <a:gd name="connsiteX1448" fmla="*/ 386813 w 654212"/>
                    <a:gd name="connsiteY1448" fmla="*/ 56125 h 605483"/>
                    <a:gd name="connsiteX1449" fmla="*/ 385927 w 654212"/>
                    <a:gd name="connsiteY1449" fmla="*/ 56465 h 605483"/>
                    <a:gd name="connsiteX1450" fmla="*/ 385174 w 654212"/>
                    <a:gd name="connsiteY1450" fmla="*/ 57060 h 605483"/>
                    <a:gd name="connsiteX1451" fmla="*/ 383632 w 654212"/>
                    <a:gd name="connsiteY1451" fmla="*/ 58286 h 605483"/>
                    <a:gd name="connsiteX1452" fmla="*/ 383377 w 654212"/>
                    <a:gd name="connsiteY1452" fmla="*/ 58493 h 605483"/>
                    <a:gd name="connsiteX1453" fmla="*/ 383146 w 654212"/>
                    <a:gd name="connsiteY1453" fmla="*/ 58723 h 605483"/>
                    <a:gd name="connsiteX1454" fmla="*/ 378532 w 654212"/>
                    <a:gd name="connsiteY1454" fmla="*/ 63277 h 605483"/>
                    <a:gd name="connsiteX1455" fmla="*/ 376601 w 654212"/>
                    <a:gd name="connsiteY1455" fmla="*/ 64685 h 605483"/>
                    <a:gd name="connsiteX1456" fmla="*/ 374768 w 654212"/>
                    <a:gd name="connsiteY1456" fmla="*/ 65669 h 605483"/>
                    <a:gd name="connsiteX1457" fmla="*/ 372764 w 654212"/>
                    <a:gd name="connsiteY1457" fmla="*/ 66458 h 605483"/>
                    <a:gd name="connsiteX1458" fmla="*/ 365405 w 654212"/>
                    <a:gd name="connsiteY1458" fmla="*/ 68255 h 605483"/>
                    <a:gd name="connsiteX1459" fmla="*/ 364871 w 654212"/>
                    <a:gd name="connsiteY1459" fmla="*/ 68389 h 605483"/>
                    <a:gd name="connsiteX1460" fmla="*/ 364373 w 654212"/>
                    <a:gd name="connsiteY1460" fmla="*/ 68608 h 605483"/>
                    <a:gd name="connsiteX1461" fmla="*/ 361155 w 654212"/>
                    <a:gd name="connsiteY1461" fmla="*/ 70053 h 605483"/>
                    <a:gd name="connsiteX1462" fmla="*/ 355776 w 654212"/>
                    <a:gd name="connsiteY1462" fmla="*/ 71243 h 605483"/>
                    <a:gd name="connsiteX1463" fmla="*/ 346778 w 654212"/>
                    <a:gd name="connsiteY1463" fmla="*/ 72153 h 605483"/>
                    <a:gd name="connsiteX1464" fmla="*/ 345600 w 654212"/>
                    <a:gd name="connsiteY1464" fmla="*/ 72275 h 605483"/>
                    <a:gd name="connsiteX1465" fmla="*/ 344568 w 654212"/>
                    <a:gd name="connsiteY1465" fmla="*/ 72821 h 605483"/>
                    <a:gd name="connsiteX1466" fmla="*/ 343499 w 654212"/>
                    <a:gd name="connsiteY1466" fmla="*/ 73198 h 605483"/>
                    <a:gd name="connsiteX1467" fmla="*/ 342686 w 654212"/>
                    <a:gd name="connsiteY1467" fmla="*/ 73623 h 605483"/>
                    <a:gd name="connsiteX1468" fmla="*/ 342030 w 654212"/>
                    <a:gd name="connsiteY1468" fmla="*/ 74278 h 605483"/>
                    <a:gd name="connsiteX1469" fmla="*/ 341277 w 654212"/>
                    <a:gd name="connsiteY1469" fmla="*/ 75031 h 605483"/>
                    <a:gd name="connsiteX1470" fmla="*/ 340658 w 654212"/>
                    <a:gd name="connsiteY1470" fmla="*/ 75651 h 605483"/>
                    <a:gd name="connsiteX1471" fmla="*/ 340245 w 654212"/>
                    <a:gd name="connsiteY1471" fmla="*/ 76403 h 605483"/>
                    <a:gd name="connsiteX1472" fmla="*/ 340027 w 654212"/>
                    <a:gd name="connsiteY1472" fmla="*/ 76792 h 605483"/>
                    <a:gd name="connsiteX1473" fmla="*/ 339650 w 654212"/>
                    <a:gd name="connsiteY1473" fmla="*/ 76792 h 605483"/>
                    <a:gd name="connsiteX1474" fmla="*/ 316372 w 654212"/>
                    <a:gd name="connsiteY1474" fmla="*/ 69773 h 605483"/>
                    <a:gd name="connsiteX1475" fmla="*/ 301279 w 654212"/>
                    <a:gd name="connsiteY1475" fmla="*/ 64807 h 605483"/>
                    <a:gd name="connsiteX1476" fmla="*/ 293179 w 654212"/>
                    <a:gd name="connsiteY1476" fmla="*/ 60338 h 605483"/>
                    <a:gd name="connsiteX1477" fmla="*/ 276883 w 654212"/>
                    <a:gd name="connsiteY1477" fmla="*/ 48620 h 605483"/>
                    <a:gd name="connsiteX1478" fmla="*/ 276397 w 654212"/>
                    <a:gd name="connsiteY1478" fmla="*/ 48268 h 605483"/>
                    <a:gd name="connsiteX1479" fmla="*/ 275851 w 654212"/>
                    <a:gd name="connsiteY1479" fmla="*/ 48013 h 605483"/>
                    <a:gd name="connsiteX1480" fmla="*/ 268019 w 654212"/>
                    <a:gd name="connsiteY1480" fmla="*/ 44455 h 605483"/>
                    <a:gd name="connsiteX1481" fmla="*/ 265967 w 654212"/>
                    <a:gd name="connsiteY1481" fmla="*/ 43144 h 605483"/>
                    <a:gd name="connsiteX1482" fmla="*/ 264279 w 654212"/>
                    <a:gd name="connsiteY1482" fmla="*/ 41420 h 605483"/>
                    <a:gd name="connsiteX1483" fmla="*/ 259895 w 654212"/>
                    <a:gd name="connsiteY1483" fmla="*/ 35858 h 605483"/>
                    <a:gd name="connsiteX1484" fmla="*/ 259507 w 654212"/>
                    <a:gd name="connsiteY1484" fmla="*/ 35360 h 605483"/>
                    <a:gd name="connsiteX1485" fmla="*/ 259033 w 654212"/>
                    <a:gd name="connsiteY1485" fmla="*/ 34959 h 605483"/>
                    <a:gd name="connsiteX1486" fmla="*/ 248809 w 654212"/>
                    <a:gd name="connsiteY1486" fmla="*/ 26338 h 605483"/>
                    <a:gd name="connsiteX1487" fmla="*/ 248481 w 654212"/>
                    <a:gd name="connsiteY1487" fmla="*/ 26071 h 605483"/>
                    <a:gd name="connsiteX1488" fmla="*/ 248117 w 654212"/>
                    <a:gd name="connsiteY1488" fmla="*/ 25840 h 605483"/>
                    <a:gd name="connsiteX1489" fmla="*/ 245300 w 654212"/>
                    <a:gd name="connsiteY1489" fmla="*/ 24067 h 605483"/>
                    <a:gd name="connsiteX1490" fmla="*/ 234529 w 654212"/>
                    <a:gd name="connsiteY1490" fmla="*/ 11888 h 605483"/>
                    <a:gd name="connsiteX1491" fmla="*/ 233909 w 654212"/>
                    <a:gd name="connsiteY1491" fmla="*/ 11184 h 605483"/>
                    <a:gd name="connsiteX1492" fmla="*/ 233108 w 654212"/>
                    <a:gd name="connsiteY1492" fmla="*/ 10698 h 605483"/>
                    <a:gd name="connsiteX1493" fmla="*/ 230400 w 654212"/>
                    <a:gd name="connsiteY1493" fmla="*/ 9071 h 605483"/>
                    <a:gd name="connsiteX1494" fmla="*/ 229550 w 654212"/>
                    <a:gd name="connsiteY1494" fmla="*/ 8561 h 605483"/>
                    <a:gd name="connsiteX1495" fmla="*/ 228591 w 654212"/>
                    <a:gd name="connsiteY1495" fmla="*/ 8342 h 605483"/>
                    <a:gd name="connsiteX1496" fmla="*/ 225834 w 654212"/>
                    <a:gd name="connsiteY1496" fmla="*/ 7735 h 605483"/>
                    <a:gd name="connsiteX1497" fmla="*/ 224948 w 654212"/>
                    <a:gd name="connsiteY1497" fmla="*/ 7541 h 605483"/>
                    <a:gd name="connsiteX1498" fmla="*/ 224037 w 654212"/>
                    <a:gd name="connsiteY1498" fmla="*/ 7614 h 605483"/>
                    <a:gd name="connsiteX1499" fmla="*/ 204038 w 654212"/>
                    <a:gd name="connsiteY1499" fmla="*/ 9217 h 605483"/>
                    <a:gd name="connsiteX1500" fmla="*/ 203601 w 654212"/>
                    <a:gd name="connsiteY1500" fmla="*/ 9047 h 605483"/>
                    <a:gd name="connsiteX1501" fmla="*/ 194275 w 654212"/>
                    <a:gd name="connsiteY1501" fmla="*/ 1749 h 605483"/>
                    <a:gd name="connsiteX1502" fmla="*/ 192903 w 654212"/>
                    <a:gd name="connsiteY1502" fmla="*/ 668 h 605483"/>
                    <a:gd name="connsiteX1503" fmla="*/ 191166 w 654212"/>
                    <a:gd name="connsiteY1503" fmla="*/ 486 h 605483"/>
                    <a:gd name="connsiteX1504" fmla="*/ 188179 w 654212"/>
                    <a:gd name="connsiteY1504" fmla="*/ 170 h 605483"/>
                    <a:gd name="connsiteX1505" fmla="*/ 186212 w 654212"/>
                    <a:gd name="connsiteY1505" fmla="*/ 0 h 605483"/>
                    <a:gd name="connsiteX1506" fmla="*/ 186212 w 654212"/>
                    <a:gd name="connsiteY1506" fmla="*/ 0 h 60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Lst>
                  <a:rect l="l" t="t" r="r" b="b"/>
                  <a:pathLst>
                    <a:path w="654212" h="605483">
                      <a:moveTo>
                        <a:pt x="187548" y="6241"/>
                      </a:moveTo>
                      <a:lnTo>
                        <a:pt x="190535" y="6557"/>
                      </a:lnTo>
                      <a:lnTo>
                        <a:pt x="200589" y="14426"/>
                      </a:lnTo>
                      <a:lnTo>
                        <a:pt x="203164" y="15397"/>
                      </a:lnTo>
                      <a:lnTo>
                        <a:pt x="224523" y="13685"/>
                      </a:lnTo>
                      <a:lnTo>
                        <a:pt x="227279" y="14292"/>
                      </a:lnTo>
                      <a:lnTo>
                        <a:pt x="229987" y="15919"/>
                      </a:lnTo>
                      <a:lnTo>
                        <a:pt x="241341" y="28754"/>
                      </a:lnTo>
                      <a:lnTo>
                        <a:pt x="244911" y="30989"/>
                      </a:lnTo>
                      <a:lnTo>
                        <a:pt x="255135" y="39610"/>
                      </a:lnTo>
                      <a:lnTo>
                        <a:pt x="259725" y="45439"/>
                      </a:lnTo>
                      <a:lnTo>
                        <a:pt x="262130" y="47880"/>
                      </a:lnTo>
                      <a:lnTo>
                        <a:pt x="265117" y="49798"/>
                      </a:lnTo>
                      <a:lnTo>
                        <a:pt x="273337" y="53538"/>
                      </a:lnTo>
                      <a:lnTo>
                        <a:pt x="289925" y="65475"/>
                      </a:lnTo>
                      <a:lnTo>
                        <a:pt x="298838" y="70393"/>
                      </a:lnTo>
                      <a:lnTo>
                        <a:pt x="314611" y="75578"/>
                      </a:lnTo>
                      <a:lnTo>
                        <a:pt x="338739" y="82851"/>
                      </a:lnTo>
                      <a:lnTo>
                        <a:pt x="342977" y="82876"/>
                      </a:lnTo>
                      <a:lnTo>
                        <a:pt x="344192" y="81819"/>
                      </a:lnTo>
                      <a:lnTo>
                        <a:pt x="345564" y="79318"/>
                      </a:lnTo>
                      <a:lnTo>
                        <a:pt x="346317" y="78565"/>
                      </a:lnTo>
                      <a:lnTo>
                        <a:pt x="347239" y="78079"/>
                      </a:lnTo>
                      <a:lnTo>
                        <a:pt x="356590" y="77132"/>
                      </a:lnTo>
                      <a:lnTo>
                        <a:pt x="362916" y="75723"/>
                      </a:lnTo>
                      <a:lnTo>
                        <a:pt x="366692" y="74035"/>
                      </a:lnTo>
                      <a:lnTo>
                        <a:pt x="374452" y="72129"/>
                      </a:lnTo>
                      <a:lnTo>
                        <a:pt x="377160" y="71073"/>
                      </a:lnTo>
                      <a:lnTo>
                        <a:pt x="379685" y="69725"/>
                      </a:lnTo>
                      <a:lnTo>
                        <a:pt x="382332" y="67794"/>
                      </a:lnTo>
                      <a:lnTo>
                        <a:pt x="387263" y="62913"/>
                      </a:lnTo>
                      <a:lnTo>
                        <a:pt x="388805" y="61686"/>
                      </a:lnTo>
                      <a:lnTo>
                        <a:pt x="390529" y="61030"/>
                      </a:lnTo>
                      <a:lnTo>
                        <a:pt x="394026" y="60083"/>
                      </a:lnTo>
                      <a:lnTo>
                        <a:pt x="395629" y="59124"/>
                      </a:lnTo>
                      <a:lnTo>
                        <a:pt x="397123" y="57898"/>
                      </a:lnTo>
                      <a:lnTo>
                        <a:pt x="399660" y="55165"/>
                      </a:lnTo>
                      <a:lnTo>
                        <a:pt x="400013" y="54959"/>
                      </a:lnTo>
                      <a:lnTo>
                        <a:pt x="403571" y="53356"/>
                      </a:lnTo>
                      <a:lnTo>
                        <a:pt x="405222" y="52263"/>
                      </a:lnTo>
                      <a:lnTo>
                        <a:pt x="406958" y="52020"/>
                      </a:lnTo>
                      <a:lnTo>
                        <a:pt x="408561" y="52409"/>
                      </a:lnTo>
                      <a:lnTo>
                        <a:pt x="410735" y="54740"/>
                      </a:lnTo>
                      <a:lnTo>
                        <a:pt x="412520" y="57776"/>
                      </a:lnTo>
                      <a:lnTo>
                        <a:pt x="416879" y="62888"/>
                      </a:lnTo>
                      <a:lnTo>
                        <a:pt x="427856" y="73829"/>
                      </a:lnTo>
                      <a:lnTo>
                        <a:pt x="434231" y="81637"/>
                      </a:lnTo>
                      <a:lnTo>
                        <a:pt x="440947" y="96281"/>
                      </a:lnTo>
                      <a:lnTo>
                        <a:pt x="444104" y="98831"/>
                      </a:lnTo>
                      <a:lnTo>
                        <a:pt x="446399" y="102086"/>
                      </a:lnTo>
                      <a:lnTo>
                        <a:pt x="447552" y="104745"/>
                      </a:lnTo>
                      <a:lnTo>
                        <a:pt x="448172" y="115540"/>
                      </a:lnTo>
                      <a:lnTo>
                        <a:pt x="449386" y="118794"/>
                      </a:lnTo>
                      <a:lnTo>
                        <a:pt x="451402" y="121405"/>
                      </a:lnTo>
                      <a:lnTo>
                        <a:pt x="455992" y="126080"/>
                      </a:lnTo>
                      <a:lnTo>
                        <a:pt x="457764" y="128679"/>
                      </a:lnTo>
                      <a:lnTo>
                        <a:pt x="458687" y="131654"/>
                      </a:lnTo>
                      <a:lnTo>
                        <a:pt x="459890" y="134434"/>
                      </a:lnTo>
                      <a:lnTo>
                        <a:pt x="462597" y="136535"/>
                      </a:lnTo>
                      <a:lnTo>
                        <a:pt x="469021" y="136304"/>
                      </a:lnTo>
                      <a:lnTo>
                        <a:pt x="471947" y="134872"/>
                      </a:lnTo>
                      <a:lnTo>
                        <a:pt x="474012" y="132346"/>
                      </a:lnTo>
                      <a:lnTo>
                        <a:pt x="475347" y="130245"/>
                      </a:lnTo>
                      <a:lnTo>
                        <a:pt x="476659" y="129274"/>
                      </a:lnTo>
                      <a:lnTo>
                        <a:pt x="478335" y="128460"/>
                      </a:lnTo>
                      <a:lnTo>
                        <a:pt x="479415" y="127464"/>
                      </a:lnTo>
                      <a:lnTo>
                        <a:pt x="480460" y="125764"/>
                      </a:lnTo>
                      <a:lnTo>
                        <a:pt x="482403" y="124562"/>
                      </a:lnTo>
                      <a:lnTo>
                        <a:pt x="485608" y="123761"/>
                      </a:lnTo>
                      <a:lnTo>
                        <a:pt x="489870" y="123239"/>
                      </a:lnTo>
                      <a:lnTo>
                        <a:pt x="494400" y="120130"/>
                      </a:lnTo>
                      <a:lnTo>
                        <a:pt x="496816" y="119474"/>
                      </a:lnTo>
                      <a:lnTo>
                        <a:pt x="499913" y="119450"/>
                      </a:lnTo>
                      <a:lnTo>
                        <a:pt x="503653" y="119851"/>
                      </a:lnTo>
                      <a:lnTo>
                        <a:pt x="506640" y="119280"/>
                      </a:lnTo>
                      <a:lnTo>
                        <a:pt x="508534" y="118248"/>
                      </a:lnTo>
                      <a:lnTo>
                        <a:pt x="511291" y="114508"/>
                      </a:lnTo>
                      <a:lnTo>
                        <a:pt x="513294" y="113306"/>
                      </a:lnTo>
                      <a:lnTo>
                        <a:pt x="518115" y="111642"/>
                      </a:lnTo>
                      <a:lnTo>
                        <a:pt x="519839" y="110404"/>
                      </a:lnTo>
                      <a:lnTo>
                        <a:pt x="520471" y="108691"/>
                      </a:lnTo>
                      <a:lnTo>
                        <a:pt x="520070" y="105158"/>
                      </a:lnTo>
                      <a:lnTo>
                        <a:pt x="520471" y="104296"/>
                      </a:lnTo>
                      <a:lnTo>
                        <a:pt x="521916" y="103871"/>
                      </a:lnTo>
                      <a:lnTo>
                        <a:pt x="523506" y="103640"/>
                      </a:lnTo>
                      <a:lnTo>
                        <a:pt x="527137" y="103458"/>
                      </a:lnTo>
                      <a:lnTo>
                        <a:pt x="528521" y="103664"/>
                      </a:lnTo>
                      <a:lnTo>
                        <a:pt x="529651" y="104174"/>
                      </a:lnTo>
                      <a:lnTo>
                        <a:pt x="530355" y="105036"/>
                      </a:lnTo>
                      <a:lnTo>
                        <a:pt x="530926" y="106530"/>
                      </a:lnTo>
                      <a:lnTo>
                        <a:pt x="532359" y="111703"/>
                      </a:lnTo>
                      <a:lnTo>
                        <a:pt x="532820" y="114799"/>
                      </a:lnTo>
                      <a:lnTo>
                        <a:pt x="533002" y="117932"/>
                      </a:lnTo>
                      <a:lnTo>
                        <a:pt x="532310" y="124247"/>
                      </a:lnTo>
                      <a:lnTo>
                        <a:pt x="531727" y="126712"/>
                      </a:lnTo>
                      <a:lnTo>
                        <a:pt x="531144" y="128497"/>
                      </a:lnTo>
                      <a:lnTo>
                        <a:pt x="530015" y="130391"/>
                      </a:lnTo>
                      <a:lnTo>
                        <a:pt x="528157" y="132091"/>
                      </a:lnTo>
                      <a:lnTo>
                        <a:pt x="523348" y="134957"/>
                      </a:lnTo>
                      <a:lnTo>
                        <a:pt x="519669" y="137652"/>
                      </a:lnTo>
                      <a:lnTo>
                        <a:pt x="517945" y="139486"/>
                      </a:lnTo>
                      <a:lnTo>
                        <a:pt x="517083" y="141077"/>
                      </a:lnTo>
                      <a:lnTo>
                        <a:pt x="515832" y="143833"/>
                      </a:lnTo>
                      <a:lnTo>
                        <a:pt x="514618" y="150172"/>
                      </a:lnTo>
                      <a:lnTo>
                        <a:pt x="513756" y="152807"/>
                      </a:lnTo>
                      <a:lnTo>
                        <a:pt x="512262" y="155636"/>
                      </a:lnTo>
                      <a:lnTo>
                        <a:pt x="511631" y="158696"/>
                      </a:lnTo>
                      <a:lnTo>
                        <a:pt x="512262" y="161428"/>
                      </a:lnTo>
                      <a:lnTo>
                        <a:pt x="513816" y="163602"/>
                      </a:lnTo>
                      <a:lnTo>
                        <a:pt x="515990" y="165156"/>
                      </a:lnTo>
                      <a:lnTo>
                        <a:pt x="517714" y="165702"/>
                      </a:lnTo>
                      <a:lnTo>
                        <a:pt x="519669" y="165472"/>
                      </a:lnTo>
                      <a:lnTo>
                        <a:pt x="528218" y="156316"/>
                      </a:lnTo>
                      <a:lnTo>
                        <a:pt x="532359" y="153730"/>
                      </a:lnTo>
                      <a:lnTo>
                        <a:pt x="537653" y="164440"/>
                      </a:lnTo>
                      <a:lnTo>
                        <a:pt x="545060" y="174834"/>
                      </a:lnTo>
                      <a:lnTo>
                        <a:pt x="545691" y="176935"/>
                      </a:lnTo>
                      <a:lnTo>
                        <a:pt x="544939" y="178198"/>
                      </a:lnTo>
                      <a:lnTo>
                        <a:pt x="543676" y="179400"/>
                      </a:lnTo>
                      <a:lnTo>
                        <a:pt x="542753" y="181233"/>
                      </a:lnTo>
                      <a:lnTo>
                        <a:pt x="542401" y="183832"/>
                      </a:lnTo>
                      <a:lnTo>
                        <a:pt x="542704" y="185034"/>
                      </a:lnTo>
                      <a:lnTo>
                        <a:pt x="543214" y="186006"/>
                      </a:lnTo>
                      <a:lnTo>
                        <a:pt x="547695" y="205070"/>
                      </a:lnTo>
                      <a:lnTo>
                        <a:pt x="547464" y="209575"/>
                      </a:lnTo>
                      <a:lnTo>
                        <a:pt x="546493" y="213339"/>
                      </a:lnTo>
                      <a:lnTo>
                        <a:pt x="546772" y="215926"/>
                      </a:lnTo>
                      <a:lnTo>
                        <a:pt x="548788" y="216557"/>
                      </a:lnTo>
                      <a:lnTo>
                        <a:pt x="548837" y="216581"/>
                      </a:lnTo>
                      <a:lnTo>
                        <a:pt x="550282" y="217006"/>
                      </a:lnTo>
                      <a:lnTo>
                        <a:pt x="557106" y="220540"/>
                      </a:lnTo>
                      <a:lnTo>
                        <a:pt x="561247" y="225992"/>
                      </a:lnTo>
                      <a:lnTo>
                        <a:pt x="564404" y="232428"/>
                      </a:lnTo>
                      <a:lnTo>
                        <a:pt x="582667" y="256143"/>
                      </a:lnTo>
                      <a:lnTo>
                        <a:pt x="588119" y="260247"/>
                      </a:lnTo>
                      <a:lnTo>
                        <a:pt x="596327" y="264837"/>
                      </a:lnTo>
                      <a:lnTo>
                        <a:pt x="598501" y="266902"/>
                      </a:lnTo>
                      <a:lnTo>
                        <a:pt x="600578" y="271188"/>
                      </a:lnTo>
                      <a:lnTo>
                        <a:pt x="600055" y="275098"/>
                      </a:lnTo>
                      <a:lnTo>
                        <a:pt x="595987" y="283902"/>
                      </a:lnTo>
                      <a:lnTo>
                        <a:pt x="594834" y="288043"/>
                      </a:lnTo>
                      <a:lnTo>
                        <a:pt x="593450" y="296822"/>
                      </a:lnTo>
                      <a:lnTo>
                        <a:pt x="592260" y="300793"/>
                      </a:lnTo>
                      <a:lnTo>
                        <a:pt x="587305" y="308030"/>
                      </a:lnTo>
                      <a:lnTo>
                        <a:pt x="586747" y="311418"/>
                      </a:lnTo>
                      <a:lnTo>
                        <a:pt x="591385" y="316384"/>
                      </a:lnTo>
                      <a:lnTo>
                        <a:pt x="591276" y="318181"/>
                      </a:lnTo>
                      <a:lnTo>
                        <a:pt x="590815" y="320173"/>
                      </a:lnTo>
                      <a:lnTo>
                        <a:pt x="590924" y="322213"/>
                      </a:lnTo>
                      <a:lnTo>
                        <a:pt x="591847" y="323755"/>
                      </a:lnTo>
                      <a:lnTo>
                        <a:pt x="594142" y="326451"/>
                      </a:lnTo>
                      <a:lnTo>
                        <a:pt x="595635" y="330069"/>
                      </a:lnTo>
                      <a:lnTo>
                        <a:pt x="596680" y="331587"/>
                      </a:lnTo>
                      <a:lnTo>
                        <a:pt x="598052" y="332692"/>
                      </a:lnTo>
                      <a:lnTo>
                        <a:pt x="599655" y="333117"/>
                      </a:lnTo>
                      <a:lnTo>
                        <a:pt x="603103" y="333008"/>
                      </a:lnTo>
                      <a:lnTo>
                        <a:pt x="610049" y="339808"/>
                      </a:lnTo>
                      <a:lnTo>
                        <a:pt x="614481" y="345284"/>
                      </a:lnTo>
                      <a:lnTo>
                        <a:pt x="613558" y="347847"/>
                      </a:lnTo>
                      <a:lnTo>
                        <a:pt x="610401" y="351198"/>
                      </a:lnTo>
                      <a:lnTo>
                        <a:pt x="592078" y="365466"/>
                      </a:lnTo>
                      <a:lnTo>
                        <a:pt x="591325" y="370020"/>
                      </a:lnTo>
                      <a:lnTo>
                        <a:pt x="598392" y="374233"/>
                      </a:lnTo>
                      <a:lnTo>
                        <a:pt x="603905" y="378908"/>
                      </a:lnTo>
                      <a:lnTo>
                        <a:pt x="603443" y="385769"/>
                      </a:lnTo>
                      <a:lnTo>
                        <a:pt x="600748" y="393759"/>
                      </a:lnTo>
                      <a:lnTo>
                        <a:pt x="599424" y="401737"/>
                      </a:lnTo>
                      <a:lnTo>
                        <a:pt x="599837" y="405295"/>
                      </a:lnTo>
                      <a:lnTo>
                        <a:pt x="600638" y="407298"/>
                      </a:lnTo>
                      <a:lnTo>
                        <a:pt x="602181" y="408561"/>
                      </a:lnTo>
                      <a:lnTo>
                        <a:pt x="608033" y="411415"/>
                      </a:lnTo>
                      <a:lnTo>
                        <a:pt x="610231" y="411439"/>
                      </a:lnTo>
                      <a:lnTo>
                        <a:pt x="615052" y="410286"/>
                      </a:lnTo>
                      <a:lnTo>
                        <a:pt x="620103" y="410868"/>
                      </a:lnTo>
                      <a:lnTo>
                        <a:pt x="622569" y="410747"/>
                      </a:lnTo>
                      <a:lnTo>
                        <a:pt x="625434" y="409338"/>
                      </a:lnTo>
                      <a:lnTo>
                        <a:pt x="625726" y="409059"/>
                      </a:lnTo>
                      <a:lnTo>
                        <a:pt x="629283" y="414135"/>
                      </a:lnTo>
                      <a:lnTo>
                        <a:pt x="630668" y="415653"/>
                      </a:lnTo>
                      <a:lnTo>
                        <a:pt x="636521" y="421311"/>
                      </a:lnTo>
                      <a:lnTo>
                        <a:pt x="641633" y="429010"/>
                      </a:lnTo>
                      <a:lnTo>
                        <a:pt x="647206" y="437255"/>
                      </a:lnTo>
                      <a:lnTo>
                        <a:pt x="647899" y="440582"/>
                      </a:lnTo>
                      <a:lnTo>
                        <a:pt x="647206" y="444007"/>
                      </a:lnTo>
                      <a:lnTo>
                        <a:pt x="641232" y="445840"/>
                      </a:lnTo>
                      <a:lnTo>
                        <a:pt x="638537" y="446180"/>
                      </a:lnTo>
                      <a:lnTo>
                        <a:pt x="635950" y="446520"/>
                      </a:lnTo>
                      <a:lnTo>
                        <a:pt x="624001" y="445804"/>
                      </a:lnTo>
                      <a:lnTo>
                        <a:pt x="619630" y="443084"/>
                      </a:lnTo>
                      <a:lnTo>
                        <a:pt x="617226" y="440667"/>
                      </a:lnTo>
                      <a:lnTo>
                        <a:pt x="614639" y="437049"/>
                      </a:lnTo>
                      <a:lnTo>
                        <a:pt x="611033" y="429702"/>
                      </a:lnTo>
                      <a:lnTo>
                        <a:pt x="609588" y="428209"/>
                      </a:lnTo>
                      <a:lnTo>
                        <a:pt x="606892" y="427662"/>
                      </a:lnTo>
                      <a:lnTo>
                        <a:pt x="602241" y="427771"/>
                      </a:lnTo>
                      <a:lnTo>
                        <a:pt x="596437" y="426836"/>
                      </a:lnTo>
                      <a:lnTo>
                        <a:pt x="589782" y="426399"/>
                      </a:lnTo>
                      <a:lnTo>
                        <a:pt x="585933" y="426715"/>
                      </a:lnTo>
                      <a:lnTo>
                        <a:pt x="583128" y="426484"/>
                      </a:lnTo>
                      <a:lnTo>
                        <a:pt x="579667" y="425367"/>
                      </a:lnTo>
                      <a:lnTo>
                        <a:pt x="577555" y="424238"/>
                      </a:lnTo>
                      <a:lnTo>
                        <a:pt x="574397" y="423436"/>
                      </a:lnTo>
                      <a:lnTo>
                        <a:pt x="570038" y="423242"/>
                      </a:lnTo>
                      <a:lnTo>
                        <a:pt x="562157" y="424189"/>
                      </a:lnTo>
                      <a:lnTo>
                        <a:pt x="558199" y="425221"/>
                      </a:lnTo>
                      <a:lnTo>
                        <a:pt x="554871" y="425622"/>
                      </a:lnTo>
                      <a:lnTo>
                        <a:pt x="552965" y="425076"/>
                      </a:lnTo>
                      <a:lnTo>
                        <a:pt x="549759" y="423072"/>
                      </a:lnTo>
                      <a:lnTo>
                        <a:pt x="543894" y="416831"/>
                      </a:lnTo>
                      <a:lnTo>
                        <a:pt x="542231" y="415580"/>
                      </a:lnTo>
                      <a:lnTo>
                        <a:pt x="540640" y="415143"/>
                      </a:lnTo>
                      <a:lnTo>
                        <a:pt x="537981" y="415653"/>
                      </a:lnTo>
                      <a:lnTo>
                        <a:pt x="536208" y="415580"/>
                      </a:lnTo>
                      <a:lnTo>
                        <a:pt x="534253" y="414281"/>
                      </a:lnTo>
                      <a:lnTo>
                        <a:pt x="533281" y="412593"/>
                      </a:lnTo>
                      <a:lnTo>
                        <a:pt x="531897" y="411524"/>
                      </a:lnTo>
                      <a:lnTo>
                        <a:pt x="530076" y="411038"/>
                      </a:lnTo>
                      <a:lnTo>
                        <a:pt x="526275" y="411063"/>
                      </a:lnTo>
                      <a:lnTo>
                        <a:pt x="519608" y="410116"/>
                      </a:lnTo>
                      <a:lnTo>
                        <a:pt x="516682" y="410176"/>
                      </a:lnTo>
                      <a:lnTo>
                        <a:pt x="514217" y="410978"/>
                      </a:lnTo>
                      <a:lnTo>
                        <a:pt x="504903" y="417013"/>
                      </a:lnTo>
                      <a:lnTo>
                        <a:pt x="495833" y="419709"/>
                      </a:lnTo>
                      <a:lnTo>
                        <a:pt x="482864" y="426739"/>
                      </a:lnTo>
                      <a:lnTo>
                        <a:pt x="474194" y="432750"/>
                      </a:lnTo>
                      <a:lnTo>
                        <a:pt x="468341" y="435421"/>
                      </a:lnTo>
                      <a:lnTo>
                        <a:pt x="466095" y="435907"/>
                      </a:lnTo>
                      <a:lnTo>
                        <a:pt x="462597" y="436077"/>
                      </a:lnTo>
                      <a:lnTo>
                        <a:pt x="454097" y="434608"/>
                      </a:lnTo>
                      <a:lnTo>
                        <a:pt x="452033" y="434584"/>
                      </a:lnTo>
                      <a:lnTo>
                        <a:pt x="449847" y="435276"/>
                      </a:lnTo>
                      <a:lnTo>
                        <a:pt x="447552" y="436854"/>
                      </a:lnTo>
                      <a:lnTo>
                        <a:pt x="441748" y="442501"/>
                      </a:lnTo>
                      <a:lnTo>
                        <a:pt x="435725" y="449762"/>
                      </a:lnTo>
                      <a:lnTo>
                        <a:pt x="424529" y="460594"/>
                      </a:lnTo>
                      <a:lnTo>
                        <a:pt x="423084" y="462488"/>
                      </a:lnTo>
                      <a:lnTo>
                        <a:pt x="422623" y="464552"/>
                      </a:lnTo>
                      <a:lnTo>
                        <a:pt x="424699" y="468317"/>
                      </a:lnTo>
                      <a:lnTo>
                        <a:pt x="424918" y="470187"/>
                      </a:lnTo>
                      <a:lnTo>
                        <a:pt x="423788" y="472652"/>
                      </a:lnTo>
                      <a:lnTo>
                        <a:pt x="422113" y="474315"/>
                      </a:lnTo>
                      <a:lnTo>
                        <a:pt x="420388" y="475129"/>
                      </a:lnTo>
                      <a:lnTo>
                        <a:pt x="418774" y="475129"/>
                      </a:lnTo>
                      <a:lnTo>
                        <a:pt x="416879" y="474352"/>
                      </a:lnTo>
                      <a:lnTo>
                        <a:pt x="415228" y="474024"/>
                      </a:lnTo>
                      <a:lnTo>
                        <a:pt x="413965" y="475177"/>
                      </a:lnTo>
                      <a:lnTo>
                        <a:pt x="414014" y="477412"/>
                      </a:lnTo>
                      <a:lnTo>
                        <a:pt x="416308" y="481346"/>
                      </a:lnTo>
                      <a:lnTo>
                        <a:pt x="418033" y="483070"/>
                      </a:lnTo>
                      <a:lnTo>
                        <a:pt x="419927" y="484018"/>
                      </a:lnTo>
                      <a:lnTo>
                        <a:pt x="421360" y="485341"/>
                      </a:lnTo>
                      <a:lnTo>
                        <a:pt x="422052" y="487588"/>
                      </a:lnTo>
                      <a:lnTo>
                        <a:pt x="422174" y="492542"/>
                      </a:lnTo>
                      <a:lnTo>
                        <a:pt x="420959" y="497083"/>
                      </a:lnTo>
                      <a:lnTo>
                        <a:pt x="418494" y="497059"/>
                      </a:lnTo>
                      <a:lnTo>
                        <a:pt x="417632" y="496452"/>
                      </a:lnTo>
                      <a:lnTo>
                        <a:pt x="415968" y="494995"/>
                      </a:lnTo>
                      <a:lnTo>
                        <a:pt x="414354" y="495165"/>
                      </a:lnTo>
                      <a:lnTo>
                        <a:pt x="412471" y="497921"/>
                      </a:lnTo>
                      <a:lnTo>
                        <a:pt x="410116" y="504806"/>
                      </a:lnTo>
                      <a:lnTo>
                        <a:pt x="405683" y="514083"/>
                      </a:lnTo>
                      <a:lnTo>
                        <a:pt x="405283" y="517763"/>
                      </a:lnTo>
                      <a:lnTo>
                        <a:pt x="405914" y="520689"/>
                      </a:lnTo>
                      <a:lnTo>
                        <a:pt x="411196" y="525534"/>
                      </a:lnTo>
                      <a:lnTo>
                        <a:pt x="412010" y="528922"/>
                      </a:lnTo>
                      <a:lnTo>
                        <a:pt x="412180" y="533439"/>
                      </a:lnTo>
                      <a:lnTo>
                        <a:pt x="412921" y="535965"/>
                      </a:lnTo>
                      <a:lnTo>
                        <a:pt x="415968" y="539438"/>
                      </a:lnTo>
                      <a:lnTo>
                        <a:pt x="416770" y="541016"/>
                      </a:lnTo>
                      <a:lnTo>
                        <a:pt x="417911" y="546323"/>
                      </a:lnTo>
                      <a:lnTo>
                        <a:pt x="417583" y="548278"/>
                      </a:lnTo>
                      <a:lnTo>
                        <a:pt x="416479" y="550172"/>
                      </a:lnTo>
                      <a:lnTo>
                        <a:pt x="413103" y="552358"/>
                      </a:lnTo>
                      <a:lnTo>
                        <a:pt x="412751" y="553439"/>
                      </a:lnTo>
                      <a:lnTo>
                        <a:pt x="417001" y="560530"/>
                      </a:lnTo>
                      <a:lnTo>
                        <a:pt x="418434" y="562291"/>
                      </a:lnTo>
                      <a:lnTo>
                        <a:pt x="420498" y="562886"/>
                      </a:lnTo>
                      <a:lnTo>
                        <a:pt x="423084" y="563080"/>
                      </a:lnTo>
                      <a:lnTo>
                        <a:pt x="425039" y="563469"/>
                      </a:lnTo>
                      <a:lnTo>
                        <a:pt x="425962" y="564562"/>
                      </a:lnTo>
                      <a:lnTo>
                        <a:pt x="426193" y="565873"/>
                      </a:lnTo>
                      <a:lnTo>
                        <a:pt x="426254" y="567682"/>
                      </a:lnTo>
                      <a:lnTo>
                        <a:pt x="425853" y="569807"/>
                      </a:lnTo>
                      <a:lnTo>
                        <a:pt x="423728" y="572442"/>
                      </a:lnTo>
                      <a:lnTo>
                        <a:pt x="421821" y="572649"/>
                      </a:lnTo>
                      <a:lnTo>
                        <a:pt x="417462" y="574519"/>
                      </a:lnTo>
                      <a:lnTo>
                        <a:pt x="402478" y="583395"/>
                      </a:lnTo>
                      <a:lnTo>
                        <a:pt x="398046" y="585290"/>
                      </a:lnTo>
                      <a:lnTo>
                        <a:pt x="394208" y="586067"/>
                      </a:lnTo>
                      <a:lnTo>
                        <a:pt x="390238" y="586297"/>
                      </a:lnTo>
                      <a:lnTo>
                        <a:pt x="385478" y="587111"/>
                      </a:lnTo>
                      <a:lnTo>
                        <a:pt x="381337" y="588847"/>
                      </a:lnTo>
                      <a:lnTo>
                        <a:pt x="379382" y="591689"/>
                      </a:lnTo>
                      <a:lnTo>
                        <a:pt x="379795" y="593438"/>
                      </a:lnTo>
                      <a:lnTo>
                        <a:pt x="382369" y="597032"/>
                      </a:lnTo>
                      <a:lnTo>
                        <a:pt x="383061" y="598258"/>
                      </a:lnTo>
                      <a:lnTo>
                        <a:pt x="382843" y="598404"/>
                      </a:lnTo>
                      <a:lnTo>
                        <a:pt x="374330" y="593960"/>
                      </a:lnTo>
                      <a:lnTo>
                        <a:pt x="369631" y="589613"/>
                      </a:lnTo>
                      <a:lnTo>
                        <a:pt x="366595" y="589673"/>
                      </a:lnTo>
                      <a:lnTo>
                        <a:pt x="364859" y="590450"/>
                      </a:lnTo>
                      <a:lnTo>
                        <a:pt x="362394" y="590973"/>
                      </a:lnTo>
                      <a:lnTo>
                        <a:pt x="359868" y="591167"/>
                      </a:lnTo>
                      <a:lnTo>
                        <a:pt x="356189" y="591021"/>
                      </a:lnTo>
                      <a:lnTo>
                        <a:pt x="354817" y="590390"/>
                      </a:lnTo>
                      <a:lnTo>
                        <a:pt x="354635" y="589503"/>
                      </a:lnTo>
                      <a:lnTo>
                        <a:pt x="357682" y="586200"/>
                      </a:lnTo>
                      <a:lnTo>
                        <a:pt x="358496" y="584743"/>
                      </a:lnTo>
                      <a:lnTo>
                        <a:pt x="358132" y="583480"/>
                      </a:lnTo>
                      <a:lnTo>
                        <a:pt x="356760" y="583565"/>
                      </a:lnTo>
                      <a:lnTo>
                        <a:pt x="350615" y="587403"/>
                      </a:lnTo>
                      <a:lnTo>
                        <a:pt x="347810" y="588568"/>
                      </a:lnTo>
                      <a:lnTo>
                        <a:pt x="344702" y="588726"/>
                      </a:lnTo>
                      <a:lnTo>
                        <a:pt x="342880" y="587403"/>
                      </a:lnTo>
                      <a:lnTo>
                        <a:pt x="341836" y="585909"/>
                      </a:lnTo>
                      <a:lnTo>
                        <a:pt x="340695" y="584476"/>
                      </a:lnTo>
                      <a:lnTo>
                        <a:pt x="339079" y="583820"/>
                      </a:lnTo>
                      <a:lnTo>
                        <a:pt x="330227" y="582327"/>
                      </a:lnTo>
                      <a:lnTo>
                        <a:pt x="328114" y="581489"/>
                      </a:lnTo>
                      <a:lnTo>
                        <a:pt x="325176" y="579510"/>
                      </a:lnTo>
                      <a:lnTo>
                        <a:pt x="318534" y="576352"/>
                      </a:lnTo>
                      <a:lnTo>
                        <a:pt x="313579" y="579170"/>
                      </a:lnTo>
                      <a:lnTo>
                        <a:pt x="312377" y="578915"/>
                      </a:lnTo>
                      <a:lnTo>
                        <a:pt x="311624" y="577676"/>
                      </a:lnTo>
                      <a:lnTo>
                        <a:pt x="311345" y="576668"/>
                      </a:lnTo>
                      <a:lnTo>
                        <a:pt x="311114" y="574118"/>
                      </a:lnTo>
                      <a:lnTo>
                        <a:pt x="301060" y="566189"/>
                      </a:lnTo>
                      <a:lnTo>
                        <a:pt x="298485" y="562983"/>
                      </a:lnTo>
                      <a:lnTo>
                        <a:pt x="297745" y="560020"/>
                      </a:lnTo>
                      <a:lnTo>
                        <a:pt x="299457" y="556972"/>
                      </a:lnTo>
                      <a:lnTo>
                        <a:pt x="300611" y="554422"/>
                      </a:lnTo>
                      <a:lnTo>
                        <a:pt x="301121" y="551557"/>
                      </a:lnTo>
                      <a:lnTo>
                        <a:pt x="300781" y="545813"/>
                      </a:lnTo>
                      <a:lnTo>
                        <a:pt x="301521" y="540373"/>
                      </a:lnTo>
                      <a:lnTo>
                        <a:pt x="301181" y="537276"/>
                      </a:lnTo>
                      <a:lnTo>
                        <a:pt x="299809" y="534386"/>
                      </a:lnTo>
                      <a:lnTo>
                        <a:pt x="296992" y="530586"/>
                      </a:lnTo>
                      <a:lnTo>
                        <a:pt x="294916" y="528376"/>
                      </a:lnTo>
                      <a:lnTo>
                        <a:pt x="289645" y="525048"/>
                      </a:lnTo>
                      <a:lnTo>
                        <a:pt x="281485" y="520458"/>
                      </a:lnTo>
                      <a:lnTo>
                        <a:pt x="275742" y="518418"/>
                      </a:lnTo>
                      <a:lnTo>
                        <a:pt x="273617" y="516986"/>
                      </a:lnTo>
                      <a:lnTo>
                        <a:pt x="273046" y="515601"/>
                      </a:lnTo>
                      <a:lnTo>
                        <a:pt x="273095" y="514338"/>
                      </a:lnTo>
                      <a:lnTo>
                        <a:pt x="272354" y="511898"/>
                      </a:lnTo>
                      <a:lnTo>
                        <a:pt x="270873" y="510611"/>
                      </a:lnTo>
                      <a:lnTo>
                        <a:pt x="269075" y="509663"/>
                      </a:lnTo>
                      <a:lnTo>
                        <a:pt x="266610" y="509032"/>
                      </a:lnTo>
                      <a:lnTo>
                        <a:pt x="265177" y="508024"/>
                      </a:lnTo>
                      <a:lnTo>
                        <a:pt x="263745" y="506251"/>
                      </a:lnTo>
                      <a:lnTo>
                        <a:pt x="262834" y="503883"/>
                      </a:lnTo>
                      <a:lnTo>
                        <a:pt x="261960" y="500046"/>
                      </a:lnTo>
                      <a:lnTo>
                        <a:pt x="260915" y="497800"/>
                      </a:lnTo>
                      <a:lnTo>
                        <a:pt x="259033" y="495335"/>
                      </a:lnTo>
                      <a:lnTo>
                        <a:pt x="255645" y="491825"/>
                      </a:lnTo>
                      <a:lnTo>
                        <a:pt x="252658" y="491315"/>
                      </a:lnTo>
                      <a:lnTo>
                        <a:pt x="250193" y="491570"/>
                      </a:lnTo>
                      <a:lnTo>
                        <a:pt x="247497" y="492348"/>
                      </a:lnTo>
                      <a:lnTo>
                        <a:pt x="244680" y="491947"/>
                      </a:lnTo>
                      <a:lnTo>
                        <a:pt x="242895" y="491000"/>
                      </a:lnTo>
                      <a:lnTo>
                        <a:pt x="241280" y="489215"/>
                      </a:lnTo>
                      <a:lnTo>
                        <a:pt x="239677" y="485608"/>
                      </a:lnTo>
                      <a:lnTo>
                        <a:pt x="238937" y="484880"/>
                      </a:lnTo>
                      <a:lnTo>
                        <a:pt x="237734" y="484600"/>
                      </a:lnTo>
                      <a:lnTo>
                        <a:pt x="236411" y="484855"/>
                      </a:lnTo>
                      <a:lnTo>
                        <a:pt x="235136" y="485402"/>
                      </a:lnTo>
                      <a:lnTo>
                        <a:pt x="232331" y="487466"/>
                      </a:lnTo>
                      <a:lnTo>
                        <a:pt x="230667" y="489020"/>
                      </a:lnTo>
                      <a:lnTo>
                        <a:pt x="229866" y="490101"/>
                      </a:lnTo>
                      <a:lnTo>
                        <a:pt x="221135" y="483155"/>
                      </a:lnTo>
                      <a:lnTo>
                        <a:pt x="217116" y="478905"/>
                      </a:lnTo>
                      <a:lnTo>
                        <a:pt x="206782" y="471158"/>
                      </a:lnTo>
                      <a:lnTo>
                        <a:pt x="203103" y="467600"/>
                      </a:lnTo>
                      <a:lnTo>
                        <a:pt x="201208" y="464783"/>
                      </a:lnTo>
                      <a:lnTo>
                        <a:pt x="200346" y="462512"/>
                      </a:lnTo>
                      <a:lnTo>
                        <a:pt x="199715" y="460254"/>
                      </a:lnTo>
                      <a:lnTo>
                        <a:pt x="199363" y="458153"/>
                      </a:lnTo>
                      <a:lnTo>
                        <a:pt x="199424" y="456028"/>
                      </a:lnTo>
                      <a:lnTo>
                        <a:pt x="199776" y="454219"/>
                      </a:lnTo>
                      <a:lnTo>
                        <a:pt x="200468" y="452640"/>
                      </a:lnTo>
                      <a:lnTo>
                        <a:pt x="202653" y="448852"/>
                      </a:lnTo>
                      <a:lnTo>
                        <a:pt x="202411" y="446933"/>
                      </a:lnTo>
                      <a:lnTo>
                        <a:pt x="198792" y="444723"/>
                      </a:lnTo>
                      <a:lnTo>
                        <a:pt x="198282" y="443132"/>
                      </a:lnTo>
                      <a:lnTo>
                        <a:pt x="198573" y="434316"/>
                      </a:lnTo>
                      <a:lnTo>
                        <a:pt x="198853" y="432629"/>
                      </a:lnTo>
                      <a:lnTo>
                        <a:pt x="199545" y="431171"/>
                      </a:lnTo>
                      <a:lnTo>
                        <a:pt x="202411" y="427954"/>
                      </a:lnTo>
                      <a:lnTo>
                        <a:pt x="203686" y="425513"/>
                      </a:lnTo>
                      <a:lnTo>
                        <a:pt x="202763" y="424189"/>
                      </a:lnTo>
                      <a:lnTo>
                        <a:pt x="200978" y="423667"/>
                      </a:lnTo>
                      <a:lnTo>
                        <a:pt x="196448" y="424165"/>
                      </a:lnTo>
                      <a:lnTo>
                        <a:pt x="195016" y="423983"/>
                      </a:lnTo>
                      <a:lnTo>
                        <a:pt x="194833" y="423242"/>
                      </a:lnTo>
                      <a:lnTo>
                        <a:pt x="195866" y="419356"/>
                      </a:lnTo>
                      <a:lnTo>
                        <a:pt x="195356" y="417268"/>
                      </a:lnTo>
                      <a:lnTo>
                        <a:pt x="193984" y="414718"/>
                      </a:lnTo>
                      <a:lnTo>
                        <a:pt x="193061" y="413625"/>
                      </a:lnTo>
                      <a:lnTo>
                        <a:pt x="192198" y="413018"/>
                      </a:lnTo>
                      <a:lnTo>
                        <a:pt x="191616" y="413103"/>
                      </a:lnTo>
                      <a:lnTo>
                        <a:pt x="191045" y="413795"/>
                      </a:lnTo>
                      <a:lnTo>
                        <a:pt x="189843" y="416114"/>
                      </a:lnTo>
                      <a:lnTo>
                        <a:pt x="189041" y="417304"/>
                      </a:lnTo>
                      <a:lnTo>
                        <a:pt x="188288" y="417923"/>
                      </a:lnTo>
                      <a:lnTo>
                        <a:pt x="187487" y="418154"/>
                      </a:lnTo>
                      <a:lnTo>
                        <a:pt x="186455" y="417304"/>
                      </a:lnTo>
                      <a:lnTo>
                        <a:pt x="185884" y="415859"/>
                      </a:lnTo>
                      <a:lnTo>
                        <a:pt x="185483" y="413394"/>
                      </a:lnTo>
                      <a:lnTo>
                        <a:pt x="184500" y="411925"/>
                      </a:lnTo>
                      <a:lnTo>
                        <a:pt x="183419" y="411208"/>
                      </a:lnTo>
                      <a:lnTo>
                        <a:pt x="180833" y="410808"/>
                      </a:lnTo>
                      <a:lnTo>
                        <a:pt x="180201" y="410868"/>
                      </a:lnTo>
                      <a:lnTo>
                        <a:pt x="179740" y="411269"/>
                      </a:lnTo>
                      <a:lnTo>
                        <a:pt x="179461" y="411816"/>
                      </a:lnTo>
                      <a:lnTo>
                        <a:pt x="178878" y="412471"/>
                      </a:lnTo>
                      <a:lnTo>
                        <a:pt x="178016" y="412180"/>
                      </a:lnTo>
                      <a:lnTo>
                        <a:pt x="176461" y="410893"/>
                      </a:lnTo>
                      <a:lnTo>
                        <a:pt x="174968" y="408282"/>
                      </a:lnTo>
                      <a:lnTo>
                        <a:pt x="173826" y="407335"/>
                      </a:lnTo>
                      <a:lnTo>
                        <a:pt x="172794" y="407505"/>
                      </a:lnTo>
                      <a:lnTo>
                        <a:pt x="172041" y="408367"/>
                      </a:lnTo>
                      <a:lnTo>
                        <a:pt x="170718" y="409338"/>
                      </a:lnTo>
                      <a:lnTo>
                        <a:pt x="169685" y="409569"/>
                      </a:lnTo>
                      <a:lnTo>
                        <a:pt x="168204" y="409023"/>
                      </a:lnTo>
                      <a:lnTo>
                        <a:pt x="167099" y="405295"/>
                      </a:lnTo>
                      <a:lnTo>
                        <a:pt x="163201" y="397572"/>
                      </a:lnTo>
                      <a:lnTo>
                        <a:pt x="155842" y="384275"/>
                      </a:lnTo>
                      <a:lnTo>
                        <a:pt x="153268" y="381980"/>
                      </a:lnTo>
                      <a:lnTo>
                        <a:pt x="152576" y="382818"/>
                      </a:lnTo>
                      <a:lnTo>
                        <a:pt x="152005" y="383680"/>
                      </a:lnTo>
                      <a:lnTo>
                        <a:pt x="151362" y="384166"/>
                      </a:lnTo>
                      <a:lnTo>
                        <a:pt x="150512" y="384506"/>
                      </a:lnTo>
                      <a:lnTo>
                        <a:pt x="146201" y="385599"/>
                      </a:lnTo>
                      <a:lnTo>
                        <a:pt x="145230" y="387930"/>
                      </a:lnTo>
                      <a:lnTo>
                        <a:pt x="146310" y="395714"/>
                      </a:lnTo>
                      <a:lnTo>
                        <a:pt x="145740" y="397839"/>
                      </a:lnTo>
                      <a:lnTo>
                        <a:pt x="144756" y="398641"/>
                      </a:lnTo>
                      <a:lnTo>
                        <a:pt x="142242" y="398264"/>
                      </a:lnTo>
                      <a:lnTo>
                        <a:pt x="141028" y="399151"/>
                      </a:lnTo>
                      <a:lnTo>
                        <a:pt x="140348" y="400851"/>
                      </a:lnTo>
                      <a:lnTo>
                        <a:pt x="139777" y="403923"/>
                      </a:lnTo>
                      <a:lnTo>
                        <a:pt x="138672" y="405732"/>
                      </a:lnTo>
                      <a:lnTo>
                        <a:pt x="137422" y="406813"/>
                      </a:lnTo>
                      <a:lnTo>
                        <a:pt x="136098" y="407080"/>
                      </a:lnTo>
                      <a:lnTo>
                        <a:pt x="134774" y="406703"/>
                      </a:lnTo>
                      <a:lnTo>
                        <a:pt x="131326" y="405210"/>
                      </a:lnTo>
                      <a:lnTo>
                        <a:pt x="129152" y="405356"/>
                      </a:lnTo>
                      <a:lnTo>
                        <a:pt x="127659" y="405756"/>
                      </a:lnTo>
                      <a:lnTo>
                        <a:pt x="123518" y="407529"/>
                      </a:lnTo>
                      <a:lnTo>
                        <a:pt x="119438" y="405149"/>
                      </a:lnTo>
                      <a:lnTo>
                        <a:pt x="115479" y="400984"/>
                      </a:lnTo>
                      <a:lnTo>
                        <a:pt x="113354" y="397718"/>
                      </a:lnTo>
                      <a:lnTo>
                        <a:pt x="112201" y="394560"/>
                      </a:lnTo>
                      <a:lnTo>
                        <a:pt x="109396" y="381956"/>
                      </a:lnTo>
                      <a:lnTo>
                        <a:pt x="99001" y="354246"/>
                      </a:lnTo>
                      <a:lnTo>
                        <a:pt x="75116" y="311151"/>
                      </a:lnTo>
                      <a:lnTo>
                        <a:pt x="71376" y="303999"/>
                      </a:lnTo>
                      <a:lnTo>
                        <a:pt x="71097" y="302347"/>
                      </a:lnTo>
                      <a:lnTo>
                        <a:pt x="71255" y="300161"/>
                      </a:lnTo>
                      <a:lnTo>
                        <a:pt x="72190" y="299068"/>
                      </a:lnTo>
                      <a:lnTo>
                        <a:pt x="73562" y="298461"/>
                      </a:lnTo>
                      <a:lnTo>
                        <a:pt x="74995" y="298437"/>
                      </a:lnTo>
                      <a:lnTo>
                        <a:pt x="77411" y="298777"/>
                      </a:lnTo>
                      <a:lnTo>
                        <a:pt x="78613" y="298753"/>
                      </a:lnTo>
                      <a:lnTo>
                        <a:pt x="79816" y="297976"/>
                      </a:lnTo>
                      <a:lnTo>
                        <a:pt x="79816" y="296773"/>
                      </a:lnTo>
                      <a:lnTo>
                        <a:pt x="79075" y="295158"/>
                      </a:lnTo>
                      <a:lnTo>
                        <a:pt x="72190" y="282870"/>
                      </a:lnTo>
                      <a:lnTo>
                        <a:pt x="65414" y="273313"/>
                      </a:lnTo>
                      <a:lnTo>
                        <a:pt x="63228" y="269464"/>
                      </a:lnTo>
                      <a:lnTo>
                        <a:pt x="59780" y="267375"/>
                      </a:lnTo>
                      <a:lnTo>
                        <a:pt x="48645" y="262542"/>
                      </a:lnTo>
                      <a:lnTo>
                        <a:pt x="39452" y="257005"/>
                      </a:lnTo>
                      <a:lnTo>
                        <a:pt x="30722" y="253362"/>
                      </a:lnTo>
                      <a:lnTo>
                        <a:pt x="29471" y="252063"/>
                      </a:lnTo>
                      <a:lnTo>
                        <a:pt x="26593" y="252695"/>
                      </a:lnTo>
                      <a:lnTo>
                        <a:pt x="22464" y="251152"/>
                      </a:lnTo>
                      <a:lnTo>
                        <a:pt x="11087" y="249392"/>
                      </a:lnTo>
                      <a:lnTo>
                        <a:pt x="9253" y="248736"/>
                      </a:lnTo>
                      <a:lnTo>
                        <a:pt x="7189" y="247789"/>
                      </a:lnTo>
                      <a:lnTo>
                        <a:pt x="6606" y="246320"/>
                      </a:lnTo>
                      <a:lnTo>
                        <a:pt x="7419" y="244547"/>
                      </a:lnTo>
                      <a:lnTo>
                        <a:pt x="18141" y="233169"/>
                      </a:lnTo>
                      <a:lnTo>
                        <a:pt x="19999" y="230133"/>
                      </a:lnTo>
                      <a:lnTo>
                        <a:pt x="21311" y="227376"/>
                      </a:lnTo>
                      <a:lnTo>
                        <a:pt x="22234" y="224450"/>
                      </a:lnTo>
                      <a:lnTo>
                        <a:pt x="22003" y="223066"/>
                      </a:lnTo>
                      <a:lnTo>
                        <a:pt x="20910" y="222531"/>
                      </a:lnTo>
                      <a:lnTo>
                        <a:pt x="19696" y="222604"/>
                      </a:lnTo>
                      <a:lnTo>
                        <a:pt x="18664" y="223041"/>
                      </a:lnTo>
                      <a:lnTo>
                        <a:pt x="17862" y="223503"/>
                      </a:lnTo>
                      <a:lnTo>
                        <a:pt x="16830" y="223989"/>
                      </a:lnTo>
                      <a:lnTo>
                        <a:pt x="15519" y="224013"/>
                      </a:lnTo>
                      <a:lnTo>
                        <a:pt x="13503" y="222786"/>
                      </a:lnTo>
                      <a:lnTo>
                        <a:pt x="12361" y="220030"/>
                      </a:lnTo>
                      <a:lnTo>
                        <a:pt x="11949" y="216715"/>
                      </a:lnTo>
                      <a:lnTo>
                        <a:pt x="12361" y="213789"/>
                      </a:lnTo>
                      <a:lnTo>
                        <a:pt x="13272" y="211506"/>
                      </a:lnTo>
                      <a:lnTo>
                        <a:pt x="14304" y="210437"/>
                      </a:lnTo>
                      <a:lnTo>
                        <a:pt x="15045" y="209915"/>
                      </a:lnTo>
                      <a:lnTo>
                        <a:pt x="28147" y="207049"/>
                      </a:lnTo>
                      <a:lnTo>
                        <a:pt x="31705" y="205641"/>
                      </a:lnTo>
                      <a:lnTo>
                        <a:pt x="34692" y="203807"/>
                      </a:lnTo>
                      <a:lnTo>
                        <a:pt x="37497" y="201427"/>
                      </a:lnTo>
                      <a:lnTo>
                        <a:pt x="44382" y="193643"/>
                      </a:lnTo>
                      <a:lnTo>
                        <a:pt x="59039" y="182533"/>
                      </a:lnTo>
                      <a:lnTo>
                        <a:pt x="68110" y="177651"/>
                      </a:lnTo>
                      <a:lnTo>
                        <a:pt x="69373" y="176473"/>
                      </a:lnTo>
                      <a:lnTo>
                        <a:pt x="69603" y="175125"/>
                      </a:lnTo>
                      <a:lnTo>
                        <a:pt x="69190" y="173887"/>
                      </a:lnTo>
                      <a:lnTo>
                        <a:pt x="61504" y="159619"/>
                      </a:lnTo>
                      <a:lnTo>
                        <a:pt x="60703" y="158550"/>
                      </a:lnTo>
                      <a:lnTo>
                        <a:pt x="58869" y="156510"/>
                      </a:lnTo>
                      <a:lnTo>
                        <a:pt x="57133" y="156085"/>
                      </a:lnTo>
                      <a:lnTo>
                        <a:pt x="58565" y="154082"/>
                      </a:lnTo>
                      <a:lnTo>
                        <a:pt x="60873" y="149662"/>
                      </a:lnTo>
                      <a:lnTo>
                        <a:pt x="60642" y="146930"/>
                      </a:lnTo>
                      <a:lnTo>
                        <a:pt x="66215" y="139340"/>
                      </a:lnTo>
                      <a:lnTo>
                        <a:pt x="69433" y="136511"/>
                      </a:lnTo>
                      <a:lnTo>
                        <a:pt x="70866" y="135673"/>
                      </a:lnTo>
                      <a:lnTo>
                        <a:pt x="71255" y="135078"/>
                      </a:lnTo>
                      <a:lnTo>
                        <a:pt x="71838" y="132309"/>
                      </a:lnTo>
                      <a:lnTo>
                        <a:pt x="71898" y="130099"/>
                      </a:lnTo>
                      <a:lnTo>
                        <a:pt x="71680" y="127841"/>
                      </a:lnTo>
                      <a:lnTo>
                        <a:pt x="67940" y="119620"/>
                      </a:lnTo>
                      <a:lnTo>
                        <a:pt x="67308" y="117216"/>
                      </a:lnTo>
                      <a:lnTo>
                        <a:pt x="67636" y="110209"/>
                      </a:lnTo>
                      <a:lnTo>
                        <a:pt x="69494" y="106166"/>
                      </a:lnTo>
                      <a:lnTo>
                        <a:pt x="69373" y="104866"/>
                      </a:lnTo>
                      <a:lnTo>
                        <a:pt x="68790" y="102596"/>
                      </a:lnTo>
                      <a:lnTo>
                        <a:pt x="67636" y="100738"/>
                      </a:lnTo>
                      <a:lnTo>
                        <a:pt x="64552" y="96974"/>
                      </a:lnTo>
                      <a:lnTo>
                        <a:pt x="63459" y="95043"/>
                      </a:lnTo>
                      <a:lnTo>
                        <a:pt x="62645" y="93209"/>
                      </a:lnTo>
                      <a:lnTo>
                        <a:pt x="61334" y="91169"/>
                      </a:lnTo>
                      <a:lnTo>
                        <a:pt x="59258" y="88619"/>
                      </a:lnTo>
                      <a:lnTo>
                        <a:pt x="52834" y="82159"/>
                      </a:lnTo>
                      <a:lnTo>
                        <a:pt x="50478" y="79257"/>
                      </a:lnTo>
                      <a:lnTo>
                        <a:pt x="49215" y="76282"/>
                      </a:lnTo>
                      <a:lnTo>
                        <a:pt x="48924" y="73489"/>
                      </a:lnTo>
                      <a:lnTo>
                        <a:pt x="49555" y="71048"/>
                      </a:lnTo>
                      <a:lnTo>
                        <a:pt x="50988" y="69324"/>
                      </a:lnTo>
                      <a:lnTo>
                        <a:pt x="53235" y="68000"/>
                      </a:lnTo>
                      <a:lnTo>
                        <a:pt x="56914" y="67138"/>
                      </a:lnTo>
                      <a:lnTo>
                        <a:pt x="59258" y="67175"/>
                      </a:lnTo>
                      <a:lnTo>
                        <a:pt x="61334" y="67600"/>
                      </a:lnTo>
                      <a:lnTo>
                        <a:pt x="65863" y="69555"/>
                      </a:lnTo>
                      <a:lnTo>
                        <a:pt x="67588" y="69919"/>
                      </a:lnTo>
                      <a:lnTo>
                        <a:pt x="69190" y="70563"/>
                      </a:lnTo>
                      <a:lnTo>
                        <a:pt x="70745" y="71740"/>
                      </a:lnTo>
                      <a:lnTo>
                        <a:pt x="73793" y="75298"/>
                      </a:lnTo>
                      <a:lnTo>
                        <a:pt x="75226" y="76379"/>
                      </a:lnTo>
                      <a:lnTo>
                        <a:pt x="77290" y="75699"/>
                      </a:lnTo>
                      <a:lnTo>
                        <a:pt x="80629" y="73683"/>
                      </a:lnTo>
                      <a:lnTo>
                        <a:pt x="95444" y="61455"/>
                      </a:lnTo>
                      <a:lnTo>
                        <a:pt x="99924" y="56453"/>
                      </a:lnTo>
                      <a:lnTo>
                        <a:pt x="101126" y="54886"/>
                      </a:lnTo>
                      <a:lnTo>
                        <a:pt x="104684" y="52324"/>
                      </a:lnTo>
                      <a:lnTo>
                        <a:pt x="114447" y="48280"/>
                      </a:lnTo>
                      <a:lnTo>
                        <a:pt x="122304" y="45973"/>
                      </a:lnTo>
                      <a:lnTo>
                        <a:pt x="126287" y="44346"/>
                      </a:lnTo>
                      <a:lnTo>
                        <a:pt x="130245" y="41760"/>
                      </a:lnTo>
                      <a:lnTo>
                        <a:pt x="134896" y="36939"/>
                      </a:lnTo>
                      <a:lnTo>
                        <a:pt x="136547" y="33381"/>
                      </a:lnTo>
                      <a:lnTo>
                        <a:pt x="137240" y="30625"/>
                      </a:lnTo>
                      <a:lnTo>
                        <a:pt x="137300" y="28499"/>
                      </a:lnTo>
                      <a:lnTo>
                        <a:pt x="138502" y="26459"/>
                      </a:lnTo>
                      <a:lnTo>
                        <a:pt x="140980" y="24079"/>
                      </a:lnTo>
                      <a:lnTo>
                        <a:pt x="152066" y="17328"/>
                      </a:lnTo>
                      <a:lnTo>
                        <a:pt x="160214" y="13624"/>
                      </a:lnTo>
                      <a:lnTo>
                        <a:pt x="181865" y="9544"/>
                      </a:lnTo>
                      <a:lnTo>
                        <a:pt x="187548" y="6241"/>
                      </a:lnTo>
                      <a:moveTo>
                        <a:pt x="186212" y="0"/>
                      </a:moveTo>
                      <a:lnTo>
                        <a:pt x="184500" y="996"/>
                      </a:lnTo>
                      <a:lnTo>
                        <a:pt x="179716" y="3776"/>
                      </a:lnTo>
                      <a:lnTo>
                        <a:pt x="159085" y="7662"/>
                      </a:lnTo>
                      <a:lnTo>
                        <a:pt x="158368" y="7796"/>
                      </a:lnTo>
                      <a:lnTo>
                        <a:pt x="157700" y="8099"/>
                      </a:lnTo>
                      <a:lnTo>
                        <a:pt x="149552" y="11803"/>
                      </a:lnTo>
                      <a:lnTo>
                        <a:pt x="149225" y="11949"/>
                      </a:lnTo>
                      <a:lnTo>
                        <a:pt x="148909" y="12143"/>
                      </a:lnTo>
                      <a:lnTo>
                        <a:pt x="137822" y="18894"/>
                      </a:lnTo>
                      <a:lnTo>
                        <a:pt x="137264" y="19247"/>
                      </a:lnTo>
                      <a:lnTo>
                        <a:pt x="136778" y="19708"/>
                      </a:lnTo>
                      <a:lnTo>
                        <a:pt x="134301" y="22088"/>
                      </a:lnTo>
                      <a:lnTo>
                        <a:pt x="133694" y="22671"/>
                      </a:lnTo>
                      <a:lnTo>
                        <a:pt x="133269" y="23399"/>
                      </a:lnTo>
                      <a:lnTo>
                        <a:pt x="132067" y="25439"/>
                      </a:lnTo>
                      <a:lnTo>
                        <a:pt x="131277" y="26787"/>
                      </a:lnTo>
                      <a:lnTo>
                        <a:pt x="131229" y="28342"/>
                      </a:lnTo>
                      <a:lnTo>
                        <a:pt x="131192" y="29811"/>
                      </a:lnTo>
                      <a:lnTo>
                        <a:pt x="130804" y="31353"/>
                      </a:lnTo>
                      <a:lnTo>
                        <a:pt x="129820" y="33466"/>
                      </a:lnTo>
                      <a:lnTo>
                        <a:pt x="126347" y="37060"/>
                      </a:lnTo>
                      <a:lnTo>
                        <a:pt x="123445" y="38955"/>
                      </a:lnTo>
                      <a:lnTo>
                        <a:pt x="120288" y="40242"/>
                      </a:lnTo>
                      <a:lnTo>
                        <a:pt x="112723" y="42464"/>
                      </a:lnTo>
                      <a:lnTo>
                        <a:pt x="112407" y="42561"/>
                      </a:lnTo>
                      <a:lnTo>
                        <a:pt x="112104" y="42682"/>
                      </a:lnTo>
                      <a:lnTo>
                        <a:pt x="102341" y="46726"/>
                      </a:lnTo>
                      <a:lnTo>
                        <a:pt x="101685" y="46993"/>
                      </a:lnTo>
                      <a:lnTo>
                        <a:pt x="101114" y="47406"/>
                      </a:lnTo>
                      <a:lnTo>
                        <a:pt x="97556" y="49968"/>
                      </a:lnTo>
                      <a:lnTo>
                        <a:pt x="96828" y="50490"/>
                      </a:lnTo>
                      <a:lnTo>
                        <a:pt x="96281" y="51207"/>
                      </a:lnTo>
                      <a:lnTo>
                        <a:pt x="95079" y="52773"/>
                      </a:lnTo>
                      <a:lnTo>
                        <a:pt x="91206" y="57072"/>
                      </a:lnTo>
                      <a:lnTo>
                        <a:pt x="77083" y="68729"/>
                      </a:lnTo>
                      <a:lnTo>
                        <a:pt x="76452" y="69118"/>
                      </a:lnTo>
                      <a:lnTo>
                        <a:pt x="75335" y="67806"/>
                      </a:lnTo>
                      <a:lnTo>
                        <a:pt x="74910" y="67308"/>
                      </a:lnTo>
                      <a:lnTo>
                        <a:pt x="74388" y="66920"/>
                      </a:lnTo>
                      <a:lnTo>
                        <a:pt x="72833" y="65742"/>
                      </a:lnTo>
                      <a:lnTo>
                        <a:pt x="72178" y="65232"/>
                      </a:lnTo>
                      <a:lnTo>
                        <a:pt x="71413" y="64928"/>
                      </a:lnTo>
                      <a:lnTo>
                        <a:pt x="69810" y="64285"/>
                      </a:lnTo>
                      <a:lnTo>
                        <a:pt x="69324" y="64090"/>
                      </a:lnTo>
                      <a:lnTo>
                        <a:pt x="68814" y="63981"/>
                      </a:lnTo>
                      <a:lnTo>
                        <a:pt x="67673" y="63738"/>
                      </a:lnTo>
                      <a:lnTo>
                        <a:pt x="63702" y="62026"/>
                      </a:lnTo>
                      <a:lnTo>
                        <a:pt x="63131" y="61771"/>
                      </a:lnTo>
                      <a:lnTo>
                        <a:pt x="62524" y="61650"/>
                      </a:lnTo>
                      <a:lnTo>
                        <a:pt x="60448" y="61225"/>
                      </a:lnTo>
                      <a:lnTo>
                        <a:pt x="59889" y="61115"/>
                      </a:lnTo>
                      <a:lnTo>
                        <a:pt x="59318" y="61103"/>
                      </a:lnTo>
                      <a:lnTo>
                        <a:pt x="56975" y="61067"/>
                      </a:lnTo>
                      <a:lnTo>
                        <a:pt x="56270" y="61055"/>
                      </a:lnTo>
                      <a:lnTo>
                        <a:pt x="55542" y="61225"/>
                      </a:lnTo>
                      <a:lnTo>
                        <a:pt x="51862" y="62087"/>
                      </a:lnTo>
                      <a:lnTo>
                        <a:pt x="50964" y="62293"/>
                      </a:lnTo>
                      <a:lnTo>
                        <a:pt x="50175" y="62767"/>
                      </a:lnTo>
                      <a:lnTo>
                        <a:pt x="47928" y="64090"/>
                      </a:lnTo>
                      <a:lnTo>
                        <a:pt x="47017" y="64625"/>
                      </a:lnTo>
                      <a:lnTo>
                        <a:pt x="46337" y="65438"/>
                      </a:lnTo>
                      <a:lnTo>
                        <a:pt x="44905" y="67163"/>
                      </a:lnTo>
                      <a:lnTo>
                        <a:pt x="44030" y="68207"/>
                      </a:lnTo>
                      <a:lnTo>
                        <a:pt x="43690" y="69518"/>
                      </a:lnTo>
                      <a:lnTo>
                        <a:pt x="43059" y="71959"/>
                      </a:lnTo>
                      <a:lnTo>
                        <a:pt x="42780" y="73028"/>
                      </a:lnTo>
                      <a:lnTo>
                        <a:pt x="42901" y="74120"/>
                      </a:lnTo>
                      <a:lnTo>
                        <a:pt x="43192" y="76913"/>
                      </a:lnTo>
                      <a:lnTo>
                        <a:pt x="43290" y="77812"/>
                      </a:lnTo>
                      <a:lnTo>
                        <a:pt x="43642" y="78638"/>
                      </a:lnTo>
                      <a:lnTo>
                        <a:pt x="44905" y="81613"/>
                      </a:lnTo>
                      <a:lnTo>
                        <a:pt x="45245" y="82402"/>
                      </a:lnTo>
                      <a:lnTo>
                        <a:pt x="45779" y="83070"/>
                      </a:lnTo>
                      <a:lnTo>
                        <a:pt x="48135" y="85972"/>
                      </a:lnTo>
                      <a:lnTo>
                        <a:pt x="48329" y="86215"/>
                      </a:lnTo>
                      <a:lnTo>
                        <a:pt x="48547" y="86433"/>
                      </a:lnTo>
                      <a:lnTo>
                        <a:pt x="54971" y="92893"/>
                      </a:lnTo>
                      <a:lnTo>
                        <a:pt x="56416" y="94703"/>
                      </a:lnTo>
                      <a:lnTo>
                        <a:pt x="57303" y="96087"/>
                      </a:lnTo>
                      <a:lnTo>
                        <a:pt x="57922" y="97496"/>
                      </a:lnTo>
                      <a:lnTo>
                        <a:pt x="59270" y="99949"/>
                      </a:lnTo>
                      <a:lnTo>
                        <a:pt x="59525" y="100410"/>
                      </a:lnTo>
                      <a:lnTo>
                        <a:pt x="59853" y="100823"/>
                      </a:lnTo>
                      <a:lnTo>
                        <a:pt x="62682" y="104284"/>
                      </a:lnTo>
                      <a:lnTo>
                        <a:pt x="63131" y="105012"/>
                      </a:lnTo>
                      <a:lnTo>
                        <a:pt x="63204" y="105291"/>
                      </a:lnTo>
                      <a:lnTo>
                        <a:pt x="62111" y="107671"/>
                      </a:lnTo>
                      <a:lnTo>
                        <a:pt x="61613" y="108740"/>
                      </a:lnTo>
                      <a:lnTo>
                        <a:pt x="61565" y="109918"/>
                      </a:lnTo>
                      <a:lnTo>
                        <a:pt x="61237" y="116924"/>
                      </a:lnTo>
                      <a:lnTo>
                        <a:pt x="61200" y="117859"/>
                      </a:lnTo>
                      <a:lnTo>
                        <a:pt x="61443" y="118758"/>
                      </a:lnTo>
                      <a:lnTo>
                        <a:pt x="62075" y="121162"/>
                      </a:lnTo>
                      <a:lnTo>
                        <a:pt x="62208" y="121660"/>
                      </a:lnTo>
                      <a:lnTo>
                        <a:pt x="62415" y="122122"/>
                      </a:lnTo>
                      <a:lnTo>
                        <a:pt x="65730" y="129432"/>
                      </a:lnTo>
                      <a:lnTo>
                        <a:pt x="65815" y="130318"/>
                      </a:lnTo>
                      <a:lnTo>
                        <a:pt x="65778" y="131593"/>
                      </a:lnTo>
                      <a:lnTo>
                        <a:pt x="65766" y="131642"/>
                      </a:lnTo>
                      <a:lnTo>
                        <a:pt x="65426" y="131945"/>
                      </a:lnTo>
                      <a:lnTo>
                        <a:pt x="62208" y="134774"/>
                      </a:lnTo>
                      <a:lnTo>
                        <a:pt x="61710" y="135212"/>
                      </a:lnTo>
                      <a:lnTo>
                        <a:pt x="61322" y="135746"/>
                      </a:lnTo>
                      <a:lnTo>
                        <a:pt x="55748" y="143335"/>
                      </a:lnTo>
                      <a:lnTo>
                        <a:pt x="54400" y="145169"/>
                      </a:lnTo>
                      <a:lnTo>
                        <a:pt x="54595" y="147440"/>
                      </a:lnTo>
                      <a:lnTo>
                        <a:pt x="54680" y="148423"/>
                      </a:lnTo>
                      <a:lnTo>
                        <a:pt x="53393" y="150900"/>
                      </a:lnTo>
                      <a:lnTo>
                        <a:pt x="52202" y="152552"/>
                      </a:lnTo>
                      <a:lnTo>
                        <a:pt x="46969" y="159850"/>
                      </a:lnTo>
                      <a:lnTo>
                        <a:pt x="55603" y="161975"/>
                      </a:lnTo>
                      <a:lnTo>
                        <a:pt x="56185" y="162618"/>
                      </a:lnTo>
                      <a:lnTo>
                        <a:pt x="56319" y="162812"/>
                      </a:lnTo>
                      <a:lnTo>
                        <a:pt x="62293" y="173911"/>
                      </a:lnTo>
                      <a:lnTo>
                        <a:pt x="56161" y="177202"/>
                      </a:lnTo>
                      <a:lnTo>
                        <a:pt x="55748" y="177433"/>
                      </a:lnTo>
                      <a:lnTo>
                        <a:pt x="55372" y="177712"/>
                      </a:lnTo>
                      <a:lnTo>
                        <a:pt x="40715" y="188823"/>
                      </a:lnTo>
                      <a:lnTo>
                        <a:pt x="40230" y="189187"/>
                      </a:lnTo>
                      <a:lnTo>
                        <a:pt x="39829" y="189648"/>
                      </a:lnTo>
                      <a:lnTo>
                        <a:pt x="33235" y="197104"/>
                      </a:lnTo>
                      <a:lnTo>
                        <a:pt x="31122" y="198889"/>
                      </a:lnTo>
                      <a:lnTo>
                        <a:pt x="28973" y="200201"/>
                      </a:lnTo>
                      <a:lnTo>
                        <a:pt x="26362" y="201233"/>
                      </a:lnTo>
                      <a:lnTo>
                        <a:pt x="13734" y="204001"/>
                      </a:lnTo>
                      <a:lnTo>
                        <a:pt x="12531" y="204256"/>
                      </a:lnTo>
                      <a:lnTo>
                        <a:pt x="11524" y="204973"/>
                      </a:lnTo>
                      <a:lnTo>
                        <a:pt x="10783" y="205495"/>
                      </a:lnTo>
                      <a:lnTo>
                        <a:pt x="10321" y="205823"/>
                      </a:lnTo>
                      <a:lnTo>
                        <a:pt x="9933" y="206224"/>
                      </a:lnTo>
                      <a:lnTo>
                        <a:pt x="8901" y="207292"/>
                      </a:lnTo>
                      <a:lnTo>
                        <a:pt x="8075" y="208154"/>
                      </a:lnTo>
                      <a:lnTo>
                        <a:pt x="7626" y="209271"/>
                      </a:lnTo>
                      <a:lnTo>
                        <a:pt x="6715" y="211554"/>
                      </a:lnTo>
                      <a:lnTo>
                        <a:pt x="6448" y="212234"/>
                      </a:lnTo>
                      <a:lnTo>
                        <a:pt x="6351" y="212951"/>
                      </a:lnTo>
                      <a:lnTo>
                        <a:pt x="5938" y="215877"/>
                      </a:lnTo>
                      <a:lnTo>
                        <a:pt x="5829" y="216679"/>
                      </a:lnTo>
                      <a:lnTo>
                        <a:pt x="5926" y="217480"/>
                      </a:lnTo>
                      <a:lnTo>
                        <a:pt x="6339" y="220795"/>
                      </a:lnTo>
                      <a:lnTo>
                        <a:pt x="6436" y="221609"/>
                      </a:lnTo>
                      <a:lnTo>
                        <a:pt x="6751" y="222361"/>
                      </a:lnTo>
                      <a:lnTo>
                        <a:pt x="7893" y="225118"/>
                      </a:lnTo>
                      <a:lnTo>
                        <a:pt x="8646" y="226952"/>
                      </a:lnTo>
                      <a:lnTo>
                        <a:pt x="10346" y="227984"/>
                      </a:lnTo>
                      <a:lnTo>
                        <a:pt x="12361" y="229210"/>
                      </a:lnTo>
                      <a:lnTo>
                        <a:pt x="13114" y="229672"/>
                      </a:lnTo>
                      <a:lnTo>
                        <a:pt x="2999" y="240394"/>
                      </a:lnTo>
                      <a:lnTo>
                        <a:pt x="2307" y="241122"/>
                      </a:lnTo>
                      <a:lnTo>
                        <a:pt x="1894" y="242033"/>
                      </a:lnTo>
                      <a:lnTo>
                        <a:pt x="1081" y="243806"/>
                      </a:lnTo>
                      <a:lnTo>
                        <a:pt x="0" y="246162"/>
                      </a:lnTo>
                      <a:lnTo>
                        <a:pt x="959" y="248566"/>
                      </a:lnTo>
                      <a:lnTo>
                        <a:pt x="1542" y="250035"/>
                      </a:lnTo>
                      <a:lnTo>
                        <a:pt x="2441" y="252306"/>
                      </a:lnTo>
                      <a:lnTo>
                        <a:pt x="4663" y="253326"/>
                      </a:lnTo>
                      <a:lnTo>
                        <a:pt x="6727" y="254273"/>
                      </a:lnTo>
                      <a:lnTo>
                        <a:pt x="9059" y="255123"/>
                      </a:lnTo>
                      <a:lnTo>
                        <a:pt x="9593" y="255317"/>
                      </a:lnTo>
                      <a:lnTo>
                        <a:pt x="10151" y="255402"/>
                      </a:lnTo>
                      <a:lnTo>
                        <a:pt x="20922" y="257066"/>
                      </a:lnTo>
                      <a:lnTo>
                        <a:pt x="24468" y="258390"/>
                      </a:lnTo>
                      <a:lnTo>
                        <a:pt x="26144" y="259021"/>
                      </a:lnTo>
                      <a:lnTo>
                        <a:pt x="27674" y="258681"/>
                      </a:lnTo>
                      <a:lnTo>
                        <a:pt x="28390" y="258972"/>
                      </a:lnTo>
                      <a:lnTo>
                        <a:pt x="36708" y="262445"/>
                      </a:lnTo>
                      <a:lnTo>
                        <a:pt x="45512" y="267752"/>
                      </a:lnTo>
                      <a:lnTo>
                        <a:pt x="45864" y="267958"/>
                      </a:lnTo>
                      <a:lnTo>
                        <a:pt x="46228" y="268116"/>
                      </a:lnTo>
                      <a:lnTo>
                        <a:pt x="56987" y="272791"/>
                      </a:lnTo>
                      <a:lnTo>
                        <a:pt x="58735" y="273848"/>
                      </a:lnTo>
                      <a:lnTo>
                        <a:pt x="60144" y="276325"/>
                      </a:lnTo>
                      <a:lnTo>
                        <a:pt x="67053" y="286124"/>
                      </a:lnTo>
                      <a:lnTo>
                        <a:pt x="70915" y="293009"/>
                      </a:lnTo>
                      <a:lnTo>
                        <a:pt x="69725" y="293531"/>
                      </a:lnTo>
                      <a:lnTo>
                        <a:pt x="68462" y="294090"/>
                      </a:lnTo>
                      <a:lnTo>
                        <a:pt x="67563" y="295134"/>
                      </a:lnTo>
                      <a:lnTo>
                        <a:pt x="66628" y="296227"/>
                      </a:lnTo>
                      <a:lnTo>
                        <a:pt x="65341" y="297745"/>
                      </a:lnTo>
                      <a:lnTo>
                        <a:pt x="65195" y="299724"/>
                      </a:lnTo>
                      <a:lnTo>
                        <a:pt x="65038" y="301910"/>
                      </a:lnTo>
                      <a:lnTo>
                        <a:pt x="64989" y="302651"/>
                      </a:lnTo>
                      <a:lnTo>
                        <a:pt x="65110" y="303379"/>
                      </a:lnTo>
                      <a:lnTo>
                        <a:pt x="65390" y="305031"/>
                      </a:lnTo>
                      <a:lnTo>
                        <a:pt x="65548" y="305978"/>
                      </a:lnTo>
                      <a:lnTo>
                        <a:pt x="65997" y="306828"/>
                      </a:lnTo>
                      <a:lnTo>
                        <a:pt x="69737" y="313980"/>
                      </a:lnTo>
                      <a:lnTo>
                        <a:pt x="93476" y="356808"/>
                      </a:lnTo>
                      <a:lnTo>
                        <a:pt x="103567" y="383693"/>
                      </a:lnTo>
                      <a:lnTo>
                        <a:pt x="106275" y="395884"/>
                      </a:lnTo>
                      <a:lnTo>
                        <a:pt x="106360" y="396273"/>
                      </a:lnTo>
                      <a:lnTo>
                        <a:pt x="106494" y="396637"/>
                      </a:lnTo>
                      <a:lnTo>
                        <a:pt x="107647" y="399794"/>
                      </a:lnTo>
                      <a:lnTo>
                        <a:pt x="107890" y="400450"/>
                      </a:lnTo>
                      <a:lnTo>
                        <a:pt x="108279" y="401033"/>
                      </a:lnTo>
                      <a:lnTo>
                        <a:pt x="110404" y="404299"/>
                      </a:lnTo>
                      <a:lnTo>
                        <a:pt x="110707" y="404761"/>
                      </a:lnTo>
                      <a:lnTo>
                        <a:pt x="111084" y="405161"/>
                      </a:lnTo>
                      <a:lnTo>
                        <a:pt x="115042" y="409326"/>
                      </a:lnTo>
                      <a:lnTo>
                        <a:pt x="115637" y="409958"/>
                      </a:lnTo>
                      <a:lnTo>
                        <a:pt x="116390" y="410395"/>
                      </a:lnTo>
                      <a:lnTo>
                        <a:pt x="120470" y="412775"/>
                      </a:lnTo>
                      <a:lnTo>
                        <a:pt x="123105" y="414305"/>
                      </a:lnTo>
                      <a:lnTo>
                        <a:pt x="125910" y="413103"/>
                      </a:lnTo>
                      <a:lnTo>
                        <a:pt x="129650" y="411512"/>
                      </a:lnTo>
                      <a:lnTo>
                        <a:pt x="130160" y="411378"/>
                      </a:lnTo>
                      <a:lnTo>
                        <a:pt x="130282" y="411378"/>
                      </a:lnTo>
                      <a:lnTo>
                        <a:pt x="132370" y="412289"/>
                      </a:lnTo>
                      <a:lnTo>
                        <a:pt x="132734" y="412447"/>
                      </a:lnTo>
                      <a:lnTo>
                        <a:pt x="133111" y="412556"/>
                      </a:lnTo>
                      <a:lnTo>
                        <a:pt x="134422" y="412933"/>
                      </a:lnTo>
                      <a:lnTo>
                        <a:pt x="135867" y="413346"/>
                      </a:lnTo>
                      <a:lnTo>
                        <a:pt x="137337" y="413042"/>
                      </a:lnTo>
                      <a:lnTo>
                        <a:pt x="138660" y="412775"/>
                      </a:lnTo>
                      <a:lnTo>
                        <a:pt x="140202" y="412459"/>
                      </a:lnTo>
                      <a:lnTo>
                        <a:pt x="141404" y="411427"/>
                      </a:lnTo>
                      <a:lnTo>
                        <a:pt x="142655" y="410346"/>
                      </a:lnTo>
                      <a:lnTo>
                        <a:pt x="143372" y="409727"/>
                      </a:lnTo>
                      <a:lnTo>
                        <a:pt x="143870" y="408926"/>
                      </a:lnTo>
                      <a:lnTo>
                        <a:pt x="144975" y="407116"/>
                      </a:lnTo>
                      <a:lnTo>
                        <a:pt x="145557" y="406157"/>
                      </a:lnTo>
                      <a:lnTo>
                        <a:pt x="145764" y="405052"/>
                      </a:lnTo>
                      <a:lnTo>
                        <a:pt x="145776" y="404955"/>
                      </a:lnTo>
                      <a:lnTo>
                        <a:pt x="146517" y="405064"/>
                      </a:lnTo>
                      <a:lnTo>
                        <a:pt x="148593" y="403376"/>
                      </a:lnTo>
                      <a:lnTo>
                        <a:pt x="149577" y="402575"/>
                      </a:lnTo>
                      <a:lnTo>
                        <a:pt x="151095" y="401336"/>
                      </a:lnTo>
                      <a:lnTo>
                        <a:pt x="151605" y="399442"/>
                      </a:lnTo>
                      <a:lnTo>
                        <a:pt x="152175" y="397317"/>
                      </a:lnTo>
                      <a:lnTo>
                        <a:pt x="152491" y="396127"/>
                      </a:lnTo>
                      <a:lnTo>
                        <a:pt x="152321" y="394900"/>
                      </a:lnTo>
                      <a:lnTo>
                        <a:pt x="151714" y="390480"/>
                      </a:lnTo>
                      <a:lnTo>
                        <a:pt x="152005" y="390408"/>
                      </a:lnTo>
                      <a:lnTo>
                        <a:pt x="152260" y="390347"/>
                      </a:lnTo>
                      <a:lnTo>
                        <a:pt x="157895" y="400535"/>
                      </a:lnTo>
                      <a:lnTo>
                        <a:pt x="161440" y="407566"/>
                      </a:lnTo>
                      <a:lnTo>
                        <a:pt x="162388" y="410771"/>
                      </a:lnTo>
                      <a:lnTo>
                        <a:pt x="163250" y="413698"/>
                      </a:lnTo>
                      <a:lnTo>
                        <a:pt x="166103" y="414754"/>
                      </a:lnTo>
                      <a:lnTo>
                        <a:pt x="167585" y="415301"/>
                      </a:lnTo>
                      <a:lnTo>
                        <a:pt x="169273" y="415920"/>
                      </a:lnTo>
                      <a:lnTo>
                        <a:pt x="171021" y="415531"/>
                      </a:lnTo>
                      <a:lnTo>
                        <a:pt x="172053" y="415301"/>
                      </a:lnTo>
                      <a:lnTo>
                        <a:pt x="172187" y="415276"/>
                      </a:lnTo>
                      <a:lnTo>
                        <a:pt x="172600" y="415616"/>
                      </a:lnTo>
                      <a:lnTo>
                        <a:pt x="174154" y="416903"/>
                      </a:lnTo>
                      <a:lnTo>
                        <a:pt x="175016" y="417620"/>
                      </a:lnTo>
                      <a:lnTo>
                        <a:pt x="176073" y="417972"/>
                      </a:lnTo>
                      <a:lnTo>
                        <a:pt x="176935" y="418263"/>
                      </a:lnTo>
                      <a:lnTo>
                        <a:pt x="180760" y="419551"/>
                      </a:lnTo>
                      <a:lnTo>
                        <a:pt x="180784" y="419514"/>
                      </a:lnTo>
                      <a:lnTo>
                        <a:pt x="180796" y="419563"/>
                      </a:lnTo>
                      <a:lnTo>
                        <a:pt x="181367" y="421032"/>
                      </a:lnTo>
                      <a:lnTo>
                        <a:pt x="182593" y="422040"/>
                      </a:lnTo>
                      <a:lnTo>
                        <a:pt x="183625" y="422890"/>
                      </a:lnTo>
                      <a:lnTo>
                        <a:pt x="186090" y="424918"/>
                      </a:lnTo>
                      <a:lnTo>
                        <a:pt x="188786" y="424141"/>
                      </a:lnTo>
                      <a:lnTo>
                        <a:pt x="188932" y="424748"/>
                      </a:lnTo>
                      <a:lnTo>
                        <a:pt x="189114" y="425489"/>
                      </a:lnTo>
                      <a:lnTo>
                        <a:pt x="190122" y="429532"/>
                      </a:lnTo>
                      <a:lnTo>
                        <a:pt x="193425" y="429957"/>
                      </a:lnTo>
                      <a:lnTo>
                        <a:pt x="193364" y="430079"/>
                      </a:lnTo>
                      <a:lnTo>
                        <a:pt x="193000" y="430856"/>
                      </a:lnTo>
                      <a:lnTo>
                        <a:pt x="192866" y="431694"/>
                      </a:lnTo>
                      <a:lnTo>
                        <a:pt x="192587" y="433381"/>
                      </a:lnTo>
                      <a:lnTo>
                        <a:pt x="192526" y="433770"/>
                      </a:lnTo>
                      <a:lnTo>
                        <a:pt x="192514" y="434171"/>
                      </a:lnTo>
                      <a:lnTo>
                        <a:pt x="192223" y="442987"/>
                      </a:lnTo>
                      <a:lnTo>
                        <a:pt x="192186" y="444043"/>
                      </a:lnTo>
                      <a:lnTo>
                        <a:pt x="192502" y="445051"/>
                      </a:lnTo>
                      <a:lnTo>
                        <a:pt x="193012" y="446642"/>
                      </a:lnTo>
                      <a:lnTo>
                        <a:pt x="193704" y="448791"/>
                      </a:lnTo>
                      <a:lnTo>
                        <a:pt x="195198" y="449702"/>
                      </a:lnTo>
                      <a:lnTo>
                        <a:pt x="195052" y="449957"/>
                      </a:lnTo>
                      <a:lnTo>
                        <a:pt x="194918" y="450260"/>
                      </a:lnTo>
                      <a:lnTo>
                        <a:pt x="194226" y="451839"/>
                      </a:lnTo>
                      <a:lnTo>
                        <a:pt x="193959" y="452446"/>
                      </a:lnTo>
                      <a:lnTo>
                        <a:pt x="193826" y="453102"/>
                      </a:lnTo>
                      <a:lnTo>
                        <a:pt x="193473" y="454911"/>
                      </a:lnTo>
                      <a:lnTo>
                        <a:pt x="193376" y="455409"/>
                      </a:lnTo>
                      <a:lnTo>
                        <a:pt x="193364" y="455919"/>
                      </a:lnTo>
                      <a:lnTo>
                        <a:pt x="193304" y="458044"/>
                      </a:lnTo>
                      <a:lnTo>
                        <a:pt x="193291" y="458627"/>
                      </a:lnTo>
                      <a:lnTo>
                        <a:pt x="193388" y="459210"/>
                      </a:lnTo>
                      <a:lnTo>
                        <a:pt x="193741" y="461310"/>
                      </a:lnTo>
                      <a:lnTo>
                        <a:pt x="193789" y="461638"/>
                      </a:lnTo>
                      <a:lnTo>
                        <a:pt x="193874" y="461954"/>
                      </a:lnTo>
                      <a:lnTo>
                        <a:pt x="194506" y="464212"/>
                      </a:lnTo>
                      <a:lnTo>
                        <a:pt x="195526" y="466993"/>
                      </a:lnTo>
                      <a:lnTo>
                        <a:pt x="195781" y="467649"/>
                      </a:lnTo>
                      <a:lnTo>
                        <a:pt x="196181" y="468232"/>
                      </a:lnTo>
                      <a:lnTo>
                        <a:pt x="198076" y="471049"/>
                      </a:lnTo>
                      <a:lnTo>
                        <a:pt x="198428" y="471571"/>
                      </a:lnTo>
                      <a:lnTo>
                        <a:pt x="198889" y="472020"/>
                      </a:lnTo>
                      <a:lnTo>
                        <a:pt x="202569" y="475578"/>
                      </a:lnTo>
                      <a:lnTo>
                        <a:pt x="202836" y="475845"/>
                      </a:lnTo>
                      <a:lnTo>
                        <a:pt x="203139" y="476076"/>
                      </a:lnTo>
                      <a:lnTo>
                        <a:pt x="213060" y="483520"/>
                      </a:lnTo>
                      <a:lnTo>
                        <a:pt x="216727" y="487393"/>
                      </a:lnTo>
                      <a:lnTo>
                        <a:pt x="217019" y="487697"/>
                      </a:lnTo>
                      <a:lnTo>
                        <a:pt x="217346" y="487964"/>
                      </a:lnTo>
                      <a:lnTo>
                        <a:pt x="226077" y="494910"/>
                      </a:lnTo>
                      <a:lnTo>
                        <a:pt x="231007" y="498832"/>
                      </a:lnTo>
                      <a:lnTo>
                        <a:pt x="234747" y="493768"/>
                      </a:lnTo>
                      <a:lnTo>
                        <a:pt x="235221" y="493125"/>
                      </a:lnTo>
                      <a:lnTo>
                        <a:pt x="236022" y="492384"/>
                      </a:lnTo>
                      <a:lnTo>
                        <a:pt x="236132" y="492627"/>
                      </a:lnTo>
                      <a:lnTo>
                        <a:pt x="236775" y="493343"/>
                      </a:lnTo>
                      <a:lnTo>
                        <a:pt x="238390" y="495128"/>
                      </a:lnTo>
                      <a:lnTo>
                        <a:pt x="239107" y="495918"/>
                      </a:lnTo>
                      <a:lnTo>
                        <a:pt x="240042" y="496415"/>
                      </a:lnTo>
                      <a:lnTo>
                        <a:pt x="241827" y="497363"/>
                      </a:lnTo>
                      <a:lnTo>
                        <a:pt x="242774" y="497860"/>
                      </a:lnTo>
                      <a:lnTo>
                        <a:pt x="243818" y="498018"/>
                      </a:lnTo>
                      <a:lnTo>
                        <a:pt x="246635" y="498419"/>
                      </a:lnTo>
                      <a:lnTo>
                        <a:pt x="247922" y="498601"/>
                      </a:lnTo>
                      <a:lnTo>
                        <a:pt x="249173" y="498237"/>
                      </a:lnTo>
                      <a:lnTo>
                        <a:pt x="251359" y="497605"/>
                      </a:lnTo>
                      <a:lnTo>
                        <a:pt x="252464" y="497496"/>
                      </a:lnTo>
                      <a:lnTo>
                        <a:pt x="252670" y="497533"/>
                      </a:lnTo>
                      <a:lnTo>
                        <a:pt x="254431" y="499342"/>
                      </a:lnTo>
                      <a:lnTo>
                        <a:pt x="255694" y="501006"/>
                      </a:lnTo>
                      <a:lnTo>
                        <a:pt x="256192" y="502074"/>
                      </a:lnTo>
                      <a:lnTo>
                        <a:pt x="256920" y="505280"/>
                      </a:lnTo>
                      <a:lnTo>
                        <a:pt x="257017" y="505705"/>
                      </a:lnTo>
                      <a:lnTo>
                        <a:pt x="257175" y="506118"/>
                      </a:lnTo>
                      <a:lnTo>
                        <a:pt x="258086" y="508486"/>
                      </a:lnTo>
                      <a:lnTo>
                        <a:pt x="258426" y="509372"/>
                      </a:lnTo>
                      <a:lnTo>
                        <a:pt x="259021" y="510113"/>
                      </a:lnTo>
                      <a:lnTo>
                        <a:pt x="260454" y="511886"/>
                      </a:lnTo>
                      <a:lnTo>
                        <a:pt x="260988" y="512553"/>
                      </a:lnTo>
                      <a:lnTo>
                        <a:pt x="261692" y="513051"/>
                      </a:lnTo>
                      <a:lnTo>
                        <a:pt x="263125" y="514059"/>
                      </a:lnTo>
                      <a:lnTo>
                        <a:pt x="264036" y="514703"/>
                      </a:lnTo>
                      <a:lnTo>
                        <a:pt x="265117" y="514970"/>
                      </a:lnTo>
                      <a:lnTo>
                        <a:pt x="266890" y="515419"/>
                      </a:lnTo>
                      <a:lnTo>
                        <a:pt x="266987" y="515468"/>
                      </a:lnTo>
                      <a:lnTo>
                        <a:pt x="266938" y="516743"/>
                      </a:lnTo>
                      <a:lnTo>
                        <a:pt x="267460" y="517981"/>
                      </a:lnTo>
                      <a:lnTo>
                        <a:pt x="268031" y="519366"/>
                      </a:lnTo>
                      <a:lnTo>
                        <a:pt x="268735" y="521041"/>
                      </a:lnTo>
                      <a:lnTo>
                        <a:pt x="270241" y="522049"/>
                      </a:lnTo>
                      <a:lnTo>
                        <a:pt x="272366" y="523482"/>
                      </a:lnTo>
                      <a:lnTo>
                        <a:pt x="273010" y="523919"/>
                      </a:lnTo>
                      <a:lnTo>
                        <a:pt x="273738" y="524174"/>
                      </a:lnTo>
                      <a:lnTo>
                        <a:pt x="278996" y="526044"/>
                      </a:lnTo>
                      <a:lnTo>
                        <a:pt x="286695" y="530367"/>
                      </a:lnTo>
                      <a:lnTo>
                        <a:pt x="291042" y="533124"/>
                      </a:lnTo>
                      <a:lnTo>
                        <a:pt x="292353" y="534508"/>
                      </a:lnTo>
                      <a:lnTo>
                        <a:pt x="294612" y="537556"/>
                      </a:lnTo>
                      <a:lnTo>
                        <a:pt x="295292" y="538989"/>
                      </a:lnTo>
                      <a:lnTo>
                        <a:pt x="295438" y="540312"/>
                      </a:lnTo>
                      <a:lnTo>
                        <a:pt x="294794" y="545024"/>
                      </a:lnTo>
                      <a:lnTo>
                        <a:pt x="294721" y="545606"/>
                      </a:lnTo>
                      <a:lnTo>
                        <a:pt x="294758" y="546189"/>
                      </a:lnTo>
                      <a:lnTo>
                        <a:pt x="295049" y="551217"/>
                      </a:lnTo>
                      <a:lnTo>
                        <a:pt x="294794" y="552637"/>
                      </a:lnTo>
                      <a:lnTo>
                        <a:pt x="293956" y="554495"/>
                      </a:lnTo>
                      <a:lnTo>
                        <a:pt x="292475" y="557057"/>
                      </a:lnTo>
                      <a:lnTo>
                        <a:pt x="291297" y="559158"/>
                      </a:lnTo>
                      <a:lnTo>
                        <a:pt x="291880" y="561502"/>
                      </a:lnTo>
                      <a:lnTo>
                        <a:pt x="292620" y="564464"/>
                      </a:lnTo>
                      <a:lnTo>
                        <a:pt x="292936" y="565752"/>
                      </a:lnTo>
                      <a:lnTo>
                        <a:pt x="293774" y="566796"/>
                      </a:lnTo>
                      <a:lnTo>
                        <a:pt x="296348" y="570002"/>
                      </a:lnTo>
                      <a:lnTo>
                        <a:pt x="296785" y="570536"/>
                      </a:lnTo>
                      <a:lnTo>
                        <a:pt x="297320" y="570961"/>
                      </a:lnTo>
                      <a:lnTo>
                        <a:pt x="305322" y="577275"/>
                      </a:lnTo>
                      <a:lnTo>
                        <a:pt x="305359" y="577773"/>
                      </a:lnTo>
                      <a:lnTo>
                        <a:pt x="305504" y="578295"/>
                      </a:lnTo>
                      <a:lnTo>
                        <a:pt x="305784" y="579303"/>
                      </a:lnTo>
                      <a:lnTo>
                        <a:pt x="306014" y="580117"/>
                      </a:lnTo>
                      <a:lnTo>
                        <a:pt x="306451" y="580845"/>
                      </a:lnTo>
                      <a:lnTo>
                        <a:pt x="307204" y="582084"/>
                      </a:lnTo>
                      <a:lnTo>
                        <a:pt x="308564" y="584330"/>
                      </a:lnTo>
                      <a:lnTo>
                        <a:pt x="311126" y="584877"/>
                      </a:lnTo>
                      <a:lnTo>
                        <a:pt x="312328" y="585132"/>
                      </a:lnTo>
                      <a:lnTo>
                        <a:pt x="314587" y="585605"/>
                      </a:lnTo>
                      <a:lnTo>
                        <a:pt x="316591" y="584464"/>
                      </a:lnTo>
                      <a:lnTo>
                        <a:pt x="318801" y="583213"/>
                      </a:lnTo>
                      <a:lnTo>
                        <a:pt x="322164" y="584816"/>
                      </a:lnTo>
                      <a:lnTo>
                        <a:pt x="324727" y="586540"/>
                      </a:lnTo>
                      <a:lnTo>
                        <a:pt x="325273" y="586905"/>
                      </a:lnTo>
                      <a:lnTo>
                        <a:pt x="325880" y="587147"/>
                      </a:lnTo>
                      <a:lnTo>
                        <a:pt x="327993" y="587985"/>
                      </a:lnTo>
                      <a:lnTo>
                        <a:pt x="328588" y="588228"/>
                      </a:lnTo>
                      <a:lnTo>
                        <a:pt x="329219" y="588337"/>
                      </a:lnTo>
                      <a:lnTo>
                        <a:pt x="337052" y="589649"/>
                      </a:lnTo>
                      <a:lnTo>
                        <a:pt x="337088" y="589710"/>
                      </a:lnTo>
                      <a:lnTo>
                        <a:pt x="337902" y="590900"/>
                      </a:lnTo>
                      <a:lnTo>
                        <a:pt x="338484" y="591738"/>
                      </a:lnTo>
                      <a:lnTo>
                        <a:pt x="339310" y="592333"/>
                      </a:lnTo>
                      <a:lnTo>
                        <a:pt x="341132" y="593656"/>
                      </a:lnTo>
                      <a:lnTo>
                        <a:pt x="342868" y="594919"/>
                      </a:lnTo>
                      <a:lnTo>
                        <a:pt x="345017" y="594810"/>
                      </a:lnTo>
                      <a:lnTo>
                        <a:pt x="348126" y="594652"/>
                      </a:lnTo>
                      <a:lnTo>
                        <a:pt x="349170" y="594591"/>
                      </a:lnTo>
                      <a:lnTo>
                        <a:pt x="349462" y="594470"/>
                      </a:lnTo>
                      <a:lnTo>
                        <a:pt x="349486" y="594628"/>
                      </a:lnTo>
                      <a:lnTo>
                        <a:pt x="352267" y="595903"/>
                      </a:lnTo>
                      <a:lnTo>
                        <a:pt x="353639" y="596534"/>
                      </a:lnTo>
                      <a:lnTo>
                        <a:pt x="354744" y="597044"/>
                      </a:lnTo>
                      <a:lnTo>
                        <a:pt x="355958" y="597093"/>
                      </a:lnTo>
                      <a:lnTo>
                        <a:pt x="359637" y="597238"/>
                      </a:lnTo>
                      <a:lnTo>
                        <a:pt x="359990" y="597250"/>
                      </a:lnTo>
                      <a:lnTo>
                        <a:pt x="360342" y="597226"/>
                      </a:lnTo>
                      <a:lnTo>
                        <a:pt x="362867" y="597032"/>
                      </a:lnTo>
                      <a:lnTo>
                        <a:pt x="363268" y="597008"/>
                      </a:lnTo>
                      <a:lnTo>
                        <a:pt x="363657" y="596923"/>
                      </a:lnTo>
                      <a:lnTo>
                        <a:pt x="366122" y="596400"/>
                      </a:lnTo>
                      <a:lnTo>
                        <a:pt x="366753" y="596267"/>
                      </a:lnTo>
                      <a:lnTo>
                        <a:pt x="367336" y="596012"/>
                      </a:lnTo>
                      <a:lnTo>
                        <a:pt x="367506" y="595939"/>
                      </a:lnTo>
                      <a:lnTo>
                        <a:pt x="370214" y="598440"/>
                      </a:lnTo>
                      <a:lnTo>
                        <a:pt x="370809" y="598987"/>
                      </a:lnTo>
                      <a:lnTo>
                        <a:pt x="371525" y="599363"/>
                      </a:lnTo>
                      <a:lnTo>
                        <a:pt x="380038" y="603808"/>
                      </a:lnTo>
                      <a:lnTo>
                        <a:pt x="383243" y="605483"/>
                      </a:lnTo>
                      <a:lnTo>
                        <a:pt x="386243" y="603455"/>
                      </a:lnTo>
                      <a:lnTo>
                        <a:pt x="390893" y="600323"/>
                      </a:lnTo>
                      <a:lnTo>
                        <a:pt x="388355" y="595295"/>
                      </a:lnTo>
                      <a:lnTo>
                        <a:pt x="387663" y="594069"/>
                      </a:lnTo>
                      <a:lnTo>
                        <a:pt x="387505" y="593790"/>
                      </a:lnTo>
                      <a:lnTo>
                        <a:pt x="387311" y="593535"/>
                      </a:lnTo>
                      <a:lnTo>
                        <a:pt x="387008" y="593098"/>
                      </a:lnTo>
                      <a:lnTo>
                        <a:pt x="387202" y="593025"/>
                      </a:lnTo>
                      <a:lnTo>
                        <a:pt x="390942" y="592381"/>
                      </a:lnTo>
                      <a:lnTo>
                        <a:pt x="394573" y="592163"/>
                      </a:lnTo>
                      <a:lnTo>
                        <a:pt x="394998" y="592138"/>
                      </a:lnTo>
                      <a:lnTo>
                        <a:pt x="395423" y="592053"/>
                      </a:lnTo>
                      <a:lnTo>
                        <a:pt x="399260" y="591276"/>
                      </a:lnTo>
                      <a:lnTo>
                        <a:pt x="399867" y="591155"/>
                      </a:lnTo>
                      <a:lnTo>
                        <a:pt x="400438" y="590900"/>
                      </a:lnTo>
                      <a:lnTo>
                        <a:pt x="404870" y="589005"/>
                      </a:lnTo>
                      <a:lnTo>
                        <a:pt x="405234" y="588847"/>
                      </a:lnTo>
                      <a:lnTo>
                        <a:pt x="405574" y="588641"/>
                      </a:lnTo>
                      <a:lnTo>
                        <a:pt x="420219" y="579971"/>
                      </a:lnTo>
                      <a:lnTo>
                        <a:pt x="423376" y="578611"/>
                      </a:lnTo>
                      <a:lnTo>
                        <a:pt x="424384" y="578502"/>
                      </a:lnTo>
                      <a:lnTo>
                        <a:pt x="426873" y="578235"/>
                      </a:lnTo>
                      <a:lnTo>
                        <a:pt x="428451" y="576280"/>
                      </a:lnTo>
                      <a:lnTo>
                        <a:pt x="430576" y="573645"/>
                      </a:lnTo>
                      <a:lnTo>
                        <a:pt x="431536" y="572455"/>
                      </a:lnTo>
                      <a:lnTo>
                        <a:pt x="431815" y="570961"/>
                      </a:lnTo>
                      <a:lnTo>
                        <a:pt x="432216" y="568836"/>
                      </a:lnTo>
                      <a:lnTo>
                        <a:pt x="432337" y="568168"/>
                      </a:lnTo>
                      <a:lnTo>
                        <a:pt x="432313" y="567500"/>
                      </a:lnTo>
                      <a:lnTo>
                        <a:pt x="432252" y="565691"/>
                      </a:lnTo>
                      <a:lnTo>
                        <a:pt x="432240" y="565266"/>
                      </a:lnTo>
                      <a:lnTo>
                        <a:pt x="432167" y="564841"/>
                      </a:lnTo>
                      <a:lnTo>
                        <a:pt x="431936" y="563529"/>
                      </a:lnTo>
                      <a:lnTo>
                        <a:pt x="431657" y="561914"/>
                      </a:lnTo>
                      <a:lnTo>
                        <a:pt x="430601" y="560664"/>
                      </a:lnTo>
                      <a:lnTo>
                        <a:pt x="429678" y="559571"/>
                      </a:lnTo>
                      <a:lnTo>
                        <a:pt x="428318" y="557956"/>
                      </a:lnTo>
                      <a:lnTo>
                        <a:pt x="426241" y="557543"/>
                      </a:lnTo>
                      <a:lnTo>
                        <a:pt x="424286" y="557154"/>
                      </a:lnTo>
                      <a:lnTo>
                        <a:pt x="423922" y="557082"/>
                      </a:lnTo>
                      <a:lnTo>
                        <a:pt x="423546" y="557057"/>
                      </a:lnTo>
                      <a:lnTo>
                        <a:pt x="421906" y="556936"/>
                      </a:lnTo>
                      <a:lnTo>
                        <a:pt x="420607" y="554762"/>
                      </a:lnTo>
                      <a:lnTo>
                        <a:pt x="420996" y="554507"/>
                      </a:lnTo>
                      <a:lnTo>
                        <a:pt x="421724" y="553269"/>
                      </a:lnTo>
                      <a:lnTo>
                        <a:pt x="422829" y="551374"/>
                      </a:lnTo>
                      <a:lnTo>
                        <a:pt x="423400" y="550403"/>
                      </a:lnTo>
                      <a:lnTo>
                        <a:pt x="423582" y="549298"/>
                      </a:lnTo>
                      <a:lnTo>
                        <a:pt x="423910" y="547343"/>
                      </a:lnTo>
                      <a:lnTo>
                        <a:pt x="424104" y="546202"/>
                      </a:lnTo>
                      <a:lnTo>
                        <a:pt x="423861" y="545072"/>
                      </a:lnTo>
                      <a:lnTo>
                        <a:pt x="422720" y="539766"/>
                      </a:lnTo>
                      <a:lnTo>
                        <a:pt x="422550" y="539001"/>
                      </a:lnTo>
                      <a:lnTo>
                        <a:pt x="422198" y="538296"/>
                      </a:lnTo>
                      <a:lnTo>
                        <a:pt x="421396" y="536718"/>
                      </a:lnTo>
                      <a:lnTo>
                        <a:pt x="421056" y="536038"/>
                      </a:lnTo>
                      <a:lnTo>
                        <a:pt x="420546" y="535467"/>
                      </a:lnTo>
                      <a:lnTo>
                        <a:pt x="418385" y="533002"/>
                      </a:lnTo>
                      <a:lnTo>
                        <a:pt x="418239" y="532492"/>
                      </a:lnTo>
                      <a:lnTo>
                        <a:pt x="418094" y="528728"/>
                      </a:lnTo>
                      <a:lnTo>
                        <a:pt x="418081" y="528121"/>
                      </a:lnTo>
                      <a:lnTo>
                        <a:pt x="417936" y="527526"/>
                      </a:lnTo>
                      <a:lnTo>
                        <a:pt x="417122" y="524138"/>
                      </a:lnTo>
                      <a:lnTo>
                        <a:pt x="416685" y="522341"/>
                      </a:lnTo>
                      <a:lnTo>
                        <a:pt x="415325" y="521090"/>
                      </a:lnTo>
                      <a:lnTo>
                        <a:pt x="411476" y="517544"/>
                      </a:lnTo>
                      <a:lnTo>
                        <a:pt x="411463" y="517471"/>
                      </a:lnTo>
                      <a:lnTo>
                        <a:pt x="411646" y="515796"/>
                      </a:lnTo>
                      <a:lnTo>
                        <a:pt x="415628" y="507441"/>
                      </a:lnTo>
                      <a:lnTo>
                        <a:pt x="415786" y="507126"/>
                      </a:lnTo>
                      <a:lnTo>
                        <a:pt x="415896" y="506798"/>
                      </a:lnTo>
                      <a:lnTo>
                        <a:pt x="417146" y="503143"/>
                      </a:lnTo>
                      <a:lnTo>
                        <a:pt x="418470" y="503155"/>
                      </a:lnTo>
                      <a:lnTo>
                        <a:pt x="420935" y="503179"/>
                      </a:lnTo>
                      <a:lnTo>
                        <a:pt x="425646" y="503228"/>
                      </a:lnTo>
                      <a:lnTo>
                        <a:pt x="426861" y="498674"/>
                      </a:lnTo>
                      <a:lnTo>
                        <a:pt x="428075" y="494133"/>
                      </a:lnTo>
                      <a:lnTo>
                        <a:pt x="428306" y="493283"/>
                      </a:lnTo>
                      <a:lnTo>
                        <a:pt x="428294" y="492408"/>
                      </a:lnTo>
                      <a:lnTo>
                        <a:pt x="428172" y="487454"/>
                      </a:lnTo>
                      <a:lnTo>
                        <a:pt x="428148" y="486628"/>
                      </a:lnTo>
                      <a:lnTo>
                        <a:pt x="427905" y="485839"/>
                      </a:lnTo>
                      <a:lnTo>
                        <a:pt x="427213" y="483592"/>
                      </a:lnTo>
                      <a:lnTo>
                        <a:pt x="426727" y="482026"/>
                      </a:lnTo>
                      <a:lnTo>
                        <a:pt x="425513" y="480909"/>
                      </a:lnTo>
                      <a:lnTo>
                        <a:pt x="424481" y="479962"/>
                      </a:lnTo>
                      <a:lnTo>
                        <a:pt x="424748" y="479828"/>
                      </a:lnTo>
                      <a:lnTo>
                        <a:pt x="425683" y="479379"/>
                      </a:lnTo>
                      <a:lnTo>
                        <a:pt x="426424" y="478650"/>
                      </a:lnTo>
                      <a:lnTo>
                        <a:pt x="428099" y="476987"/>
                      </a:lnTo>
                      <a:lnTo>
                        <a:pt x="428876" y="476210"/>
                      </a:lnTo>
                      <a:lnTo>
                        <a:pt x="429338" y="475202"/>
                      </a:lnTo>
                      <a:lnTo>
                        <a:pt x="430467" y="472737"/>
                      </a:lnTo>
                      <a:lnTo>
                        <a:pt x="431184" y="471195"/>
                      </a:lnTo>
                      <a:lnTo>
                        <a:pt x="430977" y="469507"/>
                      </a:lnTo>
                      <a:lnTo>
                        <a:pt x="430759" y="467637"/>
                      </a:lnTo>
                      <a:lnTo>
                        <a:pt x="430625" y="466447"/>
                      </a:lnTo>
                      <a:lnTo>
                        <a:pt x="430054" y="465415"/>
                      </a:lnTo>
                      <a:lnTo>
                        <a:pt x="429459" y="464334"/>
                      </a:lnTo>
                      <a:lnTo>
                        <a:pt x="439987" y="454158"/>
                      </a:lnTo>
                      <a:lnTo>
                        <a:pt x="440230" y="453927"/>
                      </a:lnTo>
                      <a:lnTo>
                        <a:pt x="440449" y="453672"/>
                      </a:lnTo>
                      <a:lnTo>
                        <a:pt x="446265" y="446666"/>
                      </a:lnTo>
                      <a:lnTo>
                        <a:pt x="451474" y="441602"/>
                      </a:lnTo>
                      <a:lnTo>
                        <a:pt x="452604" y="440825"/>
                      </a:lnTo>
                      <a:lnTo>
                        <a:pt x="453004" y="440704"/>
                      </a:lnTo>
                      <a:lnTo>
                        <a:pt x="453599" y="440704"/>
                      </a:lnTo>
                      <a:lnTo>
                        <a:pt x="461626" y="442088"/>
                      </a:lnTo>
                      <a:lnTo>
                        <a:pt x="462282" y="442197"/>
                      </a:lnTo>
                      <a:lnTo>
                        <a:pt x="462950" y="442173"/>
                      </a:lnTo>
                      <a:lnTo>
                        <a:pt x="466447" y="442003"/>
                      </a:lnTo>
                      <a:lnTo>
                        <a:pt x="466957" y="441979"/>
                      </a:lnTo>
                      <a:lnTo>
                        <a:pt x="467455" y="441869"/>
                      </a:lnTo>
                      <a:lnTo>
                        <a:pt x="469701" y="441384"/>
                      </a:lnTo>
                      <a:lnTo>
                        <a:pt x="470344" y="441238"/>
                      </a:lnTo>
                      <a:lnTo>
                        <a:pt x="470940" y="440971"/>
                      </a:lnTo>
                      <a:lnTo>
                        <a:pt x="476792" y="438299"/>
                      </a:lnTo>
                      <a:lnTo>
                        <a:pt x="477290" y="438069"/>
                      </a:lnTo>
                      <a:lnTo>
                        <a:pt x="477740" y="437753"/>
                      </a:lnTo>
                      <a:lnTo>
                        <a:pt x="486130" y="431936"/>
                      </a:lnTo>
                      <a:lnTo>
                        <a:pt x="498249" y="425367"/>
                      </a:lnTo>
                      <a:lnTo>
                        <a:pt x="506713" y="422841"/>
                      </a:lnTo>
                      <a:lnTo>
                        <a:pt x="507551" y="422586"/>
                      </a:lnTo>
                      <a:lnTo>
                        <a:pt x="508291" y="422113"/>
                      </a:lnTo>
                      <a:lnTo>
                        <a:pt x="516937" y="416515"/>
                      </a:lnTo>
                      <a:lnTo>
                        <a:pt x="517787" y="416248"/>
                      </a:lnTo>
                      <a:lnTo>
                        <a:pt x="519329" y="416211"/>
                      </a:lnTo>
                      <a:lnTo>
                        <a:pt x="525510" y="417086"/>
                      </a:lnTo>
                      <a:lnTo>
                        <a:pt x="525947" y="417146"/>
                      </a:lnTo>
                      <a:lnTo>
                        <a:pt x="526396" y="417146"/>
                      </a:lnTo>
                      <a:lnTo>
                        <a:pt x="528971" y="417134"/>
                      </a:lnTo>
                      <a:lnTo>
                        <a:pt x="529080" y="417328"/>
                      </a:lnTo>
                      <a:lnTo>
                        <a:pt x="529796" y="418567"/>
                      </a:lnTo>
                      <a:lnTo>
                        <a:pt x="530986" y="419356"/>
                      </a:lnTo>
                      <a:lnTo>
                        <a:pt x="532941" y="420656"/>
                      </a:lnTo>
                      <a:lnTo>
                        <a:pt x="534362" y="421603"/>
                      </a:lnTo>
                      <a:lnTo>
                        <a:pt x="536062" y="421664"/>
                      </a:lnTo>
                      <a:lnTo>
                        <a:pt x="537835" y="421736"/>
                      </a:lnTo>
                      <a:lnTo>
                        <a:pt x="538539" y="421761"/>
                      </a:lnTo>
                      <a:lnTo>
                        <a:pt x="539231" y="421627"/>
                      </a:lnTo>
                      <a:lnTo>
                        <a:pt x="540021" y="421469"/>
                      </a:lnTo>
                      <a:lnTo>
                        <a:pt x="545437" y="427237"/>
                      </a:lnTo>
                      <a:lnTo>
                        <a:pt x="545971" y="427808"/>
                      </a:lnTo>
                      <a:lnTo>
                        <a:pt x="546639" y="428221"/>
                      </a:lnTo>
                      <a:lnTo>
                        <a:pt x="549844" y="430224"/>
                      </a:lnTo>
                      <a:lnTo>
                        <a:pt x="550573" y="430686"/>
                      </a:lnTo>
                      <a:lnTo>
                        <a:pt x="551399" y="430916"/>
                      </a:lnTo>
                      <a:lnTo>
                        <a:pt x="553305" y="431463"/>
                      </a:lnTo>
                      <a:lnTo>
                        <a:pt x="554483" y="431803"/>
                      </a:lnTo>
                      <a:lnTo>
                        <a:pt x="555709" y="431657"/>
                      </a:lnTo>
                      <a:lnTo>
                        <a:pt x="559037" y="431256"/>
                      </a:lnTo>
                      <a:lnTo>
                        <a:pt x="559450" y="431208"/>
                      </a:lnTo>
                      <a:lnTo>
                        <a:pt x="559838" y="431111"/>
                      </a:lnTo>
                      <a:lnTo>
                        <a:pt x="563396" y="430176"/>
                      </a:lnTo>
                      <a:lnTo>
                        <a:pt x="570366" y="429338"/>
                      </a:lnTo>
                      <a:lnTo>
                        <a:pt x="573620" y="429484"/>
                      </a:lnTo>
                      <a:lnTo>
                        <a:pt x="575442" y="429957"/>
                      </a:lnTo>
                      <a:lnTo>
                        <a:pt x="576899" y="430734"/>
                      </a:lnTo>
                      <a:lnTo>
                        <a:pt x="577385" y="430989"/>
                      </a:lnTo>
                      <a:lnTo>
                        <a:pt x="577907" y="431159"/>
                      </a:lnTo>
                      <a:lnTo>
                        <a:pt x="581367" y="432276"/>
                      </a:lnTo>
                      <a:lnTo>
                        <a:pt x="582035" y="432495"/>
                      </a:lnTo>
                      <a:lnTo>
                        <a:pt x="582740" y="432556"/>
                      </a:lnTo>
                      <a:lnTo>
                        <a:pt x="585545" y="432786"/>
                      </a:lnTo>
                      <a:lnTo>
                        <a:pt x="586042" y="432823"/>
                      </a:lnTo>
                      <a:lnTo>
                        <a:pt x="586540" y="432786"/>
                      </a:lnTo>
                      <a:lnTo>
                        <a:pt x="589940" y="432507"/>
                      </a:lnTo>
                      <a:lnTo>
                        <a:pt x="596158" y="432920"/>
                      </a:lnTo>
                      <a:lnTo>
                        <a:pt x="601403" y="433782"/>
                      </a:lnTo>
                      <a:lnTo>
                        <a:pt x="601950" y="433867"/>
                      </a:lnTo>
                      <a:lnTo>
                        <a:pt x="602508" y="433855"/>
                      </a:lnTo>
                      <a:lnTo>
                        <a:pt x="606382" y="433770"/>
                      </a:lnTo>
                      <a:lnTo>
                        <a:pt x="609321" y="439744"/>
                      </a:lnTo>
                      <a:lnTo>
                        <a:pt x="609539" y="440194"/>
                      </a:lnTo>
                      <a:lnTo>
                        <a:pt x="609830" y="440594"/>
                      </a:lnTo>
                      <a:lnTo>
                        <a:pt x="612417" y="444213"/>
                      </a:lnTo>
                      <a:lnTo>
                        <a:pt x="612696" y="444614"/>
                      </a:lnTo>
                      <a:lnTo>
                        <a:pt x="613036" y="444954"/>
                      </a:lnTo>
                      <a:lnTo>
                        <a:pt x="615441" y="447370"/>
                      </a:lnTo>
                      <a:lnTo>
                        <a:pt x="615951" y="447880"/>
                      </a:lnTo>
                      <a:lnTo>
                        <a:pt x="616546" y="448257"/>
                      </a:lnTo>
                      <a:lnTo>
                        <a:pt x="620917" y="450977"/>
                      </a:lnTo>
                      <a:lnTo>
                        <a:pt x="622229" y="451790"/>
                      </a:lnTo>
                      <a:lnTo>
                        <a:pt x="623758" y="451875"/>
                      </a:lnTo>
                      <a:lnTo>
                        <a:pt x="635707" y="452592"/>
                      </a:lnTo>
                      <a:lnTo>
                        <a:pt x="636278" y="452628"/>
                      </a:lnTo>
                      <a:lnTo>
                        <a:pt x="636849" y="452555"/>
                      </a:lnTo>
                      <a:lnTo>
                        <a:pt x="639435" y="452215"/>
                      </a:lnTo>
                      <a:lnTo>
                        <a:pt x="642094" y="451887"/>
                      </a:lnTo>
                      <a:lnTo>
                        <a:pt x="642617" y="451827"/>
                      </a:lnTo>
                      <a:lnTo>
                        <a:pt x="643126" y="451669"/>
                      </a:lnTo>
                      <a:lnTo>
                        <a:pt x="649101" y="449835"/>
                      </a:lnTo>
                      <a:lnTo>
                        <a:pt x="652562" y="448779"/>
                      </a:lnTo>
                      <a:lnTo>
                        <a:pt x="653278" y="445233"/>
                      </a:lnTo>
                      <a:lnTo>
                        <a:pt x="653970" y="441809"/>
                      </a:lnTo>
                      <a:lnTo>
                        <a:pt x="654213" y="440582"/>
                      </a:lnTo>
                      <a:lnTo>
                        <a:pt x="653958" y="439356"/>
                      </a:lnTo>
                      <a:lnTo>
                        <a:pt x="653266" y="436029"/>
                      </a:lnTo>
                      <a:lnTo>
                        <a:pt x="653023" y="434863"/>
                      </a:lnTo>
                      <a:lnTo>
                        <a:pt x="652355" y="433867"/>
                      </a:lnTo>
                      <a:lnTo>
                        <a:pt x="646781" y="425622"/>
                      </a:lnTo>
                      <a:lnTo>
                        <a:pt x="641706" y="417972"/>
                      </a:lnTo>
                      <a:lnTo>
                        <a:pt x="641341" y="417426"/>
                      </a:lnTo>
                      <a:lnTo>
                        <a:pt x="640868" y="416964"/>
                      </a:lnTo>
                      <a:lnTo>
                        <a:pt x="635015" y="411306"/>
                      </a:lnTo>
                      <a:lnTo>
                        <a:pt x="634177" y="410371"/>
                      </a:lnTo>
                      <a:lnTo>
                        <a:pt x="630826" y="405586"/>
                      </a:lnTo>
                      <a:lnTo>
                        <a:pt x="626758" y="399794"/>
                      </a:lnTo>
                      <a:lnTo>
                        <a:pt x="622034" y="404323"/>
                      </a:lnTo>
                      <a:lnTo>
                        <a:pt x="621136" y="404773"/>
                      </a:lnTo>
                      <a:lnTo>
                        <a:pt x="620431" y="404809"/>
                      </a:lnTo>
                      <a:lnTo>
                        <a:pt x="615878" y="404287"/>
                      </a:lnTo>
                      <a:lnTo>
                        <a:pt x="614809" y="404166"/>
                      </a:lnTo>
                      <a:lnTo>
                        <a:pt x="613765" y="404421"/>
                      </a:lnTo>
                      <a:lnTo>
                        <a:pt x="609673" y="405404"/>
                      </a:lnTo>
                      <a:lnTo>
                        <a:pt x="609600" y="405404"/>
                      </a:lnTo>
                      <a:lnTo>
                        <a:pt x="605872" y="403583"/>
                      </a:lnTo>
                      <a:lnTo>
                        <a:pt x="605678" y="401919"/>
                      </a:lnTo>
                      <a:lnTo>
                        <a:pt x="606783" y="395277"/>
                      </a:lnTo>
                      <a:lnTo>
                        <a:pt x="609308" y="387748"/>
                      </a:lnTo>
                      <a:lnTo>
                        <a:pt x="609563" y="386995"/>
                      </a:lnTo>
                      <a:lnTo>
                        <a:pt x="609612" y="386218"/>
                      </a:lnTo>
                      <a:lnTo>
                        <a:pt x="610073" y="379357"/>
                      </a:lnTo>
                      <a:lnTo>
                        <a:pt x="610280" y="376297"/>
                      </a:lnTo>
                      <a:lnTo>
                        <a:pt x="607948" y="374318"/>
                      </a:lnTo>
                      <a:lnTo>
                        <a:pt x="602435" y="369643"/>
                      </a:lnTo>
                      <a:lnTo>
                        <a:pt x="602047" y="369315"/>
                      </a:lnTo>
                      <a:lnTo>
                        <a:pt x="601622" y="369060"/>
                      </a:lnTo>
                      <a:lnTo>
                        <a:pt x="599303" y="367676"/>
                      </a:lnTo>
                      <a:lnTo>
                        <a:pt x="614251" y="356031"/>
                      </a:lnTo>
                      <a:lnTo>
                        <a:pt x="614627" y="355739"/>
                      </a:lnTo>
                      <a:lnTo>
                        <a:pt x="614943" y="355399"/>
                      </a:lnTo>
                      <a:lnTo>
                        <a:pt x="618100" y="352048"/>
                      </a:lnTo>
                      <a:lnTo>
                        <a:pt x="618962" y="351137"/>
                      </a:lnTo>
                      <a:lnTo>
                        <a:pt x="619387" y="349959"/>
                      </a:lnTo>
                      <a:lnTo>
                        <a:pt x="620310" y="347397"/>
                      </a:lnTo>
                      <a:lnTo>
                        <a:pt x="621476" y="344167"/>
                      </a:lnTo>
                      <a:lnTo>
                        <a:pt x="619326" y="341508"/>
                      </a:lnTo>
                      <a:lnTo>
                        <a:pt x="614894" y="336031"/>
                      </a:lnTo>
                      <a:lnTo>
                        <a:pt x="614675" y="335764"/>
                      </a:lnTo>
                      <a:lnTo>
                        <a:pt x="614421" y="335509"/>
                      </a:lnTo>
                      <a:lnTo>
                        <a:pt x="607475" y="328709"/>
                      </a:lnTo>
                      <a:lnTo>
                        <a:pt x="605629" y="326900"/>
                      </a:lnTo>
                      <a:lnTo>
                        <a:pt x="603043" y="326985"/>
                      </a:lnTo>
                      <a:lnTo>
                        <a:pt x="601063" y="327046"/>
                      </a:lnTo>
                      <a:lnTo>
                        <a:pt x="599873" y="324180"/>
                      </a:lnTo>
                      <a:lnTo>
                        <a:pt x="599509" y="323294"/>
                      </a:lnTo>
                      <a:lnTo>
                        <a:pt x="598890" y="322565"/>
                      </a:lnTo>
                      <a:lnTo>
                        <a:pt x="597105" y="320464"/>
                      </a:lnTo>
                      <a:lnTo>
                        <a:pt x="597311" y="319602"/>
                      </a:lnTo>
                      <a:lnTo>
                        <a:pt x="597421" y="319104"/>
                      </a:lnTo>
                      <a:lnTo>
                        <a:pt x="597445" y="318594"/>
                      </a:lnTo>
                      <a:lnTo>
                        <a:pt x="597554" y="316797"/>
                      </a:lnTo>
                      <a:lnTo>
                        <a:pt x="597724" y="314186"/>
                      </a:lnTo>
                      <a:lnTo>
                        <a:pt x="595939" y="312280"/>
                      </a:lnTo>
                      <a:lnTo>
                        <a:pt x="593607" y="309779"/>
                      </a:lnTo>
                      <a:lnTo>
                        <a:pt x="597384" y="304253"/>
                      </a:lnTo>
                      <a:lnTo>
                        <a:pt x="597918" y="303476"/>
                      </a:lnTo>
                      <a:lnTo>
                        <a:pt x="598185" y="302578"/>
                      </a:lnTo>
                      <a:lnTo>
                        <a:pt x="599375" y="298607"/>
                      </a:lnTo>
                      <a:lnTo>
                        <a:pt x="599497" y="298206"/>
                      </a:lnTo>
                      <a:lnTo>
                        <a:pt x="599558" y="297793"/>
                      </a:lnTo>
                      <a:lnTo>
                        <a:pt x="600881" y="289366"/>
                      </a:lnTo>
                      <a:lnTo>
                        <a:pt x="601816" y="286039"/>
                      </a:lnTo>
                      <a:lnTo>
                        <a:pt x="605678" y="277673"/>
                      </a:lnTo>
                      <a:lnTo>
                        <a:pt x="606066" y="276847"/>
                      </a:lnTo>
                      <a:lnTo>
                        <a:pt x="606188" y="275936"/>
                      </a:lnTo>
                      <a:lnTo>
                        <a:pt x="606710" y="272026"/>
                      </a:lnTo>
                      <a:lnTo>
                        <a:pt x="606953" y="270229"/>
                      </a:lnTo>
                      <a:lnTo>
                        <a:pt x="606163" y="268590"/>
                      </a:lnTo>
                      <a:lnTo>
                        <a:pt x="604087" y="264303"/>
                      </a:lnTo>
                      <a:lnTo>
                        <a:pt x="603601" y="263307"/>
                      </a:lnTo>
                      <a:lnTo>
                        <a:pt x="602800" y="262542"/>
                      </a:lnTo>
                      <a:lnTo>
                        <a:pt x="600626" y="260478"/>
                      </a:lnTo>
                      <a:lnTo>
                        <a:pt x="600080" y="259956"/>
                      </a:lnTo>
                      <a:lnTo>
                        <a:pt x="599412" y="259580"/>
                      </a:lnTo>
                      <a:lnTo>
                        <a:pt x="591567" y="255196"/>
                      </a:lnTo>
                      <a:lnTo>
                        <a:pt x="587099" y="251832"/>
                      </a:lnTo>
                      <a:lnTo>
                        <a:pt x="569710" y="229259"/>
                      </a:lnTo>
                      <a:lnTo>
                        <a:pt x="566820" y="223369"/>
                      </a:lnTo>
                      <a:lnTo>
                        <a:pt x="566565" y="222847"/>
                      </a:lnTo>
                      <a:lnTo>
                        <a:pt x="566201" y="222374"/>
                      </a:lnTo>
                      <a:lnTo>
                        <a:pt x="562060" y="216921"/>
                      </a:lnTo>
                      <a:lnTo>
                        <a:pt x="561234" y="215841"/>
                      </a:lnTo>
                      <a:lnTo>
                        <a:pt x="560020" y="215209"/>
                      </a:lnTo>
                      <a:lnTo>
                        <a:pt x="553317" y="211736"/>
                      </a:lnTo>
                      <a:lnTo>
                        <a:pt x="553463" y="211154"/>
                      </a:lnTo>
                      <a:lnTo>
                        <a:pt x="553621" y="210559"/>
                      </a:lnTo>
                      <a:lnTo>
                        <a:pt x="553657" y="209939"/>
                      </a:lnTo>
                      <a:lnTo>
                        <a:pt x="553888" y="205434"/>
                      </a:lnTo>
                      <a:lnTo>
                        <a:pt x="553924" y="204572"/>
                      </a:lnTo>
                      <a:lnTo>
                        <a:pt x="553730" y="203734"/>
                      </a:lnTo>
                      <a:lnTo>
                        <a:pt x="549249" y="184670"/>
                      </a:lnTo>
                      <a:lnTo>
                        <a:pt x="549067" y="183917"/>
                      </a:lnTo>
                      <a:lnTo>
                        <a:pt x="548727" y="183273"/>
                      </a:lnTo>
                      <a:lnTo>
                        <a:pt x="548751" y="183116"/>
                      </a:lnTo>
                      <a:lnTo>
                        <a:pt x="549249" y="182642"/>
                      </a:lnTo>
                      <a:lnTo>
                        <a:pt x="549844" y="182071"/>
                      </a:lnTo>
                      <a:lnTo>
                        <a:pt x="550269" y="181355"/>
                      </a:lnTo>
                      <a:lnTo>
                        <a:pt x="551022" y="180092"/>
                      </a:lnTo>
                      <a:lnTo>
                        <a:pt x="552382" y="177809"/>
                      </a:lnTo>
                      <a:lnTo>
                        <a:pt x="551617" y="175247"/>
                      </a:lnTo>
                      <a:lnTo>
                        <a:pt x="550986" y="173146"/>
                      </a:lnTo>
                      <a:lnTo>
                        <a:pt x="550694" y="172187"/>
                      </a:lnTo>
                      <a:lnTo>
                        <a:pt x="550111" y="171373"/>
                      </a:lnTo>
                      <a:lnTo>
                        <a:pt x="542984" y="161368"/>
                      </a:lnTo>
                      <a:lnTo>
                        <a:pt x="537908" y="151095"/>
                      </a:lnTo>
                      <a:lnTo>
                        <a:pt x="534933" y="145084"/>
                      </a:lnTo>
                      <a:lnTo>
                        <a:pt x="529238" y="148642"/>
                      </a:lnTo>
                      <a:lnTo>
                        <a:pt x="525097" y="151228"/>
                      </a:lnTo>
                      <a:lnTo>
                        <a:pt x="524417" y="151653"/>
                      </a:lnTo>
                      <a:lnTo>
                        <a:pt x="523883" y="152236"/>
                      </a:lnTo>
                      <a:lnTo>
                        <a:pt x="517969" y="158562"/>
                      </a:lnTo>
                      <a:lnTo>
                        <a:pt x="518139" y="157773"/>
                      </a:lnTo>
                      <a:lnTo>
                        <a:pt x="519232" y="155709"/>
                      </a:lnTo>
                      <a:lnTo>
                        <a:pt x="519475" y="155248"/>
                      </a:lnTo>
                      <a:lnTo>
                        <a:pt x="519633" y="154750"/>
                      </a:lnTo>
                      <a:lnTo>
                        <a:pt x="520495" y="152115"/>
                      </a:lnTo>
                      <a:lnTo>
                        <a:pt x="520616" y="151750"/>
                      </a:lnTo>
                      <a:lnTo>
                        <a:pt x="520689" y="151374"/>
                      </a:lnTo>
                      <a:lnTo>
                        <a:pt x="521770" y="145740"/>
                      </a:lnTo>
                      <a:lnTo>
                        <a:pt x="522729" y="143639"/>
                      </a:lnTo>
                      <a:lnTo>
                        <a:pt x="522996" y="143153"/>
                      </a:lnTo>
                      <a:lnTo>
                        <a:pt x="523822" y="142279"/>
                      </a:lnTo>
                      <a:lnTo>
                        <a:pt x="527052" y="139911"/>
                      </a:lnTo>
                      <a:lnTo>
                        <a:pt x="531375" y="137373"/>
                      </a:lnTo>
                      <a:lnTo>
                        <a:pt x="531909" y="137057"/>
                      </a:lnTo>
                      <a:lnTo>
                        <a:pt x="532371" y="136632"/>
                      </a:lnTo>
                      <a:lnTo>
                        <a:pt x="534229" y="134932"/>
                      </a:lnTo>
                      <a:lnTo>
                        <a:pt x="534884" y="134325"/>
                      </a:lnTo>
                      <a:lnTo>
                        <a:pt x="535346" y="133572"/>
                      </a:lnTo>
                      <a:lnTo>
                        <a:pt x="536475" y="131678"/>
                      </a:lnTo>
                      <a:lnTo>
                        <a:pt x="536827" y="131095"/>
                      </a:lnTo>
                      <a:lnTo>
                        <a:pt x="537046" y="130452"/>
                      </a:lnTo>
                      <a:lnTo>
                        <a:pt x="537629" y="128667"/>
                      </a:lnTo>
                      <a:lnTo>
                        <a:pt x="538345" y="125716"/>
                      </a:lnTo>
                      <a:lnTo>
                        <a:pt x="538430" y="125352"/>
                      </a:lnTo>
                      <a:lnTo>
                        <a:pt x="538466" y="124987"/>
                      </a:lnTo>
                      <a:lnTo>
                        <a:pt x="539159" y="118673"/>
                      </a:lnTo>
                      <a:lnTo>
                        <a:pt x="539207" y="118163"/>
                      </a:lnTo>
                      <a:lnTo>
                        <a:pt x="539183" y="117653"/>
                      </a:lnTo>
                      <a:lnTo>
                        <a:pt x="539001" y="114520"/>
                      </a:lnTo>
                      <a:lnTo>
                        <a:pt x="538491" y="110889"/>
                      </a:lnTo>
                      <a:lnTo>
                        <a:pt x="538442" y="110525"/>
                      </a:lnTo>
                      <a:lnTo>
                        <a:pt x="538345" y="110173"/>
                      </a:lnTo>
                      <a:lnTo>
                        <a:pt x="536912" y="105000"/>
                      </a:lnTo>
                      <a:lnTo>
                        <a:pt x="536159" y="102972"/>
                      </a:lnTo>
                      <a:lnTo>
                        <a:pt x="535807" y="102049"/>
                      </a:lnTo>
                      <a:lnTo>
                        <a:pt x="535188" y="101296"/>
                      </a:lnTo>
                      <a:lnTo>
                        <a:pt x="534484" y="100434"/>
                      </a:lnTo>
                      <a:lnTo>
                        <a:pt x="533573" y="99329"/>
                      </a:lnTo>
                      <a:lnTo>
                        <a:pt x="532261" y="98734"/>
                      </a:lnTo>
                      <a:lnTo>
                        <a:pt x="531132" y="98224"/>
                      </a:lnTo>
                      <a:lnTo>
                        <a:pt x="530379" y="97884"/>
                      </a:lnTo>
                      <a:lnTo>
                        <a:pt x="529554" y="97763"/>
                      </a:lnTo>
                      <a:lnTo>
                        <a:pt x="528169" y="97556"/>
                      </a:lnTo>
                      <a:lnTo>
                        <a:pt x="527574" y="97471"/>
                      </a:lnTo>
                      <a:lnTo>
                        <a:pt x="526967" y="97496"/>
                      </a:lnTo>
                      <a:lnTo>
                        <a:pt x="523336" y="97678"/>
                      </a:lnTo>
                      <a:lnTo>
                        <a:pt x="521187" y="97969"/>
                      </a:lnTo>
                      <a:lnTo>
                        <a:pt x="520750" y="98030"/>
                      </a:lnTo>
                      <a:lnTo>
                        <a:pt x="520337" y="98151"/>
                      </a:lnTo>
                      <a:lnTo>
                        <a:pt x="518892" y="98576"/>
                      </a:lnTo>
                      <a:lnTo>
                        <a:pt x="516257" y="99354"/>
                      </a:lnTo>
                      <a:lnTo>
                        <a:pt x="515103" y="101855"/>
                      </a:lnTo>
                      <a:lnTo>
                        <a:pt x="514715" y="102717"/>
                      </a:lnTo>
                      <a:lnTo>
                        <a:pt x="513998" y="104259"/>
                      </a:lnTo>
                      <a:lnTo>
                        <a:pt x="514193" y="105947"/>
                      </a:lnTo>
                      <a:lnTo>
                        <a:pt x="514278" y="106712"/>
                      </a:lnTo>
                      <a:lnTo>
                        <a:pt x="511473" y="107684"/>
                      </a:lnTo>
                      <a:lnTo>
                        <a:pt x="510866" y="107890"/>
                      </a:lnTo>
                      <a:lnTo>
                        <a:pt x="510319" y="108218"/>
                      </a:lnTo>
                      <a:lnTo>
                        <a:pt x="508315" y="109420"/>
                      </a:lnTo>
                      <a:lnTo>
                        <a:pt x="507271" y="110051"/>
                      </a:lnTo>
                      <a:lnTo>
                        <a:pt x="506555" y="111035"/>
                      </a:lnTo>
                      <a:lnTo>
                        <a:pt x="504636" y="113634"/>
                      </a:lnTo>
                      <a:lnTo>
                        <a:pt x="503555" y="113840"/>
                      </a:lnTo>
                      <a:lnTo>
                        <a:pt x="500714" y="113536"/>
                      </a:lnTo>
                      <a:lnTo>
                        <a:pt x="500374" y="113500"/>
                      </a:lnTo>
                      <a:lnTo>
                        <a:pt x="500034" y="113500"/>
                      </a:lnTo>
                      <a:lnTo>
                        <a:pt x="496938" y="113524"/>
                      </a:lnTo>
                      <a:lnTo>
                        <a:pt x="496160" y="113524"/>
                      </a:lnTo>
                      <a:lnTo>
                        <a:pt x="495408" y="113731"/>
                      </a:lnTo>
                      <a:lnTo>
                        <a:pt x="492991" y="114386"/>
                      </a:lnTo>
                      <a:lnTo>
                        <a:pt x="491983" y="114654"/>
                      </a:lnTo>
                      <a:lnTo>
                        <a:pt x="491133" y="115236"/>
                      </a:lnTo>
                      <a:lnTo>
                        <a:pt x="487830" y="117507"/>
                      </a:lnTo>
                      <a:lnTo>
                        <a:pt x="485050" y="117847"/>
                      </a:lnTo>
                      <a:lnTo>
                        <a:pt x="484685" y="117884"/>
                      </a:lnTo>
                      <a:lnTo>
                        <a:pt x="484321" y="117969"/>
                      </a:lnTo>
                      <a:lnTo>
                        <a:pt x="481115" y="118770"/>
                      </a:lnTo>
                      <a:lnTo>
                        <a:pt x="480192" y="119001"/>
                      </a:lnTo>
                      <a:lnTo>
                        <a:pt x="479391" y="119499"/>
                      </a:lnTo>
                      <a:lnTo>
                        <a:pt x="477448" y="120701"/>
                      </a:lnTo>
                      <a:lnTo>
                        <a:pt x="476222" y="121454"/>
                      </a:lnTo>
                      <a:lnTo>
                        <a:pt x="475469" y="122680"/>
                      </a:lnTo>
                      <a:lnTo>
                        <a:pt x="474947" y="123542"/>
                      </a:lnTo>
                      <a:lnTo>
                        <a:pt x="474194" y="123907"/>
                      </a:lnTo>
                      <a:lnTo>
                        <a:pt x="473684" y="124162"/>
                      </a:lnTo>
                      <a:lnTo>
                        <a:pt x="473222" y="124502"/>
                      </a:lnTo>
                      <a:lnTo>
                        <a:pt x="471911" y="125473"/>
                      </a:lnTo>
                      <a:lnTo>
                        <a:pt x="471000" y="126141"/>
                      </a:lnTo>
                      <a:lnTo>
                        <a:pt x="470393" y="127100"/>
                      </a:lnTo>
                      <a:lnTo>
                        <a:pt x="469252" y="128897"/>
                      </a:lnTo>
                      <a:lnTo>
                        <a:pt x="468256" y="130112"/>
                      </a:lnTo>
                      <a:lnTo>
                        <a:pt x="467685" y="130391"/>
                      </a:lnTo>
                      <a:lnTo>
                        <a:pt x="464917" y="130488"/>
                      </a:lnTo>
                      <a:lnTo>
                        <a:pt x="464552" y="129662"/>
                      </a:lnTo>
                      <a:lnTo>
                        <a:pt x="463727" y="127003"/>
                      </a:lnTo>
                      <a:lnTo>
                        <a:pt x="463459" y="126129"/>
                      </a:lnTo>
                      <a:lnTo>
                        <a:pt x="462950" y="125376"/>
                      </a:lnTo>
                      <a:lnTo>
                        <a:pt x="461177" y="122777"/>
                      </a:lnTo>
                      <a:lnTo>
                        <a:pt x="460873" y="122328"/>
                      </a:lnTo>
                      <a:lnTo>
                        <a:pt x="460497" y="121939"/>
                      </a:lnTo>
                      <a:lnTo>
                        <a:pt x="456150" y="117519"/>
                      </a:lnTo>
                      <a:lnTo>
                        <a:pt x="454923" y="115929"/>
                      </a:lnTo>
                      <a:lnTo>
                        <a:pt x="454352" y="114399"/>
                      </a:lnTo>
                      <a:lnTo>
                        <a:pt x="453782" y="104514"/>
                      </a:lnTo>
                      <a:lnTo>
                        <a:pt x="453721" y="103446"/>
                      </a:lnTo>
                      <a:lnTo>
                        <a:pt x="453296" y="102450"/>
                      </a:lnTo>
                      <a:lnTo>
                        <a:pt x="452142" y="99791"/>
                      </a:lnTo>
                      <a:lnTo>
                        <a:pt x="451887" y="99220"/>
                      </a:lnTo>
                      <a:lnTo>
                        <a:pt x="451523" y="98710"/>
                      </a:lnTo>
                      <a:lnTo>
                        <a:pt x="449228" y="95456"/>
                      </a:lnTo>
                      <a:lnTo>
                        <a:pt x="448730" y="94763"/>
                      </a:lnTo>
                      <a:lnTo>
                        <a:pt x="448074" y="94229"/>
                      </a:lnTo>
                      <a:lnTo>
                        <a:pt x="446022" y="92578"/>
                      </a:lnTo>
                      <a:lnTo>
                        <a:pt x="439914" y="79233"/>
                      </a:lnTo>
                      <a:lnTo>
                        <a:pt x="439587" y="78528"/>
                      </a:lnTo>
                      <a:lnTo>
                        <a:pt x="439089" y="77921"/>
                      </a:lnTo>
                      <a:lnTo>
                        <a:pt x="432714" y="70113"/>
                      </a:lnTo>
                      <a:lnTo>
                        <a:pt x="432519" y="69870"/>
                      </a:lnTo>
                      <a:lnTo>
                        <a:pt x="432301" y="69652"/>
                      </a:lnTo>
                      <a:lnTo>
                        <a:pt x="421324" y="58711"/>
                      </a:lnTo>
                      <a:lnTo>
                        <a:pt x="417644" y="54376"/>
                      </a:lnTo>
                      <a:lnTo>
                        <a:pt x="416126" y="51790"/>
                      </a:lnTo>
                      <a:lnTo>
                        <a:pt x="415786" y="51219"/>
                      </a:lnTo>
                      <a:lnTo>
                        <a:pt x="415325" y="50721"/>
                      </a:lnTo>
                      <a:lnTo>
                        <a:pt x="413151" y="48390"/>
                      </a:lnTo>
                      <a:lnTo>
                        <a:pt x="411913" y="47066"/>
                      </a:lnTo>
                      <a:lnTo>
                        <a:pt x="410152" y="46629"/>
                      </a:lnTo>
                      <a:lnTo>
                        <a:pt x="408549" y="46240"/>
                      </a:lnTo>
                      <a:lnTo>
                        <a:pt x="407420" y="45973"/>
                      </a:lnTo>
                      <a:lnTo>
                        <a:pt x="406266" y="46131"/>
                      </a:lnTo>
                      <a:lnTo>
                        <a:pt x="404530" y="46374"/>
                      </a:lnTo>
                      <a:lnTo>
                        <a:pt x="403170" y="46568"/>
                      </a:lnTo>
                      <a:lnTo>
                        <a:pt x="402028" y="47321"/>
                      </a:lnTo>
                      <a:lnTo>
                        <a:pt x="400778" y="48147"/>
                      </a:lnTo>
                      <a:lnTo>
                        <a:pt x="397657" y="49555"/>
                      </a:lnTo>
                      <a:lnTo>
                        <a:pt x="397390" y="49677"/>
                      </a:lnTo>
                      <a:lnTo>
                        <a:pt x="396783" y="50029"/>
                      </a:lnTo>
                      <a:lnTo>
                        <a:pt x="395993" y="50490"/>
                      </a:lnTo>
                      <a:lnTo>
                        <a:pt x="395374" y="51158"/>
                      </a:lnTo>
                      <a:lnTo>
                        <a:pt x="393115" y="53599"/>
                      </a:lnTo>
                      <a:lnTo>
                        <a:pt x="392278" y="54279"/>
                      </a:lnTo>
                      <a:lnTo>
                        <a:pt x="391780" y="54570"/>
                      </a:lnTo>
                      <a:lnTo>
                        <a:pt x="389096" y="55299"/>
                      </a:lnTo>
                      <a:lnTo>
                        <a:pt x="386813" y="56125"/>
                      </a:lnTo>
                      <a:lnTo>
                        <a:pt x="385927" y="56465"/>
                      </a:lnTo>
                      <a:lnTo>
                        <a:pt x="385174" y="57060"/>
                      </a:lnTo>
                      <a:lnTo>
                        <a:pt x="383632" y="58286"/>
                      </a:lnTo>
                      <a:lnTo>
                        <a:pt x="383377" y="58493"/>
                      </a:lnTo>
                      <a:lnTo>
                        <a:pt x="383146" y="58723"/>
                      </a:lnTo>
                      <a:lnTo>
                        <a:pt x="378532" y="63277"/>
                      </a:lnTo>
                      <a:lnTo>
                        <a:pt x="376601" y="64685"/>
                      </a:lnTo>
                      <a:lnTo>
                        <a:pt x="374768" y="65669"/>
                      </a:lnTo>
                      <a:lnTo>
                        <a:pt x="372764" y="66458"/>
                      </a:lnTo>
                      <a:lnTo>
                        <a:pt x="365405" y="68255"/>
                      </a:lnTo>
                      <a:lnTo>
                        <a:pt x="364871" y="68389"/>
                      </a:lnTo>
                      <a:lnTo>
                        <a:pt x="364373" y="68608"/>
                      </a:lnTo>
                      <a:lnTo>
                        <a:pt x="361155" y="70053"/>
                      </a:lnTo>
                      <a:lnTo>
                        <a:pt x="355776" y="71243"/>
                      </a:lnTo>
                      <a:lnTo>
                        <a:pt x="346778" y="72153"/>
                      </a:lnTo>
                      <a:lnTo>
                        <a:pt x="345600" y="72275"/>
                      </a:lnTo>
                      <a:lnTo>
                        <a:pt x="344568" y="72821"/>
                      </a:lnTo>
                      <a:lnTo>
                        <a:pt x="343499" y="73198"/>
                      </a:lnTo>
                      <a:lnTo>
                        <a:pt x="342686" y="73623"/>
                      </a:lnTo>
                      <a:lnTo>
                        <a:pt x="342030" y="74278"/>
                      </a:lnTo>
                      <a:lnTo>
                        <a:pt x="341277" y="75031"/>
                      </a:lnTo>
                      <a:lnTo>
                        <a:pt x="340658" y="75651"/>
                      </a:lnTo>
                      <a:lnTo>
                        <a:pt x="340245" y="76403"/>
                      </a:lnTo>
                      <a:lnTo>
                        <a:pt x="340027" y="76792"/>
                      </a:lnTo>
                      <a:lnTo>
                        <a:pt x="339650" y="76792"/>
                      </a:lnTo>
                      <a:lnTo>
                        <a:pt x="316372" y="69773"/>
                      </a:lnTo>
                      <a:lnTo>
                        <a:pt x="301279" y="64807"/>
                      </a:lnTo>
                      <a:lnTo>
                        <a:pt x="293179" y="60338"/>
                      </a:lnTo>
                      <a:lnTo>
                        <a:pt x="276883" y="48620"/>
                      </a:lnTo>
                      <a:lnTo>
                        <a:pt x="276397" y="48268"/>
                      </a:lnTo>
                      <a:lnTo>
                        <a:pt x="275851" y="48013"/>
                      </a:lnTo>
                      <a:lnTo>
                        <a:pt x="268019" y="44455"/>
                      </a:lnTo>
                      <a:lnTo>
                        <a:pt x="265967" y="43144"/>
                      </a:lnTo>
                      <a:lnTo>
                        <a:pt x="264279" y="41420"/>
                      </a:lnTo>
                      <a:lnTo>
                        <a:pt x="259895" y="35858"/>
                      </a:lnTo>
                      <a:lnTo>
                        <a:pt x="259507" y="35360"/>
                      </a:lnTo>
                      <a:lnTo>
                        <a:pt x="259033" y="34959"/>
                      </a:lnTo>
                      <a:lnTo>
                        <a:pt x="248809" y="26338"/>
                      </a:lnTo>
                      <a:lnTo>
                        <a:pt x="248481" y="26071"/>
                      </a:lnTo>
                      <a:lnTo>
                        <a:pt x="248117" y="25840"/>
                      </a:lnTo>
                      <a:lnTo>
                        <a:pt x="245300" y="24067"/>
                      </a:lnTo>
                      <a:lnTo>
                        <a:pt x="234529" y="11888"/>
                      </a:lnTo>
                      <a:lnTo>
                        <a:pt x="233909" y="11184"/>
                      </a:lnTo>
                      <a:lnTo>
                        <a:pt x="233108" y="10698"/>
                      </a:lnTo>
                      <a:lnTo>
                        <a:pt x="230400" y="9071"/>
                      </a:lnTo>
                      <a:lnTo>
                        <a:pt x="229550" y="8561"/>
                      </a:lnTo>
                      <a:lnTo>
                        <a:pt x="228591" y="8342"/>
                      </a:lnTo>
                      <a:lnTo>
                        <a:pt x="225834" y="7735"/>
                      </a:lnTo>
                      <a:lnTo>
                        <a:pt x="224948" y="7541"/>
                      </a:lnTo>
                      <a:lnTo>
                        <a:pt x="224037" y="7614"/>
                      </a:lnTo>
                      <a:lnTo>
                        <a:pt x="204038" y="9217"/>
                      </a:lnTo>
                      <a:lnTo>
                        <a:pt x="203601" y="9047"/>
                      </a:lnTo>
                      <a:lnTo>
                        <a:pt x="194275" y="1749"/>
                      </a:lnTo>
                      <a:lnTo>
                        <a:pt x="192903" y="668"/>
                      </a:lnTo>
                      <a:lnTo>
                        <a:pt x="191166" y="486"/>
                      </a:lnTo>
                      <a:lnTo>
                        <a:pt x="188179" y="170"/>
                      </a:lnTo>
                      <a:lnTo>
                        <a:pt x="186212" y="0"/>
                      </a:lnTo>
                      <a:lnTo>
                        <a:pt x="186212" y="0"/>
                      </a:lnTo>
                      <a:close/>
                    </a:path>
                  </a:pathLst>
                </a:custGeom>
                <a:solidFill>
                  <a:srgbClr val="FFFFFF"/>
                </a:solidFill>
                <a:ln w="12138" cap="flat">
                  <a:noFill/>
                  <a:prstDash val="solid"/>
                  <a:miter/>
                </a:ln>
              </p:spPr>
              <p:txBody>
                <a:bodyPr rtlCol="0" anchor="ctr"/>
                <a:lstStyle/>
                <a:p>
                  <a:endParaRPr lang="en-US"/>
                </a:p>
              </p:txBody>
            </p:sp>
          </p:grpSp>
          <p:grpSp>
            <p:nvGrpSpPr>
              <p:cNvPr id="270" name="Graphic 280">
                <a:extLst>
                  <a:ext uri="{FF2B5EF4-FFF2-40B4-BE49-F238E27FC236}">
                    <a16:creationId xmlns:a16="http://schemas.microsoft.com/office/drawing/2014/main" id="{64D4111F-38ED-4C18-8C47-B51B5498FDBC}"/>
                  </a:ext>
                </a:extLst>
              </p:cNvPr>
              <p:cNvGrpSpPr/>
              <p:nvPr/>
            </p:nvGrpSpPr>
            <p:grpSpPr>
              <a:xfrm>
                <a:off x="5108609" y="1868792"/>
                <a:ext cx="668565" cy="538211"/>
                <a:chOff x="5108609" y="1868792"/>
                <a:chExt cx="668565" cy="538211"/>
              </a:xfrm>
            </p:grpSpPr>
            <p:sp>
              <p:nvSpPr>
                <p:cNvPr id="308" name="Freeform: Shape 307">
                  <a:extLst>
                    <a:ext uri="{FF2B5EF4-FFF2-40B4-BE49-F238E27FC236}">
                      <a16:creationId xmlns:a16="http://schemas.microsoft.com/office/drawing/2014/main" id="{B2F88703-EF5A-4F2A-88A3-26733FF9D7D0}"/>
                    </a:ext>
                  </a:extLst>
                </p:cNvPr>
                <p:cNvSpPr/>
                <p:nvPr/>
              </p:nvSpPr>
              <p:spPr>
                <a:xfrm>
                  <a:off x="5109325" y="1871828"/>
                  <a:ext cx="664607" cy="532103"/>
                </a:xfrm>
                <a:custGeom>
                  <a:avLst/>
                  <a:gdLst>
                    <a:gd name="connsiteX0" fmla="*/ 463824 w 664607"/>
                    <a:gd name="connsiteY0" fmla="*/ 531302 h 532103"/>
                    <a:gd name="connsiteX1" fmla="*/ 458578 w 664607"/>
                    <a:gd name="connsiteY1" fmla="*/ 528145 h 532103"/>
                    <a:gd name="connsiteX2" fmla="*/ 456684 w 664607"/>
                    <a:gd name="connsiteY2" fmla="*/ 524611 h 532103"/>
                    <a:gd name="connsiteX3" fmla="*/ 456830 w 664607"/>
                    <a:gd name="connsiteY3" fmla="*/ 523008 h 532103"/>
                    <a:gd name="connsiteX4" fmla="*/ 456635 w 664607"/>
                    <a:gd name="connsiteY4" fmla="*/ 523094 h 532103"/>
                    <a:gd name="connsiteX5" fmla="*/ 452155 w 664607"/>
                    <a:gd name="connsiteY5" fmla="*/ 523579 h 532103"/>
                    <a:gd name="connsiteX6" fmla="*/ 449374 w 664607"/>
                    <a:gd name="connsiteY6" fmla="*/ 519766 h 532103"/>
                    <a:gd name="connsiteX7" fmla="*/ 449702 w 664607"/>
                    <a:gd name="connsiteY7" fmla="*/ 516427 h 532103"/>
                    <a:gd name="connsiteX8" fmla="*/ 450102 w 664607"/>
                    <a:gd name="connsiteY8" fmla="*/ 515091 h 532103"/>
                    <a:gd name="connsiteX9" fmla="*/ 449884 w 664607"/>
                    <a:gd name="connsiteY9" fmla="*/ 515116 h 532103"/>
                    <a:gd name="connsiteX10" fmla="*/ 444395 w 664607"/>
                    <a:gd name="connsiteY10" fmla="*/ 517483 h 532103"/>
                    <a:gd name="connsiteX11" fmla="*/ 440242 w 664607"/>
                    <a:gd name="connsiteY11" fmla="*/ 517034 h 532103"/>
                    <a:gd name="connsiteX12" fmla="*/ 437765 w 664607"/>
                    <a:gd name="connsiteY12" fmla="*/ 513209 h 532103"/>
                    <a:gd name="connsiteX13" fmla="*/ 437935 w 664607"/>
                    <a:gd name="connsiteY13" fmla="*/ 510186 h 532103"/>
                    <a:gd name="connsiteX14" fmla="*/ 440012 w 664607"/>
                    <a:gd name="connsiteY14" fmla="*/ 504782 h 532103"/>
                    <a:gd name="connsiteX15" fmla="*/ 439235 w 664607"/>
                    <a:gd name="connsiteY15" fmla="*/ 503774 h 532103"/>
                    <a:gd name="connsiteX16" fmla="*/ 436393 w 664607"/>
                    <a:gd name="connsiteY16" fmla="*/ 502256 h 532103"/>
                    <a:gd name="connsiteX17" fmla="*/ 428306 w 664607"/>
                    <a:gd name="connsiteY17" fmla="*/ 501151 h 532103"/>
                    <a:gd name="connsiteX18" fmla="*/ 425586 w 664607"/>
                    <a:gd name="connsiteY18" fmla="*/ 501042 h 532103"/>
                    <a:gd name="connsiteX19" fmla="*/ 425476 w 664607"/>
                    <a:gd name="connsiteY19" fmla="*/ 501103 h 532103"/>
                    <a:gd name="connsiteX20" fmla="*/ 425367 w 664607"/>
                    <a:gd name="connsiteY20" fmla="*/ 502183 h 532103"/>
                    <a:gd name="connsiteX21" fmla="*/ 424456 w 664607"/>
                    <a:gd name="connsiteY21" fmla="*/ 504575 h 532103"/>
                    <a:gd name="connsiteX22" fmla="*/ 423922 w 664607"/>
                    <a:gd name="connsiteY22" fmla="*/ 505778 h 532103"/>
                    <a:gd name="connsiteX23" fmla="*/ 416940 w 664607"/>
                    <a:gd name="connsiteY23" fmla="*/ 508218 h 532103"/>
                    <a:gd name="connsiteX24" fmla="*/ 404724 w 664607"/>
                    <a:gd name="connsiteY24" fmla="*/ 505668 h 532103"/>
                    <a:gd name="connsiteX25" fmla="*/ 401846 w 664607"/>
                    <a:gd name="connsiteY25" fmla="*/ 507186 h 532103"/>
                    <a:gd name="connsiteX26" fmla="*/ 399175 w 664607"/>
                    <a:gd name="connsiteY26" fmla="*/ 508206 h 532103"/>
                    <a:gd name="connsiteX27" fmla="*/ 395884 w 664607"/>
                    <a:gd name="connsiteY27" fmla="*/ 508388 h 532103"/>
                    <a:gd name="connsiteX28" fmla="*/ 394269 w 664607"/>
                    <a:gd name="connsiteY28" fmla="*/ 508388 h 532103"/>
                    <a:gd name="connsiteX29" fmla="*/ 391938 w 664607"/>
                    <a:gd name="connsiteY29" fmla="*/ 504940 h 532103"/>
                    <a:gd name="connsiteX30" fmla="*/ 390651 w 664607"/>
                    <a:gd name="connsiteY30" fmla="*/ 502244 h 532103"/>
                    <a:gd name="connsiteX31" fmla="*/ 384348 w 664607"/>
                    <a:gd name="connsiteY31" fmla="*/ 502390 h 532103"/>
                    <a:gd name="connsiteX32" fmla="*/ 367190 w 664607"/>
                    <a:gd name="connsiteY32" fmla="*/ 509105 h 532103"/>
                    <a:gd name="connsiteX33" fmla="*/ 363548 w 664607"/>
                    <a:gd name="connsiteY33" fmla="*/ 501030 h 532103"/>
                    <a:gd name="connsiteX34" fmla="*/ 360803 w 664607"/>
                    <a:gd name="connsiteY34" fmla="*/ 491364 h 532103"/>
                    <a:gd name="connsiteX35" fmla="*/ 359917 w 664607"/>
                    <a:gd name="connsiteY35" fmla="*/ 490223 h 532103"/>
                    <a:gd name="connsiteX36" fmla="*/ 358520 w 664607"/>
                    <a:gd name="connsiteY36" fmla="*/ 488583 h 532103"/>
                    <a:gd name="connsiteX37" fmla="*/ 355825 w 664607"/>
                    <a:gd name="connsiteY37" fmla="*/ 486009 h 532103"/>
                    <a:gd name="connsiteX38" fmla="*/ 354222 w 664607"/>
                    <a:gd name="connsiteY38" fmla="*/ 483908 h 532103"/>
                    <a:gd name="connsiteX39" fmla="*/ 353991 w 664607"/>
                    <a:gd name="connsiteY39" fmla="*/ 483714 h 532103"/>
                    <a:gd name="connsiteX40" fmla="*/ 353080 w 664607"/>
                    <a:gd name="connsiteY40" fmla="*/ 484224 h 532103"/>
                    <a:gd name="connsiteX41" fmla="*/ 350202 w 664607"/>
                    <a:gd name="connsiteY41" fmla="*/ 485062 h 532103"/>
                    <a:gd name="connsiteX42" fmla="*/ 345357 w 664607"/>
                    <a:gd name="connsiteY42" fmla="*/ 484843 h 532103"/>
                    <a:gd name="connsiteX43" fmla="*/ 340233 w 664607"/>
                    <a:gd name="connsiteY43" fmla="*/ 483277 h 532103"/>
                    <a:gd name="connsiteX44" fmla="*/ 315838 w 664607"/>
                    <a:gd name="connsiteY44" fmla="*/ 466629 h 532103"/>
                    <a:gd name="connsiteX45" fmla="*/ 312523 w 664607"/>
                    <a:gd name="connsiteY45" fmla="*/ 463472 h 532103"/>
                    <a:gd name="connsiteX46" fmla="*/ 309912 w 664607"/>
                    <a:gd name="connsiteY46" fmla="*/ 459877 h 532103"/>
                    <a:gd name="connsiteX47" fmla="*/ 309463 w 664607"/>
                    <a:gd name="connsiteY47" fmla="*/ 457254 h 532103"/>
                    <a:gd name="connsiteX48" fmla="*/ 309317 w 664607"/>
                    <a:gd name="connsiteY48" fmla="*/ 454814 h 532103"/>
                    <a:gd name="connsiteX49" fmla="*/ 308807 w 664607"/>
                    <a:gd name="connsiteY49" fmla="*/ 453818 h 532103"/>
                    <a:gd name="connsiteX50" fmla="*/ 307824 w 664607"/>
                    <a:gd name="connsiteY50" fmla="*/ 453126 h 532103"/>
                    <a:gd name="connsiteX51" fmla="*/ 294600 w 664607"/>
                    <a:gd name="connsiteY51" fmla="*/ 446253 h 532103"/>
                    <a:gd name="connsiteX52" fmla="*/ 292924 w 664607"/>
                    <a:gd name="connsiteY52" fmla="*/ 445913 h 532103"/>
                    <a:gd name="connsiteX53" fmla="*/ 292900 w 664607"/>
                    <a:gd name="connsiteY53" fmla="*/ 446156 h 532103"/>
                    <a:gd name="connsiteX54" fmla="*/ 289585 w 664607"/>
                    <a:gd name="connsiteY54" fmla="*/ 448244 h 532103"/>
                    <a:gd name="connsiteX55" fmla="*/ 277041 w 664607"/>
                    <a:gd name="connsiteY55" fmla="*/ 451596 h 532103"/>
                    <a:gd name="connsiteX56" fmla="*/ 271018 w 664607"/>
                    <a:gd name="connsiteY56" fmla="*/ 455579 h 532103"/>
                    <a:gd name="connsiteX57" fmla="*/ 267072 w 664607"/>
                    <a:gd name="connsiteY57" fmla="*/ 458080 h 532103"/>
                    <a:gd name="connsiteX58" fmla="*/ 264777 w 664607"/>
                    <a:gd name="connsiteY58" fmla="*/ 442586 h 532103"/>
                    <a:gd name="connsiteX59" fmla="*/ 263635 w 664607"/>
                    <a:gd name="connsiteY59" fmla="*/ 439307 h 532103"/>
                    <a:gd name="connsiteX60" fmla="*/ 261486 w 664607"/>
                    <a:gd name="connsiteY60" fmla="*/ 435822 h 532103"/>
                    <a:gd name="connsiteX61" fmla="*/ 258535 w 664607"/>
                    <a:gd name="connsiteY61" fmla="*/ 432677 h 532103"/>
                    <a:gd name="connsiteX62" fmla="*/ 231942 w 664607"/>
                    <a:gd name="connsiteY62" fmla="*/ 419259 h 532103"/>
                    <a:gd name="connsiteX63" fmla="*/ 229829 w 664607"/>
                    <a:gd name="connsiteY63" fmla="*/ 417389 h 532103"/>
                    <a:gd name="connsiteX64" fmla="*/ 227911 w 664607"/>
                    <a:gd name="connsiteY64" fmla="*/ 415507 h 532103"/>
                    <a:gd name="connsiteX65" fmla="*/ 229939 w 664607"/>
                    <a:gd name="connsiteY65" fmla="*/ 412823 h 532103"/>
                    <a:gd name="connsiteX66" fmla="*/ 231032 w 664607"/>
                    <a:gd name="connsiteY66" fmla="*/ 411986 h 532103"/>
                    <a:gd name="connsiteX67" fmla="*/ 230849 w 664607"/>
                    <a:gd name="connsiteY67" fmla="*/ 411330 h 532103"/>
                    <a:gd name="connsiteX68" fmla="*/ 231384 w 664607"/>
                    <a:gd name="connsiteY68" fmla="*/ 408391 h 532103"/>
                    <a:gd name="connsiteX69" fmla="*/ 233703 w 664607"/>
                    <a:gd name="connsiteY69" fmla="*/ 406363 h 532103"/>
                    <a:gd name="connsiteX70" fmla="*/ 237212 w 664607"/>
                    <a:gd name="connsiteY70" fmla="*/ 405611 h 532103"/>
                    <a:gd name="connsiteX71" fmla="*/ 238366 w 664607"/>
                    <a:gd name="connsiteY71" fmla="*/ 404700 h 532103"/>
                    <a:gd name="connsiteX72" fmla="*/ 241001 w 664607"/>
                    <a:gd name="connsiteY72" fmla="*/ 403874 h 532103"/>
                    <a:gd name="connsiteX73" fmla="*/ 243211 w 664607"/>
                    <a:gd name="connsiteY73" fmla="*/ 404906 h 532103"/>
                    <a:gd name="connsiteX74" fmla="*/ 245360 w 664607"/>
                    <a:gd name="connsiteY74" fmla="*/ 406291 h 532103"/>
                    <a:gd name="connsiteX75" fmla="*/ 245494 w 664607"/>
                    <a:gd name="connsiteY75" fmla="*/ 406315 h 532103"/>
                    <a:gd name="connsiteX76" fmla="*/ 247194 w 664607"/>
                    <a:gd name="connsiteY76" fmla="*/ 403206 h 532103"/>
                    <a:gd name="connsiteX77" fmla="*/ 249331 w 664607"/>
                    <a:gd name="connsiteY77" fmla="*/ 400486 h 532103"/>
                    <a:gd name="connsiteX78" fmla="*/ 252804 w 664607"/>
                    <a:gd name="connsiteY78" fmla="*/ 399333 h 532103"/>
                    <a:gd name="connsiteX79" fmla="*/ 255014 w 664607"/>
                    <a:gd name="connsiteY79" fmla="*/ 400171 h 532103"/>
                    <a:gd name="connsiteX80" fmla="*/ 256204 w 664607"/>
                    <a:gd name="connsiteY80" fmla="*/ 400936 h 532103"/>
                    <a:gd name="connsiteX81" fmla="*/ 256483 w 664607"/>
                    <a:gd name="connsiteY81" fmla="*/ 400960 h 532103"/>
                    <a:gd name="connsiteX82" fmla="*/ 258171 w 664607"/>
                    <a:gd name="connsiteY82" fmla="*/ 400243 h 532103"/>
                    <a:gd name="connsiteX83" fmla="*/ 266100 w 664607"/>
                    <a:gd name="connsiteY83" fmla="*/ 392970 h 532103"/>
                    <a:gd name="connsiteX84" fmla="*/ 267120 w 664607"/>
                    <a:gd name="connsiteY84" fmla="*/ 391185 h 532103"/>
                    <a:gd name="connsiteX85" fmla="*/ 267376 w 664607"/>
                    <a:gd name="connsiteY85" fmla="*/ 389849 h 532103"/>
                    <a:gd name="connsiteX86" fmla="*/ 266319 w 664607"/>
                    <a:gd name="connsiteY86" fmla="*/ 389133 h 532103"/>
                    <a:gd name="connsiteX87" fmla="*/ 253630 w 664607"/>
                    <a:gd name="connsiteY87" fmla="*/ 386850 h 532103"/>
                    <a:gd name="connsiteX88" fmla="*/ 248153 w 664607"/>
                    <a:gd name="connsiteY88" fmla="*/ 384822 h 532103"/>
                    <a:gd name="connsiteX89" fmla="*/ 217128 w 664607"/>
                    <a:gd name="connsiteY89" fmla="*/ 367348 h 532103"/>
                    <a:gd name="connsiteX90" fmla="*/ 206527 w 664607"/>
                    <a:gd name="connsiteY90" fmla="*/ 358265 h 532103"/>
                    <a:gd name="connsiteX91" fmla="*/ 199581 w 664607"/>
                    <a:gd name="connsiteY91" fmla="*/ 349498 h 532103"/>
                    <a:gd name="connsiteX92" fmla="*/ 195999 w 664607"/>
                    <a:gd name="connsiteY92" fmla="*/ 343694 h 532103"/>
                    <a:gd name="connsiteX93" fmla="*/ 191822 w 664607"/>
                    <a:gd name="connsiteY93" fmla="*/ 334951 h 532103"/>
                    <a:gd name="connsiteX94" fmla="*/ 185653 w 664607"/>
                    <a:gd name="connsiteY94" fmla="*/ 329086 h 532103"/>
                    <a:gd name="connsiteX95" fmla="*/ 168192 w 664607"/>
                    <a:gd name="connsiteY95" fmla="*/ 321581 h 532103"/>
                    <a:gd name="connsiteX96" fmla="*/ 163966 w 664607"/>
                    <a:gd name="connsiteY96" fmla="*/ 318339 h 532103"/>
                    <a:gd name="connsiteX97" fmla="*/ 161622 w 664607"/>
                    <a:gd name="connsiteY97" fmla="*/ 315121 h 532103"/>
                    <a:gd name="connsiteX98" fmla="*/ 156255 w 664607"/>
                    <a:gd name="connsiteY98" fmla="*/ 303331 h 532103"/>
                    <a:gd name="connsiteX99" fmla="*/ 149273 w 664607"/>
                    <a:gd name="connsiteY99" fmla="*/ 293762 h 532103"/>
                    <a:gd name="connsiteX100" fmla="*/ 138636 w 664607"/>
                    <a:gd name="connsiteY100" fmla="*/ 282773 h 532103"/>
                    <a:gd name="connsiteX101" fmla="*/ 137203 w 664607"/>
                    <a:gd name="connsiteY101" fmla="*/ 281971 h 532103"/>
                    <a:gd name="connsiteX102" fmla="*/ 134228 w 664607"/>
                    <a:gd name="connsiteY102" fmla="*/ 281923 h 532103"/>
                    <a:gd name="connsiteX103" fmla="*/ 132006 w 664607"/>
                    <a:gd name="connsiteY103" fmla="*/ 282578 h 532103"/>
                    <a:gd name="connsiteX104" fmla="*/ 131059 w 664607"/>
                    <a:gd name="connsiteY104" fmla="*/ 283355 h 532103"/>
                    <a:gd name="connsiteX105" fmla="*/ 130342 w 664607"/>
                    <a:gd name="connsiteY105" fmla="*/ 284448 h 532103"/>
                    <a:gd name="connsiteX106" fmla="*/ 129978 w 664607"/>
                    <a:gd name="connsiteY106" fmla="*/ 286173 h 532103"/>
                    <a:gd name="connsiteX107" fmla="*/ 130367 w 664607"/>
                    <a:gd name="connsiteY107" fmla="*/ 290301 h 532103"/>
                    <a:gd name="connsiteX108" fmla="*/ 131120 w 664607"/>
                    <a:gd name="connsiteY108" fmla="*/ 294600 h 532103"/>
                    <a:gd name="connsiteX109" fmla="*/ 136645 w 664607"/>
                    <a:gd name="connsiteY109" fmla="*/ 311515 h 532103"/>
                    <a:gd name="connsiteX110" fmla="*/ 138138 w 664607"/>
                    <a:gd name="connsiteY110" fmla="*/ 321108 h 532103"/>
                    <a:gd name="connsiteX111" fmla="*/ 136268 w 664607"/>
                    <a:gd name="connsiteY111" fmla="*/ 331526 h 532103"/>
                    <a:gd name="connsiteX112" fmla="*/ 129274 w 664607"/>
                    <a:gd name="connsiteY112" fmla="*/ 338667 h 532103"/>
                    <a:gd name="connsiteX113" fmla="*/ 118394 w 664607"/>
                    <a:gd name="connsiteY113" fmla="*/ 343973 h 532103"/>
                    <a:gd name="connsiteX114" fmla="*/ 112978 w 664607"/>
                    <a:gd name="connsiteY114" fmla="*/ 342382 h 532103"/>
                    <a:gd name="connsiteX115" fmla="*/ 111047 w 664607"/>
                    <a:gd name="connsiteY115" fmla="*/ 341556 h 532103"/>
                    <a:gd name="connsiteX116" fmla="*/ 103725 w 664607"/>
                    <a:gd name="connsiteY116" fmla="*/ 336287 h 532103"/>
                    <a:gd name="connsiteX117" fmla="*/ 93246 w 664607"/>
                    <a:gd name="connsiteY117" fmla="*/ 330215 h 532103"/>
                    <a:gd name="connsiteX118" fmla="*/ 91351 w 664607"/>
                    <a:gd name="connsiteY118" fmla="*/ 329523 h 532103"/>
                    <a:gd name="connsiteX119" fmla="*/ 90514 w 664607"/>
                    <a:gd name="connsiteY119" fmla="*/ 329608 h 532103"/>
                    <a:gd name="connsiteX120" fmla="*/ 85450 w 664607"/>
                    <a:gd name="connsiteY120" fmla="*/ 333615 h 532103"/>
                    <a:gd name="connsiteX121" fmla="*/ 65098 w 664607"/>
                    <a:gd name="connsiteY121" fmla="*/ 343657 h 532103"/>
                    <a:gd name="connsiteX122" fmla="*/ 54765 w 664607"/>
                    <a:gd name="connsiteY122" fmla="*/ 324301 h 532103"/>
                    <a:gd name="connsiteX123" fmla="*/ 53138 w 664607"/>
                    <a:gd name="connsiteY123" fmla="*/ 318363 h 532103"/>
                    <a:gd name="connsiteX124" fmla="*/ 51462 w 664607"/>
                    <a:gd name="connsiteY124" fmla="*/ 307423 h 532103"/>
                    <a:gd name="connsiteX125" fmla="*/ 48462 w 664607"/>
                    <a:gd name="connsiteY125" fmla="*/ 299651 h 532103"/>
                    <a:gd name="connsiteX126" fmla="*/ 47576 w 664607"/>
                    <a:gd name="connsiteY126" fmla="*/ 295535 h 532103"/>
                    <a:gd name="connsiteX127" fmla="*/ 47746 w 664607"/>
                    <a:gd name="connsiteY127" fmla="*/ 286258 h 532103"/>
                    <a:gd name="connsiteX128" fmla="*/ 46799 w 664607"/>
                    <a:gd name="connsiteY128" fmla="*/ 278474 h 532103"/>
                    <a:gd name="connsiteX129" fmla="*/ 47455 w 664607"/>
                    <a:gd name="connsiteY129" fmla="*/ 274030 h 532103"/>
                    <a:gd name="connsiteX130" fmla="*/ 56222 w 664607"/>
                    <a:gd name="connsiteY130" fmla="*/ 260126 h 532103"/>
                    <a:gd name="connsiteX131" fmla="*/ 64248 w 664607"/>
                    <a:gd name="connsiteY131" fmla="*/ 241705 h 532103"/>
                    <a:gd name="connsiteX132" fmla="*/ 71218 w 664607"/>
                    <a:gd name="connsiteY132" fmla="*/ 233812 h 532103"/>
                    <a:gd name="connsiteX133" fmla="*/ 81382 w 664607"/>
                    <a:gd name="connsiteY133" fmla="*/ 226587 h 532103"/>
                    <a:gd name="connsiteX134" fmla="*/ 84175 w 664607"/>
                    <a:gd name="connsiteY134" fmla="*/ 223940 h 532103"/>
                    <a:gd name="connsiteX135" fmla="*/ 84296 w 664607"/>
                    <a:gd name="connsiteY135" fmla="*/ 223673 h 532103"/>
                    <a:gd name="connsiteX136" fmla="*/ 82499 w 664607"/>
                    <a:gd name="connsiteY136" fmla="*/ 221815 h 532103"/>
                    <a:gd name="connsiteX137" fmla="*/ 61419 w 664607"/>
                    <a:gd name="connsiteY137" fmla="*/ 212599 h 532103"/>
                    <a:gd name="connsiteX138" fmla="*/ 49677 w 664607"/>
                    <a:gd name="connsiteY138" fmla="*/ 205580 h 532103"/>
                    <a:gd name="connsiteX139" fmla="*/ 33065 w 664607"/>
                    <a:gd name="connsiteY139" fmla="*/ 191446 h 532103"/>
                    <a:gd name="connsiteX140" fmla="*/ 28985 w 664607"/>
                    <a:gd name="connsiteY140" fmla="*/ 190280 h 532103"/>
                    <a:gd name="connsiteX141" fmla="*/ 27419 w 664607"/>
                    <a:gd name="connsiteY141" fmla="*/ 190280 h 532103"/>
                    <a:gd name="connsiteX142" fmla="*/ 20303 w 664607"/>
                    <a:gd name="connsiteY142" fmla="*/ 194676 h 532103"/>
                    <a:gd name="connsiteX143" fmla="*/ 18542 w 664607"/>
                    <a:gd name="connsiteY143" fmla="*/ 194020 h 532103"/>
                    <a:gd name="connsiteX144" fmla="*/ 10042 w 664607"/>
                    <a:gd name="connsiteY144" fmla="*/ 189576 h 532103"/>
                    <a:gd name="connsiteX145" fmla="*/ 5610 w 664607"/>
                    <a:gd name="connsiteY145" fmla="*/ 185593 h 532103"/>
                    <a:gd name="connsiteX146" fmla="*/ 3764 w 664607"/>
                    <a:gd name="connsiteY146" fmla="*/ 185629 h 532103"/>
                    <a:gd name="connsiteX147" fmla="*/ 3218 w 664607"/>
                    <a:gd name="connsiteY147" fmla="*/ 186139 h 532103"/>
                    <a:gd name="connsiteX148" fmla="*/ 1239 w 664607"/>
                    <a:gd name="connsiteY148" fmla="*/ 186625 h 532103"/>
                    <a:gd name="connsiteX149" fmla="*/ 0 w 664607"/>
                    <a:gd name="connsiteY149" fmla="*/ 180675 h 532103"/>
                    <a:gd name="connsiteX150" fmla="*/ 1336 w 664607"/>
                    <a:gd name="connsiteY150" fmla="*/ 180395 h 532103"/>
                    <a:gd name="connsiteX151" fmla="*/ 2465 w 664607"/>
                    <a:gd name="connsiteY151" fmla="*/ 179825 h 532103"/>
                    <a:gd name="connsiteX152" fmla="*/ 6679 w 664607"/>
                    <a:gd name="connsiteY152" fmla="*/ 179497 h 532103"/>
                    <a:gd name="connsiteX153" fmla="*/ 7905 w 664607"/>
                    <a:gd name="connsiteY153" fmla="*/ 179473 h 532103"/>
                    <a:gd name="connsiteX154" fmla="*/ 13357 w 664607"/>
                    <a:gd name="connsiteY154" fmla="*/ 184512 h 532103"/>
                    <a:gd name="connsiteX155" fmla="*/ 13236 w 664607"/>
                    <a:gd name="connsiteY155" fmla="*/ 183990 h 532103"/>
                    <a:gd name="connsiteX156" fmla="*/ 16454 w 664607"/>
                    <a:gd name="connsiteY156" fmla="*/ 179315 h 532103"/>
                    <a:gd name="connsiteX157" fmla="*/ 21420 w 664607"/>
                    <a:gd name="connsiteY157" fmla="*/ 177226 h 532103"/>
                    <a:gd name="connsiteX158" fmla="*/ 26848 w 664607"/>
                    <a:gd name="connsiteY158" fmla="*/ 176218 h 532103"/>
                    <a:gd name="connsiteX159" fmla="*/ 31147 w 664607"/>
                    <a:gd name="connsiteY159" fmla="*/ 175951 h 532103"/>
                    <a:gd name="connsiteX160" fmla="*/ 34547 w 664607"/>
                    <a:gd name="connsiteY160" fmla="*/ 175235 h 532103"/>
                    <a:gd name="connsiteX161" fmla="*/ 38396 w 664607"/>
                    <a:gd name="connsiteY161" fmla="*/ 173523 h 532103"/>
                    <a:gd name="connsiteX162" fmla="*/ 53028 w 664607"/>
                    <a:gd name="connsiteY162" fmla="*/ 164816 h 532103"/>
                    <a:gd name="connsiteX163" fmla="*/ 57740 w 664607"/>
                    <a:gd name="connsiteY163" fmla="*/ 162776 h 532103"/>
                    <a:gd name="connsiteX164" fmla="*/ 59209 w 664607"/>
                    <a:gd name="connsiteY164" fmla="*/ 162545 h 532103"/>
                    <a:gd name="connsiteX165" fmla="*/ 60120 w 664607"/>
                    <a:gd name="connsiteY165" fmla="*/ 161416 h 532103"/>
                    <a:gd name="connsiteX166" fmla="*/ 60387 w 664607"/>
                    <a:gd name="connsiteY166" fmla="*/ 160032 h 532103"/>
                    <a:gd name="connsiteX167" fmla="*/ 60290 w 664607"/>
                    <a:gd name="connsiteY167" fmla="*/ 159121 h 532103"/>
                    <a:gd name="connsiteX168" fmla="*/ 59598 w 664607"/>
                    <a:gd name="connsiteY168" fmla="*/ 158975 h 532103"/>
                    <a:gd name="connsiteX169" fmla="*/ 57375 w 664607"/>
                    <a:gd name="connsiteY169" fmla="*/ 158830 h 532103"/>
                    <a:gd name="connsiteX170" fmla="*/ 53793 w 664607"/>
                    <a:gd name="connsiteY170" fmla="*/ 157870 h 532103"/>
                    <a:gd name="connsiteX171" fmla="*/ 51753 w 664607"/>
                    <a:gd name="connsiteY171" fmla="*/ 155369 h 532103"/>
                    <a:gd name="connsiteX172" fmla="*/ 46556 w 664607"/>
                    <a:gd name="connsiteY172" fmla="*/ 146735 h 532103"/>
                    <a:gd name="connsiteX173" fmla="*/ 47309 w 664607"/>
                    <a:gd name="connsiteY173" fmla="*/ 144392 h 532103"/>
                    <a:gd name="connsiteX174" fmla="*/ 48560 w 664607"/>
                    <a:gd name="connsiteY174" fmla="*/ 142728 h 532103"/>
                    <a:gd name="connsiteX175" fmla="*/ 51340 w 664607"/>
                    <a:gd name="connsiteY175" fmla="*/ 140931 h 532103"/>
                    <a:gd name="connsiteX176" fmla="*/ 52081 w 664607"/>
                    <a:gd name="connsiteY176" fmla="*/ 139668 h 532103"/>
                    <a:gd name="connsiteX177" fmla="*/ 52033 w 664607"/>
                    <a:gd name="connsiteY177" fmla="*/ 138745 h 532103"/>
                    <a:gd name="connsiteX178" fmla="*/ 50915 w 664607"/>
                    <a:gd name="connsiteY178" fmla="*/ 134580 h 532103"/>
                    <a:gd name="connsiteX179" fmla="*/ 50369 w 664607"/>
                    <a:gd name="connsiteY179" fmla="*/ 133730 h 532103"/>
                    <a:gd name="connsiteX180" fmla="*/ 47309 w 664607"/>
                    <a:gd name="connsiteY180" fmla="*/ 130379 h 532103"/>
                    <a:gd name="connsiteX181" fmla="*/ 46374 w 664607"/>
                    <a:gd name="connsiteY181" fmla="*/ 127209 h 532103"/>
                    <a:gd name="connsiteX182" fmla="*/ 46095 w 664607"/>
                    <a:gd name="connsiteY182" fmla="*/ 121952 h 532103"/>
                    <a:gd name="connsiteX183" fmla="*/ 45597 w 664607"/>
                    <a:gd name="connsiteY183" fmla="*/ 120094 h 532103"/>
                    <a:gd name="connsiteX184" fmla="*/ 40266 w 664607"/>
                    <a:gd name="connsiteY184" fmla="*/ 115188 h 532103"/>
                    <a:gd name="connsiteX185" fmla="*/ 39428 w 664607"/>
                    <a:gd name="connsiteY185" fmla="*/ 111326 h 532103"/>
                    <a:gd name="connsiteX186" fmla="*/ 39780 w 664607"/>
                    <a:gd name="connsiteY186" fmla="*/ 106676 h 532103"/>
                    <a:gd name="connsiteX187" fmla="*/ 44492 w 664607"/>
                    <a:gd name="connsiteY187" fmla="*/ 96415 h 532103"/>
                    <a:gd name="connsiteX188" fmla="*/ 46714 w 664607"/>
                    <a:gd name="connsiteY188" fmla="*/ 89858 h 532103"/>
                    <a:gd name="connsiteX189" fmla="*/ 49750 w 664607"/>
                    <a:gd name="connsiteY189" fmla="*/ 85219 h 532103"/>
                    <a:gd name="connsiteX190" fmla="*/ 54085 w 664607"/>
                    <a:gd name="connsiteY190" fmla="*/ 84758 h 532103"/>
                    <a:gd name="connsiteX191" fmla="*/ 55906 w 664607"/>
                    <a:gd name="connsiteY191" fmla="*/ 86348 h 532103"/>
                    <a:gd name="connsiteX192" fmla="*/ 56355 w 664607"/>
                    <a:gd name="connsiteY192" fmla="*/ 84673 h 532103"/>
                    <a:gd name="connsiteX193" fmla="*/ 56125 w 664607"/>
                    <a:gd name="connsiteY193" fmla="*/ 80581 h 532103"/>
                    <a:gd name="connsiteX194" fmla="*/ 55918 w 664607"/>
                    <a:gd name="connsiteY194" fmla="*/ 80022 h 532103"/>
                    <a:gd name="connsiteX195" fmla="*/ 54983 w 664607"/>
                    <a:gd name="connsiteY195" fmla="*/ 79172 h 532103"/>
                    <a:gd name="connsiteX196" fmla="*/ 53781 w 664607"/>
                    <a:gd name="connsiteY196" fmla="*/ 78710 h 532103"/>
                    <a:gd name="connsiteX197" fmla="*/ 51280 w 664607"/>
                    <a:gd name="connsiteY197" fmla="*/ 76416 h 532103"/>
                    <a:gd name="connsiteX198" fmla="*/ 48110 w 664607"/>
                    <a:gd name="connsiteY198" fmla="*/ 71182 h 532103"/>
                    <a:gd name="connsiteX199" fmla="*/ 48013 w 664607"/>
                    <a:gd name="connsiteY199" fmla="*/ 66798 h 532103"/>
                    <a:gd name="connsiteX200" fmla="*/ 51425 w 664607"/>
                    <a:gd name="connsiteY200" fmla="*/ 63665 h 532103"/>
                    <a:gd name="connsiteX201" fmla="*/ 54595 w 664607"/>
                    <a:gd name="connsiteY201" fmla="*/ 64297 h 532103"/>
                    <a:gd name="connsiteX202" fmla="*/ 56659 w 664607"/>
                    <a:gd name="connsiteY202" fmla="*/ 65086 h 532103"/>
                    <a:gd name="connsiteX203" fmla="*/ 57934 w 664607"/>
                    <a:gd name="connsiteY203" fmla="*/ 64491 h 532103"/>
                    <a:gd name="connsiteX204" fmla="*/ 58760 w 664607"/>
                    <a:gd name="connsiteY204" fmla="*/ 63423 h 532103"/>
                    <a:gd name="connsiteX205" fmla="*/ 58942 w 664607"/>
                    <a:gd name="connsiteY205" fmla="*/ 62852 h 532103"/>
                    <a:gd name="connsiteX206" fmla="*/ 58796 w 664607"/>
                    <a:gd name="connsiteY206" fmla="*/ 61589 h 532103"/>
                    <a:gd name="connsiteX207" fmla="*/ 57084 w 664607"/>
                    <a:gd name="connsiteY207" fmla="*/ 58942 h 532103"/>
                    <a:gd name="connsiteX208" fmla="*/ 56525 w 664607"/>
                    <a:gd name="connsiteY208" fmla="*/ 57934 h 532103"/>
                    <a:gd name="connsiteX209" fmla="*/ 57375 w 664607"/>
                    <a:gd name="connsiteY209" fmla="*/ 54097 h 532103"/>
                    <a:gd name="connsiteX210" fmla="*/ 59233 w 664607"/>
                    <a:gd name="connsiteY210" fmla="*/ 51668 h 532103"/>
                    <a:gd name="connsiteX211" fmla="*/ 70721 w 664607"/>
                    <a:gd name="connsiteY211" fmla="*/ 40497 h 532103"/>
                    <a:gd name="connsiteX212" fmla="*/ 76525 w 664607"/>
                    <a:gd name="connsiteY212" fmla="*/ 33478 h 532103"/>
                    <a:gd name="connsiteX213" fmla="*/ 82548 w 664607"/>
                    <a:gd name="connsiteY213" fmla="*/ 27601 h 532103"/>
                    <a:gd name="connsiteX214" fmla="*/ 85243 w 664607"/>
                    <a:gd name="connsiteY214" fmla="*/ 25694 h 532103"/>
                    <a:gd name="connsiteX215" fmla="*/ 88231 w 664607"/>
                    <a:gd name="connsiteY215" fmla="*/ 24602 h 532103"/>
                    <a:gd name="connsiteX216" fmla="*/ 91242 w 664607"/>
                    <a:gd name="connsiteY216" fmla="*/ 24492 h 532103"/>
                    <a:gd name="connsiteX217" fmla="*/ 100228 w 664607"/>
                    <a:gd name="connsiteY217" fmla="*/ 26010 h 532103"/>
                    <a:gd name="connsiteX218" fmla="*/ 103069 w 664607"/>
                    <a:gd name="connsiteY218" fmla="*/ 25804 h 532103"/>
                    <a:gd name="connsiteX219" fmla="*/ 104806 w 664607"/>
                    <a:gd name="connsiteY219" fmla="*/ 25379 h 532103"/>
                    <a:gd name="connsiteX220" fmla="*/ 110051 w 664607"/>
                    <a:gd name="connsiteY220" fmla="*/ 22902 h 532103"/>
                    <a:gd name="connsiteX221" fmla="*/ 118248 w 664607"/>
                    <a:gd name="connsiteY221" fmla="*/ 17158 h 532103"/>
                    <a:gd name="connsiteX222" fmla="*/ 131496 w 664607"/>
                    <a:gd name="connsiteY222" fmla="*/ 9957 h 532103"/>
                    <a:gd name="connsiteX223" fmla="*/ 141150 w 664607"/>
                    <a:gd name="connsiteY223" fmla="*/ 7019 h 532103"/>
                    <a:gd name="connsiteX224" fmla="*/ 149686 w 664607"/>
                    <a:gd name="connsiteY224" fmla="*/ 1348 h 532103"/>
                    <a:gd name="connsiteX225" fmla="*/ 152855 w 664607"/>
                    <a:gd name="connsiteY225" fmla="*/ 206 h 532103"/>
                    <a:gd name="connsiteX226" fmla="*/ 156656 w 664607"/>
                    <a:gd name="connsiteY226" fmla="*/ 0 h 532103"/>
                    <a:gd name="connsiteX227" fmla="*/ 163808 w 664607"/>
                    <a:gd name="connsiteY227" fmla="*/ 971 h 532103"/>
                    <a:gd name="connsiteX228" fmla="*/ 167172 w 664607"/>
                    <a:gd name="connsiteY228" fmla="*/ 923 h 532103"/>
                    <a:gd name="connsiteX229" fmla="*/ 169795 w 664607"/>
                    <a:gd name="connsiteY229" fmla="*/ 1506 h 532103"/>
                    <a:gd name="connsiteX230" fmla="*/ 172248 w 664607"/>
                    <a:gd name="connsiteY230" fmla="*/ 3109 h 532103"/>
                    <a:gd name="connsiteX231" fmla="*/ 173523 w 664607"/>
                    <a:gd name="connsiteY231" fmla="*/ 4991 h 532103"/>
                    <a:gd name="connsiteX232" fmla="*/ 174300 w 664607"/>
                    <a:gd name="connsiteY232" fmla="*/ 5501 h 532103"/>
                    <a:gd name="connsiteX233" fmla="*/ 175223 w 664607"/>
                    <a:gd name="connsiteY233" fmla="*/ 5537 h 532103"/>
                    <a:gd name="connsiteX234" fmla="*/ 177882 w 664607"/>
                    <a:gd name="connsiteY234" fmla="*/ 4942 h 532103"/>
                    <a:gd name="connsiteX235" fmla="*/ 180153 w 664607"/>
                    <a:gd name="connsiteY235" fmla="*/ 5574 h 532103"/>
                    <a:gd name="connsiteX236" fmla="*/ 182824 w 664607"/>
                    <a:gd name="connsiteY236" fmla="*/ 7322 h 532103"/>
                    <a:gd name="connsiteX237" fmla="*/ 189078 w 664607"/>
                    <a:gd name="connsiteY237" fmla="*/ 13916 h 532103"/>
                    <a:gd name="connsiteX238" fmla="*/ 191689 w 664607"/>
                    <a:gd name="connsiteY238" fmla="*/ 15421 h 532103"/>
                    <a:gd name="connsiteX239" fmla="*/ 192818 w 664607"/>
                    <a:gd name="connsiteY239" fmla="*/ 15628 h 532103"/>
                    <a:gd name="connsiteX240" fmla="*/ 194943 w 664607"/>
                    <a:gd name="connsiteY240" fmla="*/ 15130 h 532103"/>
                    <a:gd name="connsiteX241" fmla="*/ 198501 w 664607"/>
                    <a:gd name="connsiteY241" fmla="*/ 14171 h 532103"/>
                    <a:gd name="connsiteX242" fmla="*/ 206782 w 664607"/>
                    <a:gd name="connsiteY242" fmla="*/ 13151 h 532103"/>
                    <a:gd name="connsiteX243" fmla="*/ 211652 w 664607"/>
                    <a:gd name="connsiteY243" fmla="*/ 13321 h 532103"/>
                    <a:gd name="connsiteX244" fmla="*/ 215416 w 664607"/>
                    <a:gd name="connsiteY244" fmla="*/ 14219 h 532103"/>
                    <a:gd name="connsiteX245" fmla="*/ 218209 w 664607"/>
                    <a:gd name="connsiteY245" fmla="*/ 15616 h 532103"/>
                    <a:gd name="connsiteX246" fmla="*/ 221172 w 664607"/>
                    <a:gd name="connsiteY246" fmla="*/ 16514 h 532103"/>
                    <a:gd name="connsiteX247" fmla="*/ 223297 w 664607"/>
                    <a:gd name="connsiteY247" fmla="*/ 16611 h 532103"/>
                    <a:gd name="connsiteX248" fmla="*/ 226648 w 664607"/>
                    <a:gd name="connsiteY248" fmla="*/ 16296 h 532103"/>
                    <a:gd name="connsiteX249" fmla="*/ 233752 w 664607"/>
                    <a:gd name="connsiteY249" fmla="*/ 16733 h 532103"/>
                    <a:gd name="connsiteX250" fmla="*/ 239835 w 664607"/>
                    <a:gd name="connsiteY250" fmla="*/ 17692 h 532103"/>
                    <a:gd name="connsiteX251" fmla="*/ 243927 w 664607"/>
                    <a:gd name="connsiteY251" fmla="*/ 17547 h 532103"/>
                    <a:gd name="connsiteX252" fmla="*/ 248238 w 664607"/>
                    <a:gd name="connsiteY252" fmla="*/ 18336 h 532103"/>
                    <a:gd name="connsiteX253" fmla="*/ 250327 w 664607"/>
                    <a:gd name="connsiteY253" fmla="*/ 20522 h 532103"/>
                    <a:gd name="connsiteX254" fmla="*/ 254480 w 664607"/>
                    <a:gd name="connsiteY254" fmla="*/ 28633 h 532103"/>
                    <a:gd name="connsiteX255" fmla="*/ 256811 w 664607"/>
                    <a:gd name="connsiteY255" fmla="*/ 31814 h 532103"/>
                    <a:gd name="connsiteX256" fmla="*/ 258888 w 664607"/>
                    <a:gd name="connsiteY256" fmla="*/ 33867 h 532103"/>
                    <a:gd name="connsiteX257" fmla="*/ 262033 w 664607"/>
                    <a:gd name="connsiteY257" fmla="*/ 35737 h 532103"/>
                    <a:gd name="connsiteX258" fmla="*/ 273240 w 664607"/>
                    <a:gd name="connsiteY258" fmla="*/ 36405 h 532103"/>
                    <a:gd name="connsiteX259" fmla="*/ 275256 w 664607"/>
                    <a:gd name="connsiteY259" fmla="*/ 36089 h 532103"/>
                    <a:gd name="connsiteX260" fmla="*/ 277964 w 664607"/>
                    <a:gd name="connsiteY260" fmla="*/ 35749 h 532103"/>
                    <a:gd name="connsiteX261" fmla="*/ 281692 w 664607"/>
                    <a:gd name="connsiteY261" fmla="*/ 34571 h 532103"/>
                    <a:gd name="connsiteX262" fmla="*/ 281911 w 664607"/>
                    <a:gd name="connsiteY262" fmla="*/ 33502 h 532103"/>
                    <a:gd name="connsiteX263" fmla="*/ 279445 w 664607"/>
                    <a:gd name="connsiteY263" fmla="*/ 21687 h 532103"/>
                    <a:gd name="connsiteX264" fmla="*/ 287083 w 664607"/>
                    <a:gd name="connsiteY264" fmla="*/ 29325 h 532103"/>
                    <a:gd name="connsiteX265" fmla="*/ 287448 w 664607"/>
                    <a:gd name="connsiteY265" fmla="*/ 30029 h 532103"/>
                    <a:gd name="connsiteX266" fmla="*/ 287885 w 664607"/>
                    <a:gd name="connsiteY266" fmla="*/ 31159 h 532103"/>
                    <a:gd name="connsiteX267" fmla="*/ 301327 w 664607"/>
                    <a:gd name="connsiteY267" fmla="*/ 34474 h 532103"/>
                    <a:gd name="connsiteX268" fmla="*/ 322395 w 664607"/>
                    <a:gd name="connsiteY268" fmla="*/ 31256 h 532103"/>
                    <a:gd name="connsiteX269" fmla="*/ 340524 w 664607"/>
                    <a:gd name="connsiteY269" fmla="*/ 37667 h 532103"/>
                    <a:gd name="connsiteX270" fmla="*/ 345819 w 664607"/>
                    <a:gd name="connsiteY270" fmla="*/ 37327 h 532103"/>
                    <a:gd name="connsiteX271" fmla="*/ 346511 w 664607"/>
                    <a:gd name="connsiteY271" fmla="*/ 37679 h 532103"/>
                    <a:gd name="connsiteX272" fmla="*/ 351684 w 664607"/>
                    <a:gd name="connsiteY272" fmla="*/ 39222 h 532103"/>
                    <a:gd name="connsiteX273" fmla="*/ 357549 w 664607"/>
                    <a:gd name="connsiteY273" fmla="*/ 42197 h 532103"/>
                    <a:gd name="connsiteX274" fmla="*/ 359953 w 664607"/>
                    <a:gd name="connsiteY274" fmla="*/ 46180 h 532103"/>
                    <a:gd name="connsiteX275" fmla="*/ 361034 w 664607"/>
                    <a:gd name="connsiteY275" fmla="*/ 48098 h 532103"/>
                    <a:gd name="connsiteX276" fmla="*/ 362637 w 664607"/>
                    <a:gd name="connsiteY276" fmla="*/ 55785 h 532103"/>
                    <a:gd name="connsiteX277" fmla="*/ 363001 w 664607"/>
                    <a:gd name="connsiteY277" fmla="*/ 56477 h 532103"/>
                    <a:gd name="connsiteX278" fmla="*/ 363426 w 664607"/>
                    <a:gd name="connsiteY278" fmla="*/ 56598 h 532103"/>
                    <a:gd name="connsiteX279" fmla="*/ 365843 w 664607"/>
                    <a:gd name="connsiteY279" fmla="*/ 56161 h 532103"/>
                    <a:gd name="connsiteX280" fmla="*/ 369182 w 664607"/>
                    <a:gd name="connsiteY280" fmla="*/ 55979 h 532103"/>
                    <a:gd name="connsiteX281" fmla="*/ 372740 w 664607"/>
                    <a:gd name="connsiteY281" fmla="*/ 56586 h 532103"/>
                    <a:gd name="connsiteX282" fmla="*/ 376795 w 664607"/>
                    <a:gd name="connsiteY282" fmla="*/ 58578 h 532103"/>
                    <a:gd name="connsiteX283" fmla="*/ 378155 w 664607"/>
                    <a:gd name="connsiteY283" fmla="*/ 60083 h 532103"/>
                    <a:gd name="connsiteX284" fmla="*/ 379224 w 664607"/>
                    <a:gd name="connsiteY284" fmla="*/ 61625 h 532103"/>
                    <a:gd name="connsiteX285" fmla="*/ 379868 w 664607"/>
                    <a:gd name="connsiteY285" fmla="*/ 63350 h 532103"/>
                    <a:gd name="connsiteX286" fmla="*/ 381434 w 664607"/>
                    <a:gd name="connsiteY286" fmla="*/ 66130 h 532103"/>
                    <a:gd name="connsiteX287" fmla="*/ 383960 w 664607"/>
                    <a:gd name="connsiteY287" fmla="*/ 68899 h 532103"/>
                    <a:gd name="connsiteX288" fmla="*/ 386813 w 664607"/>
                    <a:gd name="connsiteY288" fmla="*/ 71158 h 532103"/>
                    <a:gd name="connsiteX289" fmla="*/ 388926 w 664607"/>
                    <a:gd name="connsiteY289" fmla="*/ 72080 h 532103"/>
                    <a:gd name="connsiteX290" fmla="*/ 392423 w 664607"/>
                    <a:gd name="connsiteY290" fmla="*/ 72870 h 532103"/>
                    <a:gd name="connsiteX291" fmla="*/ 394208 w 664607"/>
                    <a:gd name="connsiteY291" fmla="*/ 73538 h 532103"/>
                    <a:gd name="connsiteX292" fmla="*/ 395568 w 664607"/>
                    <a:gd name="connsiteY292" fmla="*/ 73283 h 532103"/>
                    <a:gd name="connsiteX293" fmla="*/ 402271 w 664607"/>
                    <a:gd name="connsiteY293" fmla="*/ 69081 h 532103"/>
                    <a:gd name="connsiteX294" fmla="*/ 406533 w 664607"/>
                    <a:gd name="connsiteY294" fmla="*/ 68049 h 532103"/>
                    <a:gd name="connsiteX295" fmla="*/ 414572 w 664607"/>
                    <a:gd name="connsiteY295" fmla="*/ 67648 h 532103"/>
                    <a:gd name="connsiteX296" fmla="*/ 423436 w 664607"/>
                    <a:gd name="connsiteY296" fmla="*/ 65280 h 532103"/>
                    <a:gd name="connsiteX297" fmla="*/ 428524 w 664607"/>
                    <a:gd name="connsiteY297" fmla="*/ 65620 h 532103"/>
                    <a:gd name="connsiteX298" fmla="*/ 442574 w 664607"/>
                    <a:gd name="connsiteY298" fmla="*/ 68923 h 532103"/>
                    <a:gd name="connsiteX299" fmla="*/ 446897 w 664607"/>
                    <a:gd name="connsiteY299" fmla="*/ 70866 h 532103"/>
                    <a:gd name="connsiteX300" fmla="*/ 449677 w 664607"/>
                    <a:gd name="connsiteY300" fmla="*/ 74023 h 532103"/>
                    <a:gd name="connsiteX301" fmla="*/ 453381 w 664607"/>
                    <a:gd name="connsiteY301" fmla="*/ 80447 h 532103"/>
                    <a:gd name="connsiteX302" fmla="*/ 457218 w 664607"/>
                    <a:gd name="connsiteY302" fmla="*/ 84563 h 532103"/>
                    <a:gd name="connsiteX303" fmla="*/ 458712 w 664607"/>
                    <a:gd name="connsiteY303" fmla="*/ 85365 h 532103"/>
                    <a:gd name="connsiteX304" fmla="*/ 462525 w 664607"/>
                    <a:gd name="connsiteY304" fmla="*/ 87672 h 532103"/>
                    <a:gd name="connsiteX305" fmla="*/ 475263 w 664607"/>
                    <a:gd name="connsiteY305" fmla="*/ 92663 h 532103"/>
                    <a:gd name="connsiteX306" fmla="*/ 480375 w 664607"/>
                    <a:gd name="connsiteY306" fmla="*/ 96476 h 532103"/>
                    <a:gd name="connsiteX307" fmla="*/ 484054 w 664607"/>
                    <a:gd name="connsiteY307" fmla="*/ 102304 h 532103"/>
                    <a:gd name="connsiteX308" fmla="*/ 486738 w 664607"/>
                    <a:gd name="connsiteY308" fmla="*/ 105850 h 532103"/>
                    <a:gd name="connsiteX309" fmla="*/ 490623 w 664607"/>
                    <a:gd name="connsiteY309" fmla="*/ 107344 h 532103"/>
                    <a:gd name="connsiteX310" fmla="*/ 492918 w 664607"/>
                    <a:gd name="connsiteY310" fmla="*/ 106809 h 532103"/>
                    <a:gd name="connsiteX311" fmla="*/ 498796 w 664607"/>
                    <a:gd name="connsiteY311" fmla="*/ 103567 h 532103"/>
                    <a:gd name="connsiteX312" fmla="*/ 503543 w 664607"/>
                    <a:gd name="connsiteY312" fmla="*/ 103640 h 532103"/>
                    <a:gd name="connsiteX313" fmla="*/ 506616 w 664607"/>
                    <a:gd name="connsiteY313" fmla="*/ 105801 h 532103"/>
                    <a:gd name="connsiteX314" fmla="*/ 512019 w 664607"/>
                    <a:gd name="connsiteY314" fmla="*/ 113597 h 532103"/>
                    <a:gd name="connsiteX315" fmla="*/ 517386 w 664607"/>
                    <a:gd name="connsiteY315" fmla="*/ 116524 h 532103"/>
                    <a:gd name="connsiteX316" fmla="*/ 520106 w 664607"/>
                    <a:gd name="connsiteY316" fmla="*/ 120592 h 532103"/>
                    <a:gd name="connsiteX317" fmla="*/ 514581 w 664607"/>
                    <a:gd name="connsiteY317" fmla="*/ 130245 h 532103"/>
                    <a:gd name="connsiteX318" fmla="*/ 512529 w 664607"/>
                    <a:gd name="connsiteY318" fmla="*/ 132164 h 532103"/>
                    <a:gd name="connsiteX319" fmla="*/ 511886 w 664607"/>
                    <a:gd name="connsiteY319" fmla="*/ 132698 h 532103"/>
                    <a:gd name="connsiteX320" fmla="*/ 509506 w 664607"/>
                    <a:gd name="connsiteY320" fmla="*/ 133050 h 532103"/>
                    <a:gd name="connsiteX321" fmla="*/ 507733 w 664607"/>
                    <a:gd name="connsiteY321" fmla="*/ 133014 h 532103"/>
                    <a:gd name="connsiteX322" fmla="*/ 508753 w 664607"/>
                    <a:gd name="connsiteY322" fmla="*/ 134301 h 532103"/>
                    <a:gd name="connsiteX323" fmla="*/ 511011 w 664607"/>
                    <a:gd name="connsiteY323" fmla="*/ 136462 h 532103"/>
                    <a:gd name="connsiteX324" fmla="*/ 513513 w 664607"/>
                    <a:gd name="connsiteY324" fmla="*/ 139984 h 532103"/>
                    <a:gd name="connsiteX325" fmla="*/ 514351 w 664607"/>
                    <a:gd name="connsiteY325" fmla="*/ 145424 h 532103"/>
                    <a:gd name="connsiteX326" fmla="*/ 513100 w 664607"/>
                    <a:gd name="connsiteY326" fmla="*/ 149200 h 532103"/>
                    <a:gd name="connsiteX327" fmla="*/ 512371 w 664607"/>
                    <a:gd name="connsiteY327" fmla="*/ 150487 h 532103"/>
                    <a:gd name="connsiteX328" fmla="*/ 513003 w 664607"/>
                    <a:gd name="connsiteY328" fmla="*/ 150342 h 532103"/>
                    <a:gd name="connsiteX329" fmla="*/ 520714 w 664607"/>
                    <a:gd name="connsiteY329" fmla="*/ 150657 h 532103"/>
                    <a:gd name="connsiteX330" fmla="*/ 535091 w 664607"/>
                    <a:gd name="connsiteY330" fmla="*/ 154580 h 532103"/>
                    <a:gd name="connsiteX331" fmla="*/ 554252 w 664607"/>
                    <a:gd name="connsiteY331" fmla="*/ 164852 h 532103"/>
                    <a:gd name="connsiteX332" fmla="*/ 563372 w 664607"/>
                    <a:gd name="connsiteY332" fmla="*/ 168277 h 532103"/>
                    <a:gd name="connsiteX333" fmla="*/ 570014 w 664607"/>
                    <a:gd name="connsiteY333" fmla="*/ 172248 h 532103"/>
                    <a:gd name="connsiteX334" fmla="*/ 572297 w 664607"/>
                    <a:gd name="connsiteY334" fmla="*/ 172636 h 532103"/>
                    <a:gd name="connsiteX335" fmla="*/ 575017 w 664607"/>
                    <a:gd name="connsiteY335" fmla="*/ 172090 h 532103"/>
                    <a:gd name="connsiteX336" fmla="*/ 577263 w 664607"/>
                    <a:gd name="connsiteY336" fmla="*/ 171361 h 532103"/>
                    <a:gd name="connsiteX337" fmla="*/ 580773 w 664607"/>
                    <a:gd name="connsiteY337" fmla="*/ 171021 h 532103"/>
                    <a:gd name="connsiteX338" fmla="*/ 585945 w 664607"/>
                    <a:gd name="connsiteY338" fmla="*/ 172478 h 532103"/>
                    <a:gd name="connsiteX339" fmla="*/ 604840 w 664607"/>
                    <a:gd name="connsiteY339" fmla="*/ 182557 h 532103"/>
                    <a:gd name="connsiteX340" fmla="*/ 610583 w 664607"/>
                    <a:gd name="connsiteY340" fmla="*/ 186904 h 532103"/>
                    <a:gd name="connsiteX341" fmla="*/ 613401 w 664607"/>
                    <a:gd name="connsiteY341" fmla="*/ 190256 h 532103"/>
                    <a:gd name="connsiteX342" fmla="*/ 617371 w 664607"/>
                    <a:gd name="connsiteY342" fmla="*/ 197359 h 532103"/>
                    <a:gd name="connsiteX343" fmla="*/ 619411 w 664607"/>
                    <a:gd name="connsiteY343" fmla="*/ 199909 h 532103"/>
                    <a:gd name="connsiteX344" fmla="*/ 621609 w 664607"/>
                    <a:gd name="connsiteY344" fmla="*/ 201548 h 532103"/>
                    <a:gd name="connsiteX345" fmla="*/ 636909 w 664607"/>
                    <a:gd name="connsiteY345" fmla="*/ 207814 h 532103"/>
                    <a:gd name="connsiteX346" fmla="*/ 650922 w 664607"/>
                    <a:gd name="connsiteY346" fmla="*/ 211445 h 532103"/>
                    <a:gd name="connsiteX347" fmla="*/ 658293 w 664607"/>
                    <a:gd name="connsiteY347" fmla="*/ 215112 h 532103"/>
                    <a:gd name="connsiteX348" fmla="*/ 662519 w 664607"/>
                    <a:gd name="connsiteY348" fmla="*/ 221633 h 532103"/>
                    <a:gd name="connsiteX349" fmla="*/ 664607 w 664607"/>
                    <a:gd name="connsiteY349" fmla="*/ 226101 h 532103"/>
                    <a:gd name="connsiteX350" fmla="*/ 662045 w 664607"/>
                    <a:gd name="connsiteY350" fmla="*/ 232343 h 532103"/>
                    <a:gd name="connsiteX351" fmla="*/ 658633 w 664607"/>
                    <a:gd name="connsiteY351" fmla="*/ 232537 h 532103"/>
                    <a:gd name="connsiteX352" fmla="*/ 645968 w 664607"/>
                    <a:gd name="connsiteY352" fmla="*/ 236763 h 532103"/>
                    <a:gd name="connsiteX353" fmla="*/ 640504 w 664607"/>
                    <a:gd name="connsiteY353" fmla="*/ 235464 h 532103"/>
                    <a:gd name="connsiteX354" fmla="*/ 638184 w 664607"/>
                    <a:gd name="connsiteY354" fmla="*/ 230874 h 532103"/>
                    <a:gd name="connsiteX355" fmla="*/ 637662 w 664607"/>
                    <a:gd name="connsiteY355" fmla="*/ 231250 h 532103"/>
                    <a:gd name="connsiteX356" fmla="*/ 634918 w 664607"/>
                    <a:gd name="connsiteY356" fmla="*/ 234517 h 532103"/>
                    <a:gd name="connsiteX357" fmla="*/ 633667 w 664607"/>
                    <a:gd name="connsiteY357" fmla="*/ 235694 h 532103"/>
                    <a:gd name="connsiteX358" fmla="*/ 635938 w 664607"/>
                    <a:gd name="connsiteY358" fmla="*/ 240758 h 532103"/>
                    <a:gd name="connsiteX359" fmla="*/ 631299 w 664607"/>
                    <a:gd name="connsiteY359" fmla="*/ 247558 h 532103"/>
                    <a:gd name="connsiteX360" fmla="*/ 619254 w 664607"/>
                    <a:gd name="connsiteY360" fmla="*/ 256483 h 532103"/>
                    <a:gd name="connsiteX361" fmla="*/ 617043 w 664607"/>
                    <a:gd name="connsiteY361" fmla="*/ 258778 h 532103"/>
                    <a:gd name="connsiteX362" fmla="*/ 611798 w 664607"/>
                    <a:gd name="connsiteY362" fmla="*/ 266877 h 532103"/>
                    <a:gd name="connsiteX363" fmla="*/ 609539 w 664607"/>
                    <a:gd name="connsiteY363" fmla="*/ 269270 h 532103"/>
                    <a:gd name="connsiteX364" fmla="*/ 602363 w 664607"/>
                    <a:gd name="connsiteY364" fmla="*/ 274054 h 532103"/>
                    <a:gd name="connsiteX365" fmla="*/ 597858 w 664607"/>
                    <a:gd name="connsiteY365" fmla="*/ 278183 h 532103"/>
                    <a:gd name="connsiteX366" fmla="*/ 595004 w 664607"/>
                    <a:gd name="connsiteY366" fmla="*/ 279992 h 532103"/>
                    <a:gd name="connsiteX367" fmla="*/ 590742 w 664607"/>
                    <a:gd name="connsiteY367" fmla="*/ 281400 h 532103"/>
                    <a:gd name="connsiteX368" fmla="*/ 583432 w 664607"/>
                    <a:gd name="connsiteY368" fmla="*/ 282311 h 532103"/>
                    <a:gd name="connsiteX369" fmla="*/ 582703 w 664607"/>
                    <a:gd name="connsiteY369" fmla="*/ 282809 h 532103"/>
                    <a:gd name="connsiteX370" fmla="*/ 581489 w 664607"/>
                    <a:gd name="connsiteY370" fmla="*/ 285553 h 532103"/>
                    <a:gd name="connsiteX371" fmla="*/ 579073 w 664607"/>
                    <a:gd name="connsiteY371" fmla="*/ 292705 h 532103"/>
                    <a:gd name="connsiteX372" fmla="*/ 574592 w 664607"/>
                    <a:gd name="connsiteY372" fmla="*/ 299785 h 532103"/>
                    <a:gd name="connsiteX373" fmla="*/ 564732 w 664607"/>
                    <a:gd name="connsiteY373" fmla="*/ 311612 h 532103"/>
                    <a:gd name="connsiteX374" fmla="*/ 559838 w 664607"/>
                    <a:gd name="connsiteY374" fmla="*/ 315631 h 532103"/>
                    <a:gd name="connsiteX375" fmla="*/ 548594 w 664607"/>
                    <a:gd name="connsiteY375" fmla="*/ 318509 h 532103"/>
                    <a:gd name="connsiteX376" fmla="*/ 544732 w 664607"/>
                    <a:gd name="connsiteY376" fmla="*/ 321496 h 532103"/>
                    <a:gd name="connsiteX377" fmla="*/ 542595 w 664607"/>
                    <a:gd name="connsiteY377" fmla="*/ 325916 h 532103"/>
                    <a:gd name="connsiteX378" fmla="*/ 542656 w 664607"/>
                    <a:gd name="connsiteY378" fmla="*/ 330397 h 532103"/>
                    <a:gd name="connsiteX379" fmla="*/ 544271 w 664607"/>
                    <a:gd name="connsiteY379" fmla="*/ 334599 h 532103"/>
                    <a:gd name="connsiteX380" fmla="*/ 546687 w 664607"/>
                    <a:gd name="connsiteY380" fmla="*/ 339808 h 532103"/>
                    <a:gd name="connsiteX381" fmla="*/ 548533 w 664607"/>
                    <a:gd name="connsiteY381" fmla="*/ 345491 h 532103"/>
                    <a:gd name="connsiteX382" fmla="*/ 548351 w 664607"/>
                    <a:gd name="connsiteY382" fmla="*/ 351744 h 532103"/>
                    <a:gd name="connsiteX383" fmla="*/ 545874 w 664607"/>
                    <a:gd name="connsiteY383" fmla="*/ 356541 h 532103"/>
                    <a:gd name="connsiteX384" fmla="*/ 541138 w 664607"/>
                    <a:gd name="connsiteY384" fmla="*/ 361762 h 532103"/>
                    <a:gd name="connsiteX385" fmla="*/ 539584 w 664607"/>
                    <a:gd name="connsiteY385" fmla="*/ 362928 h 532103"/>
                    <a:gd name="connsiteX386" fmla="*/ 537022 w 664607"/>
                    <a:gd name="connsiteY386" fmla="*/ 364276 h 532103"/>
                    <a:gd name="connsiteX387" fmla="*/ 537616 w 664607"/>
                    <a:gd name="connsiteY387" fmla="*/ 365782 h 532103"/>
                    <a:gd name="connsiteX388" fmla="*/ 537531 w 664607"/>
                    <a:gd name="connsiteY388" fmla="*/ 367312 h 532103"/>
                    <a:gd name="connsiteX389" fmla="*/ 536961 w 664607"/>
                    <a:gd name="connsiteY389" fmla="*/ 369085 h 532103"/>
                    <a:gd name="connsiteX390" fmla="*/ 535649 w 664607"/>
                    <a:gd name="connsiteY390" fmla="*/ 370918 h 532103"/>
                    <a:gd name="connsiteX391" fmla="*/ 533682 w 664607"/>
                    <a:gd name="connsiteY391" fmla="*/ 372910 h 532103"/>
                    <a:gd name="connsiteX392" fmla="*/ 529566 w 664607"/>
                    <a:gd name="connsiteY392" fmla="*/ 375921 h 532103"/>
                    <a:gd name="connsiteX393" fmla="*/ 528339 w 664607"/>
                    <a:gd name="connsiteY393" fmla="*/ 377524 h 532103"/>
                    <a:gd name="connsiteX394" fmla="*/ 526093 w 664607"/>
                    <a:gd name="connsiteY394" fmla="*/ 379248 h 532103"/>
                    <a:gd name="connsiteX395" fmla="*/ 525899 w 664607"/>
                    <a:gd name="connsiteY395" fmla="*/ 379467 h 532103"/>
                    <a:gd name="connsiteX396" fmla="*/ 525534 w 664607"/>
                    <a:gd name="connsiteY396" fmla="*/ 381312 h 532103"/>
                    <a:gd name="connsiteX397" fmla="*/ 524004 w 664607"/>
                    <a:gd name="connsiteY397" fmla="*/ 384178 h 532103"/>
                    <a:gd name="connsiteX398" fmla="*/ 523409 w 664607"/>
                    <a:gd name="connsiteY398" fmla="*/ 385150 h 532103"/>
                    <a:gd name="connsiteX399" fmla="*/ 516864 w 664607"/>
                    <a:gd name="connsiteY399" fmla="*/ 387214 h 532103"/>
                    <a:gd name="connsiteX400" fmla="*/ 516719 w 664607"/>
                    <a:gd name="connsiteY400" fmla="*/ 387335 h 532103"/>
                    <a:gd name="connsiteX401" fmla="*/ 516354 w 664607"/>
                    <a:gd name="connsiteY401" fmla="*/ 389108 h 532103"/>
                    <a:gd name="connsiteX402" fmla="*/ 517399 w 664607"/>
                    <a:gd name="connsiteY402" fmla="*/ 391683 h 532103"/>
                    <a:gd name="connsiteX403" fmla="*/ 521163 w 664607"/>
                    <a:gd name="connsiteY403" fmla="*/ 397960 h 532103"/>
                    <a:gd name="connsiteX404" fmla="*/ 522887 w 664607"/>
                    <a:gd name="connsiteY404" fmla="*/ 407128 h 532103"/>
                    <a:gd name="connsiteX405" fmla="*/ 523057 w 664607"/>
                    <a:gd name="connsiteY405" fmla="*/ 407165 h 532103"/>
                    <a:gd name="connsiteX406" fmla="*/ 525316 w 664607"/>
                    <a:gd name="connsiteY406" fmla="*/ 407031 h 532103"/>
                    <a:gd name="connsiteX407" fmla="*/ 528522 w 664607"/>
                    <a:gd name="connsiteY407" fmla="*/ 409618 h 532103"/>
                    <a:gd name="connsiteX408" fmla="*/ 529189 w 664607"/>
                    <a:gd name="connsiteY408" fmla="*/ 414669 h 532103"/>
                    <a:gd name="connsiteX409" fmla="*/ 528424 w 664607"/>
                    <a:gd name="connsiteY409" fmla="*/ 420316 h 532103"/>
                    <a:gd name="connsiteX410" fmla="*/ 523640 w 664607"/>
                    <a:gd name="connsiteY410" fmla="*/ 436842 h 532103"/>
                    <a:gd name="connsiteX411" fmla="*/ 518431 w 664607"/>
                    <a:gd name="connsiteY411" fmla="*/ 435664 h 532103"/>
                    <a:gd name="connsiteX412" fmla="*/ 516536 w 664607"/>
                    <a:gd name="connsiteY412" fmla="*/ 434219 h 532103"/>
                    <a:gd name="connsiteX413" fmla="*/ 516451 w 664607"/>
                    <a:gd name="connsiteY413" fmla="*/ 434231 h 532103"/>
                    <a:gd name="connsiteX414" fmla="*/ 516403 w 664607"/>
                    <a:gd name="connsiteY414" fmla="*/ 434389 h 532103"/>
                    <a:gd name="connsiteX415" fmla="*/ 519196 w 664607"/>
                    <a:gd name="connsiteY415" fmla="*/ 441918 h 532103"/>
                    <a:gd name="connsiteX416" fmla="*/ 520009 w 664607"/>
                    <a:gd name="connsiteY416" fmla="*/ 447042 h 532103"/>
                    <a:gd name="connsiteX417" fmla="*/ 516245 w 664607"/>
                    <a:gd name="connsiteY417" fmla="*/ 451499 h 532103"/>
                    <a:gd name="connsiteX418" fmla="*/ 511728 w 664607"/>
                    <a:gd name="connsiteY418" fmla="*/ 452749 h 532103"/>
                    <a:gd name="connsiteX419" fmla="*/ 506980 w 664607"/>
                    <a:gd name="connsiteY419" fmla="*/ 452847 h 532103"/>
                    <a:gd name="connsiteX420" fmla="*/ 504260 w 664607"/>
                    <a:gd name="connsiteY420" fmla="*/ 452494 h 532103"/>
                    <a:gd name="connsiteX421" fmla="*/ 500265 w 664607"/>
                    <a:gd name="connsiteY421" fmla="*/ 454364 h 532103"/>
                    <a:gd name="connsiteX422" fmla="*/ 497120 w 664607"/>
                    <a:gd name="connsiteY422" fmla="*/ 461116 h 532103"/>
                    <a:gd name="connsiteX423" fmla="*/ 495748 w 664607"/>
                    <a:gd name="connsiteY423" fmla="*/ 469458 h 532103"/>
                    <a:gd name="connsiteX424" fmla="*/ 496476 w 664607"/>
                    <a:gd name="connsiteY424" fmla="*/ 476161 h 532103"/>
                    <a:gd name="connsiteX425" fmla="*/ 494230 w 664607"/>
                    <a:gd name="connsiteY425" fmla="*/ 481164 h 532103"/>
                    <a:gd name="connsiteX426" fmla="*/ 490891 w 664607"/>
                    <a:gd name="connsiteY426" fmla="*/ 483653 h 532103"/>
                    <a:gd name="connsiteX427" fmla="*/ 487308 w 664607"/>
                    <a:gd name="connsiteY427" fmla="*/ 485463 h 532103"/>
                    <a:gd name="connsiteX428" fmla="*/ 484880 w 664607"/>
                    <a:gd name="connsiteY428" fmla="*/ 487369 h 532103"/>
                    <a:gd name="connsiteX429" fmla="*/ 483180 w 664607"/>
                    <a:gd name="connsiteY429" fmla="*/ 490028 h 532103"/>
                    <a:gd name="connsiteX430" fmla="*/ 482354 w 664607"/>
                    <a:gd name="connsiteY430" fmla="*/ 492724 h 532103"/>
                    <a:gd name="connsiteX431" fmla="*/ 481978 w 664607"/>
                    <a:gd name="connsiteY431" fmla="*/ 495857 h 532103"/>
                    <a:gd name="connsiteX432" fmla="*/ 481844 w 664607"/>
                    <a:gd name="connsiteY432" fmla="*/ 499658 h 532103"/>
                    <a:gd name="connsiteX433" fmla="*/ 482779 w 664607"/>
                    <a:gd name="connsiteY433" fmla="*/ 506130 h 532103"/>
                    <a:gd name="connsiteX434" fmla="*/ 484673 w 664607"/>
                    <a:gd name="connsiteY434" fmla="*/ 507575 h 532103"/>
                    <a:gd name="connsiteX435" fmla="*/ 487442 w 664607"/>
                    <a:gd name="connsiteY435" fmla="*/ 508121 h 532103"/>
                    <a:gd name="connsiteX436" fmla="*/ 486993 w 664607"/>
                    <a:gd name="connsiteY436" fmla="*/ 511133 h 532103"/>
                    <a:gd name="connsiteX437" fmla="*/ 489822 w 664607"/>
                    <a:gd name="connsiteY437" fmla="*/ 511691 h 532103"/>
                    <a:gd name="connsiteX438" fmla="*/ 489178 w 664607"/>
                    <a:gd name="connsiteY438" fmla="*/ 514909 h 532103"/>
                    <a:gd name="connsiteX439" fmla="*/ 488110 w 664607"/>
                    <a:gd name="connsiteY439" fmla="*/ 517738 h 532103"/>
                    <a:gd name="connsiteX440" fmla="*/ 486131 w 664607"/>
                    <a:gd name="connsiteY440" fmla="*/ 521175 h 532103"/>
                    <a:gd name="connsiteX441" fmla="*/ 480630 w 664607"/>
                    <a:gd name="connsiteY441" fmla="*/ 527161 h 532103"/>
                    <a:gd name="connsiteX442" fmla="*/ 477545 w 664607"/>
                    <a:gd name="connsiteY442" fmla="*/ 529359 h 532103"/>
                    <a:gd name="connsiteX443" fmla="*/ 474570 w 664607"/>
                    <a:gd name="connsiteY443" fmla="*/ 530853 h 532103"/>
                    <a:gd name="connsiteX444" fmla="*/ 471607 w 664607"/>
                    <a:gd name="connsiteY444" fmla="*/ 531800 h 532103"/>
                    <a:gd name="connsiteX445" fmla="*/ 467637 w 664607"/>
                    <a:gd name="connsiteY445" fmla="*/ 532103 h 532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Lst>
                  <a:rect l="l" t="t" r="r" b="b"/>
                  <a:pathLst>
                    <a:path w="664607" h="532103">
                      <a:moveTo>
                        <a:pt x="463824" y="531302"/>
                      </a:moveTo>
                      <a:lnTo>
                        <a:pt x="458578" y="528145"/>
                      </a:lnTo>
                      <a:lnTo>
                        <a:pt x="456684" y="524611"/>
                      </a:lnTo>
                      <a:lnTo>
                        <a:pt x="456830" y="523008"/>
                      </a:lnTo>
                      <a:lnTo>
                        <a:pt x="456635" y="523094"/>
                      </a:lnTo>
                      <a:lnTo>
                        <a:pt x="452155" y="523579"/>
                      </a:lnTo>
                      <a:lnTo>
                        <a:pt x="449374" y="519766"/>
                      </a:lnTo>
                      <a:lnTo>
                        <a:pt x="449702" y="516427"/>
                      </a:lnTo>
                      <a:lnTo>
                        <a:pt x="450102" y="515091"/>
                      </a:lnTo>
                      <a:lnTo>
                        <a:pt x="449884" y="515116"/>
                      </a:lnTo>
                      <a:lnTo>
                        <a:pt x="444395" y="517483"/>
                      </a:lnTo>
                      <a:lnTo>
                        <a:pt x="440242" y="517034"/>
                      </a:lnTo>
                      <a:lnTo>
                        <a:pt x="437765" y="513209"/>
                      </a:lnTo>
                      <a:lnTo>
                        <a:pt x="437935" y="510186"/>
                      </a:lnTo>
                      <a:lnTo>
                        <a:pt x="440012" y="504782"/>
                      </a:lnTo>
                      <a:lnTo>
                        <a:pt x="439235" y="503774"/>
                      </a:lnTo>
                      <a:lnTo>
                        <a:pt x="436393" y="502256"/>
                      </a:lnTo>
                      <a:lnTo>
                        <a:pt x="428306" y="501151"/>
                      </a:lnTo>
                      <a:lnTo>
                        <a:pt x="425586" y="501042"/>
                      </a:lnTo>
                      <a:lnTo>
                        <a:pt x="425476" y="501103"/>
                      </a:lnTo>
                      <a:lnTo>
                        <a:pt x="425367" y="502183"/>
                      </a:lnTo>
                      <a:lnTo>
                        <a:pt x="424456" y="504575"/>
                      </a:lnTo>
                      <a:lnTo>
                        <a:pt x="423922" y="505778"/>
                      </a:lnTo>
                      <a:lnTo>
                        <a:pt x="416940" y="508218"/>
                      </a:lnTo>
                      <a:lnTo>
                        <a:pt x="404724" y="505668"/>
                      </a:lnTo>
                      <a:lnTo>
                        <a:pt x="401846" y="507186"/>
                      </a:lnTo>
                      <a:lnTo>
                        <a:pt x="399175" y="508206"/>
                      </a:lnTo>
                      <a:lnTo>
                        <a:pt x="395884" y="508388"/>
                      </a:lnTo>
                      <a:lnTo>
                        <a:pt x="394269" y="508388"/>
                      </a:lnTo>
                      <a:lnTo>
                        <a:pt x="391938" y="504940"/>
                      </a:lnTo>
                      <a:lnTo>
                        <a:pt x="390651" y="502244"/>
                      </a:lnTo>
                      <a:lnTo>
                        <a:pt x="384348" y="502390"/>
                      </a:lnTo>
                      <a:lnTo>
                        <a:pt x="367190" y="509105"/>
                      </a:lnTo>
                      <a:lnTo>
                        <a:pt x="363548" y="501030"/>
                      </a:lnTo>
                      <a:lnTo>
                        <a:pt x="360803" y="491364"/>
                      </a:lnTo>
                      <a:lnTo>
                        <a:pt x="359917" y="490223"/>
                      </a:lnTo>
                      <a:lnTo>
                        <a:pt x="358520" y="488583"/>
                      </a:lnTo>
                      <a:lnTo>
                        <a:pt x="355825" y="486009"/>
                      </a:lnTo>
                      <a:lnTo>
                        <a:pt x="354222" y="483908"/>
                      </a:lnTo>
                      <a:lnTo>
                        <a:pt x="353991" y="483714"/>
                      </a:lnTo>
                      <a:lnTo>
                        <a:pt x="353080" y="484224"/>
                      </a:lnTo>
                      <a:lnTo>
                        <a:pt x="350202" y="485062"/>
                      </a:lnTo>
                      <a:lnTo>
                        <a:pt x="345357" y="484843"/>
                      </a:lnTo>
                      <a:lnTo>
                        <a:pt x="340233" y="483277"/>
                      </a:lnTo>
                      <a:lnTo>
                        <a:pt x="315838" y="466629"/>
                      </a:lnTo>
                      <a:lnTo>
                        <a:pt x="312523" y="463472"/>
                      </a:lnTo>
                      <a:lnTo>
                        <a:pt x="309912" y="459877"/>
                      </a:lnTo>
                      <a:lnTo>
                        <a:pt x="309463" y="457254"/>
                      </a:lnTo>
                      <a:lnTo>
                        <a:pt x="309317" y="454814"/>
                      </a:lnTo>
                      <a:lnTo>
                        <a:pt x="308807" y="453818"/>
                      </a:lnTo>
                      <a:lnTo>
                        <a:pt x="307824" y="453126"/>
                      </a:lnTo>
                      <a:lnTo>
                        <a:pt x="294600" y="446253"/>
                      </a:lnTo>
                      <a:lnTo>
                        <a:pt x="292924" y="445913"/>
                      </a:lnTo>
                      <a:lnTo>
                        <a:pt x="292900" y="446156"/>
                      </a:lnTo>
                      <a:lnTo>
                        <a:pt x="289585" y="448244"/>
                      </a:lnTo>
                      <a:lnTo>
                        <a:pt x="277041" y="451596"/>
                      </a:lnTo>
                      <a:lnTo>
                        <a:pt x="271018" y="455579"/>
                      </a:lnTo>
                      <a:lnTo>
                        <a:pt x="267072" y="458080"/>
                      </a:lnTo>
                      <a:lnTo>
                        <a:pt x="264777" y="442586"/>
                      </a:lnTo>
                      <a:lnTo>
                        <a:pt x="263635" y="439307"/>
                      </a:lnTo>
                      <a:lnTo>
                        <a:pt x="261486" y="435822"/>
                      </a:lnTo>
                      <a:lnTo>
                        <a:pt x="258535" y="432677"/>
                      </a:lnTo>
                      <a:lnTo>
                        <a:pt x="231942" y="419259"/>
                      </a:lnTo>
                      <a:lnTo>
                        <a:pt x="229829" y="417389"/>
                      </a:lnTo>
                      <a:lnTo>
                        <a:pt x="227911" y="415507"/>
                      </a:lnTo>
                      <a:lnTo>
                        <a:pt x="229939" y="412823"/>
                      </a:lnTo>
                      <a:lnTo>
                        <a:pt x="231032" y="411986"/>
                      </a:lnTo>
                      <a:lnTo>
                        <a:pt x="230849" y="411330"/>
                      </a:lnTo>
                      <a:lnTo>
                        <a:pt x="231384" y="408391"/>
                      </a:lnTo>
                      <a:lnTo>
                        <a:pt x="233703" y="406363"/>
                      </a:lnTo>
                      <a:lnTo>
                        <a:pt x="237212" y="405611"/>
                      </a:lnTo>
                      <a:lnTo>
                        <a:pt x="238366" y="404700"/>
                      </a:lnTo>
                      <a:lnTo>
                        <a:pt x="241001" y="403874"/>
                      </a:lnTo>
                      <a:lnTo>
                        <a:pt x="243211" y="404906"/>
                      </a:lnTo>
                      <a:lnTo>
                        <a:pt x="245360" y="406291"/>
                      </a:lnTo>
                      <a:lnTo>
                        <a:pt x="245494" y="406315"/>
                      </a:lnTo>
                      <a:lnTo>
                        <a:pt x="247194" y="403206"/>
                      </a:lnTo>
                      <a:lnTo>
                        <a:pt x="249331" y="400486"/>
                      </a:lnTo>
                      <a:lnTo>
                        <a:pt x="252804" y="399333"/>
                      </a:lnTo>
                      <a:lnTo>
                        <a:pt x="255014" y="400171"/>
                      </a:lnTo>
                      <a:lnTo>
                        <a:pt x="256204" y="400936"/>
                      </a:lnTo>
                      <a:lnTo>
                        <a:pt x="256483" y="400960"/>
                      </a:lnTo>
                      <a:lnTo>
                        <a:pt x="258171" y="400243"/>
                      </a:lnTo>
                      <a:lnTo>
                        <a:pt x="266100" y="392970"/>
                      </a:lnTo>
                      <a:lnTo>
                        <a:pt x="267120" y="391185"/>
                      </a:lnTo>
                      <a:lnTo>
                        <a:pt x="267376" y="389849"/>
                      </a:lnTo>
                      <a:lnTo>
                        <a:pt x="266319" y="389133"/>
                      </a:lnTo>
                      <a:lnTo>
                        <a:pt x="253630" y="386850"/>
                      </a:lnTo>
                      <a:lnTo>
                        <a:pt x="248153" y="384822"/>
                      </a:lnTo>
                      <a:lnTo>
                        <a:pt x="217128" y="367348"/>
                      </a:lnTo>
                      <a:lnTo>
                        <a:pt x="206527" y="358265"/>
                      </a:lnTo>
                      <a:lnTo>
                        <a:pt x="199581" y="349498"/>
                      </a:lnTo>
                      <a:lnTo>
                        <a:pt x="195999" y="343694"/>
                      </a:lnTo>
                      <a:lnTo>
                        <a:pt x="191822" y="334951"/>
                      </a:lnTo>
                      <a:lnTo>
                        <a:pt x="185653" y="329086"/>
                      </a:lnTo>
                      <a:lnTo>
                        <a:pt x="168192" y="321581"/>
                      </a:lnTo>
                      <a:lnTo>
                        <a:pt x="163966" y="318339"/>
                      </a:lnTo>
                      <a:lnTo>
                        <a:pt x="161622" y="315121"/>
                      </a:lnTo>
                      <a:lnTo>
                        <a:pt x="156255" y="303331"/>
                      </a:lnTo>
                      <a:lnTo>
                        <a:pt x="149273" y="293762"/>
                      </a:lnTo>
                      <a:lnTo>
                        <a:pt x="138636" y="282773"/>
                      </a:lnTo>
                      <a:lnTo>
                        <a:pt x="137203" y="281971"/>
                      </a:lnTo>
                      <a:lnTo>
                        <a:pt x="134228" y="281923"/>
                      </a:lnTo>
                      <a:lnTo>
                        <a:pt x="132006" y="282578"/>
                      </a:lnTo>
                      <a:lnTo>
                        <a:pt x="131059" y="283355"/>
                      </a:lnTo>
                      <a:lnTo>
                        <a:pt x="130342" y="284448"/>
                      </a:lnTo>
                      <a:lnTo>
                        <a:pt x="129978" y="286173"/>
                      </a:lnTo>
                      <a:lnTo>
                        <a:pt x="130367" y="290301"/>
                      </a:lnTo>
                      <a:lnTo>
                        <a:pt x="131120" y="294600"/>
                      </a:lnTo>
                      <a:lnTo>
                        <a:pt x="136645" y="311515"/>
                      </a:lnTo>
                      <a:lnTo>
                        <a:pt x="138138" y="321108"/>
                      </a:lnTo>
                      <a:lnTo>
                        <a:pt x="136268" y="331526"/>
                      </a:lnTo>
                      <a:lnTo>
                        <a:pt x="129274" y="338667"/>
                      </a:lnTo>
                      <a:lnTo>
                        <a:pt x="118394" y="343973"/>
                      </a:lnTo>
                      <a:lnTo>
                        <a:pt x="112978" y="342382"/>
                      </a:lnTo>
                      <a:lnTo>
                        <a:pt x="111047" y="341556"/>
                      </a:lnTo>
                      <a:lnTo>
                        <a:pt x="103725" y="336287"/>
                      </a:lnTo>
                      <a:lnTo>
                        <a:pt x="93246" y="330215"/>
                      </a:lnTo>
                      <a:lnTo>
                        <a:pt x="91351" y="329523"/>
                      </a:lnTo>
                      <a:lnTo>
                        <a:pt x="90514" y="329608"/>
                      </a:lnTo>
                      <a:lnTo>
                        <a:pt x="85450" y="333615"/>
                      </a:lnTo>
                      <a:lnTo>
                        <a:pt x="65098" y="343657"/>
                      </a:lnTo>
                      <a:lnTo>
                        <a:pt x="54765" y="324301"/>
                      </a:lnTo>
                      <a:lnTo>
                        <a:pt x="53138" y="318363"/>
                      </a:lnTo>
                      <a:lnTo>
                        <a:pt x="51462" y="307423"/>
                      </a:lnTo>
                      <a:lnTo>
                        <a:pt x="48462" y="299651"/>
                      </a:lnTo>
                      <a:lnTo>
                        <a:pt x="47576" y="295535"/>
                      </a:lnTo>
                      <a:lnTo>
                        <a:pt x="47746" y="286258"/>
                      </a:lnTo>
                      <a:lnTo>
                        <a:pt x="46799" y="278474"/>
                      </a:lnTo>
                      <a:lnTo>
                        <a:pt x="47455" y="274030"/>
                      </a:lnTo>
                      <a:lnTo>
                        <a:pt x="56222" y="260126"/>
                      </a:lnTo>
                      <a:lnTo>
                        <a:pt x="64248" y="241705"/>
                      </a:lnTo>
                      <a:lnTo>
                        <a:pt x="71218" y="233812"/>
                      </a:lnTo>
                      <a:lnTo>
                        <a:pt x="81382" y="226587"/>
                      </a:lnTo>
                      <a:lnTo>
                        <a:pt x="84175" y="223940"/>
                      </a:lnTo>
                      <a:lnTo>
                        <a:pt x="84296" y="223673"/>
                      </a:lnTo>
                      <a:lnTo>
                        <a:pt x="82499" y="221815"/>
                      </a:lnTo>
                      <a:lnTo>
                        <a:pt x="61419" y="212599"/>
                      </a:lnTo>
                      <a:lnTo>
                        <a:pt x="49677" y="205580"/>
                      </a:lnTo>
                      <a:lnTo>
                        <a:pt x="33065" y="191446"/>
                      </a:lnTo>
                      <a:lnTo>
                        <a:pt x="28985" y="190280"/>
                      </a:lnTo>
                      <a:lnTo>
                        <a:pt x="27419" y="190280"/>
                      </a:lnTo>
                      <a:lnTo>
                        <a:pt x="20303" y="194676"/>
                      </a:lnTo>
                      <a:lnTo>
                        <a:pt x="18542" y="194020"/>
                      </a:lnTo>
                      <a:lnTo>
                        <a:pt x="10042" y="189576"/>
                      </a:lnTo>
                      <a:lnTo>
                        <a:pt x="5610" y="185593"/>
                      </a:lnTo>
                      <a:lnTo>
                        <a:pt x="3764" y="185629"/>
                      </a:lnTo>
                      <a:lnTo>
                        <a:pt x="3218" y="186139"/>
                      </a:lnTo>
                      <a:lnTo>
                        <a:pt x="1239" y="186625"/>
                      </a:lnTo>
                      <a:lnTo>
                        <a:pt x="0" y="180675"/>
                      </a:lnTo>
                      <a:lnTo>
                        <a:pt x="1336" y="180395"/>
                      </a:lnTo>
                      <a:lnTo>
                        <a:pt x="2465" y="179825"/>
                      </a:lnTo>
                      <a:lnTo>
                        <a:pt x="6679" y="179497"/>
                      </a:lnTo>
                      <a:lnTo>
                        <a:pt x="7905" y="179473"/>
                      </a:lnTo>
                      <a:lnTo>
                        <a:pt x="13357" y="184512"/>
                      </a:lnTo>
                      <a:lnTo>
                        <a:pt x="13236" y="183990"/>
                      </a:lnTo>
                      <a:lnTo>
                        <a:pt x="16454" y="179315"/>
                      </a:lnTo>
                      <a:lnTo>
                        <a:pt x="21420" y="177226"/>
                      </a:lnTo>
                      <a:lnTo>
                        <a:pt x="26848" y="176218"/>
                      </a:lnTo>
                      <a:lnTo>
                        <a:pt x="31147" y="175951"/>
                      </a:lnTo>
                      <a:lnTo>
                        <a:pt x="34547" y="175235"/>
                      </a:lnTo>
                      <a:lnTo>
                        <a:pt x="38396" y="173523"/>
                      </a:lnTo>
                      <a:lnTo>
                        <a:pt x="53028" y="164816"/>
                      </a:lnTo>
                      <a:lnTo>
                        <a:pt x="57740" y="162776"/>
                      </a:lnTo>
                      <a:lnTo>
                        <a:pt x="59209" y="162545"/>
                      </a:lnTo>
                      <a:lnTo>
                        <a:pt x="60120" y="161416"/>
                      </a:lnTo>
                      <a:lnTo>
                        <a:pt x="60387" y="160032"/>
                      </a:lnTo>
                      <a:lnTo>
                        <a:pt x="60290" y="159121"/>
                      </a:lnTo>
                      <a:lnTo>
                        <a:pt x="59598" y="158975"/>
                      </a:lnTo>
                      <a:lnTo>
                        <a:pt x="57375" y="158830"/>
                      </a:lnTo>
                      <a:lnTo>
                        <a:pt x="53793" y="157870"/>
                      </a:lnTo>
                      <a:lnTo>
                        <a:pt x="51753" y="155369"/>
                      </a:lnTo>
                      <a:lnTo>
                        <a:pt x="46556" y="146735"/>
                      </a:lnTo>
                      <a:lnTo>
                        <a:pt x="47309" y="144392"/>
                      </a:lnTo>
                      <a:lnTo>
                        <a:pt x="48560" y="142728"/>
                      </a:lnTo>
                      <a:lnTo>
                        <a:pt x="51340" y="140931"/>
                      </a:lnTo>
                      <a:lnTo>
                        <a:pt x="52081" y="139668"/>
                      </a:lnTo>
                      <a:lnTo>
                        <a:pt x="52033" y="138745"/>
                      </a:lnTo>
                      <a:lnTo>
                        <a:pt x="50915" y="134580"/>
                      </a:lnTo>
                      <a:lnTo>
                        <a:pt x="50369" y="133730"/>
                      </a:lnTo>
                      <a:lnTo>
                        <a:pt x="47309" y="130379"/>
                      </a:lnTo>
                      <a:lnTo>
                        <a:pt x="46374" y="127209"/>
                      </a:lnTo>
                      <a:lnTo>
                        <a:pt x="46095" y="121952"/>
                      </a:lnTo>
                      <a:lnTo>
                        <a:pt x="45597" y="120094"/>
                      </a:lnTo>
                      <a:lnTo>
                        <a:pt x="40266" y="115188"/>
                      </a:lnTo>
                      <a:lnTo>
                        <a:pt x="39428" y="111326"/>
                      </a:lnTo>
                      <a:lnTo>
                        <a:pt x="39780" y="106676"/>
                      </a:lnTo>
                      <a:lnTo>
                        <a:pt x="44492" y="96415"/>
                      </a:lnTo>
                      <a:lnTo>
                        <a:pt x="46714" y="89858"/>
                      </a:lnTo>
                      <a:lnTo>
                        <a:pt x="49750" y="85219"/>
                      </a:lnTo>
                      <a:lnTo>
                        <a:pt x="54085" y="84758"/>
                      </a:lnTo>
                      <a:lnTo>
                        <a:pt x="55906" y="86348"/>
                      </a:lnTo>
                      <a:lnTo>
                        <a:pt x="56355" y="84673"/>
                      </a:lnTo>
                      <a:lnTo>
                        <a:pt x="56125" y="80581"/>
                      </a:lnTo>
                      <a:lnTo>
                        <a:pt x="55918" y="80022"/>
                      </a:lnTo>
                      <a:lnTo>
                        <a:pt x="54983" y="79172"/>
                      </a:lnTo>
                      <a:lnTo>
                        <a:pt x="53781" y="78710"/>
                      </a:lnTo>
                      <a:lnTo>
                        <a:pt x="51280" y="76416"/>
                      </a:lnTo>
                      <a:lnTo>
                        <a:pt x="48110" y="71182"/>
                      </a:lnTo>
                      <a:lnTo>
                        <a:pt x="48013" y="66798"/>
                      </a:lnTo>
                      <a:lnTo>
                        <a:pt x="51425" y="63665"/>
                      </a:lnTo>
                      <a:lnTo>
                        <a:pt x="54595" y="64297"/>
                      </a:lnTo>
                      <a:lnTo>
                        <a:pt x="56659" y="65086"/>
                      </a:lnTo>
                      <a:lnTo>
                        <a:pt x="57934" y="64491"/>
                      </a:lnTo>
                      <a:lnTo>
                        <a:pt x="58760" y="63423"/>
                      </a:lnTo>
                      <a:lnTo>
                        <a:pt x="58942" y="62852"/>
                      </a:lnTo>
                      <a:lnTo>
                        <a:pt x="58796" y="61589"/>
                      </a:lnTo>
                      <a:lnTo>
                        <a:pt x="57084" y="58942"/>
                      </a:lnTo>
                      <a:lnTo>
                        <a:pt x="56525" y="57934"/>
                      </a:lnTo>
                      <a:lnTo>
                        <a:pt x="57375" y="54097"/>
                      </a:lnTo>
                      <a:lnTo>
                        <a:pt x="59233" y="51668"/>
                      </a:lnTo>
                      <a:lnTo>
                        <a:pt x="70721" y="40497"/>
                      </a:lnTo>
                      <a:lnTo>
                        <a:pt x="76525" y="33478"/>
                      </a:lnTo>
                      <a:lnTo>
                        <a:pt x="82548" y="27601"/>
                      </a:lnTo>
                      <a:lnTo>
                        <a:pt x="85243" y="25694"/>
                      </a:lnTo>
                      <a:lnTo>
                        <a:pt x="88231" y="24602"/>
                      </a:lnTo>
                      <a:lnTo>
                        <a:pt x="91242" y="24492"/>
                      </a:lnTo>
                      <a:lnTo>
                        <a:pt x="100228" y="26010"/>
                      </a:lnTo>
                      <a:lnTo>
                        <a:pt x="103069" y="25804"/>
                      </a:lnTo>
                      <a:lnTo>
                        <a:pt x="104806" y="25379"/>
                      </a:lnTo>
                      <a:lnTo>
                        <a:pt x="110051" y="22902"/>
                      </a:lnTo>
                      <a:lnTo>
                        <a:pt x="118248" y="17158"/>
                      </a:lnTo>
                      <a:lnTo>
                        <a:pt x="131496" y="9957"/>
                      </a:lnTo>
                      <a:lnTo>
                        <a:pt x="141150" y="7019"/>
                      </a:lnTo>
                      <a:lnTo>
                        <a:pt x="149686" y="1348"/>
                      </a:lnTo>
                      <a:lnTo>
                        <a:pt x="152855" y="206"/>
                      </a:lnTo>
                      <a:lnTo>
                        <a:pt x="156656" y="0"/>
                      </a:lnTo>
                      <a:lnTo>
                        <a:pt x="163808" y="971"/>
                      </a:lnTo>
                      <a:lnTo>
                        <a:pt x="167172" y="923"/>
                      </a:lnTo>
                      <a:lnTo>
                        <a:pt x="169795" y="1506"/>
                      </a:lnTo>
                      <a:lnTo>
                        <a:pt x="172248" y="3109"/>
                      </a:lnTo>
                      <a:lnTo>
                        <a:pt x="173523" y="4991"/>
                      </a:lnTo>
                      <a:lnTo>
                        <a:pt x="174300" y="5501"/>
                      </a:lnTo>
                      <a:lnTo>
                        <a:pt x="175223" y="5537"/>
                      </a:lnTo>
                      <a:lnTo>
                        <a:pt x="177882" y="4942"/>
                      </a:lnTo>
                      <a:lnTo>
                        <a:pt x="180153" y="5574"/>
                      </a:lnTo>
                      <a:lnTo>
                        <a:pt x="182824" y="7322"/>
                      </a:lnTo>
                      <a:lnTo>
                        <a:pt x="189078" y="13916"/>
                      </a:lnTo>
                      <a:lnTo>
                        <a:pt x="191689" y="15421"/>
                      </a:lnTo>
                      <a:lnTo>
                        <a:pt x="192818" y="15628"/>
                      </a:lnTo>
                      <a:lnTo>
                        <a:pt x="194943" y="15130"/>
                      </a:lnTo>
                      <a:lnTo>
                        <a:pt x="198501" y="14171"/>
                      </a:lnTo>
                      <a:lnTo>
                        <a:pt x="206782" y="13151"/>
                      </a:lnTo>
                      <a:lnTo>
                        <a:pt x="211652" y="13321"/>
                      </a:lnTo>
                      <a:lnTo>
                        <a:pt x="215416" y="14219"/>
                      </a:lnTo>
                      <a:lnTo>
                        <a:pt x="218209" y="15616"/>
                      </a:lnTo>
                      <a:lnTo>
                        <a:pt x="221172" y="16514"/>
                      </a:lnTo>
                      <a:lnTo>
                        <a:pt x="223297" y="16611"/>
                      </a:lnTo>
                      <a:lnTo>
                        <a:pt x="226648" y="16296"/>
                      </a:lnTo>
                      <a:lnTo>
                        <a:pt x="233752" y="16733"/>
                      </a:lnTo>
                      <a:lnTo>
                        <a:pt x="239835" y="17692"/>
                      </a:lnTo>
                      <a:lnTo>
                        <a:pt x="243927" y="17547"/>
                      </a:lnTo>
                      <a:lnTo>
                        <a:pt x="248238" y="18336"/>
                      </a:lnTo>
                      <a:lnTo>
                        <a:pt x="250327" y="20522"/>
                      </a:lnTo>
                      <a:lnTo>
                        <a:pt x="254480" y="28633"/>
                      </a:lnTo>
                      <a:lnTo>
                        <a:pt x="256811" y="31814"/>
                      </a:lnTo>
                      <a:lnTo>
                        <a:pt x="258888" y="33867"/>
                      </a:lnTo>
                      <a:lnTo>
                        <a:pt x="262033" y="35737"/>
                      </a:lnTo>
                      <a:lnTo>
                        <a:pt x="273240" y="36405"/>
                      </a:lnTo>
                      <a:lnTo>
                        <a:pt x="275256" y="36089"/>
                      </a:lnTo>
                      <a:lnTo>
                        <a:pt x="277964" y="35749"/>
                      </a:lnTo>
                      <a:lnTo>
                        <a:pt x="281692" y="34571"/>
                      </a:lnTo>
                      <a:lnTo>
                        <a:pt x="281911" y="33502"/>
                      </a:lnTo>
                      <a:lnTo>
                        <a:pt x="279445" y="21687"/>
                      </a:lnTo>
                      <a:lnTo>
                        <a:pt x="287083" y="29325"/>
                      </a:lnTo>
                      <a:lnTo>
                        <a:pt x="287448" y="30029"/>
                      </a:lnTo>
                      <a:lnTo>
                        <a:pt x="287885" y="31159"/>
                      </a:lnTo>
                      <a:lnTo>
                        <a:pt x="301327" y="34474"/>
                      </a:lnTo>
                      <a:lnTo>
                        <a:pt x="322395" y="31256"/>
                      </a:lnTo>
                      <a:lnTo>
                        <a:pt x="340524" y="37667"/>
                      </a:lnTo>
                      <a:lnTo>
                        <a:pt x="345819" y="37327"/>
                      </a:lnTo>
                      <a:lnTo>
                        <a:pt x="346511" y="37679"/>
                      </a:lnTo>
                      <a:lnTo>
                        <a:pt x="351684" y="39222"/>
                      </a:lnTo>
                      <a:lnTo>
                        <a:pt x="357549" y="42197"/>
                      </a:lnTo>
                      <a:lnTo>
                        <a:pt x="359953" y="46180"/>
                      </a:lnTo>
                      <a:lnTo>
                        <a:pt x="361034" y="48098"/>
                      </a:lnTo>
                      <a:lnTo>
                        <a:pt x="362637" y="55785"/>
                      </a:lnTo>
                      <a:lnTo>
                        <a:pt x="363001" y="56477"/>
                      </a:lnTo>
                      <a:lnTo>
                        <a:pt x="363426" y="56598"/>
                      </a:lnTo>
                      <a:lnTo>
                        <a:pt x="365843" y="56161"/>
                      </a:lnTo>
                      <a:lnTo>
                        <a:pt x="369182" y="55979"/>
                      </a:lnTo>
                      <a:lnTo>
                        <a:pt x="372740" y="56586"/>
                      </a:lnTo>
                      <a:lnTo>
                        <a:pt x="376795" y="58578"/>
                      </a:lnTo>
                      <a:lnTo>
                        <a:pt x="378155" y="60083"/>
                      </a:lnTo>
                      <a:lnTo>
                        <a:pt x="379224" y="61625"/>
                      </a:lnTo>
                      <a:lnTo>
                        <a:pt x="379868" y="63350"/>
                      </a:lnTo>
                      <a:lnTo>
                        <a:pt x="381434" y="66130"/>
                      </a:lnTo>
                      <a:lnTo>
                        <a:pt x="383960" y="68899"/>
                      </a:lnTo>
                      <a:lnTo>
                        <a:pt x="386813" y="71158"/>
                      </a:lnTo>
                      <a:lnTo>
                        <a:pt x="388926" y="72080"/>
                      </a:lnTo>
                      <a:lnTo>
                        <a:pt x="392423" y="72870"/>
                      </a:lnTo>
                      <a:lnTo>
                        <a:pt x="394208" y="73538"/>
                      </a:lnTo>
                      <a:lnTo>
                        <a:pt x="395568" y="73283"/>
                      </a:lnTo>
                      <a:lnTo>
                        <a:pt x="402271" y="69081"/>
                      </a:lnTo>
                      <a:lnTo>
                        <a:pt x="406533" y="68049"/>
                      </a:lnTo>
                      <a:lnTo>
                        <a:pt x="414572" y="67648"/>
                      </a:lnTo>
                      <a:lnTo>
                        <a:pt x="423436" y="65280"/>
                      </a:lnTo>
                      <a:lnTo>
                        <a:pt x="428524" y="65620"/>
                      </a:lnTo>
                      <a:lnTo>
                        <a:pt x="442574" y="68923"/>
                      </a:lnTo>
                      <a:lnTo>
                        <a:pt x="446897" y="70866"/>
                      </a:lnTo>
                      <a:lnTo>
                        <a:pt x="449677" y="74023"/>
                      </a:lnTo>
                      <a:lnTo>
                        <a:pt x="453381" y="80447"/>
                      </a:lnTo>
                      <a:lnTo>
                        <a:pt x="457218" y="84563"/>
                      </a:lnTo>
                      <a:lnTo>
                        <a:pt x="458712" y="85365"/>
                      </a:lnTo>
                      <a:lnTo>
                        <a:pt x="462525" y="87672"/>
                      </a:lnTo>
                      <a:lnTo>
                        <a:pt x="475263" y="92663"/>
                      </a:lnTo>
                      <a:lnTo>
                        <a:pt x="480375" y="96476"/>
                      </a:lnTo>
                      <a:lnTo>
                        <a:pt x="484054" y="102304"/>
                      </a:lnTo>
                      <a:lnTo>
                        <a:pt x="486738" y="105850"/>
                      </a:lnTo>
                      <a:lnTo>
                        <a:pt x="490623" y="107344"/>
                      </a:lnTo>
                      <a:lnTo>
                        <a:pt x="492918" y="106809"/>
                      </a:lnTo>
                      <a:lnTo>
                        <a:pt x="498796" y="103567"/>
                      </a:lnTo>
                      <a:lnTo>
                        <a:pt x="503543" y="103640"/>
                      </a:lnTo>
                      <a:lnTo>
                        <a:pt x="506616" y="105801"/>
                      </a:lnTo>
                      <a:lnTo>
                        <a:pt x="512019" y="113597"/>
                      </a:lnTo>
                      <a:lnTo>
                        <a:pt x="517386" y="116524"/>
                      </a:lnTo>
                      <a:lnTo>
                        <a:pt x="520106" y="120592"/>
                      </a:lnTo>
                      <a:lnTo>
                        <a:pt x="514581" y="130245"/>
                      </a:lnTo>
                      <a:lnTo>
                        <a:pt x="512529" y="132164"/>
                      </a:lnTo>
                      <a:lnTo>
                        <a:pt x="511886" y="132698"/>
                      </a:lnTo>
                      <a:lnTo>
                        <a:pt x="509506" y="133050"/>
                      </a:lnTo>
                      <a:lnTo>
                        <a:pt x="507733" y="133014"/>
                      </a:lnTo>
                      <a:lnTo>
                        <a:pt x="508753" y="134301"/>
                      </a:lnTo>
                      <a:lnTo>
                        <a:pt x="511011" y="136462"/>
                      </a:lnTo>
                      <a:lnTo>
                        <a:pt x="513513" y="139984"/>
                      </a:lnTo>
                      <a:lnTo>
                        <a:pt x="514351" y="145424"/>
                      </a:lnTo>
                      <a:lnTo>
                        <a:pt x="513100" y="149200"/>
                      </a:lnTo>
                      <a:lnTo>
                        <a:pt x="512371" y="150487"/>
                      </a:lnTo>
                      <a:lnTo>
                        <a:pt x="513003" y="150342"/>
                      </a:lnTo>
                      <a:lnTo>
                        <a:pt x="520714" y="150657"/>
                      </a:lnTo>
                      <a:lnTo>
                        <a:pt x="535091" y="154580"/>
                      </a:lnTo>
                      <a:lnTo>
                        <a:pt x="554252" y="164852"/>
                      </a:lnTo>
                      <a:lnTo>
                        <a:pt x="563372" y="168277"/>
                      </a:lnTo>
                      <a:lnTo>
                        <a:pt x="570014" y="172248"/>
                      </a:lnTo>
                      <a:lnTo>
                        <a:pt x="572297" y="172636"/>
                      </a:lnTo>
                      <a:lnTo>
                        <a:pt x="575017" y="172090"/>
                      </a:lnTo>
                      <a:lnTo>
                        <a:pt x="577263" y="171361"/>
                      </a:lnTo>
                      <a:lnTo>
                        <a:pt x="580773" y="171021"/>
                      </a:lnTo>
                      <a:lnTo>
                        <a:pt x="585945" y="172478"/>
                      </a:lnTo>
                      <a:lnTo>
                        <a:pt x="604840" y="182557"/>
                      </a:lnTo>
                      <a:lnTo>
                        <a:pt x="610583" y="186904"/>
                      </a:lnTo>
                      <a:lnTo>
                        <a:pt x="613401" y="190256"/>
                      </a:lnTo>
                      <a:lnTo>
                        <a:pt x="617371" y="197359"/>
                      </a:lnTo>
                      <a:lnTo>
                        <a:pt x="619411" y="199909"/>
                      </a:lnTo>
                      <a:lnTo>
                        <a:pt x="621609" y="201548"/>
                      </a:lnTo>
                      <a:lnTo>
                        <a:pt x="636909" y="207814"/>
                      </a:lnTo>
                      <a:lnTo>
                        <a:pt x="650922" y="211445"/>
                      </a:lnTo>
                      <a:lnTo>
                        <a:pt x="658293" y="215112"/>
                      </a:lnTo>
                      <a:lnTo>
                        <a:pt x="662519" y="221633"/>
                      </a:lnTo>
                      <a:lnTo>
                        <a:pt x="664607" y="226101"/>
                      </a:lnTo>
                      <a:lnTo>
                        <a:pt x="662045" y="232343"/>
                      </a:lnTo>
                      <a:lnTo>
                        <a:pt x="658633" y="232537"/>
                      </a:lnTo>
                      <a:lnTo>
                        <a:pt x="645968" y="236763"/>
                      </a:lnTo>
                      <a:lnTo>
                        <a:pt x="640504" y="235464"/>
                      </a:lnTo>
                      <a:lnTo>
                        <a:pt x="638184" y="230874"/>
                      </a:lnTo>
                      <a:lnTo>
                        <a:pt x="637662" y="231250"/>
                      </a:lnTo>
                      <a:lnTo>
                        <a:pt x="634918" y="234517"/>
                      </a:lnTo>
                      <a:lnTo>
                        <a:pt x="633667" y="235694"/>
                      </a:lnTo>
                      <a:lnTo>
                        <a:pt x="635938" y="240758"/>
                      </a:lnTo>
                      <a:lnTo>
                        <a:pt x="631299" y="247558"/>
                      </a:lnTo>
                      <a:lnTo>
                        <a:pt x="619254" y="256483"/>
                      </a:lnTo>
                      <a:lnTo>
                        <a:pt x="617043" y="258778"/>
                      </a:lnTo>
                      <a:lnTo>
                        <a:pt x="611798" y="266877"/>
                      </a:lnTo>
                      <a:lnTo>
                        <a:pt x="609539" y="269270"/>
                      </a:lnTo>
                      <a:lnTo>
                        <a:pt x="602363" y="274054"/>
                      </a:lnTo>
                      <a:lnTo>
                        <a:pt x="597858" y="278183"/>
                      </a:lnTo>
                      <a:lnTo>
                        <a:pt x="595004" y="279992"/>
                      </a:lnTo>
                      <a:lnTo>
                        <a:pt x="590742" y="281400"/>
                      </a:lnTo>
                      <a:lnTo>
                        <a:pt x="583432" y="282311"/>
                      </a:lnTo>
                      <a:lnTo>
                        <a:pt x="582703" y="282809"/>
                      </a:lnTo>
                      <a:lnTo>
                        <a:pt x="581489" y="285553"/>
                      </a:lnTo>
                      <a:lnTo>
                        <a:pt x="579073" y="292705"/>
                      </a:lnTo>
                      <a:lnTo>
                        <a:pt x="574592" y="299785"/>
                      </a:lnTo>
                      <a:lnTo>
                        <a:pt x="564732" y="311612"/>
                      </a:lnTo>
                      <a:lnTo>
                        <a:pt x="559838" y="315631"/>
                      </a:lnTo>
                      <a:lnTo>
                        <a:pt x="548594" y="318509"/>
                      </a:lnTo>
                      <a:lnTo>
                        <a:pt x="544732" y="321496"/>
                      </a:lnTo>
                      <a:lnTo>
                        <a:pt x="542595" y="325916"/>
                      </a:lnTo>
                      <a:lnTo>
                        <a:pt x="542656" y="330397"/>
                      </a:lnTo>
                      <a:lnTo>
                        <a:pt x="544271" y="334599"/>
                      </a:lnTo>
                      <a:lnTo>
                        <a:pt x="546687" y="339808"/>
                      </a:lnTo>
                      <a:lnTo>
                        <a:pt x="548533" y="345491"/>
                      </a:lnTo>
                      <a:lnTo>
                        <a:pt x="548351" y="351744"/>
                      </a:lnTo>
                      <a:lnTo>
                        <a:pt x="545874" y="356541"/>
                      </a:lnTo>
                      <a:lnTo>
                        <a:pt x="541138" y="361762"/>
                      </a:lnTo>
                      <a:lnTo>
                        <a:pt x="539584" y="362928"/>
                      </a:lnTo>
                      <a:lnTo>
                        <a:pt x="537022" y="364276"/>
                      </a:lnTo>
                      <a:lnTo>
                        <a:pt x="537616" y="365782"/>
                      </a:lnTo>
                      <a:lnTo>
                        <a:pt x="537531" y="367312"/>
                      </a:lnTo>
                      <a:lnTo>
                        <a:pt x="536961" y="369085"/>
                      </a:lnTo>
                      <a:lnTo>
                        <a:pt x="535649" y="370918"/>
                      </a:lnTo>
                      <a:lnTo>
                        <a:pt x="533682" y="372910"/>
                      </a:lnTo>
                      <a:lnTo>
                        <a:pt x="529566" y="375921"/>
                      </a:lnTo>
                      <a:lnTo>
                        <a:pt x="528339" y="377524"/>
                      </a:lnTo>
                      <a:lnTo>
                        <a:pt x="526093" y="379248"/>
                      </a:lnTo>
                      <a:lnTo>
                        <a:pt x="525899" y="379467"/>
                      </a:lnTo>
                      <a:lnTo>
                        <a:pt x="525534" y="381312"/>
                      </a:lnTo>
                      <a:lnTo>
                        <a:pt x="524004" y="384178"/>
                      </a:lnTo>
                      <a:lnTo>
                        <a:pt x="523409" y="385150"/>
                      </a:lnTo>
                      <a:lnTo>
                        <a:pt x="516864" y="387214"/>
                      </a:lnTo>
                      <a:lnTo>
                        <a:pt x="516719" y="387335"/>
                      </a:lnTo>
                      <a:lnTo>
                        <a:pt x="516354" y="389108"/>
                      </a:lnTo>
                      <a:lnTo>
                        <a:pt x="517399" y="391683"/>
                      </a:lnTo>
                      <a:lnTo>
                        <a:pt x="521163" y="397960"/>
                      </a:lnTo>
                      <a:lnTo>
                        <a:pt x="522887" y="407128"/>
                      </a:lnTo>
                      <a:lnTo>
                        <a:pt x="523057" y="407165"/>
                      </a:lnTo>
                      <a:lnTo>
                        <a:pt x="525316" y="407031"/>
                      </a:lnTo>
                      <a:lnTo>
                        <a:pt x="528522" y="409618"/>
                      </a:lnTo>
                      <a:lnTo>
                        <a:pt x="529189" y="414669"/>
                      </a:lnTo>
                      <a:lnTo>
                        <a:pt x="528424" y="420316"/>
                      </a:lnTo>
                      <a:lnTo>
                        <a:pt x="523640" y="436842"/>
                      </a:lnTo>
                      <a:lnTo>
                        <a:pt x="518431" y="435664"/>
                      </a:lnTo>
                      <a:lnTo>
                        <a:pt x="516536" y="434219"/>
                      </a:lnTo>
                      <a:lnTo>
                        <a:pt x="516451" y="434231"/>
                      </a:lnTo>
                      <a:lnTo>
                        <a:pt x="516403" y="434389"/>
                      </a:lnTo>
                      <a:lnTo>
                        <a:pt x="519196" y="441918"/>
                      </a:lnTo>
                      <a:lnTo>
                        <a:pt x="520009" y="447042"/>
                      </a:lnTo>
                      <a:lnTo>
                        <a:pt x="516245" y="451499"/>
                      </a:lnTo>
                      <a:lnTo>
                        <a:pt x="511728" y="452749"/>
                      </a:lnTo>
                      <a:lnTo>
                        <a:pt x="506980" y="452847"/>
                      </a:lnTo>
                      <a:lnTo>
                        <a:pt x="504260" y="452494"/>
                      </a:lnTo>
                      <a:lnTo>
                        <a:pt x="500265" y="454364"/>
                      </a:lnTo>
                      <a:lnTo>
                        <a:pt x="497120" y="461116"/>
                      </a:lnTo>
                      <a:lnTo>
                        <a:pt x="495748" y="469458"/>
                      </a:lnTo>
                      <a:lnTo>
                        <a:pt x="496476" y="476161"/>
                      </a:lnTo>
                      <a:lnTo>
                        <a:pt x="494230" y="481164"/>
                      </a:lnTo>
                      <a:lnTo>
                        <a:pt x="490891" y="483653"/>
                      </a:lnTo>
                      <a:lnTo>
                        <a:pt x="487308" y="485463"/>
                      </a:lnTo>
                      <a:lnTo>
                        <a:pt x="484880" y="487369"/>
                      </a:lnTo>
                      <a:lnTo>
                        <a:pt x="483180" y="490028"/>
                      </a:lnTo>
                      <a:lnTo>
                        <a:pt x="482354" y="492724"/>
                      </a:lnTo>
                      <a:lnTo>
                        <a:pt x="481978" y="495857"/>
                      </a:lnTo>
                      <a:lnTo>
                        <a:pt x="481844" y="499658"/>
                      </a:lnTo>
                      <a:lnTo>
                        <a:pt x="482779" y="506130"/>
                      </a:lnTo>
                      <a:lnTo>
                        <a:pt x="484673" y="507575"/>
                      </a:lnTo>
                      <a:lnTo>
                        <a:pt x="487442" y="508121"/>
                      </a:lnTo>
                      <a:lnTo>
                        <a:pt x="486993" y="511133"/>
                      </a:lnTo>
                      <a:lnTo>
                        <a:pt x="489822" y="511691"/>
                      </a:lnTo>
                      <a:lnTo>
                        <a:pt x="489178" y="514909"/>
                      </a:lnTo>
                      <a:lnTo>
                        <a:pt x="488110" y="517738"/>
                      </a:lnTo>
                      <a:lnTo>
                        <a:pt x="486131" y="521175"/>
                      </a:lnTo>
                      <a:lnTo>
                        <a:pt x="480630" y="527161"/>
                      </a:lnTo>
                      <a:lnTo>
                        <a:pt x="477545" y="529359"/>
                      </a:lnTo>
                      <a:lnTo>
                        <a:pt x="474570" y="530853"/>
                      </a:lnTo>
                      <a:lnTo>
                        <a:pt x="471607" y="531800"/>
                      </a:lnTo>
                      <a:lnTo>
                        <a:pt x="467637" y="532103"/>
                      </a:lnTo>
                      <a:close/>
                    </a:path>
                  </a:pathLst>
                </a:custGeom>
                <a:solidFill>
                  <a:srgbClr val="D7D7D2"/>
                </a:solidFill>
                <a:ln w="12138" cap="flat">
                  <a:noFill/>
                  <a:prstDash val="solid"/>
                  <a:miter/>
                </a:ln>
              </p:spPr>
              <p:txBody>
                <a:bodyPr rtlCol="0" anchor="ctr"/>
                <a:lstStyle/>
                <a:p>
                  <a:endParaRPr lang="en-US"/>
                </a:p>
              </p:txBody>
            </p:sp>
            <p:sp>
              <p:nvSpPr>
                <p:cNvPr id="309" name="Freeform: Shape 308">
                  <a:extLst>
                    <a:ext uri="{FF2B5EF4-FFF2-40B4-BE49-F238E27FC236}">
                      <a16:creationId xmlns:a16="http://schemas.microsoft.com/office/drawing/2014/main" id="{C8CF2225-128B-4FCC-AD95-A713E804BE1D}"/>
                    </a:ext>
                  </a:extLst>
                </p:cNvPr>
                <p:cNvSpPr/>
                <p:nvPr/>
              </p:nvSpPr>
              <p:spPr>
                <a:xfrm>
                  <a:off x="5108609" y="1868792"/>
                  <a:ext cx="668565" cy="538211"/>
                </a:xfrm>
                <a:custGeom>
                  <a:avLst/>
                  <a:gdLst>
                    <a:gd name="connsiteX0" fmla="*/ 157433 w 668565"/>
                    <a:gd name="connsiteY0" fmla="*/ 6071 h 538211"/>
                    <a:gd name="connsiteX1" fmla="*/ 164100 w 668565"/>
                    <a:gd name="connsiteY1" fmla="*/ 7019 h 538211"/>
                    <a:gd name="connsiteX2" fmla="*/ 167900 w 668565"/>
                    <a:gd name="connsiteY2" fmla="*/ 6994 h 538211"/>
                    <a:gd name="connsiteX3" fmla="*/ 169722 w 668565"/>
                    <a:gd name="connsiteY3" fmla="*/ 7480 h 538211"/>
                    <a:gd name="connsiteX4" fmla="*/ 171106 w 668565"/>
                    <a:gd name="connsiteY4" fmla="*/ 8549 h 538211"/>
                    <a:gd name="connsiteX5" fmla="*/ 172077 w 668565"/>
                    <a:gd name="connsiteY5" fmla="*/ 10236 h 538211"/>
                    <a:gd name="connsiteX6" fmla="*/ 174033 w 668565"/>
                    <a:gd name="connsiteY6" fmla="*/ 11536 h 538211"/>
                    <a:gd name="connsiteX7" fmla="*/ 175805 w 668565"/>
                    <a:gd name="connsiteY7" fmla="*/ 11609 h 538211"/>
                    <a:gd name="connsiteX8" fmla="*/ 178465 w 668565"/>
                    <a:gd name="connsiteY8" fmla="*/ 11099 h 538211"/>
                    <a:gd name="connsiteX9" fmla="*/ 180056 w 668565"/>
                    <a:gd name="connsiteY9" fmla="*/ 11536 h 538211"/>
                    <a:gd name="connsiteX10" fmla="*/ 181719 w 668565"/>
                    <a:gd name="connsiteY10" fmla="*/ 12787 h 538211"/>
                    <a:gd name="connsiteX11" fmla="*/ 187584 w 668565"/>
                    <a:gd name="connsiteY11" fmla="*/ 19028 h 538211"/>
                    <a:gd name="connsiteX12" fmla="*/ 190790 w 668565"/>
                    <a:gd name="connsiteY12" fmla="*/ 21032 h 538211"/>
                    <a:gd name="connsiteX13" fmla="*/ 192696 w 668565"/>
                    <a:gd name="connsiteY13" fmla="*/ 21578 h 538211"/>
                    <a:gd name="connsiteX14" fmla="*/ 196023 w 668565"/>
                    <a:gd name="connsiteY14" fmla="*/ 21177 h 538211"/>
                    <a:gd name="connsiteX15" fmla="*/ 199982 w 668565"/>
                    <a:gd name="connsiteY15" fmla="*/ 20145 h 538211"/>
                    <a:gd name="connsiteX16" fmla="*/ 207863 w 668565"/>
                    <a:gd name="connsiteY16" fmla="*/ 19198 h 538211"/>
                    <a:gd name="connsiteX17" fmla="*/ 212222 w 668565"/>
                    <a:gd name="connsiteY17" fmla="*/ 19392 h 538211"/>
                    <a:gd name="connsiteX18" fmla="*/ 215379 w 668565"/>
                    <a:gd name="connsiteY18" fmla="*/ 20194 h 538211"/>
                    <a:gd name="connsiteX19" fmla="*/ 217492 w 668565"/>
                    <a:gd name="connsiteY19" fmla="*/ 21323 h 538211"/>
                    <a:gd name="connsiteX20" fmla="*/ 220953 w 668565"/>
                    <a:gd name="connsiteY20" fmla="*/ 22440 h 538211"/>
                    <a:gd name="connsiteX21" fmla="*/ 223758 w 668565"/>
                    <a:gd name="connsiteY21" fmla="*/ 22671 h 538211"/>
                    <a:gd name="connsiteX22" fmla="*/ 227607 w 668565"/>
                    <a:gd name="connsiteY22" fmla="*/ 22355 h 538211"/>
                    <a:gd name="connsiteX23" fmla="*/ 234261 w 668565"/>
                    <a:gd name="connsiteY23" fmla="*/ 22792 h 538211"/>
                    <a:gd name="connsiteX24" fmla="*/ 240066 w 668565"/>
                    <a:gd name="connsiteY24" fmla="*/ 23727 h 538211"/>
                    <a:gd name="connsiteX25" fmla="*/ 244717 w 668565"/>
                    <a:gd name="connsiteY25" fmla="*/ 23618 h 538211"/>
                    <a:gd name="connsiteX26" fmla="*/ 247412 w 668565"/>
                    <a:gd name="connsiteY26" fmla="*/ 24164 h 538211"/>
                    <a:gd name="connsiteX27" fmla="*/ 248857 w 668565"/>
                    <a:gd name="connsiteY27" fmla="*/ 25658 h 538211"/>
                    <a:gd name="connsiteX28" fmla="*/ 252464 w 668565"/>
                    <a:gd name="connsiteY28" fmla="*/ 33004 h 538211"/>
                    <a:gd name="connsiteX29" fmla="*/ 255050 w 668565"/>
                    <a:gd name="connsiteY29" fmla="*/ 36623 h 538211"/>
                    <a:gd name="connsiteX30" fmla="*/ 257455 w 668565"/>
                    <a:gd name="connsiteY30" fmla="*/ 39040 h 538211"/>
                    <a:gd name="connsiteX31" fmla="*/ 261826 w 668565"/>
                    <a:gd name="connsiteY31" fmla="*/ 41760 h 538211"/>
                    <a:gd name="connsiteX32" fmla="*/ 273775 w 668565"/>
                    <a:gd name="connsiteY32" fmla="*/ 42476 h 538211"/>
                    <a:gd name="connsiteX33" fmla="*/ 276361 w 668565"/>
                    <a:gd name="connsiteY33" fmla="*/ 42136 h 538211"/>
                    <a:gd name="connsiteX34" fmla="*/ 279057 w 668565"/>
                    <a:gd name="connsiteY34" fmla="*/ 41796 h 538211"/>
                    <a:gd name="connsiteX35" fmla="*/ 285031 w 668565"/>
                    <a:gd name="connsiteY35" fmla="*/ 39962 h 538211"/>
                    <a:gd name="connsiteX36" fmla="*/ 285723 w 668565"/>
                    <a:gd name="connsiteY36" fmla="*/ 36538 h 538211"/>
                    <a:gd name="connsiteX37" fmla="*/ 285213 w 668565"/>
                    <a:gd name="connsiteY37" fmla="*/ 34061 h 538211"/>
                    <a:gd name="connsiteX38" fmla="*/ 285335 w 668565"/>
                    <a:gd name="connsiteY38" fmla="*/ 34182 h 538211"/>
                    <a:gd name="connsiteX39" fmla="*/ 286355 w 668565"/>
                    <a:gd name="connsiteY39" fmla="*/ 36757 h 538211"/>
                    <a:gd name="connsiteX40" fmla="*/ 301303 w 668565"/>
                    <a:gd name="connsiteY40" fmla="*/ 40448 h 538211"/>
                    <a:gd name="connsiteX41" fmla="*/ 322808 w 668565"/>
                    <a:gd name="connsiteY41" fmla="*/ 37400 h 538211"/>
                    <a:gd name="connsiteX42" fmla="*/ 340221 w 668565"/>
                    <a:gd name="connsiteY42" fmla="*/ 43569 h 538211"/>
                    <a:gd name="connsiteX43" fmla="*/ 345831 w 668565"/>
                    <a:gd name="connsiteY43" fmla="*/ 43411 h 538211"/>
                    <a:gd name="connsiteX44" fmla="*/ 346523 w 668565"/>
                    <a:gd name="connsiteY44" fmla="*/ 43763 h 538211"/>
                    <a:gd name="connsiteX45" fmla="*/ 351575 w 668565"/>
                    <a:gd name="connsiteY45" fmla="*/ 45172 h 538211"/>
                    <a:gd name="connsiteX46" fmla="*/ 356104 w 668565"/>
                    <a:gd name="connsiteY46" fmla="*/ 47527 h 538211"/>
                    <a:gd name="connsiteX47" fmla="*/ 358059 w 668565"/>
                    <a:gd name="connsiteY47" fmla="*/ 50770 h 538211"/>
                    <a:gd name="connsiteX48" fmla="*/ 359091 w 668565"/>
                    <a:gd name="connsiteY48" fmla="*/ 52615 h 538211"/>
                    <a:gd name="connsiteX49" fmla="*/ 360366 w 668565"/>
                    <a:gd name="connsiteY49" fmla="*/ 59379 h 538211"/>
                    <a:gd name="connsiteX50" fmla="*/ 361617 w 668565"/>
                    <a:gd name="connsiteY50" fmla="*/ 62075 h 538211"/>
                    <a:gd name="connsiteX51" fmla="*/ 363984 w 668565"/>
                    <a:gd name="connsiteY51" fmla="*/ 62743 h 538211"/>
                    <a:gd name="connsiteX52" fmla="*/ 367093 w 668565"/>
                    <a:gd name="connsiteY52" fmla="*/ 62172 h 538211"/>
                    <a:gd name="connsiteX53" fmla="*/ 370020 w 668565"/>
                    <a:gd name="connsiteY53" fmla="*/ 62050 h 538211"/>
                    <a:gd name="connsiteX54" fmla="*/ 372885 w 668565"/>
                    <a:gd name="connsiteY54" fmla="*/ 62597 h 538211"/>
                    <a:gd name="connsiteX55" fmla="*/ 375642 w 668565"/>
                    <a:gd name="connsiteY55" fmla="*/ 64054 h 538211"/>
                    <a:gd name="connsiteX56" fmla="*/ 376431 w 668565"/>
                    <a:gd name="connsiteY56" fmla="*/ 64892 h 538211"/>
                    <a:gd name="connsiteX57" fmla="*/ 377135 w 668565"/>
                    <a:gd name="connsiteY57" fmla="*/ 65839 h 538211"/>
                    <a:gd name="connsiteX58" fmla="*/ 377597 w 668565"/>
                    <a:gd name="connsiteY58" fmla="*/ 66932 h 538211"/>
                    <a:gd name="connsiteX59" fmla="*/ 377815 w 668565"/>
                    <a:gd name="connsiteY59" fmla="*/ 68110 h 538211"/>
                    <a:gd name="connsiteX60" fmla="*/ 379600 w 668565"/>
                    <a:gd name="connsiteY60" fmla="*/ 70830 h 538211"/>
                    <a:gd name="connsiteX61" fmla="*/ 382405 w 668565"/>
                    <a:gd name="connsiteY61" fmla="*/ 73963 h 538211"/>
                    <a:gd name="connsiteX62" fmla="*/ 385623 w 668565"/>
                    <a:gd name="connsiteY62" fmla="*/ 76549 h 538211"/>
                    <a:gd name="connsiteX63" fmla="*/ 388331 w 668565"/>
                    <a:gd name="connsiteY63" fmla="*/ 77848 h 538211"/>
                    <a:gd name="connsiteX64" fmla="*/ 392411 w 668565"/>
                    <a:gd name="connsiteY64" fmla="*/ 78844 h 538211"/>
                    <a:gd name="connsiteX65" fmla="*/ 394646 w 668565"/>
                    <a:gd name="connsiteY65" fmla="*/ 79706 h 538211"/>
                    <a:gd name="connsiteX66" fmla="*/ 396831 w 668565"/>
                    <a:gd name="connsiteY66" fmla="*/ 79306 h 538211"/>
                    <a:gd name="connsiteX67" fmla="*/ 404530 w 668565"/>
                    <a:gd name="connsiteY67" fmla="*/ 74715 h 538211"/>
                    <a:gd name="connsiteX68" fmla="*/ 407845 w 668565"/>
                    <a:gd name="connsiteY68" fmla="*/ 74048 h 538211"/>
                    <a:gd name="connsiteX69" fmla="*/ 415422 w 668565"/>
                    <a:gd name="connsiteY69" fmla="*/ 73708 h 538211"/>
                    <a:gd name="connsiteX70" fmla="*/ 424906 w 668565"/>
                    <a:gd name="connsiteY70" fmla="*/ 71243 h 538211"/>
                    <a:gd name="connsiteX71" fmla="*/ 428913 w 668565"/>
                    <a:gd name="connsiteY71" fmla="*/ 71668 h 538211"/>
                    <a:gd name="connsiteX72" fmla="*/ 442586 w 668565"/>
                    <a:gd name="connsiteY72" fmla="*/ 74910 h 538211"/>
                    <a:gd name="connsiteX73" fmla="*/ 445755 w 668565"/>
                    <a:gd name="connsiteY73" fmla="*/ 76379 h 538211"/>
                    <a:gd name="connsiteX74" fmla="*/ 448111 w 668565"/>
                    <a:gd name="connsiteY74" fmla="*/ 79050 h 538211"/>
                    <a:gd name="connsiteX75" fmla="*/ 451438 w 668565"/>
                    <a:gd name="connsiteY75" fmla="*/ 84964 h 538211"/>
                    <a:gd name="connsiteX76" fmla="*/ 455688 w 668565"/>
                    <a:gd name="connsiteY76" fmla="*/ 89639 h 538211"/>
                    <a:gd name="connsiteX77" fmla="*/ 457801 w 668565"/>
                    <a:gd name="connsiteY77" fmla="*/ 90963 h 538211"/>
                    <a:gd name="connsiteX78" fmla="*/ 458736 w 668565"/>
                    <a:gd name="connsiteY78" fmla="*/ 91509 h 538211"/>
                    <a:gd name="connsiteX79" fmla="*/ 461662 w 668565"/>
                    <a:gd name="connsiteY79" fmla="*/ 93294 h 538211"/>
                    <a:gd name="connsiteX80" fmla="*/ 474862 w 668565"/>
                    <a:gd name="connsiteY80" fmla="*/ 98516 h 538211"/>
                    <a:gd name="connsiteX81" fmla="*/ 479221 w 668565"/>
                    <a:gd name="connsiteY81" fmla="*/ 101904 h 538211"/>
                    <a:gd name="connsiteX82" fmla="*/ 482147 w 668565"/>
                    <a:gd name="connsiteY82" fmla="*/ 106870 h 538211"/>
                    <a:gd name="connsiteX83" fmla="*/ 485547 w 668565"/>
                    <a:gd name="connsiteY83" fmla="*/ 111411 h 538211"/>
                    <a:gd name="connsiteX84" fmla="*/ 491121 w 668565"/>
                    <a:gd name="connsiteY84" fmla="*/ 113536 h 538211"/>
                    <a:gd name="connsiteX85" fmla="*/ 494327 w 668565"/>
                    <a:gd name="connsiteY85" fmla="*/ 112784 h 538211"/>
                    <a:gd name="connsiteX86" fmla="*/ 500240 w 668565"/>
                    <a:gd name="connsiteY86" fmla="*/ 109651 h 538211"/>
                    <a:gd name="connsiteX87" fmla="*/ 503276 w 668565"/>
                    <a:gd name="connsiteY87" fmla="*/ 109687 h 538211"/>
                    <a:gd name="connsiteX88" fmla="*/ 505583 w 668565"/>
                    <a:gd name="connsiteY88" fmla="*/ 111314 h 538211"/>
                    <a:gd name="connsiteX89" fmla="*/ 510635 w 668565"/>
                    <a:gd name="connsiteY89" fmla="*/ 118952 h 538211"/>
                    <a:gd name="connsiteX90" fmla="*/ 515978 w 668565"/>
                    <a:gd name="connsiteY90" fmla="*/ 121854 h 538211"/>
                    <a:gd name="connsiteX91" fmla="*/ 517241 w 668565"/>
                    <a:gd name="connsiteY91" fmla="*/ 123749 h 538211"/>
                    <a:gd name="connsiteX92" fmla="*/ 512651 w 668565"/>
                    <a:gd name="connsiteY92" fmla="*/ 131763 h 538211"/>
                    <a:gd name="connsiteX93" fmla="*/ 511327 w 668565"/>
                    <a:gd name="connsiteY93" fmla="*/ 132844 h 538211"/>
                    <a:gd name="connsiteX94" fmla="*/ 509773 w 668565"/>
                    <a:gd name="connsiteY94" fmla="*/ 133074 h 538211"/>
                    <a:gd name="connsiteX95" fmla="*/ 508000 w 668565"/>
                    <a:gd name="connsiteY95" fmla="*/ 133002 h 538211"/>
                    <a:gd name="connsiteX96" fmla="*/ 506275 w 668565"/>
                    <a:gd name="connsiteY96" fmla="*/ 133196 h 538211"/>
                    <a:gd name="connsiteX97" fmla="*/ 505061 w 668565"/>
                    <a:gd name="connsiteY97" fmla="*/ 134179 h 538211"/>
                    <a:gd name="connsiteX98" fmla="*/ 505122 w 668565"/>
                    <a:gd name="connsiteY98" fmla="*/ 136754 h 538211"/>
                    <a:gd name="connsiteX99" fmla="*/ 507077 w 668565"/>
                    <a:gd name="connsiteY99" fmla="*/ 139219 h 538211"/>
                    <a:gd name="connsiteX100" fmla="*/ 509603 w 668565"/>
                    <a:gd name="connsiteY100" fmla="*/ 141672 h 538211"/>
                    <a:gd name="connsiteX101" fmla="*/ 511327 w 668565"/>
                    <a:gd name="connsiteY101" fmla="*/ 144161 h 538211"/>
                    <a:gd name="connsiteX102" fmla="*/ 511946 w 668565"/>
                    <a:gd name="connsiteY102" fmla="*/ 148192 h 538211"/>
                    <a:gd name="connsiteX103" fmla="*/ 510926 w 668565"/>
                    <a:gd name="connsiteY103" fmla="*/ 151277 h 538211"/>
                    <a:gd name="connsiteX104" fmla="*/ 509202 w 668565"/>
                    <a:gd name="connsiteY104" fmla="*/ 154240 h 538211"/>
                    <a:gd name="connsiteX105" fmla="*/ 507599 w 668565"/>
                    <a:gd name="connsiteY105" fmla="*/ 157858 h 538211"/>
                    <a:gd name="connsiteX106" fmla="*/ 514375 w 668565"/>
                    <a:gd name="connsiteY106" fmla="*/ 156340 h 538211"/>
                    <a:gd name="connsiteX107" fmla="*/ 521260 w 668565"/>
                    <a:gd name="connsiteY107" fmla="*/ 156717 h 538211"/>
                    <a:gd name="connsiteX108" fmla="*/ 534981 w 668565"/>
                    <a:gd name="connsiteY108" fmla="*/ 160530 h 538211"/>
                    <a:gd name="connsiteX109" fmla="*/ 553524 w 668565"/>
                    <a:gd name="connsiteY109" fmla="*/ 170548 h 538211"/>
                    <a:gd name="connsiteX110" fmla="*/ 562995 w 668565"/>
                    <a:gd name="connsiteY110" fmla="*/ 174142 h 538211"/>
                    <a:gd name="connsiteX111" fmla="*/ 569152 w 668565"/>
                    <a:gd name="connsiteY111" fmla="*/ 177870 h 538211"/>
                    <a:gd name="connsiteX112" fmla="*/ 572309 w 668565"/>
                    <a:gd name="connsiteY112" fmla="*/ 178623 h 538211"/>
                    <a:gd name="connsiteX113" fmla="*/ 576110 w 668565"/>
                    <a:gd name="connsiteY113" fmla="*/ 178137 h 538211"/>
                    <a:gd name="connsiteX114" fmla="*/ 578854 w 668565"/>
                    <a:gd name="connsiteY114" fmla="*/ 177299 h 538211"/>
                    <a:gd name="connsiteX115" fmla="*/ 581720 w 668565"/>
                    <a:gd name="connsiteY115" fmla="*/ 177068 h 538211"/>
                    <a:gd name="connsiteX116" fmla="*/ 585690 w 668565"/>
                    <a:gd name="connsiteY116" fmla="*/ 178392 h 538211"/>
                    <a:gd name="connsiteX117" fmla="*/ 604111 w 668565"/>
                    <a:gd name="connsiteY117" fmla="*/ 188264 h 538211"/>
                    <a:gd name="connsiteX118" fmla="*/ 609454 w 668565"/>
                    <a:gd name="connsiteY118" fmla="*/ 192344 h 538211"/>
                    <a:gd name="connsiteX119" fmla="*/ 611749 w 668565"/>
                    <a:gd name="connsiteY119" fmla="*/ 195186 h 538211"/>
                    <a:gd name="connsiteX120" fmla="*/ 615428 w 668565"/>
                    <a:gd name="connsiteY120" fmla="*/ 201852 h 538211"/>
                    <a:gd name="connsiteX121" fmla="*/ 617723 w 668565"/>
                    <a:gd name="connsiteY121" fmla="*/ 204803 h 538211"/>
                    <a:gd name="connsiteX122" fmla="*/ 620431 w 668565"/>
                    <a:gd name="connsiteY122" fmla="*/ 206952 h 538211"/>
                    <a:gd name="connsiteX123" fmla="*/ 636448 w 668565"/>
                    <a:gd name="connsiteY123" fmla="*/ 213643 h 538211"/>
                    <a:gd name="connsiteX124" fmla="*/ 650861 w 668565"/>
                    <a:gd name="connsiteY124" fmla="*/ 217407 h 538211"/>
                    <a:gd name="connsiteX125" fmla="*/ 656897 w 668565"/>
                    <a:gd name="connsiteY125" fmla="*/ 220479 h 538211"/>
                    <a:gd name="connsiteX126" fmla="*/ 660673 w 668565"/>
                    <a:gd name="connsiteY126" fmla="*/ 226308 h 538211"/>
                    <a:gd name="connsiteX127" fmla="*/ 662009 w 668565"/>
                    <a:gd name="connsiteY127" fmla="*/ 229198 h 538211"/>
                    <a:gd name="connsiteX128" fmla="*/ 660673 w 668565"/>
                    <a:gd name="connsiteY128" fmla="*/ 232452 h 538211"/>
                    <a:gd name="connsiteX129" fmla="*/ 659179 w 668565"/>
                    <a:gd name="connsiteY129" fmla="*/ 232537 h 538211"/>
                    <a:gd name="connsiteX130" fmla="*/ 646551 w 668565"/>
                    <a:gd name="connsiteY130" fmla="*/ 236642 h 538211"/>
                    <a:gd name="connsiteX131" fmla="*/ 643284 w 668565"/>
                    <a:gd name="connsiteY131" fmla="*/ 235864 h 538211"/>
                    <a:gd name="connsiteX132" fmla="*/ 641438 w 668565"/>
                    <a:gd name="connsiteY132" fmla="*/ 232222 h 538211"/>
                    <a:gd name="connsiteX133" fmla="*/ 639605 w 668565"/>
                    <a:gd name="connsiteY133" fmla="*/ 229696 h 538211"/>
                    <a:gd name="connsiteX134" fmla="*/ 636618 w 668565"/>
                    <a:gd name="connsiteY134" fmla="*/ 231797 h 538211"/>
                    <a:gd name="connsiteX135" fmla="*/ 633339 w 668565"/>
                    <a:gd name="connsiteY135" fmla="*/ 235549 h 538211"/>
                    <a:gd name="connsiteX136" fmla="*/ 630716 w 668565"/>
                    <a:gd name="connsiteY136" fmla="*/ 237989 h 538211"/>
                    <a:gd name="connsiteX137" fmla="*/ 633181 w 668565"/>
                    <a:gd name="connsiteY137" fmla="*/ 243478 h 538211"/>
                    <a:gd name="connsiteX138" fmla="*/ 629502 w 668565"/>
                    <a:gd name="connsiteY138" fmla="*/ 248882 h 538211"/>
                    <a:gd name="connsiteX139" fmla="*/ 618185 w 668565"/>
                    <a:gd name="connsiteY139" fmla="*/ 257054 h 538211"/>
                    <a:gd name="connsiteX140" fmla="*/ 615598 w 668565"/>
                    <a:gd name="connsiteY140" fmla="*/ 259665 h 538211"/>
                    <a:gd name="connsiteX141" fmla="*/ 609976 w 668565"/>
                    <a:gd name="connsiteY141" fmla="*/ 268250 h 538211"/>
                    <a:gd name="connsiteX142" fmla="*/ 608082 w 668565"/>
                    <a:gd name="connsiteY142" fmla="*/ 270180 h 538211"/>
                    <a:gd name="connsiteX143" fmla="*/ 601415 w 668565"/>
                    <a:gd name="connsiteY143" fmla="*/ 274540 h 538211"/>
                    <a:gd name="connsiteX144" fmla="*/ 596534 w 668565"/>
                    <a:gd name="connsiteY144" fmla="*/ 278960 h 538211"/>
                    <a:gd name="connsiteX145" fmla="*/ 594130 w 668565"/>
                    <a:gd name="connsiteY145" fmla="*/ 280429 h 538211"/>
                    <a:gd name="connsiteX146" fmla="*/ 590560 w 668565"/>
                    <a:gd name="connsiteY146" fmla="*/ 281522 h 538211"/>
                    <a:gd name="connsiteX147" fmla="*/ 583784 w 668565"/>
                    <a:gd name="connsiteY147" fmla="*/ 282323 h 538211"/>
                    <a:gd name="connsiteX148" fmla="*/ 580979 w 668565"/>
                    <a:gd name="connsiteY148" fmla="*/ 283841 h 538211"/>
                    <a:gd name="connsiteX149" fmla="*/ 579425 w 668565"/>
                    <a:gd name="connsiteY149" fmla="*/ 287351 h 538211"/>
                    <a:gd name="connsiteX150" fmla="*/ 576899 w 668565"/>
                    <a:gd name="connsiteY150" fmla="*/ 294758 h 538211"/>
                    <a:gd name="connsiteX151" fmla="*/ 572758 w 668565"/>
                    <a:gd name="connsiteY151" fmla="*/ 301157 h 538211"/>
                    <a:gd name="connsiteX152" fmla="*/ 563117 w 668565"/>
                    <a:gd name="connsiteY152" fmla="*/ 312693 h 538211"/>
                    <a:gd name="connsiteX153" fmla="*/ 559158 w 668565"/>
                    <a:gd name="connsiteY153" fmla="*/ 315886 h 538211"/>
                    <a:gd name="connsiteX154" fmla="*/ 547950 w 668565"/>
                    <a:gd name="connsiteY154" fmla="*/ 318752 h 538211"/>
                    <a:gd name="connsiteX155" fmla="*/ 543020 w 668565"/>
                    <a:gd name="connsiteY155" fmla="*/ 322565 h 538211"/>
                    <a:gd name="connsiteX156" fmla="*/ 540263 w 668565"/>
                    <a:gd name="connsiteY156" fmla="*/ 328260 h 538211"/>
                    <a:gd name="connsiteX157" fmla="*/ 540324 w 668565"/>
                    <a:gd name="connsiteY157" fmla="*/ 333457 h 538211"/>
                    <a:gd name="connsiteX158" fmla="*/ 542109 w 668565"/>
                    <a:gd name="connsiteY158" fmla="*/ 338618 h 538211"/>
                    <a:gd name="connsiteX159" fmla="*/ 544635 w 668565"/>
                    <a:gd name="connsiteY159" fmla="*/ 344107 h 538211"/>
                    <a:gd name="connsiteX160" fmla="*/ 546347 w 668565"/>
                    <a:gd name="connsiteY160" fmla="*/ 349449 h 538211"/>
                    <a:gd name="connsiteX161" fmla="*/ 546068 w 668565"/>
                    <a:gd name="connsiteY161" fmla="*/ 353955 h 538211"/>
                    <a:gd name="connsiteX162" fmla="*/ 543882 w 668565"/>
                    <a:gd name="connsiteY162" fmla="*/ 358180 h 538211"/>
                    <a:gd name="connsiteX163" fmla="*/ 539632 w 668565"/>
                    <a:gd name="connsiteY163" fmla="*/ 362710 h 538211"/>
                    <a:gd name="connsiteX164" fmla="*/ 538551 w 668565"/>
                    <a:gd name="connsiteY164" fmla="*/ 363462 h 538211"/>
                    <a:gd name="connsiteX165" fmla="*/ 536244 w 668565"/>
                    <a:gd name="connsiteY165" fmla="*/ 364664 h 538211"/>
                    <a:gd name="connsiteX166" fmla="*/ 535200 w 668565"/>
                    <a:gd name="connsiteY166" fmla="*/ 365466 h 538211"/>
                    <a:gd name="connsiteX167" fmla="*/ 534520 w 668565"/>
                    <a:gd name="connsiteY167" fmla="*/ 366899 h 538211"/>
                    <a:gd name="connsiteX168" fmla="*/ 534811 w 668565"/>
                    <a:gd name="connsiteY168" fmla="*/ 368137 h 538211"/>
                    <a:gd name="connsiteX169" fmla="*/ 535261 w 668565"/>
                    <a:gd name="connsiteY169" fmla="*/ 369291 h 538211"/>
                    <a:gd name="connsiteX170" fmla="*/ 535200 w 668565"/>
                    <a:gd name="connsiteY170" fmla="*/ 370347 h 538211"/>
                    <a:gd name="connsiteX171" fmla="*/ 533889 w 668565"/>
                    <a:gd name="connsiteY171" fmla="*/ 372181 h 538211"/>
                    <a:gd name="connsiteX172" fmla="*/ 532274 w 668565"/>
                    <a:gd name="connsiteY172" fmla="*/ 373760 h 538211"/>
                    <a:gd name="connsiteX173" fmla="*/ 528497 w 668565"/>
                    <a:gd name="connsiteY173" fmla="*/ 376492 h 538211"/>
                    <a:gd name="connsiteX174" fmla="*/ 528436 w 668565"/>
                    <a:gd name="connsiteY174" fmla="*/ 376528 h 538211"/>
                    <a:gd name="connsiteX175" fmla="*/ 526712 w 668565"/>
                    <a:gd name="connsiteY175" fmla="*/ 378617 h 538211"/>
                    <a:gd name="connsiteX176" fmla="*/ 525049 w 668565"/>
                    <a:gd name="connsiteY176" fmla="*/ 379795 h 538211"/>
                    <a:gd name="connsiteX177" fmla="*/ 523786 w 668565"/>
                    <a:gd name="connsiteY177" fmla="*/ 381118 h 538211"/>
                    <a:gd name="connsiteX178" fmla="*/ 523263 w 668565"/>
                    <a:gd name="connsiteY178" fmla="*/ 383753 h 538211"/>
                    <a:gd name="connsiteX179" fmla="*/ 522122 w 668565"/>
                    <a:gd name="connsiteY179" fmla="*/ 385623 h 538211"/>
                    <a:gd name="connsiteX180" fmla="*/ 516658 w 668565"/>
                    <a:gd name="connsiteY180" fmla="*/ 387348 h 538211"/>
                    <a:gd name="connsiteX181" fmla="*/ 514654 w 668565"/>
                    <a:gd name="connsiteY181" fmla="*/ 388780 h 538211"/>
                    <a:gd name="connsiteX182" fmla="*/ 513901 w 668565"/>
                    <a:gd name="connsiteY182" fmla="*/ 392423 h 538211"/>
                    <a:gd name="connsiteX183" fmla="*/ 515286 w 668565"/>
                    <a:gd name="connsiteY183" fmla="*/ 395848 h 538211"/>
                    <a:gd name="connsiteX184" fmla="*/ 519256 w 668565"/>
                    <a:gd name="connsiteY184" fmla="*/ 402538 h 538211"/>
                    <a:gd name="connsiteX185" fmla="*/ 520628 w 668565"/>
                    <a:gd name="connsiteY185" fmla="*/ 410808 h 538211"/>
                    <a:gd name="connsiteX186" fmla="*/ 521661 w 668565"/>
                    <a:gd name="connsiteY186" fmla="*/ 412921 h 538211"/>
                    <a:gd name="connsiteX187" fmla="*/ 523263 w 668565"/>
                    <a:gd name="connsiteY187" fmla="*/ 413188 h 538211"/>
                    <a:gd name="connsiteX188" fmla="*/ 525000 w 668565"/>
                    <a:gd name="connsiteY188" fmla="*/ 413127 h 538211"/>
                    <a:gd name="connsiteX189" fmla="*/ 526372 w 668565"/>
                    <a:gd name="connsiteY189" fmla="*/ 414244 h 538211"/>
                    <a:gd name="connsiteX190" fmla="*/ 526882 w 668565"/>
                    <a:gd name="connsiteY190" fmla="*/ 418093 h 538211"/>
                    <a:gd name="connsiteX191" fmla="*/ 526129 w 668565"/>
                    <a:gd name="connsiteY191" fmla="*/ 422866 h 538211"/>
                    <a:gd name="connsiteX192" fmla="*/ 522231 w 668565"/>
                    <a:gd name="connsiteY192" fmla="*/ 436271 h 538211"/>
                    <a:gd name="connsiteX193" fmla="*/ 520458 w 668565"/>
                    <a:gd name="connsiteY193" fmla="*/ 435871 h 538211"/>
                    <a:gd name="connsiteX194" fmla="*/ 518103 w 668565"/>
                    <a:gd name="connsiteY194" fmla="*/ 434086 h 538211"/>
                    <a:gd name="connsiteX195" fmla="*/ 514885 w 668565"/>
                    <a:gd name="connsiteY195" fmla="*/ 434486 h 538211"/>
                    <a:gd name="connsiteX196" fmla="*/ 513901 w 668565"/>
                    <a:gd name="connsiteY196" fmla="*/ 437474 h 538211"/>
                    <a:gd name="connsiteX197" fmla="*/ 517058 w 668565"/>
                    <a:gd name="connsiteY197" fmla="*/ 445998 h 538211"/>
                    <a:gd name="connsiteX198" fmla="*/ 517520 w 668565"/>
                    <a:gd name="connsiteY198" fmla="*/ 449155 h 538211"/>
                    <a:gd name="connsiteX199" fmla="*/ 515237 w 668565"/>
                    <a:gd name="connsiteY199" fmla="*/ 451851 h 538211"/>
                    <a:gd name="connsiteX200" fmla="*/ 511618 w 668565"/>
                    <a:gd name="connsiteY200" fmla="*/ 452859 h 538211"/>
                    <a:gd name="connsiteX201" fmla="*/ 507708 w 668565"/>
                    <a:gd name="connsiteY201" fmla="*/ 452834 h 538211"/>
                    <a:gd name="connsiteX202" fmla="*/ 504490 w 668565"/>
                    <a:gd name="connsiteY202" fmla="*/ 452397 h 538211"/>
                    <a:gd name="connsiteX203" fmla="*/ 498698 w 668565"/>
                    <a:gd name="connsiteY203" fmla="*/ 455105 h 538211"/>
                    <a:gd name="connsiteX204" fmla="*/ 495080 w 668565"/>
                    <a:gd name="connsiteY204" fmla="*/ 462852 h 538211"/>
                    <a:gd name="connsiteX205" fmla="*/ 493465 w 668565"/>
                    <a:gd name="connsiteY205" fmla="*/ 471960 h 538211"/>
                    <a:gd name="connsiteX206" fmla="*/ 494096 w 668565"/>
                    <a:gd name="connsiteY206" fmla="*/ 478675 h 538211"/>
                    <a:gd name="connsiteX207" fmla="*/ 494096 w 668565"/>
                    <a:gd name="connsiteY207" fmla="*/ 478699 h 538211"/>
                    <a:gd name="connsiteX208" fmla="*/ 492493 w 668565"/>
                    <a:gd name="connsiteY208" fmla="*/ 482232 h 538211"/>
                    <a:gd name="connsiteX209" fmla="*/ 489785 w 668565"/>
                    <a:gd name="connsiteY209" fmla="*/ 484248 h 538211"/>
                    <a:gd name="connsiteX210" fmla="*/ 486689 w 668565"/>
                    <a:gd name="connsiteY210" fmla="*/ 485766 h 538211"/>
                    <a:gd name="connsiteX211" fmla="*/ 483762 w 668565"/>
                    <a:gd name="connsiteY211" fmla="*/ 487976 h 538211"/>
                    <a:gd name="connsiteX212" fmla="*/ 481407 w 668565"/>
                    <a:gd name="connsiteY212" fmla="*/ 491303 h 538211"/>
                    <a:gd name="connsiteX213" fmla="*/ 480205 w 668565"/>
                    <a:gd name="connsiteY213" fmla="*/ 494752 h 538211"/>
                    <a:gd name="connsiteX214" fmla="*/ 479682 w 668565"/>
                    <a:gd name="connsiteY214" fmla="*/ 498455 h 538211"/>
                    <a:gd name="connsiteX215" fmla="*/ 479512 w 668565"/>
                    <a:gd name="connsiteY215" fmla="*/ 502560 h 538211"/>
                    <a:gd name="connsiteX216" fmla="*/ 480666 w 668565"/>
                    <a:gd name="connsiteY216" fmla="*/ 510829 h 538211"/>
                    <a:gd name="connsiteX217" fmla="*/ 484102 w 668565"/>
                    <a:gd name="connsiteY217" fmla="*/ 513440 h 538211"/>
                    <a:gd name="connsiteX218" fmla="*/ 487563 w 668565"/>
                    <a:gd name="connsiteY218" fmla="*/ 514132 h 538211"/>
                    <a:gd name="connsiteX219" fmla="*/ 487794 w 668565"/>
                    <a:gd name="connsiteY219" fmla="*/ 514168 h 538211"/>
                    <a:gd name="connsiteX220" fmla="*/ 487563 w 668565"/>
                    <a:gd name="connsiteY220" fmla="*/ 514132 h 538211"/>
                    <a:gd name="connsiteX221" fmla="*/ 486920 w 668565"/>
                    <a:gd name="connsiteY221" fmla="*/ 517350 h 538211"/>
                    <a:gd name="connsiteX222" fmla="*/ 486009 w 668565"/>
                    <a:gd name="connsiteY222" fmla="*/ 519657 h 538211"/>
                    <a:gd name="connsiteX223" fmla="*/ 484236 w 668565"/>
                    <a:gd name="connsiteY223" fmla="*/ 522656 h 538211"/>
                    <a:gd name="connsiteX224" fmla="*/ 479124 w 668565"/>
                    <a:gd name="connsiteY224" fmla="*/ 528121 h 538211"/>
                    <a:gd name="connsiteX225" fmla="*/ 476537 w 668565"/>
                    <a:gd name="connsiteY225" fmla="*/ 529894 h 538211"/>
                    <a:gd name="connsiteX226" fmla="*/ 473951 w 668565"/>
                    <a:gd name="connsiteY226" fmla="*/ 531156 h 538211"/>
                    <a:gd name="connsiteX227" fmla="*/ 471425 w 668565"/>
                    <a:gd name="connsiteY227" fmla="*/ 531934 h 538211"/>
                    <a:gd name="connsiteX228" fmla="*/ 468596 w 668565"/>
                    <a:gd name="connsiteY228" fmla="*/ 532079 h 538211"/>
                    <a:gd name="connsiteX229" fmla="*/ 465159 w 668565"/>
                    <a:gd name="connsiteY229" fmla="*/ 531363 h 538211"/>
                    <a:gd name="connsiteX230" fmla="*/ 461602 w 668565"/>
                    <a:gd name="connsiteY230" fmla="*/ 529056 h 538211"/>
                    <a:gd name="connsiteX231" fmla="*/ 460509 w 668565"/>
                    <a:gd name="connsiteY231" fmla="*/ 527003 h 538211"/>
                    <a:gd name="connsiteX232" fmla="*/ 460691 w 668565"/>
                    <a:gd name="connsiteY232" fmla="*/ 524818 h 538211"/>
                    <a:gd name="connsiteX233" fmla="*/ 461492 w 668565"/>
                    <a:gd name="connsiteY233" fmla="*/ 523154 h 538211"/>
                    <a:gd name="connsiteX234" fmla="*/ 460970 w 668565"/>
                    <a:gd name="connsiteY234" fmla="*/ 522025 h 538211"/>
                    <a:gd name="connsiteX235" fmla="*/ 458614 w 668565"/>
                    <a:gd name="connsiteY235" fmla="*/ 522438 h 538211"/>
                    <a:gd name="connsiteX236" fmla="*/ 456319 w 668565"/>
                    <a:gd name="connsiteY236" fmla="*/ 523263 h 538211"/>
                    <a:gd name="connsiteX237" fmla="*/ 454316 w 668565"/>
                    <a:gd name="connsiteY237" fmla="*/ 523434 h 538211"/>
                    <a:gd name="connsiteX238" fmla="*/ 453223 w 668565"/>
                    <a:gd name="connsiteY238" fmla="*/ 521940 h 538211"/>
                    <a:gd name="connsiteX239" fmla="*/ 453442 w 668565"/>
                    <a:gd name="connsiteY239" fmla="*/ 519754 h 538211"/>
                    <a:gd name="connsiteX240" fmla="*/ 454194 w 668565"/>
                    <a:gd name="connsiteY240" fmla="*/ 517350 h 538211"/>
                    <a:gd name="connsiteX241" fmla="*/ 453854 w 668565"/>
                    <a:gd name="connsiteY241" fmla="*/ 515504 h 538211"/>
                    <a:gd name="connsiteX242" fmla="*/ 452640 w 668565"/>
                    <a:gd name="connsiteY242" fmla="*/ 514703 h 538211"/>
                    <a:gd name="connsiteX243" fmla="*/ 450066 w 668565"/>
                    <a:gd name="connsiteY243" fmla="*/ 515164 h 538211"/>
                    <a:gd name="connsiteX244" fmla="*/ 444662 w 668565"/>
                    <a:gd name="connsiteY244" fmla="*/ 517411 h 538211"/>
                    <a:gd name="connsiteX245" fmla="*/ 442719 w 668565"/>
                    <a:gd name="connsiteY245" fmla="*/ 517204 h 538211"/>
                    <a:gd name="connsiteX246" fmla="*/ 441566 w 668565"/>
                    <a:gd name="connsiteY246" fmla="*/ 515419 h 538211"/>
                    <a:gd name="connsiteX247" fmla="*/ 441675 w 668565"/>
                    <a:gd name="connsiteY247" fmla="*/ 513379 h 538211"/>
                    <a:gd name="connsiteX248" fmla="*/ 443460 w 668565"/>
                    <a:gd name="connsiteY248" fmla="*/ 509251 h 538211"/>
                    <a:gd name="connsiteX249" fmla="*/ 444031 w 668565"/>
                    <a:gd name="connsiteY249" fmla="*/ 507126 h 538211"/>
                    <a:gd name="connsiteX250" fmla="*/ 442355 w 668565"/>
                    <a:gd name="connsiteY250" fmla="*/ 504952 h 538211"/>
                    <a:gd name="connsiteX251" fmla="*/ 438700 w 668565"/>
                    <a:gd name="connsiteY251" fmla="*/ 502706 h 538211"/>
                    <a:gd name="connsiteX252" fmla="*/ 429508 w 668565"/>
                    <a:gd name="connsiteY252" fmla="*/ 501188 h 538211"/>
                    <a:gd name="connsiteX253" fmla="*/ 425707 w 668565"/>
                    <a:gd name="connsiteY253" fmla="*/ 501018 h 538211"/>
                    <a:gd name="connsiteX254" fmla="*/ 423181 w 668565"/>
                    <a:gd name="connsiteY254" fmla="*/ 502159 h 538211"/>
                    <a:gd name="connsiteX255" fmla="*/ 423242 w 668565"/>
                    <a:gd name="connsiteY255" fmla="*/ 503422 h 538211"/>
                    <a:gd name="connsiteX256" fmla="*/ 423072 w 668565"/>
                    <a:gd name="connsiteY256" fmla="*/ 504855 h 538211"/>
                    <a:gd name="connsiteX257" fmla="*/ 422392 w 668565"/>
                    <a:gd name="connsiteY257" fmla="*/ 506385 h 538211"/>
                    <a:gd name="connsiteX258" fmla="*/ 417450 w 668565"/>
                    <a:gd name="connsiteY258" fmla="*/ 508109 h 538211"/>
                    <a:gd name="connsiteX259" fmla="*/ 404979 w 668565"/>
                    <a:gd name="connsiteY259" fmla="*/ 505498 h 538211"/>
                    <a:gd name="connsiteX260" fmla="*/ 401142 w 668565"/>
                    <a:gd name="connsiteY260" fmla="*/ 507538 h 538211"/>
                    <a:gd name="connsiteX261" fmla="*/ 398835 w 668565"/>
                    <a:gd name="connsiteY261" fmla="*/ 508388 h 538211"/>
                    <a:gd name="connsiteX262" fmla="*/ 396600 w 668565"/>
                    <a:gd name="connsiteY262" fmla="*/ 508388 h 538211"/>
                    <a:gd name="connsiteX263" fmla="*/ 395168 w 668565"/>
                    <a:gd name="connsiteY263" fmla="*/ 506263 h 538211"/>
                    <a:gd name="connsiteX264" fmla="*/ 394075 w 668565"/>
                    <a:gd name="connsiteY264" fmla="*/ 503920 h 538211"/>
                    <a:gd name="connsiteX265" fmla="*/ 392532 w 668565"/>
                    <a:gd name="connsiteY265" fmla="*/ 502220 h 538211"/>
                    <a:gd name="connsiteX266" fmla="*/ 385004 w 668565"/>
                    <a:gd name="connsiteY266" fmla="*/ 502390 h 538211"/>
                    <a:gd name="connsiteX267" fmla="*/ 369497 w 668565"/>
                    <a:gd name="connsiteY267" fmla="*/ 508279 h 538211"/>
                    <a:gd name="connsiteX268" fmla="*/ 367032 w 668565"/>
                    <a:gd name="connsiteY268" fmla="*/ 502815 h 538211"/>
                    <a:gd name="connsiteX269" fmla="*/ 364434 w 668565"/>
                    <a:gd name="connsiteY269" fmla="*/ 493574 h 538211"/>
                    <a:gd name="connsiteX270" fmla="*/ 363183 w 668565"/>
                    <a:gd name="connsiteY270" fmla="*/ 491619 h 538211"/>
                    <a:gd name="connsiteX271" fmla="*/ 361568 w 668565"/>
                    <a:gd name="connsiteY271" fmla="*/ 489676 h 538211"/>
                    <a:gd name="connsiteX272" fmla="*/ 358654 w 668565"/>
                    <a:gd name="connsiteY272" fmla="*/ 486859 h 538211"/>
                    <a:gd name="connsiteX273" fmla="*/ 357379 w 668565"/>
                    <a:gd name="connsiteY273" fmla="*/ 485135 h 538211"/>
                    <a:gd name="connsiteX274" fmla="*/ 355885 w 668565"/>
                    <a:gd name="connsiteY274" fmla="*/ 483763 h 538211"/>
                    <a:gd name="connsiteX275" fmla="*/ 354052 w 668565"/>
                    <a:gd name="connsiteY275" fmla="*/ 483641 h 538211"/>
                    <a:gd name="connsiteX276" fmla="*/ 352327 w 668565"/>
                    <a:gd name="connsiteY276" fmla="*/ 484588 h 538211"/>
                    <a:gd name="connsiteX277" fmla="*/ 350154 w 668565"/>
                    <a:gd name="connsiteY277" fmla="*/ 485159 h 538211"/>
                    <a:gd name="connsiteX278" fmla="*/ 346304 w 668565"/>
                    <a:gd name="connsiteY278" fmla="*/ 484855 h 538211"/>
                    <a:gd name="connsiteX279" fmla="*/ 341884 w 668565"/>
                    <a:gd name="connsiteY279" fmla="*/ 483423 h 538211"/>
                    <a:gd name="connsiteX280" fmla="*/ 318279 w 668565"/>
                    <a:gd name="connsiteY280" fmla="*/ 467163 h 538211"/>
                    <a:gd name="connsiteX281" fmla="*/ 315352 w 668565"/>
                    <a:gd name="connsiteY281" fmla="*/ 464322 h 538211"/>
                    <a:gd name="connsiteX282" fmla="*/ 313506 w 668565"/>
                    <a:gd name="connsiteY282" fmla="*/ 461711 h 538211"/>
                    <a:gd name="connsiteX283" fmla="*/ 313179 w 668565"/>
                    <a:gd name="connsiteY283" fmla="*/ 459780 h 538211"/>
                    <a:gd name="connsiteX284" fmla="*/ 313057 w 668565"/>
                    <a:gd name="connsiteY284" fmla="*/ 457667 h 538211"/>
                    <a:gd name="connsiteX285" fmla="*/ 312365 w 668565"/>
                    <a:gd name="connsiteY285" fmla="*/ 455797 h 538211"/>
                    <a:gd name="connsiteX286" fmla="*/ 310750 w 668565"/>
                    <a:gd name="connsiteY286" fmla="*/ 454073 h 538211"/>
                    <a:gd name="connsiteX287" fmla="*/ 296749 w 668565"/>
                    <a:gd name="connsiteY287" fmla="*/ 446605 h 538211"/>
                    <a:gd name="connsiteX288" fmla="*/ 294393 w 668565"/>
                    <a:gd name="connsiteY288" fmla="*/ 445998 h 538211"/>
                    <a:gd name="connsiteX289" fmla="*/ 293179 w 668565"/>
                    <a:gd name="connsiteY289" fmla="*/ 446180 h 538211"/>
                    <a:gd name="connsiteX290" fmla="*/ 288820 w 668565"/>
                    <a:gd name="connsiteY290" fmla="*/ 448621 h 538211"/>
                    <a:gd name="connsiteX291" fmla="*/ 276992 w 668565"/>
                    <a:gd name="connsiteY291" fmla="*/ 451681 h 538211"/>
                    <a:gd name="connsiteX292" fmla="*/ 270107 w 668565"/>
                    <a:gd name="connsiteY292" fmla="*/ 456052 h 538211"/>
                    <a:gd name="connsiteX293" fmla="*/ 268492 w 668565"/>
                    <a:gd name="connsiteY293" fmla="*/ 445172 h 538211"/>
                    <a:gd name="connsiteX294" fmla="*/ 267230 w 668565"/>
                    <a:gd name="connsiteY294" fmla="*/ 441384 h 538211"/>
                    <a:gd name="connsiteX295" fmla="*/ 264813 w 668565"/>
                    <a:gd name="connsiteY295" fmla="*/ 437304 h 538211"/>
                    <a:gd name="connsiteX296" fmla="*/ 261498 w 668565"/>
                    <a:gd name="connsiteY296" fmla="*/ 433661 h 538211"/>
                    <a:gd name="connsiteX297" fmla="*/ 234043 w 668565"/>
                    <a:gd name="connsiteY297" fmla="*/ 419587 h 538211"/>
                    <a:gd name="connsiteX298" fmla="*/ 232659 w 668565"/>
                    <a:gd name="connsiteY298" fmla="*/ 418239 h 538211"/>
                    <a:gd name="connsiteX299" fmla="*/ 233011 w 668565"/>
                    <a:gd name="connsiteY299" fmla="*/ 417778 h 538211"/>
                    <a:gd name="connsiteX300" fmla="*/ 234954 w 668565"/>
                    <a:gd name="connsiteY300" fmla="*/ 416782 h 538211"/>
                    <a:gd name="connsiteX301" fmla="*/ 235014 w 668565"/>
                    <a:gd name="connsiteY301" fmla="*/ 415434 h 538211"/>
                    <a:gd name="connsiteX302" fmla="*/ 234674 w 668565"/>
                    <a:gd name="connsiteY302" fmla="*/ 414220 h 538211"/>
                    <a:gd name="connsiteX303" fmla="*/ 234893 w 668565"/>
                    <a:gd name="connsiteY303" fmla="*/ 413018 h 538211"/>
                    <a:gd name="connsiteX304" fmla="*/ 235828 w 668565"/>
                    <a:gd name="connsiteY304" fmla="*/ 412204 h 538211"/>
                    <a:gd name="connsiteX305" fmla="*/ 239264 w 668565"/>
                    <a:gd name="connsiteY305" fmla="*/ 411463 h 538211"/>
                    <a:gd name="connsiteX306" fmla="*/ 240527 w 668565"/>
                    <a:gd name="connsiteY306" fmla="*/ 410456 h 538211"/>
                    <a:gd name="connsiteX307" fmla="*/ 241499 w 668565"/>
                    <a:gd name="connsiteY307" fmla="*/ 410152 h 538211"/>
                    <a:gd name="connsiteX308" fmla="*/ 242652 w 668565"/>
                    <a:gd name="connsiteY308" fmla="*/ 410686 h 538211"/>
                    <a:gd name="connsiteX309" fmla="*/ 244389 w 668565"/>
                    <a:gd name="connsiteY309" fmla="*/ 411840 h 538211"/>
                    <a:gd name="connsiteX310" fmla="*/ 246502 w 668565"/>
                    <a:gd name="connsiteY310" fmla="*/ 412435 h 538211"/>
                    <a:gd name="connsiteX311" fmla="*/ 248165 w 668565"/>
                    <a:gd name="connsiteY311" fmla="*/ 412095 h 538211"/>
                    <a:gd name="connsiteX312" fmla="*/ 250569 w 668565"/>
                    <a:gd name="connsiteY312" fmla="*/ 407699 h 538211"/>
                    <a:gd name="connsiteX313" fmla="*/ 251844 w 668565"/>
                    <a:gd name="connsiteY313" fmla="*/ 406120 h 538211"/>
                    <a:gd name="connsiteX314" fmla="*/ 253460 w 668565"/>
                    <a:gd name="connsiteY314" fmla="*/ 405586 h 538211"/>
                    <a:gd name="connsiteX315" fmla="*/ 254649 w 668565"/>
                    <a:gd name="connsiteY315" fmla="*/ 406036 h 538211"/>
                    <a:gd name="connsiteX316" fmla="*/ 255924 w 668565"/>
                    <a:gd name="connsiteY316" fmla="*/ 406934 h 538211"/>
                    <a:gd name="connsiteX317" fmla="*/ 257697 w 668565"/>
                    <a:gd name="connsiteY317" fmla="*/ 407068 h 538211"/>
                    <a:gd name="connsiteX318" fmla="*/ 260065 w 668565"/>
                    <a:gd name="connsiteY318" fmla="*/ 406072 h 538211"/>
                    <a:gd name="connsiteX319" fmla="*/ 268832 w 668565"/>
                    <a:gd name="connsiteY319" fmla="*/ 398264 h 538211"/>
                    <a:gd name="connsiteX320" fmla="*/ 270387 w 668565"/>
                    <a:gd name="connsiteY320" fmla="*/ 395872 h 538211"/>
                    <a:gd name="connsiteX321" fmla="*/ 271079 w 668565"/>
                    <a:gd name="connsiteY321" fmla="*/ 393322 h 538211"/>
                    <a:gd name="connsiteX322" fmla="*/ 271261 w 668565"/>
                    <a:gd name="connsiteY322" fmla="*/ 391343 h 538211"/>
                    <a:gd name="connsiteX323" fmla="*/ 268723 w 668565"/>
                    <a:gd name="connsiteY323" fmla="*/ 389643 h 538211"/>
                    <a:gd name="connsiteX324" fmla="*/ 254941 w 668565"/>
                    <a:gd name="connsiteY324" fmla="*/ 386910 h 538211"/>
                    <a:gd name="connsiteX325" fmla="*/ 249950 w 668565"/>
                    <a:gd name="connsiteY325" fmla="*/ 385016 h 538211"/>
                    <a:gd name="connsiteX326" fmla="*/ 219338 w 668565"/>
                    <a:gd name="connsiteY326" fmla="*/ 367737 h 538211"/>
                    <a:gd name="connsiteX327" fmla="*/ 209235 w 668565"/>
                    <a:gd name="connsiteY327" fmla="*/ 359006 h 538211"/>
                    <a:gd name="connsiteX328" fmla="*/ 202690 w 668565"/>
                    <a:gd name="connsiteY328" fmla="*/ 350652 h 538211"/>
                    <a:gd name="connsiteX329" fmla="*/ 199302 w 668565"/>
                    <a:gd name="connsiteY329" fmla="*/ 345139 h 538211"/>
                    <a:gd name="connsiteX330" fmla="*/ 195283 w 668565"/>
                    <a:gd name="connsiteY330" fmla="*/ 336675 h 538211"/>
                    <a:gd name="connsiteX331" fmla="*/ 188507 w 668565"/>
                    <a:gd name="connsiteY331" fmla="*/ 329960 h 538211"/>
                    <a:gd name="connsiteX332" fmla="*/ 170135 w 668565"/>
                    <a:gd name="connsiteY332" fmla="*/ 321836 h 538211"/>
                    <a:gd name="connsiteX333" fmla="*/ 166565 w 668565"/>
                    <a:gd name="connsiteY333" fmla="*/ 318995 h 538211"/>
                    <a:gd name="connsiteX334" fmla="*/ 164852 w 668565"/>
                    <a:gd name="connsiteY334" fmla="*/ 316457 h 538211"/>
                    <a:gd name="connsiteX335" fmla="*/ 159740 w 668565"/>
                    <a:gd name="connsiteY335" fmla="*/ 305116 h 538211"/>
                    <a:gd name="connsiteX336" fmla="*/ 152442 w 668565"/>
                    <a:gd name="connsiteY336" fmla="*/ 295013 h 538211"/>
                    <a:gd name="connsiteX337" fmla="*/ 141538 w 668565"/>
                    <a:gd name="connsiteY337" fmla="*/ 283695 h 538211"/>
                    <a:gd name="connsiteX338" fmla="*/ 139534 w 668565"/>
                    <a:gd name="connsiteY338" fmla="*/ 282433 h 538211"/>
                    <a:gd name="connsiteX339" fmla="*/ 137859 w 668565"/>
                    <a:gd name="connsiteY339" fmla="*/ 282032 h 538211"/>
                    <a:gd name="connsiteX340" fmla="*/ 135054 w 668565"/>
                    <a:gd name="connsiteY340" fmla="*/ 281923 h 538211"/>
                    <a:gd name="connsiteX341" fmla="*/ 132006 w 668565"/>
                    <a:gd name="connsiteY341" fmla="*/ 282663 h 538211"/>
                    <a:gd name="connsiteX342" fmla="*/ 130160 w 668565"/>
                    <a:gd name="connsiteY342" fmla="*/ 283817 h 538211"/>
                    <a:gd name="connsiteX343" fmla="*/ 128727 w 668565"/>
                    <a:gd name="connsiteY343" fmla="*/ 285541 h 538211"/>
                    <a:gd name="connsiteX344" fmla="*/ 127817 w 668565"/>
                    <a:gd name="connsiteY344" fmla="*/ 288237 h 538211"/>
                    <a:gd name="connsiteX345" fmla="*/ 128047 w 668565"/>
                    <a:gd name="connsiteY345" fmla="*/ 293471 h 538211"/>
                    <a:gd name="connsiteX346" fmla="*/ 128849 w 668565"/>
                    <a:gd name="connsiteY346" fmla="*/ 298146 h 538211"/>
                    <a:gd name="connsiteX347" fmla="*/ 134471 w 668565"/>
                    <a:gd name="connsiteY347" fmla="*/ 315486 h 538211"/>
                    <a:gd name="connsiteX348" fmla="*/ 135855 w 668565"/>
                    <a:gd name="connsiteY348" fmla="*/ 324593 h 538211"/>
                    <a:gd name="connsiteX349" fmla="*/ 134179 w 668565"/>
                    <a:gd name="connsiteY349" fmla="*/ 333081 h 538211"/>
                    <a:gd name="connsiteX350" fmla="*/ 127817 w 668565"/>
                    <a:gd name="connsiteY350" fmla="*/ 339577 h 538211"/>
                    <a:gd name="connsiteX351" fmla="*/ 118855 w 668565"/>
                    <a:gd name="connsiteY351" fmla="*/ 343767 h 538211"/>
                    <a:gd name="connsiteX352" fmla="*/ 114544 w 668565"/>
                    <a:gd name="connsiteY352" fmla="*/ 342504 h 538211"/>
                    <a:gd name="connsiteX353" fmla="*/ 112990 w 668565"/>
                    <a:gd name="connsiteY353" fmla="*/ 341812 h 538211"/>
                    <a:gd name="connsiteX354" fmla="*/ 106226 w 668565"/>
                    <a:gd name="connsiteY354" fmla="*/ 336869 h 538211"/>
                    <a:gd name="connsiteX355" fmla="*/ 95480 w 668565"/>
                    <a:gd name="connsiteY355" fmla="*/ 330616 h 538211"/>
                    <a:gd name="connsiteX356" fmla="*/ 92444 w 668565"/>
                    <a:gd name="connsiteY356" fmla="*/ 329462 h 538211"/>
                    <a:gd name="connsiteX357" fmla="*/ 90040 w 668565"/>
                    <a:gd name="connsiteY357" fmla="*/ 329705 h 538211"/>
                    <a:gd name="connsiteX358" fmla="*/ 84284 w 668565"/>
                    <a:gd name="connsiteY358" fmla="*/ 334259 h 538211"/>
                    <a:gd name="connsiteX359" fmla="*/ 67114 w 668565"/>
                    <a:gd name="connsiteY359" fmla="*/ 342674 h 538211"/>
                    <a:gd name="connsiteX360" fmla="*/ 58165 w 668565"/>
                    <a:gd name="connsiteY360" fmla="*/ 325904 h 538211"/>
                    <a:gd name="connsiteX361" fmla="*/ 56780 w 668565"/>
                    <a:gd name="connsiteY361" fmla="*/ 320622 h 538211"/>
                    <a:gd name="connsiteX362" fmla="*/ 55177 w 668565"/>
                    <a:gd name="connsiteY362" fmla="*/ 309997 h 538211"/>
                    <a:gd name="connsiteX363" fmla="*/ 52020 w 668565"/>
                    <a:gd name="connsiteY363" fmla="*/ 301618 h 538211"/>
                    <a:gd name="connsiteX364" fmla="*/ 51267 w 668565"/>
                    <a:gd name="connsiteY364" fmla="*/ 297963 h 538211"/>
                    <a:gd name="connsiteX365" fmla="*/ 51498 w 668565"/>
                    <a:gd name="connsiteY365" fmla="*/ 289378 h 538211"/>
                    <a:gd name="connsiteX366" fmla="*/ 50527 w 668565"/>
                    <a:gd name="connsiteY366" fmla="*/ 281145 h 538211"/>
                    <a:gd name="connsiteX367" fmla="*/ 51158 w 668565"/>
                    <a:gd name="connsiteY367" fmla="*/ 277588 h 538211"/>
                    <a:gd name="connsiteX368" fmla="*/ 59476 w 668565"/>
                    <a:gd name="connsiteY368" fmla="*/ 264813 h 538211"/>
                    <a:gd name="connsiteX369" fmla="*/ 67745 w 668565"/>
                    <a:gd name="connsiteY369" fmla="*/ 245955 h 538211"/>
                    <a:gd name="connsiteX370" fmla="*/ 74181 w 668565"/>
                    <a:gd name="connsiteY370" fmla="*/ 238888 h 538211"/>
                    <a:gd name="connsiteX371" fmla="*/ 83835 w 668565"/>
                    <a:gd name="connsiteY371" fmla="*/ 232100 h 538211"/>
                    <a:gd name="connsiteX372" fmla="*/ 87441 w 668565"/>
                    <a:gd name="connsiteY372" fmla="*/ 228749 h 538211"/>
                    <a:gd name="connsiteX373" fmla="*/ 88595 w 668565"/>
                    <a:gd name="connsiteY373" fmla="*/ 226016 h 538211"/>
                    <a:gd name="connsiteX374" fmla="*/ 85377 w 668565"/>
                    <a:gd name="connsiteY374" fmla="*/ 222726 h 538211"/>
                    <a:gd name="connsiteX375" fmla="*/ 63374 w 668565"/>
                    <a:gd name="connsiteY375" fmla="*/ 212866 h 538211"/>
                    <a:gd name="connsiteX376" fmla="*/ 51960 w 668565"/>
                    <a:gd name="connsiteY376" fmla="*/ 206005 h 538211"/>
                    <a:gd name="connsiteX377" fmla="*/ 35251 w 668565"/>
                    <a:gd name="connsiteY377" fmla="*/ 191737 h 538211"/>
                    <a:gd name="connsiteX378" fmla="*/ 30539 w 668565"/>
                    <a:gd name="connsiteY378" fmla="*/ 190389 h 538211"/>
                    <a:gd name="connsiteX379" fmla="*/ 27273 w 668565"/>
                    <a:gd name="connsiteY379" fmla="*/ 190280 h 538211"/>
                    <a:gd name="connsiteX380" fmla="*/ 20886 w 668565"/>
                    <a:gd name="connsiteY380" fmla="*/ 194214 h 538211"/>
                    <a:gd name="connsiteX381" fmla="*/ 20655 w 668565"/>
                    <a:gd name="connsiteY381" fmla="*/ 194360 h 538211"/>
                    <a:gd name="connsiteX382" fmla="*/ 12155 w 668565"/>
                    <a:gd name="connsiteY382" fmla="*/ 189916 h 538211"/>
                    <a:gd name="connsiteX383" fmla="*/ 7456 w 668565"/>
                    <a:gd name="connsiteY383" fmla="*/ 185568 h 538211"/>
                    <a:gd name="connsiteX384" fmla="*/ 4420 w 668565"/>
                    <a:gd name="connsiteY384" fmla="*/ 185629 h 538211"/>
                    <a:gd name="connsiteX385" fmla="*/ 2684 w 668565"/>
                    <a:gd name="connsiteY385" fmla="*/ 186406 h 538211"/>
                    <a:gd name="connsiteX386" fmla="*/ 1336 w 668565"/>
                    <a:gd name="connsiteY386" fmla="*/ 186686 h 538211"/>
                    <a:gd name="connsiteX387" fmla="*/ 2684 w 668565"/>
                    <a:gd name="connsiteY387" fmla="*/ 186406 h 538211"/>
                    <a:gd name="connsiteX388" fmla="*/ 4420 w 668565"/>
                    <a:gd name="connsiteY388" fmla="*/ 185629 h 538211"/>
                    <a:gd name="connsiteX389" fmla="*/ 7456 w 668565"/>
                    <a:gd name="connsiteY389" fmla="*/ 185568 h 538211"/>
                    <a:gd name="connsiteX390" fmla="*/ 12155 w 668565"/>
                    <a:gd name="connsiteY390" fmla="*/ 189916 h 538211"/>
                    <a:gd name="connsiteX391" fmla="*/ 20667 w 668565"/>
                    <a:gd name="connsiteY391" fmla="*/ 194360 h 538211"/>
                    <a:gd name="connsiteX392" fmla="*/ 20886 w 668565"/>
                    <a:gd name="connsiteY392" fmla="*/ 194214 h 538211"/>
                    <a:gd name="connsiteX393" fmla="*/ 20194 w 668565"/>
                    <a:gd name="connsiteY393" fmla="*/ 192988 h 538211"/>
                    <a:gd name="connsiteX394" fmla="*/ 17619 w 668565"/>
                    <a:gd name="connsiteY394" fmla="*/ 189393 h 538211"/>
                    <a:gd name="connsiteX395" fmla="*/ 17206 w 668565"/>
                    <a:gd name="connsiteY395" fmla="*/ 187645 h 538211"/>
                    <a:gd name="connsiteX396" fmla="*/ 19162 w 668565"/>
                    <a:gd name="connsiteY396" fmla="*/ 184803 h 538211"/>
                    <a:gd name="connsiteX397" fmla="*/ 23302 w 668565"/>
                    <a:gd name="connsiteY397" fmla="*/ 183067 h 538211"/>
                    <a:gd name="connsiteX398" fmla="*/ 28062 w 668565"/>
                    <a:gd name="connsiteY398" fmla="*/ 182253 h 538211"/>
                    <a:gd name="connsiteX399" fmla="*/ 32033 w 668565"/>
                    <a:gd name="connsiteY399" fmla="*/ 182023 h 538211"/>
                    <a:gd name="connsiteX400" fmla="*/ 35870 w 668565"/>
                    <a:gd name="connsiteY400" fmla="*/ 181245 h 538211"/>
                    <a:gd name="connsiteX401" fmla="*/ 40302 w 668565"/>
                    <a:gd name="connsiteY401" fmla="*/ 179351 h 538211"/>
                    <a:gd name="connsiteX402" fmla="*/ 55287 w 668565"/>
                    <a:gd name="connsiteY402" fmla="*/ 170475 h 538211"/>
                    <a:gd name="connsiteX403" fmla="*/ 59646 w 668565"/>
                    <a:gd name="connsiteY403" fmla="*/ 168605 h 538211"/>
                    <a:gd name="connsiteX404" fmla="*/ 61553 w 668565"/>
                    <a:gd name="connsiteY404" fmla="*/ 168398 h 538211"/>
                    <a:gd name="connsiteX405" fmla="*/ 63677 w 668565"/>
                    <a:gd name="connsiteY405" fmla="*/ 165763 h 538211"/>
                    <a:gd name="connsiteX406" fmla="*/ 64078 w 668565"/>
                    <a:gd name="connsiteY406" fmla="*/ 163638 h 538211"/>
                    <a:gd name="connsiteX407" fmla="*/ 64017 w 668565"/>
                    <a:gd name="connsiteY407" fmla="*/ 161829 h 538211"/>
                    <a:gd name="connsiteX408" fmla="*/ 63787 w 668565"/>
                    <a:gd name="connsiteY408" fmla="*/ 160517 h 538211"/>
                    <a:gd name="connsiteX409" fmla="*/ 62864 w 668565"/>
                    <a:gd name="connsiteY409" fmla="*/ 159425 h 538211"/>
                    <a:gd name="connsiteX410" fmla="*/ 60909 w 668565"/>
                    <a:gd name="connsiteY410" fmla="*/ 159036 h 538211"/>
                    <a:gd name="connsiteX411" fmla="*/ 58322 w 668565"/>
                    <a:gd name="connsiteY411" fmla="*/ 158842 h 538211"/>
                    <a:gd name="connsiteX412" fmla="*/ 56258 w 668565"/>
                    <a:gd name="connsiteY412" fmla="*/ 158247 h 538211"/>
                    <a:gd name="connsiteX413" fmla="*/ 54825 w 668565"/>
                    <a:gd name="connsiteY413" fmla="*/ 156486 h 538211"/>
                    <a:gd name="connsiteX414" fmla="*/ 50575 w 668565"/>
                    <a:gd name="connsiteY414" fmla="*/ 149395 h 538211"/>
                    <a:gd name="connsiteX415" fmla="*/ 50927 w 668565"/>
                    <a:gd name="connsiteY415" fmla="*/ 148314 h 538211"/>
                    <a:gd name="connsiteX416" fmla="*/ 54303 w 668565"/>
                    <a:gd name="connsiteY416" fmla="*/ 146128 h 538211"/>
                    <a:gd name="connsiteX417" fmla="*/ 55408 w 668565"/>
                    <a:gd name="connsiteY417" fmla="*/ 144234 h 538211"/>
                    <a:gd name="connsiteX418" fmla="*/ 55736 w 668565"/>
                    <a:gd name="connsiteY418" fmla="*/ 142279 h 538211"/>
                    <a:gd name="connsiteX419" fmla="*/ 54595 w 668565"/>
                    <a:gd name="connsiteY419" fmla="*/ 136972 h 538211"/>
                    <a:gd name="connsiteX420" fmla="*/ 53793 w 668565"/>
                    <a:gd name="connsiteY420" fmla="*/ 135394 h 538211"/>
                    <a:gd name="connsiteX421" fmla="*/ 50745 w 668565"/>
                    <a:gd name="connsiteY421" fmla="*/ 131921 h 538211"/>
                    <a:gd name="connsiteX422" fmla="*/ 50005 w 668565"/>
                    <a:gd name="connsiteY422" fmla="*/ 129395 h 538211"/>
                    <a:gd name="connsiteX423" fmla="*/ 49834 w 668565"/>
                    <a:gd name="connsiteY423" fmla="*/ 124878 h 538211"/>
                    <a:gd name="connsiteX424" fmla="*/ 49021 w 668565"/>
                    <a:gd name="connsiteY424" fmla="*/ 121490 h 538211"/>
                    <a:gd name="connsiteX425" fmla="*/ 43739 w 668565"/>
                    <a:gd name="connsiteY425" fmla="*/ 116645 h 538211"/>
                    <a:gd name="connsiteX426" fmla="*/ 43107 w 668565"/>
                    <a:gd name="connsiteY426" fmla="*/ 113719 h 538211"/>
                    <a:gd name="connsiteX427" fmla="*/ 43508 w 668565"/>
                    <a:gd name="connsiteY427" fmla="*/ 110039 h 538211"/>
                    <a:gd name="connsiteX428" fmla="*/ 47940 w 668565"/>
                    <a:gd name="connsiteY428" fmla="*/ 100762 h 538211"/>
                    <a:gd name="connsiteX429" fmla="*/ 50296 w 668565"/>
                    <a:gd name="connsiteY429" fmla="*/ 93877 h 538211"/>
                    <a:gd name="connsiteX430" fmla="*/ 52178 w 668565"/>
                    <a:gd name="connsiteY430" fmla="*/ 91121 h 538211"/>
                    <a:gd name="connsiteX431" fmla="*/ 53793 w 668565"/>
                    <a:gd name="connsiteY431" fmla="*/ 90951 h 538211"/>
                    <a:gd name="connsiteX432" fmla="*/ 55457 w 668565"/>
                    <a:gd name="connsiteY432" fmla="*/ 92408 h 538211"/>
                    <a:gd name="connsiteX433" fmla="*/ 56319 w 668565"/>
                    <a:gd name="connsiteY433" fmla="*/ 93015 h 538211"/>
                    <a:gd name="connsiteX434" fmla="*/ 58784 w 668565"/>
                    <a:gd name="connsiteY434" fmla="*/ 93039 h 538211"/>
                    <a:gd name="connsiteX435" fmla="*/ 59998 w 668565"/>
                    <a:gd name="connsiteY435" fmla="*/ 88498 h 538211"/>
                    <a:gd name="connsiteX436" fmla="*/ 59877 w 668565"/>
                    <a:gd name="connsiteY436" fmla="*/ 83543 h 538211"/>
                    <a:gd name="connsiteX437" fmla="*/ 59185 w 668565"/>
                    <a:gd name="connsiteY437" fmla="*/ 81297 h 538211"/>
                    <a:gd name="connsiteX438" fmla="*/ 57752 w 668565"/>
                    <a:gd name="connsiteY438" fmla="*/ 79973 h 538211"/>
                    <a:gd name="connsiteX439" fmla="*/ 55857 w 668565"/>
                    <a:gd name="connsiteY439" fmla="*/ 79026 h 538211"/>
                    <a:gd name="connsiteX440" fmla="*/ 54133 w 668565"/>
                    <a:gd name="connsiteY440" fmla="*/ 77302 h 538211"/>
                    <a:gd name="connsiteX441" fmla="*/ 51838 w 668565"/>
                    <a:gd name="connsiteY441" fmla="*/ 73368 h 538211"/>
                    <a:gd name="connsiteX442" fmla="*/ 51790 w 668565"/>
                    <a:gd name="connsiteY442" fmla="*/ 71133 h 538211"/>
                    <a:gd name="connsiteX443" fmla="*/ 53052 w 668565"/>
                    <a:gd name="connsiteY443" fmla="*/ 69980 h 538211"/>
                    <a:gd name="connsiteX444" fmla="*/ 54704 w 668565"/>
                    <a:gd name="connsiteY444" fmla="*/ 70308 h 538211"/>
                    <a:gd name="connsiteX445" fmla="*/ 56598 w 668565"/>
                    <a:gd name="connsiteY445" fmla="*/ 71085 h 538211"/>
                    <a:gd name="connsiteX446" fmla="*/ 58213 w 668565"/>
                    <a:gd name="connsiteY446" fmla="*/ 71085 h 538211"/>
                    <a:gd name="connsiteX447" fmla="*/ 59937 w 668565"/>
                    <a:gd name="connsiteY447" fmla="*/ 70271 h 538211"/>
                    <a:gd name="connsiteX448" fmla="*/ 61613 w 668565"/>
                    <a:gd name="connsiteY448" fmla="*/ 68608 h 538211"/>
                    <a:gd name="connsiteX449" fmla="*/ 62742 w 668565"/>
                    <a:gd name="connsiteY449" fmla="*/ 66143 h 538211"/>
                    <a:gd name="connsiteX450" fmla="*/ 62524 w 668565"/>
                    <a:gd name="connsiteY450" fmla="*/ 64273 h 538211"/>
                    <a:gd name="connsiteX451" fmla="*/ 60448 w 668565"/>
                    <a:gd name="connsiteY451" fmla="*/ 60508 h 538211"/>
                    <a:gd name="connsiteX452" fmla="*/ 60909 w 668565"/>
                    <a:gd name="connsiteY452" fmla="*/ 58444 h 538211"/>
                    <a:gd name="connsiteX453" fmla="*/ 62354 w 668565"/>
                    <a:gd name="connsiteY453" fmla="*/ 56550 h 538211"/>
                    <a:gd name="connsiteX454" fmla="*/ 73550 w 668565"/>
                    <a:gd name="connsiteY454" fmla="*/ 45718 h 538211"/>
                    <a:gd name="connsiteX455" fmla="*/ 79573 w 668565"/>
                    <a:gd name="connsiteY455" fmla="*/ 38457 h 538211"/>
                    <a:gd name="connsiteX456" fmla="*/ 85377 w 668565"/>
                    <a:gd name="connsiteY456" fmla="*/ 32810 h 538211"/>
                    <a:gd name="connsiteX457" fmla="*/ 87672 w 668565"/>
                    <a:gd name="connsiteY457" fmla="*/ 31232 h 538211"/>
                    <a:gd name="connsiteX458" fmla="*/ 89858 w 668565"/>
                    <a:gd name="connsiteY458" fmla="*/ 30539 h 538211"/>
                    <a:gd name="connsiteX459" fmla="*/ 91922 w 668565"/>
                    <a:gd name="connsiteY459" fmla="*/ 30564 h 538211"/>
                    <a:gd name="connsiteX460" fmla="*/ 100422 w 668565"/>
                    <a:gd name="connsiteY460" fmla="*/ 32033 h 538211"/>
                    <a:gd name="connsiteX461" fmla="*/ 103919 w 668565"/>
                    <a:gd name="connsiteY461" fmla="*/ 31863 h 538211"/>
                    <a:gd name="connsiteX462" fmla="*/ 106166 w 668565"/>
                    <a:gd name="connsiteY462" fmla="*/ 31377 h 538211"/>
                    <a:gd name="connsiteX463" fmla="*/ 112018 w 668565"/>
                    <a:gd name="connsiteY463" fmla="*/ 28706 h 538211"/>
                    <a:gd name="connsiteX464" fmla="*/ 120689 w 668565"/>
                    <a:gd name="connsiteY464" fmla="*/ 22695 h 538211"/>
                    <a:gd name="connsiteX465" fmla="*/ 133657 w 668565"/>
                    <a:gd name="connsiteY465" fmla="*/ 15664 h 538211"/>
                    <a:gd name="connsiteX466" fmla="*/ 142728 w 668565"/>
                    <a:gd name="connsiteY466" fmla="*/ 12969 h 538211"/>
                    <a:gd name="connsiteX467" fmla="*/ 152042 w 668565"/>
                    <a:gd name="connsiteY467" fmla="*/ 6934 h 538211"/>
                    <a:gd name="connsiteX468" fmla="*/ 154507 w 668565"/>
                    <a:gd name="connsiteY468" fmla="*/ 6132 h 538211"/>
                    <a:gd name="connsiteX469" fmla="*/ 157433 w 668565"/>
                    <a:gd name="connsiteY469" fmla="*/ 6071 h 538211"/>
                    <a:gd name="connsiteX470" fmla="*/ 157810 w 668565"/>
                    <a:gd name="connsiteY470" fmla="*/ 0 h 538211"/>
                    <a:gd name="connsiteX471" fmla="*/ 157312 w 668565"/>
                    <a:gd name="connsiteY471" fmla="*/ 0 h 538211"/>
                    <a:gd name="connsiteX472" fmla="*/ 154385 w 668565"/>
                    <a:gd name="connsiteY472" fmla="*/ 61 h 538211"/>
                    <a:gd name="connsiteX473" fmla="*/ 153487 w 668565"/>
                    <a:gd name="connsiteY473" fmla="*/ 73 h 538211"/>
                    <a:gd name="connsiteX474" fmla="*/ 152625 w 668565"/>
                    <a:gd name="connsiteY474" fmla="*/ 352 h 538211"/>
                    <a:gd name="connsiteX475" fmla="*/ 150160 w 668565"/>
                    <a:gd name="connsiteY475" fmla="*/ 1154 h 538211"/>
                    <a:gd name="connsiteX476" fmla="*/ 149407 w 668565"/>
                    <a:gd name="connsiteY476" fmla="*/ 1409 h 538211"/>
                    <a:gd name="connsiteX477" fmla="*/ 148739 w 668565"/>
                    <a:gd name="connsiteY477" fmla="*/ 1846 h 538211"/>
                    <a:gd name="connsiteX478" fmla="*/ 140154 w 668565"/>
                    <a:gd name="connsiteY478" fmla="*/ 7407 h 538211"/>
                    <a:gd name="connsiteX479" fmla="*/ 131921 w 668565"/>
                    <a:gd name="connsiteY479" fmla="*/ 9848 h 538211"/>
                    <a:gd name="connsiteX480" fmla="*/ 131314 w 668565"/>
                    <a:gd name="connsiteY480" fmla="*/ 10030 h 538211"/>
                    <a:gd name="connsiteX481" fmla="*/ 130755 w 668565"/>
                    <a:gd name="connsiteY481" fmla="*/ 10334 h 538211"/>
                    <a:gd name="connsiteX482" fmla="*/ 117786 w 668565"/>
                    <a:gd name="connsiteY482" fmla="*/ 17364 h 538211"/>
                    <a:gd name="connsiteX483" fmla="*/ 117495 w 668565"/>
                    <a:gd name="connsiteY483" fmla="*/ 17522 h 538211"/>
                    <a:gd name="connsiteX484" fmla="*/ 117216 w 668565"/>
                    <a:gd name="connsiteY484" fmla="*/ 17717 h 538211"/>
                    <a:gd name="connsiteX485" fmla="*/ 108995 w 668565"/>
                    <a:gd name="connsiteY485" fmla="*/ 23412 h 538211"/>
                    <a:gd name="connsiteX486" fmla="*/ 104223 w 668565"/>
                    <a:gd name="connsiteY486" fmla="*/ 25597 h 538211"/>
                    <a:gd name="connsiteX487" fmla="*/ 103118 w 668565"/>
                    <a:gd name="connsiteY487" fmla="*/ 25840 h 538211"/>
                    <a:gd name="connsiteX488" fmla="*/ 100798 w 668565"/>
                    <a:gd name="connsiteY488" fmla="*/ 25949 h 538211"/>
                    <a:gd name="connsiteX489" fmla="*/ 92954 w 668565"/>
                    <a:gd name="connsiteY489" fmla="*/ 24589 h 538211"/>
                    <a:gd name="connsiteX490" fmla="*/ 92481 w 668565"/>
                    <a:gd name="connsiteY490" fmla="*/ 24504 h 538211"/>
                    <a:gd name="connsiteX491" fmla="*/ 91995 w 668565"/>
                    <a:gd name="connsiteY491" fmla="*/ 24504 h 538211"/>
                    <a:gd name="connsiteX492" fmla="*/ 89930 w 668565"/>
                    <a:gd name="connsiteY492" fmla="*/ 24480 h 538211"/>
                    <a:gd name="connsiteX493" fmla="*/ 88947 w 668565"/>
                    <a:gd name="connsiteY493" fmla="*/ 24468 h 538211"/>
                    <a:gd name="connsiteX494" fmla="*/ 88012 w 668565"/>
                    <a:gd name="connsiteY494" fmla="*/ 24759 h 538211"/>
                    <a:gd name="connsiteX495" fmla="*/ 85826 w 668565"/>
                    <a:gd name="connsiteY495" fmla="*/ 25452 h 538211"/>
                    <a:gd name="connsiteX496" fmla="*/ 84964 w 668565"/>
                    <a:gd name="connsiteY496" fmla="*/ 25719 h 538211"/>
                    <a:gd name="connsiteX497" fmla="*/ 84223 w 668565"/>
                    <a:gd name="connsiteY497" fmla="*/ 26229 h 538211"/>
                    <a:gd name="connsiteX498" fmla="*/ 81928 w 668565"/>
                    <a:gd name="connsiteY498" fmla="*/ 27807 h 538211"/>
                    <a:gd name="connsiteX499" fmla="*/ 81503 w 668565"/>
                    <a:gd name="connsiteY499" fmla="*/ 28099 h 538211"/>
                    <a:gd name="connsiteX500" fmla="*/ 81139 w 668565"/>
                    <a:gd name="connsiteY500" fmla="*/ 28463 h 538211"/>
                    <a:gd name="connsiteX501" fmla="*/ 75335 w 668565"/>
                    <a:gd name="connsiteY501" fmla="*/ 34109 h 538211"/>
                    <a:gd name="connsiteX502" fmla="*/ 75104 w 668565"/>
                    <a:gd name="connsiteY502" fmla="*/ 34340 h 538211"/>
                    <a:gd name="connsiteX503" fmla="*/ 74898 w 668565"/>
                    <a:gd name="connsiteY503" fmla="*/ 34595 h 538211"/>
                    <a:gd name="connsiteX504" fmla="*/ 69081 w 668565"/>
                    <a:gd name="connsiteY504" fmla="*/ 41602 h 538211"/>
                    <a:gd name="connsiteX505" fmla="*/ 58128 w 668565"/>
                    <a:gd name="connsiteY505" fmla="*/ 52202 h 538211"/>
                    <a:gd name="connsiteX506" fmla="*/ 57800 w 668565"/>
                    <a:gd name="connsiteY506" fmla="*/ 52518 h 538211"/>
                    <a:gd name="connsiteX507" fmla="*/ 57521 w 668565"/>
                    <a:gd name="connsiteY507" fmla="*/ 52882 h 538211"/>
                    <a:gd name="connsiteX508" fmla="*/ 56076 w 668565"/>
                    <a:gd name="connsiteY508" fmla="*/ 54777 h 538211"/>
                    <a:gd name="connsiteX509" fmla="*/ 55262 w 668565"/>
                    <a:gd name="connsiteY509" fmla="*/ 55845 h 538211"/>
                    <a:gd name="connsiteX510" fmla="*/ 54971 w 668565"/>
                    <a:gd name="connsiteY510" fmla="*/ 57145 h 538211"/>
                    <a:gd name="connsiteX511" fmla="*/ 54510 w 668565"/>
                    <a:gd name="connsiteY511" fmla="*/ 59209 h 538211"/>
                    <a:gd name="connsiteX512" fmla="*/ 54012 w 668565"/>
                    <a:gd name="connsiteY512" fmla="*/ 61443 h 538211"/>
                    <a:gd name="connsiteX513" fmla="*/ 55117 w 668565"/>
                    <a:gd name="connsiteY513" fmla="*/ 63447 h 538211"/>
                    <a:gd name="connsiteX514" fmla="*/ 55590 w 668565"/>
                    <a:gd name="connsiteY514" fmla="*/ 64309 h 538211"/>
                    <a:gd name="connsiteX515" fmla="*/ 54230 w 668565"/>
                    <a:gd name="connsiteY515" fmla="*/ 64042 h 538211"/>
                    <a:gd name="connsiteX516" fmla="*/ 51207 w 668565"/>
                    <a:gd name="connsiteY516" fmla="*/ 63435 h 538211"/>
                    <a:gd name="connsiteX517" fmla="*/ 48936 w 668565"/>
                    <a:gd name="connsiteY517" fmla="*/ 65511 h 538211"/>
                    <a:gd name="connsiteX518" fmla="*/ 47673 w 668565"/>
                    <a:gd name="connsiteY518" fmla="*/ 66665 h 538211"/>
                    <a:gd name="connsiteX519" fmla="*/ 45633 w 668565"/>
                    <a:gd name="connsiteY519" fmla="*/ 68523 h 538211"/>
                    <a:gd name="connsiteX520" fmla="*/ 45694 w 668565"/>
                    <a:gd name="connsiteY520" fmla="*/ 71291 h 538211"/>
                    <a:gd name="connsiteX521" fmla="*/ 45742 w 668565"/>
                    <a:gd name="connsiteY521" fmla="*/ 73525 h 538211"/>
                    <a:gd name="connsiteX522" fmla="*/ 45779 w 668565"/>
                    <a:gd name="connsiteY522" fmla="*/ 75092 h 538211"/>
                    <a:gd name="connsiteX523" fmla="*/ 46568 w 668565"/>
                    <a:gd name="connsiteY523" fmla="*/ 76440 h 538211"/>
                    <a:gd name="connsiteX524" fmla="*/ 48863 w 668565"/>
                    <a:gd name="connsiteY524" fmla="*/ 80374 h 538211"/>
                    <a:gd name="connsiteX525" fmla="*/ 49252 w 668565"/>
                    <a:gd name="connsiteY525" fmla="*/ 81054 h 538211"/>
                    <a:gd name="connsiteX526" fmla="*/ 49810 w 668565"/>
                    <a:gd name="connsiteY526" fmla="*/ 81601 h 538211"/>
                    <a:gd name="connsiteX527" fmla="*/ 51534 w 668565"/>
                    <a:gd name="connsiteY527" fmla="*/ 83325 h 538211"/>
                    <a:gd name="connsiteX528" fmla="*/ 52227 w 668565"/>
                    <a:gd name="connsiteY528" fmla="*/ 84017 h 538211"/>
                    <a:gd name="connsiteX529" fmla="*/ 53101 w 668565"/>
                    <a:gd name="connsiteY529" fmla="*/ 84454 h 538211"/>
                    <a:gd name="connsiteX530" fmla="*/ 53793 w 668565"/>
                    <a:gd name="connsiteY530" fmla="*/ 84806 h 538211"/>
                    <a:gd name="connsiteX531" fmla="*/ 53793 w 668565"/>
                    <a:gd name="connsiteY531" fmla="*/ 84843 h 538211"/>
                    <a:gd name="connsiteX532" fmla="*/ 53101 w 668565"/>
                    <a:gd name="connsiteY532" fmla="*/ 84916 h 538211"/>
                    <a:gd name="connsiteX533" fmla="*/ 51486 w 668565"/>
                    <a:gd name="connsiteY533" fmla="*/ 85086 h 538211"/>
                    <a:gd name="connsiteX534" fmla="*/ 48705 w 668565"/>
                    <a:gd name="connsiteY534" fmla="*/ 85377 h 538211"/>
                    <a:gd name="connsiteX535" fmla="*/ 47127 w 668565"/>
                    <a:gd name="connsiteY535" fmla="*/ 87696 h 538211"/>
                    <a:gd name="connsiteX536" fmla="*/ 45245 w 668565"/>
                    <a:gd name="connsiteY536" fmla="*/ 90453 h 538211"/>
                    <a:gd name="connsiteX537" fmla="*/ 44783 w 668565"/>
                    <a:gd name="connsiteY537" fmla="*/ 91133 h 538211"/>
                    <a:gd name="connsiteX538" fmla="*/ 44516 w 668565"/>
                    <a:gd name="connsiteY538" fmla="*/ 91910 h 538211"/>
                    <a:gd name="connsiteX539" fmla="*/ 42270 w 668565"/>
                    <a:gd name="connsiteY539" fmla="*/ 98467 h 538211"/>
                    <a:gd name="connsiteX540" fmla="*/ 37995 w 668565"/>
                    <a:gd name="connsiteY540" fmla="*/ 107429 h 538211"/>
                    <a:gd name="connsiteX541" fmla="*/ 37546 w 668565"/>
                    <a:gd name="connsiteY541" fmla="*/ 108364 h 538211"/>
                    <a:gd name="connsiteX542" fmla="*/ 37437 w 668565"/>
                    <a:gd name="connsiteY542" fmla="*/ 109384 h 538211"/>
                    <a:gd name="connsiteX543" fmla="*/ 37036 w 668565"/>
                    <a:gd name="connsiteY543" fmla="*/ 113063 h 538211"/>
                    <a:gd name="connsiteX544" fmla="*/ 36927 w 668565"/>
                    <a:gd name="connsiteY544" fmla="*/ 114046 h 538211"/>
                    <a:gd name="connsiteX545" fmla="*/ 37133 w 668565"/>
                    <a:gd name="connsiteY545" fmla="*/ 115018 h 538211"/>
                    <a:gd name="connsiteX546" fmla="*/ 37765 w 668565"/>
                    <a:gd name="connsiteY546" fmla="*/ 117944 h 538211"/>
                    <a:gd name="connsiteX547" fmla="*/ 38177 w 668565"/>
                    <a:gd name="connsiteY547" fmla="*/ 119826 h 538211"/>
                    <a:gd name="connsiteX548" fmla="*/ 39598 w 668565"/>
                    <a:gd name="connsiteY548" fmla="*/ 121126 h 538211"/>
                    <a:gd name="connsiteX549" fmla="*/ 43508 w 668565"/>
                    <a:gd name="connsiteY549" fmla="*/ 124720 h 538211"/>
                    <a:gd name="connsiteX550" fmla="*/ 43751 w 668565"/>
                    <a:gd name="connsiteY550" fmla="*/ 125716 h 538211"/>
                    <a:gd name="connsiteX551" fmla="*/ 43897 w 668565"/>
                    <a:gd name="connsiteY551" fmla="*/ 129626 h 538211"/>
                    <a:gd name="connsiteX552" fmla="*/ 43921 w 668565"/>
                    <a:gd name="connsiteY552" fmla="*/ 130379 h 538211"/>
                    <a:gd name="connsiteX553" fmla="*/ 44140 w 668565"/>
                    <a:gd name="connsiteY553" fmla="*/ 131107 h 538211"/>
                    <a:gd name="connsiteX554" fmla="*/ 44880 w 668565"/>
                    <a:gd name="connsiteY554" fmla="*/ 133633 h 538211"/>
                    <a:gd name="connsiteX555" fmla="*/ 45257 w 668565"/>
                    <a:gd name="connsiteY555" fmla="*/ 134920 h 538211"/>
                    <a:gd name="connsiteX556" fmla="*/ 46143 w 668565"/>
                    <a:gd name="connsiteY556" fmla="*/ 135928 h 538211"/>
                    <a:gd name="connsiteX557" fmla="*/ 48681 w 668565"/>
                    <a:gd name="connsiteY557" fmla="*/ 138830 h 538211"/>
                    <a:gd name="connsiteX558" fmla="*/ 48778 w 668565"/>
                    <a:gd name="connsiteY558" fmla="*/ 139024 h 538211"/>
                    <a:gd name="connsiteX559" fmla="*/ 49422 w 668565"/>
                    <a:gd name="connsiteY559" fmla="*/ 142036 h 538211"/>
                    <a:gd name="connsiteX560" fmla="*/ 47576 w 668565"/>
                    <a:gd name="connsiteY560" fmla="*/ 143238 h 538211"/>
                    <a:gd name="connsiteX561" fmla="*/ 45767 w 668565"/>
                    <a:gd name="connsiteY561" fmla="*/ 144416 h 538211"/>
                    <a:gd name="connsiteX562" fmla="*/ 45099 w 668565"/>
                    <a:gd name="connsiteY562" fmla="*/ 146456 h 538211"/>
                    <a:gd name="connsiteX563" fmla="*/ 44747 w 668565"/>
                    <a:gd name="connsiteY563" fmla="*/ 147537 h 538211"/>
                    <a:gd name="connsiteX564" fmla="*/ 43897 w 668565"/>
                    <a:gd name="connsiteY564" fmla="*/ 150160 h 538211"/>
                    <a:gd name="connsiteX565" fmla="*/ 45317 w 668565"/>
                    <a:gd name="connsiteY565" fmla="*/ 152527 h 538211"/>
                    <a:gd name="connsiteX566" fmla="*/ 49567 w 668565"/>
                    <a:gd name="connsiteY566" fmla="*/ 159619 h 538211"/>
                    <a:gd name="connsiteX567" fmla="*/ 49798 w 668565"/>
                    <a:gd name="connsiteY567" fmla="*/ 159995 h 538211"/>
                    <a:gd name="connsiteX568" fmla="*/ 50077 w 668565"/>
                    <a:gd name="connsiteY568" fmla="*/ 160335 h 538211"/>
                    <a:gd name="connsiteX569" fmla="*/ 51510 w 668565"/>
                    <a:gd name="connsiteY569" fmla="*/ 162096 h 538211"/>
                    <a:gd name="connsiteX570" fmla="*/ 52712 w 668565"/>
                    <a:gd name="connsiteY570" fmla="*/ 163578 h 538211"/>
                    <a:gd name="connsiteX571" fmla="*/ 54534 w 668565"/>
                    <a:gd name="connsiteY571" fmla="*/ 164100 h 538211"/>
                    <a:gd name="connsiteX572" fmla="*/ 54655 w 668565"/>
                    <a:gd name="connsiteY572" fmla="*/ 164136 h 538211"/>
                    <a:gd name="connsiteX573" fmla="*/ 52846 w 668565"/>
                    <a:gd name="connsiteY573" fmla="*/ 164913 h 538211"/>
                    <a:gd name="connsiteX574" fmla="*/ 52482 w 668565"/>
                    <a:gd name="connsiteY574" fmla="*/ 165071 h 538211"/>
                    <a:gd name="connsiteX575" fmla="*/ 52142 w 668565"/>
                    <a:gd name="connsiteY575" fmla="*/ 165278 h 538211"/>
                    <a:gd name="connsiteX576" fmla="*/ 37497 w 668565"/>
                    <a:gd name="connsiteY576" fmla="*/ 173948 h 538211"/>
                    <a:gd name="connsiteX577" fmla="*/ 34000 w 668565"/>
                    <a:gd name="connsiteY577" fmla="*/ 175441 h 538211"/>
                    <a:gd name="connsiteX578" fmla="*/ 31195 w 668565"/>
                    <a:gd name="connsiteY578" fmla="*/ 176012 h 538211"/>
                    <a:gd name="connsiteX579" fmla="*/ 27649 w 668565"/>
                    <a:gd name="connsiteY579" fmla="*/ 176218 h 538211"/>
                    <a:gd name="connsiteX580" fmla="*/ 27322 w 668565"/>
                    <a:gd name="connsiteY580" fmla="*/ 176230 h 538211"/>
                    <a:gd name="connsiteX581" fmla="*/ 26994 w 668565"/>
                    <a:gd name="connsiteY581" fmla="*/ 176291 h 538211"/>
                    <a:gd name="connsiteX582" fmla="*/ 22234 w 668565"/>
                    <a:gd name="connsiteY582" fmla="*/ 177105 h 538211"/>
                    <a:gd name="connsiteX583" fmla="*/ 21542 w 668565"/>
                    <a:gd name="connsiteY583" fmla="*/ 177214 h 538211"/>
                    <a:gd name="connsiteX584" fmla="*/ 20898 w 668565"/>
                    <a:gd name="connsiteY584" fmla="*/ 177481 h 538211"/>
                    <a:gd name="connsiteX585" fmla="*/ 16757 w 668565"/>
                    <a:gd name="connsiteY585" fmla="*/ 179218 h 538211"/>
                    <a:gd name="connsiteX586" fmla="*/ 15106 w 668565"/>
                    <a:gd name="connsiteY586" fmla="*/ 179910 h 538211"/>
                    <a:gd name="connsiteX587" fmla="*/ 14098 w 668565"/>
                    <a:gd name="connsiteY587" fmla="*/ 181379 h 538211"/>
                    <a:gd name="connsiteX588" fmla="*/ 13199 w 668565"/>
                    <a:gd name="connsiteY588" fmla="*/ 182678 h 538211"/>
                    <a:gd name="connsiteX589" fmla="*/ 11511 w 668565"/>
                    <a:gd name="connsiteY589" fmla="*/ 181124 h 538211"/>
                    <a:gd name="connsiteX590" fmla="*/ 9714 w 668565"/>
                    <a:gd name="connsiteY590" fmla="*/ 179460 h 538211"/>
                    <a:gd name="connsiteX591" fmla="*/ 7274 w 668565"/>
                    <a:gd name="connsiteY591" fmla="*/ 179509 h 538211"/>
                    <a:gd name="connsiteX592" fmla="*/ 4238 w 668565"/>
                    <a:gd name="connsiteY592" fmla="*/ 179570 h 538211"/>
                    <a:gd name="connsiteX593" fmla="*/ 2999 w 668565"/>
                    <a:gd name="connsiteY593" fmla="*/ 179594 h 538211"/>
                    <a:gd name="connsiteX594" fmla="*/ 1870 w 668565"/>
                    <a:gd name="connsiteY594" fmla="*/ 180104 h 538211"/>
                    <a:gd name="connsiteX595" fmla="*/ 716 w 668565"/>
                    <a:gd name="connsiteY595" fmla="*/ 180614 h 538211"/>
                    <a:gd name="connsiteX596" fmla="*/ 0 w 668565"/>
                    <a:gd name="connsiteY596" fmla="*/ 180760 h 538211"/>
                    <a:gd name="connsiteX597" fmla="*/ 2489 w 668565"/>
                    <a:gd name="connsiteY597" fmla="*/ 192648 h 538211"/>
                    <a:gd name="connsiteX598" fmla="*/ 3837 w 668565"/>
                    <a:gd name="connsiteY598" fmla="*/ 192368 h 538211"/>
                    <a:gd name="connsiteX599" fmla="*/ 4493 w 668565"/>
                    <a:gd name="connsiteY599" fmla="*/ 192235 h 538211"/>
                    <a:gd name="connsiteX600" fmla="*/ 5100 w 668565"/>
                    <a:gd name="connsiteY600" fmla="*/ 191968 h 538211"/>
                    <a:gd name="connsiteX601" fmla="*/ 5258 w 668565"/>
                    <a:gd name="connsiteY601" fmla="*/ 191895 h 538211"/>
                    <a:gd name="connsiteX602" fmla="*/ 7966 w 668565"/>
                    <a:gd name="connsiteY602" fmla="*/ 194396 h 538211"/>
                    <a:gd name="connsiteX603" fmla="*/ 8561 w 668565"/>
                    <a:gd name="connsiteY603" fmla="*/ 194943 h 538211"/>
                    <a:gd name="connsiteX604" fmla="*/ 9277 w 668565"/>
                    <a:gd name="connsiteY604" fmla="*/ 195319 h 538211"/>
                    <a:gd name="connsiteX605" fmla="*/ 17777 w 668565"/>
                    <a:gd name="connsiteY605" fmla="*/ 199763 h 538211"/>
                    <a:gd name="connsiteX606" fmla="*/ 20946 w 668565"/>
                    <a:gd name="connsiteY606" fmla="*/ 201427 h 538211"/>
                    <a:gd name="connsiteX607" fmla="*/ 23934 w 668565"/>
                    <a:gd name="connsiteY607" fmla="*/ 199460 h 538211"/>
                    <a:gd name="connsiteX608" fmla="*/ 28839 w 668565"/>
                    <a:gd name="connsiteY608" fmla="*/ 196436 h 538211"/>
                    <a:gd name="connsiteX609" fmla="*/ 29532 w 668565"/>
                    <a:gd name="connsiteY609" fmla="*/ 196461 h 538211"/>
                    <a:gd name="connsiteX610" fmla="*/ 32252 w 668565"/>
                    <a:gd name="connsiteY610" fmla="*/ 197238 h 538211"/>
                    <a:gd name="connsiteX611" fmla="*/ 47965 w 668565"/>
                    <a:gd name="connsiteY611" fmla="*/ 210656 h 538211"/>
                    <a:gd name="connsiteX612" fmla="*/ 48353 w 668565"/>
                    <a:gd name="connsiteY612" fmla="*/ 210984 h 538211"/>
                    <a:gd name="connsiteX613" fmla="*/ 48778 w 668565"/>
                    <a:gd name="connsiteY613" fmla="*/ 211239 h 538211"/>
                    <a:gd name="connsiteX614" fmla="*/ 60193 w 668565"/>
                    <a:gd name="connsiteY614" fmla="*/ 218099 h 538211"/>
                    <a:gd name="connsiteX615" fmla="*/ 60496 w 668565"/>
                    <a:gd name="connsiteY615" fmla="*/ 218281 h 538211"/>
                    <a:gd name="connsiteX616" fmla="*/ 60824 w 668565"/>
                    <a:gd name="connsiteY616" fmla="*/ 218427 h 538211"/>
                    <a:gd name="connsiteX617" fmla="*/ 80228 w 668565"/>
                    <a:gd name="connsiteY617" fmla="*/ 227121 h 538211"/>
                    <a:gd name="connsiteX618" fmla="*/ 79937 w 668565"/>
                    <a:gd name="connsiteY618" fmla="*/ 227389 h 538211"/>
                    <a:gd name="connsiteX619" fmla="*/ 70611 w 668565"/>
                    <a:gd name="connsiteY619" fmla="*/ 233946 h 538211"/>
                    <a:gd name="connsiteX620" fmla="*/ 70065 w 668565"/>
                    <a:gd name="connsiteY620" fmla="*/ 234334 h 538211"/>
                    <a:gd name="connsiteX621" fmla="*/ 69615 w 668565"/>
                    <a:gd name="connsiteY621" fmla="*/ 234832 h 538211"/>
                    <a:gd name="connsiteX622" fmla="*/ 63180 w 668565"/>
                    <a:gd name="connsiteY622" fmla="*/ 241899 h 538211"/>
                    <a:gd name="connsiteX623" fmla="*/ 62512 w 668565"/>
                    <a:gd name="connsiteY623" fmla="*/ 242640 h 538211"/>
                    <a:gd name="connsiteX624" fmla="*/ 62111 w 668565"/>
                    <a:gd name="connsiteY624" fmla="*/ 243551 h 538211"/>
                    <a:gd name="connsiteX625" fmla="*/ 54036 w 668565"/>
                    <a:gd name="connsiteY625" fmla="*/ 261947 h 538211"/>
                    <a:gd name="connsiteX626" fmla="*/ 45985 w 668565"/>
                    <a:gd name="connsiteY626" fmla="*/ 274309 h 538211"/>
                    <a:gd name="connsiteX627" fmla="*/ 45305 w 668565"/>
                    <a:gd name="connsiteY627" fmla="*/ 275341 h 538211"/>
                    <a:gd name="connsiteX628" fmla="*/ 45087 w 668565"/>
                    <a:gd name="connsiteY628" fmla="*/ 276568 h 538211"/>
                    <a:gd name="connsiteX629" fmla="*/ 44455 w 668565"/>
                    <a:gd name="connsiteY629" fmla="*/ 280125 h 538211"/>
                    <a:gd name="connsiteX630" fmla="*/ 44297 w 668565"/>
                    <a:gd name="connsiteY630" fmla="*/ 281000 h 538211"/>
                    <a:gd name="connsiteX631" fmla="*/ 44407 w 668565"/>
                    <a:gd name="connsiteY631" fmla="*/ 281886 h 538211"/>
                    <a:gd name="connsiteX632" fmla="*/ 45330 w 668565"/>
                    <a:gd name="connsiteY632" fmla="*/ 289682 h 538211"/>
                    <a:gd name="connsiteX633" fmla="*/ 45111 w 668565"/>
                    <a:gd name="connsiteY633" fmla="*/ 297818 h 538211"/>
                    <a:gd name="connsiteX634" fmla="*/ 45099 w 668565"/>
                    <a:gd name="connsiteY634" fmla="*/ 298522 h 538211"/>
                    <a:gd name="connsiteX635" fmla="*/ 45245 w 668565"/>
                    <a:gd name="connsiteY635" fmla="*/ 299202 h 538211"/>
                    <a:gd name="connsiteX636" fmla="*/ 45997 w 668565"/>
                    <a:gd name="connsiteY636" fmla="*/ 302869 h 538211"/>
                    <a:gd name="connsiteX637" fmla="*/ 46094 w 668565"/>
                    <a:gd name="connsiteY637" fmla="*/ 303331 h 538211"/>
                    <a:gd name="connsiteX638" fmla="*/ 46265 w 668565"/>
                    <a:gd name="connsiteY638" fmla="*/ 303780 h 538211"/>
                    <a:gd name="connsiteX639" fmla="*/ 49191 w 668565"/>
                    <a:gd name="connsiteY639" fmla="*/ 311563 h 538211"/>
                    <a:gd name="connsiteX640" fmla="*/ 50697 w 668565"/>
                    <a:gd name="connsiteY640" fmla="*/ 321557 h 538211"/>
                    <a:gd name="connsiteX641" fmla="*/ 50745 w 668565"/>
                    <a:gd name="connsiteY641" fmla="*/ 321873 h 538211"/>
                    <a:gd name="connsiteX642" fmla="*/ 50818 w 668565"/>
                    <a:gd name="connsiteY642" fmla="*/ 322176 h 538211"/>
                    <a:gd name="connsiteX643" fmla="*/ 52202 w 668565"/>
                    <a:gd name="connsiteY643" fmla="*/ 327459 h 538211"/>
                    <a:gd name="connsiteX644" fmla="*/ 52385 w 668565"/>
                    <a:gd name="connsiteY644" fmla="*/ 328151 h 538211"/>
                    <a:gd name="connsiteX645" fmla="*/ 52725 w 668565"/>
                    <a:gd name="connsiteY645" fmla="*/ 328782 h 538211"/>
                    <a:gd name="connsiteX646" fmla="*/ 61674 w 668565"/>
                    <a:gd name="connsiteY646" fmla="*/ 345552 h 538211"/>
                    <a:gd name="connsiteX647" fmla="*/ 64430 w 668565"/>
                    <a:gd name="connsiteY647" fmla="*/ 350724 h 538211"/>
                    <a:gd name="connsiteX648" fmla="*/ 69700 w 668565"/>
                    <a:gd name="connsiteY648" fmla="*/ 348150 h 538211"/>
                    <a:gd name="connsiteX649" fmla="*/ 86870 w 668565"/>
                    <a:gd name="connsiteY649" fmla="*/ 339735 h 538211"/>
                    <a:gd name="connsiteX650" fmla="*/ 87453 w 668565"/>
                    <a:gd name="connsiteY650" fmla="*/ 339444 h 538211"/>
                    <a:gd name="connsiteX651" fmla="*/ 87963 w 668565"/>
                    <a:gd name="connsiteY651" fmla="*/ 339043 h 538211"/>
                    <a:gd name="connsiteX652" fmla="*/ 92007 w 668565"/>
                    <a:gd name="connsiteY652" fmla="*/ 335849 h 538211"/>
                    <a:gd name="connsiteX653" fmla="*/ 92772 w 668565"/>
                    <a:gd name="connsiteY653" fmla="*/ 336141 h 538211"/>
                    <a:gd name="connsiteX654" fmla="*/ 102814 w 668565"/>
                    <a:gd name="connsiteY654" fmla="*/ 341981 h 538211"/>
                    <a:gd name="connsiteX655" fmla="*/ 109323 w 668565"/>
                    <a:gd name="connsiteY655" fmla="*/ 346742 h 538211"/>
                    <a:gd name="connsiteX656" fmla="*/ 109845 w 668565"/>
                    <a:gd name="connsiteY656" fmla="*/ 347130 h 538211"/>
                    <a:gd name="connsiteX657" fmla="*/ 110440 w 668565"/>
                    <a:gd name="connsiteY657" fmla="*/ 347385 h 538211"/>
                    <a:gd name="connsiteX658" fmla="*/ 111994 w 668565"/>
                    <a:gd name="connsiteY658" fmla="*/ 348077 h 538211"/>
                    <a:gd name="connsiteX659" fmla="*/ 112358 w 668565"/>
                    <a:gd name="connsiteY659" fmla="*/ 348247 h 538211"/>
                    <a:gd name="connsiteX660" fmla="*/ 112747 w 668565"/>
                    <a:gd name="connsiteY660" fmla="*/ 348357 h 538211"/>
                    <a:gd name="connsiteX661" fmla="*/ 117058 w 668565"/>
                    <a:gd name="connsiteY661" fmla="*/ 349619 h 538211"/>
                    <a:gd name="connsiteX662" fmla="*/ 119256 w 668565"/>
                    <a:gd name="connsiteY662" fmla="*/ 350263 h 538211"/>
                    <a:gd name="connsiteX663" fmla="*/ 121332 w 668565"/>
                    <a:gd name="connsiteY663" fmla="*/ 349292 h 538211"/>
                    <a:gd name="connsiteX664" fmla="*/ 130281 w 668565"/>
                    <a:gd name="connsiteY664" fmla="*/ 345102 h 538211"/>
                    <a:gd name="connsiteX665" fmla="*/ 131289 w 668565"/>
                    <a:gd name="connsiteY665" fmla="*/ 344629 h 538211"/>
                    <a:gd name="connsiteX666" fmla="*/ 132054 w 668565"/>
                    <a:gd name="connsiteY666" fmla="*/ 343839 h 538211"/>
                    <a:gd name="connsiteX667" fmla="*/ 138417 w 668565"/>
                    <a:gd name="connsiteY667" fmla="*/ 337343 h 538211"/>
                    <a:gd name="connsiteX668" fmla="*/ 139680 w 668565"/>
                    <a:gd name="connsiteY668" fmla="*/ 336056 h 538211"/>
                    <a:gd name="connsiteX669" fmla="*/ 140032 w 668565"/>
                    <a:gd name="connsiteY669" fmla="*/ 334283 h 538211"/>
                    <a:gd name="connsiteX670" fmla="*/ 141708 w 668565"/>
                    <a:gd name="connsiteY670" fmla="*/ 325795 h 538211"/>
                    <a:gd name="connsiteX671" fmla="*/ 141914 w 668565"/>
                    <a:gd name="connsiteY671" fmla="*/ 324751 h 538211"/>
                    <a:gd name="connsiteX672" fmla="*/ 141757 w 668565"/>
                    <a:gd name="connsiteY672" fmla="*/ 323706 h 538211"/>
                    <a:gd name="connsiteX673" fmla="*/ 140372 w 668565"/>
                    <a:gd name="connsiteY673" fmla="*/ 314599 h 538211"/>
                    <a:gd name="connsiteX674" fmla="*/ 140300 w 668565"/>
                    <a:gd name="connsiteY674" fmla="*/ 314113 h 538211"/>
                    <a:gd name="connsiteX675" fmla="*/ 140142 w 668565"/>
                    <a:gd name="connsiteY675" fmla="*/ 313640 h 538211"/>
                    <a:gd name="connsiteX676" fmla="*/ 134653 w 668565"/>
                    <a:gd name="connsiteY676" fmla="*/ 296713 h 538211"/>
                    <a:gd name="connsiteX677" fmla="*/ 133985 w 668565"/>
                    <a:gd name="connsiteY677" fmla="*/ 292851 h 538211"/>
                    <a:gd name="connsiteX678" fmla="*/ 133815 w 668565"/>
                    <a:gd name="connsiteY678" fmla="*/ 289123 h 538211"/>
                    <a:gd name="connsiteX679" fmla="*/ 134009 w 668565"/>
                    <a:gd name="connsiteY679" fmla="*/ 288577 h 538211"/>
                    <a:gd name="connsiteX680" fmla="*/ 134094 w 668565"/>
                    <a:gd name="connsiteY680" fmla="*/ 288468 h 538211"/>
                    <a:gd name="connsiteX681" fmla="*/ 134277 w 668565"/>
                    <a:gd name="connsiteY681" fmla="*/ 288346 h 538211"/>
                    <a:gd name="connsiteX682" fmla="*/ 135552 w 668565"/>
                    <a:gd name="connsiteY682" fmla="*/ 288043 h 538211"/>
                    <a:gd name="connsiteX683" fmla="*/ 136912 w 668565"/>
                    <a:gd name="connsiteY683" fmla="*/ 288091 h 538211"/>
                    <a:gd name="connsiteX684" fmla="*/ 137033 w 668565"/>
                    <a:gd name="connsiteY684" fmla="*/ 288115 h 538211"/>
                    <a:gd name="connsiteX685" fmla="*/ 137567 w 668565"/>
                    <a:gd name="connsiteY685" fmla="*/ 288455 h 538211"/>
                    <a:gd name="connsiteX686" fmla="*/ 147658 w 668565"/>
                    <a:gd name="connsiteY686" fmla="*/ 298935 h 538211"/>
                    <a:gd name="connsiteX687" fmla="*/ 154349 w 668565"/>
                    <a:gd name="connsiteY687" fmla="*/ 308188 h 538211"/>
                    <a:gd name="connsiteX688" fmla="*/ 159206 w 668565"/>
                    <a:gd name="connsiteY688" fmla="*/ 318971 h 538211"/>
                    <a:gd name="connsiteX689" fmla="*/ 159425 w 668565"/>
                    <a:gd name="connsiteY689" fmla="*/ 319444 h 538211"/>
                    <a:gd name="connsiteX690" fmla="*/ 159704 w 668565"/>
                    <a:gd name="connsiteY690" fmla="*/ 319869 h 538211"/>
                    <a:gd name="connsiteX691" fmla="*/ 161416 w 668565"/>
                    <a:gd name="connsiteY691" fmla="*/ 322407 h 538211"/>
                    <a:gd name="connsiteX692" fmla="*/ 161938 w 668565"/>
                    <a:gd name="connsiteY692" fmla="*/ 323184 h 538211"/>
                    <a:gd name="connsiteX693" fmla="*/ 162679 w 668565"/>
                    <a:gd name="connsiteY693" fmla="*/ 323767 h 538211"/>
                    <a:gd name="connsiteX694" fmla="*/ 166249 w 668565"/>
                    <a:gd name="connsiteY694" fmla="*/ 326609 h 538211"/>
                    <a:gd name="connsiteX695" fmla="*/ 166856 w 668565"/>
                    <a:gd name="connsiteY695" fmla="*/ 327094 h 538211"/>
                    <a:gd name="connsiteX696" fmla="*/ 167572 w 668565"/>
                    <a:gd name="connsiteY696" fmla="*/ 327410 h 538211"/>
                    <a:gd name="connsiteX697" fmla="*/ 184913 w 668565"/>
                    <a:gd name="connsiteY697" fmla="*/ 335072 h 538211"/>
                    <a:gd name="connsiteX698" fmla="*/ 190146 w 668565"/>
                    <a:gd name="connsiteY698" fmla="*/ 340245 h 538211"/>
                    <a:gd name="connsiteX699" fmla="*/ 193704 w 668565"/>
                    <a:gd name="connsiteY699" fmla="*/ 347749 h 538211"/>
                    <a:gd name="connsiteX700" fmla="*/ 193850 w 668565"/>
                    <a:gd name="connsiteY700" fmla="*/ 348041 h 538211"/>
                    <a:gd name="connsiteX701" fmla="*/ 194020 w 668565"/>
                    <a:gd name="connsiteY701" fmla="*/ 348320 h 538211"/>
                    <a:gd name="connsiteX702" fmla="*/ 197408 w 668565"/>
                    <a:gd name="connsiteY702" fmla="*/ 353833 h 538211"/>
                    <a:gd name="connsiteX703" fmla="*/ 197590 w 668565"/>
                    <a:gd name="connsiteY703" fmla="*/ 354124 h 538211"/>
                    <a:gd name="connsiteX704" fmla="*/ 197808 w 668565"/>
                    <a:gd name="connsiteY704" fmla="*/ 354392 h 538211"/>
                    <a:gd name="connsiteX705" fmla="*/ 204353 w 668565"/>
                    <a:gd name="connsiteY705" fmla="*/ 362746 h 538211"/>
                    <a:gd name="connsiteX706" fmla="*/ 204718 w 668565"/>
                    <a:gd name="connsiteY706" fmla="*/ 363207 h 538211"/>
                    <a:gd name="connsiteX707" fmla="*/ 205167 w 668565"/>
                    <a:gd name="connsiteY707" fmla="*/ 363596 h 538211"/>
                    <a:gd name="connsiteX708" fmla="*/ 215270 w 668565"/>
                    <a:gd name="connsiteY708" fmla="*/ 372327 h 538211"/>
                    <a:gd name="connsiteX709" fmla="*/ 215731 w 668565"/>
                    <a:gd name="connsiteY709" fmla="*/ 372727 h 538211"/>
                    <a:gd name="connsiteX710" fmla="*/ 216253 w 668565"/>
                    <a:gd name="connsiteY710" fmla="*/ 373019 h 538211"/>
                    <a:gd name="connsiteX711" fmla="*/ 246866 w 668565"/>
                    <a:gd name="connsiteY711" fmla="*/ 390298 h 538211"/>
                    <a:gd name="connsiteX712" fmla="*/ 247267 w 668565"/>
                    <a:gd name="connsiteY712" fmla="*/ 390529 h 538211"/>
                    <a:gd name="connsiteX713" fmla="*/ 247692 w 668565"/>
                    <a:gd name="connsiteY713" fmla="*/ 390687 h 538211"/>
                    <a:gd name="connsiteX714" fmla="*/ 252682 w 668565"/>
                    <a:gd name="connsiteY714" fmla="*/ 392581 h 538211"/>
                    <a:gd name="connsiteX715" fmla="*/ 253156 w 668565"/>
                    <a:gd name="connsiteY715" fmla="*/ 392763 h 538211"/>
                    <a:gd name="connsiteX716" fmla="*/ 253666 w 668565"/>
                    <a:gd name="connsiteY716" fmla="*/ 392860 h 538211"/>
                    <a:gd name="connsiteX717" fmla="*/ 263490 w 668565"/>
                    <a:gd name="connsiteY717" fmla="*/ 394815 h 538211"/>
                    <a:gd name="connsiteX718" fmla="*/ 257102 w 668565"/>
                    <a:gd name="connsiteY718" fmla="*/ 400511 h 538211"/>
                    <a:gd name="connsiteX719" fmla="*/ 256714 w 668565"/>
                    <a:gd name="connsiteY719" fmla="*/ 400365 h 538211"/>
                    <a:gd name="connsiteX720" fmla="*/ 255524 w 668565"/>
                    <a:gd name="connsiteY720" fmla="*/ 399915 h 538211"/>
                    <a:gd name="connsiteX721" fmla="*/ 253508 w 668565"/>
                    <a:gd name="connsiteY721" fmla="*/ 399163 h 538211"/>
                    <a:gd name="connsiteX722" fmla="*/ 251468 w 668565"/>
                    <a:gd name="connsiteY722" fmla="*/ 399843 h 538211"/>
                    <a:gd name="connsiteX723" fmla="*/ 249853 w 668565"/>
                    <a:gd name="connsiteY723" fmla="*/ 400377 h 538211"/>
                    <a:gd name="connsiteX724" fmla="*/ 248165 w 668565"/>
                    <a:gd name="connsiteY724" fmla="*/ 400936 h 538211"/>
                    <a:gd name="connsiteX725" fmla="*/ 247048 w 668565"/>
                    <a:gd name="connsiteY725" fmla="*/ 402320 h 538211"/>
                    <a:gd name="connsiteX726" fmla="*/ 245773 w 668565"/>
                    <a:gd name="connsiteY726" fmla="*/ 403898 h 538211"/>
                    <a:gd name="connsiteX727" fmla="*/ 245433 w 668565"/>
                    <a:gd name="connsiteY727" fmla="*/ 404323 h 538211"/>
                    <a:gd name="connsiteX728" fmla="*/ 245178 w 668565"/>
                    <a:gd name="connsiteY728" fmla="*/ 404797 h 538211"/>
                    <a:gd name="connsiteX729" fmla="*/ 244996 w 668565"/>
                    <a:gd name="connsiteY729" fmla="*/ 405125 h 538211"/>
                    <a:gd name="connsiteX730" fmla="*/ 243988 w 668565"/>
                    <a:gd name="connsiteY730" fmla="*/ 404651 h 538211"/>
                    <a:gd name="connsiteX731" fmla="*/ 241863 w 668565"/>
                    <a:gd name="connsiteY731" fmla="*/ 403668 h 538211"/>
                    <a:gd name="connsiteX732" fmla="*/ 239629 w 668565"/>
                    <a:gd name="connsiteY732" fmla="*/ 404360 h 538211"/>
                    <a:gd name="connsiteX733" fmla="*/ 238657 w 668565"/>
                    <a:gd name="connsiteY733" fmla="*/ 404663 h 538211"/>
                    <a:gd name="connsiteX734" fmla="*/ 237564 w 668565"/>
                    <a:gd name="connsiteY734" fmla="*/ 405003 h 538211"/>
                    <a:gd name="connsiteX735" fmla="*/ 236666 w 668565"/>
                    <a:gd name="connsiteY735" fmla="*/ 405720 h 538211"/>
                    <a:gd name="connsiteX736" fmla="*/ 236520 w 668565"/>
                    <a:gd name="connsiteY736" fmla="*/ 405841 h 538211"/>
                    <a:gd name="connsiteX737" fmla="*/ 234480 w 668565"/>
                    <a:gd name="connsiteY737" fmla="*/ 406278 h 538211"/>
                    <a:gd name="connsiteX738" fmla="*/ 232950 w 668565"/>
                    <a:gd name="connsiteY738" fmla="*/ 406606 h 538211"/>
                    <a:gd name="connsiteX739" fmla="*/ 231772 w 668565"/>
                    <a:gd name="connsiteY739" fmla="*/ 407626 h 538211"/>
                    <a:gd name="connsiteX740" fmla="*/ 230837 w 668565"/>
                    <a:gd name="connsiteY740" fmla="*/ 408440 h 538211"/>
                    <a:gd name="connsiteX741" fmla="*/ 229234 w 668565"/>
                    <a:gd name="connsiteY741" fmla="*/ 409836 h 538211"/>
                    <a:gd name="connsiteX742" fmla="*/ 228858 w 668565"/>
                    <a:gd name="connsiteY742" fmla="*/ 411925 h 538211"/>
                    <a:gd name="connsiteX743" fmla="*/ 228639 w 668565"/>
                    <a:gd name="connsiteY743" fmla="*/ 413127 h 538211"/>
                    <a:gd name="connsiteX744" fmla="*/ 228567 w 668565"/>
                    <a:gd name="connsiteY744" fmla="*/ 413491 h 538211"/>
                    <a:gd name="connsiteX745" fmla="*/ 228093 w 668565"/>
                    <a:gd name="connsiteY745" fmla="*/ 414111 h 538211"/>
                    <a:gd name="connsiteX746" fmla="*/ 224863 w 668565"/>
                    <a:gd name="connsiteY746" fmla="*/ 418385 h 538211"/>
                    <a:gd name="connsiteX747" fmla="*/ 228348 w 668565"/>
                    <a:gd name="connsiteY747" fmla="*/ 422586 h 538211"/>
                    <a:gd name="connsiteX748" fmla="*/ 229732 w 668565"/>
                    <a:gd name="connsiteY748" fmla="*/ 423934 h 538211"/>
                    <a:gd name="connsiteX749" fmla="*/ 230388 w 668565"/>
                    <a:gd name="connsiteY749" fmla="*/ 424578 h 538211"/>
                    <a:gd name="connsiteX750" fmla="*/ 231201 w 668565"/>
                    <a:gd name="connsiteY750" fmla="*/ 424991 h 538211"/>
                    <a:gd name="connsiteX751" fmla="*/ 257685 w 668565"/>
                    <a:gd name="connsiteY751" fmla="*/ 438567 h 538211"/>
                    <a:gd name="connsiteX752" fmla="*/ 259835 w 668565"/>
                    <a:gd name="connsiteY752" fmla="*/ 440934 h 538211"/>
                    <a:gd name="connsiteX753" fmla="*/ 261607 w 668565"/>
                    <a:gd name="connsiteY753" fmla="*/ 443922 h 538211"/>
                    <a:gd name="connsiteX754" fmla="*/ 262494 w 668565"/>
                    <a:gd name="connsiteY754" fmla="*/ 446593 h 538211"/>
                    <a:gd name="connsiteX755" fmla="*/ 264036 w 668565"/>
                    <a:gd name="connsiteY755" fmla="*/ 456951 h 538211"/>
                    <a:gd name="connsiteX756" fmla="*/ 265408 w 668565"/>
                    <a:gd name="connsiteY756" fmla="*/ 466192 h 538211"/>
                    <a:gd name="connsiteX757" fmla="*/ 273289 w 668565"/>
                    <a:gd name="connsiteY757" fmla="*/ 461189 h 538211"/>
                    <a:gd name="connsiteX758" fmla="*/ 279360 w 668565"/>
                    <a:gd name="connsiteY758" fmla="*/ 457327 h 538211"/>
                    <a:gd name="connsiteX759" fmla="*/ 290253 w 668565"/>
                    <a:gd name="connsiteY759" fmla="*/ 454510 h 538211"/>
                    <a:gd name="connsiteX760" fmla="*/ 291018 w 668565"/>
                    <a:gd name="connsiteY760" fmla="*/ 454316 h 538211"/>
                    <a:gd name="connsiteX761" fmla="*/ 291710 w 668565"/>
                    <a:gd name="connsiteY761" fmla="*/ 453927 h 538211"/>
                    <a:gd name="connsiteX762" fmla="*/ 294515 w 668565"/>
                    <a:gd name="connsiteY762" fmla="*/ 452349 h 538211"/>
                    <a:gd name="connsiteX763" fmla="*/ 306925 w 668565"/>
                    <a:gd name="connsiteY763" fmla="*/ 458967 h 538211"/>
                    <a:gd name="connsiteX764" fmla="*/ 306961 w 668565"/>
                    <a:gd name="connsiteY764" fmla="*/ 459015 h 538211"/>
                    <a:gd name="connsiteX765" fmla="*/ 307022 w 668565"/>
                    <a:gd name="connsiteY765" fmla="*/ 460120 h 538211"/>
                    <a:gd name="connsiteX766" fmla="*/ 307034 w 668565"/>
                    <a:gd name="connsiteY766" fmla="*/ 460460 h 538211"/>
                    <a:gd name="connsiteX767" fmla="*/ 307083 w 668565"/>
                    <a:gd name="connsiteY767" fmla="*/ 460788 h 538211"/>
                    <a:gd name="connsiteX768" fmla="*/ 307411 w 668565"/>
                    <a:gd name="connsiteY768" fmla="*/ 462719 h 538211"/>
                    <a:gd name="connsiteX769" fmla="*/ 307641 w 668565"/>
                    <a:gd name="connsiteY769" fmla="*/ 464091 h 538211"/>
                    <a:gd name="connsiteX770" fmla="*/ 308443 w 668565"/>
                    <a:gd name="connsiteY770" fmla="*/ 465220 h 538211"/>
                    <a:gd name="connsiteX771" fmla="*/ 310288 w 668565"/>
                    <a:gd name="connsiteY771" fmla="*/ 467831 h 538211"/>
                    <a:gd name="connsiteX772" fmla="*/ 310604 w 668565"/>
                    <a:gd name="connsiteY772" fmla="*/ 468292 h 538211"/>
                    <a:gd name="connsiteX773" fmla="*/ 311005 w 668565"/>
                    <a:gd name="connsiteY773" fmla="*/ 468681 h 538211"/>
                    <a:gd name="connsiteX774" fmla="*/ 313931 w 668565"/>
                    <a:gd name="connsiteY774" fmla="*/ 471522 h 538211"/>
                    <a:gd name="connsiteX775" fmla="*/ 314296 w 668565"/>
                    <a:gd name="connsiteY775" fmla="*/ 471875 h 538211"/>
                    <a:gd name="connsiteX776" fmla="*/ 314721 w 668565"/>
                    <a:gd name="connsiteY776" fmla="*/ 472166 h 538211"/>
                    <a:gd name="connsiteX777" fmla="*/ 338327 w 668565"/>
                    <a:gd name="connsiteY777" fmla="*/ 488425 h 538211"/>
                    <a:gd name="connsiteX778" fmla="*/ 339055 w 668565"/>
                    <a:gd name="connsiteY778" fmla="*/ 488935 h 538211"/>
                    <a:gd name="connsiteX779" fmla="*/ 339905 w 668565"/>
                    <a:gd name="connsiteY779" fmla="*/ 489203 h 538211"/>
                    <a:gd name="connsiteX780" fmla="*/ 344325 w 668565"/>
                    <a:gd name="connsiteY780" fmla="*/ 490635 h 538211"/>
                    <a:gd name="connsiteX781" fmla="*/ 345005 w 668565"/>
                    <a:gd name="connsiteY781" fmla="*/ 490854 h 538211"/>
                    <a:gd name="connsiteX782" fmla="*/ 345722 w 668565"/>
                    <a:gd name="connsiteY782" fmla="*/ 490915 h 538211"/>
                    <a:gd name="connsiteX783" fmla="*/ 349571 w 668565"/>
                    <a:gd name="connsiteY783" fmla="*/ 491218 h 538211"/>
                    <a:gd name="connsiteX784" fmla="*/ 350591 w 668565"/>
                    <a:gd name="connsiteY784" fmla="*/ 491291 h 538211"/>
                    <a:gd name="connsiteX785" fmla="*/ 351587 w 668565"/>
                    <a:gd name="connsiteY785" fmla="*/ 491036 h 538211"/>
                    <a:gd name="connsiteX786" fmla="*/ 353675 w 668565"/>
                    <a:gd name="connsiteY786" fmla="*/ 490490 h 538211"/>
                    <a:gd name="connsiteX787" fmla="*/ 353967 w 668565"/>
                    <a:gd name="connsiteY787" fmla="*/ 490878 h 538211"/>
                    <a:gd name="connsiteX788" fmla="*/ 354331 w 668565"/>
                    <a:gd name="connsiteY788" fmla="*/ 491230 h 538211"/>
                    <a:gd name="connsiteX789" fmla="*/ 357002 w 668565"/>
                    <a:gd name="connsiteY789" fmla="*/ 493817 h 538211"/>
                    <a:gd name="connsiteX790" fmla="*/ 358168 w 668565"/>
                    <a:gd name="connsiteY790" fmla="*/ 495213 h 538211"/>
                    <a:gd name="connsiteX791" fmla="*/ 358727 w 668565"/>
                    <a:gd name="connsiteY791" fmla="*/ 496088 h 538211"/>
                    <a:gd name="connsiteX792" fmla="*/ 361082 w 668565"/>
                    <a:gd name="connsiteY792" fmla="*/ 504454 h 538211"/>
                    <a:gd name="connsiteX793" fmla="*/ 361204 w 668565"/>
                    <a:gd name="connsiteY793" fmla="*/ 504891 h 538211"/>
                    <a:gd name="connsiteX794" fmla="*/ 361398 w 668565"/>
                    <a:gd name="connsiteY794" fmla="*/ 505304 h 538211"/>
                    <a:gd name="connsiteX795" fmla="*/ 363863 w 668565"/>
                    <a:gd name="connsiteY795" fmla="*/ 510768 h 538211"/>
                    <a:gd name="connsiteX796" fmla="*/ 366207 w 668565"/>
                    <a:gd name="connsiteY796" fmla="*/ 515978 h 538211"/>
                    <a:gd name="connsiteX797" fmla="*/ 371550 w 668565"/>
                    <a:gd name="connsiteY797" fmla="*/ 513950 h 538211"/>
                    <a:gd name="connsiteX798" fmla="*/ 386072 w 668565"/>
                    <a:gd name="connsiteY798" fmla="*/ 508425 h 538211"/>
                    <a:gd name="connsiteX799" fmla="*/ 389339 w 668565"/>
                    <a:gd name="connsiteY799" fmla="*/ 508352 h 538211"/>
                    <a:gd name="connsiteX800" fmla="*/ 389558 w 668565"/>
                    <a:gd name="connsiteY800" fmla="*/ 508813 h 538211"/>
                    <a:gd name="connsiteX801" fmla="*/ 389764 w 668565"/>
                    <a:gd name="connsiteY801" fmla="*/ 509251 h 538211"/>
                    <a:gd name="connsiteX802" fmla="*/ 390031 w 668565"/>
                    <a:gd name="connsiteY802" fmla="*/ 509651 h 538211"/>
                    <a:gd name="connsiteX803" fmla="*/ 391464 w 668565"/>
                    <a:gd name="connsiteY803" fmla="*/ 511776 h 538211"/>
                    <a:gd name="connsiteX804" fmla="*/ 393261 w 668565"/>
                    <a:gd name="connsiteY804" fmla="*/ 514448 h 538211"/>
                    <a:gd name="connsiteX805" fmla="*/ 396491 w 668565"/>
                    <a:gd name="connsiteY805" fmla="*/ 514448 h 538211"/>
                    <a:gd name="connsiteX806" fmla="*/ 398726 w 668565"/>
                    <a:gd name="connsiteY806" fmla="*/ 514448 h 538211"/>
                    <a:gd name="connsiteX807" fmla="*/ 399806 w 668565"/>
                    <a:gd name="connsiteY807" fmla="*/ 514448 h 538211"/>
                    <a:gd name="connsiteX808" fmla="*/ 400814 w 668565"/>
                    <a:gd name="connsiteY808" fmla="*/ 514071 h 538211"/>
                    <a:gd name="connsiteX809" fmla="*/ 403121 w 668565"/>
                    <a:gd name="connsiteY809" fmla="*/ 513221 h 538211"/>
                    <a:gd name="connsiteX810" fmla="*/ 403510 w 668565"/>
                    <a:gd name="connsiteY810" fmla="*/ 513075 h 538211"/>
                    <a:gd name="connsiteX811" fmla="*/ 403874 w 668565"/>
                    <a:gd name="connsiteY811" fmla="*/ 512881 h 538211"/>
                    <a:gd name="connsiteX812" fmla="*/ 405768 w 668565"/>
                    <a:gd name="connsiteY812" fmla="*/ 511873 h 538211"/>
                    <a:gd name="connsiteX813" fmla="*/ 416090 w 668565"/>
                    <a:gd name="connsiteY813" fmla="*/ 514035 h 538211"/>
                    <a:gd name="connsiteX814" fmla="*/ 417741 w 668565"/>
                    <a:gd name="connsiteY814" fmla="*/ 514387 h 538211"/>
                    <a:gd name="connsiteX815" fmla="*/ 419332 w 668565"/>
                    <a:gd name="connsiteY815" fmla="*/ 513828 h 538211"/>
                    <a:gd name="connsiteX816" fmla="*/ 424274 w 668565"/>
                    <a:gd name="connsiteY816" fmla="*/ 512104 h 538211"/>
                    <a:gd name="connsiteX817" fmla="*/ 426763 w 668565"/>
                    <a:gd name="connsiteY817" fmla="*/ 511230 h 538211"/>
                    <a:gd name="connsiteX818" fmla="*/ 427832 w 668565"/>
                    <a:gd name="connsiteY818" fmla="*/ 508826 h 538211"/>
                    <a:gd name="connsiteX819" fmla="*/ 428512 w 668565"/>
                    <a:gd name="connsiteY819" fmla="*/ 507295 h 538211"/>
                    <a:gd name="connsiteX820" fmla="*/ 428548 w 668565"/>
                    <a:gd name="connsiteY820" fmla="*/ 507223 h 538211"/>
                    <a:gd name="connsiteX821" fmla="*/ 428767 w 668565"/>
                    <a:gd name="connsiteY821" fmla="*/ 507223 h 538211"/>
                    <a:gd name="connsiteX822" fmla="*/ 436429 w 668565"/>
                    <a:gd name="connsiteY822" fmla="*/ 508486 h 538211"/>
                    <a:gd name="connsiteX823" fmla="*/ 436939 w 668565"/>
                    <a:gd name="connsiteY823" fmla="*/ 508789 h 538211"/>
                    <a:gd name="connsiteX824" fmla="*/ 436004 w 668565"/>
                    <a:gd name="connsiteY824" fmla="*/ 510951 h 538211"/>
                    <a:gd name="connsiteX825" fmla="*/ 435567 w 668565"/>
                    <a:gd name="connsiteY825" fmla="*/ 511958 h 538211"/>
                    <a:gd name="connsiteX826" fmla="*/ 435506 w 668565"/>
                    <a:gd name="connsiteY826" fmla="*/ 513039 h 538211"/>
                    <a:gd name="connsiteX827" fmla="*/ 435397 w 668565"/>
                    <a:gd name="connsiteY827" fmla="*/ 515079 h 538211"/>
                    <a:gd name="connsiteX828" fmla="*/ 435300 w 668565"/>
                    <a:gd name="connsiteY828" fmla="*/ 517046 h 538211"/>
                    <a:gd name="connsiteX829" fmla="*/ 436356 w 668565"/>
                    <a:gd name="connsiteY829" fmla="*/ 518698 h 538211"/>
                    <a:gd name="connsiteX830" fmla="*/ 437510 w 668565"/>
                    <a:gd name="connsiteY830" fmla="*/ 520483 h 538211"/>
                    <a:gd name="connsiteX831" fmla="*/ 439089 w 668565"/>
                    <a:gd name="connsiteY831" fmla="*/ 522923 h 538211"/>
                    <a:gd name="connsiteX832" fmla="*/ 441966 w 668565"/>
                    <a:gd name="connsiteY832" fmla="*/ 523227 h 538211"/>
                    <a:gd name="connsiteX833" fmla="*/ 443909 w 668565"/>
                    <a:gd name="connsiteY833" fmla="*/ 523434 h 538211"/>
                    <a:gd name="connsiteX834" fmla="*/ 445451 w 668565"/>
                    <a:gd name="connsiteY834" fmla="*/ 523603 h 538211"/>
                    <a:gd name="connsiteX835" fmla="*/ 446884 w 668565"/>
                    <a:gd name="connsiteY835" fmla="*/ 523008 h 538211"/>
                    <a:gd name="connsiteX836" fmla="*/ 446909 w 668565"/>
                    <a:gd name="connsiteY836" fmla="*/ 523008 h 538211"/>
                    <a:gd name="connsiteX837" fmla="*/ 446848 w 668565"/>
                    <a:gd name="connsiteY837" fmla="*/ 523652 h 538211"/>
                    <a:gd name="connsiteX838" fmla="*/ 448208 w 668565"/>
                    <a:gd name="connsiteY838" fmla="*/ 525522 h 538211"/>
                    <a:gd name="connsiteX839" fmla="*/ 449301 w 668565"/>
                    <a:gd name="connsiteY839" fmla="*/ 527016 h 538211"/>
                    <a:gd name="connsiteX840" fmla="*/ 451316 w 668565"/>
                    <a:gd name="connsiteY840" fmla="*/ 529784 h 538211"/>
                    <a:gd name="connsiteX841" fmla="*/ 454729 w 668565"/>
                    <a:gd name="connsiteY841" fmla="*/ 529493 h 538211"/>
                    <a:gd name="connsiteX842" fmla="*/ 454838 w 668565"/>
                    <a:gd name="connsiteY842" fmla="*/ 529493 h 538211"/>
                    <a:gd name="connsiteX843" fmla="*/ 455044 w 668565"/>
                    <a:gd name="connsiteY843" fmla="*/ 529881 h 538211"/>
                    <a:gd name="connsiteX844" fmla="*/ 456137 w 668565"/>
                    <a:gd name="connsiteY844" fmla="*/ 531934 h 538211"/>
                    <a:gd name="connsiteX845" fmla="*/ 456878 w 668565"/>
                    <a:gd name="connsiteY845" fmla="*/ 533318 h 538211"/>
                    <a:gd name="connsiteX846" fmla="*/ 458190 w 668565"/>
                    <a:gd name="connsiteY846" fmla="*/ 534168 h 538211"/>
                    <a:gd name="connsiteX847" fmla="*/ 461747 w 668565"/>
                    <a:gd name="connsiteY847" fmla="*/ 536475 h 538211"/>
                    <a:gd name="connsiteX848" fmla="*/ 462694 w 668565"/>
                    <a:gd name="connsiteY848" fmla="*/ 537094 h 538211"/>
                    <a:gd name="connsiteX849" fmla="*/ 463812 w 668565"/>
                    <a:gd name="connsiteY849" fmla="*/ 537325 h 538211"/>
                    <a:gd name="connsiteX850" fmla="*/ 467236 w 668565"/>
                    <a:gd name="connsiteY850" fmla="*/ 538041 h 538211"/>
                    <a:gd name="connsiteX851" fmla="*/ 468013 w 668565"/>
                    <a:gd name="connsiteY851" fmla="*/ 538211 h 538211"/>
                    <a:gd name="connsiteX852" fmla="*/ 468802 w 668565"/>
                    <a:gd name="connsiteY852" fmla="*/ 538175 h 538211"/>
                    <a:gd name="connsiteX853" fmla="*/ 471632 w 668565"/>
                    <a:gd name="connsiteY853" fmla="*/ 538029 h 538211"/>
                    <a:gd name="connsiteX854" fmla="*/ 472385 w 668565"/>
                    <a:gd name="connsiteY854" fmla="*/ 537993 h 538211"/>
                    <a:gd name="connsiteX855" fmla="*/ 473101 w 668565"/>
                    <a:gd name="connsiteY855" fmla="*/ 537774 h 538211"/>
                    <a:gd name="connsiteX856" fmla="*/ 475627 w 668565"/>
                    <a:gd name="connsiteY856" fmla="*/ 536997 h 538211"/>
                    <a:gd name="connsiteX857" fmla="*/ 476088 w 668565"/>
                    <a:gd name="connsiteY857" fmla="*/ 536851 h 538211"/>
                    <a:gd name="connsiteX858" fmla="*/ 476513 w 668565"/>
                    <a:gd name="connsiteY858" fmla="*/ 536645 h 538211"/>
                    <a:gd name="connsiteX859" fmla="*/ 479100 w 668565"/>
                    <a:gd name="connsiteY859" fmla="*/ 535382 h 538211"/>
                    <a:gd name="connsiteX860" fmla="*/ 479500 w 668565"/>
                    <a:gd name="connsiteY860" fmla="*/ 535188 h 538211"/>
                    <a:gd name="connsiteX861" fmla="*/ 479865 w 668565"/>
                    <a:gd name="connsiteY861" fmla="*/ 534933 h 538211"/>
                    <a:gd name="connsiteX862" fmla="*/ 482451 w 668565"/>
                    <a:gd name="connsiteY862" fmla="*/ 533160 h 538211"/>
                    <a:gd name="connsiteX863" fmla="*/ 482998 w 668565"/>
                    <a:gd name="connsiteY863" fmla="*/ 532783 h 538211"/>
                    <a:gd name="connsiteX864" fmla="*/ 483459 w 668565"/>
                    <a:gd name="connsiteY864" fmla="*/ 532298 h 538211"/>
                    <a:gd name="connsiteX865" fmla="*/ 488571 w 668565"/>
                    <a:gd name="connsiteY865" fmla="*/ 526834 h 538211"/>
                    <a:gd name="connsiteX866" fmla="*/ 489020 w 668565"/>
                    <a:gd name="connsiteY866" fmla="*/ 526348 h 538211"/>
                    <a:gd name="connsiteX867" fmla="*/ 489360 w 668565"/>
                    <a:gd name="connsiteY867" fmla="*/ 525777 h 538211"/>
                    <a:gd name="connsiteX868" fmla="*/ 491133 w 668565"/>
                    <a:gd name="connsiteY868" fmla="*/ 522778 h 538211"/>
                    <a:gd name="connsiteX869" fmla="*/ 491376 w 668565"/>
                    <a:gd name="connsiteY869" fmla="*/ 522365 h 538211"/>
                    <a:gd name="connsiteX870" fmla="*/ 491546 w 668565"/>
                    <a:gd name="connsiteY870" fmla="*/ 521916 h 538211"/>
                    <a:gd name="connsiteX871" fmla="*/ 492457 w 668565"/>
                    <a:gd name="connsiteY871" fmla="*/ 519608 h 538211"/>
                    <a:gd name="connsiteX872" fmla="*/ 492663 w 668565"/>
                    <a:gd name="connsiteY872" fmla="*/ 519098 h 538211"/>
                    <a:gd name="connsiteX873" fmla="*/ 492773 w 668565"/>
                    <a:gd name="connsiteY873" fmla="*/ 518564 h 538211"/>
                    <a:gd name="connsiteX874" fmla="*/ 493416 w 668565"/>
                    <a:gd name="connsiteY874" fmla="*/ 515346 h 538211"/>
                    <a:gd name="connsiteX875" fmla="*/ 487600 w 668565"/>
                    <a:gd name="connsiteY875" fmla="*/ 514180 h 538211"/>
                    <a:gd name="connsiteX876" fmla="*/ 488802 w 668565"/>
                    <a:gd name="connsiteY876" fmla="*/ 508231 h 538211"/>
                    <a:gd name="connsiteX877" fmla="*/ 486567 w 668565"/>
                    <a:gd name="connsiteY877" fmla="*/ 507793 h 538211"/>
                    <a:gd name="connsiteX878" fmla="*/ 486240 w 668565"/>
                    <a:gd name="connsiteY878" fmla="*/ 507538 h 538211"/>
                    <a:gd name="connsiteX879" fmla="*/ 485511 w 668565"/>
                    <a:gd name="connsiteY879" fmla="*/ 502293 h 538211"/>
                    <a:gd name="connsiteX880" fmla="*/ 485657 w 668565"/>
                    <a:gd name="connsiteY880" fmla="*/ 498723 h 538211"/>
                    <a:gd name="connsiteX881" fmla="*/ 486033 w 668565"/>
                    <a:gd name="connsiteY881" fmla="*/ 496246 h 538211"/>
                    <a:gd name="connsiteX882" fmla="*/ 486774 w 668565"/>
                    <a:gd name="connsiteY882" fmla="*/ 494145 h 538211"/>
                    <a:gd name="connsiteX883" fmla="*/ 488085 w 668565"/>
                    <a:gd name="connsiteY883" fmla="*/ 492287 h 538211"/>
                    <a:gd name="connsiteX884" fmla="*/ 489798 w 668565"/>
                    <a:gd name="connsiteY884" fmla="*/ 491000 h 538211"/>
                    <a:gd name="connsiteX885" fmla="*/ 492372 w 668565"/>
                    <a:gd name="connsiteY885" fmla="*/ 489737 h 538211"/>
                    <a:gd name="connsiteX886" fmla="*/ 492882 w 668565"/>
                    <a:gd name="connsiteY886" fmla="*/ 489494 h 538211"/>
                    <a:gd name="connsiteX887" fmla="*/ 493331 w 668565"/>
                    <a:gd name="connsiteY887" fmla="*/ 489166 h 538211"/>
                    <a:gd name="connsiteX888" fmla="*/ 496039 w 668565"/>
                    <a:gd name="connsiteY888" fmla="*/ 487150 h 538211"/>
                    <a:gd name="connsiteX889" fmla="*/ 497302 w 668565"/>
                    <a:gd name="connsiteY889" fmla="*/ 486215 h 538211"/>
                    <a:gd name="connsiteX890" fmla="*/ 497945 w 668565"/>
                    <a:gd name="connsiteY890" fmla="*/ 484783 h 538211"/>
                    <a:gd name="connsiteX891" fmla="*/ 499548 w 668565"/>
                    <a:gd name="connsiteY891" fmla="*/ 481249 h 538211"/>
                    <a:gd name="connsiteX892" fmla="*/ 500083 w 668565"/>
                    <a:gd name="connsiteY892" fmla="*/ 480047 h 538211"/>
                    <a:gd name="connsiteX893" fmla="*/ 500083 w 668565"/>
                    <a:gd name="connsiteY893" fmla="*/ 478735 h 538211"/>
                    <a:gd name="connsiteX894" fmla="*/ 499500 w 668565"/>
                    <a:gd name="connsiteY894" fmla="*/ 472263 h 538211"/>
                    <a:gd name="connsiteX895" fmla="*/ 500835 w 668565"/>
                    <a:gd name="connsiteY895" fmla="*/ 464735 h 538211"/>
                    <a:gd name="connsiteX896" fmla="*/ 503179 w 668565"/>
                    <a:gd name="connsiteY896" fmla="*/ 459707 h 538211"/>
                    <a:gd name="connsiteX897" fmla="*/ 505353 w 668565"/>
                    <a:gd name="connsiteY897" fmla="*/ 458687 h 538211"/>
                    <a:gd name="connsiteX898" fmla="*/ 506798 w 668565"/>
                    <a:gd name="connsiteY898" fmla="*/ 458894 h 538211"/>
                    <a:gd name="connsiteX899" fmla="*/ 507186 w 668565"/>
                    <a:gd name="connsiteY899" fmla="*/ 458942 h 538211"/>
                    <a:gd name="connsiteX900" fmla="*/ 507587 w 668565"/>
                    <a:gd name="connsiteY900" fmla="*/ 458942 h 538211"/>
                    <a:gd name="connsiteX901" fmla="*/ 511497 w 668565"/>
                    <a:gd name="connsiteY901" fmla="*/ 458967 h 538211"/>
                    <a:gd name="connsiteX902" fmla="*/ 512347 w 668565"/>
                    <a:gd name="connsiteY902" fmla="*/ 458967 h 538211"/>
                    <a:gd name="connsiteX903" fmla="*/ 513161 w 668565"/>
                    <a:gd name="connsiteY903" fmla="*/ 458736 h 538211"/>
                    <a:gd name="connsiteX904" fmla="*/ 516779 w 668565"/>
                    <a:gd name="connsiteY904" fmla="*/ 457728 h 538211"/>
                    <a:gd name="connsiteX905" fmla="*/ 518576 w 668565"/>
                    <a:gd name="connsiteY905" fmla="*/ 457230 h 538211"/>
                    <a:gd name="connsiteX906" fmla="*/ 519791 w 668565"/>
                    <a:gd name="connsiteY906" fmla="*/ 455797 h 538211"/>
                    <a:gd name="connsiteX907" fmla="*/ 522073 w 668565"/>
                    <a:gd name="connsiteY907" fmla="*/ 453102 h 538211"/>
                    <a:gd name="connsiteX908" fmla="*/ 523846 w 668565"/>
                    <a:gd name="connsiteY908" fmla="*/ 451013 h 538211"/>
                    <a:gd name="connsiteX909" fmla="*/ 523446 w 668565"/>
                    <a:gd name="connsiteY909" fmla="*/ 448293 h 538211"/>
                    <a:gd name="connsiteX910" fmla="*/ 522984 w 668565"/>
                    <a:gd name="connsiteY910" fmla="*/ 445136 h 538211"/>
                    <a:gd name="connsiteX911" fmla="*/ 522899 w 668565"/>
                    <a:gd name="connsiteY911" fmla="*/ 444504 h 538211"/>
                    <a:gd name="connsiteX912" fmla="*/ 522668 w 668565"/>
                    <a:gd name="connsiteY912" fmla="*/ 443909 h 538211"/>
                    <a:gd name="connsiteX913" fmla="*/ 522158 w 668565"/>
                    <a:gd name="connsiteY913" fmla="*/ 442525 h 538211"/>
                    <a:gd name="connsiteX914" fmla="*/ 526384 w 668565"/>
                    <a:gd name="connsiteY914" fmla="*/ 443484 h 538211"/>
                    <a:gd name="connsiteX915" fmla="*/ 527975 w 668565"/>
                    <a:gd name="connsiteY915" fmla="*/ 437996 h 538211"/>
                    <a:gd name="connsiteX916" fmla="*/ 531873 w 668565"/>
                    <a:gd name="connsiteY916" fmla="*/ 424590 h 538211"/>
                    <a:gd name="connsiteX917" fmla="*/ 531982 w 668565"/>
                    <a:gd name="connsiteY917" fmla="*/ 424226 h 538211"/>
                    <a:gd name="connsiteX918" fmla="*/ 532043 w 668565"/>
                    <a:gd name="connsiteY918" fmla="*/ 423849 h 538211"/>
                    <a:gd name="connsiteX919" fmla="*/ 532796 w 668565"/>
                    <a:gd name="connsiteY919" fmla="*/ 419077 h 538211"/>
                    <a:gd name="connsiteX920" fmla="*/ 532929 w 668565"/>
                    <a:gd name="connsiteY920" fmla="*/ 418203 h 538211"/>
                    <a:gd name="connsiteX921" fmla="*/ 532808 w 668565"/>
                    <a:gd name="connsiteY921" fmla="*/ 417328 h 538211"/>
                    <a:gd name="connsiteX922" fmla="*/ 532298 w 668565"/>
                    <a:gd name="connsiteY922" fmla="*/ 413479 h 538211"/>
                    <a:gd name="connsiteX923" fmla="*/ 531982 w 668565"/>
                    <a:gd name="connsiteY923" fmla="*/ 411075 h 538211"/>
                    <a:gd name="connsiteX924" fmla="*/ 530100 w 668565"/>
                    <a:gd name="connsiteY924" fmla="*/ 409557 h 538211"/>
                    <a:gd name="connsiteX925" fmla="*/ 528728 w 668565"/>
                    <a:gd name="connsiteY925" fmla="*/ 408440 h 538211"/>
                    <a:gd name="connsiteX926" fmla="*/ 526955 w 668565"/>
                    <a:gd name="connsiteY926" fmla="*/ 407019 h 538211"/>
                    <a:gd name="connsiteX927" fmla="*/ 526056 w 668565"/>
                    <a:gd name="connsiteY927" fmla="*/ 407043 h 538211"/>
                    <a:gd name="connsiteX928" fmla="*/ 525146 w 668565"/>
                    <a:gd name="connsiteY928" fmla="*/ 401579 h 538211"/>
                    <a:gd name="connsiteX929" fmla="*/ 524963 w 668565"/>
                    <a:gd name="connsiteY929" fmla="*/ 400450 h 538211"/>
                    <a:gd name="connsiteX930" fmla="*/ 524381 w 668565"/>
                    <a:gd name="connsiteY930" fmla="*/ 399466 h 538211"/>
                    <a:gd name="connsiteX931" fmla="*/ 520641 w 668565"/>
                    <a:gd name="connsiteY931" fmla="*/ 393176 h 538211"/>
                    <a:gd name="connsiteX932" fmla="*/ 520386 w 668565"/>
                    <a:gd name="connsiteY932" fmla="*/ 392533 h 538211"/>
                    <a:gd name="connsiteX933" fmla="*/ 523858 w 668565"/>
                    <a:gd name="connsiteY933" fmla="*/ 391440 h 538211"/>
                    <a:gd name="connsiteX934" fmla="*/ 526020 w 668565"/>
                    <a:gd name="connsiteY934" fmla="*/ 390748 h 538211"/>
                    <a:gd name="connsiteX935" fmla="*/ 527210 w 668565"/>
                    <a:gd name="connsiteY935" fmla="*/ 388817 h 538211"/>
                    <a:gd name="connsiteX936" fmla="*/ 528351 w 668565"/>
                    <a:gd name="connsiteY936" fmla="*/ 386947 h 538211"/>
                    <a:gd name="connsiteX937" fmla="*/ 528922 w 668565"/>
                    <a:gd name="connsiteY937" fmla="*/ 386024 h 538211"/>
                    <a:gd name="connsiteX938" fmla="*/ 529129 w 668565"/>
                    <a:gd name="connsiteY938" fmla="*/ 384955 h 538211"/>
                    <a:gd name="connsiteX939" fmla="*/ 529286 w 668565"/>
                    <a:gd name="connsiteY939" fmla="*/ 384203 h 538211"/>
                    <a:gd name="connsiteX940" fmla="*/ 530124 w 668565"/>
                    <a:gd name="connsiteY940" fmla="*/ 383608 h 538211"/>
                    <a:gd name="connsiteX941" fmla="*/ 530792 w 668565"/>
                    <a:gd name="connsiteY941" fmla="*/ 383134 h 538211"/>
                    <a:gd name="connsiteX942" fmla="*/ 531302 w 668565"/>
                    <a:gd name="connsiteY942" fmla="*/ 382503 h 538211"/>
                    <a:gd name="connsiteX943" fmla="*/ 532565 w 668565"/>
                    <a:gd name="connsiteY943" fmla="*/ 380972 h 538211"/>
                    <a:gd name="connsiteX944" fmla="*/ 535734 w 668565"/>
                    <a:gd name="connsiteY944" fmla="*/ 378702 h 538211"/>
                    <a:gd name="connsiteX945" fmla="*/ 536099 w 668565"/>
                    <a:gd name="connsiteY945" fmla="*/ 378447 h 538211"/>
                    <a:gd name="connsiteX946" fmla="*/ 536414 w 668565"/>
                    <a:gd name="connsiteY946" fmla="*/ 378131 h 538211"/>
                    <a:gd name="connsiteX947" fmla="*/ 538029 w 668565"/>
                    <a:gd name="connsiteY947" fmla="*/ 376552 h 538211"/>
                    <a:gd name="connsiteX948" fmla="*/ 538418 w 668565"/>
                    <a:gd name="connsiteY948" fmla="*/ 376176 h 538211"/>
                    <a:gd name="connsiteX949" fmla="*/ 538734 w 668565"/>
                    <a:gd name="connsiteY949" fmla="*/ 375739 h 538211"/>
                    <a:gd name="connsiteX950" fmla="*/ 540045 w 668565"/>
                    <a:gd name="connsiteY950" fmla="*/ 373905 h 538211"/>
                    <a:gd name="connsiteX951" fmla="*/ 541065 w 668565"/>
                    <a:gd name="connsiteY951" fmla="*/ 372472 h 538211"/>
                    <a:gd name="connsiteX952" fmla="*/ 541162 w 668565"/>
                    <a:gd name="connsiteY952" fmla="*/ 370712 h 538211"/>
                    <a:gd name="connsiteX953" fmla="*/ 541223 w 668565"/>
                    <a:gd name="connsiteY953" fmla="*/ 369655 h 538211"/>
                    <a:gd name="connsiteX954" fmla="*/ 541271 w 668565"/>
                    <a:gd name="connsiteY954" fmla="*/ 368866 h 538211"/>
                    <a:gd name="connsiteX955" fmla="*/ 541599 w 668565"/>
                    <a:gd name="connsiteY955" fmla="*/ 368696 h 538211"/>
                    <a:gd name="connsiteX956" fmla="*/ 541927 w 668565"/>
                    <a:gd name="connsiteY956" fmla="*/ 368465 h 538211"/>
                    <a:gd name="connsiteX957" fmla="*/ 543008 w 668565"/>
                    <a:gd name="connsiteY957" fmla="*/ 367712 h 538211"/>
                    <a:gd name="connsiteX958" fmla="*/ 543530 w 668565"/>
                    <a:gd name="connsiteY958" fmla="*/ 367348 h 538211"/>
                    <a:gd name="connsiteX959" fmla="*/ 543967 w 668565"/>
                    <a:gd name="connsiteY959" fmla="*/ 366887 h 538211"/>
                    <a:gd name="connsiteX960" fmla="*/ 548217 w 668565"/>
                    <a:gd name="connsiteY960" fmla="*/ 362357 h 538211"/>
                    <a:gd name="connsiteX961" fmla="*/ 548788 w 668565"/>
                    <a:gd name="connsiteY961" fmla="*/ 361738 h 538211"/>
                    <a:gd name="connsiteX962" fmla="*/ 549177 w 668565"/>
                    <a:gd name="connsiteY962" fmla="*/ 360985 h 538211"/>
                    <a:gd name="connsiteX963" fmla="*/ 551362 w 668565"/>
                    <a:gd name="connsiteY963" fmla="*/ 356760 h 538211"/>
                    <a:gd name="connsiteX964" fmla="*/ 551957 w 668565"/>
                    <a:gd name="connsiteY964" fmla="*/ 355618 h 538211"/>
                    <a:gd name="connsiteX965" fmla="*/ 552030 w 668565"/>
                    <a:gd name="connsiteY965" fmla="*/ 354343 h 538211"/>
                    <a:gd name="connsiteX966" fmla="*/ 552309 w 668565"/>
                    <a:gd name="connsiteY966" fmla="*/ 349838 h 538211"/>
                    <a:gd name="connsiteX967" fmla="*/ 552382 w 668565"/>
                    <a:gd name="connsiteY967" fmla="*/ 348697 h 538211"/>
                    <a:gd name="connsiteX968" fmla="*/ 552030 w 668565"/>
                    <a:gd name="connsiteY968" fmla="*/ 347604 h 538211"/>
                    <a:gd name="connsiteX969" fmla="*/ 550318 w 668565"/>
                    <a:gd name="connsiteY969" fmla="*/ 342261 h 538211"/>
                    <a:gd name="connsiteX970" fmla="*/ 550209 w 668565"/>
                    <a:gd name="connsiteY970" fmla="*/ 341909 h 538211"/>
                    <a:gd name="connsiteX971" fmla="*/ 550051 w 668565"/>
                    <a:gd name="connsiteY971" fmla="*/ 341581 h 538211"/>
                    <a:gd name="connsiteX972" fmla="*/ 547525 w 668565"/>
                    <a:gd name="connsiteY972" fmla="*/ 336092 h 538211"/>
                    <a:gd name="connsiteX973" fmla="*/ 546286 w 668565"/>
                    <a:gd name="connsiteY973" fmla="*/ 332437 h 538211"/>
                    <a:gd name="connsiteX974" fmla="*/ 546262 w 668565"/>
                    <a:gd name="connsiteY974" fmla="*/ 329632 h 538211"/>
                    <a:gd name="connsiteX975" fmla="*/ 547780 w 668565"/>
                    <a:gd name="connsiteY975" fmla="*/ 326511 h 538211"/>
                    <a:gd name="connsiteX976" fmla="*/ 550585 w 668565"/>
                    <a:gd name="connsiteY976" fmla="*/ 324338 h 538211"/>
                    <a:gd name="connsiteX977" fmla="*/ 560579 w 668565"/>
                    <a:gd name="connsiteY977" fmla="*/ 321788 h 538211"/>
                    <a:gd name="connsiteX978" fmla="*/ 561854 w 668565"/>
                    <a:gd name="connsiteY978" fmla="*/ 321460 h 538211"/>
                    <a:gd name="connsiteX979" fmla="*/ 562886 w 668565"/>
                    <a:gd name="connsiteY979" fmla="*/ 320634 h 538211"/>
                    <a:gd name="connsiteX980" fmla="*/ 566845 w 668565"/>
                    <a:gd name="connsiteY980" fmla="*/ 317441 h 538211"/>
                    <a:gd name="connsiteX981" fmla="*/ 567306 w 668565"/>
                    <a:gd name="connsiteY981" fmla="*/ 317064 h 538211"/>
                    <a:gd name="connsiteX982" fmla="*/ 567694 w 668565"/>
                    <a:gd name="connsiteY982" fmla="*/ 316603 h 538211"/>
                    <a:gd name="connsiteX983" fmla="*/ 577336 w 668565"/>
                    <a:gd name="connsiteY983" fmla="*/ 305067 h 538211"/>
                    <a:gd name="connsiteX984" fmla="*/ 577579 w 668565"/>
                    <a:gd name="connsiteY984" fmla="*/ 304788 h 538211"/>
                    <a:gd name="connsiteX985" fmla="*/ 577785 w 668565"/>
                    <a:gd name="connsiteY985" fmla="*/ 304472 h 538211"/>
                    <a:gd name="connsiteX986" fmla="*/ 581926 w 668565"/>
                    <a:gd name="connsiteY986" fmla="*/ 298073 h 538211"/>
                    <a:gd name="connsiteX987" fmla="*/ 582327 w 668565"/>
                    <a:gd name="connsiteY987" fmla="*/ 297441 h 538211"/>
                    <a:gd name="connsiteX988" fmla="*/ 582570 w 668565"/>
                    <a:gd name="connsiteY988" fmla="*/ 296737 h 538211"/>
                    <a:gd name="connsiteX989" fmla="*/ 585095 w 668565"/>
                    <a:gd name="connsiteY989" fmla="*/ 289330 h 538211"/>
                    <a:gd name="connsiteX990" fmla="*/ 585593 w 668565"/>
                    <a:gd name="connsiteY990" fmla="*/ 288237 h 538211"/>
                    <a:gd name="connsiteX991" fmla="*/ 591191 w 668565"/>
                    <a:gd name="connsiteY991" fmla="*/ 287569 h 538211"/>
                    <a:gd name="connsiteX992" fmla="*/ 591725 w 668565"/>
                    <a:gd name="connsiteY992" fmla="*/ 287508 h 538211"/>
                    <a:gd name="connsiteX993" fmla="*/ 592247 w 668565"/>
                    <a:gd name="connsiteY993" fmla="*/ 287351 h 538211"/>
                    <a:gd name="connsiteX994" fmla="*/ 595818 w 668565"/>
                    <a:gd name="connsiteY994" fmla="*/ 286258 h 538211"/>
                    <a:gd name="connsiteX995" fmla="*/ 596558 w 668565"/>
                    <a:gd name="connsiteY995" fmla="*/ 286027 h 538211"/>
                    <a:gd name="connsiteX996" fmla="*/ 597214 w 668565"/>
                    <a:gd name="connsiteY996" fmla="*/ 285626 h 538211"/>
                    <a:gd name="connsiteX997" fmla="*/ 599618 w 668565"/>
                    <a:gd name="connsiteY997" fmla="*/ 284157 h 538211"/>
                    <a:gd name="connsiteX998" fmla="*/ 600104 w 668565"/>
                    <a:gd name="connsiteY998" fmla="*/ 283865 h 538211"/>
                    <a:gd name="connsiteX999" fmla="*/ 600529 w 668565"/>
                    <a:gd name="connsiteY999" fmla="*/ 283489 h 538211"/>
                    <a:gd name="connsiteX1000" fmla="*/ 605058 w 668565"/>
                    <a:gd name="connsiteY1000" fmla="*/ 279385 h 538211"/>
                    <a:gd name="connsiteX1001" fmla="*/ 611324 w 668565"/>
                    <a:gd name="connsiteY1001" fmla="*/ 275293 h 538211"/>
                    <a:gd name="connsiteX1002" fmla="*/ 611883 w 668565"/>
                    <a:gd name="connsiteY1002" fmla="*/ 274928 h 538211"/>
                    <a:gd name="connsiteX1003" fmla="*/ 612344 w 668565"/>
                    <a:gd name="connsiteY1003" fmla="*/ 274455 h 538211"/>
                    <a:gd name="connsiteX1004" fmla="*/ 614238 w 668565"/>
                    <a:gd name="connsiteY1004" fmla="*/ 272524 h 538211"/>
                    <a:gd name="connsiteX1005" fmla="*/ 614651 w 668565"/>
                    <a:gd name="connsiteY1005" fmla="*/ 272099 h 538211"/>
                    <a:gd name="connsiteX1006" fmla="*/ 614979 w 668565"/>
                    <a:gd name="connsiteY1006" fmla="*/ 271601 h 538211"/>
                    <a:gd name="connsiteX1007" fmla="*/ 620261 w 668565"/>
                    <a:gd name="connsiteY1007" fmla="*/ 263526 h 538211"/>
                    <a:gd name="connsiteX1008" fmla="*/ 622058 w 668565"/>
                    <a:gd name="connsiteY1008" fmla="*/ 261705 h 538211"/>
                    <a:gd name="connsiteX1009" fmla="*/ 632975 w 668565"/>
                    <a:gd name="connsiteY1009" fmla="*/ 253824 h 538211"/>
                    <a:gd name="connsiteX1010" fmla="*/ 633837 w 668565"/>
                    <a:gd name="connsiteY1010" fmla="*/ 253205 h 538211"/>
                    <a:gd name="connsiteX1011" fmla="*/ 634444 w 668565"/>
                    <a:gd name="connsiteY1011" fmla="*/ 252318 h 538211"/>
                    <a:gd name="connsiteX1012" fmla="*/ 638124 w 668565"/>
                    <a:gd name="connsiteY1012" fmla="*/ 246914 h 538211"/>
                    <a:gd name="connsiteX1013" fmla="*/ 640030 w 668565"/>
                    <a:gd name="connsiteY1013" fmla="*/ 244109 h 538211"/>
                    <a:gd name="connsiteX1014" fmla="*/ 638634 w 668565"/>
                    <a:gd name="connsiteY1014" fmla="*/ 241013 h 538211"/>
                    <a:gd name="connsiteX1015" fmla="*/ 637929 w 668565"/>
                    <a:gd name="connsiteY1015" fmla="*/ 239447 h 538211"/>
                    <a:gd name="connsiteX1016" fmla="*/ 638099 w 668565"/>
                    <a:gd name="connsiteY1016" fmla="*/ 239252 h 538211"/>
                    <a:gd name="connsiteX1017" fmla="*/ 639058 w 668565"/>
                    <a:gd name="connsiteY1017" fmla="*/ 241134 h 538211"/>
                    <a:gd name="connsiteX1018" fmla="*/ 641803 w 668565"/>
                    <a:gd name="connsiteY1018" fmla="*/ 241790 h 538211"/>
                    <a:gd name="connsiteX1019" fmla="*/ 645069 w 668565"/>
                    <a:gd name="connsiteY1019" fmla="*/ 242567 h 538211"/>
                    <a:gd name="connsiteX1020" fmla="*/ 646733 w 668565"/>
                    <a:gd name="connsiteY1020" fmla="*/ 242968 h 538211"/>
                    <a:gd name="connsiteX1021" fmla="*/ 648348 w 668565"/>
                    <a:gd name="connsiteY1021" fmla="*/ 242446 h 538211"/>
                    <a:gd name="connsiteX1022" fmla="*/ 660236 w 668565"/>
                    <a:gd name="connsiteY1022" fmla="*/ 238584 h 538211"/>
                    <a:gd name="connsiteX1023" fmla="*/ 660940 w 668565"/>
                    <a:gd name="connsiteY1023" fmla="*/ 238548 h 538211"/>
                    <a:gd name="connsiteX1024" fmla="*/ 664765 w 668565"/>
                    <a:gd name="connsiteY1024" fmla="*/ 238342 h 538211"/>
                    <a:gd name="connsiteX1025" fmla="*/ 666222 w 668565"/>
                    <a:gd name="connsiteY1025" fmla="*/ 234796 h 538211"/>
                    <a:gd name="connsiteX1026" fmla="*/ 667558 w 668565"/>
                    <a:gd name="connsiteY1026" fmla="*/ 231542 h 538211"/>
                    <a:gd name="connsiteX1027" fmla="*/ 668566 w 668565"/>
                    <a:gd name="connsiteY1027" fmla="*/ 229089 h 538211"/>
                    <a:gd name="connsiteX1028" fmla="*/ 667461 w 668565"/>
                    <a:gd name="connsiteY1028" fmla="*/ 226696 h 538211"/>
                    <a:gd name="connsiteX1029" fmla="*/ 666125 w 668565"/>
                    <a:gd name="connsiteY1029" fmla="*/ 223806 h 538211"/>
                    <a:gd name="connsiteX1030" fmla="*/ 665943 w 668565"/>
                    <a:gd name="connsiteY1030" fmla="*/ 223406 h 538211"/>
                    <a:gd name="connsiteX1031" fmla="*/ 665700 w 668565"/>
                    <a:gd name="connsiteY1031" fmla="*/ 223041 h 538211"/>
                    <a:gd name="connsiteX1032" fmla="*/ 661924 w 668565"/>
                    <a:gd name="connsiteY1032" fmla="*/ 217213 h 538211"/>
                    <a:gd name="connsiteX1033" fmla="*/ 661037 w 668565"/>
                    <a:gd name="connsiteY1033" fmla="*/ 215853 h 538211"/>
                    <a:gd name="connsiteX1034" fmla="*/ 659580 w 668565"/>
                    <a:gd name="connsiteY1034" fmla="*/ 215112 h 538211"/>
                    <a:gd name="connsiteX1035" fmla="*/ 653545 w 668565"/>
                    <a:gd name="connsiteY1035" fmla="*/ 212040 h 538211"/>
                    <a:gd name="connsiteX1036" fmla="*/ 652962 w 668565"/>
                    <a:gd name="connsiteY1036" fmla="*/ 211736 h 538211"/>
                    <a:gd name="connsiteX1037" fmla="*/ 652319 w 668565"/>
                    <a:gd name="connsiteY1037" fmla="*/ 211566 h 538211"/>
                    <a:gd name="connsiteX1038" fmla="*/ 638318 w 668565"/>
                    <a:gd name="connsiteY1038" fmla="*/ 207911 h 538211"/>
                    <a:gd name="connsiteX1039" fmla="*/ 623467 w 668565"/>
                    <a:gd name="connsiteY1039" fmla="*/ 201706 h 538211"/>
                    <a:gd name="connsiteX1040" fmla="*/ 621986 w 668565"/>
                    <a:gd name="connsiteY1040" fmla="*/ 200528 h 538211"/>
                    <a:gd name="connsiteX1041" fmla="*/ 620431 w 668565"/>
                    <a:gd name="connsiteY1041" fmla="*/ 198525 h 538211"/>
                    <a:gd name="connsiteX1042" fmla="*/ 616970 w 668565"/>
                    <a:gd name="connsiteY1042" fmla="*/ 192271 h 538211"/>
                    <a:gd name="connsiteX1043" fmla="*/ 616716 w 668565"/>
                    <a:gd name="connsiteY1043" fmla="*/ 191810 h 538211"/>
                    <a:gd name="connsiteX1044" fmla="*/ 616388 w 668565"/>
                    <a:gd name="connsiteY1044" fmla="*/ 191397 h 538211"/>
                    <a:gd name="connsiteX1045" fmla="*/ 614093 w 668565"/>
                    <a:gd name="connsiteY1045" fmla="*/ 188556 h 538211"/>
                    <a:gd name="connsiteX1046" fmla="*/ 613631 w 668565"/>
                    <a:gd name="connsiteY1046" fmla="*/ 187985 h 538211"/>
                    <a:gd name="connsiteX1047" fmla="*/ 613048 w 668565"/>
                    <a:gd name="connsiteY1047" fmla="*/ 187536 h 538211"/>
                    <a:gd name="connsiteX1048" fmla="*/ 607705 w 668565"/>
                    <a:gd name="connsiteY1048" fmla="*/ 183455 h 538211"/>
                    <a:gd name="connsiteX1049" fmla="*/ 607317 w 668565"/>
                    <a:gd name="connsiteY1049" fmla="*/ 183164 h 538211"/>
                    <a:gd name="connsiteX1050" fmla="*/ 606892 w 668565"/>
                    <a:gd name="connsiteY1050" fmla="*/ 182933 h 538211"/>
                    <a:gd name="connsiteX1051" fmla="*/ 588471 w 668565"/>
                    <a:gd name="connsiteY1051" fmla="*/ 173061 h 538211"/>
                    <a:gd name="connsiteX1052" fmla="*/ 588010 w 668565"/>
                    <a:gd name="connsiteY1052" fmla="*/ 172818 h 538211"/>
                    <a:gd name="connsiteX1053" fmla="*/ 587512 w 668565"/>
                    <a:gd name="connsiteY1053" fmla="*/ 172660 h 538211"/>
                    <a:gd name="connsiteX1054" fmla="*/ 583541 w 668565"/>
                    <a:gd name="connsiteY1054" fmla="*/ 171337 h 538211"/>
                    <a:gd name="connsiteX1055" fmla="*/ 582363 w 668565"/>
                    <a:gd name="connsiteY1055" fmla="*/ 170948 h 538211"/>
                    <a:gd name="connsiteX1056" fmla="*/ 581125 w 668565"/>
                    <a:gd name="connsiteY1056" fmla="*/ 171045 h 538211"/>
                    <a:gd name="connsiteX1057" fmla="*/ 578259 w 668565"/>
                    <a:gd name="connsiteY1057" fmla="*/ 171276 h 538211"/>
                    <a:gd name="connsiteX1058" fmla="*/ 577603 w 668565"/>
                    <a:gd name="connsiteY1058" fmla="*/ 171325 h 538211"/>
                    <a:gd name="connsiteX1059" fmla="*/ 576984 w 668565"/>
                    <a:gd name="connsiteY1059" fmla="*/ 171519 h 538211"/>
                    <a:gd name="connsiteX1060" fmla="*/ 574725 w 668565"/>
                    <a:gd name="connsiteY1060" fmla="*/ 172211 h 538211"/>
                    <a:gd name="connsiteX1061" fmla="*/ 572539 w 668565"/>
                    <a:gd name="connsiteY1061" fmla="*/ 172490 h 538211"/>
                    <a:gd name="connsiteX1062" fmla="*/ 571386 w 668565"/>
                    <a:gd name="connsiteY1062" fmla="*/ 172211 h 538211"/>
                    <a:gd name="connsiteX1063" fmla="*/ 566043 w 668565"/>
                    <a:gd name="connsiteY1063" fmla="*/ 168969 h 538211"/>
                    <a:gd name="connsiteX1064" fmla="*/ 565569 w 668565"/>
                    <a:gd name="connsiteY1064" fmla="*/ 168690 h 538211"/>
                    <a:gd name="connsiteX1065" fmla="*/ 565047 w 668565"/>
                    <a:gd name="connsiteY1065" fmla="*/ 168495 h 538211"/>
                    <a:gd name="connsiteX1066" fmla="*/ 555952 w 668565"/>
                    <a:gd name="connsiteY1066" fmla="*/ 165047 h 538211"/>
                    <a:gd name="connsiteX1067" fmla="*/ 537762 w 668565"/>
                    <a:gd name="connsiteY1067" fmla="*/ 155223 h 538211"/>
                    <a:gd name="connsiteX1068" fmla="*/ 537155 w 668565"/>
                    <a:gd name="connsiteY1068" fmla="*/ 154895 h 538211"/>
                    <a:gd name="connsiteX1069" fmla="*/ 536499 w 668565"/>
                    <a:gd name="connsiteY1069" fmla="*/ 154713 h 538211"/>
                    <a:gd name="connsiteX1070" fmla="*/ 522778 w 668565"/>
                    <a:gd name="connsiteY1070" fmla="*/ 150900 h 538211"/>
                    <a:gd name="connsiteX1071" fmla="*/ 522134 w 668565"/>
                    <a:gd name="connsiteY1071" fmla="*/ 150718 h 538211"/>
                    <a:gd name="connsiteX1072" fmla="*/ 521466 w 668565"/>
                    <a:gd name="connsiteY1072" fmla="*/ 150682 h 538211"/>
                    <a:gd name="connsiteX1073" fmla="*/ 517471 w 668565"/>
                    <a:gd name="connsiteY1073" fmla="*/ 150463 h 538211"/>
                    <a:gd name="connsiteX1074" fmla="*/ 517581 w 668565"/>
                    <a:gd name="connsiteY1074" fmla="*/ 150135 h 538211"/>
                    <a:gd name="connsiteX1075" fmla="*/ 518042 w 668565"/>
                    <a:gd name="connsiteY1075" fmla="*/ 148739 h 538211"/>
                    <a:gd name="connsiteX1076" fmla="*/ 517811 w 668565"/>
                    <a:gd name="connsiteY1076" fmla="*/ 147294 h 538211"/>
                    <a:gd name="connsiteX1077" fmla="*/ 517192 w 668565"/>
                    <a:gd name="connsiteY1077" fmla="*/ 143262 h 538211"/>
                    <a:gd name="connsiteX1078" fmla="*/ 516973 w 668565"/>
                    <a:gd name="connsiteY1078" fmla="*/ 141890 h 538211"/>
                    <a:gd name="connsiteX1079" fmla="*/ 516184 w 668565"/>
                    <a:gd name="connsiteY1079" fmla="*/ 140737 h 538211"/>
                    <a:gd name="connsiteX1080" fmla="*/ 514460 w 668565"/>
                    <a:gd name="connsiteY1080" fmla="*/ 138247 h 538211"/>
                    <a:gd name="connsiteX1081" fmla="*/ 514363 w 668565"/>
                    <a:gd name="connsiteY1081" fmla="*/ 138114 h 538211"/>
                    <a:gd name="connsiteX1082" fmla="*/ 515018 w 668565"/>
                    <a:gd name="connsiteY1082" fmla="*/ 137592 h 538211"/>
                    <a:gd name="connsiteX1083" fmla="*/ 516342 w 668565"/>
                    <a:gd name="connsiteY1083" fmla="*/ 136511 h 538211"/>
                    <a:gd name="connsiteX1084" fmla="*/ 517216 w 668565"/>
                    <a:gd name="connsiteY1084" fmla="*/ 135794 h 538211"/>
                    <a:gd name="connsiteX1085" fmla="*/ 517775 w 668565"/>
                    <a:gd name="connsiteY1085" fmla="*/ 134811 h 538211"/>
                    <a:gd name="connsiteX1086" fmla="*/ 522365 w 668565"/>
                    <a:gd name="connsiteY1086" fmla="*/ 126797 h 538211"/>
                    <a:gd name="connsiteX1087" fmla="*/ 524235 w 668565"/>
                    <a:gd name="connsiteY1087" fmla="*/ 123530 h 538211"/>
                    <a:gd name="connsiteX1088" fmla="*/ 522146 w 668565"/>
                    <a:gd name="connsiteY1088" fmla="*/ 120397 h 538211"/>
                    <a:gd name="connsiteX1089" fmla="*/ 520883 w 668565"/>
                    <a:gd name="connsiteY1089" fmla="*/ 118503 h 538211"/>
                    <a:gd name="connsiteX1090" fmla="*/ 520046 w 668565"/>
                    <a:gd name="connsiteY1090" fmla="*/ 117252 h 538211"/>
                    <a:gd name="connsiteX1091" fmla="*/ 518734 w 668565"/>
                    <a:gd name="connsiteY1091" fmla="*/ 116536 h 538211"/>
                    <a:gd name="connsiteX1092" fmla="*/ 514715 w 668565"/>
                    <a:gd name="connsiteY1092" fmla="*/ 114350 h 538211"/>
                    <a:gd name="connsiteX1093" fmla="*/ 510501 w 668565"/>
                    <a:gd name="connsiteY1093" fmla="*/ 107975 h 538211"/>
                    <a:gd name="connsiteX1094" fmla="*/ 509870 w 668565"/>
                    <a:gd name="connsiteY1094" fmla="*/ 107016 h 538211"/>
                    <a:gd name="connsiteX1095" fmla="*/ 508935 w 668565"/>
                    <a:gd name="connsiteY1095" fmla="*/ 106360 h 538211"/>
                    <a:gd name="connsiteX1096" fmla="*/ 506628 w 668565"/>
                    <a:gd name="connsiteY1096" fmla="*/ 104733 h 538211"/>
                    <a:gd name="connsiteX1097" fmla="*/ 505098 w 668565"/>
                    <a:gd name="connsiteY1097" fmla="*/ 103652 h 538211"/>
                    <a:gd name="connsiteX1098" fmla="*/ 503228 w 668565"/>
                    <a:gd name="connsiteY1098" fmla="*/ 103628 h 538211"/>
                    <a:gd name="connsiteX1099" fmla="*/ 500192 w 668565"/>
                    <a:gd name="connsiteY1099" fmla="*/ 103591 h 538211"/>
                    <a:gd name="connsiteX1100" fmla="*/ 498638 w 668565"/>
                    <a:gd name="connsiteY1100" fmla="*/ 103567 h 538211"/>
                    <a:gd name="connsiteX1101" fmla="*/ 497265 w 668565"/>
                    <a:gd name="connsiteY1101" fmla="*/ 104296 h 538211"/>
                    <a:gd name="connsiteX1102" fmla="*/ 492044 w 668565"/>
                    <a:gd name="connsiteY1102" fmla="*/ 107064 h 538211"/>
                    <a:gd name="connsiteX1103" fmla="*/ 491413 w 668565"/>
                    <a:gd name="connsiteY1103" fmla="*/ 107210 h 538211"/>
                    <a:gd name="connsiteX1104" fmla="*/ 489215 w 668565"/>
                    <a:gd name="connsiteY1104" fmla="*/ 106372 h 538211"/>
                    <a:gd name="connsiteX1105" fmla="*/ 487065 w 668565"/>
                    <a:gd name="connsiteY1105" fmla="*/ 103506 h 538211"/>
                    <a:gd name="connsiteX1106" fmla="*/ 484309 w 668565"/>
                    <a:gd name="connsiteY1106" fmla="*/ 98831 h 538211"/>
                    <a:gd name="connsiteX1107" fmla="*/ 483726 w 668565"/>
                    <a:gd name="connsiteY1107" fmla="*/ 97836 h 538211"/>
                    <a:gd name="connsiteX1108" fmla="*/ 482815 w 668565"/>
                    <a:gd name="connsiteY1108" fmla="*/ 97119 h 538211"/>
                    <a:gd name="connsiteX1109" fmla="*/ 478456 w 668565"/>
                    <a:gd name="connsiteY1109" fmla="*/ 93731 h 538211"/>
                    <a:gd name="connsiteX1110" fmla="*/ 477764 w 668565"/>
                    <a:gd name="connsiteY1110" fmla="*/ 93197 h 538211"/>
                    <a:gd name="connsiteX1111" fmla="*/ 476950 w 668565"/>
                    <a:gd name="connsiteY1111" fmla="*/ 92881 h 538211"/>
                    <a:gd name="connsiteX1112" fmla="*/ 464237 w 668565"/>
                    <a:gd name="connsiteY1112" fmla="*/ 87854 h 538211"/>
                    <a:gd name="connsiteX1113" fmla="*/ 461747 w 668565"/>
                    <a:gd name="connsiteY1113" fmla="*/ 86336 h 538211"/>
                    <a:gd name="connsiteX1114" fmla="*/ 460727 w 668565"/>
                    <a:gd name="connsiteY1114" fmla="*/ 85741 h 538211"/>
                    <a:gd name="connsiteX1115" fmla="*/ 459477 w 668565"/>
                    <a:gd name="connsiteY1115" fmla="*/ 84952 h 538211"/>
                    <a:gd name="connsiteX1116" fmla="*/ 456247 w 668565"/>
                    <a:gd name="connsiteY1116" fmla="*/ 81406 h 538211"/>
                    <a:gd name="connsiteX1117" fmla="*/ 453247 w 668565"/>
                    <a:gd name="connsiteY1117" fmla="*/ 76088 h 538211"/>
                    <a:gd name="connsiteX1118" fmla="*/ 452931 w 668565"/>
                    <a:gd name="connsiteY1118" fmla="*/ 75541 h 538211"/>
                    <a:gd name="connsiteX1119" fmla="*/ 452519 w 668565"/>
                    <a:gd name="connsiteY1119" fmla="*/ 75055 h 538211"/>
                    <a:gd name="connsiteX1120" fmla="*/ 450163 w 668565"/>
                    <a:gd name="connsiteY1120" fmla="*/ 72384 h 538211"/>
                    <a:gd name="connsiteX1121" fmla="*/ 449313 w 668565"/>
                    <a:gd name="connsiteY1121" fmla="*/ 71425 h 538211"/>
                    <a:gd name="connsiteX1122" fmla="*/ 448159 w 668565"/>
                    <a:gd name="connsiteY1122" fmla="*/ 70890 h 538211"/>
                    <a:gd name="connsiteX1123" fmla="*/ 444990 w 668565"/>
                    <a:gd name="connsiteY1123" fmla="*/ 69421 h 538211"/>
                    <a:gd name="connsiteX1124" fmla="*/ 444431 w 668565"/>
                    <a:gd name="connsiteY1124" fmla="*/ 69166 h 538211"/>
                    <a:gd name="connsiteX1125" fmla="*/ 443836 w 668565"/>
                    <a:gd name="connsiteY1125" fmla="*/ 69020 h 538211"/>
                    <a:gd name="connsiteX1126" fmla="*/ 430163 w 668565"/>
                    <a:gd name="connsiteY1126" fmla="*/ 65778 h 538211"/>
                    <a:gd name="connsiteX1127" fmla="*/ 429787 w 668565"/>
                    <a:gd name="connsiteY1127" fmla="*/ 65681 h 538211"/>
                    <a:gd name="connsiteX1128" fmla="*/ 429399 w 668565"/>
                    <a:gd name="connsiteY1128" fmla="*/ 65645 h 538211"/>
                    <a:gd name="connsiteX1129" fmla="*/ 425391 w 668565"/>
                    <a:gd name="connsiteY1129" fmla="*/ 65220 h 538211"/>
                    <a:gd name="connsiteX1130" fmla="*/ 424299 w 668565"/>
                    <a:gd name="connsiteY1130" fmla="*/ 65098 h 538211"/>
                    <a:gd name="connsiteX1131" fmla="*/ 423242 w 668565"/>
                    <a:gd name="connsiteY1131" fmla="*/ 65378 h 538211"/>
                    <a:gd name="connsiteX1132" fmla="*/ 414378 w 668565"/>
                    <a:gd name="connsiteY1132" fmla="*/ 67673 h 538211"/>
                    <a:gd name="connsiteX1133" fmla="*/ 407432 w 668565"/>
                    <a:gd name="connsiteY1133" fmla="*/ 67988 h 538211"/>
                    <a:gd name="connsiteX1134" fmla="*/ 406958 w 668565"/>
                    <a:gd name="connsiteY1134" fmla="*/ 68013 h 538211"/>
                    <a:gd name="connsiteX1135" fmla="*/ 406509 w 668565"/>
                    <a:gd name="connsiteY1135" fmla="*/ 68098 h 538211"/>
                    <a:gd name="connsiteX1136" fmla="*/ 403194 w 668565"/>
                    <a:gd name="connsiteY1136" fmla="*/ 68765 h 538211"/>
                    <a:gd name="connsiteX1137" fmla="*/ 402174 w 668565"/>
                    <a:gd name="connsiteY1137" fmla="*/ 68972 h 538211"/>
                    <a:gd name="connsiteX1138" fmla="*/ 401288 w 668565"/>
                    <a:gd name="connsiteY1138" fmla="*/ 69506 h 538211"/>
                    <a:gd name="connsiteX1139" fmla="*/ 394852 w 668565"/>
                    <a:gd name="connsiteY1139" fmla="*/ 73343 h 538211"/>
                    <a:gd name="connsiteX1140" fmla="*/ 394451 w 668565"/>
                    <a:gd name="connsiteY1140" fmla="*/ 73185 h 538211"/>
                    <a:gd name="connsiteX1141" fmla="*/ 394087 w 668565"/>
                    <a:gd name="connsiteY1141" fmla="*/ 73052 h 538211"/>
                    <a:gd name="connsiteX1142" fmla="*/ 393710 w 668565"/>
                    <a:gd name="connsiteY1142" fmla="*/ 72955 h 538211"/>
                    <a:gd name="connsiteX1143" fmla="*/ 390238 w 668565"/>
                    <a:gd name="connsiteY1143" fmla="*/ 72117 h 538211"/>
                    <a:gd name="connsiteX1144" fmla="*/ 388732 w 668565"/>
                    <a:gd name="connsiteY1144" fmla="*/ 71388 h 538211"/>
                    <a:gd name="connsiteX1145" fmla="*/ 386449 w 668565"/>
                    <a:gd name="connsiteY1145" fmla="*/ 69555 h 538211"/>
                    <a:gd name="connsiteX1146" fmla="*/ 384275 w 668565"/>
                    <a:gd name="connsiteY1146" fmla="*/ 67126 h 538211"/>
                    <a:gd name="connsiteX1147" fmla="*/ 383413 w 668565"/>
                    <a:gd name="connsiteY1147" fmla="*/ 65803 h 538211"/>
                    <a:gd name="connsiteX1148" fmla="*/ 383292 w 668565"/>
                    <a:gd name="connsiteY1148" fmla="*/ 65183 h 538211"/>
                    <a:gd name="connsiteX1149" fmla="*/ 383037 w 668565"/>
                    <a:gd name="connsiteY1149" fmla="*/ 64576 h 538211"/>
                    <a:gd name="connsiteX1150" fmla="*/ 382575 w 668565"/>
                    <a:gd name="connsiteY1150" fmla="*/ 63483 h 538211"/>
                    <a:gd name="connsiteX1151" fmla="*/ 382284 w 668565"/>
                    <a:gd name="connsiteY1151" fmla="*/ 62803 h 538211"/>
                    <a:gd name="connsiteX1152" fmla="*/ 381835 w 668565"/>
                    <a:gd name="connsiteY1152" fmla="*/ 62208 h 538211"/>
                    <a:gd name="connsiteX1153" fmla="*/ 381130 w 668565"/>
                    <a:gd name="connsiteY1153" fmla="*/ 61261 h 538211"/>
                    <a:gd name="connsiteX1154" fmla="*/ 380924 w 668565"/>
                    <a:gd name="connsiteY1154" fmla="*/ 60994 h 538211"/>
                    <a:gd name="connsiteX1155" fmla="*/ 380693 w 668565"/>
                    <a:gd name="connsiteY1155" fmla="*/ 60751 h 538211"/>
                    <a:gd name="connsiteX1156" fmla="*/ 379904 w 668565"/>
                    <a:gd name="connsiteY1156" fmla="*/ 59913 h 538211"/>
                    <a:gd name="connsiteX1157" fmla="*/ 379212 w 668565"/>
                    <a:gd name="connsiteY1157" fmla="*/ 59173 h 538211"/>
                    <a:gd name="connsiteX1158" fmla="*/ 378313 w 668565"/>
                    <a:gd name="connsiteY1158" fmla="*/ 58699 h 538211"/>
                    <a:gd name="connsiteX1159" fmla="*/ 375557 w 668565"/>
                    <a:gd name="connsiteY1159" fmla="*/ 57242 h 538211"/>
                    <a:gd name="connsiteX1160" fmla="*/ 374755 w 668565"/>
                    <a:gd name="connsiteY1160" fmla="*/ 56817 h 538211"/>
                    <a:gd name="connsiteX1161" fmla="*/ 373857 w 668565"/>
                    <a:gd name="connsiteY1161" fmla="*/ 56647 h 538211"/>
                    <a:gd name="connsiteX1162" fmla="*/ 370991 w 668565"/>
                    <a:gd name="connsiteY1162" fmla="*/ 56100 h 538211"/>
                    <a:gd name="connsiteX1163" fmla="*/ 370299 w 668565"/>
                    <a:gd name="connsiteY1163" fmla="*/ 55967 h 538211"/>
                    <a:gd name="connsiteX1164" fmla="*/ 369595 w 668565"/>
                    <a:gd name="connsiteY1164" fmla="*/ 55991 h 538211"/>
                    <a:gd name="connsiteX1165" fmla="*/ 366668 w 668565"/>
                    <a:gd name="connsiteY1165" fmla="*/ 56112 h 538211"/>
                    <a:gd name="connsiteX1166" fmla="*/ 366243 w 668565"/>
                    <a:gd name="connsiteY1166" fmla="*/ 56125 h 538211"/>
                    <a:gd name="connsiteX1167" fmla="*/ 365830 w 668565"/>
                    <a:gd name="connsiteY1167" fmla="*/ 56197 h 538211"/>
                    <a:gd name="connsiteX1168" fmla="*/ 365782 w 668565"/>
                    <a:gd name="connsiteY1168" fmla="*/ 56197 h 538211"/>
                    <a:gd name="connsiteX1169" fmla="*/ 364895 w 668565"/>
                    <a:gd name="connsiteY1169" fmla="*/ 51474 h 538211"/>
                    <a:gd name="connsiteX1170" fmla="*/ 364713 w 668565"/>
                    <a:gd name="connsiteY1170" fmla="*/ 50490 h 538211"/>
                    <a:gd name="connsiteX1171" fmla="*/ 364215 w 668565"/>
                    <a:gd name="connsiteY1171" fmla="*/ 49616 h 538211"/>
                    <a:gd name="connsiteX1172" fmla="*/ 363183 w 668565"/>
                    <a:gd name="connsiteY1172" fmla="*/ 47770 h 538211"/>
                    <a:gd name="connsiteX1173" fmla="*/ 361143 w 668565"/>
                    <a:gd name="connsiteY1173" fmla="*/ 44370 h 538211"/>
                    <a:gd name="connsiteX1174" fmla="*/ 360269 w 668565"/>
                    <a:gd name="connsiteY1174" fmla="*/ 42901 h 538211"/>
                    <a:gd name="connsiteX1175" fmla="*/ 358751 w 668565"/>
                    <a:gd name="connsiteY1175" fmla="*/ 42112 h 538211"/>
                    <a:gd name="connsiteX1176" fmla="*/ 354222 w 668565"/>
                    <a:gd name="connsiteY1176" fmla="*/ 39756 h 538211"/>
                    <a:gd name="connsiteX1177" fmla="*/ 353663 w 668565"/>
                    <a:gd name="connsiteY1177" fmla="*/ 39465 h 538211"/>
                    <a:gd name="connsiteX1178" fmla="*/ 353056 w 668565"/>
                    <a:gd name="connsiteY1178" fmla="*/ 39295 h 538211"/>
                    <a:gd name="connsiteX1179" fmla="*/ 348599 w 668565"/>
                    <a:gd name="connsiteY1179" fmla="*/ 38044 h 538211"/>
                    <a:gd name="connsiteX1180" fmla="*/ 348454 w 668565"/>
                    <a:gd name="connsiteY1180" fmla="*/ 37971 h 538211"/>
                    <a:gd name="connsiteX1181" fmla="*/ 347069 w 668565"/>
                    <a:gd name="connsiteY1181" fmla="*/ 37255 h 538211"/>
                    <a:gd name="connsiteX1182" fmla="*/ 345515 w 668565"/>
                    <a:gd name="connsiteY1182" fmla="*/ 37291 h 538211"/>
                    <a:gd name="connsiteX1183" fmla="*/ 341022 w 668565"/>
                    <a:gd name="connsiteY1183" fmla="*/ 37412 h 538211"/>
                    <a:gd name="connsiteX1184" fmla="*/ 324678 w 668565"/>
                    <a:gd name="connsiteY1184" fmla="*/ 31620 h 538211"/>
                    <a:gd name="connsiteX1185" fmla="*/ 323269 w 668565"/>
                    <a:gd name="connsiteY1185" fmla="*/ 31122 h 538211"/>
                    <a:gd name="connsiteX1186" fmla="*/ 321788 w 668565"/>
                    <a:gd name="connsiteY1186" fmla="*/ 31329 h 538211"/>
                    <a:gd name="connsiteX1187" fmla="*/ 301460 w 668565"/>
                    <a:gd name="connsiteY1187" fmla="*/ 34219 h 538211"/>
                    <a:gd name="connsiteX1188" fmla="*/ 290690 w 668565"/>
                    <a:gd name="connsiteY1188" fmla="*/ 31559 h 538211"/>
                    <a:gd name="connsiteX1189" fmla="*/ 290362 w 668565"/>
                    <a:gd name="connsiteY1189" fmla="*/ 30722 h 538211"/>
                    <a:gd name="connsiteX1190" fmla="*/ 289475 w 668565"/>
                    <a:gd name="connsiteY1190" fmla="*/ 29835 h 538211"/>
                    <a:gd name="connsiteX1191" fmla="*/ 275086 w 668565"/>
                    <a:gd name="connsiteY1191" fmla="*/ 15446 h 538211"/>
                    <a:gd name="connsiteX1192" fmla="*/ 279105 w 668565"/>
                    <a:gd name="connsiteY1192" fmla="*/ 35239 h 538211"/>
                    <a:gd name="connsiteX1193" fmla="*/ 279117 w 668565"/>
                    <a:gd name="connsiteY1193" fmla="*/ 35312 h 538211"/>
                    <a:gd name="connsiteX1194" fmla="*/ 277624 w 668565"/>
                    <a:gd name="connsiteY1194" fmla="*/ 35773 h 538211"/>
                    <a:gd name="connsiteX1195" fmla="*/ 275450 w 668565"/>
                    <a:gd name="connsiteY1195" fmla="*/ 36040 h 538211"/>
                    <a:gd name="connsiteX1196" fmla="*/ 273410 w 668565"/>
                    <a:gd name="connsiteY1196" fmla="*/ 36307 h 538211"/>
                    <a:gd name="connsiteX1197" fmla="*/ 263575 w 668565"/>
                    <a:gd name="connsiteY1197" fmla="*/ 35725 h 538211"/>
                    <a:gd name="connsiteX1198" fmla="*/ 261109 w 668565"/>
                    <a:gd name="connsiteY1198" fmla="*/ 34194 h 538211"/>
                    <a:gd name="connsiteX1199" fmla="*/ 259555 w 668565"/>
                    <a:gd name="connsiteY1199" fmla="*/ 32628 h 538211"/>
                    <a:gd name="connsiteX1200" fmla="*/ 257540 w 668565"/>
                    <a:gd name="connsiteY1200" fmla="*/ 29823 h 538211"/>
                    <a:gd name="connsiteX1201" fmla="*/ 254152 w 668565"/>
                    <a:gd name="connsiteY1201" fmla="*/ 22926 h 538211"/>
                    <a:gd name="connsiteX1202" fmla="*/ 253727 w 668565"/>
                    <a:gd name="connsiteY1202" fmla="*/ 22076 h 538211"/>
                    <a:gd name="connsiteX1203" fmla="*/ 253071 w 668565"/>
                    <a:gd name="connsiteY1203" fmla="*/ 21384 h 538211"/>
                    <a:gd name="connsiteX1204" fmla="*/ 251626 w 668565"/>
                    <a:gd name="connsiteY1204" fmla="*/ 19890 h 538211"/>
                    <a:gd name="connsiteX1205" fmla="*/ 250315 w 668565"/>
                    <a:gd name="connsiteY1205" fmla="*/ 18530 h 538211"/>
                    <a:gd name="connsiteX1206" fmla="*/ 248457 w 668565"/>
                    <a:gd name="connsiteY1206" fmla="*/ 18154 h 538211"/>
                    <a:gd name="connsiteX1207" fmla="*/ 245761 w 668565"/>
                    <a:gd name="connsiteY1207" fmla="*/ 17607 h 538211"/>
                    <a:gd name="connsiteX1208" fmla="*/ 245093 w 668565"/>
                    <a:gd name="connsiteY1208" fmla="*/ 17474 h 538211"/>
                    <a:gd name="connsiteX1209" fmla="*/ 244413 w 668565"/>
                    <a:gd name="connsiteY1209" fmla="*/ 17486 h 538211"/>
                    <a:gd name="connsiteX1210" fmla="*/ 240321 w 668565"/>
                    <a:gd name="connsiteY1210" fmla="*/ 17583 h 538211"/>
                    <a:gd name="connsiteX1211" fmla="*/ 235063 w 668565"/>
                    <a:gd name="connsiteY1211" fmla="*/ 16745 h 538211"/>
                    <a:gd name="connsiteX1212" fmla="*/ 227838 w 668565"/>
                    <a:gd name="connsiteY1212" fmla="*/ 16235 h 538211"/>
                    <a:gd name="connsiteX1213" fmla="*/ 227389 w 668565"/>
                    <a:gd name="connsiteY1213" fmla="*/ 16211 h 538211"/>
                    <a:gd name="connsiteX1214" fmla="*/ 226939 w 668565"/>
                    <a:gd name="connsiteY1214" fmla="*/ 16247 h 538211"/>
                    <a:gd name="connsiteX1215" fmla="*/ 223588 w 668565"/>
                    <a:gd name="connsiteY1215" fmla="*/ 16527 h 538211"/>
                    <a:gd name="connsiteX1216" fmla="*/ 221985 w 668565"/>
                    <a:gd name="connsiteY1216" fmla="*/ 16393 h 538211"/>
                    <a:gd name="connsiteX1217" fmla="*/ 219702 w 668565"/>
                    <a:gd name="connsiteY1217" fmla="*/ 15664 h 538211"/>
                    <a:gd name="connsiteX1218" fmla="*/ 218075 w 668565"/>
                    <a:gd name="connsiteY1218" fmla="*/ 14790 h 538211"/>
                    <a:gd name="connsiteX1219" fmla="*/ 217419 w 668565"/>
                    <a:gd name="connsiteY1219" fmla="*/ 14438 h 538211"/>
                    <a:gd name="connsiteX1220" fmla="*/ 216691 w 668565"/>
                    <a:gd name="connsiteY1220" fmla="*/ 14256 h 538211"/>
                    <a:gd name="connsiteX1221" fmla="*/ 213533 w 668565"/>
                    <a:gd name="connsiteY1221" fmla="*/ 13454 h 538211"/>
                    <a:gd name="connsiteX1222" fmla="*/ 212926 w 668565"/>
                    <a:gd name="connsiteY1222" fmla="*/ 13309 h 538211"/>
                    <a:gd name="connsiteX1223" fmla="*/ 212307 w 668565"/>
                    <a:gd name="connsiteY1223" fmla="*/ 13284 h 538211"/>
                    <a:gd name="connsiteX1224" fmla="*/ 207948 w 668565"/>
                    <a:gd name="connsiteY1224" fmla="*/ 13090 h 538211"/>
                    <a:gd name="connsiteX1225" fmla="*/ 207450 w 668565"/>
                    <a:gd name="connsiteY1225" fmla="*/ 13066 h 538211"/>
                    <a:gd name="connsiteX1226" fmla="*/ 206952 w 668565"/>
                    <a:gd name="connsiteY1226" fmla="*/ 13127 h 538211"/>
                    <a:gd name="connsiteX1227" fmla="*/ 199071 w 668565"/>
                    <a:gd name="connsiteY1227" fmla="*/ 14074 h 538211"/>
                    <a:gd name="connsiteX1228" fmla="*/ 198658 w 668565"/>
                    <a:gd name="connsiteY1228" fmla="*/ 14122 h 538211"/>
                    <a:gd name="connsiteX1229" fmla="*/ 198258 w 668565"/>
                    <a:gd name="connsiteY1229" fmla="*/ 14219 h 538211"/>
                    <a:gd name="connsiteX1230" fmla="*/ 194700 w 668565"/>
                    <a:gd name="connsiteY1230" fmla="*/ 15154 h 538211"/>
                    <a:gd name="connsiteX1231" fmla="*/ 193036 w 668565"/>
                    <a:gd name="connsiteY1231" fmla="*/ 15361 h 538211"/>
                    <a:gd name="connsiteX1232" fmla="*/ 191276 w 668565"/>
                    <a:gd name="connsiteY1232" fmla="*/ 14256 h 538211"/>
                    <a:gd name="connsiteX1233" fmla="*/ 185957 w 668565"/>
                    <a:gd name="connsiteY1233" fmla="*/ 8585 h 538211"/>
                    <a:gd name="connsiteX1234" fmla="*/ 185605 w 668565"/>
                    <a:gd name="connsiteY1234" fmla="*/ 8196 h 538211"/>
                    <a:gd name="connsiteX1235" fmla="*/ 185180 w 668565"/>
                    <a:gd name="connsiteY1235" fmla="*/ 7881 h 538211"/>
                    <a:gd name="connsiteX1236" fmla="*/ 183516 w 668565"/>
                    <a:gd name="connsiteY1236" fmla="*/ 6630 h 538211"/>
                    <a:gd name="connsiteX1237" fmla="*/ 182593 w 668565"/>
                    <a:gd name="connsiteY1237" fmla="*/ 5938 h 538211"/>
                    <a:gd name="connsiteX1238" fmla="*/ 181488 w 668565"/>
                    <a:gd name="connsiteY1238" fmla="*/ 5634 h 538211"/>
                    <a:gd name="connsiteX1239" fmla="*/ 179898 w 668565"/>
                    <a:gd name="connsiteY1239" fmla="*/ 5197 h 538211"/>
                    <a:gd name="connsiteX1240" fmla="*/ 178525 w 668565"/>
                    <a:gd name="connsiteY1240" fmla="*/ 4821 h 538211"/>
                    <a:gd name="connsiteX1241" fmla="*/ 177129 w 668565"/>
                    <a:gd name="connsiteY1241" fmla="*/ 5088 h 538211"/>
                    <a:gd name="connsiteX1242" fmla="*/ 176073 w 668565"/>
                    <a:gd name="connsiteY1242" fmla="*/ 5294 h 538211"/>
                    <a:gd name="connsiteX1243" fmla="*/ 175575 w 668565"/>
                    <a:gd name="connsiteY1243" fmla="*/ 4432 h 538211"/>
                    <a:gd name="connsiteX1244" fmla="*/ 174628 w 668565"/>
                    <a:gd name="connsiteY1244" fmla="*/ 3691 h 538211"/>
                    <a:gd name="connsiteX1245" fmla="*/ 173243 w 668565"/>
                    <a:gd name="connsiteY1245" fmla="*/ 2623 h 538211"/>
                    <a:gd name="connsiteX1246" fmla="*/ 172272 w 668565"/>
                    <a:gd name="connsiteY1246" fmla="*/ 1870 h 538211"/>
                    <a:gd name="connsiteX1247" fmla="*/ 171082 w 668565"/>
                    <a:gd name="connsiteY1247" fmla="*/ 1554 h 538211"/>
                    <a:gd name="connsiteX1248" fmla="*/ 169260 w 668565"/>
                    <a:gd name="connsiteY1248" fmla="*/ 1069 h 538211"/>
                    <a:gd name="connsiteX1249" fmla="*/ 168483 w 668565"/>
                    <a:gd name="connsiteY1249" fmla="*/ 862 h 538211"/>
                    <a:gd name="connsiteX1250" fmla="*/ 167670 w 668565"/>
                    <a:gd name="connsiteY1250" fmla="*/ 862 h 538211"/>
                    <a:gd name="connsiteX1251" fmla="*/ 164318 w 668565"/>
                    <a:gd name="connsiteY1251" fmla="*/ 886 h 538211"/>
                    <a:gd name="connsiteX1252" fmla="*/ 158089 w 668565"/>
                    <a:gd name="connsiteY1252" fmla="*/ 0 h 538211"/>
                    <a:gd name="connsiteX1253" fmla="*/ 157810 w 668565"/>
                    <a:gd name="connsiteY1253" fmla="*/ 0 h 538211"/>
                    <a:gd name="connsiteX1254" fmla="*/ 157810 w 668565"/>
                    <a:gd name="connsiteY1254" fmla="*/ 0 h 53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Lst>
                  <a:rect l="l" t="t" r="r" b="b"/>
                  <a:pathLst>
                    <a:path w="668565" h="538211">
                      <a:moveTo>
                        <a:pt x="157433" y="6071"/>
                      </a:moveTo>
                      <a:lnTo>
                        <a:pt x="164100" y="7019"/>
                      </a:lnTo>
                      <a:lnTo>
                        <a:pt x="167900" y="6994"/>
                      </a:lnTo>
                      <a:lnTo>
                        <a:pt x="169722" y="7480"/>
                      </a:lnTo>
                      <a:lnTo>
                        <a:pt x="171106" y="8549"/>
                      </a:lnTo>
                      <a:lnTo>
                        <a:pt x="172077" y="10236"/>
                      </a:lnTo>
                      <a:lnTo>
                        <a:pt x="174033" y="11536"/>
                      </a:lnTo>
                      <a:lnTo>
                        <a:pt x="175805" y="11609"/>
                      </a:lnTo>
                      <a:lnTo>
                        <a:pt x="178465" y="11099"/>
                      </a:lnTo>
                      <a:lnTo>
                        <a:pt x="180056" y="11536"/>
                      </a:lnTo>
                      <a:lnTo>
                        <a:pt x="181719" y="12787"/>
                      </a:lnTo>
                      <a:lnTo>
                        <a:pt x="187584" y="19028"/>
                      </a:lnTo>
                      <a:lnTo>
                        <a:pt x="190790" y="21032"/>
                      </a:lnTo>
                      <a:lnTo>
                        <a:pt x="192696" y="21578"/>
                      </a:lnTo>
                      <a:lnTo>
                        <a:pt x="196023" y="21177"/>
                      </a:lnTo>
                      <a:lnTo>
                        <a:pt x="199982" y="20145"/>
                      </a:lnTo>
                      <a:lnTo>
                        <a:pt x="207863" y="19198"/>
                      </a:lnTo>
                      <a:lnTo>
                        <a:pt x="212222" y="19392"/>
                      </a:lnTo>
                      <a:lnTo>
                        <a:pt x="215379" y="20194"/>
                      </a:lnTo>
                      <a:lnTo>
                        <a:pt x="217492" y="21323"/>
                      </a:lnTo>
                      <a:lnTo>
                        <a:pt x="220953" y="22440"/>
                      </a:lnTo>
                      <a:lnTo>
                        <a:pt x="223758" y="22671"/>
                      </a:lnTo>
                      <a:lnTo>
                        <a:pt x="227607" y="22355"/>
                      </a:lnTo>
                      <a:lnTo>
                        <a:pt x="234261" y="22792"/>
                      </a:lnTo>
                      <a:lnTo>
                        <a:pt x="240066" y="23727"/>
                      </a:lnTo>
                      <a:lnTo>
                        <a:pt x="244717" y="23618"/>
                      </a:lnTo>
                      <a:lnTo>
                        <a:pt x="247412" y="24164"/>
                      </a:lnTo>
                      <a:lnTo>
                        <a:pt x="248857" y="25658"/>
                      </a:lnTo>
                      <a:lnTo>
                        <a:pt x="252464" y="33004"/>
                      </a:lnTo>
                      <a:lnTo>
                        <a:pt x="255050" y="36623"/>
                      </a:lnTo>
                      <a:lnTo>
                        <a:pt x="257455" y="39040"/>
                      </a:lnTo>
                      <a:lnTo>
                        <a:pt x="261826" y="41760"/>
                      </a:lnTo>
                      <a:lnTo>
                        <a:pt x="273775" y="42476"/>
                      </a:lnTo>
                      <a:lnTo>
                        <a:pt x="276361" y="42136"/>
                      </a:lnTo>
                      <a:lnTo>
                        <a:pt x="279057" y="41796"/>
                      </a:lnTo>
                      <a:lnTo>
                        <a:pt x="285031" y="39962"/>
                      </a:lnTo>
                      <a:lnTo>
                        <a:pt x="285723" y="36538"/>
                      </a:lnTo>
                      <a:lnTo>
                        <a:pt x="285213" y="34061"/>
                      </a:lnTo>
                      <a:lnTo>
                        <a:pt x="285335" y="34182"/>
                      </a:lnTo>
                      <a:lnTo>
                        <a:pt x="286355" y="36757"/>
                      </a:lnTo>
                      <a:lnTo>
                        <a:pt x="301303" y="40448"/>
                      </a:lnTo>
                      <a:lnTo>
                        <a:pt x="322808" y="37400"/>
                      </a:lnTo>
                      <a:lnTo>
                        <a:pt x="340221" y="43569"/>
                      </a:lnTo>
                      <a:lnTo>
                        <a:pt x="345831" y="43411"/>
                      </a:lnTo>
                      <a:lnTo>
                        <a:pt x="346523" y="43763"/>
                      </a:lnTo>
                      <a:lnTo>
                        <a:pt x="351575" y="45172"/>
                      </a:lnTo>
                      <a:lnTo>
                        <a:pt x="356104" y="47527"/>
                      </a:lnTo>
                      <a:lnTo>
                        <a:pt x="358059" y="50770"/>
                      </a:lnTo>
                      <a:lnTo>
                        <a:pt x="359091" y="52615"/>
                      </a:lnTo>
                      <a:lnTo>
                        <a:pt x="360366" y="59379"/>
                      </a:lnTo>
                      <a:lnTo>
                        <a:pt x="361617" y="62075"/>
                      </a:lnTo>
                      <a:lnTo>
                        <a:pt x="363984" y="62743"/>
                      </a:lnTo>
                      <a:lnTo>
                        <a:pt x="367093" y="62172"/>
                      </a:lnTo>
                      <a:lnTo>
                        <a:pt x="370020" y="62050"/>
                      </a:lnTo>
                      <a:lnTo>
                        <a:pt x="372885" y="62597"/>
                      </a:lnTo>
                      <a:lnTo>
                        <a:pt x="375642" y="64054"/>
                      </a:lnTo>
                      <a:lnTo>
                        <a:pt x="376431" y="64892"/>
                      </a:lnTo>
                      <a:lnTo>
                        <a:pt x="377135" y="65839"/>
                      </a:lnTo>
                      <a:lnTo>
                        <a:pt x="377597" y="66932"/>
                      </a:lnTo>
                      <a:lnTo>
                        <a:pt x="377815" y="68110"/>
                      </a:lnTo>
                      <a:lnTo>
                        <a:pt x="379600" y="70830"/>
                      </a:lnTo>
                      <a:lnTo>
                        <a:pt x="382405" y="73963"/>
                      </a:lnTo>
                      <a:lnTo>
                        <a:pt x="385623" y="76549"/>
                      </a:lnTo>
                      <a:lnTo>
                        <a:pt x="388331" y="77848"/>
                      </a:lnTo>
                      <a:lnTo>
                        <a:pt x="392411" y="78844"/>
                      </a:lnTo>
                      <a:lnTo>
                        <a:pt x="394646" y="79706"/>
                      </a:lnTo>
                      <a:lnTo>
                        <a:pt x="396831" y="79306"/>
                      </a:lnTo>
                      <a:lnTo>
                        <a:pt x="404530" y="74715"/>
                      </a:lnTo>
                      <a:lnTo>
                        <a:pt x="407845" y="74048"/>
                      </a:lnTo>
                      <a:lnTo>
                        <a:pt x="415422" y="73708"/>
                      </a:lnTo>
                      <a:lnTo>
                        <a:pt x="424906" y="71243"/>
                      </a:lnTo>
                      <a:lnTo>
                        <a:pt x="428913" y="71668"/>
                      </a:lnTo>
                      <a:lnTo>
                        <a:pt x="442586" y="74910"/>
                      </a:lnTo>
                      <a:lnTo>
                        <a:pt x="445755" y="76379"/>
                      </a:lnTo>
                      <a:lnTo>
                        <a:pt x="448111" y="79050"/>
                      </a:lnTo>
                      <a:lnTo>
                        <a:pt x="451438" y="84964"/>
                      </a:lnTo>
                      <a:lnTo>
                        <a:pt x="455688" y="89639"/>
                      </a:lnTo>
                      <a:lnTo>
                        <a:pt x="457801" y="90963"/>
                      </a:lnTo>
                      <a:lnTo>
                        <a:pt x="458736" y="91509"/>
                      </a:lnTo>
                      <a:lnTo>
                        <a:pt x="461662" y="93294"/>
                      </a:lnTo>
                      <a:lnTo>
                        <a:pt x="474862" y="98516"/>
                      </a:lnTo>
                      <a:lnTo>
                        <a:pt x="479221" y="101904"/>
                      </a:lnTo>
                      <a:lnTo>
                        <a:pt x="482147" y="106870"/>
                      </a:lnTo>
                      <a:lnTo>
                        <a:pt x="485547" y="111411"/>
                      </a:lnTo>
                      <a:lnTo>
                        <a:pt x="491121" y="113536"/>
                      </a:lnTo>
                      <a:lnTo>
                        <a:pt x="494327" y="112784"/>
                      </a:lnTo>
                      <a:lnTo>
                        <a:pt x="500240" y="109651"/>
                      </a:lnTo>
                      <a:lnTo>
                        <a:pt x="503276" y="109687"/>
                      </a:lnTo>
                      <a:lnTo>
                        <a:pt x="505583" y="111314"/>
                      </a:lnTo>
                      <a:lnTo>
                        <a:pt x="510635" y="118952"/>
                      </a:lnTo>
                      <a:lnTo>
                        <a:pt x="515978" y="121854"/>
                      </a:lnTo>
                      <a:lnTo>
                        <a:pt x="517241" y="123749"/>
                      </a:lnTo>
                      <a:lnTo>
                        <a:pt x="512651" y="131763"/>
                      </a:lnTo>
                      <a:lnTo>
                        <a:pt x="511327" y="132844"/>
                      </a:lnTo>
                      <a:lnTo>
                        <a:pt x="509773" y="133074"/>
                      </a:lnTo>
                      <a:lnTo>
                        <a:pt x="508000" y="133002"/>
                      </a:lnTo>
                      <a:lnTo>
                        <a:pt x="506275" y="133196"/>
                      </a:lnTo>
                      <a:lnTo>
                        <a:pt x="505061" y="134179"/>
                      </a:lnTo>
                      <a:lnTo>
                        <a:pt x="505122" y="136754"/>
                      </a:lnTo>
                      <a:lnTo>
                        <a:pt x="507077" y="139219"/>
                      </a:lnTo>
                      <a:lnTo>
                        <a:pt x="509603" y="141672"/>
                      </a:lnTo>
                      <a:lnTo>
                        <a:pt x="511327" y="144161"/>
                      </a:lnTo>
                      <a:lnTo>
                        <a:pt x="511946" y="148192"/>
                      </a:lnTo>
                      <a:lnTo>
                        <a:pt x="510926" y="151277"/>
                      </a:lnTo>
                      <a:lnTo>
                        <a:pt x="509202" y="154240"/>
                      </a:lnTo>
                      <a:lnTo>
                        <a:pt x="507599" y="157858"/>
                      </a:lnTo>
                      <a:lnTo>
                        <a:pt x="514375" y="156340"/>
                      </a:lnTo>
                      <a:lnTo>
                        <a:pt x="521260" y="156717"/>
                      </a:lnTo>
                      <a:lnTo>
                        <a:pt x="534981" y="160530"/>
                      </a:lnTo>
                      <a:lnTo>
                        <a:pt x="553524" y="170548"/>
                      </a:lnTo>
                      <a:lnTo>
                        <a:pt x="562995" y="174142"/>
                      </a:lnTo>
                      <a:lnTo>
                        <a:pt x="569152" y="177870"/>
                      </a:lnTo>
                      <a:lnTo>
                        <a:pt x="572309" y="178623"/>
                      </a:lnTo>
                      <a:lnTo>
                        <a:pt x="576110" y="178137"/>
                      </a:lnTo>
                      <a:lnTo>
                        <a:pt x="578854" y="177299"/>
                      </a:lnTo>
                      <a:lnTo>
                        <a:pt x="581720" y="177068"/>
                      </a:lnTo>
                      <a:lnTo>
                        <a:pt x="585690" y="178392"/>
                      </a:lnTo>
                      <a:lnTo>
                        <a:pt x="604111" y="188264"/>
                      </a:lnTo>
                      <a:lnTo>
                        <a:pt x="609454" y="192344"/>
                      </a:lnTo>
                      <a:lnTo>
                        <a:pt x="611749" y="195186"/>
                      </a:lnTo>
                      <a:lnTo>
                        <a:pt x="615428" y="201852"/>
                      </a:lnTo>
                      <a:lnTo>
                        <a:pt x="617723" y="204803"/>
                      </a:lnTo>
                      <a:lnTo>
                        <a:pt x="620431" y="206952"/>
                      </a:lnTo>
                      <a:lnTo>
                        <a:pt x="636448" y="213643"/>
                      </a:lnTo>
                      <a:lnTo>
                        <a:pt x="650861" y="217407"/>
                      </a:lnTo>
                      <a:lnTo>
                        <a:pt x="656897" y="220479"/>
                      </a:lnTo>
                      <a:lnTo>
                        <a:pt x="660673" y="226308"/>
                      </a:lnTo>
                      <a:lnTo>
                        <a:pt x="662009" y="229198"/>
                      </a:lnTo>
                      <a:lnTo>
                        <a:pt x="660673" y="232452"/>
                      </a:lnTo>
                      <a:lnTo>
                        <a:pt x="659179" y="232537"/>
                      </a:lnTo>
                      <a:lnTo>
                        <a:pt x="646551" y="236642"/>
                      </a:lnTo>
                      <a:lnTo>
                        <a:pt x="643284" y="235864"/>
                      </a:lnTo>
                      <a:lnTo>
                        <a:pt x="641438" y="232222"/>
                      </a:lnTo>
                      <a:lnTo>
                        <a:pt x="639605" y="229696"/>
                      </a:lnTo>
                      <a:lnTo>
                        <a:pt x="636618" y="231797"/>
                      </a:lnTo>
                      <a:lnTo>
                        <a:pt x="633339" y="235549"/>
                      </a:lnTo>
                      <a:lnTo>
                        <a:pt x="630716" y="237989"/>
                      </a:lnTo>
                      <a:lnTo>
                        <a:pt x="633181" y="243478"/>
                      </a:lnTo>
                      <a:lnTo>
                        <a:pt x="629502" y="248882"/>
                      </a:lnTo>
                      <a:lnTo>
                        <a:pt x="618185" y="257054"/>
                      </a:lnTo>
                      <a:lnTo>
                        <a:pt x="615598" y="259665"/>
                      </a:lnTo>
                      <a:lnTo>
                        <a:pt x="609976" y="268250"/>
                      </a:lnTo>
                      <a:lnTo>
                        <a:pt x="608082" y="270180"/>
                      </a:lnTo>
                      <a:lnTo>
                        <a:pt x="601415" y="274540"/>
                      </a:lnTo>
                      <a:lnTo>
                        <a:pt x="596534" y="278960"/>
                      </a:lnTo>
                      <a:lnTo>
                        <a:pt x="594130" y="280429"/>
                      </a:lnTo>
                      <a:lnTo>
                        <a:pt x="590560" y="281522"/>
                      </a:lnTo>
                      <a:lnTo>
                        <a:pt x="583784" y="282323"/>
                      </a:lnTo>
                      <a:lnTo>
                        <a:pt x="580979" y="283841"/>
                      </a:lnTo>
                      <a:lnTo>
                        <a:pt x="579425" y="287351"/>
                      </a:lnTo>
                      <a:lnTo>
                        <a:pt x="576899" y="294758"/>
                      </a:lnTo>
                      <a:lnTo>
                        <a:pt x="572758" y="301157"/>
                      </a:lnTo>
                      <a:lnTo>
                        <a:pt x="563117" y="312693"/>
                      </a:lnTo>
                      <a:lnTo>
                        <a:pt x="559158" y="315886"/>
                      </a:lnTo>
                      <a:lnTo>
                        <a:pt x="547950" y="318752"/>
                      </a:lnTo>
                      <a:lnTo>
                        <a:pt x="543020" y="322565"/>
                      </a:lnTo>
                      <a:lnTo>
                        <a:pt x="540263" y="328260"/>
                      </a:lnTo>
                      <a:lnTo>
                        <a:pt x="540324" y="333457"/>
                      </a:lnTo>
                      <a:lnTo>
                        <a:pt x="542109" y="338618"/>
                      </a:lnTo>
                      <a:lnTo>
                        <a:pt x="544635" y="344107"/>
                      </a:lnTo>
                      <a:lnTo>
                        <a:pt x="546347" y="349449"/>
                      </a:lnTo>
                      <a:lnTo>
                        <a:pt x="546068" y="353955"/>
                      </a:lnTo>
                      <a:lnTo>
                        <a:pt x="543882" y="358180"/>
                      </a:lnTo>
                      <a:lnTo>
                        <a:pt x="539632" y="362710"/>
                      </a:lnTo>
                      <a:lnTo>
                        <a:pt x="538551" y="363462"/>
                      </a:lnTo>
                      <a:lnTo>
                        <a:pt x="536244" y="364664"/>
                      </a:lnTo>
                      <a:lnTo>
                        <a:pt x="535200" y="365466"/>
                      </a:lnTo>
                      <a:lnTo>
                        <a:pt x="534520" y="366899"/>
                      </a:lnTo>
                      <a:lnTo>
                        <a:pt x="534811" y="368137"/>
                      </a:lnTo>
                      <a:lnTo>
                        <a:pt x="535261" y="369291"/>
                      </a:lnTo>
                      <a:lnTo>
                        <a:pt x="535200" y="370347"/>
                      </a:lnTo>
                      <a:lnTo>
                        <a:pt x="533889" y="372181"/>
                      </a:lnTo>
                      <a:lnTo>
                        <a:pt x="532274" y="373760"/>
                      </a:lnTo>
                      <a:lnTo>
                        <a:pt x="528497" y="376492"/>
                      </a:lnTo>
                      <a:lnTo>
                        <a:pt x="528436" y="376528"/>
                      </a:lnTo>
                      <a:lnTo>
                        <a:pt x="526712" y="378617"/>
                      </a:lnTo>
                      <a:lnTo>
                        <a:pt x="525049" y="379795"/>
                      </a:lnTo>
                      <a:lnTo>
                        <a:pt x="523786" y="381118"/>
                      </a:lnTo>
                      <a:lnTo>
                        <a:pt x="523263" y="383753"/>
                      </a:lnTo>
                      <a:lnTo>
                        <a:pt x="522122" y="385623"/>
                      </a:lnTo>
                      <a:lnTo>
                        <a:pt x="516658" y="387348"/>
                      </a:lnTo>
                      <a:lnTo>
                        <a:pt x="514654" y="388780"/>
                      </a:lnTo>
                      <a:lnTo>
                        <a:pt x="513901" y="392423"/>
                      </a:lnTo>
                      <a:lnTo>
                        <a:pt x="515286" y="395848"/>
                      </a:lnTo>
                      <a:lnTo>
                        <a:pt x="519256" y="402538"/>
                      </a:lnTo>
                      <a:lnTo>
                        <a:pt x="520628" y="410808"/>
                      </a:lnTo>
                      <a:lnTo>
                        <a:pt x="521661" y="412921"/>
                      </a:lnTo>
                      <a:lnTo>
                        <a:pt x="523263" y="413188"/>
                      </a:lnTo>
                      <a:lnTo>
                        <a:pt x="525000" y="413127"/>
                      </a:lnTo>
                      <a:lnTo>
                        <a:pt x="526372" y="414244"/>
                      </a:lnTo>
                      <a:lnTo>
                        <a:pt x="526882" y="418093"/>
                      </a:lnTo>
                      <a:lnTo>
                        <a:pt x="526129" y="422866"/>
                      </a:lnTo>
                      <a:lnTo>
                        <a:pt x="522231" y="436271"/>
                      </a:lnTo>
                      <a:lnTo>
                        <a:pt x="520458" y="435871"/>
                      </a:lnTo>
                      <a:lnTo>
                        <a:pt x="518103" y="434086"/>
                      </a:lnTo>
                      <a:lnTo>
                        <a:pt x="514885" y="434486"/>
                      </a:lnTo>
                      <a:lnTo>
                        <a:pt x="513901" y="437474"/>
                      </a:lnTo>
                      <a:lnTo>
                        <a:pt x="517058" y="445998"/>
                      </a:lnTo>
                      <a:lnTo>
                        <a:pt x="517520" y="449155"/>
                      </a:lnTo>
                      <a:lnTo>
                        <a:pt x="515237" y="451851"/>
                      </a:lnTo>
                      <a:lnTo>
                        <a:pt x="511618" y="452859"/>
                      </a:lnTo>
                      <a:lnTo>
                        <a:pt x="507708" y="452834"/>
                      </a:lnTo>
                      <a:lnTo>
                        <a:pt x="504490" y="452397"/>
                      </a:lnTo>
                      <a:lnTo>
                        <a:pt x="498698" y="455105"/>
                      </a:lnTo>
                      <a:lnTo>
                        <a:pt x="495080" y="462852"/>
                      </a:lnTo>
                      <a:lnTo>
                        <a:pt x="493465" y="471960"/>
                      </a:lnTo>
                      <a:lnTo>
                        <a:pt x="494096" y="478675"/>
                      </a:lnTo>
                      <a:lnTo>
                        <a:pt x="494096" y="478699"/>
                      </a:lnTo>
                      <a:lnTo>
                        <a:pt x="492493" y="482232"/>
                      </a:lnTo>
                      <a:lnTo>
                        <a:pt x="489785" y="484248"/>
                      </a:lnTo>
                      <a:lnTo>
                        <a:pt x="486689" y="485766"/>
                      </a:lnTo>
                      <a:lnTo>
                        <a:pt x="483762" y="487976"/>
                      </a:lnTo>
                      <a:lnTo>
                        <a:pt x="481407" y="491303"/>
                      </a:lnTo>
                      <a:lnTo>
                        <a:pt x="480205" y="494752"/>
                      </a:lnTo>
                      <a:lnTo>
                        <a:pt x="479682" y="498455"/>
                      </a:lnTo>
                      <a:lnTo>
                        <a:pt x="479512" y="502560"/>
                      </a:lnTo>
                      <a:lnTo>
                        <a:pt x="480666" y="510829"/>
                      </a:lnTo>
                      <a:lnTo>
                        <a:pt x="484102" y="513440"/>
                      </a:lnTo>
                      <a:lnTo>
                        <a:pt x="487563" y="514132"/>
                      </a:lnTo>
                      <a:lnTo>
                        <a:pt x="487794" y="514168"/>
                      </a:lnTo>
                      <a:lnTo>
                        <a:pt x="487563" y="514132"/>
                      </a:lnTo>
                      <a:lnTo>
                        <a:pt x="486920" y="517350"/>
                      </a:lnTo>
                      <a:lnTo>
                        <a:pt x="486009" y="519657"/>
                      </a:lnTo>
                      <a:lnTo>
                        <a:pt x="484236" y="522656"/>
                      </a:lnTo>
                      <a:lnTo>
                        <a:pt x="479124" y="528121"/>
                      </a:lnTo>
                      <a:lnTo>
                        <a:pt x="476537" y="529894"/>
                      </a:lnTo>
                      <a:lnTo>
                        <a:pt x="473951" y="531156"/>
                      </a:lnTo>
                      <a:lnTo>
                        <a:pt x="471425" y="531934"/>
                      </a:lnTo>
                      <a:lnTo>
                        <a:pt x="468596" y="532079"/>
                      </a:lnTo>
                      <a:lnTo>
                        <a:pt x="465159" y="531363"/>
                      </a:lnTo>
                      <a:lnTo>
                        <a:pt x="461602" y="529056"/>
                      </a:lnTo>
                      <a:lnTo>
                        <a:pt x="460509" y="527003"/>
                      </a:lnTo>
                      <a:lnTo>
                        <a:pt x="460691" y="524818"/>
                      </a:lnTo>
                      <a:lnTo>
                        <a:pt x="461492" y="523154"/>
                      </a:lnTo>
                      <a:lnTo>
                        <a:pt x="460970" y="522025"/>
                      </a:lnTo>
                      <a:lnTo>
                        <a:pt x="458614" y="522438"/>
                      </a:lnTo>
                      <a:lnTo>
                        <a:pt x="456319" y="523263"/>
                      </a:lnTo>
                      <a:lnTo>
                        <a:pt x="454316" y="523434"/>
                      </a:lnTo>
                      <a:lnTo>
                        <a:pt x="453223" y="521940"/>
                      </a:lnTo>
                      <a:lnTo>
                        <a:pt x="453442" y="519754"/>
                      </a:lnTo>
                      <a:lnTo>
                        <a:pt x="454194" y="517350"/>
                      </a:lnTo>
                      <a:lnTo>
                        <a:pt x="453854" y="515504"/>
                      </a:lnTo>
                      <a:lnTo>
                        <a:pt x="452640" y="514703"/>
                      </a:lnTo>
                      <a:lnTo>
                        <a:pt x="450066" y="515164"/>
                      </a:lnTo>
                      <a:lnTo>
                        <a:pt x="444662" y="517411"/>
                      </a:lnTo>
                      <a:lnTo>
                        <a:pt x="442719" y="517204"/>
                      </a:lnTo>
                      <a:lnTo>
                        <a:pt x="441566" y="515419"/>
                      </a:lnTo>
                      <a:lnTo>
                        <a:pt x="441675" y="513379"/>
                      </a:lnTo>
                      <a:lnTo>
                        <a:pt x="443460" y="509251"/>
                      </a:lnTo>
                      <a:lnTo>
                        <a:pt x="444031" y="507126"/>
                      </a:lnTo>
                      <a:lnTo>
                        <a:pt x="442355" y="504952"/>
                      </a:lnTo>
                      <a:lnTo>
                        <a:pt x="438700" y="502706"/>
                      </a:lnTo>
                      <a:lnTo>
                        <a:pt x="429508" y="501188"/>
                      </a:lnTo>
                      <a:lnTo>
                        <a:pt x="425707" y="501018"/>
                      </a:lnTo>
                      <a:lnTo>
                        <a:pt x="423181" y="502159"/>
                      </a:lnTo>
                      <a:lnTo>
                        <a:pt x="423242" y="503422"/>
                      </a:lnTo>
                      <a:lnTo>
                        <a:pt x="423072" y="504855"/>
                      </a:lnTo>
                      <a:lnTo>
                        <a:pt x="422392" y="506385"/>
                      </a:lnTo>
                      <a:lnTo>
                        <a:pt x="417450" y="508109"/>
                      </a:lnTo>
                      <a:lnTo>
                        <a:pt x="404979" y="505498"/>
                      </a:lnTo>
                      <a:lnTo>
                        <a:pt x="401142" y="507538"/>
                      </a:lnTo>
                      <a:lnTo>
                        <a:pt x="398835" y="508388"/>
                      </a:lnTo>
                      <a:lnTo>
                        <a:pt x="396600" y="508388"/>
                      </a:lnTo>
                      <a:lnTo>
                        <a:pt x="395168" y="506263"/>
                      </a:lnTo>
                      <a:lnTo>
                        <a:pt x="394075" y="503920"/>
                      </a:lnTo>
                      <a:lnTo>
                        <a:pt x="392532" y="502220"/>
                      </a:lnTo>
                      <a:lnTo>
                        <a:pt x="385004" y="502390"/>
                      </a:lnTo>
                      <a:lnTo>
                        <a:pt x="369497" y="508279"/>
                      </a:lnTo>
                      <a:lnTo>
                        <a:pt x="367032" y="502815"/>
                      </a:lnTo>
                      <a:lnTo>
                        <a:pt x="364434" y="493574"/>
                      </a:lnTo>
                      <a:lnTo>
                        <a:pt x="363183" y="491619"/>
                      </a:lnTo>
                      <a:lnTo>
                        <a:pt x="361568" y="489676"/>
                      </a:lnTo>
                      <a:lnTo>
                        <a:pt x="358654" y="486859"/>
                      </a:lnTo>
                      <a:lnTo>
                        <a:pt x="357379" y="485135"/>
                      </a:lnTo>
                      <a:lnTo>
                        <a:pt x="355885" y="483763"/>
                      </a:lnTo>
                      <a:lnTo>
                        <a:pt x="354052" y="483641"/>
                      </a:lnTo>
                      <a:lnTo>
                        <a:pt x="352327" y="484588"/>
                      </a:lnTo>
                      <a:lnTo>
                        <a:pt x="350154" y="485159"/>
                      </a:lnTo>
                      <a:lnTo>
                        <a:pt x="346304" y="484855"/>
                      </a:lnTo>
                      <a:lnTo>
                        <a:pt x="341884" y="483423"/>
                      </a:lnTo>
                      <a:lnTo>
                        <a:pt x="318279" y="467163"/>
                      </a:lnTo>
                      <a:lnTo>
                        <a:pt x="315352" y="464322"/>
                      </a:lnTo>
                      <a:lnTo>
                        <a:pt x="313506" y="461711"/>
                      </a:lnTo>
                      <a:lnTo>
                        <a:pt x="313179" y="459780"/>
                      </a:lnTo>
                      <a:lnTo>
                        <a:pt x="313057" y="457667"/>
                      </a:lnTo>
                      <a:lnTo>
                        <a:pt x="312365" y="455797"/>
                      </a:lnTo>
                      <a:lnTo>
                        <a:pt x="310750" y="454073"/>
                      </a:lnTo>
                      <a:lnTo>
                        <a:pt x="296749" y="446605"/>
                      </a:lnTo>
                      <a:lnTo>
                        <a:pt x="294393" y="445998"/>
                      </a:lnTo>
                      <a:lnTo>
                        <a:pt x="293179" y="446180"/>
                      </a:lnTo>
                      <a:lnTo>
                        <a:pt x="288820" y="448621"/>
                      </a:lnTo>
                      <a:lnTo>
                        <a:pt x="276992" y="451681"/>
                      </a:lnTo>
                      <a:lnTo>
                        <a:pt x="270107" y="456052"/>
                      </a:lnTo>
                      <a:lnTo>
                        <a:pt x="268492" y="445172"/>
                      </a:lnTo>
                      <a:lnTo>
                        <a:pt x="267230" y="441384"/>
                      </a:lnTo>
                      <a:lnTo>
                        <a:pt x="264813" y="437304"/>
                      </a:lnTo>
                      <a:lnTo>
                        <a:pt x="261498" y="433661"/>
                      </a:lnTo>
                      <a:lnTo>
                        <a:pt x="234043" y="419587"/>
                      </a:lnTo>
                      <a:lnTo>
                        <a:pt x="232659" y="418239"/>
                      </a:lnTo>
                      <a:lnTo>
                        <a:pt x="233011" y="417778"/>
                      </a:lnTo>
                      <a:lnTo>
                        <a:pt x="234954" y="416782"/>
                      </a:lnTo>
                      <a:lnTo>
                        <a:pt x="235014" y="415434"/>
                      </a:lnTo>
                      <a:lnTo>
                        <a:pt x="234674" y="414220"/>
                      </a:lnTo>
                      <a:lnTo>
                        <a:pt x="234893" y="413018"/>
                      </a:lnTo>
                      <a:lnTo>
                        <a:pt x="235828" y="412204"/>
                      </a:lnTo>
                      <a:lnTo>
                        <a:pt x="239264" y="411463"/>
                      </a:lnTo>
                      <a:lnTo>
                        <a:pt x="240527" y="410456"/>
                      </a:lnTo>
                      <a:lnTo>
                        <a:pt x="241499" y="410152"/>
                      </a:lnTo>
                      <a:lnTo>
                        <a:pt x="242652" y="410686"/>
                      </a:lnTo>
                      <a:lnTo>
                        <a:pt x="244389" y="411840"/>
                      </a:lnTo>
                      <a:lnTo>
                        <a:pt x="246502" y="412435"/>
                      </a:lnTo>
                      <a:lnTo>
                        <a:pt x="248165" y="412095"/>
                      </a:lnTo>
                      <a:lnTo>
                        <a:pt x="250569" y="407699"/>
                      </a:lnTo>
                      <a:lnTo>
                        <a:pt x="251844" y="406120"/>
                      </a:lnTo>
                      <a:lnTo>
                        <a:pt x="253460" y="405586"/>
                      </a:lnTo>
                      <a:lnTo>
                        <a:pt x="254649" y="406036"/>
                      </a:lnTo>
                      <a:lnTo>
                        <a:pt x="255924" y="406934"/>
                      </a:lnTo>
                      <a:lnTo>
                        <a:pt x="257697" y="407068"/>
                      </a:lnTo>
                      <a:lnTo>
                        <a:pt x="260065" y="406072"/>
                      </a:lnTo>
                      <a:lnTo>
                        <a:pt x="268832" y="398264"/>
                      </a:lnTo>
                      <a:lnTo>
                        <a:pt x="270387" y="395872"/>
                      </a:lnTo>
                      <a:lnTo>
                        <a:pt x="271079" y="393322"/>
                      </a:lnTo>
                      <a:lnTo>
                        <a:pt x="271261" y="391343"/>
                      </a:lnTo>
                      <a:lnTo>
                        <a:pt x="268723" y="389643"/>
                      </a:lnTo>
                      <a:lnTo>
                        <a:pt x="254941" y="386910"/>
                      </a:lnTo>
                      <a:lnTo>
                        <a:pt x="249950" y="385016"/>
                      </a:lnTo>
                      <a:lnTo>
                        <a:pt x="219338" y="367737"/>
                      </a:lnTo>
                      <a:lnTo>
                        <a:pt x="209235" y="359006"/>
                      </a:lnTo>
                      <a:lnTo>
                        <a:pt x="202690" y="350652"/>
                      </a:lnTo>
                      <a:lnTo>
                        <a:pt x="199302" y="345139"/>
                      </a:lnTo>
                      <a:lnTo>
                        <a:pt x="195283" y="336675"/>
                      </a:lnTo>
                      <a:lnTo>
                        <a:pt x="188507" y="329960"/>
                      </a:lnTo>
                      <a:lnTo>
                        <a:pt x="170135" y="321836"/>
                      </a:lnTo>
                      <a:lnTo>
                        <a:pt x="166565" y="318995"/>
                      </a:lnTo>
                      <a:lnTo>
                        <a:pt x="164852" y="316457"/>
                      </a:lnTo>
                      <a:lnTo>
                        <a:pt x="159740" y="305116"/>
                      </a:lnTo>
                      <a:lnTo>
                        <a:pt x="152442" y="295013"/>
                      </a:lnTo>
                      <a:lnTo>
                        <a:pt x="141538" y="283695"/>
                      </a:lnTo>
                      <a:lnTo>
                        <a:pt x="139534" y="282433"/>
                      </a:lnTo>
                      <a:lnTo>
                        <a:pt x="137859" y="282032"/>
                      </a:lnTo>
                      <a:lnTo>
                        <a:pt x="135054" y="281923"/>
                      </a:lnTo>
                      <a:lnTo>
                        <a:pt x="132006" y="282663"/>
                      </a:lnTo>
                      <a:lnTo>
                        <a:pt x="130160" y="283817"/>
                      </a:lnTo>
                      <a:lnTo>
                        <a:pt x="128727" y="285541"/>
                      </a:lnTo>
                      <a:lnTo>
                        <a:pt x="127817" y="288237"/>
                      </a:lnTo>
                      <a:lnTo>
                        <a:pt x="128047" y="293471"/>
                      </a:lnTo>
                      <a:lnTo>
                        <a:pt x="128849" y="298146"/>
                      </a:lnTo>
                      <a:lnTo>
                        <a:pt x="134471" y="315486"/>
                      </a:lnTo>
                      <a:lnTo>
                        <a:pt x="135855" y="324593"/>
                      </a:lnTo>
                      <a:lnTo>
                        <a:pt x="134179" y="333081"/>
                      </a:lnTo>
                      <a:lnTo>
                        <a:pt x="127817" y="339577"/>
                      </a:lnTo>
                      <a:lnTo>
                        <a:pt x="118855" y="343767"/>
                      </a:lnTo>
                      <a:lnTo>
                        <a:pt x="114544" y="342504"/>
                      </a:lnTo>
                      <a:lnTo>
                        <a:pt x="112990" y="341812"/>
                      </a:lnTo>
                      <a:lnTo>
                        <a:pt x="106226" y="336869"/>
                      </a:lnTo>
                      <a:lnTo>
                        <a:pt x="95480" y="330616"/>
                      </a:lnTo>
                      <a:lnTo>
                        <a:pt x="92444" y="329462"/>
                      </a:lnTo>
                      <a:lnTo>
                        <a:pt x="90040" y="329705"/>
                      </a:lnTo>
                      <a:lnTo>
                        <a:pt x="84284" y="334259"/>
                      </a:lnTo>
                      <a:lnTo>
                        <a:pt x="67114" y="342674"/>
                      </a:lnTo>
                      <a:lnTo>
                        <a:pt x="58165" y="325904"/>
                      </a:lnTo>
                      <a:lnTo>
                        <a:pt x="56780" y="320622"/>
                      </a:lnTo>
                      <a:lnTo>
                        <a:pt x="55177" y="309997"/>
                      </a:lnTo>
                      <a:lnTo>
                        <a:pt x="52020" y="301618"/>
                      </a:lnTo>
                      <a:lnTo>
                        <a:pt x="51267" y="297963"/>
                      </a:lnTo>
                      <a:lnTo>
                        <a:pt x="51498" y="289378"/>
                      </a:lnTo>
                      <a:lnTo>
                        <a:pt x="50527" y="281145"/>
                      </a:lnTo>
                      <a:lnTo>
                        <a:pt x="51158" y="277588"/>
                      </a:lnTo>
                      <a:lnTo>
                        <a:pt x="59476" y="264813"/>
                      </a:lnTo>
                      <a:lnTo>
                        <a:pt x="67745" y="245955"/>
                      </a:lnTo>
                      <a:lnTo>
                        <a:pt x="74181" y="238888"/>
                      </a:lnTo>
                      <a:lnTo>
                        <a:pt x="83835" y="232100"/>
                      </a:lnTo>
                      <a:lnTo>
                        <a:pt x="87441" y="228749"/>
                      </a:lnTo>
                      <a:lnTo>
                        <a:pt x="88595" y="226016"/>
                      </a:lnTo>
                      <a:lnTo>
                        <a:pt x="85377" y="222726"/>
                      </a:lnTo>
                      <a:lnTo>
                        <a:pt x="63374" y="212866"/>
                      </a:lnTo>
                      <a:lnTo>
                        <a:pt x="51960" y="206005"/>
                      </a:lnTo>
                      <a:lnTo>
                        <a:pt x="35251" y="191737"/>
                      </a:lnTo>
                      <a:lnTo>
                        <a:pt x="30539" y="190389"/>
                      </a:lnTo>
                      <a:lnTo>
                        <a:pt x="27273" y="190280"/>
                      </a:lnTo>
                      <a:lnTo>
                        <a:pt x="20886" y="194214"/>
                      </a:lnTo>
                      <a:lnTo>
                        <a:pt x="20655" y="194360"/>
                      </a:lnTo>
                      <a:lnTo>
                        <a:pt x="12155" y="189916"/>
                      </a:lnTo>
                      <a:lnTo>
                        <a:pt x="7456" y="185568"/>
                      </a:lnTo>
                      <a:lnTo>
                        <a:pt x="4420" y="185629"/>
                      </a:lnTo>
                      <a:lnTo>
                        <a:pt x="2684" y="186406"/>
                      </a:lnTo>
                      <a:lnTo>
                        <a:pt x="1336" y="186686"/>
                      </a:lnTo>
                      <a:lnTo>
                        <a:pt x="2684" y="186406"/>
                      </a:lnTo>
                      <a:lnTo>
                        <a:pt x="4420" y="185629"/>
                      </a:lnTo>
                      <a:lnTo>
                        <a:pt x="7456" y="185568"/>
                      </a:lnTo>
                      <a:lnTo>
                        <a:pt x="12155" y="189916"/>
                      </a:lnTo>
                      <a:lnTo>
                        <a:pt x="20667" y="194360"/>
                      </a:lnTo>
                      <a:lnTo>
                        <a:pt x="20886" y="194214"/>
                      </a:lnTo>
                      <a:lnTo>
                        <a:pt x="20194" y="192988"/>
                      </a:lnTo>
                      <a:lnTo>
                        <a:pt x="17619" y="189393"/>
                      </a:lnTo>
                      <a:lnTo>
                        <a:pt x="17206" y="187645"/>
                      </a:lnTo>
                      <a:lnTo>
                        <a:pt x="19162" y="184803"/>
                      </a:lnTo>
                      <a:lnTo>
                        <a:pt x="23302" y="183067"/>
                      </a:lnTo>
                      <a:lnTo>
                        <a:pt x="28062" y="182253"/>
                      </a:lnTo>
                      <a:lnTo>
                        <a:pt x="32033" y="182023"/>
                      </a:lnTo>
                      <a:lnTo>
                        <a:pt x="35870" y="181245"/>
                      </a:lnTo>
                      <a:lnTo>
                        <a:pt x="40302" y="179351"/>
                      </a:lnTo>
                      <a:lnTo>
                        <a:pt x="55287" y="170475"/>
                      </a:lnTo>
                      <a:lnTo>
                        <a:pt x="59646" y="168605"/>
                      </a:lnTo>
                      <a:lnTo>
                        <a:pt x="61553" y="168398"/>
                      </a:lnTo>
                      <a:lnTo>
                        <a:pt x="63677" y="165763"/>
                      </a:lnTo>
                      <a:lnTo>
                        <a:pt x="64078" y="163638"/>
                      </a:lnTo>
                      <a:lnTo>
                        <a:pt x="64017" y="161829"/>
                      </a:lnTo>
                      <a:lnTo>
                        <a:pt x="63787" y="160517"/>
                      </a:lnTo>
                      <a:lnTo>
                        <a:pt x="62864" y="159425"/>
                      </a:lnTo>
                      <a:lnTo>
                        <a:pt x="60909" y="159036"/>
                      </a:lnTo>
                      <a:lnTo>
                        <a:pt x="58322" y="158842"/>
                      </a:lnTo>
                      <a:lnTo>
                        <a:pt x="56258" y="158247"/>
                      </a:lnTo>
                      <a:lnTo>
                        <a:pt x="54825" y="156486"/>
                      </a:lnTo>
                      <a:lnTo>
                        <a:pt x="50575" y="149395"/>
                      </a:lnTo>
                      <a:lnTo>
                        <a:pt x="50927" y="148314"/>
                      </a:lnTo>
                      <a:lnTo>
                        <a:pt x="54303" y="146128"/>
                      </a:lnTo>
                      <a:lnTo>
                        <a:pt x="55408" y="144234"/>
                      </a:lnTo>
                      <a:lnTo>
                        <a:pt x="55736" y="142279"/>
                      </a:lnTo>
                      <a:lnTo>
                        <a:pt x="54595" y="136972"/>
                      </a:lnTo>
                      <a:lnTo>
                        <a:pt x="53793" y="135394"/>
                      </a:lnTo>
                      <a:lnTo>
                        <a:pt x="50745" y="131921"/>
                      </a:lnTo>
                      <a:lnTo>
                        <a:pt x="50005" y="129395"/>
                      </a:lnTo>
                      <a:lnTo>
                        <a:pt x="49834" y="124878"/>
                      </a:lnTo>
                      <a:lnTo>
                        <a:pt x="49021" y="121490"/>
                      </a:lnTo>
                      <a:lnTo>
                        <a:pt x="43739" y="116645"/>
                      </a:lnTo>
                      <a:lnTo>
                        <a:pt x="43107" y="113719"/>
                      </a:lnTo>
                      <a:lnTo>
                        <a:pt x="43508" y="110039"/>
                      </a:lnTo>
                      <a:lnTo>
                        <a:pt x="47940" y="100762"/>
                      </a:lnTo>
                      <a:lnTo>
                        <a:pt x="50296" y="93877"/>
                      </a:lnTo>
                      <a:lnTo>
                        <a:pt x="52178" y="91121"/>
                      </a:lnTo>
                      <a:lnTo>
                        <a:pt x="53793" y="90951"/>
                      </a:lnTo>
                      <a:lnTo>
                        <a:pt x="55457" y="92408"/>
                      </a:lnTo>
                      <a:lnTo>
                        <a:pt x="56319" y="93015"/>
                      </a:lnTo>
                      <a:lnTo>
                        <a:pt x="58784" y="93039"/>
                      </a:lnTo>
                      <a:lnTo>
                        <a:pt x="59998" y="88498"/>
                      </a:lnTo>
                      <a:lnTo>
                        <a:pt x="59877" y="83543"/>
                      </a:lnTo>
                      <a:lnTo>
                        <a:pt x="59185" y="81297"/>
                      </a:lnTo>
                      <a:lnTo>
                        <a:pt x="57752" y="79973"/>
                      </a:lnTo>
                      <a:lnTo>
                        <a:pt x="55857" y="79026"/>
                      </a:lnTo>
                      <a:lnTo>
                        <a:pt x="54133" y="77302"/>
                      </a:lnTo>
                      <a:lnTo>
                        <a:pt x="51838" y="73368"/>
                      </a:lnTo>
                      <a:lnTo>
                        <a:pt x="51790" y="71133"/>
                      </a:lnTo>
                      <a:lnTo>
                        <a:pt x="53052" y="69980"/>
                      </a:lnTo>
                      <a:lnTo>
                        <a:pt x="54704" y="70308"/>
                      </a:lnTo>
                      <a:lnTo>
                        <a:pt x="56598" y="71085"/>
                      </a:lnTo>
                      <a:lnTo>
                        <a:pt x="58213" y="71085"/>
                      </a:lnTo>
                      <a:lnTo>
                        <a:pt x="59937" y="70271"/>
                      </a:lnTo>
                      <a:lnTo>
                        <a:pt x="61613" y="68608"/>
                      </a:lnTo>
                      <a:lnTo>
                        <a:pt x="62742" y="66143"/>
                      </a:lnTo>
                      <a:lnTo>
                        <a:pt x="62524" y="64273"/>
                      </a:lnTo>
                      <a:lnTo>
                        <a:pt x="60448" y="60508"/>
                      </a:lnTo>
                      <a:lnTo>
                        <a:pt x="60909" y="58444"/>
                      </a:lnTo>
                      <a:lnTo>
                        <a:pt x="62354" y="56550"/>
                      </a:lnTo>
                      <a:lnTo>
                        <a:pt x="73550" y="45718"/>
                      </a:lnTo>
                      <a:lnTo>
                        <a:pt x="79573" y="38457"/>
                      </a:lnTo>
                      <a:lnTo>
                        <a:pt x="85377" y="32810"/>
                      </a:lnTo>
                      <a:lnTo>
                        <a:pt x="87672" y="31232"/>
                      </a:lnTo>
                      <a:lnTo>
                        <a:pt x="89858" y="30539"/>
                      </a:lnTo>
                      <a:lnTo>
                        <a:pt x="91922" y="30564"/>
                      </a:lnTo>
                      <a:lnTo>
                        <a:pt x="100422" y="32033"/>
                      </a:lnTo>
                      <a:lnTo>
                        <a:pt x="103919" y="31863"/>
                      </a:lnTo>
                      <a:lnTo>
                        <a:pt x="106166" y="31377"/>
                      </a:lnTo>
                      <a:lnTo>
                        <a:pt x="112018" y="28706"/>
                      </a:lnTo>
                      <a:lnTo>
                        <a:pt x="120689" y="22695"/>
                      </a:lnTo>
                      <a:lnTo>
                        <a:pt x="133657" y="15664"/>
                      </a:lnTo>
                      <a:lnTo>
                        <a:pt x="142728" y="12969"/>
                      </a:lnTo>
                      <a:lnTo>
                        <a:pt x="152042" y="6934"/>
                      </a:lnTo>
                      <a:lnTo>
                        <a:pt x="154507" y="6132"/>
                      </a:lnTo>
                      <a:lnTo>
                        <a:pt x="157433" y="6071"/>
                      </a:lnTo>
                      <a:moveTo>
                        <a:pt x="157810" y="0"/>
                      </a:moveTo>
                      <a:lnTo>
                        <a:pt x="157312" y="0"/>
                      </a:lnTo>
                      <a:lnTo>
                        <a:pt x="154385" y="61"/>
                      </a:lnTo>
                      <a:lnTo>
                        <a:pt x="153487" y="73"/>
                      </a:lnTo>
                      <a:lnTo>
                        <a:pt x="152625" y="352"/>
                      </a:lnTo>
                      <a:lnTo>
                        <a:pt x="150160" y="1154"/>
                      </a:lnTo>
                      <a:lnTo>
                        <a:pt x="149407" y="1409"/>
                      </a:lnTo>
                      <a:lnTo>
                        <a:pt x="148739" y="1846"/>
                      </a:lnTo>
                      <a:lnTo>
                        <a:pt x="140154" y="7407"/>
                      </a:lnTo>
                      <a:lnTo>
                        <a:pt x="131921" y="9848"/>
                      </a:lnTo>
                      <a:lnTo>
                        <a:pt x="131314" y="10030"/>
                      </a:lnTo>
                      <a:lnTo>
                        <a:pt x="130755" y="10334"/>
                      </a:lnTo>
                      <a:lnTo>
                        <a:pt x="117786" y="17364"/>
                      </a:lnTo>
                      <a:lnTo>
                        <a:pt x="117495" y="17522"/>
                      </a:lnTo>
                      <a:lnTo>
                        <a:pt x="117216" y="17717"/>
                      </a:lnTo>
                      <a:lnTo>
                        <a:pt x="108995" y="23412"/>
                      </a:lnTo>
                      <a:lnTo>
                        <a:pt x="104223" y="25597"/>
                      </a:lnTo>
                      <a:lnTo>
                        <a:pt x="103118" y="25840"/>
                      </a:lnTo>
                      <a:lnTo>
                        <a:pt x="100798" y="25949"/>
                      </a:lnTo>
                      <a:lnTo>
                        <a:pt x="92954" y="24589"/>
                      </a:lnTo>
                      <a:lnTo>
                        <a:pt x="92481" y="24504"/>
                      </a:lnTo>
                      <a:lnTo>
                        <a:pt x="91995" y="24504"/>
                      </a:lnTo>
                      <a:lnTo>
                        <a:pt x="89930" y="24480"/>
                      </a:lnTo>
                      <a:lnTo>
                        <a:pt x="88947" y="24468"/>
                      </a:lnTo>
                      <a:lnTo>
                        <a:pt x="88012" y="24759"/>
                      </a:lnTo>
                      <a:lnTo>
                        <a:pt x="85826" y="25452"/>
                      </a:lnTo>
                      <a:lnTo>
                        <a:pt x="84964" y="25719"/>
                      </a:lnTo>
                      <a:lnTo>
                        <a:pt x="84223" y="26229"/>
                      </a:lnTo>
                      <a:lnTo>
                        <a:pt x="81928" y="27807"/>
                      </a:lnTo>
                      <a:lnTo>
                        <a:pt x="81503" y="28099"/>
                      </a:lnTo>
                      <a:lnTo>
                        <a:pt x="81139" y="28463"/>
                      </a:lnTo>
                      <a:lnTo>
                        <a:pt x="75335" y="34109"/>
                      </a:lnTo>
                      <a:lnTo>
                        <a:pt x="75104" y="34340"/>
                      </a:lnTo>
                      <a:lnTo>
                        <a:pt x="74898" y="34595"/>
                      </a:lnTo>
                      <a:lnTo>
                        <a:pt x="69081" y="41602"/>
                      </a:lnTo>
                      <a:lnTo>
                        <a:pt x="58128" y="52202"/>
                      </a:lnTo>
                      <a:lnTo>
                        <a:pt x="57800" y="52518"/>
                      </a:lnTo>
                      <a:lnTo>
                        <a:pt x="57521" y="52882"/>
                      </a:lnTo>
                      <a:lnTo>
                        <a:pt x="56076" y="54777"/>
                      </a:lnTo>
                      <a:lnTo>
                        <a:pt x="55262" y="55845"/>
                      </a:lnTo>
                      <a:lnTo>
                        <a:pt x="54971" y="57145"/>
                      </a:lnTo>
                      <a:lnTo>
                        <a:pt x="54510" y="59209"/>
                      </a:lnTo>
                      <a:lnTo>
                        <a:pt x="54012" y="61443"/>
                      </a:lnTo>
                      <a:lnTo>
                        <a:pt x="55117" y="63447"/>
                      </a:lnTo>
                      <a:lnTo>
                        <a:pt x="55590" y="64309"/>
                      </a:lnTo>
                      <a:lnTo>
                        <a:pt x="54230" y="64042"/>
                      </a:lnTo>
                      <a:lnTo>
                        <a:pt x="51207" y="63435"/>
                      </a:lnTo>
                      <a:lnTo>
                        <a:pt x="48936" y="65511"/>
                      </a:lnTo>
                      <a:lnTo>
                        <a:pt x="47673" y="66665"/>
                      </a:lnTo>
                      <a:lnTo>
                        <a:pt x="45633" y="68523"/>
                      </a:lnTo>
                      <a:lnTo>
                        <a:pt x="45694" y="71291"/>
                      </a:lnTo>
                      <a:lnTo>
                        <a:pt x="45742" y="73525"/>
                      </a:lnTo>
                      <a:lnTo>
                        <a:pt x="45779" y="75092"/>
                      </a:lnTo>
                      <a:lnTo>
                        <a:pt x="46568" y="76440"/>
                      </a:lnTo>
                      <a:lnTo>
                        <a:pt x="48863" y="80374"/>
                      </a:lnTo>
                      <a:lnTo>
                        <a:pt x="49252" y="81054"/>
                      </a:lnTo>
                      <a:lnTo>
                        <a:pt x="49810" y="81601"/>
                      </a:lnTo>
                      <a:lnTo>
                        <a:pt x="51534" y="83325"/>
                      </a:lnTo>
                      <a:lnTo>
                        <a:pt x="52227" y="84017"/>
                      </a:lnTo>
                      <a:lnTo>
                        <a:pt x="53101" y="84454"/>
                      </a:lnTo>
                      <a:lnTo>
                        <a:pt x="53793" y="84806"/>
                      </a:lnTo>
                      <a:lnTo>
                        <a:pt x="53793" y="84843"/>
                      </a:lnTo>
                      <a:lnTo>
                        <a:pt x="53101" y="84916"/>
                      </a:lnTo>
                      <a:lnTo>
                        <a:pt x="51486" y="85086"/>
                      </a:lnTo>
                      <a:lnTo>
                        <a:pt x="48705" y="85377"/>
                      </a:lnTo>
                      <a:lnTo>
                        <a:pt x="47127" y="87696"/>
                      </a:lnTo>
                      <a:lnTo>
                        <a:pt x="45245" y="90453"/>
                      </a:lnTo>
                      <a:lnTo>
                        <a:pt x="44783" y="91133"/>
                      </a:lnTo>
                      <a:lnTo>
                        <a:pt x="44516" y="91910"/>
                      </a:lnTo>
                      <a:lnTo>
                        <a:pt x="42270" y="98467"/>
                      </a:lnTo>
                      <a:lnTo>
                        <a:pt x="37995" y="107429"/>
                      </a:lnTo>
                      <a:lnTo>
                        <a:pt x="37546" y="108364"/>
                      </a:lnTo>
                      <a:lnTo>
                        <a:pt x="37437" y="109384"/>
                      </a:lnTo>
                      <a:lnTo>
                        <a:pt x="37036" y="113063"/>
                      </a:lnTo>
                      <a:lnTo>
                        <a:pt x="36927" y="114046"/>
                      </a:lnTo>
                      <a:lnTo>
                        <a:pt x="37133" y="115018"/>
                      </a:lnTo>
                      <a:lnTo>
                        <a:pt x="37765" y="117944"/>
                      </a:lnTo>
                      <a:lnTo>
                        <a:pt x="38177" y="119826"/>
                      </a:lnTo>
                      <a:lnTo>
                        <a:pt x="39598" y="121126"/>
                      </a:lnTo>
                      <a:lnTo>
                        <a:pt x="43508" y="124720"/>
                      </a:lnTo>
                      <a:lnTo>
                        <a:pt x="43751" y="125716"/>
                      </a:lnTo>
                      <a:lnTo>
                        <a:pt x="43897" y="129626"/>
                      </a:lnTo>
                      <a:lnTo>
                        <a:pt x="43921" y="130379"/>
                      </a:lnTo>
                      <a:lnTo>
                        <a:pt x="44140" y="131107"/>
                      </a:lnTo>
                      <a:lnTo>
                        <a:pt x="44880" y="133633"/>
                      </a:lnTo>
                      <a:lnTo>
                        <a:pt x="45257" y="134920"/>
                      </a:lnTo>
                      <a:lnTo>
                        <a:pt x="46143" y="135928"/>
                      </a:lnTo>
                      <a:lnTo>
                        <a:pt x="48681" y="138830"/>
                      </a:lnTo>
                      <a:lnTo>
                        <a:pt x="48778" y="139024"/>
                      </a:lnTo>
                      <a:lnTo>
                        <a:pt x="49422" y="142036"/>
                      </a:lnTo>
                      <a:lnTo>
                        <a:pt x="47576" y="143238"/>
                      </a:lnTo>
                      <a:lnTo>
                        <a:pt x="45767" y="144416"/>
                      </a:lnTo>
                      <a:lnTo>
                        <a:pt x="45099" y="146456"/>
                      </a:lnTo>
                      <a:lnTo>
                        <a:pt x="44747" y="147537"/>
                      </a:lnTo>
                      <a:lnTo>
                        <a:pt x="43897" y="150160"/>
                      </a:lnTo>
                      <a:lnTo>
                        <a:pt x="45317" y="152527"/>
                      </a:lnTo>
                      <a:lnTo>
                        <a:pt x="49567" y="159619"/>
                      </a:lnTo>
                      <a:lnTo>
                        <a:pt x="49798" y="159995"/>
                      </a:lnTo>
                      <a:lnTo>
                        <a:pt x="50077" y="160335"/>
                      </a:lnTo>
                      <a:lnTo>
                        <a:pt x="51510" y="162096"/>
                      </a:lnTo>
                      <a:lnTo>
                        <a:pt x="52712" y="163578"/>
                      </a:lnTo>
                      <a:lnTo>
                        <a:pt x="54534" y="164100"/>
                      </a:lnTo>
                      <a:lnTo>
                        <a:pt x="54655" y="164136"/>
                      </a:lnTo>
                      <a:lnTo>
                        <a:pt x="52846" y="164913"/>
                      </a:lnTo>
                      <a:lnTo>
                        <a:pt x="52482" y="165071"/>
                      </a:lnTo>
                      <a:lnTo>
                        <a:pt x="52142" y="165278"/>
                      </a:lnTo>
                      <a:lnTo>
                        <a:pt x="37497" y="173948"/>
                      </a:lnTo>
                      <a:lnTo>
                        <a:pt x="34000" y="175441"/>
                      </a:lnTo>
                      <a:lnTo>
                        <a:pt x="31195" y="176012"/>
                      </a:lnTo>
                      <a:lnTo>
                        <a:pt x="27649" y="176218"/>
                      </a:lnTo>
                      <a:lnTo>
                        <a:pt x="27322" y="176230"/>
                      </a:lnTo>
                      <a:lnTo>
                        <a:pt x="26994" y="176291"/>
                      </a:lnTo>
                      <a:lnTo>
                        <a:pt x="22234" y="177105"/>
                      </a:lnTo>
                      <a:lnTo>
                        <a:pt x="21542" y="177214"/>
                      </a:lnTo>
                      <a:lnTo>
                        <a:pt x="20898" y="177481"/>
                      </a:lnTo>
                      <a:lnTo>
                        <a:pt x="16757" y="179218"/>
                      </a:lnTo>
                      <a:lnTo>
                        <a:pt x="15106" y="179910"/>
                      </a:lnTo>
                      <a:lnTo>
                        <a:pt x="14098" y="181379"/>
                      </a:lnTo>
                      <a:lnTo>
                        <a:pt x="13199" y="182678"/>
                      </a:lnTo>
                      <a:lnTo>
                        <a:pt x="11511" y="181124"/>
                      </a:lnTo>
                      <a:lnTo>
                        <a:pt x="9714" y="179460"/>
                      </a:lnTo>
                      <a:lnTo>
                        <a:pt x="7274" y="179509"/>
                      </a:lnTo>
                      <a:lnTo>
                        <a:pt x="4238" y="179570"/>
                      </a:lnTo>
                      <a:lnTo>
                        <a:pt x="2999" y="179594"/>
                      </a:lnTo>
                      <a:lnTo>
                        <a:pt x="1870" y="180104"/>
                      </a:lnTo>
                      <a:lnTo>
                        <a:pt x="716" y="180614"/>
                      </a:lnTo>
                      <a:lnTo>
                        <a:pt x="0" y="180760"/>
                      </a:lnTo>
                      <a:lnTo>
                        <a:pt x="2489" y="192648"/>
                      </a:lnTo>
                      <a:lnTo>
                        <a:pt x="3837" y="192368"/>
                      </a:lnTo>
                      <a:lnTo>
                        <a:pt x="4493" y="192235"/>
                      </a:lnTo>
                      <a:lnTo>
                        <a:pt x="5100" y="191968"/>
                      </a:lnTo>
                      <a:lnTo>
                        <a:pt x="5258" y="191895"/>
                      </a:lnTo>
                      <a:lnTo>
                        <a:pt x="7966" y="194396"/>
                      </a:lnTo>
                      <a:lnTo>
                        <a:pt x="8561" y="194943"/>
                      </a:lnTo>
                      <a:lnTo>
                        <a:pt x="9277" y="195319"/>
                      </a:lnTo>
                      <a:lnTo>
                        <a:pt x="17777" y="199763"/>
                      </a:lnTo>
                      <a:lnTo>
                        <a:pt x="20946" y="201427"/>
                      </a:lnTo>
                      <a:lnTo>
                        <a:pt x="23934" y="199460"/>
                      </a:lnTo>
                      <a:lnTo>
                        <a:pt x="28839" y="196436"/>
                      </a:lnTo>
                      <a:lnTo>
                        <a:pt x="29532" y="196461"/>
                      </a:lnTo>
                      <a:lnTo>
                        <a:pt x="32252" y="197238"/>
                      </a:lnTo>
                      <a:lnTo>
                        <a:pt x="47965" y="210656"/>
                      </a:lnTo>
                      <a:lnTo>
                        <a:pt x="48353" y="210984"/>
                      </a:lnTo>
                      <a:lnTo>
                        <a:pt x="48778" y="211239"/>
                      </a:lnTo>
                      <a:lnTo>
                        <a:pt x="60193" y="218099"/>
                      </a:lnTo>
                      <a:lnTo>
                        <a:pt x="60496" y="218281"/>
                      </a:lnTo>
                      <a:lnTo>
                        <a:pt x="60824" y="218427"/>
                      </a:lnTo>
                      <a:lnTo>
                        <a:pt x="80228" y="227121"/>
                      </a:lnTo>
                      <a:lnTo>
                        <a:pt x="79937" y="227389"/>
                      </a:lnTo>
                      <a:lnTo>
                        <a:pt x="70611" y="233946"/>
                      </a:lnTo>
                      <a:lnTo>
                        <a:pt x="70065" y="234334"/>
                      </a:lnTo>
                      <a:lnTo>
                        <a:pt x="69615" y="234832"/>
                      </a:lnTo>
                      <a:lnTo>
                        <a:pt x="63180" y="241899"/>
                      </a:lnTo>
                      <a:lnTo>
                        <a:pt x="62512" y="242640"/>
                      </a:lnTo>
                      <a:lnTo>
                        <a:pt x="62111" y="243551"/>
                      </a:lnTo>
                      <a:lnTo>
                        <a:pt x="54036" y="261947"/>
                      </a:lnTo>
                      <a:lnTo>
                        <a:pt x="45985" y="274309"/>
                      </a:lnTo>
                      <a:lnTo>
                        <a:pt x="45305" y="275341"/>
                      </a:lnTo>
                      <a:lnTo>
                        <a:pt x="45087" y="276568"/>
                      </a:lnTo>
                      <a:lnTo>
                        <a:pt x="44455" y="280125"/>
                      </a:lnTo>
                      <a:lnTo>
                        <a:pt x="44297" y="281000"/>
                      </a:lnTo>
                      <a:lnTo>
                        <a:pt x="44407" y="281886"/>
                      </a:lnTo>
                      <a:lnTo>
                        <a:pt x="45330" y="289682"/>
                      </a:lnTo>
                      <a:lnTo>
                        <a:pt x="45111" y="297818"/>
                      </a:lnTo>
                      <a:lnTo>
                        <a:pt x="45099" y="298522"/>
                      </a:lnTo>
                      <a:lnTo>
                        <a:pt x="45245" y="299202"/>
                      </a:lnTo>
                      <a:lnTo>
                        <a:pt x="45997" y="302869"/>
                      </a:lnTo>
                      <a:lnTo>
                        <a:pt x="46094" y="303331"/>
                      </a:lnTo>
                      <a:lnTo>
                        <a:pt x="46265" y="303780"/>
                      </a:lnTo>
                      <a:lnTo>
                        <a:pt x="49191" y="311563"/>
                      </a:lnTo>
                      <a:lnTo>
                        <a:pt x="50697" y="321557"/>
                      </a:lnTo>
                      <a:lnTo>
                        <a:pt x="50745" y="321873"/>
                      </a:lnTo>
                      <a:lnTo>
                        <a:pt x="50818" y="322176"/>
                      </a:lnTo>
                      <a:lnTo>
                        <a:pt x="52202" y="327459"/>
                      </a:lnTo>
                      <a:lnTo>
                        <a:pt x="52385" y="328151"/>
                      </a:lnTo>
                      <a:lnTo>
                        <a:pt x="52725" y="328782"/>
                      </a:lnTo>
                      <a:lnTo>
                        <a:pt x="61674" y="345552"/>
                      </a:lnTo>
                      <a:lnTo>
                        <a:pt x="64430" y="350724"/>
                      </a:lnTo>
                      <a:lnTo>
                        <a:pt x="69700" y="348150"/>
                      </a:lnTo>
                      <a:lnTo>
                        <a:pt x="86870" y="339735"/>
                      </a:lnTo>
                      <a:lnTo>
                        <a:pt x="87453" y="339444"/>
                      </a:lnTo>
                      <a:lnTo>
                        <a:pt x="87963" y="339043"/>
                      </a:lnTo>
                      <a:lnTo>
                        <a:pt x="92007" y="335849"/>
                      </a:lnTo>
                      <a:lnTo>
                        <a:pt x="92772" y="336141"/>
                      </a:lnTo>
                      <a:lnTo>
                        <a:pt x="102814" y="341981"/>
                      </a:lnTo>
                      <a:lnTo>
                        <a:pt x="109323" y="346742"/>
                      </a:lnTo>
                      <a:lnTo>
                        <a:pt x="109845" y="347130"/>
                      </a:lnTo>
                      <a:lnTo>
                        <a:pt x="110440" y="347385"/>
                      </a:lnTo>
                      <a:lnTo>
                        <a:pt x="111994" y="348077"/>
                      </a:lnTo>
                      <a:lnTo>
                        <a:pt x="112358" y="348247"/>
                      </a:lnTo>
                      <a:lnTo>
                        <a:pt x="112747" y="348357"/>
                      </a:lnTo>
                      <a:lnTo>
                        <a:pt x="117058" y="349619"/>
                      </a:lnTo>
                      <a:lnTo>
                        <a:pt x="119256" y="350263"/>
                      </a:lnTo>
                      <a:lnTo>
                        <a:pt x="121332" y="349292"/>
                      </a:lnTo>
                      <a:lnTo>
                        <a:pt x="130281" y="345102"/>
                      </a:lnTo>
                      <a:lnTo>
                        <a:pt x="131289" y="344629"/>
                      </a:lnTo>
                      <a:lnTo>
                        <a:pt x="132054" y="343839"/>
                      </a:lnTo>
                      <a:lnTo>
                        <a:pt x="138417" y="337343"/>
                      </a:lnTo>
                      <a:lnTo>
                        <a:pt x="139680" y="336056"/>
                      </a:lnTo>
                      <a:lnTo>
                        <a:pt x="140032" y="334283"/>
                      </a:lnTo>
                      <a:lnTo>
                        <a:pt x="141708" y="325795"/>
                      </a:lnTo>
                      <a:lnTo>
                        <a:pt x="141914" y="324751"/>
                      </a:lnTo>
                      <a:lnTo>
                        <a:pt x="141757" y="323706"/>
                      </a:lnTo>
                      <a:lnTo>
                        <a:pt x="140372" y="314599"/>
                      </a:lnTo>
                      <a:lnTo>
                        <a:pt x="140300" y="314113"/>
                      </a:lnTo>
                      <a:lnTo>
                        <a:pt x="140142" y="313640"/>
                      </a:lnTo>
                      <a:lnTo>
                        <a:pt x="134653" y="296713"/>
                      </a:lnTo>
                      <a:lnTo>
                        <a:pt x="133985" y="292851"/>
                      </a:lnTo>
                      <a:lnTo>
                        <a:pt x="133815" y="289123"/>
                      </a:lnTo>
                      <a:lnTo>
                        <a:pt x="134009" y="288577"/>
                      </a:lnTo>
                      <a:lnTo>
                        <a:pt x="134094" y="288468"/>
                      </a:lnTo>
                      <a:lnTo>
                        <a:pt x="134277" y="288346"/>
                      </a:lnTo>
                      <a:lnTo>
                        <a:pt x="135552" y="288043"/>
                      </a:lnTo>
                      <a:lnTo>
                        <a:pt x="136912" y="288091"/>
                      </a:lnTo>
                      <a:lnTo>
                        <a:pt x="137033" y="288115"/>
                      </a:lnTo>
                      <a:lnTo>
                        <a:pt x="137567" y="288455"/>
                      </a:lnTo>
                      <a:lnTo>
                        <a:pt x="147658" y="298935"/>
                      </a:lnTo>
                      <a:lnTo>
                        <a:pt x="154349" y="308188"/>
                      </a:lnTo>
                      <a:lnTo>
                        <a:pt x="159206" y="318971"/>
                      </a:lnTo>
                      <a:lnTo>
                        <a:pt x="159425" y="319444"/>
                      </a:lnTo>
                      <a:lnTo>
                        <a:pt x="159704" y="319869"/>
                      </a:lnTo>
                      <a:lnTo>
                        <a:pt x="161416" y="322407"/>
                      </a:lnTo>
                      <a:lnTo>
                        <a:pt x="161938" y="323184"/>
                      </a:lnTo>
                      <a:lnTo>
                        <a:pt x="162679" y="323767"/>
                      </a:lnTo>
                      <a:lnTo>
                        <a:pt x="166249" y="326609"/>
                      </a:lnTo>
                      <a:lnTo>
                        <a:pt x="166856" y="327094"/>
                      </a:lnTo>
                      <a:lnTo>
                        <a:pt x="167572" y="327410"/>
                      </a:lnTo>
                      <a:lnTo>
                        <a:pt x="184913" y="335072"/>
                      </a:lnTo>
                      <a:lnTo>
                        <a:pt x="190146" y="340245"/>
                      </a:lnTo>
                      <a:lnTo>
                        <a:pt x="193704" y="347749"/>
                      </a:lnTo>
                      <a:lnTo>
                        <a:pt x="193850" y="348041"/>
                      </a:lnTo>
                      <a:lnTo>
                        <a:pt x="194020" y="348320"/>
                      </a:lnTo>
                      <a:lnTo>
                        <a:pt x="197408" y="353833"/>
                      </a:lnTo>
                      <a:lnTo>
                        <a:pt x="197590" y="354124"/>
                      </a:lnTo>
                      <a:lnTo>
                        <a:pt x="197808" y="354392"/>
                      </a:lnTo>
                      <a:lnTo>
                        <a:pt x="204353" y="362746"/>
                      </a:lnTo>
                      <a:lnTo>
                        <a:pt x="204718" y="363207"/>
                      </a:lnTo>
                      <a:lnTo>
                        <a:pt x="205167" y="363596"/>
                      </a:lnTo>
                      <a:lnTo>
                        <a:pt x="215270" y="372327"/>
                      </a:lnTo>
                      <a:lnTo>
                        <a:pt x="215731" y="372727"/>
                      </a:lnTo>
                      <a:lnTo>
                        <a:pt x="216253" y="373019"/>
                      </a:lnTo>
                      <a:lnTo>
                        <a:pt x="246866" y="390298"/>
                      </a:lnTo>
                      <a:lnTo>
                        <a:pt x="247267" y="390529"/>
                      </a:lnTo>
                      <a:lnTo>
                        <a:pt x="247692" y="390687"/>
                      </a:lnTo>
                      <a:lnTo>
                        <a:pt x="252682" y="392581"/>
                      </a:lnTo>
                      <a:lnTo>
                        <a:pt x="253156" y="392763"/>
                      </a:lnTo>
                      <a:lnTo>
                        <a:pt x="253666" y="392860"/>
                      </a:lnTo>
                      <a:lnTo>
                        <a:pt x="263490" y="394815"/>
                      </a:lnTo>
                      <a:lnTo>
                        <a:pt x="257102" y="400511"/>
                      </a:lnTo>
                      <a:lnTo>
                        <a:pt x="256714" y="400365"/>
                      </a:lnTo>
                      <a:lnTo>
                        <a:pt x="255524" y="399915"/>
                      </a:lnTo>
                      <a:lnTo>
                        <a:pt x="253508" y="399163"/>
                      </a:lnTo>
                      <a:lnTo>
                        <a:pt x="251468" y="399843"/>
                      </a:lnTo>
                      <a:lnTo>
                        <a:pt x="249853" y="400377"/>
                      </a:lnTo>
                      <a:lnTo>
                        <a:pt x="248165" y="400936"/>
                      </a:lnTo>
                      <a:lnTo>
                        <a:pt x="247048" y="402320"/>
                      </a:lnTo>
                      <a:lnTo>
                        <a:pt x="245773" y="403898"/>
                      </a:lnTo>
                      <a:lnTo>
                        <a:pt x="245433" y="404323"/>
                      </a:lnTo>
                      <a:lnTo>
                        <a:pt x="245178" y="404797"/>
                      </a:lnTo>
                      <a:lnTo>
                        <a:pt x="244996" y="405125"/>
                      </a:lnTo>
                      <a:lnTo>
                        <a:pt x="243988" y="404651"/>
                      </a:lnTo>
                      <a:lnTo>
                        <a:pt x="241863" y="403668"/>
                      </a:lnTo>
                      <a:lnTo>
                        <a:pt x="239629" y="404360"/>
                      </a:lnTo>
                      <a:lnTo>
                        <a:pt x="238657" y="404663"/>
                      </a:lnTo>
                      <a:lnTo>
                        <a:pt x="237564" y="405003"/>
                      </a:lnTo>
                      <a:lnTo>
                        <a:pt x="236666" y="405720"/>
                      </a:lnTo>
                      <a:lnTo>
                        <a:pt x="236520" y="405841"/>
                      </a:lnTo>
                      <a:lnTo>
                        <a:pt x="234480" y="406278"/>
                      </a:lnTo>
                      <a:lnTo>
                        <a:pt x="232950" y="406606"/>
                      </a:lnTo>
                      <a:lnTo>
                        <a:pt x="231772" y="407626"/>
                      </a:lnTo>
                      <a:lnTo>
                        <a:pt x="230837" y="408440"/>
                      </a:lnTo>
                      <a:lnTo>
                        <a:pt x="229234" y="409836"/>
                      </a:lnTo>
                      <a:lnTo>
                        <a:pt x="228858" y="411925"/>
                      </a:lnTo>
                      <a:lnTo>
                        <a:pt x="228639" y="413127"/>
                      </a:lnTo>
                      <a:lnTo>
                        <a:pt x="228567" y="413491"/>
                      </a:lnTo>
                      <a:lnTo>
                        <a:pt x="228093" y="414111"/>
                      </a:lnTo>
                      <a:lnTo>
                        <a:pt x="224863" y="418385"/>
                      </a:lnTo>
                      <a:lnTo>
                        <a:pt x="228348" y="422586"/>
                      </a:lnTo>
                      <a:lnTo>
                        <a:pt x="229732" y="423934"/>
                      </a:lnTo>
                      <a:lnTo>
                        <a:pt x="230388" y="424578"/>
                      </a:lnTo>
                      <a:lnTo>
                        <a:pt x="231201" y="424991"/>
                      </a:lnTo>
                      <a:lnTo>
                        <a:pt x="257685" y="438567"/>
                      </a:lnTo>
                      <a:lnTo>
                        <a:pt x="259835" y="440934"/>
                      </a:lnTo>
                      <a:lnTo>
                        <a:pt x="261607" y="443922"/>
                      </a:lnTo>
                      <a:lnTo>
                        <a:pt x="262494" y="446593"/>
                      </a:lnTo>
                      <a:lnTo>
                        <a:pt x="264036" y="456951"/>
                      </a:lnTo>
                      <a:lnTo>
                        <a:pt x="265408" y="466192"/>
                      </a:lnTo>
                      <a:lnTo>
                        <a:pt x="273289" y="461189"/>
                      </a:lnTo>
                      <a:lnTo>
                        <a:pt x="279360" y="457327"/>
                      </a:lnTo>
                      <a:lnTo>
                        <a:pt x="290253" y="454510"/>
                      </a:lnTo>
                      <a:lnTo>
                        <a:pt x="291018" y="454316"/>
                      </a:lnTo>
                      <a:lnTo>
                        <a:pt x="291710" y="453927"/>
                      </a:lnTo>
                      <a:lnTo>
                        <a:pt x="294515" y="452349"/>
                      </a:lnTo>
                      <a:lnTo>
                        <a:pt x="306925" y="458967"/>
                      </a:lnTo>
                      <a:lnTo>
                        <a:pt x="306961" y="459015"/>
                      </a:lnTo>
                      <a:lnTo>
                        <a:pt x="307022" y="460120"/>
                      </a:lnTo>
                      <a:lnTo>
                        <a:pt x="307034" y="460460"/>
                      </a:lnTo>
                      <a:lnTo>
                        <a:pt x="307083" y="460788"/>
                      </a:lnTo>
                      <a:lnTo>
                        <a:pt x="307411" y="462719"/>
                      </a:lnTo>
                      <a:lnTo>
                        <a:pt x="307641" y="464091"/>
                      </a:lnTo>
                      <a:lnTo>
                        <a:pt x="308443" y="465220"/>
                      </a:lnTo>
                      <a:lnTo>
                        <a:pt x="310288" y="467831"/>
                      </a:lnTo>
                      <a:lnTo>
                        <a:pt x="310604" y="468292"/>
                      </a:lnTo>
                      <a:lnTo>
                        <a:pt x="311005" y="468681"/>
                      </a:lnTo>
                      <a:lnTo>
                        <a:pt x="313931" y="471522"/>
                      </a:lnTo>
                      <a:lnTo>
                        <a:pt x="314296" y="471875"/>
                      </a:lnTo>
                      <a:lnTo>
                        <a:pt x="314721" y="472166"/>
                      </a:lnTo>
                      <a:lnTo>
                        <a:pt x="338327" y="488425"/>
                      </a:lnTo>
                      <a:lnTo>
                        <a:pt x="339055" y="488935"/>
                      </a:lnTo>
                      <a:lnTo>
                        <a:pt x="339905" y="489203"/>
                      </a:lnTo>
                      <a:lnTo>
                        <a:pt x="344325" y="490635"/>
                      </a:lnTo>
                      <a:lnTo>
                        <a:pt x="345005" y="490854"/>
                      </a:lnTo>
                      <a:lnTo>
                        <a:pt x="345722" y="490915"/>
                      </a:lnTo>
                      <a:lnTo>
                        <a:pt x="349571" y="491218"/>
                      </a:lnTo>
                      <a:lnTo>
                        <a:pt x="350591" y="491291"/>
                      </a:lnTo>
                      <a:lnTo>
                        <a:pt x="351587" y="491036"/>
                      </a:lnTo>
                      <a:lnTo>
                        <a:pt x="353675" y="490490"/>
                      </a:lnTo>
                      <a:lnTo>
                        <a:pt x="353967" y="490878"/>
                      </a:lnTo>
                      <a:lnTo>
                        <a:pt x="354331" y="491230"/>
                      </a:lnTo>
                      <a:lnTo>
                        <a:pt x="357002" y="493817"/>
                      </a:lnTo>
                      <a:lnTo>
                        <a:pt x="358168" y="495213"/>
                      </a:lnTo>
                      <a:lnTo>
                        <a:pt x="358727" y="496088"/>
                      </a:lnTo>
                      <a:lnTo>
                        <a:pt x="361082" y="504454"/>
                      </a:lnTo>
                      <a:lnTo>
                        <a:pt x="361204" y="504891"/>
                      </a:lnTo>
                      <a:lnTo>
                        <a:pt x="361398" y="505304"/>
                      </a:lnTo>
                      <a:lnTo>
                        <a:pt x="363863" y="510768"/>
                      </a:lnTo>
                      <a:lnTo>
                        <a:pt x="366207" y="515978"/>
                      </a:lnTo>
                      <a:lnTo>
                        <a:pt x="371550" y="513950"/>
                      </a:lnTo>
                      <a:lnTo>
                        <a:pt x="386072" y="508425"/>
                      </a:lnTo>
                      <a:lnTo>
                        <a:pt x="389339" y="508352"/>
                      </a:lnTo>
                      <a:lnTo>
                        <a:pt x="389558" y="508813"/>
                      </a:lnTo>
                      <a:lnTo>
                        <a:pt x="389764" y="509251"/>
                      </a:lnTo>
                      <a:lnTo>
                        <a:pt x="390031" y="509651"/>
                      </a:lnTo>
                      <a:lnTo>
                        <a:pt x="391464" y="511776"/>
                      </a:lnTo>
                      <a:lnTo>
                        <a:pt x="393261" y="514448"/>
                      </a:lnTo>
                      <a:lnTo>
                        <a:pt x="396491" y="514448"/>
                      </a:lnTo>
                      <a:lnTo>
                        <a:pt x="398726" y="514448"/>
                      </a:lnTo>
                      <a:lnTo>
                        <a:pt x="399806" y="514448"/>
                      </a:lnTo>
                      <a:lnTo>
                        <a:pt x="400814" y="514071"/>
                      </a:lnTo>
                      <a:lnTo>
                        <a:pt x="403121" y="513221"/>
                      </a:lnTo>
                      <a:lnTo>
                        <a:pt x="403510" y="513075"/>
                      </a:lnTo>
                      <a:lnTo>
                        <a:pt x="403874" y="512881"/>
                      </a:lnTo>
                      <a:lnTo>
                        <a:pt x="405768" y="511873"/>
                      </a:lnTo>
                      <a:lnTo>
                        <a:pt x="416090" y="514035"/>
                      </a:lnTo>
                      <a:lnTo>
                        <a:pt x="417741" y="514387"/>
                      </a:lnTo>
                      <a:lnTo>
                        <a:pt x="419332" y="513828"/>
                      </a:lnTo>
                      <a:lnTo>
                        <a:pt x="424274" y="512104"/>
                      </a:lnTo>
                      <a:lnTo>
                        <a:pt x="426763" y="511230"/>
                      </a:lnTo>
                      <a:lnTo>
                        <a:pt x="427832" y="508826"/>
                      </a:lnTo>
                      <a:lnTo>
                        <a:pt x="428512" y="507295"/>
                      </a:lnTo>
                      <a:lnTo>
                        <a:pt x="428548" y="507223"/>
                      </a:lnTo>
                      <a:lnTo>
                        <a:pt x="428767" y="507223"/>
                      </a:lnTo>
                      <a:lnTo>
                        <a:pt x="436429" y="508486"/>
                      </a:lnTo>
                      <a:lnTo>
                        <a:pt x="436939" y="508789"/>
                      </a:lnTo>
                      <a:lnTo>
                        <a:pt x="436004" y="510951"/>
                      </a:lnTo>
                      <a:lnTo>
                        <a:pt x="435567" y="511958"/>
                      </a:lnTo>
                      <a:lnTo>
                        <a:pt x="435506" y="513039"/>
                      </a:lnTo>
                      <a:lnTo>
                        <a:pt x="435397" y="515079"/>
                      </a:lnTo>
                      <a:lnTo>
                        <a:pt x="435300" y="517046"/>
                      </a:lnTo>
                      <a:lnTo>
                        <a:pt x="436356" y="518698"/>
                      </a:lnTo>
                      <a:lnTo>
                        <a:pt x="437510" y="520483"/>
                      </a:lnTo>
                      <a:lnTo>
                        <a:pt x="439089" y="522923"/>
                      </a:lnTo>
                      <a:lnTo>
                        <a:pt x="441966" y="523227"/>
                      </a:lnTo>
                      <a:lnTo>
                        <a:pt x="443909" y="523434"/>
                      </a:lnTo>
                      <a:lnTo>
                        <a:pt x="445451" y="523603"/>
                      </a:lnTo>
                      <a:lnTo>
                        <a:pt x="446884" y="523008"/>
                      </a:lnTo>
                      <a:lnTo>
                        <a:pt x="446909" y="523008"/>
                      </a:lnTo>
                      <a:lnTo>
                        <a:pt x="446848" y="523652"/>
                      </a:lnTo>
                      <a:lnTo>
                        <a:pt x="448208" y="525522"/>
                      </a:lnTo>
                      <a:lnTo>
                        <a:pt x="449301" y="527016"/>
                      </a:lnTo>
                      <a:lnTo>
                        <a:pt x="451316" y="529784"/>
                      </a:lnTo>
                      <a:lnTo>
                        <a:pt x="454729" y="529493"/>
                      </a:lnTo>
                      <a:lnTo>
                        <a:pt x="454838" y="529493"/>
                      </a:lnTo>
                      <a:lnTo>
                        <a:pt x="455044" y="529881"/>
                      </a:lnTo>
                      <a:lnTo>
                        <a:pt x="456137" y="531934"/>
                      </a:lnTo>
                      <a:lnTo>
                        <a:pt x="456878" y="533318"/>
                      </a:lnTo>
                      <a:lnTo>
                        <a:pt x="458190" y="534168"/>
                      </a:lnTo>
                      <a:lnTo>
                        <a:pt x="461747" y="536475"/>
                      </a:lnTo>
                      <a:lnTo>
                        <a:pt x="462694" y="537094"/>
                      </a:lnTo>
                      <a:lnTo>
                        <a:pt x="463812" y="537325"/>
                      </a:lnTo>
                      <a:lnTo>
                        <a:pt x="467236" y="538041"/>
                      </a:lnTo>
                      <a:lnTo>
                        <a:pt x="468013" y="538211"/>
                      </a:lnTo>
                      <a:lnTo>
                        <a:pt x="468802" y="538175"/>
                      </a:lnTo>
                      <a:lnTo>
                        <a:pt x="471632" y="538029"/>
                      </a:lnTo>
                      <a:lnTo>
                        <a:pt x="472385" y="537993"/>
                      </a:lnTo>
                      <a:lnTo>
                        <a:pt x="473101" y="537774"/>
                      </a:lnTo>
                      <a:lnTo>
                        <a:pt x="475627" y="536997"/>
                      </a:lnTo>
                      <a:lnTo>
                        <a:pt x="476088" y="536851"/>
                      </a:lnTo>
                      <a:lnTo>
                        <a:pt x="476513" y="536645"/>
                      </a:lnTo>
                      <a:lnTo>
                        <a:pt x="479100" y="535382"/>
                      </a:lnTo>
                      <a:lnTo>
                        <a:pt x="479500" y="535188"/>
                      </a:lnTo>
                      <a:lnTo>
                        <a:pt x="479865" y="534933"/>
                      </a:lnTo>
                      <a:lnTo>
                        <a:pt x="482451" y="533160"/>
                      </a:lnTo>
                      <a:lnTo>
                        <a:pt x="482998" y="532783"/>
                      </a:lnTo>
                      <a:lnTo>
                        <a:pt x="483459" y="532298"/>
                      </a:lnTo>
                      <a:lnTo>
                        <a:pt x="488571" y="526834"/>
                      </a:lnTo>
                      <a:lnTo>
                        <a:pt x="489020" y="526348"/>
                      </a:lnTo>
                      <a:lnTo>
                        <a:pt x="489360" y="525777"/>
                      </a:lnTo>
                      <a:lnTo>
                        <a:pt x="491133" y="522778"/>
                      </a:lnTo>
                      <a:lnTo>
                        <a:pt x="491376" y="522365"/>
                      </a:lnTo>
                      <a:lnTo>
                        <a:pt x="491546" y="521916"/>
                      </a:lnTo>
                      <a:lnTo>
                        <a:pt x="492457" y="519608"/>
                      </a:lnTo>
                      <a:lnTo>
                        <a:pt x="492663" y="519098"/>
                      </a:lnTo>
                      <a:lnTo>
                        <a:pt x="492773" y="518564"/>
                      </a:lnTo>
                      <a:lnTo>
                        <a:pt x="493416" y="515346"/>
                      </a:lnTo>
                      <a:lnTo>
                        <a:pt x="487600" y="514180"/>
                      </a:lnTo>
                      <a:lnTo>
                        <a:pt x="488802" y="508231"/>
                      </a:lnTo>
                      <a:lnTo>
                        <a:pt x="486567" y="507793"/>
                      </a:lnTo>
                      <a:lnTo>
                        <a:pt x="486240" y="507538"/>
                      </a:lnTo>
                      <a:lnTo>
                        <a:pt x="485511" y="502293"/>
                      </a:lnTo>
                      <a:lnTo>
                        <a:pt x="485657" y="498723"/>
                      </a:lnTo>
                      <a:lnTo>
                        <a:pt x="486033" y="496246"/>
                      </a:lnTo>
                      <a:lnTo>
                        <a:pt x="486774" y="494145"/>
                      </a:lnTo>
                      <a:lnTo>
                        <a:pt x="488085" y="492287"/>
                      </a:lnTo>
                      <a:lnTo>
                        <a:pt x="489798" y="491000"/>
                      </a:lnTo>
                      <a:lnTo>
                        <a:pt x="492372" y="489737"/>
                      </a:lnTo>
                      <a:lnTo>
                        <a:pt x="492882" y="489494"/>
                      </a:lnTo>
                      <a:lnTo>
                        <a:pt x="493331" y="489166"/>
                      </a:lnTo>
                      <a:lnTo>
                        <a:pt x="496039" y="487150"/>
                      </a:lnTo>
                      <a:lnTo>
                        <a:pt x="497302" y="486215"/>
                      </a:lnTo>
                      <a:lnTo>
                        <a:pt x="497945" y="484783"/>
                      </a:lnTo>
                      <a:lnTo>
                        <a:pt x="499548" y="481249"/>
                      </a:lnTo>
                      <a:lnTo>
                        <a:pt x="500083" y="480047"/>
                      </a:lnTo>
                      <a:lnTo>
                        <a:pt x="500083" y="478735"/>
                      </a:lnTo>
                      <a:lnTo>
                        <a:pt x="499500" y="472263"/>
                      </a:lnTo>
                      <a:lnTo>
                        <a:pt x="500835" y="464735"/>
                      </a:lnTo>
                      <a:lnTo>
                        <a:pt x="503179" y="459707"/>
                      </a:lnTo>
                      <a:lnTo>
                        <a:pt x="505353" y="458687"/>
                      </a:lnTo>
                      <a:lnTo>
                        <a:pt x="506798" y="458894"/>
                      </a:lnTo>
                      <a:lnTo>
                        <a:pt x="507186" y="458942"/>
                      </a:lnTo>
                      <a:lnTo>
                        <a:pt x="507587" y="458942"/>
                      </a:lnTo>
                      <a:lnTo>
                        <a:pt x="511497" y="458967"/>
                      </a:lnTo>
                      <a:lnTo>
                        <a:pt x="512347" y="458967"/>
                      </a:lnTo>
                      <a:lnTo>
                        <a:pt x="513161" y="458736"/>
                      </a:lnTo>
                      <a:lnTo>
                        <a:pt x="516779" y="457728"/>
                      </a:lnTo>
                      <a:lnTo>
                        <a:pt x="518576" y="457230"/>
                      </a:lnTo>
                      <a:lnTo>
                        <a:pt x="519791" y="455797"/>
                      </a:lnTo>
                      <a:lnTo>
                        <a:pt x="522073" y="453102"/>
                      </a:lnTo>
                      <a:lnTo>
                        <a:pt x="523846" y="451013"/>
                      </a:lnTo>
                      <a:lnTo>
                        <a:pt x="523446" y="448293"/>
                      </a:lnTo>
                      <a:lnTo>
                        <a:pt x="522984" y="445136"/>
                      </a:lnTo>
                      <a:lnTo>
                        <a:pt x="522899" y="444504"/>
                      </a:lnTo>
                      <a:lnTo>
                        <a:pt x="522668" y="443909"/>
                      </a:lnTo>
                      <a:lnTo>
                        <a:pt x="522158" y="442525"/>
                      </a:lnTo>
                      <a:lnTo>
                        <a:pt x="526384" y="443484"/>
                      </a:lnTo>
                      <a:lnTo>
                        <a:pt x="527975" y="437996"/>
                      </a:lnTo>
                      <a:lnTo>
                        <a:pt x="531873" y="424590"/>
                      </a:lnTo>
                      <a:lnTo>
                        <a:pt x="531982" y="424226"/>
                      </a:lnTo>
                      <a:lnTo>
                        <a:pt x="532043" y="423849"/>
                      </a:lnTo>
                      <a:lnTo>
                        <a:pt x="532796" y="419077"/>
                      </a:lnTo>
                      <a:lnTo>
                        <a:pt x="532929" y="418203"/>
                      </a:lnTo>
                      <a:lnTo>
                        <a:pt x="532808" y="417328"/>
                      </a:lnTo>
                      <a:lnTo>
                        <a:pt x="532298" y="413479"/>
                      </a:lnTo>
                      <a:lnTo>
                        <a:pt x="531982" y="411075"/>
                      </a:lnTo>
                      <a:lnTo>
                        <a:pt x="530100" y="409557"/>
                      </a:lnTo>
                      <a:lnTo>
                        <a:pt x="528728" y="408440"/>
                      </a:lnTo>
                      <a:lnTo>
                        <a:pt x="526955" y="407019"/>
                      </a:lnTo>
                      <a:lnTo>
                        <a:pt x="526056" y="407043"/>
                      </a:lnTo>
                      <a:lnTo>
                        <a:pt x="525146" y="401579"/>
                      </a:lnTo>
                      <a:lnTo>
                        <a:pt x="524963" y="400450"/>
                      </a:lnTo>
                      <a:lnTo>
                        <a:pt x="524381" y="399466"/>
                      </a:lnTo>
                      <a:lnTo>
                        <a:pt x="520641" y="393176"/>
                      </a:lnTo>
                      <a:lnTo>
                        <a:pt x="520386" y="392533"/>
                      </a:lnTo>
                      <a:lnTo>
                        <a:pt x="523858" y="391440"/>
                      </a:lnTo>
                      <a:lnTo>
                        <a:pt x="526020" y="390748"/>
                      </a:lnTo>
                      <a:lnTo>
                        <a:pt x="527210" y="388817"/>
                      </a:lnTo>
                      <a:lnTo>
                        <a:pt x="528351" y="386947"/>
                      </a:lnTo>
                      <a:lnTo>
                        <a:pt x="528922" y="386024"/>
                      </a:lnTo>
                      <a:lnTo>
                        <a:pt x="529129" y="384955"/>
                      </a:lnTo>
                      <a:lnTo>
                        <a:pt x="529286" y="384203"/>
                      </a:lnTo>
                      <a:lnTo>
                        <a:pt x="530124" y="383608"/>
                      </a:lnTo>
                      <a:lnTo>
                        <a:pt x="530792" y="383134"/>
                      </a:lnTo>
                      <a:lnTo>
                        <a:pt x="531302" y="382503"/>
                      </a:lnTo>
                      <a:lnTo>
                        <a:pt x="532565" y="380972"/>
                      </a:lnTo>
                      <a:lnTo>
                        <a:pt x="535734" y="378702"/>
                      </a:lnTo>
                      <a:lnTo>
                        <a:pt x="536099" y="378447"/>
                      </a:lnTo>
                      <a:lnTo>
                        <a:pt x="536414" y="378131"/>
                      </a:lnTo>
                      <a:lnTo>
                        <a:pt x="538029" y="376552"/>
                      </a:lnTo>
                      <a:lnTo>
                        <a:pt x="538418" y="376176"/>
                      </a:lnTo>
                      <a:lnTo>
                        <a:pt x="538734" y="375739"/>
                      </a:lnTo>
                      <a:lnTo>
                        <a:pt x="540045" y="373905"/>
                      </a:lnTo>
                      <a:lnTo>
                        <a:pt x="541065" y="372472"/>
                      </a:lnTo>
                      <a:lnTo>
                        <a:pt x="541162" y="370712"/>
                      </a:lnTo>
                      <a:lnTo>
                        <a:pt x="541223" y="369655"/>
                      </a:lnTo>
                      <a:lnTo>
                        <a:pt x="541271" y="368866"/>
                      </a:lnTo>
                      <a:lnTo>
                        <a:pt x="541599" y="368696"/>
                      </a:lnTo>
                      <a:lnTo>
                        <a:pt x="541927" y="368465"/>
                      </a:lnTo>
                      <a:lnTo>
                        <a:pt x="543008" y="367712"/>
                      </a:lnTo>
                      <a:lnTo>
                        <a:pt x="543530" y="367348"/>
                      </a:lnTo>
                      <a:lnTo>
                        <a:pt x="543967" y="366887"/>
                      </a:lnTo>
                      <a:lnTo>
                        <a:pt x="548217" y="362357"/>
                      </a:lnTo>
                      <a:lnTo>
                        <a:pt x="548788" y="361738"/>
                      </a:lnTo>
                      <a:lnTo>
                        <a:pt x="549177" y="360985"/>
                      </a:lnTo>
                      <a:lnTo>
                        <a:pt x="551362" y="356760"/>
                      </a:lnTo>
                      <a:lnTo>
                        <a:pt x="551957" y="355618"/>
                      </a:lnTo>
                      <a:lnTo>
                        <a:pt x="552030" y="354343"/>
                      </a:lnTo>
                      <a:lnTo>
                        <a:pt x="552309" y="349838"/>
                      </a:lnTo>
                      <a:lnTo>
                        <a:pt x="552382" y="348697"/>
                      </a:lnTo>
                      <a:lnTo>
                        <a:pt x="552030" y="347604"/>
                      </a:lnTo>
                      <a:lnTo>
                        <a:pt x="550318" y="342261"/>
                      </a:lnTo>
                      <a:lnTo>
                        <a:pt x="550209" y="341909"/>
                      </a:lnTo>
                      <a:lnTo>
                        <a:pt x="550051" y="341581"/>
                      </a:lnTo>
                      <a:lnTo>
                        <a:pt x="547525" y="336092"/>
                      </a:lnTo>
                      <a:lnTo>
                        <a:pt x="546286" y="332437"/>
                      </a:lnTo>
                      <a:lnTo>
                        <a:pt x="546262" y="329632"/>
                      </a:lnTo>
                      <a:lnTo>
                        <a:pt x="547780" y="326511"/>
                      </a:lnTo>
                      <a:lnTo>
                        <a:pt x="550585" y="324338"/>
                      </a:lnTo>
                      <a:lnTo>
                        <a:pt x="560579" y="321788"/>
                      </a:lnTo>
                      <a:lnTo>
                        <a:pt x="561854" y="321460"/>
                      </a:lnTo>
                      <a:lnTo>
                        <a:pt x="562886" y="320634"/>
                      </a:lnTo>
                      <a:lnTo>
                        <a:pt x="566845" y="317441"/>
                      </a:lnTo>
                      <a:lnTo>
                        <a:pt x="567306" y="317064"/>
                      </a:lnTo>
                      <a:lnTo>
                        <a:pt x="567694" y="316603"/>
                      </a:lnTo>
                      <a:lnTo>
                        <a:pt x="577336" y="305067"/>
                      </a:lnTo>
                      <a:lnTo>
                        <a:pt x="577579" y="304788"/>
                      </a:lnTo>
                      <a:lnTo>
                        <a:pt x="577785" y="304472"/>
                      </a:lnTo>
                      <a:lnTo>
                        <a:pt x="581926" y="298073"/>
                      </a:lnTo>
                      <a:lnTo>
                        <a:pt x="582327" y="297441"/>
                      </a:lnTo>
                      <a:lnTo>
                        <a:pt x="582570" y="296737"/>
                      </a:lnTo>
                      <a:lnTo>
                        <a:pt x="585095" y="289330"/>
                      </a:lnTo>
                      <a:lnTo>
                        <a:pt x="585593" y="288237"/>
                      </a:lnTo>
                      <a:lnTo>
                        <a:pt x="591191" y="287569"/>
                      </a:lnTo>
                      <a:lnTo>
                        <a:pt x="591725" y="287508"/>
                      </a:lnTo>
                      <a:lnTo>
                        <a:pt x="592247" y="287351"/>
                      </a:lnTo>
                      <a:lnTo>
                        <a:pt x="595818" y="286258"/>
                      </a:lnTo>
                      <a:lnTo>
                        <a:pt x="596558" y="286027"/>
                      </a:lnTo>
                      <a:lnTo>
                        <a:pt x="597214" y="285626"/>
                      </a:lnTo>
                      <a:lnTo>
                        <a:pt x="599618" y="284157"/>
                      </a:lnTo>
                      <a:lnTo>
                        <a:pt x="600104" y="283865"/>
                      </a:lnTo>
                      <a:lnTo>
                        <a:pt x="600529" y="283489"/>
                      </a:lnTo>
                      <a:lnTo>
                        <a:pt x="605058" y="279385"/>
                      </a:lnTo>
                      <a:lnTo>
                        <a:pt x="611324" y="275293"/>
                      </a:lnTo>
                      <a:lnTo>
                        <a:pt x="611883" y="274928"/>
                      </a:lnTo>
                      <a:lnTo>
                        <a:pt x="612344" y="274455"/>
                      </a:lnTo>
                      <a:lnTo>
                        <a:pt x="614238" y="272524"/>
                      </a:lnTo>
                      <a:lnTo>
                        <a:pt x="614651" y="272099"/>
                      </a:lnTo>
                      <a:lnTo>
                        <a:pt x="614979" y="271601"/>
                      </a:lnTo>
                      <a:lnTo>
                        <a:pt x="620261" y="263526"/>
                      </a:lnTo>
                      <a:lnTo>
                        <a:pt x="622058" y="261705"/>
                      </a:lnTo>
                      <a:lnTo>
                        <a:pt x="632975" y="253824"/>
                      </a:lnTo>
                      <a:lnTo>
                        <a:pt x="633837" y="253205"/>
                      </a:lnTo>
                      <a:lnTo>
                        <a:pt x="634444" y="252318"/>
                      </a:lnTo>
                      <a:lnTo>
                        <a:pt x="638124" y="246914"/>
                      </a:lnTo>
                      <a:lnTo>
                        <a:pt x="640030" y="244109"/>
                      </a:lnTo>
                      <a:lnTo>
                        <a:pt x="638634" y="241013"/>
                      </a:lnTo>
                      <a:lnTo>
                        <a:pt x="637929" y="239447"/>
                      </a:lnTo>
                      <a:lnTo>
                        <a:pt x="638099" y="239252"/>
                      </a:lnTo>
                      <a:lnTo>
                        <a:pt x="639058" y="241134"/>
                      </a:lnTo>
                      <a:lnTo>
                        <a:pt x="641803" y="241790"/>
                      </a:lnTo>
                      <a:lnTo>
                        <a:pt x="645069" y="242567"/>
                      </a:lnTo>
                      <a:lnTo>
                        <a:pt x="646733" y="242968"/>
                      </a:lnTo>
                      <a:lnTo>
                        <a:pt x="648348" y="242446"/>
                      </a:lnTo>
                      <a:lnTo>
                        <a:pt x="660236" y="238584"/>
                      </a:lnTo>
                      <a:lnTo>
                        <a:pt x="660940" y="238548"/>
                      </a:lnTo>
                      <a:lnTo>
                        <a:pt x="664765" y="238342"/>
                      </a:lnTo>
                      <a:lnTo>
                        <a:pt x="666222" y="234796"/>
                      </a:lnTo>
                      <a:lnTo>
                        <a:pt x="667558" y="231542"/>
                      </a:lnTo>
                      <a:lnTo>
                        <a:pt x="668566" y="229089"/>
                      </a:lnTo>
                      <a:lnTo>
                        <a:pt x="667461" y="226696"/>
                      </a:lnTo>
                      <a:lnTo>
                        <a:pt x="666125" y="223806"/>
                      </a:lnTo>
                      <a:lnTo>
                        <a:pt x="665943" y="223406"/>
                      </a:lnTo>
                      <a:lnTo>
                        <a:pt x="665700" y="223041"/>
                      </a:lnTo>
                      <a:lnTo>
                        <a:pt x="661924" y="217213"/>
                      </a:lnTo>
                      <a:lnTo>
                        <a:pt x="661037" y="215853"/>
                      </a:lnTo>
                      <a:lnTo>
                        <a:pt x="659580" y="215112"/>
                      </a:lnTo>
                      <a:lnTo>
                        <a:pt x="653545" y="212040"/>
                      </a:lnTo>
                      <a:lnTo>
                        <a:pt x="652962" y="211736"/>
                      </a:lnTo>
                      <a:lnTo>
                        <a:pt x="652319" y="211566"/>
                      </a:lnTo>
                      <a:lnTo>
                        <a:pt x="638318" y="207911"/>
                      </a:lnTo>
                      <a:lnTo>
                        <a:pt x="623467" y="201706"/>
                      </a:lnTo>
                      <a:lnTo>
                        <a:pt x="621986" y="200528"/>
                      </a:lnTo>
                      <a:lnTo>
                        <a:pt x="620431" y="198525"/>
                      </a:lnTo>
                      <a:lnTo>
                        <a:pt x="616970" y="192271"/>
                      </a:lnTo>
                      <a:lnTo>
                        <a:pt x="616716" y="191810"/>
                      </a:lnTo>
                      <a:lnTo>
                        <a:pt x="616388" y="191397"/>
                      </a:lnTo>
                      <a:lnTo>
                        <a:pt x="614093" y="188556"/>
                      </a:lnTo>
                      <a:lnTo>
                        <a:pt x="613631" y="187985"/>
                      </a:lnTo>
                      <a:lnTo>
                        <a:pt x="613048" y="187536"/>
                      </a:lnTo>
                      <a:lnTo>
                        <a:pt x="607705" y="183455"/>
                      </a:lnTo>
                      <a:lnTo>
                        <a:pt x="607317" y="183164"/>
                      </a:lnTo>
                      <a:lnTo>
                        <a:pt x="606892" y="182933"/>
                      </a:lnTo>
                      <a:lnTo>
                        <a:pt x="588471" y="173061"/>
                      </a:lnTo>
                      <a:lnTo>
                        <a:pt x="588010" y="172818"/>
                      </a:lnTo>
                      <a:lnTo>
                        <a:pt x="587512" y="172660"/>
                      </a:lnTo>
                      <a:lnTo>
                        <a:pt x="583541" y="171337"/>
                      </a:lnTo>
                      <a:lnTo>
                        <a:pt x="582363" y="170948"/>
                      </a:lnTo>
                      <a:lnTo>
                        <a:pt x="581125" y="171045"/>
                      </a:lnTo>
                      <a:lnTo>
                        <a:pt x="578259" y="171276"/>
                      </a:lnTo>
                      <a:lnTo>
                        <a:pt x="577603" y="171325"/>
                      </a:lnTo>
                      <a:lnTo>
                        <a:pt x="576984" y="171519"/>
                      </a:lnTo>
                      <a:lnTo>
                        <a:pt x="574725" y="172211"/>
                      </a:lnTo>
                      <a:lnTo>
                        <a:pt x="572539" y="172490"/>
                      </a:lnTo>
                      <a:lnTo>
                        <a:pt x="571386" y="172211"/>
                      </a:lnTo>
                      <a:lnTo>
                        <a:pt x="566043" y="168969"/>
                      </a:lnTo>
                      <a:lnTo>
                        <a:pt x="565569" y="168690"/>
                      </a:lnTo>
                      <a:lnTo>
                        <a:pt x="565047" y="168495"/>
                      </a:lnTo>
                      <a:lnTo>
                        <a:pt x="555952" y="165047"/>
                      </a:lnTo>
                      <a:lnTo>
                        <a:pt x="537762" y="155223"/>
                      </a:lnTo>
                      <a:lnTo>
                        <a:pt x="537155" y="154895"/>
                      </a:lnTo>
                      <a:lnTo>
                        <a:pt x="536499" y="154713"/>
                      </a:lnTo>
                      <a:lnTo>
                        <a:pt x="522778" y="150900"/>
                      </a:lnTo>
                      <a:lnTo>
                        <a:pt x="522134" y="150718"/>
                      </a:lnTo>
                      <a:lnTo>
                        <a:pt x="521466" y="150682"/>
                      </a:lnTo>
                      <a:lnTo>
                        <a:pt x="517471" y="150463"/>
                      </a:lnTo>
                      <a:lnTo>
                        <a:pt x="517581" y="150135"/>
                      </a:lnTo>
                      <a:lnTo>
                        <a:pt x="518042" y="148739"/>
                      </a:lnTo>
                      <a:lnTo>
                        <a:pt x="517811" y="147294"/>
                      </a:lnTo>
                      <a:lnTo>
                        <a:pt x="517192" y="143262"/>
                      </a:lnTo>
                      <a:lnTo>
                        <a:pt x="516973" y="141890"/>
                      </a:lnTo>
                      <a:lnTo>
                        <a:pt x="516184" y="140737"/>
                      </a:lnTo>
                      <a:lnTo>
                        <a:pt x="514460" y="138247"/>
                      </a:lnTo>
                      <a:lnTo>
                        <a:pt x="514363" y="138114"/>
                      </a:lnTo>
                      <a:lnTo>
                        <a:pt x="515018" y="137592"/>
                      </a:lnTo>
                      <a:lnTo>
                        <a:pt x="516342" y="136511"/>
                      </a:lnTo>
                      <a:lnTo>
                        <a:pt x="517216" y="135794"/>
                      </a:lnTo>
                      <a:lnTo>
                        <a:pt x="517775" y="134811"/>
                      </a:lnTo>
                      <a:lnTo>
                        <a:pt x="522365" y="126797"/>
                      </a:lnTo>
                      <a:lnTo>
                        <a:pt x="524235" y="123530"/>
                      </a:lnTo>
                      <a:lnTo>
                        <a:pt x="522146" y="120397"/>
                      </a:lnTo>
                      <a:lnTo>
                        <a:pt x="520883" y="118503"/>
                      </a:lnTo>
                      <a:lnTo>
                        <a:pt x="520046" y="117252"/>
                      </a:lnTo>
                      <a:lnTo>
                        <a:pt x="518734" y="116536"/>
                      </a:lnTo>
                      <a:lnTo>
                        <a:pt x="514715" y="114350"/>
                      </a:lnTo>
                      <a:lnTo>
                        <a:pt x="510501" y="107975"/>
                      </a:lnTo>
                      <a:lnTo>
                        <a:pt x="509870" y="107016"/>
                      </a:lnTo>
                      <a:lnTo>
                        <a:pt x="508935" y="106360"/>
                      </a:lnTo>
                      <a:lnTo>
                        <a:pt x="506628" y="104733"/>
                      </a:lnTo>
                      <a:lnTo>
                        <a:pt x="505098" y="103652"/>
                      </a:lnTo>
                      <a:lnTo>
                        <a:pt x="503228" y="103628"/>
                      </a:lnTo>
                      <a:lnTo>
                        <a:pt x="500192" y="103591"/>
                      </a:lnTo>
                      <a:lnTo>
                        <a:pt x="498638" y="103567"/>
                      </a:lnTo>
                      <a:lnTo>
                        <a:pt x="497265" y="104296"/>
                      </a:lnTo>
                      <a:lnTo>
                        <a:pt x="492044" y="107064"/>
                      </a:lnTo>
                      <a:lnTo>
                        <a:pt x="491413" y="107210"/>
                      </a:lnTo>
                      <a:lnTo>
                        <a:pt x="489215" y="106372"/>
                      </a:lnTo>
                      <a:lnTo>
                        <a:pt x="487065" y="103506"/>
                      </a:lnTo>
                      <a:lnTo>
                        <a:pt x="484309" y="98831"/>
                      </a:lnTo>
                      <a:lnTo>
                        <a:pt x="483726" y="97836"/>
                      </a:lnTo>
                      <a:lnTo>
                        <a:pt x="482815" y="97119"/>
                      </a:lnTo>
                      <a:lnTo>
                        <a:pt x="478456" y="93731"/>
                      </a:lnTo>
                      <a:lnTo>
                        <a:pt x="477764" y="93197"/>
                      </a:lnTo>
                      <a:lnTo>
                        <a:pt x="476950" y="92881"/>
                      </a:lnTo>
                      <a:lnTo>
                        <a:pt x="464237" y="87854"/>
                      </a:lnTo>
                      <a:lnTo>
                        <a:pt x="461747" y="86336"/>
                      </a:lnTo>
                      <a:lnTo>
                        <a:pt x="460727" y="85741"/>
                      </a:lnTo>
                      <a:lnTo>
                        <a:pt x="459477" y="84952"/>
                      </a:lnTo>
                      <a:lnTo>
                        <a:pt x="456247" y="81406"/>
                      </a:lnTo>
                      <a:lnTo>
                        <a:pt x="453247" y="76088"/>
                      </a:lnTo>
                      <a:lnTo>
                        <a:pt x="452931" y="75541"/>
                      </a:lnTo>
                      <a:lnTo>
                        <a:pt x="452519" y="75055"/>
                      </a:lnTo>
                      <a:lnTo>
                        <a:pt x="450163" y="72384"/>
                      </a:lnTo>
                      <a:lnTo>
                        <a:pt x="449313" y="71425"/>
                      </a:lnTo>
                      <a:lnTo>
                        <a:pt x="448159" y="70890"/>
                      </a:lnTo>
                      <a:lnTo>
                        <a:pt x="444990" y="69421"/>
                      </a:lnTo>
                      <a:lnTo>
                        <a:pt x="444431" y="69166"/>
                      </a:lnTo>
                      <a:lnTo>
                        <a:pt x="443836" y="69020"/>
                      </a:lnTo>
                      <a:lnTo>
                        <a:pt x="430163" y="65778"/>
                      </a:lnTo>
                      <a:lnTo>
                        <a:pt x="429787" y="65681"/>
                      </a:lnTo>
                      <a:lnTo>
                        <a:pt x="429399" y="65645"/>
                      </a:lnTo>
                      <a:lnTo>
                        <a:pt x="425391" y="65220"/>
                      </a:lnTo>
                      <a:lnTo>
                        <a:pt x="424299" y="65098"/>
                      </a:lnTo>
                      <a:lnTo>
                        <a:pt x="423242" y="65378"/>
                      </a:lnTo>
                      <a:lnTo>
                        <a:pt x="414378" y="67673"/>
                      </a:lnTo>
                      <a:lnTo>
                        <a:pt x="407432" y="67988"/>
                      </a:lnTo>
                      <a:lnTo>
                        <a:pt x="406958" y="68013"/>
                      </a:lnTo>
                      <a:lnTo>
                        <a:pt x="406509" y="68098"/>
                      </a:lnTo>
                      <a:lnTo>
                        <a:pt x="403194" y="68765"/>
                      </a:lnTo>
                      <a:lnTo>
                        <a:pt x="402174" y="68972"/>
                      </a:lnTo>
                      <a:lnTo>
                        <a:pt x="401288" y="69506"/>
                      </a:lnTo>
                      <a:lnTo>
                        <a:pt x="394852" y="73343"/>
                      </a:lnTo>
                      <a:lnTo>
                        <a:pt x="394451" y="73185"/>
                      </a:lnTo>
                      <a:lnTo>
                        <a:pt x="394087" y="73052"/>
                      </a:lnTo>
                      <a:lnTo>
                        <a:pt x="393710" y="72955"/>
                      </a:lnTo>
                      <a:lnTo>
                        <a:pt x="390238" y="72117"/>
                      </a:lnTo>
                      <a:lnTo>
                        <a:pt x="388732" y="71388"/>
                      </a:lnTo>
                      <a:lnTo>
                        <a:pt x="386449" y="69555"/>
                      </a:lnTo>
                      <a:lnTo>
                        <a:pt x="384275" y="67126"/>
                      </a:lnTo>
                      <a:lnTo>
                        <a:pt x="383413" y="65803"/>
                      </a:lnTo>
                      <a:lnTo>
                        <a:pt x="383292" y="65183"/>
                      </a:lnTo>
                      <a:lnTo>
                        <a:pt x="383037" y="64576"/>
                      </a:lnTo>
                      <a:lnTo>
                        <a:pt x="382575" y="63483"/>
                      </a:lnTo>
                      <a:lnTo>
                        <a:pt x="382284" y="62803"/>
                      </a:lnTo>
                      <a:lnTo>
                        <a:pt x="381835" y="62208"/>
                      </a:lnTo>
                      <a:lnTo>
                        <a:pt x="381130" y="61261"/>
                      </a:lnTo>
                      <a:lnTo>
                        <a:pt x="380924" y="60994"/>
                      </a:lnTo>
                      <a:lnTo>
                        <a:pt x="380693" y="60751"/>
                      </a:lnTo>
                      <a:lnTo>
                        <a:pt x="379904" y="59913"/>
                      </a:lnTo>
                      <a:lnTo>
                        <a:pt x="379212" y="59173"/>
                      </a:lnTo>
                      <a:lnTo>
                        <a:pt x="378313" y="58699"/>
                      </a:lnTo>
                      <a:lnTo>
                        <a:pt x="375557" y="57242"/>
                      </a:lnTo>
                      <a:lnTo>
                        <a:pt x="374755" y="56817"/>
                      </a:lnTo>
                      <a:lnTo>
                        <a:pt x="373857" y="56647"/>
                      </a:lnTo>
                      <a:lnTo>
                        <a:pt x="370991" y="56100"/>
                      </a:lnTo>
                      <a:lnTo>
                        <a:pt x="370299" y="55967"/>
                      </a:lnTo>
                      <a:lnTo>
                        <a:pt x="369595" y="55991"/>
                      </a:lnTo>
                      <a:lnTo>
                        <a:pt x="366668" y="56112"/>
                      </a:lnTo>
                      <a:lnTo>
                        <a:pt x="366243" y="56125"/>
                      </a:lnTo>
                      <a:lnTo>
                        <a:pt x="365830" y="56197"/>
                      </a:lnTo>
                      <a:lnTo>
                        <a:pt x="365782" y="56197"/>
                      </a:lnTo>
                      <a:lnTo>
                        <a:pt x="364895" y="51474"/>
                      </a:lnTo>
                      <a:lnTo>
                        <a:pt x="364713" y="50490"/>
                      </a:lnTo>
                      <a:lnTo>
                        <a:pt x="364215" y="49616"/>
                      </a:lnTo>
                      <a:lnTo>
                        <a:pt x="363183" y="47770"/>
                      </a:lnTo>
                      <a:lnTo>
                        <a:pt x="361143" y="44370"/>
                      </a:lnTo>
                      <a:lnTo>
                        <a:pt x="360269" y="42901"/>
                      </a:lnTo>
                      <a:lnTo>
                        <a:pt x="358751" y="42112"/>
                      </a:lnTo>
                      <a:lnTo>
                        <a:pt x="354222" y="39756"/>
                      </a:lnTo>
                      <a:lnTo>
                        <a:pt x="353663" y="39465"/>
                      </a:lnTo>
                      <a:lnTo>
                        <a:pt x="353056" y="39295"/>
                      </a:lnTo>
                      <a:lnTo>
                        <a:pt x="348599" y="38044"/>
                      </a:lnTo>
                      <a:lnTo>
                        <a:pt x="348454" y="37971"/>
                      </a:lnTo>
                      <a:lnTo>
                        <a:pt x="347069" y="37255"/>
                      </a:lnTo>
                      <a:lnTo>
                        <a:pt x="345515" y="37291"/>
                      </a:lnTo>
                      <a:lnTo>
                        <a:pt x="341022" y="37412"/>
                      </a:lnTo>
                      <a:lnTo>
                        <a:pt x="324678" y="31620"/>
                      </a:lnTo>
                      <a:lnTo>
                        <a:pt x="323269" y="31122"/>
                      </a:lnTo>
                      <a:lnTo>
                        <a:pt x="321788" y="31329"/>
                      </a:lnTo>
                      <a:lnTo>
                        <a:pt x="301460" y="34219"/>
                      </a:lnTo>
                      <a:lnTo>
                        <a:pt x="290690" y="31559"/>
                      </a:lnTo>
                      <a:lnTo>
                        <a:pt x="290362" y="30722"/>
                      </a:lnTo>
                      <a:lnTo>
                        <a:pt x="289475" y="29835"/>
                      </a:lnTo>
                      <a:lnTo>
                        <a:pt x="275086" y="15446"/>
                      </a:lnTo>
                      <a:lnTo>
                        <a:pt x="279105" y="35239"/>
                      </a:lnTo>
                      <a:lnTo>
                        <a:pt x="279117" y="35312"/>
                      </a:lnTo>
                      <a:lnTo>
                        <a:pt x="277624" y="35773"/>
                      </a:lnTo>
                      <a:lnTo>
                        <a:pt x="275450" y="36040"/>
                      </a:lnTo>
                      <a:lnTo>
                        <a:pt x="273410" y="36307"/>
                      </a:lnTo>
                      <a:lnTo>
                        <a:pt x="263575" y="35725"/>
                      </a:lnTo>
                      <a:lnTo>
                        <a:pt x="261109" y="34194"/>
                      </a:lnTo>
                      <a:lnTo>
                        <a:pt x="259555" y="32628"/>
                      </a:lnTo>
                      <a:lnTo>
                        <a:pt x="257540" y="29823"/>
                      </a:lnTo>
                      <a:lnTo>
                        <a:pt x="254152" y="22926"/>
                      </a:lnTo>
                      <a:lnTo>
                        <a:pt x="253727" y="22076"/>
                      </a:lnTo>
                      <a:lnTo>
                        <a:pt x="253071" y="21384"/>
                      </a:lnTo>
                      <a:lnTo>
                        <a:pt x="251626" y="19890"/>
                      </a:lnTo>
                      <a:lnTo>
                        <a:pt x="250315" y="18530"/>
                      </a:lnTo>
                      <a:lnTo>
                        <a:pt x="248457" y="18154"/>
                      </a:lnTo>
                      <a:lnTo>
                        <a:pt x="245761" y="17607"/>
                      </a:lnTo>
                      <a:lnTo>
                        <a:pt x="245093" y="17474"/>
                      </a:lnTo>
                      <a:lnTo>
                        <a:pt x="244413" y="17486"/>
                      </a:lnTo>
                      <a:lnTo>
                        <a:pt x="240321" y="17583"/>
                      </a:lnTo>
                      <a:lnTo>
                        <a:pt x="235063" y="16745"/>
                      </a:lnTo>
                      <a:lnTo>
                        <a:pt x="227838" y="16235"/>
                      </a:lnTo>
                      <a:lnTo>
                        <a:pt x="227389" y="16211"/>
                      </a:lnTo>
                      <a:lnTo>
                        <a:pt x="226939" y="16247"/>
                      </a:lnTo>
                      <a:lnTo>
                        <a:pt x="223588" y="16527"/>
                      </a:lnTo>
                      <a:lnTo>
                        <a:pt x="221985" y="16393"/>
                      </a:lnTo>
                      <a:lnTo>
                        <a:pt x="219702" y="15664"/>
                      </a:lnTo>
                      <a:lnTo>
                        <a:pt x="218075" y="14790"/>
                      </a:lnTo>
                      <a:lnTo>
                        <a:pt x="217419" y="14438"/>
                      </a:lnTo>
                      <a:lnTo>
                        <a:pt x="216691" y="14256"/>
                      </a:lnTo>
                      <a:lnTo>
                        <a:pt x="213533" y="13454"/>
                      </a:lnTo>
                      <a:lnTo>
                        <a:pt x="212926" y="13309"/>
                      </a:lnTo>
                      <a:lnTo>
                        <a:pt x="212307" y="13284"/>
                      </a:lnTo>
                      <a:lnTo>
                        <a:pt x="207948" y="13090"/>
                      </a:lnTo>
                      <a:lnTo>
                        <a:pt x="207450" y="13066"/>
                      </a:lnTo>
                      <a:lnTo>
                        <a:pt x="206952" y="13127"/>
                      </a:lnTo>
                      <a:lnTo>
                        <a:pt x="199071" y="14074"/>
                      </a:lnTo>
                      <a:lnTo>
                        <a:pt x="198658" y="14122"/>
                      </a:lnTo>
                      <a:lnTo>
                        <a:pt x="198258" y="14219"/>
                      </a:lnTo>
                      <a:lnTo>
                        <a:pt x="194700" y="15154"/>
                      </a:lnTo>
                      <a:lnTo>
                        <a:pt x="193036" y="15361"/>
                      </a:lnTo>
                      <a:lnTo>
                        <a:pt x="191276" y="14256"/>
                      </a:lnTo>
                      <a:lnTo>
                        <a:pt x="185957" y="8585"/>
                      </a:lnTo>
                      <a:lnTo>
                        <a:pt x="185605" y="8196"/>
                      </a:lnTo>
                      <a:lnTo>
                        <a:pt x="185180" y="7881"/>
                      </a:lnTo>
                      <a:lnTo>
                        <a:pt x="183516" y="6630"/>
                      </a:lnTo>
                      <a:lnTo>
                        <a:pt x="182593" y="5938"/>
                      </a:lnTo>
                      <a:lnTo>
                        <a:pt x="181488" y="5634"/>
                      </a:lnTo>
                      <a:lnTo>
                        <a:pt x="179898" y="5197"/>
                      </a:lnTo>
                      <a:lnTo>
                        <a:pt x="178525" y="4821"/>
                      </a:lnTo>
                      <a:lnTo>
                        <a:pt x="177129" y="5088"/>
                      </a:lnTo>
                      <a:lnTo>
                        <a:pt x="176073" y="5294"/>
                      </a:lnTo>
                      <a:lnTo>
                        <a:pt x="175575" y="4432"/>
                      </a:lnTo>
                      <a:lnTo>
                        <a:pt x="174628" y="3691"/>
                      </a:lnTo>
                      <a:lnTo>
                        <a:pt x="173243" y="2623"/>
                      </a:lnTo>
                      <a:lnTo>
                        <a:pt x="172272" y="1870"/>
                      </a:lnTo>
                      <a:lnTo>
                        <a:pt x="171082" y="1554"/>
                      </a:lnTo>
                      <a:lnTo>
                        <a:pt x="169260" y="1069"/>
                      </a:lnTo>
                      <a:lnTo>
                        <a:pt x="168483" y="862"/>
                      </a:lnTo>
                      <a:lnTo>
                        <a:pt x="167670" y="862"/>
                      </a:lnTo>
                      <a:lnTo>
                        <a:pt x="164318" y="886"/>
                      </a:lnTo>
                      <a:lnTo>
                        <a:pt x="158089" y="0"/>
                      </a:lnTo>
                      <a:lnTo>
                        <a:pt x="157810" y="0"/>
                      </a:lnTo>
                      <a:lnTo>
                        <a:pt x="157810" y="0"/>
                      </a:lnTo>
                      <a:close/>
                    </a:path>
                  </a:pathLst>
                </a:custGeom>
                <a:solidFill>
                  <a:srgbClr val="FFFFFF"/>
                </a:solidFill>
                <a:ln w="12138" cap="flat">
                  <a:noFill/>
                  <a:prstDash val="solid"/>
                  <a:miter/>
                </a:ln>
              </p:spPr>
              <p:txBody>
                <a:bodyPr rtlCol="0" anchor="ctr"/>
                <a:lstStyle/>
                <a:p>
                  <a:endParaRPr lang="en-US"/>
                </a:p>
              </p:txBody>
            </p:sp>
          </p:grpSp>
          <p:sp>
            <p:nvSpPr>
              <p:cNvPr id="271" name="Freeform: Shape 270">
                <a:extLst>
                  <a:ext uri="{FF2B5EF4-FFF2-40B4-BE49-F238E27FC236}">
                    <a16:creationId xmlns:a16="http://schemas.microsoft.com/office/drawing/2014/main" id="{2F44E0AD-D35B-47B8-80B4-7CEEE97429DD}"/>
                  </a:ext>
                </a:extLst>
              </p:cNvPr>
              <p:cNvSpPr/>
              <p:nvPr/>
            </p:nvSpPr>
            <p:spPr>
              <a:xfrm>
                <a:off x="5372159" y="1846049"/>
                <a:ext cx="82292" cy="66312"/>
              </a:xfrm>
              <a:custGeom>
                <a:avLst/>
                <a:gdLst>
                  <a:gd name="connsiteX0" fmla="*/ 22805 w 82292"/>
                  <a:gd name="connsiteY0" fmla="*/ 59500 h 66312"/>
                  <a:gd name="connsiteX1" fmla="*/ 37765 w 82292"/>
                  <a:gd name="connsiteY1" fmla="*/ 63204 h 66312"/>
                  <a:gd name="connsiteX2" fmla="*/ 59258 w 82292"/>
                  <a:gd name="connsiteY2" fmla="*/ 60144 h 66312"/>
                  <a:gd name="connsiteX3" fmla="*/ 76670 w 82292"/>
                  <a:gd name="connsiteY3" fmla="*/ 66313 h 66312"/>
                  <a:gd name="connsiteX4" fmla="*/ 82293 w 82292"/>
                  <a:gd name="connsiteY4" fmla="*/ 66155 h 66312"/>
                  <a:gd name="connsiteX5" fmla="*/ 78225 w 82292"/>
                  <a:gd name="connsiteY5" fmla="*/ 64042 h 66312"/>
                  <a:gd name="connsiteX6" fmla="*/ 75699 w 82292"/>
                  <a:gd name="connsiteY6" fmla="*/ 61152 h 66312"/>
                  <a:gd name="connsiteX7" fmla="*/ 74315 w 82292"/>
                  <a:gd name="connsiteY7" fmla="*/ 57849 h 66312"/>
                  <a:gd name="connsiteX8" fmla="*/ 73793 w 82292"/>
                  <a:gd name="connsiteY8" fmla="*/ 54182 h 66312"/>
                  <a:gd name="connsiteX9" fmla="*/ 73732 w 82292"/>
                  <a:gd name="connsiteY9" fmla="*/ 50235 h 66312"/>
                  <a:gd name="connsiteX10" fmla="*/ 72651 w 82292"/>
                  <a:gd name="connsiteY10" fmla="*/ 45815 h 66312"/>
                  <a:gd name="connsiteX11" fmla="*/ 70016 w 82292"/>
                  <a:gd name="connsiteY11" fmla="*/ 44297 h 66312"/>
                  <a:gd name="connsiteX12" fmla="*/ 66798 w 82292"/>
                  <a:gd name="connsiteY12" fmla="*/ 43520 h 66312"/>
                  <a:gd name="connsiteX13" fmla="*/ 63921 w 82292"/>
                  <a:gd name="connsiteY13" fmla="*/ 41395 h 66312"/>
                  <a:gd name="connsiteX14" fmla="*/ 63168 w 82292"/>
                  <a:gd name="connsiteY14" fmla="*/ 39331 h 66312"/>
                  <a:gd name="connsiteX15" fmla="*/ 63459 w 82292"/>
                  <a:gd name="connsiteY15" fmla="*/ 37473 h 66312"/>
                  <a:gd name="connsiteX16" fmla="*/ 63921 w 82292"/>
                  <a:gd name="connsiteY16" fmla="*/ 35761 h 66312"/>
                  <a:gd name="connsiteX17" fmla="*/ 63811 w 82292"/>
                  <a:gd name="connsiteY17" fmla="*/ 33976 h 66312"/>
                  <a:gd name="connsiteX18" fmla="*/ 62767 w 82292"/>
                  <a:gd name="connsiteY18" fmla="*/ 32458 h 66312"/>
                  <a:gd name="connsiteX19" fmla="*/ 59828 w 82292"/>
                  <a:gd name="connsiteY19" fmla="*/ 30321 h 66312"/>
                  <a:gd name="connsiteX20" fmla="*/ 59148 w 82292"/>
                  <a:gd name="connsiteY20" fmla="*/ 28645 h 66312"/>
                  <a:gd name="connsiteX21" fmla="*/ 59270 w 82292"/>
                  <a:gd name="connsiteY21" fmla="*/ 26411 h 66312"/>
                  <a:gd name="connsiteX22" fmla="*/ 59768 w 82292"/>
                  <a:gd name="connsiteY22" fmla="*/ 24456 h 66312"/>
                  <a:gd name="connsiteX23" fmla="*/ 59962 w 82292"/>
                  <a:gd name="connsiteY23" fmla="*/ 22501 h 66312"/>
                  <a:gd name="connsiteX24" fmla="*/ 59088 w 82292"/>
                  <a:gd name="connsiteY24" fmla="*/ 20352 h 66312"/>
                  <a:gd name="connsiteX25" fmla="*/ 57764 w 82292"/>
                  <a:gd name="connsiteY25" fmla="*/ 19489 h 66312"/>
                  <a:gd name="connsiteX26" fmla="*/ 54206 w 82292"/>
                  <a:gd name="connsiteY26" fmla="*/ 19077 h 66312"/>
                  <a:gd name="connsiteX27" fmla="*/ 52713 w 82292"/>
                  <a:gd name="connsiteY27" fmla="*/ 18457 h 66312"/>
                  <a:gd name="connsiteX28" fmla="*/ 50770 w 82292"/>
                  <a:gd name="connsiteY28" fmla="*/ 15421 h 66312"/>
                  <a:gd name="connsiteX29" fmla="*/ 50017 w 82292"/>
                  <a:gd name="connsiteY29" fmla="*/ 12191 h 66312"/>
                  <a:gd name="connsiteX30" fmla="*/ 48827 w 82292"/>
                  <a:gd name="connsiteY30" fmla="*/ 9326 h 66312"/>
                  <a:gd name="connsiteX31" fmla="*/ 42561 w 82292"/>
                  <a:gd name="connsiteY31" fmla="*/ 5683 h 66312"/>
                  <a:gd name="connsiteX32" fmla="*/ 37327 w 82292"/>
                  <a:gd name="connsiteY32" fmla="*/ 1336 h 66312"/>
                  <a:gd name="connsiteX33" fmla="*/ 34644 w 82292"/>
                  <a:gd name="connsiteY33" fmla="*/ 0 h 66312"/>
                  <a:gd name="connsiteX34" fmla="*/ 25512 w 82292"/>
                  <a:gd name="connsiteY34" fmla="*/ 1700 h 66312"/>
                  <a:gd name="connsiteX35" fmla="*/ 21954 w 82292"/>
                  <a:gd name="connsiteY35" fmla="*/ 9690 h 66312"/>
                  <a:gd name="connsiteX36" fmla="*/ 20619 w 82292"/>
                  <a:gd name="connsiteY36" fmla="*/ 18712 h 66312"/>
                  <a:gd name="connsiteX37" fmla="*/ 18275 w 82292"/>
                  <a:gd name="connsiteY37" fmla="*/ 23533 h 66312"/>
                  <a:gd name="connsiteX38" fmla="*/ 15167 w 82292"/>
                  <a:gd name="connsiteY38" fmla="*/ 22477 h 66312"/>
                  <a:gd name="connsiteX39" fmla="*/ 10516 w 82292"/>
                  <a:gd name="connsiteY39" fmla="*/ 17887 h 66312"/>
                  <a:gd name="connsiteX40" fmla="*/ 7359 w 82292"/>
                  <a:gd name="connsiteY40" fmla="*/ 16417 h 66312"/>
                  <a:gd name="connsiteX41" fmla="*/ 4201 w 82292"/>
                  <a:gd name="connsiteY41" fmla="*/ 22792 h 66312"/>
                  <a:gd name="connsiteX42" fmla="*/ 2198 w 82292"/>
                  <a:gd name="connsiteY42" fmla="*/ 25694 h 66312"/>
                  <a:gd name="connsiteX43" fmla="*/ 12 w 82292"/>
                  <a:gd name="connsiteY43" fmla="*/ 27759 h 66312"/>
                  <a:gd name="connsiteX44" fmla="*/ 0 w 82292"/>
                  <a:gd name="connsiteY44" fmla="*/ 27759 h 66312"/>
                  <a:gd name="connsiteX45" fmla="*/ 3570 w 82292"/>
                  <a:gd name="connsiteY45" fmla="*/ 32835 h 66312"/>
                  <a:gd name="connsiteX46" fmla="*/ 4942 w 82292"/>
                  <a:gd name="connsiteY46" fmla="*/ 34352 h 66312"/>
                  <a:gd name="connsiteX47" fmla="*/ 10795 w 82292"/>
                  <a:gd name="connsiteY47" fmla="*/ 40011 h 66312"/>
                  <a:gd name="connsiteX48" fmla="*/ 15907 w 82292"/>
                  <a:gd name="connsiteY48" fmla="*/ 47710 h 66312"/>
                  <a:gd name="connsiteX49" fmla="*/ 21481 w 82292"/>
                  <a:gd name="connsiteY49" fmla="*/ 55955 h 66312"/>
                  <a:gd name="connsiteX50" fmla="*/ 21663 w 82292"/>
                  <a:gd name="connsiteY50" fmla="*/ 56805 h 66312"/>
                  <a:gd name="connsiteX51" fmla="*/ 21785 w 82292"/>
                  <a:gd name="connsiteY51" fmla="*/ 56926 h 66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82292" h="66312">
                    <a:moveTo>
                      <a:pt x="22805" y="59500"/>
                    </a:moveTo>
                    <a:lnTo>
                      <a:pt x="37765" y="63204"/>
                    </a:lnTo>
                    <a:lnTo>
                      <a:pt x="59258" y="60144"/>
                    </a:lnTo>
                    <a:lnTo>
                      <a:pt x="76670" y="66313"/>
                    </a:lnTo>
                    <a:lnTo>
                      <a:pt x="82293" y="66155"/>
                    </a:lnTo>
                    <a:lnTo>
                      <a:pt x="78225" y="64042"/>
                    </a:lnTo>
                    <a:lnTo>
                      <a:pt x="75699" y="61152"/>
                    </a:lnTo>
                    <a:lnTo>
                      <a:pt x="74315" y="57849"/>
                    </a:lnTo>
                    <a:lnTo>
                      <a:pt x="73793" y="54182"/>
                    </a:lnTo>
                    <a:lnTo>
                      <a:pt x="73732" y="50235"/>
                    </a:lnTo>
                    <a:lnTo>
                      <a:pt x="72651" y="45815"/>
                    </a:lnTo>
                    <a:lnTo>
                      <a:pt x="70016" y="44297"/>
                    </a:lnTo>
                    <a:lnTo>
                      <a:pt x="66798" y="43520"/>
                    </a:lnTo>
                    <a:lnTo>
                      <a:pt x="63921" y="41395"/>
                    </a:lnTo>
                    <a:lnTo>
                      <a:pt x="63168" y="39331"/>
                    </a:lnTo>
                    <a:lnTo>
                      <a:pt x="63459" y="37473"/>
                    </a:lnTo>
                    <a:lnTo>
                      <a:pt x="63921" y="35761"/>
                    </a:lnTo>
                    <a:lnTo>
                      <a:pt x="63811" y="33976"/>
                    </a:lnTo>
                    <a:lnTo>
                      <a:pt x="62767" y="32458"/>
                    </a:lnTo>
                    <a:lnTo>
                      <a:pt x="59828" y="30321"/>
                    </a:lnTo>
                    <a:lnTo>
                      <a:pt x="59148" y="28645"/>
                    </a:lnTo>
                    <a:lnTo>
                      <a:pt x="59270" y="26411"/>
                    </a:lnTo>
                    <a:lnTo>
                      <a:pt x="59768" y="24456"/>
                    </a:lnTo>
                    <a:lnTo>
                      <a:pt x="59962" y="22501"/>
                    </a:lnTo>
                    <a:lnTo>
                      <a:pt x="59088" y="20352"/>
                    </a:lnTo>
                    <a:lnTo>
                      <a:pt x="57764" y="19489"/>
                    </a:lnTo>
                    <a:lnTo>
                      <a:pt x="54206" y="19077"/>
                    </a:lnTo>
                    <a:lnTo>
                      <a:pt x="52713" y="18457"/>
                    </a:lnTo>
                    <a:lnTo>
                      <a:pt x="50770" y="15421"/>
                    </a:lnTo>
                    <a:lnTo>
                      <a:pt x="50017" y="12191"/>
                    </a:lnTo>
                    <a:lnTo>
                      <a:pt x="48827" y="9326"/>
                    </a:lnTo>
                    <a:lnTo>
                      <a:pt x="42561" y="5683"/>
                    </a:lnTo>
                    <a:lnTo>
                      <a:pt x="37327" y="1336"/>
                    </a:lnTo>
                    <a:lnTo>
                      <a:pt x="34644" y="0"/>
                    </a:lnTo>
                    <a:lnTo>
                      <a:pt x="25512" y="1700"/>
                    </a:lnTo>
                    <a:lnTo>
                      <a:pt x="21954" y="9690"/>
                    </a:lnTo>
                    <a:lnTo>
                      <a:pt x="20619" y="18712"/>
                    </a:lnTo>
                    <a:lnTo>
                      <a:pt x="18275" y="23533"/>
                    </a:lnTo>
                    <a:lnTo>
                      <a:pt x="15167" y="22477"/>
                    </a:lnTo>
                    <a:lnTo>
                      <a:pt x="10516" y="17887"/>
                    </a:lnTo>
                    <a:lnTo>
                      <a:pt x="7359" y="16417"/>
                    </a:lnTo>
                    <a:lnTo>
                      <a:pt x="4201" y="22792"/>
                    </a:lnTo>
                    <a:lnTo>
                      <a:pt x="2198" y="25694"/>
                    </a:lnTo>
                    <a:lnTo>
                      <a:pt x="12" y="27759"/>
                    </a:lnTo>
                    <a:lnTo>
                      <a:pt x="0" y="27759"/>
                    </a:lnTo>
                    <a:lnTo>
                      <a:pt x="3570" y="32835"/>
                    </a:lnTo>
                    <a:lnTo>
                      <a:pt x="4942" y="34352"/>
                    </a:lnTo>
                    <a:lnTo>
                      <a:pt x="10795" y="40011"/>
                    </a:lnTo>
                    <a:lnTo>
                      <a:pt x="15907" y="47710"/>
                    </a:lnTo>
                    <a:lnTo>
                      <a:pt x="21481" y="55955"/>
                    </a:lnTo>
                    <a:lnTo>
                      <a:pt x="21663" y="56805"/>
                    </a:lnTo>
                    <a:lnTo>
                      <a:pt x="21785" y="56926"/>
                    </a:lnTo>
                    <a:close/>
                  </a:path>
                </a:pathLst>
              </a:custGeom>
              <a:solidFill>
                <a:srgbClr val="D7D7D2"/>
              </a:solidFill>
              <a:ln w="12138" cap="flat">
                <a:noFill/>
                <a:prstDash val="solid"/>
                <a:miter/>
              </a:ln>
            </p:spPr>
            <p:txBody>
              <a:bodyPr rtlCol="0" anchor="ctr"/>
              <a:lstStyle/>
              <a:p>
                <a:endParaRPr lang="en-US"/>
              </a:p>
            </p:txBody>
          </p:sp>
          <p:grpSp>
            <p:nvGrpSpPr>
              <p:cNvPr id="272" name="Graphic 280">
                <a:extLst>
                  <a:ext uri="{FF2B5EF4-FFF2-40B4-BE49-F238E27FC236}">
                    <a16:creationId xmlns:a16="http://schemas.microsoft.com/office/drawing/2014/main" id="{F4E64EA6-D6DB-42E5-A6D0-D9124D2A849A}"/>
                  </a:ext>
                </a:extLst>
              </p:cNvPr>
              <p:cNvGrpSpPr/>
              <p:nvPr/>
            </p:nvGrpSpPr>
            <p:grpSpPr>
              <a:xfrm>
                <a:off x="5157836" y="882980"/>
                <a:ext cx="499499" cy="572369"/>
                <a:chOff x="5157836" y="882980"/>
                <a:chExt cx="499499" cy="572369"/>
              </a:xfrm>
            </p:grpSpPr>
            <p:sp>
              <p:nvSpPr>
                <p:cNvPr id="306" name="Freeform: Shape 305">
                  <a:extLst>
                    <a:ext uri="{FF2B5EF4-FFF2-40B4-BE49-F238E27FC236}">
                      <a16:creationId xmlns:a16="http://schemas.microsoft.com/office/drawing/2014/main" id="{39FC9C23-4DB8-4FE3-9F93-D795B1038DDD}"/>
                    </a:ext>
                  </a:extLst>
                </p:cNvPr>
                <p:cNvSpPr/>
                <p:nvPr/>
              </p:nvSpPr>
              <p:spPr>
                <a:xfrm>
                  <a:off x="5163774" y="886052"/>
                  <a:ext cx="490380" cy="560882"/>
                </a:xfrm>
                <a:custGeom>
                  <a:avLst/>
                  <a:gdLst>
                    <a:gd name="connsiteX0" fmla="*/ 195951 w 490380"/>
                    <a:gd name="connsiteY0" fmla="*/ 539316 h 560882"/>
                    <a:gd name="connsiteX1" fmla="*/ 191033 w 490380"/>
                    <a:gd name="connsiteY1" fmla="*/ 531691 h 560882"/>
                    <a:gd name="connsiteX2" fmla="*/ 187025 w 490380"/>
                    <a:gd name="connsiteY2" fmla="*/ 518649 h 560882"/>
                    <a:gd name="connsiteX3" fmla="*/ 189248 w 490380"/>
                    <a:gd name="connsiteY3" fmla="*/ 477387 h 560882"/>
                    <a:gd name="connsiteX4" fmla="*/ 187985 w 490380"/>
                    <a:gd name="connsiteY4" fmla="*/ 464261 h 560882"/>
                    <a:gd name="connsiteX5" fmla="*/ 184913 w 490380"/>
                    <a:gd name="connsiteY5" fmla="*/ 451195 h 560882"/>
                    <a:gd name="connsiteX6" fmla="*/ 175538 w 490380"/>
                    <a:gd name="connsiteY6" fmla="*/ 425185 h 560882"/>
                    <a:gd name="connsiteX7" fmla="*/ 177408 w 490380"/>
                    <a:gd name="connsiteY7" fmla="*/ 405161 h 560882"/>
                    <a:gd name="connsiteX8" fmla="*/ 192866 w 490380"/>
                    <a:gd name="connsiteY8" fmla="*/ 395119 h 560882"/>
                    <a:gd name="connsiteX9" fmla="*/ 211627 w 490380"/>
                    <a:gd name="connsiteY9" fmla="*/ 387433 h 560882"/>
                    <a:gd name="connsiteX10" fmla="*/ 223843 w 490380"/>
                    <a:gd name="connsiteY10" fmla="*/ 376079 h 560882"/>
                    <a:gd name="connsiteX11" fmla="*/ 225312 w 490380"/>
                    <a:gd name="connsiteY11" fmla="*/ 371950 h 560882"/>
                    <a:gd name="connsiteX12" fmla="*/ 225737 w 490380"/>
                    <a:gd name="connsiteY12" fmla="*/ 367737 h 560882"/>
                    <a:gd name="connsiteX13" fmla="*/ 225154 w 490380"/>
                    <a:gd name="connsiteY13" fmla="*/ 363535 h 560882"/>
                    <a:gd name="connsiteX14" fmla="*/ 223588 w 490380"/>
                    <a:gd name="connsiteY14" fmla="*/ 359382 h 560882"/>
                    <a:gd name="connsiteX15" fmla="*/ 219095 w 490380"/>
                    <a:gd name="connsiteY15" fmla="*/ 351356 h 560882"/>
                    <a:gd name="connsiteX16" fmla="*/ 214311 w 490380"/>
                    <a:gd name="connsiteY16" fmla="*/ 347252 h 560882"/>
                    <a:gd name="connsiteX17" fmla="*/ 208348 w 490380"/>
                    <a:gd name="connsiteY17" fmla="*/ 344969 h 560882"/>
                    <a:gd name="connsiteX18" fmla="*/ 199994 w 490380"/>
                    <a:gd name="connsiteY18" fmla="*/ 342734 h 560882"/>
                    <a:gd name="connsiteX19" fmla="*/ 192271 w 490380"/>
                    <a:gd name="connsiteY19" fmla="*/ 338642 h 560882"/>
                    <a:gd name="connsiteX20" fmla="*/ 181768 w 490380"/>
                    <a:gd name="connsiteY20" fmla="*/ 325977 h 560882"/>
                    <a:gd name="connsiteX21" fmla="*/ 166225 w 490380"/>
                    <a:gd name="connsiteY21" fmla="*/ 314842 h 560882"/>
                    <a:gd name="connsiteX22" fmla="*/ 156146 w 490380"/>
                    <a:gd name="connsiteY22" fmla="*/ 310956 h 560882"/>
                    <a:gd name="connsiteX23" fmla="*/ 114071 w 490380"/>
                    <a:gd name="connsiteY23" fmla="*/ 304338 h 560882"/>
                    <a:gd name="connsiteX24" fmla="*/ 105133 w 490380"/>
                    <a:gd name="connsiteY24" fmla="*/ 300817 h 560882"/>
                    <a:gd name="connsiteX25" fmla="*/ 96876 w 490380"/>
                    <a:gd name="connsiteY25" fmla="*/ 293896 h 560882"/>
                    <a:gd name="connsiteX26" fmla="*/ 91995 w 490380"/>
                    <a:gd name="connsiteY26" fmla="*/ 285869 h 560882"/>
                    <a:gd name="connsiteX27" fmla="*/ 80107 w 490380"/>
                    <a:gd name="connsiteY27" fmla="*/ 245008 h 560882"/>
                    <a:gd name="connsiteX28" fmla="*/ 78577 w 490380"/>
                    <a:gd name="connsiteY28" fmla="*/ 241717 h 560882"/>
                    <a:gd name="connsiteX29" fmla="*/ 71425 w 490380"/>
                    <a:gd name="connsiteY29" fmla="*/ 233278 h 560882"/>
                    <a:gd name="connsiteX30" fmla="*/ 68280 w 490380"/>
                    <a:gd name="connsiteY30" fmla="*/ 225082 h 560882"/>
                    <a:gd name="connsiteX31" fmla="*/ 66446 w 490380"/>
                    <a:gd name="connsiteY31" fmla="*/ 208239 h 560882"/>
                    <a:gd name="connsiteX32" fmla="*/ 64770 w 490380"/>
                    <a:gd name="connsiteY32" fmla="*/ 200844 h 560882"/>
                    <a:gd name="connsiteX33" fmla="*/ 47564 w 490380"/>
                    <a:gd name="connsiteY33" fmla="*/ 172223 h 560882"/>
                    <a:gd name="connsiteX34" fmla="*/ 40472 w 490380"/>
                    <a:gd name="connsiteY34" fmla="*/ 155260 h 560882"/>
                    <a:gd name="connsiteX35" fmla="*/ 42209 w 490380"/>
                    <a:gd name="connsiteY35" fmla="*/ 137749 h 560882"/>
                    <a:gd name="connsiteX36" fmla="*/ 47782 w 490380"/>
                    <a:gd name="connsiteY36" fmla="*/ 125959 h 560882"/>
                    <a:gd name="connsiteX37" fmla="*/ 50648 w 490380"/>
                    <a:gd name="connsiteY37" fmla="*/ 115576 h 560882"/>
                    <a:gd name="connsiteX38" fmla="*/ 49288 w 490380"/>
                    <a:gd name="connsiteY38" fmla="*/ 110270 h 560882"/>
                    <a:gd name="connsiteX39" fmla="*/ 41334 w 490380"/>
                    <a:gd name="connsiteY39" fmla="*/ 109894 h 560882"/>
                    <a:gd name="connsiteX40" fmla="*/ 36793 w 490380"/>
                    <a:gd name="connsiteY40" fmla="*/ 112091 h 560882"/>
                    <a:gd name="connsiteX41" fmla="*/ 28694 w 490380"/>
                    <a:gd name="connsiteY41" fmla="*/ 120725 h 560882"/>
                    <a:gd name="connsiteX42" fmla="*/ 21675 w 490380"/>
                    <a:gd name="connsiteY42" fmla="*/ 123433 h 560882"/>
                    <a:gd name="connsiteX43" fmla="*/ 15227 w 490380"/>
                    <a:gd name="connsiteY43" fmla="*/ 121879 h 560882"/>
                    <a:gd name="connsiteX44" fmla="*/ 10419 w 490380"/>
                    <a:gd name="connsiteY44" fmla="*/ 118187 h 560882"/>
                    <a:gd name="connsiteX45" fmla="*/ 6326 w 490380"/>
                    <a:gd name="connsiteY45" fmla="*/ 113111 h 560882"/>
                    <a:gd name="connsiteX46" fmla="*/ 0 w 490380"/>
                    <a:gd name="connsiteY46" fmla="*/ 102656 h 560882"/>
                    <a:gd name="connsiteX47" fmla="*/ 11815 w 490380"/>
                    <a:gd name="connsiteY47" fmla="*/ 104296 h 560882"/>
                    <a:gd name="connsiteX48" fmla="*/ 17984 w 490380"/>
                    <a:gd name="connsiteY48" fmla="*/ 106020 h 560882"/>
                    <a:gd name="connsiteX49" fmla="*/ 22039 w 490380"/>
                    <a:gd name="connsiteY49" fmla="*/ 106348 h 560882"/>
                    <a:gd name="connsiteX50" fmla="*/ 25160 w 490380"/>
                    <a:gd name="connsiteY50" fmla="*/ 104611 h 560882"/>
                    <a:gd name="connsiteX51" fmla="*/ 27904 w 490380"/>
                    <a:gd name="connsiteY51" fmla="*/ 99341 h 560882"/>
                    <a:gd name="connsiteX52" fmla="*/ 29495 w 490380"/>
                    <a:gd name="connsiteY52" fmla="*/ 94606 h 560882"/>
                    <a:gd name="connsiteX53" fmla="*/ 33357 w 490380"/>
                    <a:gd name="connsiteY53" fmla="*/ 89457 h 560882"/>
                    <a:gd name="connsiteX54" fmla="*/ 40278 w 490380"/>
                    <a:gd name="connsiteY54" fmla="*/ 89032 h 560882"/>
                    <a:gd name="connsiteX55" fmla="*/ 57982 w 490380"/>
                    <a:gd name="connsiteY55" fmla="*/ 94096 h 560882"/>
                    <a:gd name="connsiteX56" fmla="*/ 61722 w 490380"/>
                    <a:gd name="connsiteY56" fmla="*/ 94314 h 560882"/>
                    <a:gd name="connsiteX57" fmla="*/ 62402 w 490380"/>
                    <a:gd name="connsiteY57" fmla="*/ 93950 h 560882"/>
                    <a:gd name="connsiteX58" fmla="*/ 64625 w 490380"/>
                    <a:gd name="connsiteY58" fmla="*/ 86956 h 560882"/>
                    <a:gd name="connsiteX59" fmla="*/ 67345 w 490380"/>
                    <a:gd name="connsiteY59" fmla="*/ 81601 h 560882"/>
                    <a:gd name="connsiteX60" fmla="*/ 71522 w 490380"/>
                    <a:gd name="connsiteY60" fmla="*/ 77096 h 560882"/>
                    <a:gd name="connsiteX61" fmla="*/ 76634 w 490380"/>
                    <a:gd name="connsiteY61" fmla="*/ 73938 h 560882"/>
                    <a:gd name="connsiteX62" fmla="*/ 84855 w 490380"/>
                    <a:gd name="connsiteY62" fmla="*/ 71376 h 560882"/>
                    <a:gd name="connsiteX63" fmla="*/ 86555 w 490380"/>
                    <a:gd name="connsiteY63" fmla="*/ 69858 h 560882"/>
                    <a:gd name="connsiteX64" fmla="*/ 89797 w 490380"/>
                    <a:gd name="connsiteY64" fmla="*/ 64868 h 560882"/>
                    <a:gd name="connsiteX65" fmla="*/ 93015 w 490380"/>
                    <a:gd name="connsiteY65" fmla="*/ 61783 h 560882"/>
                    <a:gd name="connsiteX66" fmla="*/ 97010 w 490380"/>
                    <a:gd name="connsiteY66" fmla="*/ 59853 h 560882"/>
                    <a:gd name="connsiteX67" fmla="*/ 104490 w 490380"/>
                    <a:gd name="connsiteY67" fmla="*/ 57958 h 560882"/>
                    <a:gd name="connsiteX68" fmla="*/ 110792 w 490380"/>
                    <a:gd name="connsiteY68" fmla="*/ 54801 h 560882"/>
                    <a:gd name="connsiteX69" fmla="*/ 116742 w 490380"/>
                    <a:gd name="connsiteY69" fmla="*/ 50697 h 560882"/>
                    <a:gd name="connsiteX70" fmla="*/ 123603 w 490380"/>
                    <a:gd name="connsiteY70" fmla="*/ 47151 h 560882"/>
                    <a:gd name="connsiteX71" fmla="*/ 138502 w 490380"/>
                    <a:gd name="connsiteY71" fmla="*/ 45378 h 560882"/>
                    <a:gd name="connsiteX72" fmla="*/ 144477 w 490380"/>
                    <a:gd name="connsiteY72" fmla="*/ 42755 h 560882"/>
                    <a:gd name="connsiteX73" fmla="*/ 164075 w 490380"/>
                    <a:gd name="connsiteY73" fmla="*/ 30212 h 560882"/>
                    <a:gd name="connsiteX74" fmla="*/ 165873 w 490380"/>
                    <a:gd name="connsiteY74" fmla="*/ 28208 h 560882"/>
                    <a:gd name="connsiteX75" fmla="*/ 170183 w 490380"/>
                    <a:gd name="connsiteY75" fmla="*/ 19708 h 560882"/>
                    <a:gd name="connsiteX76" fmla="*/ 173437 w 490380"/>
                    <a:gd name="connsiteY76" fmla="*/ 16065 h 560882"/>
                    <a:gd name="connsiteX77" fmla="*/ 180056 w 490380"/>
                    <a:gd name="connsiteY77" fmla="*/ 13187 h 560882"/>
                    <a:gd name="connsiteX78" fmla="*/ 188106 w 490380"/>
                    <a:gd name="connsiteY78" fmla="*/ 12568 h 560882"/>
                    <a:gd name="connsiteX79" fmla="*/ 195768 w 490380"/>
                    <a:gd name="connsiteY79" fmla="*/ 13782 h 560882"/>
                    <a:gd name="connsiteX80" fmla="*/ 209053 w 490380"/>
                    <a:gd name="connsiteY80" fmla="*/ 18275 h 560882"/>
                    <a:gd name="connsiteX81" fmla="*/ 214371 w 490380"/>
                    <a:gd name="connsiteY81" fmla="*/ 19016 h 560882"/>
                    <a:gd name="connsiteX82" fmla="*/ 219374 w 490380"/>
                    <a:gd name="connsiteY82" fmla="*/ 18190 h 560882"/>
                    <a:gd name="connsiteX83" fmla="*/ 240782 w 490380"/>
                    <a:gd name="connsiteY83" fmla="*/ 10589 h 560882"/>
                    <a:gd name="connsiteX84" fmla="*/ 265105 w 490380"/>
                    <a:gd name="connsiteY84" fmla="*/ 8281 h 560882"/>
                    <a:gd name="connsiteX85" fmla="*/ 284218 w 490380"/>
                    <a:gd name="connsiteY85" fmla="*/ 765 h 560882"/>
                    <a:gd name="connsiteX86" fmla="*/ 291358 w 490380"/>
                    <a:gd name="connsiteY86" fmla="*/ 0 h 560882"/>
                    <a:gd name="connsiteX87" fmla="*/ 299566 w 490380"/>
                    <a:gd name="connsiteY87" fmla="*/ 1056 h 560882"/>
                    <a:gd name="connsiteX88" fmla="*/ 307739 w 490380"/>
                    <a:gd name="connsiteY88" fmla="*/ 4323 h 560882"/>
                    <a:gd name="connsiteX89" fmla="*/ 313288 w 490380"/>
                    <a:gd name="connsiteY89" fmla="*/ 10237 h 560882"/>
                    <a:gd name="connsiteX90" fmla="*/ 314283 w 490380"/>
                    <a:gd name="connsiteY90" fmla="*/ 17947 h 560882"/>
                    <a:gd name="connsiteX91" fmla="*/ 313652 w 490380"/>
                    <a:gd name="connsiteY91" fmla="*/ 24383 h 560882"/>
                    <a:gd name="connsiteX92" fmla="*/ 314599 w 490380"/>
                    <a:gd name="connsiteY92" fmla="*/ 27042 h 560882"/>
                    <a:gd name="connsiteX93" fmla="*/ 320100 w 490380"/>
                    <a:gd name="connsiteY93" fmla="*/ 28342 h 560882"/>
                    <a:gd name="connsiteX94" fmla="*/ 327884 w 490380"/>
                    <a:gd name="connsiteY94" fmla="*/ 25585 h 560882"/>
                    <a:gd name="connsiteX95" fmla="*/ 333445 w 490380"/>
                    <a:gd name="connsiteY95" fmla="*/ 24577 h 560882"/>
                    <a:gd name="connsiteX96" fmla="*/ 339395 w 490380"/>
                    <a:gd name="connsiteY96" fmla="*/ 26399 h 560882"/>
                    <a:gd name="connsiteX97" fmla="*/ 341241 w 490380"/>
                    <a:gd name="connsiteY97" fmla="*/ 29495 h 560882"/>
                    <a:gd name="connsiteX98" fmla="*/ 341617 w 490380"/>
                    <a:gd name="connsiteY98" fmla="*/ 32312 h 560882"/>
                    <a:gd name="connsiteX99" fmla="*/ 342443 w 490380"/>
                    <a:gd name="connsiteY99" fmla="*/ 32798 h 560882"/>
                    <a:gd name="connsiteX100" fmla="*/ 347361 w 490380"/>
                    <a:gd name="connsiteY100" fmla="*/ 33296 h 560882"/>
                    <a:gd name="connsiteX101" fmla="*/ 350664 w 490380"/>
                    <a:gd name="connsiteY101" fmla="*/ 34875 h 560882"/>
                    <a:gd name="connsiteX102" fmla="*/ 354452 w 490380"/>
                    <a:gd name="connsiteY102" fmla="*/ 40897 h 560882"/>
                    <a:gd name="connsiteX103" fmla="*/ 352667 w 490380"/>
                    <a:gd name="connsiteY103" fmla="*/ 45245 h 560882"/>
                    <a:gd name="connsiteX104" fmla="*/ 349462 w 490380"/>
                    <a:gd name="connsiteY104" fmla="*/ 48887 h 560882"/>
                    <a:gd name="connsiteX105" fmla="*/ 348697 w 490380"/>
                    <a:gd name="connsiteY105" fmla="*/ 50660 h 560882"/>
                    <a:gd name="connsiteX106" fmla="*/ 349109 w 490380"/>
                    <a:gd name="connsiteY106" fmla="*/ 52785 h 560882"/>
                    <a:gd name="connsiteX107" fmla="*/ 353420 w 490380"/>
                    <a:gd name="connsiteY107" fmla="*/ 58918 h 560882"/>
                    <a:gd name="connsiteX108" fmla="*/ 358132 w 490380"/>
                    <a:gd name="connsiteY108" fmla="*/ 70563 h 560882"/>
                    <a:gd name="connsiteX109" fmla="*/ 362297 w 490380"/>
                    <a:gd name="connsiteY109" fmla="*/ 73501 h 560882"/>
                    <a:gd name="connsiteX110" fmla="*/ 376613 w 490380"/>
                    <a:gd name="connsiteY110" fmla="*/ 75444 h 560882"/>
                    <a:gd name="connsiteX111" fmla="*/ 382320 w 490380"/>
                    <a:gd name="connsiteY111" fmla="*/ 78006 h 560882"/>
                    <a:gd name="connsiteX112" fmla="*/ 384081 w 490380"/>
                    <a:gd name="connsiteY112" fmla="*/ 82523 h 560882"/>
                    <a:gd name="connsiteX113" fmla="*/ 384943 w 490380"/>
                    <a:gd name="connsiteY113" fmla="*/ 87028 h 560882"/>
                    <a:gd name="connsiteX114" fmla="*/ 385818 w 490380"/>
                    <a:gd name="connsiteY114" fmla="*/ 88595 h 560882"/>
                    <a:gd name="connsiteX115" fmla="*/ 387396 w 490380"/>
                    <a:gd name="connsiteY115" fmla="*/ 89275 h 560882"/>
                    <a:gd name="connsiteX116" fmla="*/ 389290 w 490380"/>
                    <a:gd name="connsiteY116" fmla="*/ 88607 h 560882"/>
                    <a:gd name="connsiteX117" fmla="*/ 391986 w 490380"/>
                    <a:gd name="connsiteY117" fmla="*/ 86057 h 560882"/>
                    <a:gd name="connsiteX118" fmla="*/ 394111 w 490380"/>
                    <a:gd name="connsiteY118" fmla="*/ 82463 h 560882"/>
                    <a:gd name="connsiteX119" fmla="*/ 402186 w 490380"/>
                    <a:gd name="connsiteY119" fmla="*/ 77508 h 560882"/>
                    <a:gd name="connsiteX120" fmla="*/ 409436 w 490380"/>
                    <a:gd name="connsiteY120" fmla="*/ 85826 h 560882"/>
                    <a:gd name="connsiteX121" fmla="*/ 414499 w 490380"/>
                    <a:gd name="connsiteY121" fmla="*/ 96306 h 560882"/>
                    <a:gd name="connsiteX122" fmla="*/ 416891 w 490380"/>
                    <a:gd name="connsiteY122" fmla="*/ 103689 h 560882"/>
                    <a:gd name="connsiteX123" fmla="*/ 418130 w 490380"/>
                    <a:gd name="connsiteY123" fmla="*/ 110610 h 560882"/>
                    <a:gd name="connsiteX124" fmla="*/ 420121 w 490380"/>
                    <a:gd name="connsiteY124" fmla="*/ 117204 h 560882"/>
                    <a:gd name="connsiteX125" fmla="*/ 422756 w 490380"/>
                    <a:gd name="connsiteY125" fmla="*/ 121575 h 560882"/>
                    <a:gd name="connsiteX126" fmla="*/ 426387 w 490380"/>
                    <a:gd name="connsiteY126" fmla="*/ 123554 h 560882"/>
                    <a:gd name="connsiteX127" fmla="*/ 430176 w 490380"/>
                    <a:gd name="connsiteY127" fmla="*/ 122717 h 560882"/>
                    <a:gd name="connsiteX128" fmla="*/ 435409 w 490380"/>
                    <a:gd name="connsiteY128" fmla="*/ 118940 h 560882"/>
                    <a:gd name="connsiteX129" fmla="*/ 439939 w 490380"/>
                    <a:gd name="connsiteY129" fmla="*/ 113876 h 560882"/>
                    <a:gd name="connsiteX130" fmla="*/ 442950 w 490380"/>
                    <a:gd name="connsiteY130" fmla="*/ 109056 h 560882"/>
                    <a:gd name="connsiteX131" fmla="*/ 447176 w 490380"/>
                    <a:gd name="connsiteY131" fmla="*/ 95893 h 560882"/>
                    <a:gd name="connsiteX132" fmla="*/ 452397 w 490380"/>
                    <a:gd name="connsiteY132" fmla="*/ 90598 h 560882"/>
                    <a:gd name="connsiteX133" fmla="*/ 461662 w 490380"/>
                    <a:gd name="connsiteY133" fmla="*/ 92626 h 560882"/>
                    <a:gd name="connsiteX134" fmla="*/ 464722 w 490380"/>
                    <a:gd name="connsiteY134" fmla="*/ 95419 h 560882"/>
                    <a:gd name="connsiteX135" fmla="*/ 468778 w 490380"/>
                    <a:gd name="connsiteY135" fmla="*/ 101831 h 560882"/>
                    <a:gd name="connsiteX136" fmla="*/ 469628 w 490380"/>
                    <a:gd name="connsiteY136" fmla="*/ 102535 h 560882"/>
                    <a:gd name="connsiteX137" fmla="*/ 471012 w 490380"/>
                    <a:gd name="connsiteY137" fmla="*/ 102717 h 560882"/>
                    <a:gd name="connsiteX138" fmla="*/ 473089 w 490380"/>
                    <a:gd name="connsiteY138" fmla="*/ 101782 h 560882"/>
                    <a:gd name="connsiteX139" fmla="*/ 475518 w 490380"/>
                    <a:gd name="connsiteY139" fmla="*/ 100361 h 560882"/>
                    <a:gd name="connsiteX140" fmla="*/ 480666 w 490380"/>
                    <a:gd name="connsiteY140" fmla="*/ 98637 h 560882"/>
                    <a:gd name="connsiteX141" fmla="*/ 488183 w 490380"/>
                    <a:gd name="connsiteY141" fmla="*/ 103166 h 560882"/>
                    <a:gd name="connsiteX142" fmla="*/ 490380 w 490380"/>
                    <a:gd name="connsiteY142" fmla="*/ 112091 h 560882"/>
                    <a:gd name="connsiteX143" fmla="*/ 489530 w 490380"/>
                    <a:gd name="connsiteY143" fmla="*/ 121891 h 560882"/>
                    <a:gd name="connsiteX144" fmla="*/ 485912 w 490380"/>
                    <a:gd name="connsiteY144" fmla="*/ 129759 h 560882"/>
                    <a:gd name="connsiteX145" fmla="*/ 472482 w 490380"/>
                    <a:gd name="connsiteY145" fmla="*/ 140870 h 560882"/>
                    <a:gd name="connsiteX146" fmla="*/ 469543 w 490380"/>
                    <a:gd name="connsiteY146" fmla="*/ 146080 h 560882"/>
                    <a:gd name="connsiteX147" fmla="*/ 470527 w 490380"/>
                    <a:gd name="connsiteY147" fmla="*/ 154240 h 560882"/>
                    <a:gd name="connsiteX148" fmla="*/ 472895 w 490380"/>
                    <a:gd name="connsiteY148" fmla="*/ 163456 h 560882"/>
                    <a:gd name="connsiteX149" fmla="*/ 471401 w 490380"/>
                    <a:gd name="connsiteY149" fmla="*/ 171264 h 560882"/>
                    <a:gd name="connsiteX150" fmla="*/ 466823 w 490380"/>
                    <a:gd name="connsiteY150" fmla="*/ 178562 h 560882"/>
                    <a:gd name="connsiteX151" fmla="*/ 460484 w 490380"/>
                    <a:gd name="connsiteY151" fmla="*/ 185119 h 560882"/>
                    <a:gd name="connsiteX152" fmla="*/ 455275 w 490380"/>
                    <a:gd name="connsiteY152" fmla="*/ 191919 h 560882"/>
                    <a:gd name="connsiteX153" fmla="*/ 454012 w 490380"/>
                    <a:gd name="connsiteY153" fmla="*/ 197481 h 560882"/>
                    <a:gd name="connsiteX154" fmla="*/ 454935 w 490380"/>
                    <a:gd name="connsiteY154" fmla="*/ 233327 h 560882"/>
                    <a:gd name="connsiteX155" fmla="*/ 453284 w 490380"/>
                    <a:gd name="connsiteY155" fmla="*/ 240212 h 560882"/>
                    <a:gd name="connsiteX156" fmla="*/ 450187 w 490380"/>
                    <a:gd name="connsiteY156" fmla="*/ 245688 h 560882"/>
                    <a:gd name="connsiteX157" fmla="*/ 439076 w 490380"/>
                    <a:gd name="connsiteY157" fmla="*/ 257831 h 560882"/>
                    <a:gd name="connsiteX158" fmla="*/ 437109 w 490380"/>
                    <a:gd name="connsiteY158" fmla="*/ 261025 h 560882"/>
                    <a:gd name="connsiteX159" fmla="*/ 433709 w 490380"/>
                    <a:gd name="connsiteY159" fmla="*/ 268905 h 560882"/>
                    <a:gd name="connsiteX160" fmla="*/ 430625 w 490380"/>
                    <a:gd name="connsiteY160" fmla="*/ 282712 h 560882"/>
                    <a:gd name="connsiteX161" fmla="*/ 426812 w 490380"/>
                    <a:gd name="connsiteY161" fmla="*/ 287314 h 560882"/>
                    <a:gd name="connsiteX162" fmla="*/ 417814 w 490380"/>
                    <a:gd name="connsiteY162" fmla="*/ 289864 h 560882"/>
                    <a:gd name="connsiteX163" fmla="*/ 400523 w 490380"/>
                    <a:gd name="connsiteY163" fmla="*/ 286707 h 560882"/>
                    <a:gd name="connsiteX164" fmla="*/ 394937 w 490380"/>
                    <a:gd name="connsiteY164" fmla="*/ 287387 h 560882"/>
                    <a:gd name="connsiteX165" fmla="*/ 393407 w 490380"/>
                    <a:gd name="connsiteY165" fmla="*/ 288990 h 560882"/>
                    <a:gd name="connsiteX166" fmla="*/ 392192 w 490380"/>
                    <a:gd name="connsiteY166" fmla="*/ 292839 h 560882"/>
                    <a:gd name="connsiteX167" fmla="*/ 391306 w 490380"/>
                    <a:gd name="connsiteY167" fmla="*/ 297393 h 560882"/>
                    <a:gd name="connsiteX168" fmla="*/ 389327 w 490380"/>
                    <a:gd name="connsiteY168" fmla="*/ 302578 h 560882"/>
                    <a:gd name="connsiteX169" fmla="*/ 385138 w 490380"/>
                    <a:gd name="connsiteY169" fmla="*/ 306755 h 560882"/>
                    <a:gd name="connsiteX170" fmla="*/ 381033 w 490380"/>
                    <a:gd name="connsiteY170" fmla="*/ 308346 h 560882"/>
                    <a:gd name="connsiteX171" fmla="*/ 372375 w 490380"/>
                    <a:gd name="connsiteY171" fmla="*/ 309985 h 560882"/>
                    <a:gd name="connsiteX172" fmla="*/ 369218 w 490380"/>
                    <a:gd name="connsiteY172" fmla="*/ 311284 h 560882"/>
                    <a:gd name="connsiteX173" fmla="*/ 366425 w 490380"/>
                    <a:gd name="connsiteY173" fmla="*/ 313154 h 560882"/>
                    <a:gd name="connsiteX174" fmla="*/ 365624 w 490380"/>
                    <a:gd name="connsiteY174" fmla="*/ 314514 h 560882"/>
                    <a:gd name="connsiteX175" fmla="*/ 365575 w 490380"/>
                    <a:gd name="connsiteY175" fmla="*/ 317064 h 560882"/>
                    <a:gd name="connsiteX176" fmla="*/ 366947 w 490380"/>
                    <a:gd name="connsiteY176" fmla="*/ 319238 h 560882"/>
                    <a:gd name="connsiteX177" fmla="*/ 369024 w 490380"/>
                    <a:gd name="connsiteY177" fmla="*/ 320865 h 560882"/>
                    <a:gd name="connsiteX178" fmla="*/ 372084 w 490380"/>
                    <a:gd name="connsiteY178" fmla="*/ 324581 h 560882"/>
                    <a:gd name="connsiteX179" fmla="*/ 372412 w 490380"/>
                    <a:gd name="connsiteY179" fmla="*/ 330616 h 560882"/>
                    <a:gd name="connsiteX180" fmla="*/ 366340 w 490380"/>
                    <a:gd name="connsiteY180" fmla="*/ 338630 h 560882"/>
                    <a:gd name="connsiteX181" fmla="*/ 357124 w 490380"/>
                    <a:gd name="connsiteY181" fmla="*/ 340549 h 560882"/>
                    <a:gd name="connsiteX182" fmla="*/ 347409 w 490380"/>
                    <a:gd name="connsiteY182" fmla="*/ 339638 h 560882"/>
                    <a:gd name="connsiteX183" fmla="*/ 332146 w 490380"/>
                    <a:gd name="connsiteY183" fmla="*/ 336044 h 560882"/>
                    <a:gd name="connsiteX184" fmla="*/ 330713 w 490380"/>
                    <a:gd name="connsiteY184" fmla="*/ 336359 h 560882"/>
                    <a:gd name="connsiteX185" fmla="*/ 329644 w 490380"/>
                    <a:gd name="connsiteY185" fmla="*/ 337683 h 560882"/>
                    <a:gd name="connsiteX186" fmla="*/ 329523 w 490380"/>
                    <a:gd name="connsiteY186" fmla="*/ 340937 h 560882"/>
                    <a:gd name="connsiteX187" fmla="*/ 332231 w 490380"/>
                    <a:gd name="connsiteY187" fmla="*/ 348442 h 560882"/>
                    <a:gd name="connsiteX188" fmla="*/ 336736 w 490380"/>
                    <a:gd name="connsiteY188" fmla="*/ 370092 h 560882"/>
                    <a:gd name="connsiteX189" fmla="*/ 337440 w 490380"/>
                    <a:gd name="connsiteY189" fmla="*/ 380195 h 560882"/>
                    <a:gd name="connsiteX190" fmla="*/ 332559 w 490380"/>
                    <a:gd name="connsiteY190" fmla="*/ 387651 h 560882"/>
                    <a:gd name="connsiteX191" fmla="*/ 327507 w 490380"/>
                    <a:gd name="connsiteY191" fmla="*/ 388028 h 560882"/>
                    <a:gd name="connsiteX192" fmla="*/ 325431 w 490380"/>
                    <a:gd name="connsiteY192" fmla="*/ 387603 h 560882"/>
                    <a:gd name="connsiteX193" fmla="*/ 325334 w 490380"/>
                    <a:gd name="connsiteY193" fmla="*/ 390638 h 560882"/>
                    <a:gd name="connsiteX194" fmla="*/ 327398 w 490380"/>
                    <a:gd name="connsiteY194" fmla="*/ 398131 h 560882"/>
                    <a:gd name="connsiteX195" fmla="*/ 326596 w 490380"/>
                    <a:gd name="connsiteY195" fmla="*/ 402721 h 560882"/>
                    <a:gd name="connsiteX196" fmla="*/ 322456 w 490380"/>
                    <a:gd name="connsiteY196" fmla="*/ 406983 h 560882"/>
                    <a:gd name="connsiteX197" fmla="*/ 317040 w 490380"/>
                    <a:gd name="connsiteY197" fmla="*/ 411670 h 560882"/>
                    <a:gd name="connsiteX198" fmla="*/ 308795 w 490380"/>
                    <a:gd name="connsiteY198" fmla="*/ 421542 h 560882"/>
                    <a:gd name="connsiteX199" fmla="*/ 301922 w 490380"/>
                    <a:gd name="connsiteY199" fmla="*/ 424274 h 560882"/>
                    <a:gd name="connsiteX200" fmla="*/ 255524 w 490380"/>
                    <a:gd name="connsiteY200" fmla="*/ 421081 h 560882"/>
                    <a:gd name="connsiteX201" fmla="*/ 251407 w 490380"/>
                    <a:gd name="connsiteY201" fmla="*/ 422161 h 560882"/>
                    <a:gd name="connsiteX202" fmla="*/ 250484 w 490380"/>
                    <a:gd name="connsiteY202" fmla="*/ 422914 h 560882"/>
                    <a:gd name="connsiteX203" fmla="*/ 248044 w 490380"/>
                    <a:gd name="connsiteY203" fmla="*/ 425999 h 560882"/>
                    <a:gd name="connsiteX204" fmla="*/ 244972 w 490380"/>
                    <a:gd name="connsiteY204" fmla="*/ 427565 h 560882"/>
                    <a:gd name="connsiteX205" fmla="*/ 242749 w 490380"/>
                    <a:gd name="connsiteY205" fmla="*/ 427662 h 560882"/>
                    <a:gd name="connsiteX206" fmla="*/ 237334 w 490380"/>
                    <a:gd name="connsiteY206" fmla="*/ 426084 h 560882"/>
                    <a:gd name="connsiteX207" fmla="*/ 219799 w 490380"/>
                    <a:gd name="connsiteY207" fmla="*/ 425209 h 560882"/>
                    <a:gd name="connsiteX208" fmla="*/ 215246 w 490380"/>
                    <a:gd name="connsiteY208" fmla="*/ 428998 h 560882"/>
                    <a:gd name="connsiteX209" fmla="*/ 212963 w 490380"/>
                    <a:gd name="connsiteY209" fmla="*/ 435106 h 560882"/>
                    <a:gd name="connsiteX210" fmla="*/ 214651 w 490380"/>
                    <a:gd name="connsiteY210" fmla="*/ 442440 h 560882"/>
                    <a:gd name="connsiteX211" fmla="*/ 217966 w 490380"/>
                    <a:gd name="connsiteY211" fmla="*/ 449604 h 560882"/>
                    <a:gd name="connsiteX212" fmla="*/ 220455 w 490380"/>
                    <a:gd name="connsiteY212" fmla="*/ 457667 h 560882"/>
                    <a:gd name="connsiteX213" fmla="*/ 223442 w 490380"/>
                    <a:gd name="connsiteY213" fmla="*/ 464613 h 560882"/>
                    <a:gd name="connsiteX214" fmla="*/ 228688 w 490380"/>
                    <a:gd name="connsiteY214" fmla="*/ 470162 h 560882"/>
                    <a:gd name="connsiteX215" fmla="*/ 232149 w 490380"/>
                    <a:gd name="connsiteY215" fmla="*/ 474655 h 560882"/>
                    <a:gd name="connsiteX216" fmla="*/ 233011 w 490380"/>
                    <a:gd name="connsiteY216" fmla="*/ 480107 h 560882"/>
                    <a:gd name="connsiteX217" fmla="*/ 233217 w 490380"/>
                    <a:gd name="connsiteY217" fmla="*/ 485547 h 560882"/>
                    <a:gd name="connsiteX218" fmla="*/ 235974 w 490380"/>
                    <a:gd name="connsiteY218" fmla="*/ 494800 h 560882"/>
                    <a:gd name="connsiteX219" fmla="*/ 236435 w 490380"/>
                    <a:gd name="connsiteY219" fmla="*/ 501576 h 560882"/>
                    <a:gd name="connsiteX220" fmla="*/ 232768 w 490380"/>
                    <a:gd name="connsiteY220" fmla="*/ 507235 h 560882"/>
                    <a:gd name="connsiteX221" fmla="*/ 225737 w 490380"/>
                    <a:gd name="connsiteY221" fmla="*/ 505547 h 560882"/>
                    <a:gd name="connsiteX222" fmla="*/ 219690 w 490380"/>
                    <a:gd name="connsiteY222" fmla="*/ 503555 h 560882"/>
                    <a:gd name="connsiteX223" fmla="*/ 216484 w 490380"/>
                    <a:gd name="connsiteY223" fmla="*/ 503786 h 560882"/>
                    <a:gd name="connsiteX224" fmla="*/ 213959 w 490380"/>
                    <a:gd name="connsiteY224" fmla="*/ 505547 h 560882"/>
                    <a:gd name="connsiteX225" fmla="*/ 212259 w 490380"/>
                    <a:gd name="connsiteY225" fmla="*/ 510550 h 560882"/>
                    <a:gd name="connsiteX226" fmla="*/ 212720 w 490380"/>
                    <a:gd name="connsiteY226" fmla="*/ 514618 h 560882"/>
                    <a:gd name="connsiteX227" fmla="*/ 215780 w 490380"/>
                    <a:gd name="connsiteY227" fmla="*/ 523361 h 560882"/>
                    <a:gd name="connsiteX228" fmla="*/ 216970 w 490380"/>
                    <a:gd name="connsiteY228" fmla="*/ 529505 h 560882"/>
                    <a:gd name="connsiteX229" fmla="*/ 216326 w 490380"/>
                    <a:gd name="connsiteY229" fmla="*/ 540021 h 560882"/>
                    <a:gd name="connsiteX230" fmla="*/ 216618 w 490380"/>
                    <a:gd name="connsiteY230" fmla="*/ 544744 h 560882"/>
                    <a:gd name="connsiteX231" fmla="*/ 219981 w 490380"/>
                    <a:gd name="connsiteY231" fmla="*/ 560882 h 560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Lst>
                  <a:rect l="l" t="t" r="r" b="b"/>
                  <a:pathLst>
                    <a:path w="490380" h="560882">
                      <a:moveTo>
                        <a:pt x="195951" y="539316"/>
                      </a:moveTo>
                      <a:lnTo>
                        <a:pt x="191033" y="531691"/>
                      </a:lnTo>
                      <a:lnTo>
                        <a:pt x="187025" y="518649"/>
                      </a:lnTo>
                      <a:lnTo>
                        <a:pt x="189248" y="477387"/>
                      </a:lnTo>
                      <a:lnTo>
                        <a:pt x="187985" y="464261"/>
                      </a:lnTo>
                      <a:lnTo>
                        <a:pt x="184913" y="451195"/>
                      </a:lnTo>
                      <a:lnTo>
                        <a:pt x="175538" y="425185"/>
                      </a:lnTo>
                      <a:lnTo>
                        <a:pt x="177408" y="405161"/>
                      </a:lnTo>
                      <a:lnTo>
                        <a:pt x="192866" y="395119"/>
                      </a:lnTo>
                      <a:lnTo>
                        <a:pt x="211627" y="387433"/>
                      </a:lnTo>
                      <a:lnTo>
                        <a:pt x="223843" y="376079"/>
                      </a:lnTo>
                      <a:lnTo>
                        <a:pt x="225312" y="371950"/>
                      </a:lnTo>
                      <a:lnTo>
                        <a:pt x="225737" y="367737"/>
                      </a:lnTo>
                      <a:lnTo>
                        <a:pt x="225154" y="363535"/>
                      </a:lnTo>
                      <a:lnTo>
                        <a:pt x="223588" y="359382"/>
                      </a:lnTo>
                      <a:lnTo>
                        <a:pt x="219095" y="351356"/>
                      </a:lnTo>
                      <a:lnTo>
                        <a:pt x="214311" y="347252"/>
                      </a:lnTo>
                      <a:lnTo>
                        <a:pt x="208348" y="344969"/>
                      </a:lnTo>
                      <a:lnTo>
                        <a:pt x="199994" y="342734"/>
                      </a:lnTo>
                      <a:lnTo>
                        <a:pt x="192271" y="338642"/>
                      </a:lnTo>
                      <a:lnTo>
                        <a:pt x="181768" y="325977"/>
                      </a:lnTo>
                      <a:lnTo>
                        <a:pt x="166225" y="314842"/>
                      </a:lnTo>
                      <a:lnTo>
                        <a:pt x="156146" y="310956"/>
                      </a:lnTo>
                      <a:lnTo>
                        <a:pt x="114071" y="304338"/>
                      </a:lnTo>
                      <a:lnTo>
                        <a:pt x="105133" y="300817"/>
                      </a:lnTo>
                      <a:lnTo>
                        <a:pt x="96876" y="293896"/>
                      </a:lnTo>
                      <a:lnTo>
                        <a:pt x="91995" y="285869"/>
                      </a:lnTo>
                      <a:lnTo>
                        <a:pt x="80107" y="245008"/>
                      </a:lnTo>
                      <a:lnTo>
                        <a:pt x="78577" y="241717"/>
                      </a:lnTo>
                      <a:lnTo>
                        <a:pt x="71425" y="233278"/>
                      </a:lnTo>
                      <a:lnTo>
                        <a:pt x="68280" y="225082"/>
                      </a:lnTo>
                      <a:lnTo>
                        <a:pt x="66446" y="208239"/>
                      </a:lnTo>
                      <a:lnTo>
                        <a:pt x="64770" y="200844"/>
                      </a:lnTo>
                      <a:lnTo>
                        <a:pt x="47564" y="172223"/>
                      </a:lnTo>
                      <a:lnTo>
                        <a:pt x="40472" y="155260"/>
                      </a:lnTo>
                      <a:lnTo>
                        <a:pt x="42209" y="137749"/>
                      </a:lnTo>
                      <a:lnTo>
                        <a:pt x="47782" y="125959"/>
                      </a:lnTo>
                      <a:lnTo>
                        <a:pt x="50648" y="115576"/>
                      </a:lnTo>
                      <a:lnTo>
                        <a:pt x="49288" y="110270"/>
                      </a:lnTo>
                      <a:lnTo>
                        <a:pt x="41334" y="109894"/>
                      </a:lnTo>
                      <a:lnTo>
                        <a:pt x="36793" y="112091"/>
                      </a:lnTo>
                      <a:lnTo>
                        <a:pt x="28694" y="120725"/>
                      </a:lnTo>
                      <a:lnTo>
                        <a:pt x="21675" y="123433"/>
                      </a:lnTo>
                      <a:lnTo>
                        <a:pt x="15227" y="121879"/>
                      </a:lnTo>
                      <a:lnTo>
                        <a:pt x="10419" y="118187"/>
                      </a:lnTo>
                      <a:lnTo>
                        <a:pt x="6326" y="113111"/>
                      </a:lnTo>
                      <a:lnTo>
                        <a:pt x="0" y="102656"/>
                      </a:lnTo>
                      <a:lnTo>
                        <a:pt x="11815" y="104296"/>
                      </a:lnTo>
                      <a:lnTo>
                        <a:pt x="17984" y="106020"/>
                      </a:lnTo>
                      <a:lnTo>
                        <a:pt x="22039" y="106348"/>
                      </a:lnTo>
                      <a:lnTo>
                        <a:pt x="25160" y="104611"/>
                      </a:lnTo>
                      <a:lnTo>
                        <a:pt x="27904" y="99341"/>
                      </a:lnTo>
                      <a:lnTo>
                        <a:pt x="29495" y="94606"/>
                      </a:lnTo>
                      <a:lnTo>
                        <a:pt x="33357" y="89457"/>
                      </a:lnTo>
                      <a:lnTo>
                        <a:pt x="40278" y="89032"/>
                      </a:lnTo>
                      <a:lnTo>
                        <a:pt x="57982" y="94096"/>
                      </a:lnTo>
                      <a:lnTo>
                        <a:pt x="61722" y="94314"/>
                      </a:lnTo>
                      <a:lnTo>
                        <a:pt x="62402" y="93950"/>
                      </a:lnTo>
                      <a:lnTo>
                        <a:pt x="64625" y="86956"/>
                      </a:lnTo>
                      <a:lnTo>
                        <a:pt x="67345" y="81601"/>
                      </a:lnTo>
                      <a:lnTo>
                        <a:pt x="71522" y="77096"/>
                      </a:lnTo>
                      <a:lnTo>
                        <a:pt x="76634" y="73938"/>
                      </a:lnTo>
                      <a:lnTo>
                        <a:pt x="84855" y="71376"/>
                      </a:lnTo>
                      <a:lnTo>
                        <a:pt x="86555" y="69858"/>
                      </a:lnTo>
                      <a:lnTo>
                        <a:pt x="89797" y="64868"/>
                      </a:lnTo>
                      <a:lnTo>
                        <a:pt x="93015" y="61783"/>
                      </a:lnTo>
                      <a:lnTo>
                        <a:pt x="97010" y="59853"/>
                      </a:lnTo>
                      <a:lnTo>
                        <a:pt x="104490" y="57958"/>
                      </a:lnTo>
                      <a:lnTo>
                        <a:pt x="110792" y="54801"/>
                      </a:lnTo>
                      <a:lnTo>
                        <a:pt x="116742" y="50697"/>
                      </a:lnTo>
                      <a:lnTo>
                        <a:pt x="123603" y="47151"/>
                      </a:lnTo>
                      <a:lnTo>
                        <a:pt x="138502" y="45378"/>
                      </a:lnTo>
                      <a:lnTo>
                        <a:pt x="144477" y="42755"/>
                      </a:lnTo>
                      <a:lnTo>
                        <a:pt x="164075" y="30212"/>
                      </a:lnTo>
                      <a:lnTo>
                        <a:pt x="165873" y="28208"/>
                      </a:lnTo>
                      <a:lnTo>
                        <a:pt x="170183" y="19708"/>
                      </a:lnTo>
                      <a:lnTo>
                        <a:pt x="173437" y="16065"/>
                      </a:lnTo>
                      <a:lnTo>
                        <a:pt x="180056" y="13187"/>
                      </a:lnTo>
                      <a:lnTo>
                        <a:pt x="188106" y="12568"/>
                      </a:lnTo>
                      <a:lnTo>
                        <a:pt x="195768" y="13782"/>
                      </a:lnTo>
                      <a:lnTo>
                        <a:pt x="209053" y="18275"/>
                      </a:lnTo>
                      <a:lnTo>
                        <a:pt x="214371" y="19016"/>
                      </a:lnTo>
                      <a:lnTo>
                        <a:pt x="219374" y="18190"/>
                      </a:lnTo>
                      <a:lnTo>
                        <a:pt x="240782" y="10589"/>
                      </a:lnTo>
                      <a:lnTo>
                        <a:pt x="265105" y="8281"/>
                      </a:lnTo>
                      <a:lnTo>
                        <a:pt x="284218" y="765"/>
                      </a:lnTo>
                      <a:lnTo>
                        <a:pt x="291358" y="0"/>
                      </a:lnTo>
                      <a:lnTo>
                        <a:pt x="299566" y="1056"/>
                      </a:lnTo>
                      <a:lnTo>
                        <a:pt x="307739" y="4323"/>
                      </a:lnTo>
                      <a:lnTo>
                        <a:pt x="313288" y="10237"/>
                      </a:lnTo>
                      <a:lnTo>
                        <a:pt x="314283" y="17947"/>
                      </a:lnTo>
                      <a:lnTo>
                        <a:pt x="313652" y="24383"/>
                      </a:lnTo>
                      <a:lnTo>
                        <a:pt x="314599" y="27042"/>
                      </a:lnTo>
                      <a:lnTo>
                        <a:pt x="320100" y="28342"/>
                      </a:lnTo>
                      <a:lnTo>
                        <a:pt x="327884" y="25585"/>
                      </a:lnTo>
                      <a:lnTo>
                        <a:pt x="333445" y="24577"/>
                      </a:lnTo>
                      <a:lnTo>
                        <a:pt x="339395" y="26399"/>
                      </a:lnTo>
                      <a:lnTo>
                        <a:pt x="341241" y="29495"/>
                      </a:lnTo>
                      <a:lnTo>
                        <a:pt x="341617" y="32312"/>
                      </a:lnTo>
                      <a:lnTo>
                        <a:pt x="342443" y="32798"/>
                      </a:lnTo>
                      <a:lnTo>
                        <a:pt x="347361" y="33296"/>
                      </a:lnTo>
                      <a:lnTo>
                        <a:pt x="350664" y="34875"/>
                      </a:lnTo>
                      <a:lnTo>
                        <a:pt x="354452" y="40897"/>
                      </a:lnTo>
                      <a:lnTo>
                        <a:pt x="352667" y="45245"/>
                      </a:lnTo>
                      <a:lnTo>
                        <a:pt x="349462" y="48887"/>
                      </a:lnTo>
                      <a:lnTo>
                        <a:pt x="348697" y="50660"/>
                      </a:lnTo>
                      <a:lnTo>
                        <a:pt x="349109" y="52785"/>
                      </a:lnTo>
                      <a:lnTo>
                        <a:pt x="353420" y="58918"/>
                      </a:lnTo>
                      <a:lnTo>
                        <a:pt x="358132" y="70563"/>
                      </a:lnTo>
                      <a:lnTo>
                        <a:pt x="362297" y="73501"/>
                      </a:lnTo>
                      <a:lnTo>
                        <a:pt x="376613" y="75444"/>
                      </a:lnTo>
                      <a:lnTo>
                        <a:pt x="382320" y="78006"/>
                      </a:lnTo>
                      <a:lnTo>
                        <a:pt x="384081" y="82523"/>
                      </a:lnTo>
                      <a:lnTo>
                        <a:pt x="384943" y="87028"/>
                      </a:lnTo>
                      <a:lnTo>
                        <a:pt x="385818" y="88595"/>
                      </a:lnTo>
                      <a:lnTo>
                        <a:pt x="387396" y="89275"/>
                      </a:lnTo>
                      <a:lnTo>
                        <a:pt x="389290" y="88607"/>
                      </a:lnTo>
                      <a:lnTo>
                        <a:pt x="391986" y="86057"/>
                      </a:lnTo>
                      <a:lnTo>
                        <a:pt x="394111" y="82463"/>
                      </a:lnTo>
                      <a:lnTo>
                        <a:pt x="402186" y="77508"/>
                      </a:lnTo>
                      <a:lnTo>
                        <a:pt x="409436" y="85826"/>
                      </a:lnTo>
                      <a:lnTo>
                        <a:pt x="414499" y="96306"/>
                      </a:lnTo>
                      <a:lnTo>
                        <a:pt x="416891" y="103689"/>
                      </a:lnTo>
                      <a:lnTo>
                        <a:pt x="418130" y="110610"/>
                      </a:lnTo>
                      <a:lnTo>
                        <a:pt x="420121" y="117204"/>
                      </a:lnTo>
                      <a:lnTo>
                        <a:pt x="422756" y="121575"/>
                      </a:lnTo>
                      <a:lnTo>
                        <a:pt x="426387" y="123554"/>
                      </a:lnTo>
                      <a:lnTo>
                        <a:pt x="430176" y="122717"/>
                      </a:lnTo>
                      <a:lnTo>
                        <a:pt x="435409" y="118940"/>
                      </a:lnTo>
                      <a:lnTo>
                        <a:pt x="439939" y="113876"/>
                      </a:lnTo>
                      <a:lnTo>
                        <a:pt x="442950" y="109056"/>
                      </a:lnTo>
                      <a:lnTo>
                        <a:pt x="447176" y="95893"/>
                      </a:lnTo>
                      <a:lnTo>
                        <a:pt x="452397" y="90598"/>
                      </a:lnTo>
                      <a:lnTo>
                        <a:pt x="461662" y="92626"/>
                      </a:lnTo>
                      <a:lnTo>
                        <a:pt x="464722" y="95419"/>
                      </a:lnTo>
                      <a:lnTo>
                        <a:pt x="468778" y="101831"/>
                      </a:lnTo>
                      <a:lnTo>
                        <a:pt x="469628" y="102535"/>
                      </a:lnTo>
                      <a:lnTo>
                        <a:pt x="471012" y="102717"/>
                      </a:lnTo>
                      <a:lnTo>
                        <a:pt x="473089" y="101782"/>
                      </a:lnTo>
                      <a:lnTo>
                        <a:pt x="475518" y="100361"/>
                      </a:lnTo>
                      <a:lnTo>
                        <a:pt x="480666" y="98637"/>
                      </a:lnTo>
                      <a:lnTo>
                        <a:pt x="488183" y="103166"/>
                      </a:lnTo>
                      <a:lnTo>
                        <a:pt x="490380" y="112091"/>
                      </a:lnTo>
                      <a:lnTo>
                        <a:pt x="489530" y="121891"/>
                      </a:lnTo>
                      <a:lnTo>
                        <a:pt x="485912" y="129759"/>
                      </a:lnTo>
                      <a:lnTo>
                        <a:pt x="472482" y="140870"/>
                      </a:lnTo>
                      <a:lnTo>
                        <a:pt x="469543" y="146080"/>
                      </a:lnTo>
                      <a:lnTo>
                        <a:pt x="470527" y="154240"/>
                      </a:lnTo>
                      <a:lnTo>
                        <a:pt x="472895" y="163456"/>
                      </a:lnTo>
                      <a:lnTo>
                        <a:pt x="471401" y="171264"/>
                      </a:lnTo>
                      <a:lnTo>
                        <a:pt x="466823" y="178562"/>
                      </a:lnTo>
                      <a:lnTo>
                        <a:pt x="460484" y="185119"/>
                      </a:lnTo>
                      <a:lnTo>
                        <a:pt x="455275" y="191919"/>
                      </a:lnTo>
                      <a:lnTo>
                        <a:pt x="454012" y="197481"/>
                      </a:lnTo>
                      <a:lnTo>
                        <a:pt x="454935" y="233327"/>
                      </a:lnTo>
                      <a:lnTo>
                        <a:pt x="453284" y="240212"/>
                      </a:lnTo>
                      <a:lnTo>
                        <a:pt x="450187" y="245688"/>
                      </a:lnTo>
                      <a:lnTo>
                        <a:pt x="439076" y="257831"/>
                      </a:lnTo>
                      <a:lnTo>
                        <a:pt x="437109" y="261025"/>
                      </a:lnTo>
                      <a:lnTo>
                        <a:pt x="433709" y="268905"/>
                      </a:lnTo>
                      <a:lnTo>
                        <a:pt x="430625" y="282712"/>
                      </a:lnTo>
                      <a:lnTo>
                        <a:pt x="426812" y="287314"/>
                      </a:lnTo>
                      <a:lnTo>
                        <a:pt x="417814" y="289864"/>
                      </a:lnTo>
                      <a:lnTo>
                        <a:pt x="400523" y="286707"/>
                      </a:lnTo>
                      <a:lnTo>
                        <a:pt x="394937" y="287387"/>
                      </a:lnTo>
                      <a:lnTo>
                        <a:pt x="393407" y="288990"/>
                      </a:lnTo>
                      <a:lnTo>
                        <a:pt x="392192" y="292839"/>
                      </a:lnTo>
                      <a:lnTo>
                        <a:pt x="391306" y="297393"/>
                      </a:lnTo>
                      <a:lnTo>
                        <a:pt x="389327" y="302578"/>
                      </a:lnTo>
                      <a:lnTo>
                        <a:pt x="385138" y="306755"/>
                      </a:lnTo>
                      <a:lnTo>
                        <a:pt x="381033" y="308346"/>
                      </a:lnTo>
                      <a:lnTo>
                        <a:pt x="372375" y="309985"/>
                      </a:lnTo>
                      <a:lnTo>
                        <a:pt x="369218" y="311284"/>
                      </a:lnTo>
                      <a:lnTo>
                        <a:pt x="366425" y="313154"/>
                      </a:lnTo>
                      <a:lnTo>
                        <a:pt x="365624" y="314514"/>
                      </a:lnTo>
                      <a:lnTo>
                        <a:pt x="365575" y="317064"/>
                      </a:lnTo>
                      <a:lnTo>
                        <a:pt x="366947" y="319238"/>
                      </a:lnTo>
                      <a:lnTo>
                        <a:pt x="369024" y="320865"/>
                      </a:lnTo>
                      <a:lnTo>
                        <a:pt x="372084" y="324581"/>
                      </a:lnTo>
                      <a:lnTo>
                        <a:pt x="372412" y="330616"/>
                      </a:lnTo>
                      <a:lnTo>
                        <a:pt x="366340" y="338630"/>
                      </a:lnTo>
                      <a:lnTo>
                        <a:pt x="357124" y="340549"/>
                      </a:lnTo>
                      <a:lnTo>
                        <a:pt x="347409" y="339638"/>
                      </a:lnTo>
                      <a:lnTo>
                        <a:pt x="332146" y="336044"/>
                      </a:lnTo>
                      <a:lnTo>
                        <a:pt x="330713" y="336359"/>
                      </a:lnTo>
                      <a:lnTo>
                        <a:pt x="329644" y="337683"/>
                      </a:lnTo>
                      <a:lnTo>
                        <a:pt x="329523" y="340937"/>
                      </a:lnTo>
                      <a:lnTo>
                        <a:pt x="332231" y="348442"/>
                      </a:lnTo>
                      <a:lnTo>
                        <a:pt x="336736" y="370092"/>
                      </a:lnTo>
                      <a:lnTo>
                        <a:pt x="337440" y="380195"/>
                      </a:lnTo>
                      <a:lnTo>
                        <a:pt x="332559" y="387651"/>
                      </a:lnTo>
                      <a:lnTo>
                        <a:pt x="327507" y="388028"/>
                      </a:lnTo>
                      <a:lnTo>
                        <a:pt x="325431" y="387603"/>
                      </a:lnTo>
                      <a:lnTo>
                        <a:pt x="325334" y="390638"/>
                      </a:lnTo>
                      <a:lnTo>
                        <a:pt x="327398" y="398131"/>
                      </a:lnTo>
                      <a:lnTo>
                        <a:pt x="326596" y="402721"/>
                      </a:lnTo>
                      <a:lnTo>
                        <a:pt x="322456" y="406983"/>
                      </a:lnTo>
                      <a:lnTo>
                        <a:pt x="317040" y="411670"/>
                      </a:lnTo>
                      <a:lnTo>
                        <a:pt x="308795" y="421542"/>
                      </a:lnTo>
                      <a:lnTo>
                        <a:pt x="301922" y="424274"/>
                      </a:lnTo>
                      <a:lnTo>
                        <a:pt x="255524" y="421081"/>
                      </a:lnTo>
                      <a:lnTo>
                        <a:pt x="251407" y="422161"/>
                      </a:lnTo>
                      <a:lnTo>
                        <a:pt x="250484" y="422914"/>
                      </a:lnTo>
                      <a:lnTo>
                        <a:pt x="248044" y="425999"/>
                      </a:lnTo>
                      <a:lnTo>
                        <a:pt x="244972" y="427565"/>
                      </a:lnTo>
                      <a:lnTo>
                        <a:pt x="242749" y="427662"/>
                      </a:lnTo>
                      <a:lnTo>
                        <a:pt x="237334" y="426084"/>
                      </a:lnTo>
                      <a:lnTo>
                        <a:pt x="219799" y="425209"/>
                      </a:lnTo>
                      <a:lnTo>
                        <a:pt x="215246" y="428998"/>
                      </a:lnTo>
                      <a:lnTo>
                        <a:pt x="212963" y="435106"/>
                      </a:lnTo>
                      <a:lnTo>
                        <a:pt x="214651" y="442440"/>
                      </a:lnTo>
                      <a:lnTo>
                        <a:pt x="217966" y="449604"/>
                      </a:lnTo>
                      <a:lnTo>
                        <a:pt x="220455" y="457667"/>
                      </a:lnTo>
                      <a:lnTo>
                        <a:pt x="223442" y="464613"/>
                      </a:lnTo>
                      <a:lnTo>
                        <a:pt x="228688" y="470162"/>
                      </a:lnTo>
                      <a:lnTo>
                        <a:pt x="232149" y="474655"/>
                      </a:lnTo>
                      <a:lnTo>
                        <a:pt x="233011" y="480107"/>
                      </a:lnTo>
                      <a:lnTo>
                        <a:pt x="233217" y="485547"/>
                      </a:lnTo>
                      <a:lnTo>
                        <a:pt x="235974" y="494800"/>
                      </a:lnTo>
                      <a:lnTo>
                        <a:pt x="236435" y="501576"/>
                      </a:lnTo>
                      <a:lnTo>
                        <a:pt x="232768" y="507235"/>
                      </a:lnTo>
                      <a:lnTo>
                        <a:pt x="225737" y="505547"/>
                      </a:lnTo>
                      <a:lnTo>
                        <a:pt x="219690" y="503555"/>
                      </a:lnTo>
                      <a:lnTo>
                        <a:pt x="216484" y="503786"/>
                      </a:lnTo>
                      <a:lnTo>
                        <a:pt x="213959" y="505547"/>
                      </a:lnTo>
                      <a:lnTo>
                        <a:pt x="212259" y="510550"/>
                      </a:lnTo>
                      <a:lnTo>
                        <a:pt x="212720" y="514618"/>
                      </a:lnTo>
                      <a:lnTo>
                        <a:pt x="215780" y="523361"/>
                      </a:lnTo>
                      <a:lnTo>
                        <a:pt x="216970" y="529505"/>
                      </a:lnTo>
                      <a:lnTo>
                        <a:pt x="216326" y="540021"/>
                      </a:lnTo>
                      <a:lnTo>
                        <a:pt x="216618" y="544744"/>
                      </a:lnTo>
                      <a:lnTo>
                        <a:pt x="219981" y="560882"/>
                      </a:lnTo>
                      <a:close/>
                    </a:path>
                  </a:pathLst>
                </a:custGeom>
                <a:solidFill>
                  <a:srgbClr val="D7D7D2"/>
                </a:solidFill>
                <a:ln w="12138" cap="flat">
                  <a:noFill/>
                  <a:prstDash val="solid"/>
                  <a:miter/>
                </a:ln>
              </p:spPr>
              <p:txBody>
                <a:bodyPr rtlCol="0" anchor="ctr"/>
                <a:lstStyle/>
                <a:p>
                  <a:endParaRPr lang="en-US"/>
                </a:p>
              </p:txBody>
            </p:sp>
            <p:sp>
              <p:nvSpPr>
                <p:cNvPr id="307" name="Freeform: Shape 306">
                  <a:extLst>
                    <a:ext uri="{FF2B5EF4-FFF2-40B4-BE49-F238E27FC236}">
                      <a16:creationId xmlns:a16="http://schemas.microsoft.com/office/drawing/2014/main" id="{7BACF41C-8F6C-4479-B8D6-87E23A1737C4}"/>
                    </a:ext>
                  </a:extLst>
                </p:cNvPr>
                <p:cNvSpPr/>
                <p:nvPr/>
              </p:nvSpPr>
              <p:spPr>
                <a:xfrm>
                  <a:off x="5157836" y="882980"/>
                  <a:ext cx="499499" cy="572369"/>
                </a:xfrm>
                <a:custGeom>
                  <a:avLst/>
                  <a:gdLst>
                    <a:gd name="connsiteX0" fmla="*/ 297575 w 499499"/>
                    <a:gd name="connsiteY0" fmla="*/ 6096 h 572369"/>
                    <a:gd name="connsiteX1" fmla="*/ 305091 w 499499"/>
                    <a:gd name="connsiteY1" fmla="*/ 7128 h 572369"/>
                    <a:gd name="connsiteX2" fmla="*/ 311916 w 499499"/>
                    <a:gd name="connsiteY2" fmla="*/ 9945 h 572369"/>
                    <a:gd name="connsiteX3" fmla="*/ 316348 w 499499"/>
                    <a:gd name="connsiteY3" fmla="*/ 14669 h 572369"/>
                    <a:gd name="connsiteX4" fmla="*/ 317210 w 499499"/>
                    <a:gd name="connsiteY4" fmla="*/ 21396 h 572369"/>
                    <a:gd name="connsiteX5" fmla="*/ 316506 w 499499"/>
                    <a:gd name="connsiteY5" fmla="*/ 27832 h 572369"/>
                    <a:gd name="connsiteX6" fmla="*/ 318242 w 499499"/>
                    <a:gd name="connsiteY6" fmla="*/ 32677 h 572369"/>
                    <a:gd name="connsiteX7" fmla="*/ 326220 w 499499"/>
                    <a:gd name="connsiteY7" fmla="*/ 34571 h 572369"/>
                    <a:gd name="connsiteX8" fmla="*/ 334841 w 499499"/>
                    <a:gd name="connsiteY8" fmla="*/ 31511 h 572369"/>
                    <a:gd name="connsiteX9" fmla="*/ 339189 w 499499"/>
                    <a:gd name="connsiteY9" fmla="*/ 30758 h 572369"/>
                    <a:gd name="connsiteX10" fmla="*/ 343329 w 499499"/>
                    <a:gd name="connsiteY10" fmla="*/ 32021 h 572369"/>
                    <a:gd name="connsiteX11" fmla="*/ 344240 w 499499"/>
                    <a:gd name="connsiteY11" fmla="*/ 33563 h 572369"/>
                    <a:gd name="connsiteX12" fmla="*/ 344483 w 499499"/>
                    <a:gd name="connsiteY12" fmla="*/ 35555 h 572369"/>
                    <a:gd name="connsiteX13" fmla="*/ 344993 w 499499"/>
                    <a:gd name="connsiteY13" fmla="*/ 37388 h 572369"/>
                    <a:gd name="connsiteX14" fmla="*/ 346839 w 499499"/>
                    <a:gd name="connsiteY14" fmla="*/ 38481 h 572369"/>
                    <a:gd name="connsiteX15" fmla="*/ 352862 w 499499"/>
                    <a:gd name="connsiteY15" fmla="*/ 39367 h 572369"/>
                    <a:gd name="connsiteX16" fmla="*/ 354464 w 499499"/>
                    <a:gd name="connsiteY16" fmla="*/ 40230 h 572369"/>
                    <a:gd name="connsiteX17" fmla="*/ 356990 w 499499"/>
                    <a:gd name="connsiteY17" fmla="*/ 44249 h 572369"/>
                    <a:gd name="connsiteX18" fmla="*/ 355800 w 499499"/>
                    <a:gd name="connsiteY18" fmla="*/ 47151 h 572369"/>
                    <a:gd name="connsiteX19" fmla="*/ 353214 w 499499"/>
                    <a:gd name="connsiteY19" fmla="*/ 49847 h 572369"/>
                    <a:gd name="connsiteX20" fmla="*/ 351489 w 499499"/>
                    <a:gd name="connsiteY20" fmla="*/ 53380 h 572369"/>
                    <a:gd name="connsiteX21" fmla="*/ 352182 w 499499"/>
                    <a:gd name="connsiteY21" fmla="*/ 57060 h 572369"/>
                    <a:gd name="connsiteX22" fmla="*/ 356881 w 499499"/>
                    <a:gd name="connsiteY22" fmla="*/ 63738 h 572369"/>
                    <a:gd name="connsiteX23" fmla="*/ 361592 w 499499"/>
                    <a:gd name="connsiteY23" fmla="*/ 75602 h 572369"/>
                    <a:gd name="connsiteX24" fmla="*/ 367105 w 499499"/>
                    <a:gd name="connsiteY24" fmla="*/ 79476 h 572369"/>
                    <a:gd name="connsiteX25" fmla="*/ 382150 w 499499"/>
                    <a:gd name="connsiteY25" fmla="*/ 81516 h 572369"/>
                    <a:gd name="connsiteX26" fmla="*/ 385878 w 499499"/>
                    <a:gd name="connsiteY26" fmla="*/ 83288 h 572369"/>
                    <a:gd name="connsiteX27" fmla="*/ 387202 w 499499"/>
                    <a:gd name="connsiteY27" fmla="*/ 86688 h 572369"/>
                    <a:gd name="connsiteX28" fmla="*/ 387894 w 499499"/>
                    <a:gd name="connsiteY28" fmla="*/ 90623 h 572369"/>
                    <a:gd name="connsiteX29" fmla="*/ 389618 w 499499"/>
                    <a:gd name="connsiteY29" fmla="*/ 94035 h 572369"/>
                    <a:gd name="connsiteX30" fmla="*/ 393237 w 499499"/>
                    <a:gd name="connsiteY30" fmla="*/ 95614 h 572369"/>
                    <a:gd name="connsiteX31" fmla="*/ 396843 w 499499"/>
                    <a:gd name="connsiteY31" fmla="*/ 94314 h 572369"/>
                    <a:gd name="connsiteX32" fmla="*/ 400013 w 499499"/>
                    <a:gd name="connsiteY32" fmla="*/ 91339 h 572369"/>
                    <a:gd name="connsiteX33" fmla="*/ 402247 w 499499"/>
                    <a:gd name="connsiteY33" fmla="*/ 87745 h 572369"/>
                    <a:gd name="connsiteX34" fmla="*/ 407529 w 499499"/>
                    <a:gd name="connsiteY34" fmla="*/ 84503 h 572369"/>
                    <a:gd name="connsiteX35" fmla="*/ 413091 w 499499"/>
                    <a:gd name="connsiteY35" fmla="*/ 90878 h 572369"/>
                    <a:gd name="connsiteX36" fmla="*/ 417693 w 499499"/>
                    <a:gd name="connsiteY36" fmla="*/ 100665 h 572369"/>
                    <a:gd name="connsiteX37" fmla="*/ 419939 w 499499"/>
                    <a:gd name="connsiteY37" fmla="*/ 107671 h 572369"/>
                    <a:gd name="connsiteX38" fmla="*/ 421081 w 499499"/>
                    <a:gd name="connsiteY38" fmla="*/ 114192 h 572369"/>
                    <a:gd name="connsiteX39" fmla="*/ 423145 w 499499"/>
                    <a:gd name="connsiteY39" fmla="*/ 121138 h 572369"/>
                    <a:gd name="connsiteX40" fmla="*/ 426533 w 499499"/>
                    <a:gd name="connsiteY40" fmla="*/ 126906 h 572369"/>
                    <a:gd name="connsiteX41" fmla="*/ 431876 w 499499"/>
                    <a:gd name="connsiteY41" fmla="*/ 129832 h 572369"/>
                    <a:gd name="connsiteX42" fmla="*/ 437389 w 499499"/>
                    <a:gd name="connsiteY42" fmla="*/ 128606 h 572369"/>
                    <a:gd name="connsiteX43" fmla="*/ 443132 w 499499"/>
                    <a:gd name="connsiteY43" fmla="*/ 124465 h 572369"/>
                    <a:gd name="connsiteX44" fmla="*/ 448123 w 499499"/>
                    <a:gd name="connsiteY44" fmla="*/ 118989 h 572369"/>
                    <a:gd name="connsiteX45" fmla="*/ 451450 w 499499"/>
                    <a:gd name="connsiteY45" fmla="*/ 113755 h 572369"/>
                    <a:gd name="connsiteX46" fmla="*/ 455773 w 499499"/>
                    <a:gd name="connsiteY46" fmla="*/ 100580 h 572369"/>
                    <a:gd name="connsiteX47" fmla="*/ 459319 w 499499"/>
                    <a:gd name="connsiteY47" fmla="*/ 96986 h 572369"/>
                    <a:gd name="connsiteX48" fmla="*/ 466155 w 499499"/>
                    <a:gd name="connsiteY48" fmla="*/ 98479 h 572369"/>
                    <a:gd name="connsiteX49" fmla="*/ 468632 w 499499"/>
                    <a:gd name="connsiteY49" fmla="*/ 100726 h 572369"/>
                    <a:gd name="connsiteX50" fmla="*/ 472130 w 499499"/>
                    <a:gd name="connsiteY50" fmla="*/ 106469 h 572369"/>
                    <a:gd name="connsiteX51" fmla="*/ 472943 w 499499"/>
                    <a:gd name="connsiteY51" fmla="*/ 107210 h 572369"/>
                    <a:gd name="connsiteX52" fmla="*/ 474303 w 499499"/>
                    <a:gd name="connsiteY52" fmla="*/ 108497 h 572369"/>
                    <a:gd name="connsiteX53" fmla="*/ 477412 w 499499"/>
                    <a:gd name="connsiteY53" fmla="*/ 108910 h 572369"/>
                    <a:gd name="connsiteX54" fmla="*/ 480290 w 499499"/>
                    <a:gd name="connsiteY54" fmla="*/ 107611 h 572369"/>
                    <a:gd name="connsiteX55" fmla="*/ 482985 w 499499"/>
                    <a:gd name="connsiteY55" fmla="*/ 106044 h 572369"/>
                    <a:gd name="connsiteX56" fmla="*/ 483155 w 499499"/>
                    <a:gd name="connsiteY56" fmla="*/ 105923 h 572369"/>
                    <a:gd name="connsiteX57" fmla="*/ 486203 w 499499"/>
                    <a:gd name="connsiteY57" fmla="*/ 105000 h 572369"/>
                    <a:gd name="connsiteX58" fmla="*/ 491473 w 499499"/>
                    <a:gd name="connsiteY58" fmla="*/ 108181 h 572369"/>
                    <a:gd name="connsiteX59" fmla="*/ 492918 w 499499"/>
                    <a:gd name="connsiteY59" fmla="*/ 113986 h 572369"/>
                    <a:gd name="connsiteX60" fmla="*/ 493380 w 499499"/>
                    <a:gd name="connsiteY60" fmla="*/ 115880 h 572369"/>
                    <a:gd name="connsiteX61" fmla="*/ 492457 w 499499"/>
                    <a:gd name="connsiteY61" fmla="*/ 124635 h 572369"/>
                    <a:gd name="connsiteX62" fmla="*/ 489409 w 499499"/>
                    <a:gd name="connsiteY62" fmla="*/ 130901 h 572369"/>
                    <a:gd name="connsiteX63" fmla="*/ 476489 w 499499"/>
                    <a:gd name="connsiteY63" fmla="*/ 141599 h 572369"/>
                    <a:gd name="connsiteX64" fmla="*/ 472360 w 499499"/>
                    <a:gd name="connsiteY64" fmla="*/ 148520 h 572369"/>
                    <a:gd name="connsiteX65" fmla="*/ 473453 w 499499"/>
                    <a:gd name="connsiteY65" fmla="*/ 157664 h 572369"/>
                    <a:gd name="connsiteX66" fmla="*/ 475736 w 499499"/>
                    <a:gd name="connsiteY66" fmla="*/ 166613 h 572369"/>
                    <a:gd name="connsiteX67" fmla="*/ 474364 w 499499"/>
                    <a:gd name="connsiteY67" fmla="*/ 173765 h 572369"/>
                    <a:gd name="connsiteX68" fmla="*/ 470235 w 499499"/>
                    <a:gd name="connsiteY68" fmla="*/ 179934 h 572369"/>
                    <a:gd name="connsiteX69" fmla="*/ 464261 w 499499"/>
                    <a:gd name="connsiteY69" fmla="*/ 186054 h 572369"/>
                    <a:gd name="connsiteX70" fmla="*/ 458809 w 499499"/>
                    <a:gd name="connsiteY70" fmla="*/ 193121 h 572369"/>
                    <a:gd name="connsiteX71" fmla="*/ 457024 w 499499"/>
                    <a:gd name="connsiteY71" fmla="*/ 199751 h 572369"/>
                    <a:gd name="connsiteX72" fmla="*/ 457837 w 499499"/>
                    <a:gd name="connsiteY72" fmla="*/ 236459 h 572369"/>
                    <a:gd name="connsiteX73" fmla="*/ 456283 w 499499"/>
                    <a:gd name="connsiteY73" fmla="*/ 242519 h 572369"/>
                    <a:gd name="connsiteX74" fmla="*/ 453514 w 499499"/>
                    <a:gd name="connsiteY74" fmla="*/ 247206 h 572369"/>
                    <a:gd name="connsiteX75" fmla="*/ 442792 w 499499"/>
                    <a:gd name="connsiteY75" fmla="*/ 258839 h 572369"/>
                    <a:gd name="connsiteX76" fmla="*/ 440485 w 499499"/>
                    <a:gd name="connsiteY76" fmla="*/ 262457 h 572369"/>
                    <a:gd name="connsiteX77" fmla="*/ 436866 w 499499"/>
                    <a:gd name="connsiteY77" fmla="*/ 270751 h 572369"/>
                    <a:gd name="connsiteX78" fmla="*/ 433770 w 499499"/>
                    <a:gd name="connsiteY78" fmla="*/ 284388 h 572369"/>
                    <a:gd name="connsiteX79" fmla="*/ 431014 w 499499"/>
                    <a:gd name="connsiteY79" fmla="*/ 287715 h 572369"/>
                    <a:gd name="connsiteX80" fmla="*/ 423606 w 499499"/>
                    <a:gd name="connsiteY80" fmla="*/ 289816 h 572369"/>
                    <a:gd name="connsiteX81" fmla="*/ 412763 w 499499"/>
                    <a:gd name="connsiteY81" fmla="*/ 287836 h 572369"/>
                    <a:gd name="connsiteX82" fmla="*/ 407007 w 499499"/>
                    <a:gd name="connsiteY82" fmla="*/ 286780 h 572369"/>
                    <a:gd name="connsiteX83" fmla="*/ 399430 w 499499"/>
                    <a:gd name="connsiteY83" fmla="*/ 287569 h 572369"/>
                    <a:gd name="connsiteX84" fmla="*/ 396673 w 499499"/>
                    <a:gd name="connsiteY84" fmla="*/ 290471 h 572369"/>
                    <a:gd name="connsiteX85" fmla="*/ 395240 w 499499"/>
                    <a:gd name="connsiteY85" fmla="*/ 294976 h 572369"/>
                    <a:gd name="connsiteX86" fmla="*/ 394269 w 499499"/>
                    <a:gd name="connsiteY86" fmla="*/ 299858 h 572369"/>
                    <a:gd name="connsiteX87" fmla="*/ 392666 w 499499"/>
                    <a:gd name="connsiteY87" fmla="*/ 303938 h 572369"/>
                    <a:gd name="connsiteX88" fmla="*/ 389388 w 499499"/>
                    <a:gd name="connsiteY88" fmla="*/ 307216 h 572369"/>
                    <a:gd name="connsiteX89" fmla="*/ 385878 w 499499"/>
                    <a:gd name="connsiteY89" fmla="*/ 308588 h 572369"/>
                    <a:gd name="connsiteX90" fmla="*/ 377779 w 499499"/>
                    <a:gd name="connsiteY90" fmla="*/ 310058 h 572369"/>
                    <a:gd name="connsiteX91" fmla="*/ 374051 w 499499"/>
                    <a:gd name="connsiteY91" fmla="*/ 311527 h 572369"/>
                    <a:gd name="connsiteX92" fmla="*/ 370724 w 499499"/>
                    <a:gd name="connsiteY92" fmla="*/ 313664 h 572369"/>
                    <a:gd name="connsiteX93" fmla="*/ 368538 w 499499"/>
                    <a:gd name="connsiteY93" fmla="*/ 316749 h 572369"/>
                    <a:gd name="connsiteX94" fmla="*/ 368477 w 499499"/>
                    <a:gd name="connsiteY94" fmla="*/ 320986 h 572369"/>
                    <a:gd name="connsiteX95" fmla="*/ 370323 w 499499"/>
                    <a:gd name="connsiteY95" fmla="*/ 323925 h 572369"/>
                    <a:gd name="connsiteX96" fmla="*/ 372970 w 499499"/>
                    <a:gd name="connsiteY96" fmla="*/ 326220 h 572369"/>
                    <a:gd name="connsiteX97" fmla="*/ 375047 w 499499"/>
                    <a:gd name="connsiteY97" fmla="*/ 328794 h 572369"/>
                    <a:gd name="connsiteX98" fmla="*/ 375265 w 499499"/>
                    <a:gd name="connsiteY98" fmla="*/ 332741 h 572369"/>
                    <a:gd name="connsiteX99" fmla="*/ 370542 w 499499"/>
                    <a:gd name="connsiteY99" fmla="*/ 338970 h 572369"/>
                    <a:gd name="connsiteX100" fmla="*/ 370141 w 499499"/>
                    <a:gd name="connsiteY100" fmla="*/ 339055 h 572369"/>
                    <a:gd name="connsiteX101" fmla="*/ 362455 w 499499"/>
                    <a:gd name="connsiteY101" fmla="*/ 340634 h 572369"/>
                    <a:gd name="connsiteX102" fmla="*/ 353675 w 499499"/>
                    <a:gd name="connsiteY102" fmla="*/ 339687 h 572369"/>
                    <a:gd name="connsiteX103" fmla="*/ 338788 w 499499"/>
                    <a:gd name="connsiteY103" fmla="*/ 336153 h 572369"/>
                    <a:gd name="connsiteX104" fmla="*/ 334951 w 499499"/>
                    <a:gd name="connsiteY104" fmla="*/ 336699 h 572369"/>
                    <a:gd name="connsiteX105" fmla="*/ 332595 w 499499"/>
                    <a:gd name="connsiteY105" fmla="*/ 339626 h 572369"/>
                    <a:gd name="connsiteX106" fmla="*/ 332425 w 499499"/>
                    <a:gd name="connsiteY106" fmla="*/ 343876 h 572369"/>
                    <a:gd name="connsiteX107" fmla="*/ 335291 w 499499"/>
                    <a:gd name="connsiteY107" fmla="*/ 352461 h 572369"/>
                    <a:gd name="connsiteX108" fmla="*/ 339711 w 499499"/>
                    <a:gd name="connsiteY108" fmla="*/ 373772 h 572369"/>
                    <a:gd name="connsiteX109" fmla="*/ 340282 w 499499"/>
                    <a:gd name="connsiteY109" fmla="*/ 382454 h 572369"/>
                    <a:gd name="connsiteX110" fmla="*/ 336784 w 499499"/>
                    <a:gd name="connsiteY110" fmla="*/ 387797 h 572369"/>
                    <a:gd name="connsiteX111" fmla="*/ 333227 w 499499"/>
                    <a:gd name="connsiteY111" fmla="*/ 388064 h 572369"/>
                    <a:gd name="connsiteX112" fmla="*/ 330239 w 499499"/>
                    <a:gd name="connsiteY112" fmla="*/ 387335 h 572369"/>
                    <a:gd name="connsiteX113" fmla="*/ 328418 w 499499"/>
                    <a:gd name="connsiteY113" fmla="*/ 388295 h 572369"/>
                    <a:gd name="connsiteX114" fmla="*/ 328236 w 499499"/>
                    <a:gd name="connsiteY114" fmla="*/ 393601 h 572369"/>
                    <a:gd name="connsiteX115" fmla="*/ 330239 w 499499"/>
                    <a:gd name="connsiteY115" fmla="*/ 401324 h 572369"/>
                    <a:gd name="connsiteX116" fmla="*/ 329717 w 499499"/>
                    <a:gd name="connsiteY116" fmla="*/ 404336 h 572369"/>
                    <a:gd name="connsiteX117" fmla="*/ 326220 w 499499"/>
                    <a:gd name="connsiteY117" fmla="*/ 407930 h 572369"/>
                    <a:gd name="connsiteX118" fmla="*/ 320999 w 499499"/>
                    <a:gd name="connsiteY118" fmla="*/ 412435 h 572369"/>
                    <a:gd name="connsiteX119" fmla="*/ 312899 w 499499"/>
                    <a:gd name="connsiteY119" fmla="*/ 422064 h 572369"/>
                    <a:gd name="connsiteX120" fmla="*/ 307386 w 499499"/>
                    <a:gd name="connsiteY120" fmla="*/ 424262 h 572369"/>
                    <a:gd name="connsiteX121" fmla="*/ 261680 w 499499"/>
                    <a:gd name="connsiteY121" fmla="*/ 421117 h 572369"/>
                    <a:gd name="connsiteX122" fmla="*/ 255937 w 499499"/>
                    <a:gd name="connsiteY122" fmla="*/ 422453 h 572369"/>
                    <a:gd name="connsiteX123" fmla="*/ 254504 w 499499"/>
                    <a:gd name="connsiteY123" fmla="*/ 423631 h 572369"/>
                    <a:gd name="connsiteX124" fmla="*/ 252039 w 499499"/>
                    <a:gd name="connsiteY124" fmla="*/ 426654 h 572369"/>
                    <a:gd name="connsiteX125" fmla="*/ 250132 w 499499"/>
                    <a:gd name="connsiteY125" fmla="*/ 427626 h 572369"/>
                    <a:gd name="connsiteX126" fmla="*/ 248578 w 499499"/>
                    <a:gd name="connsiteY126" fmla="*/ 427686 h 572369"/>
                    <a:gd name="connsiteX127" fmla="*/ 244219 w 499499"/>
                    <a:gd name="connsiteY127" fmla="*/ 426266 h 572369"/>
                    <a:gd name="connsiteX128" fmla="*/ 224705 w 499499"/>
                    <a:gd name="connsiteY128" fmla="*/ 425185 h 572369"/>
                    <a:gd name="connsiteX129" fmla="*/ 218621 w 499499"/>
                    <a:gd name="connsiteY129" fmla="*/ 430236 h 572369"/>
                    <a:gd name="connsiteX130" fmla="*/ 215744 w 499499"/>
                    <a:gd name="connsiteY130" fmla="*/ 437959 h 572369"/>
                    <a:gd name="connsiteX131" fmla="*/ 217638 w 499499"/>
                    <a:gd name="connsiteY131" fmla="*/ 446192 h 572369"/>
                    <a:gd name="connsiteX132" fmla="*/ 221147 w 499499"/>
                    <a:gd name="connsiteY132" fmla="*/ 453927 h 572369"/>
                    <a:gd name="connsiteX133" fmla="*/ 223491 w 499499"/>
                    <a:gd name="connsiteY133" fmla="*/ 461614 h 572369"/>
                    <a:gd name="connsiteX134" fmla="*/ 226587 w 499499"/>
                    <a:gd name="connsiteY134" fmla="*/ 468863 h 572369"/>
                    <a:gd name="connsiteX135" fmla="*/ 232392 w 499499"/>
                    <a:gd name="connsiteY135" fmla="*/ 475262 h 572369"/>
                    <a:gd name="connsiteX136" fmla="*/ 235209 w 499499"/>
                    <a:gd name="connsiteY136" fmla="*/ 478954 h 572369"/>
                    <a:gd name="connsiteX137" fmla="*/ 235949 w 499499"/>
                    <a:gd name="connsiteY137" fmla="*/ 483641 h 572369"/>
                    <a:gd name="connsiteX138" fmla="*/ 236119 w 499499"/>
                    <a:gd name="connsiteY138" fmla="*/ 488717 h 572369"/>
                    <a:gd name="connsiteX139" fmla="*/ 238997 w 499499"/>
                    <a:gd name="connsiteY139" fmla="*/ 498710 h 572369"/>
                    <a:gd name="connsiteX140" fmla="*/ 239289 w 499499"/>
                    <a:gd name="connsiteY140" fmla="*/ 503823 h 572369"/>
                    <a:gd name="connsiteX141" fmla="*/ 237334 w 499499"/>
                    <a:gd name="connsiteY141" fmla="*/ 506846 h 572369"/>
                    <a:gd name="connsiteX142" fmla="*/ 232392 w 499499"/>
                    <a:gd name="connsiteY142" fmla="*/ 505656 h 572369"/>
                    <a:gd name="connsiteX143" fmla="*/ 226587 w 499499"/>
                    <a:gd name="connsiteY143" fmla="*/ 503738 h 572369"/>
                    <a:gd name="connsiteX144" fmla="*/ 221366 w 499499"/>
                    <a:gd name="connsiteY144" fmla="*/ 503883 h 572369"/>
                    <a:gd name="connsiteX145" fmla="*/ 217346 w 499499"/>
                    <a:gd name="connsiteY145" fmla="*/ 506688 h 572369"/>
                    <a:gd name="connsiteX146" fmla="*/ 215331 w 499499"/>
                    <a:gd name="connsiteY146" fmla="*/ 512638 h 572369"/>
                    <a:gd name="connsiteX147" fmla="*/ 215634 w 499499"/>
                    <a:gd name="connsiteY147" fmla="*/ 517860 h 572369"/>
                    <a:gd name="connsiteX148" fmla="*/ 218840 w 499499"/>
                    <a:gd name="connsiteY148" fmla="*/ 527392 h 572369"/>
                    <a:gd name="connsiteX149" fmla="*/ 219933 w 499499"/>
                    <a:gd name="connsiteY149" fmla="*/ 533136 h 572369"/>
                    <a:gd name="connsiteX150" fmla="*/ 219241 w 499499"/>
                    <a:gd name="connsiteY150" fmla="*/ 542874 h 572369"/>
                    <a:gd name="connsiteX151" fmla="*/ 219532 w 499499"/>
                    <a:gd name="connsiteY151" fmla="*/ 547987 h 572369"/>
                    <a:gd name="connsiteX152" fmla="*/ 220455 w 499499"/>
                    <a:gd name="connsiteY152" fmla="*/ 552455 h 572369"/>
                    <a:gd name="connsiteX153" fmla="*/ 221086 w 499499"/>
                    <a:gd name="connsiteY153" fmla="*/ 555527 h 572369"/>
                    <a:gd name="connsiteX154" fmla="*/ 203916 w 499499"/>
                    <a:gd name="connsiteY154" fmla="*/ 540118 h 572369"/>
                    <a:gd name="connsiteX155" fmla="*/ 199545 w 499499"/>
                    <a:gd name="connsiteY155" fmla="*/ 533136 h 572369"/>
                    <a:gd name="connsiteX156" fmla="*/ 195878 w 499499"/>
                    <a:gd name="connsiteY156" fmla="*/ 520847 h 572369"/>
                    <a:gd name="connsiteX157" fmla="*/ 198221 w 499499"/>
                    <a:gd name="connsiteY157" fmla="*/ 480630 h 572369"/>
                    <a:gd name="connsiteX158" fmla="*/ 196958 w 499499"/>
                    <a:gd name="connsiteY158" fmla="*/ 467042 h 572369"/>
                    <a:gd name="connsiteX159" fmla="*/ 193813 w 499499"/>
                    <a:gd name="connsiteY159" fmla="*/ 453575 h 572369"/>
                    <a:gd name="connsiteX160" fmla="*/ 184560 w 499499"/>
                    <a:gd name="connsiteY160" fmla="*/ 427856 h 572369"/>
                    <a:gd name="connsiteX161" fmla="*/ 186236 w 499499"/>
                    <a:gd name="connsiteY161" fmla="*/ 409970 h 572369"/>
                    <a:gd name="connsiteX162" fmla="*/ 200468 w 499499"/>
                    <a:gd name="connsiteY162" fmla="*/ 400729 h 572369"/>
                    <a:gd name="connsiteX163" fmla="*/ 218719 w 499499"/>
                    <a:gd name="connsiteY163" fmla="*/ 393310 h 572369"/>
                    <a:gd name="connsiteX164" fmla="*/ 232392 w 499499"/>
                    <a:gd name="connsiteY164" fmla="*/ 380863 h 572369"/>
                    <a:gd name="connsiteX165" fmla="*/ 234116 w 499499"/>
                    <a:gd name="connsiteY165" fmla="*/ 376030 h 572369"/>
                    <a:gd name="connsiteX166" fmla="*/ 234687 w 499499"/>
                    <a:gd name="connsiteY166" fmla="*/ 371149 h 572369"/>
                    <a:gd name="connsiteX167" fmla="*/ 234116 w 499499"/>
                    <a:gd name="connsiteY167" fmla="*/ 366243 h 572369"/>
                    <a:gd name="connsiteX168" fmla="*/ 232392 w 499499"/>
                    <a:gd name="connsiteY168" fmla="*/ 361422 h 572369"/>
                    <a:gd name="connsiteX169" fmla="*/ 228773 w 499499"/>
                    <a:gd name="connsiteY169" fmla="*/ 354902 h 572369"/>
                    <a:gd name="connsiteX170" fmla="*/ 227692 w 499499"/>
                    <a:gd name="connsiteY170" fmla="*/ 352947 h 572369"/>
                    <a:gd name="connsiteX171" fmla="*/ 222289 w 499499"/>
                    <a:gd name="connsiteY171" fmla="*/ 348065 h 572369"/>
                    <a:gd name="connsiteX172" fmla="*/ 215452 w 499499"/>
                    <a:gd name="connsiteY172" fmla="*/ 345224 h 572369"/>
                    <a:gd name="connsiteX173" fmla="*/ 206721 w 499499"/>
                    <a:gd name="connsiteY173" fmla="*/ 342868 h 572369"/>
                    <a:gd name="connsiteX174" fmla="*/ 199666 w 499499"/>
                    <a:gd name="connsiteY174" fmla="*/ 339031 h 572369"/>
                    <a:gd name="connsiteX175" fmla="*/ 190073 w 499499"/>
                    <a:gd name="connsiteY175" fmla="*/ 327131 h 572369"/>
                    <a:gd name="connsiteX176" fmla="*/ 173948 w 499499"/>
                    <a:gd name="connsiteY176" fmla="*/ 315449 h 572369"/>
                    <a:gd name="connsiteX177" fmla="*/ 163201 w 499499"/>
                    <a:gd name="connsiteY177" fmla="*/ 311199 h 572369"/>
                    <a:gd name="connsiteX178" fmla="*/ 120482 w 499499"/>
                    <a:gd name="connsiteY178" fmla="*/ 304399 h 572369"/>
                    <a:gd name="connsiteX179" fmla="*/ 112213 w 499499"/>
                    <a:gd name="connsiteY179" fmla="*/ 301072 h 572369"/>
                    <a:gd name="connsiteX180" fmla="*/ 104806 w 499499"/>
                    <a:gd name="connsiteY180" fmla="*/ 294661 h 572369"/>
                    <a:gd name="connsiteX181" fmla="*/ 100556 w 499499"/>
                    <a:gd name="connsiteY181" fmla="*/ 287399 h 572369"/>
                    <a:gd name="connsiteX182" fmla="*/ 88959 w 499499"/>
                    <a:gd name="connsiteY182" fmla="*/ 247230 h 572369"/>
                    <a:gd name="connsiteX183" fmla="*/ 87283 w 499499"/>
                    <a:gd name="connsiteY183" fmla="*/ 243527 h 572369"/>
                    <a:gd name="connsiteX184" fmla="*/ 79706 w 499499"/>
                    <a:gd name="connsiteY184" fmla="*/ 234407 h 572369"/>
                    <a:gd name="connsiteX185" fmla="*/ 77071 w 499499"/>
                    <a:gd name="connsiteY185" fmla="*/ 227109 h 572369"/>
                    <a:gd name="connsiteX186" fmla="*/ 75408 w 499499"/>
                    <a:gd name="connsiteY186" fmla="*/ 210996 h 572369"/>
                    <a:gd name="connsiteX187" fmla="*/ 73683 w 499499"/>
                    <a:gd name="connsiteY187" fmla="*/ 203248 h 572369"/>
                    <a:gd name="connsiteX188" fmla="*/ 56112 w 499499"/>
                    <a:gd name="connsiteY188" fmla="*/ 173729 h 572369"/>
                    <a:gd name="connsiteX189" fmla="*/ 49507 w 499499"/>
                    <a:gd name="connsiteY189" fmla="*/ 157858 h 572369"/>
                    <a:gd name="connsiteX190" fmla="*/ 51170 w 499499"/>
                    <a:gd name="connsiteY190" fmla="*/ 141113 h 572369"/>
                    <a:gd name="connsiteX191" fmla="*/ 56453 w 499499"/>
                    <a:gd name="connsiteY191" fmla="*/ 130354 h 572369"/>
                    <a:gd name="connsiteX192" fmla="*/ 59731 w 499499"/>
                    <a:gd name="connsiteY192" fmla="*/ 118673 h 572369"/>
                    <a:gd name="connsiteX193" fmla="*/ 57606 w 499499"/>
                    <a:gd name="connsiteY193" fmla="*/ 110404 h 572369"/>
                    <a:gd name="connsiteX194" fmla="*/ 46641 w 499499"/>
                    <a:gd name="connsiteY194" fmla="*/ 109881 h 572369"/>
                    <a:gd name="connsiteX195" fmla="*/ 41407 w 499499"/>
                    <a:gd name="connsiteY195" fmla="*/ 112431 h 572369"/>
                    <a:gd name="connsiteX196" fmla="*/ 32919 w 499499"/>
                    <a:gd name="connsiteY196" fmla="*/ 121199 h 572369"/>
                    <a:gd name="connsiteX197" fmla="*/ 27406 w 499499"/>
                    <a:gd name="connsiteY197" fmla="*/ 123324 h 572369"/>
                    <a:gd name="connsiteX198" fmla="*/ 22513 w 499499"/>
                    <a:gd name="connsiteY198" fmla="*/ 122146 h 572369"/>
                    <a:gd name="connsiteX199" fmla="*/ 18214 w 499499"/>
                    <a:gd name="connsiteY199" fmla="*/ 118843 h 572369"/>
                    <a:gd name="connsiteX200" fmla="*/ 14657 w 499499"/>
                    <a:gd name="connsiteY200" fmla="*/ 114301 h 572369"/>
                    <a:gd name="connsiteX201" fmla="*/ 11827 w 499499"/>
                    <a:gd name="connsiteY201" fmla="*/ 109602 h 572369"/>
                    <a:gd name="connsiteX202" fmla="*/ 17340 w 499499"/>
                    <a:gd name="connsiteY202" fmla="*/ 110367 h 572369"/>
                    <a:gd name="connsiteX203" fmla="*/ 23096 w 499499"/>
                    <a:gd name="connsiteY203" fmla="*/ 112006 h 572369"/>
                    <a:gd name="connsiteX204" fmla="*/ 28657 w 499499"/>
                    <a:gd name="connsiteY204" fmla="*/ 112516 h 572369"/>
                    <a:gd name="connsiteX205" fmla="*/ 33369 w 499499"/>
                    <a:gd name="connsiteY205" fmla="*/ 109881 h 572369"/>
                    <a:gd name="connsiteX206" fmla="*/ 36538 w 499499"/>
                    <a:gd name="connsiteY206" fmla="*/ 103798 h 572369"/>
                    <a:gd name="connsiteX207" fmla="*/ 38311 w 499499"/>
                    <a:gd name="connsiteY207" fmla="*/ 98661 h 572369"/>
                    <a:gd name="connsiteX208" fmla="*/ 40837 w 499499"/>
                    <a:gd name="connsiteY208" fmla="*/ 95468 h 572369"/>
                    <a:gd name="connsiteX209" fmla="*/ 46410 w 499499"/>
                    <a:gd name="connsiteY209" fmla="*/ 95128 h 572369"/>
                    <a:gd name="connsiteX210" fmla="*/ 63058 w 499499"/>
                    <a:gd name="connsiteY210" fmla="*/ 100070 h 572369"/>
                    <a:gd name="connsiteX211" fmla="*/ 68340 w 499499"/>
                    <a:gd name="connsiteY211" fmla="*/ 100459 h 572369"/>
                    <a:gd name="connsiteX212" fmla="*/ 70866 w 499499"/>
                    <a:gd name="connsiteY212" fmla="*/ 99111 h 572369"/>
                    <a:gd name="connsiteX213" fmla="*/ 73465 w 499499"/>
                    <a:gd name="connsiteY213" fmla="*/ 90938 h 572369"/>
                    <a:gd name="connsiteX214" fmla="*/ 75990 w 499499"/>
                    <a:gd name="connsiteY214" fmla="*/ 86057 h 572369"/>
                    <a:gd name="connsiteX215" fmla="*/ 79645 w 499499"/>
                    <a:gd name="connsiteY215" fmla="*/ 82268 h 572369"/>
                    <a:gd name="connsiteX216" fmla="*/ 84126 w 499499"/>
                    <a:gd name="connsiteY216" fmla="*/ 79621 h 572369"/>
                    <a:gd name="connsiteX217" fmla="*/ 92335 w 499499"/>
                    <a:gd name="connsiteY217" fmla="*/ 77144 h 572369"/>
                    <a:gd name="connsiteX218" fmla="*/ 94521 w 499499"/>
                    <a:gd name="connsiteY218" fmla="*/ 75177 h 572369"/>
                    <a:gd name="connsiteX219" fmla="*/ 98261 w 499499"/>
                    <a:gd name="connsiteY219" fmla="*/ 69628 h 572369"/>
                    <a:gd name="connsiteX220" fmla="*/ 101017 w 499499"/>
                    <a:gd name="connsiteY220" fmla="*/ 67078 h 572369"/>
                    <a:gd name="connsiteX221" fmla="*/ 104174 w 499499"/>
                    <a:gd name="connsiteY221" fmla="*/ 65693 h 572369"/>
                    <a:gd name="connsiteX222" fmla="*/ 111169 w 499499"/>
                    <a:gd name="connsiteY222" fmla="*/ 63969 h 572369"/>
                    <a:gd name="connsiteX223" fmla="*/ 118066 w 499499"/>
                    <a:gd name="connsiteY223" fmla="*/ 60593 h 572369"/>
                    <a:gd name="connsiteX224" fmla="*/ 124392 w 499499"/>
                    <a:gd name="connsiteY224" fmla="*/ 56258 h 572369"/>
                    <a:gd name="connsiteX225" fmla="*/ 130925 w 499499"/>
                    <a:gd name="connsiteY225" fmla="*/ 52919 h 572369"/>
                    <a:gd name="connsiteX226" fmla="*/ 144768 w 499499"/>
                    <a:gd name="connsiteY226" fmla="*/ 51462 h 572369"/>
                    <a:gd name="connsiteX227" fmla="*/ 151592 w 499499"/>
                    <a:gd name="connsiteY227" fmla="*/ 48620 h 572369"/>
                    <a:gd name="connsiteX228" fmla="*/ 171653 w 499499"/>
                    <a:gd name="connsiteY228" fmla="*/ 35834 h 572369"/>
                    <a:gd name="connsiteX229" fmla="*/ 174008 w 499499"/>
                    <a:gd name="connsiteY229" fmla="*/ 33369 h 572369"/>
                    <a:gd name="connsiteX230" fmla="*/ 178817 w 499499"/>
                    <a:gd name="connsiteY230" fmla="*/ 24189 h 572369"/>
                    <a:gd name="connsiteX231" fmla="*/ 181173 w 499499"/>
                    <a:gd name="connsiteY231" fmla="*/ 21663 h 572369"/>
                    <a:gd name="connsiteX232" fmla="*/ 187208 w 499499"/>
                    <a:gd name="connsiteY232" fmla="*/ 19040 h 572369"/>
                    <a:gd name="connsiteX233" fmla="*/ 194214 w 499499"/>
                    <a:gd name="connsiteY233" fmla="*/ 18664 h 572369"/>
                    <a:gd name="connsiteX234" fmla="*/ 201208 w 499499"/>
                    <a:gd name="connsiteY234" fmla="*/ 19842 h 572369"/>
                    <a:gd name="connsiteX235" fmla="*/ 214019 w 499499"/>
                    <a:gd name="connsiteY235" fmla="*/ 24213 h 572369"/>
                    <a:gd name="connsiteX236" fmla="*/ 219872 w 499499"/>
                    <a:gd name="connsiteY236" fmla="*/ 25075 h 572369"/>
                    <a:gd name="connsiteX237" fmla="*/ 225737 w 499499"/>
                    <a:gd name="connsiteY237" fmla="*/ 24262 h 572369"/>
                    <a:gd name="connsiteX238" fmla="*/ 247728 w 499499"/>
                    <a:gd name="connsiteY238" fmla="*/ 16514 h 572369"/>
                    <a:gd name="connsiteX239" fmla="*/ 271322 w 499499"/>
                    <a:gd name="connsiteY239" fmla="*/ 14365 h 572369"/>
                    <a:gd name="connsiteX240" fmla="*/ 291248 w 499499"/>
                    <a:gd name="connsiteY240" fmla="*/ 6666 h 572369"/>
                    <a:gd name="connsiteX241" fmla="*/ 297575 w 499499"/>
                    <a:gd name="connsiteY241" fmla="*/ 6096 h 572369"/>
                    <a:gd name="connsiteX242" fmla="*/ 297708 w 499499"/>
                    <a:gd name="connsiteY242" fmla="*/ 0 h 572369"/>
                    <a:gd name="connsiteX243" fmla="*/ 297016 w 499499"/>
                    <a:gd name="connsiteY243" fmla="*/ 61 h 572369"/>
                    <a:gd name="connsiteX244" fmla="*/ 290690 w 499499"/>
                    <a:gd name="connsiteY244" fmla="*/ 631 h 572369"/>
                    <a:gd name="connsiteX245" fmla="*/ 289852 w 499499"/>
                    <a:gd name="connsiteY245" fmla="*/ 704 h 572369"/>
                    <a:gd name="connsiteX246" fmla="*/ 289063 w 499499"/>
                    <a:gd name="connsiteY246" fmla="*/ 1008 h 572369"/>
                    <a:gd name="connsiteX247" fmla="*/ 269925 w 499499"/>
                    <a:gd name="connsiteY247" fmla="*/ 8391 h 572369"/>
                    <a:gd name="connsiteX248" fmla="*/ 247182 w 499499"/>
                    <a:gd name="connsiteY248" fmla="*/ 10467 h 572369"/>
                    <a:gd name="connsiteX249" fmla="*/ 246429 w 499499"/>
                    <a:gd name="connsiteY249" fmla="*/ 10540 h 572369"/>
                    <a:gd name="connsiteX250" fmla="*/ 245712 w 499499"/>
                    <a:gd name="connsiteY250" fmla="*/ 10795 h 572369"/>
                    <a:gd name="connsiteX251" fmla="*/ 224292 w 499499"/>
                    <a:gd name="connsiteY251" fmla="*/ 18336 h 572369"/>
                    <a:gd name="connsiteX252" fmla="*/ 219896 w 499499"/>
                    <a:gd name="connsiteY252" fmla="*/ 18955 h 572369"/>
                    <a:gd name="connsiteX253" fmla="*/ 215452 w 499499"/>
                    <a:gd name="connsiteY253" fmla="*/ 18299 h 572369"/>
                    <a:gd name="connsiteX254" fmla="*/ 203163 w 499499"/>
                    <a:gd name="connsiteY254" fmla="*/ 14110 h 572369"/>
                    <a:gd name="connsiteX255" fmla="*/ 202690 w 499499"/>
                    <a:gd name="connsiteY255" fmla="*/ 13952 h 572369"/>
                    <a:gd name="connsiteX256" fmla="*/ 202204 w 499499"/>
                    <a:gd name="connsiteY256" fmla="*/ 13867 h 572369"/>
                    <a:gd name="connsiteX257" fmla="*/ 195210 w 499499"/>
                    <a:gd name="connsiteY257" fmla="*/ 12689 h 572369"/>
                    <a:gd name="connsiteX258" fmla="*/ 194542 w 499499"/>
                    <a:gd name="connsiteY258" fmla="*/ 12580 h 572369"/>
                    <a:gd name="connsiteX259" fmla="*/ 193874 w 499499"/>
                    <a:gd name="connsiteY259" fmla="*/ 12617 h 572369"/>
                    <a:gd name="connsiteX260" fmla="*/ 186868 w 499499"/>
                    <a:gd name="connsiteY260" fmla="*/ 12993 h 572369"/>
                    <a:gd name="connsiteX261" fmla="*/ 185775 w 499499"/>
                    <a:gd name="connsiteY261" fmla="*/ 13042 h 572369"/>
                    <a:gd name="connsiteX262" fmla="*/ 184767 w 499499"/>
                    <a:gd name="connsiteY262" fmla="*/ 13479 h 572369"/>
                    <a:gd name="connsiteX263" fmla="*/ 178732 w 499499"/>
                    <a:gd name="connsiteY263" fmla="*/ 16102 h 572369"/>
                    <a:gd name="connsiteX264" fmla="*/ 177566 w 499499"/>
                    <a:gd name="connsiteY264" fmla="*/ 16612 h 572369"/>
                    <a:gd name="connsiteX265" fmla="*/ 176704 w 499499"/>
                    <a:gd name="connsiteY265" fmla="*/ 17534 h 572369"/>
                    <a:gd name="connsiteX266" fmla="*/ 174348 w 499499"/>
                    <a:gd name="connsiteY266" fmla="*/ 20060 h 572369"/>
                    <a:gd name="connsiteX267" fmla="*/ 173790 w 499499"/>
                    <a:gd name="connsiteY267" fmla="*/ 20655 h 572369"/>
                    <a:gd name="connsiteX268" fmla="*/ 173413 w 499499"/>
                    <a:gd name="connsiteY268" fmla="*/ 21384 h 572369"/>
                    <a:gd name="connsiteX269" fmla="*/ 169005 w 499499"/>
                    <a:gd name="connsiteY269" fmla="*/ 29799 h 572369"/>
                    <a:gd name="connsiteX270" fmla="*/ 167742 w 499499"/>
                    <a:gd name="connsiteY270" fmla="*/ 31110 h 572369"/>
                    <a:gd name="connsiteX271" fmla="*/ 148751 w 499499"/>
                    <a:gd name="connsiteY271" fmla="*/ 43229 h 572369"/>
                    <a:gd name="connsiteX272" fmla="*/ 143226 w 499499"/>
                    <a:gd name="connsiteY272" fmla="*/ 45524 h 572369"/>
                    <a:gd name="connsiteX273" fmla="*/ 130269 w 499499"/>
                    <a:gd name="connsiteY273" fmla="*/ 46896 h 572369"/>
                    <a:gd name="connsiteX274" fmla="*/ 129140 w 499499"/>
                    <a:gd name="connsiteY274" fmla="*/ 47017 h 572369"/>
                    <a:gd name="connsiteX275" fmla="*/ 128132 w 499499"/>
                    <a:gd name="connsiteY275" fmla="*/ 47527 h 572369"/>
                    <a:gd name="connsiteX276" fmla="*/ 121599 w 499499"/>
                    <a:gd name="connsiteY276" fmla="*/ 50867 h 572369"/>
                    <a:gd name="connsiteX277" fmla="*/ 121247 w 499499"/>
                    <a:gd name="connsiteY277" fmla="*/ 51049 h 572369"/>
                    <a:gd name="connsiteX278" fmla="*/ 120932 w 499499"/>
                    <a:gd name="connsiteY278" fmla="*/ 51267 h 572369"/>
                    <a:gd name="connsiteX279" fmla="*/ 114969 w 499499"/>
                    <a:gd name="connsiteY279" fmla="*/ 55348 h 572369"/>
                    <a:gd name="connsiteX280" fmla="*/ 109056 w 499499"/>
                    <a:gd name="connsiteY280" fmla="*/ 58238 h 572369"/>
                    <a:gd name="connsiteX281" fmla="*/ 102693 w 499499"/>
                    <a:gd name="connsiteY281" fmla="*/ 59804 h 572369"/>
                    <a:gd name="connsiteX282" fmla="*/ 102183 w 499499"/>
                    <a:gd name="connsiteY282" fmla="*/ 59925 h 572369"/>
                    <a:gd name="connsiteX283" fmla="*/ 101697 w 499499"/>
                    <a:gd name="connsiteY283" fmla="*/ 60132 h 572369"/>
                    <a:gd name="connsiteX284" fmla="*/ 98540 w 499499"/>
                    <a:gd name="connsiteY284" fmla="*/ 61516 h 572369"/>
                    <a:gd name="connsiteX285" fmla="*/ 97605 w 499499"/>
                    <a:gd name="connsiteY285" fmla="*/ 61929 h 572369"/>
                    <a:gd name="connsiteX286" fmla="*/ 96852 w 499499"/>
                    <a:gd name="connsiteY286" fmla="*/ 62621 h 572369"/>
                    <a:gd name="connsiteX287" fmla="*/ 94096 w 499499"/>
                    <a:gd name="connsiteY287" fmla="*/ 65171 h 572369"/>
                    <a:gd name="connsiteX288" fmla="*/ 93573 w 499499"/>
                    <a:gd name="connsiteY288" fmla="*/ 65657 h 572369"/>
                    <a:gd name="connsiteX289" fmla="*/ 93173 w 499499"/>
                    <a:gd name="connsiteY289" fmla="*/ 66240 h 572369"/>
                    <a:gd name="connsiteX290" fmla="*/ 89870 w 499499"/>
                    <a:gd name="connsiteY290" fmla="*/ 71170 h 572369"/>
                    <a:gd name="connsiteX291" fmla="*/ 89250 w 499499"/>
                    <a:gd name="connsiteY291" fmla="*/ 71716 h 572369"/>
                    <a:gd name="connsiteX292" fmla="*/ 82329 w 499499"/>
                    <a:gd name="connsiteY292" fmla="*/ 73805 h 572369"/>
                    <a:gd name="connsiteX293" fmla="*/ 81625 w 499499"/>
                    <a:gd name="connsiteY293" fmla="*/ 74023 h 572369"/>
                    <a:gd name="connsiteX294" fmla="*/ 80993 w 499499"/>
                    <a:gd name="connsiteY294" fmla="*/ 74400 h 572369"/>
                    <a:gd name="connsiteX295" fmla="*/ 76513 w 499499"/>
                    <a:gd name="connsiteY295" fmla="*/ 77047 h 572369"/>
                    <a:gd name="connsiteX296" fmla="*/ 75808 w 499499"/>
                    <a:gd name="connsiteY296" fmla="*/ 77460 h 572369"/>
                    <a:gd name="connsiteX297" fmla="*/ 75238 w 499499"/>
                    <a:gd name="connsiteY297" fmla="*/ 78055 h 572369"/>
                    <a:gd name="connsiteX298" fmla="*/ 71582 w 499499"/>
                    <a:gd name="connsiteY298" fmla="*/ 81843 h 572369"/>
                    <a:gd name="connsiteX299" fmla="*/ 70963 w 499499"/>
                    <a:gd name="connsiteY299" fmla="*/ 82475 h 572369"/>
                    <a:gd name="connsiteX300" fmla="*/ 70562 w 499499"/>
                    <a:gd name="connsiteY300" fmla="*/ 83264 h 572369"/>
                    <a:gd name="connsiteX301" fmla="*/ 68037 w 499499"/>
                    <a:gd name="connsiteY301" fmla="*/ 88146 h 572369"/>
                    <a:gd name="connsiteX302" fmla="*/ 67794 w 499499"/>
                    <a:gd name="connsiteY302" fmla="*/ 88607 h 572369"/>
                    <a:gd name="connsiteX303" fmla="*/ 67636 w 499499"/>
                    <a:gd name="connsiteY303" fmla="*/ 89105 h 572369"/>
                    <a:gd name="connsiteX304" fmla="*/ 66009 w 499499"/>
                    <a:gd name="connsiteY304" fmla="*/ 94205 h 572369"/>
                    <a:gd name="connsiteX305" fmla="*/ 64115 w 499499"/>
                    <a:gd name="connsiteY305" fmla="*/ 94059 h 572369"/>
                    <a:gd name="connsiteX306" fmla="*/ 48098 w 499499"/>
                    <a:gd name="connsiteY306" fmla="*/ 89299 h 572369"/>
                    <a:gd name="connsiteX307" fmla="*/ 47066 w 499499"/>
                    <a:gd name="connsiteY307" fmla="*/ 88996 h 572369"/>
                    <a:gd name="connsiteX308" fmla="*/ 45997 w 499499"/>
                    <a:gd name="connsiteY308" fmla="*/ 89056 h 572369"/>
                    <a:gd name="connsiteX309" fmla="*/ 40424 w 499499"/>
                    <a:gd name="connsiteY309" fmla="*/ 89396 h 572369"/>
                    <a:gd name="connsiteX310" fmla="*/ 37716 w 499499"/>
                    <a:gd name="connsiteY310" fmla="*/ 89566 h 572369"/>
                    <a:gd name="connsiteX311" fmla="*/ 36028 w 499499"/>
                    <a:gd name="connsiteY311" fmla="*/ 91691 h 572369"/>
                    <a:gd name="connsiteX312" fmla="*/ 33502 w 499499"/>
                    <a:gd name="connsiteY312" fmla="*/ 94885 h 572369"/>
                    <a:gd name="connsiteX313" fmla="*/ 32859 w 499499"/>
                    <a:gd name="connsiteY313" fmla="*/ 95699 h 572369"/>
                    <a:gd name="connsiteX314" fmla="*/ 32519 w 499499"/>
                    <a:gd name="connsiteY314" fmla="*/ 96682 h 572369"/>
                    <a:gd name="connsiteX315" fmla="*/ 30892 w 499499"/>
                    <a:gd name="connsiteY315" fmla="*/ 101406 h 572369"/>
                    <a:gd name="connsiteX316" fmla="*/ 28766 w 499499"/>
                    <a:gd name="connsiteY316" fmla="*/ 105474 h 572369"/>
                    <a:gd name="connsiteX317" fmla="*/ 27285 w 499499"/>
                    <a:gd name="connsiteY317" fmla="*/ 106299 h 572369"/>
                    <a:gd name="connsiteX318" fmla="*/ 24152 w 499499"/>
                    <a:gd name="connsiteY318" fmla="*/ 106020 h 572369"/>
                    <a:gd name="connsiteX319" fmla="*/ 18943 w 499499"/>
                    <a:gd name="connsiteY319" fmla="*/ 104539 h 572369"/>
                    <a:gd name="connsiteX320" fmla="*/ 18530 w 499499"/>
                    <a:gd name="connsiteY320" fmla="*/ 104429 h 572369"/>
                    <a:gd name="connsiteX321" fmla="*/ 18117 w 499499"/>
                    <a:gd name="connsiteY321" fmla="*/ 104369 h 572369"/>
                    <a:gd name="connsiteX322" fmla="*/ 12604 w 499499"/>
                    <a:gd name="connsiteY322" fmla="*/ 103604 h 572369"/>
                    <a:gd name="connsiteX323" fmla="*/ 0 w 499499"/>
                    <a:gd name="connsiteY323" fmla="*/ 101855 h 572369"/>
                    <a:gd name="connsiteX324" fmla="*/ 6569 w 499499"/>
                    <a:gd name="connsiteY324" fmla="*/ 112747 h 572369"/>
                    <a:gd name="connsiteX325" fmla="*/ 9399 w 499499"/>
                    <a:gd name="connsiteY325" fmla="*/ 117446 h 572369"/>
                    <a:gd name="connsiteX326" fmla="*/ 9593 w 499499"/>
                    <a:gd name="connsiteY326" fmla="*/ 117762 h 572369"/>
                    <a:gd name="connsiteX327" fmla="*/ 9824 w 499499"/>
                    <a:gd name="connsiteY327" fmla="*/ 118054 h 572369"/>
                    <a:gd name="connsiteX328" fmla="*/ 13381 w 499499"/>
                    <a:gd name="connsiteY328" fmla="*/ 122595 h 572369"/>
                    <a:gd name="connsiteX329" fmla="*/ 13855 w 499499"/>
                    <a:gd name="connsiteY329" fmla="*/ 123202 h 572369"/>
                    <a:gd name="connsiteX330" fmla="*/ 14462 w 499499"/>
                    <a:gd name="connsiteY330" fmla="*/ 123676 h 572369"/>
                    <a:gd name="connsiteX331" fmla="*/ 18761 w 499499"/>
                    <a:gd name="connsiteY331" fmla="*/ 126979 h 572369"/>
                    <a:gd name="connsiteX332" fmla="*/ 19781 w 499499"/>
                    <a:gd name="connsiteY332" fmla="*/ 127756 h 572369"/>
                    <a:gd name="connsiteX333" fmla="*/ 21032 w 499499"/>
                    <a:gd name="connsiteY333" fmla="*/ 128059 h 572369"/>
                    <a:gd name="connsiteX334" fmla="*/ 25925 w 499499"/>
                    <a:gd name="connsiteY334" fmla="*/ 129237 h 572369"/>
                    <a:gd name="connsiteX335" fmla="*/ 27771 w 499499"/>
                    <a:gd name="connsiteY335" fmla="*/ 129687 h 572369"/>
                    <a:gd name="connsiteX336" fmla="*/ 29544 w 499499"/>
                    <a:gd name="connsiteY336" fmla="*/ 129007 h 572369"/>
                    <a:gd name="connsiteX337" fmla="*/ 35057 w 499499"/>
                    <a:gd name="connsiteY337" fmla="*/ 126882 h 572369"/>
                    <a:gd name="connsiteX338" fmla="*/ 36307 w 499499"/>
                    <a:gd name="connsiteY338" fmla="*/ 126396 h 572369"/>
                    <a:gd name="connsiteX339" fmla="*/ 37230 w 499499"/>
                    <a:gd name="connsiteY339" fmla="*/ 125437 h 572369"/>
                    <a:gd name="connsiteX340" fmla="*/ 44977 w 499499"/>
                    <a:gd name="connsiteY340" fmla="*/ 117434 h 572369"/>
                    <a:gd name="connsiteX341" fmla="*/ 47855 w 499499"/>
                    <a:gd name="connsiteY341" fmla="*/ 116026 h 572369"/>
                    <a:gd name="connsiteX342" fmla="*/ 52797 w 499499"/>
                    <a:gd name="connsiteY342" fmla="*/ 116269 h 572369"/>
                    <a:gd name="connsiteX343" fmla="*/ 53405 w 499499"/>
                    <a:gd name="connsiteY343" fmla="*/ 118612 h 572369"/>
                    <a:gd name="connsiteX344" fmla="*/ 50709 w 499499"/>
                    <a:gd name="connsiteY344" fmla="*/ 128193 h 572369"/>
                    <a:gd name="connsiteX345" fmla="*/ 45670 w 499499"/>
                    <a:gd name="connsiteY345" fmla="*/ 138454 h 572369"/>
                    <a:gd name="connsiteX346" fmla="*/ 45184 w 499499"/>
                    <a:gd name="connsiteY346" fmla="*/ 139437 h 572369"/>
                    <a:gd name="connsiteX347" fmla="*/ 45074 w 499499"/>
                    <a:gd name="connsiteY347" fmla="*/ 140530 h 572369"/>
                    <a:gd name="connsiteX348" fmla="*/ 43411 w 499499"/>
                    <a:gd name="connsiteY348" fmla="*/ 157275 h 572369"/>
                    <a:gd name="connsiteX349" fmla="*/ 43265 w 499499"/>
                    <a:gd name="connsiteY349" fmla="*/ 158793 h 572369"/>
                    <a:gd name="connsiteX350" fmla="*/ 43848 w 499499"/>
                    <a:gd name="connsiteY350" fmla="*/ 160202 h 572369"/>
                    <a:gd name="connsiteX351" fmla="*/ 50454 w 499499"/>
                    <a:gd name="connsiteY351" fmla="*/ 176073 h 572369"/>
                    <a:gd name="connsiteX352" fmla="*/ 50624 w 499499"/>
                    <a:gd name="connsiteY352" fmla="*/ 176473 h 572369"/>
                    <a:gd name="connsiteX353" fmla="*/ 50842 w 499499"/>
                    <a:gd name="connsiteY353" fmla="*/ 176850 h 572369"/>
                    <a:gd name="connsiteX354" fmla="*/ 67915 w 499499"/>
                    <a:gd name="connsiteY354" fmla="*/ 205531 h 572369"/>
                    <a:gd name="connsiteX355" fmla="*/ 69360 w 499499"/>
                    <a:gd name="connsiteY355" fmla="*/ 211979 h 572369"/>
                    <a:gd name="connsiteX356" fmla="*/ 70988 w 499499"/>
                    <a:gd name="connsiteY356" fmla="*/ 227741 h 572369"/>
                    <a:gd name="connsiteX357" fmla="*/ 71060 w 499499"/>
                    <a:gd name="connsiteY357" fmla="*/ 228481 h 572369"/>
                    <a:gd name="connsiteX358" fmla="*/ 71315 w 499499"/>
                    <a:gd name="connsiteY358" fmla="*/ 229174 h 572369"/>
                    <a:gd name="connsiteX359" fmla="*/ 73950 w 499499"/>
                    <a:gd name="connsiteY359" fmla="*/ 236472 h 572369"/>
                    <a:gd name="connsiteX360" fmla="*/ 74315 w 499499"/>
                    <a:gd name="connsiteY360" fmla="*/ 237479 h 572369"/>
                    <a:gd name="connsiteX361" fmla="*/ 74995 w 499499"/>
                    <a:gd name="connsiteY361" fmla="*/ 238293 h 572369"/>
                    <a:gd name="connsiteX362" fmla="*/ 82050 w 499499"/>
                    <a:gd name="connsiteY362" fmla="*/ 246781 h 572369"/>
                    <a:gd name="connsiteX363" fmla="*/ 83216 w 499499"/>
                    <a:gd name="connsiteY363" fmla="*/ 249343 h 572369"/>
                    <a:gd name="connsiteX364" fmla="*/ 94678 w 499499"/>
                    <a:gd name="connsiteY364" fmla="*/ 289087 h 572369"/>
                    <a:gd name="connsiteX365" fmla="*/ 94897 w 499499"/>
                    <a:gd name="connsiteY365" fmla="*/ 289816 h 572369"/>
                    <a:gd name="connsiteX366" fmla="*/ 95273 w 499499"/>
                    <a:gd name="connsiteY366" fmla="*/ 290471 h 572369"/>
                    <a:gd name="connsiteX367" fmla="*/ 99524 w 499499"/>
                    <a:gd name="connsiteY367" fmla="*/ 297733 h 572369"/>
                    <a:gd name="connsiteX368" fmla="*/ 100033 w 499499"/>
                    <a:gd name="connsiteY368" fmla="*/ 298595 h 572369"/>
                    <a:gd name="connsiteX369" fmla="*/ 100786 w 499499"/>
                    <a:gd name="connsiteY369" fmla="*/ 299251 h 572369"/>
                    <a:gd name="connsiteX370" fmla="*/ 108193 w 499499"/>
                    <a:gd name="connsiteY370" fmla="*/ 305662 h 572369"/>
                    <a:gd name="connsiteX371" fmla="*/ 108958 w 499499"/>
                    <a:gd name="connsiteY371" fmla="*/ 306330 h 572369"/>
                    <a:gd name="connsiteX372" fmla="*/ 109893 w 499499"/>
                    <a:gd name="connsiteY372" fmla="*/ 306706 h 572369"/>
                    <a:gd name="connsiteX373" fmla="*/ 118163 w 499499"/>
                    <a:gd name="connsiteY373" fmla="*/ 310034 h 572369"/>
                    <a:gd name="connsiteX374" fmla="*/ 118806 w 499499"/>
                    <a:gd name="connsiteY374" fmla="*/ 310289 h 572369"/>
                    <a:gd name="connsiteX375" fmla="*/ 119486 w 499499"/>
                    <a:gd name="connsiteY375" fmla="*/ 310398 h 572369"/>
                    <a:gd name="connsiteX376" fmla="*/ 161550 w 499499"/>
                    <a:gd name="connsiteY376" fmla="*/ 317089 h 572369"/>
                    <a:gd name="connsiteX377" fmla="*/ 170973 w 499499"/>
                    <a:gd name="connsiteY377" fmla="*/ 320816 h 572369"/>
                    <a:gd name="connsiteX378" fmla="*/ 185811 w 499499"/>
                    <a:gd name="connsiteY378" fmla="*/ 331575 h 572369"/>
                    <a:gd name="connsiteX379" fmla="*/ 194906 w 499499"/>
                    <a:gd name="connsiteY379" fmla="*/ 342844 h 572369"/>
                    <a:gd name="connsiteX380" fmla="*/ 195659 w 499499"/>
                    <a:gd name="connsiteY380" fmla="*/ 343791 h 572369"/>
                    <a:gd name="connsiteX381" fmla="*/ 196728 w 499499"/>
                    <a:gd name="connsiteY381" fmla="*/ 344374 h 572369"/>
                    <a:gd name="connsiteX382" fmla="*/ 203783 w 499499"/>
                    <a:gd name="connsiteY382" fmla="*/ 348211 h 572369"/>
                    <a:gd name="connsiteX383" fmla="*/ 204414 w 499499"/>
                    <a:gd name="connsiteY383" fmla="*/ 348551 h 572369"/>
                    <a:gd name="connsiteX384" fmla="*/ 205106 w 499499"/>
                    <a:gd name="connsiteY384" fmla="*/ 348745 h 572369"/>
                    <a:gd name="connsiteX385" fmla="*/ 213461 w 499499"/>
                    <a:gd name="connsiteY385" fmla="*/ 350992 h 572369"/>
                    <a:gd name="connsiteX386" fmla="*/ 218961 w 499499"/>
                    <a:gd name="connsiteY386" fmla="*/ 353274 h 572369"/>
                    <a:gd name="connsiteX387" fmla="*/ 222835 w 499499"/>
                    <a:gd name="connsiteY387" fmla="*/ 356784 h 572369"/>
                    <a:gd name="connsiteX388" fmla="*/ 223418 w 499499"/>
                    <a:gd name="connsiteY388" fmla="*/ 357852 h 572369"/>
                    <a:gd name="connsiteX389" fmla="*/ 226794 w 499499"/>
                    <a:gd name="connsiteY389" fmla="*/ 363948 h 572369"/>
                    <a:gd name="connsiteX390" fmla="*/ 228117 w 499499"/>
                    <a:gd name="connsiteY390" fmla="*/ 367652 h 572369"/>
                    <a:gd name="connsiteX391" fmla="*/ 228530 w 499499"/>
                    <a:gd name="connsiteY391" fmla="*/ 371173 h 572369"/>
                    <a:gd name="connsiteX392" fmla="*/ 228117 w 499499"/>
                    <a:gd name="connsiteY392" fmla="*/ 374658 h 572369"/>
                    <a:gd name="connsiteX393" fmla="*/ 227134 w 499499"/>
                    <a:gd name="connsiteY393" fmla="*/ 377415 h 572369"/>
                    <a:gd name="connsiteX394" fmla="*/ 215379 w 499499"/>
                    <a:gd name="connsiteY394" fmla="*/ 388113 h 572369"/>
                    <a:gd name="connsiteX395" fmla="*/ 198173 w 499499"/>
                    <a:gd name="connsiteY395" fmla="*/ 395107 h 572369"/>
                    <a:gd name="connsiteX396" fmla="*/ 197638 w 499499"/>
                    <a:gd name="connsiteY396" fmla="*/ 395325 h 572369"/>
                    <a:gd name="connsiteX397" fmla="*/ 197153 w 499499"/>
                    <a:gd name="connsiteY397" fmla="*/ 395641 h 572369"/>
                    <a:gd name="connsiteX398" fmla="*/ 182921 w 499499"/>
                    <a:gd name="connsiteY398" fmla="*/ 404882 h 572369"/>
                    <a:gd name="connsiteX399" fmla="*/ 180456 w 499499"/>
                    <a:gd name="connsiteY399" fmla="*/ 406485 h 572369"/>
                    <a:gd name="connsiteX400" fmla="*/ 180177 w 499499"/>
                    <a:gd name="connsiteY400" fmla="*/ 409411 h 572369"/>
                    <a:gd name="connsiteX401" fmla="*/ 178501 w 499499"/>
                    <a:gd name="connsiteY401" fmla="*/ 427298 h 572369"/>
                    <a:gd name="connsiteX402" fmla="*/ 178368 w 499499"/>
                    <a:gd name="connsiteY402" fmla="*/ 428646 h 572369"/>
                    <a:gd name="connsiteX403" fmla="*/ 178829 w 499499"/>
                    <a:gd name="connsiteY403" fmla="*/ 429921 h 572369"/>
                    <a:gd name="connsiteX404" fmla="*/ 187960 w 499499"/>
                    <a:gd name="connsiteY404" fmla="*/ 455299 h 572369"/>
                    <a:gd name="connsiteX405" fmla="*/ 190936 w 499499"/>
                    <a:gd name="connsiteY405" fmla="*/ 468025 h 572369"/>
                    <a:gd name="connsiteX406" fmla="*/ 192113 w 499499"/>
                    <a:gd name="connsiteY406" fmla="*/ 480739 h 572369"/>
                    <a:gd name="connsiteX407" fmla="*/ 189806 w 499499"/>
                    <a:gd name="connsiteY407" fmla="*/ 520495 h 572369"/>
                    <a:gd name="connsiteX408" fmla="*/ 189745 w 499499"/>
                    <a:gd name="connsiteY408" fmla="*/ 521563 h 572369"/>
                    <a:gd name="connsiteX409" fmla="*/ 190049 w 499499"/>
                    <a:gd name="connsiteY409" fmla="*/ 522583 h 572369"/>
                    <a:gd name="connsiteX410" fmla="*/ 193716 w 499499"/>
                    <a:gd name="connsiteY410" fmla="*/ 534872 h 572369"/>
                    <a:gd name="connsiteX411" fmla="*/ 193959 w 499499"/>
                    <a:gd name="connsiteY411" fmla="*/ 535661 h 572369"/>
                    <a:gd name="connsiteX412" fmla="*/ 194396 w 499499"/>
                    <a:gd name="connsiteY412" fmla="*/ 536354 h 572369"/>
                    <a:gd name="connsiteX413" fmla="*/ 198768 w 499499"/>
                    <a:gd name="connsiteY413" fmla="*/ 543336 h 572369"/>
                    <a:gd name="connsiteX414" fmla="*/ 199229 w 499499"/>
                    <a:gd name="connsiteY414" fmla="*/ 544064 h 572369"/>
                    <a:gd name="connsiteX415" fmla="*/ 199861 w 499499"/>
                    <a:gd name="connsiteY415" fmla="*/ 544635 h 572369"/>
                    <a:gd name="connsiteX416" fmla="*/ 217031 w 499499"/>
                    <a:gd name="connsiteY416" fmla="*/ 560044 h 572369"/>
                    <a:gd name="connsiteX417" fmla="*/ 230764 w 499499"/>
                    <a:gd name="connsiteY417" fmla="*/ 572370 h 572369"/>
                    <a:gd name="connsiteX418" fmla="*/ 227036 w 499499"/>
                    <a:gd name="connsiteY418" fmla="*/ 554301 h 572369"/>
                    <a:gd name="connsiteX419" fmla="*/ 226405 w 499499"/>
                    <a:gd name="connsiteY419" fmla="*/ 551229 h 572369"/>
                    <a:gd name="connsiteX420" fmla="*/ 225579 w 499499"/>
                    <a:gd name="connsiteY420" fmla="*/ 547197 h 572369"/>
                    <a:gd name="connsiteX421" fmla="*/ 225324 w 499499"/>
                    <a:gd name="connsiteY421" fmla="*/ 542911 h 572369"/>
                    <a:gd name="connsiteX422" fmla="*/ 225992 w 499499"/>
                    <a:gd name="connsiteY422" fmla="*/ 533561 h 572369"/>
                    <a:gd name="connsiteX423" fmla="*/ 226053 w 499499"/>
                    <a:gd name="connsiteY423" fmla="*/ 532771 h 572369"/>
                    <a:gd name="connsiteX424" fmla="*/ 225907 w 499499"/>
                    <a:gd name="connsiteY424" fmla="*/ 531994 h 572369"/>
                    <a:gd name="connsiteX425" fmla="*/ 224814 w 499499"/>
                    <a:gd name="connsiteY425" fmla="*/ 526251 h 572369"/>
                    <a:gd name="connsiteX426" fmla="*/ 224741 w 499499"/>
                    <a:gd name="connsiteY426" fmla="*/ 525838 h 572369"/>
                    <a:gd name="connsiteX427" fmla="*/ 224608 w 499499"/>
                    <a:gd name="connsiteY427" fmla="*/ 525437 h 572369"/>
                    <a:gd name="connsiteX428" fmla="*/ 221657 w 499499"/>
                    <a:gd name="connsiteY428" fmla="*/ 516682 h 572369"/>
                    <a:gd name="connsiteX429" fmla="*/ 221475 w 499499"/>
                    <a:gd name="connsiteY429" fmla="*/ 513452 h 572369"/>
                    <a:gd name="connsiteX430" fmla="*/ 222471 w 499499"/>
                    <a:gd name="connsiteY430" fmla="*/ 510501 h 572369"/>
                    <a:gd name="connsiteX431" fmla="*/ 223357 w 499499"/>
                    <a:gd name="connsiteY431" fmla="*/ 509882 h 572369"/>
                    <a:gd name="connsiteX432" fmla="*/ 225701 w 499499"/>
                    <a:gd name="connsiteY432" fmla="*/ 509821 h 572369"/>
                    <a:gd name="connsiteX433" fmla="*/ 230497 w 499499"/>
                    <a:gd name="connsiteY433" fmla="*/ 511400 h 572369"/>
                    <a:gd name="connsiteX434" fmla="*/ 235925 w 499499"/>
                    <a:gd name="connsiteY434" fmla="*/ 512736 h 572369"/>
                    <a:gd name="connsiteX435" fmla="*/ 240114 w 499499"/>
                    <a:gd name="connsiteY435" fmla="*/ 513743 h 572369"/>
                    <a:gd name="connsiteX436" fmla="*/ 242446 w 499499"/>
                    <a:gd name="connsiteY436" fmla="*/ 510125 h 572369"/>
                    <a:gd name="connsiteX437" fmla="*/ 244401 w 499499"/>
                    <a:gd name="connsiteY437" fmla="*/ 507101 h 572369"/>
                    <a:gd name="connsiteX438" fmla="*/ 245469 w 499499"/>
                    <a:gd name="connsiteY438" fmla="*/ 505438 h 572369"/>
                    <a:gd name="connsiteX439" fmla="*/ 245360 w 499499"/>
                    <a:gd name="connsiteY439" fmla="*/ 503458 h 572369"/>
                    <a:gd name="connsiteX440" fmla="*/ 245069 w 499499"/>
                    <a:gd name="connsiteY440" fmla="*/ 498346 h 572369"/>
                    <a:gd name="connsiteX441" fmla="*/ 245032 w 499499"/>
                    <a:gd name="connsiteY441" fmla="*/ 497666 h 572369"/>
                    <a:gd name="connsiteX442" fmla="*/ 244838 w 499499"/>
                    <a:gd name="connsiteY442" fmla="*/ 497010 h 572369"/>
                    <a:gd name="connsiteX443" fmla="*/ 242167 w 499499"/>
                    <a:gd name="connsiteY443" fmla="*/ 487745 h 572369"/>
                    <a:gd name="connsiteX444" fmla="*/ 242021 w 499499"/>
                    <a:gd name="connsiteY444" fmla="*/ 483423 h 572369"/>
                    <a:gd name="connsiteX445" fmla="*/ 242009 w 499499"/>
                    <a:gd name="connsiteY445" fmla="*/ 483046 h 572369"/>
                    <a:gd name="connsiteX446" fmla="*/ 241948 w 499499"/>
                    <a:gd name="connsiteY446" fmla="*/ 482670 h 572369"/>
                    <a:gd name="connsiteX447" fmla="*/ 241207 w 499499"/>
                    <a:gd name="connsiteY447" fmla="*/ 477982 h 572369"/>
                    <a:gd name="connsiteX448" fmla="*/ 240964 w 499499"/>
                    <a:gd name="connsiteY448" fmla="*/ 476465 h 572369"/>
                    <a:gd name="connsiteX449" fmla="*/ 240029 w 499499"/>
                    <a:gd name="connsiteY449" fmla="*/ 475238 h 572369"/>
                    <a:gd name="connsiteX450" fmla="*/ 237212 w 499499"/>
                    <a:gd name="connsiteY450" fmla="*/ 471547 h 572369"/>
                    <a:gd name="connsiteX451" fmla="*/ 231772 w 499499"/>
                    <a:gd name="connsiteY451" fmla="*/ 465524 h 572369"/>
                    <a:gd name="connsiteX452" fmla="*/ 229198 w 499499"/>
                    <a:gd name="connsiteY452" fmla="*/ 459501 h 572369"/>
                    <a:gd name="connsiteX453" fmla="*/ 226951 w 499499"/>
                    <a:gd name="connsiteY453" fmla="*/ 452130 h 572369"/>
                    <a:gd name="connsiteX454" fmla="*/ 226830 w 499499"/>
                    <a:gd name="connsiteY454" fmla="*/ 451754 h 572369"/>
                    <a:gd name="connsiteX455" fmla="*/ 226660 w 499499"/>
                    <a:gd name="connsiteY455" fmla="*/ 451389 h 572369"/>
                    <a:gd name="connsiteX456" fmla="*/ 223406 w 499499"/>
                    <a:gd name="connsiteY456" fmla="*/ 444213 h 572369"/>
                    <a:gd name="connsiteX457" fmla="*/ 222058 w 499499"/>
                    <a:gd name="connsiteY457" fmla="*/ 438348 h 572369"/>
                    <a:gd name="connsiteX458" fmla="*/ 223733 w 499499"/>
                    <a:gd name="connsiteY458" fmla="*/ 433843 h 572369"/>
                    <a:gd name="connsiteX459" fmla="*/ 226745 w 499499"/>
                    <a:gd name="connsiteY459" fmla="*/ 431354 h 572369"/>
                    <a:gd name="connsiteX460" fmla="*/ 243089 w 499499"/>
                    <a:gd name="connsiteY460" fmla="*/ 432252 h 572369"/>
                    <a:gd name="connsiteX461" fmla="*/ 246684 w 499499"/>
                    <a:gd name="connsiteY461" fmla="*/ 433430 h 572369"/>
                    <a:gd name="connsiteX462" fmla="*/ 247716 w 499499"/>
                    <a:gd name="connsiteY462" fmla="*/ 433770 h 572369"/>
                    <a:gd name="connsiteX463" fmla="*/ 248797 w 499499"/>
                    <a:gd name="connsiteY463" fmla="*/ 433734 h 572369"/>
                    <a:gd name="connsiteX464" fmla="*/ 250351 w 499499"/>
                    <a:gd name="connsiteY464" fmla="*/ 433673 h 572369"/>
                    <a:gd name="connsiteX465" fmla="*/ 251687 w 499499"/>
                    <a:gd name="connsiteY465" fmla="*/ 433624 h 572369"/>
                    <a:gd name="connsiteX466" fmla="*/ 252877 w 499499"/>
                    <a:gd name="connsiteY466" fmla="*/ 433017 h 572369"/>
                    <a:gd name="connsiteX467" fmla="*/ 254783 w 499499"/>
                    <a:gd name="connsiteY467" fmla="*/ 432046 h 572369"/>
                    <a:gd name="connsiteX468" fmla="*/ 255924 w 499499"/>
                    <a:gd name="connsiteY468" fmla="*/ 431463 h 572369"/>
                    <a:gd name="connsiteX469" fmla="*/ 256726 w 499499"/>
                    <a:gd name="connsiteY469" fmla="*/ 430467 h 572369"/>
                    <a:gd name="connsiteX470" fmla="*/ 258729 w 499499"/>
                    <a:gd name="connsiteY470" fmla="*/ 428002 h 572369"/>
                    <a:gd name="connsiteX471" fmla="*/ 262154 w 499499"/>
                    <a:gd name="connsiteY471" fmla="*/ 427213 h 572369"/>
                    <a:gd name="connsiteX472" fmla="*/ 306949 w 499499"/>
                    <a:gd name="connsiteY472" fmla="*/ 430297 h 572369"/>
                    <a:gd name="connsiteX473" fmla="*/ 308321 w 499499"/>
                    <a:gd name="connsiteY473" fmla="*/ 430394 h 572369"/>
                    <a:gd name="connsiteX474" fmla="*/ 309608 w 499499"/>
                    <a:gd name="connsiteY474" fmla="*/ 429884 h 572369"/>
                    <a:gd name="connsiteX475" fmla="*/ 315121 w 499499"/>
                    <a:gd name="connsiteY475" fmla="*/ 427686 h 572369"/>
                    <a:gd name="connsiteX476" fmla="*/ 316542 w 499499"/>
                    <a:gd name="connsiteY476" fmla="*/ 427128 h 572369"/>
                    <a:gd name="connsiteX477" fmla="*/ 317526 w 499499"/>
                    <a:gd name="connsiteY477" fmla="*/ 425962 h 572369"/>
                    <a:gd name="connsiteX478" fmla="*/ 325309 w 499499"/>
                    <a:gd name="connsiteY478" fmla="*/ 416709 h 572369"/>
                    <a:gd name="connsiteX479" fmla="*/ 330154 w 499499"/>
                    <a:gd name="connsiteY479" fmla="*/ 412520 h 572369"/>
                    <a:gd name="connsiteX480" fmla="*/ 334040 w 499499"/>
                    <a:gd name="connsiteY480" fmla="*/ 408561 h 572369"/>
                    <a:gd name="connsiteX481" fmla="*/ 335351 w 499499"/>
                    <a:gd name="connsiteY481" fmla="*/ 407213 h 572369"/>
                    <a:gd name="connsiteX482" fmla="*/ 335667 w 499499"/>
                    <a:gd name="connsiteY482" fmla="*/ 405368 h 572369"/>
                    <a:gd name="connsiteX483" fmla="*/ 336189 w 499499"/>
                    <a:gd name="connsiteY483" fmla="*/ 402356 h 572369"/>
                    <a:gd name="connsiteX484" fmla="*/ 336420 w 499499"/>
                    <a:gd name="connsiteY484" fmla="*/ 401069 h 572369"/>
                    <a:gd name="connsiteX485" fmla="*/ 336092 w 499499"/>
                    <a:gd name="connsiteY485" fmla="*/ 399806 h 572369"/>
                    <a:gd name="connsiteX486" fmla="*/ 334599 w 499499"/>
                    <a:gd name="connsiteY486" fmla="*/ 394050 h 572369"/>
                    <a:gd name="connsiteX487" fmla="*/ 337222 w 499499"/>
                    <a:gd name="connsiteY487" fmla="*/ 393856 h 572369"/>
                    <a:gd name="connsiteX488" fmla="*/ 340209 w 499499"/>
                    <a:gd name="connsiteY488" fmla="*/ 393625 h 572369"/>
                    <a:gd name="connsiteX489" fmla="*/ 341848 w 499499"/>
                    <a:gd name="connsiteY489" fmla="*/ 391124 h 572369"/>
                    <a:gd name="connsiteX490" fmla="*/ 345345 w 499499"/>
                    <a:gd name="connsiteY490" fmla="*/ 385781 h 572369"/>
                    <a:gd name="connsiteX491" fmla="*/ 346450 w 499499"/>
                    <a:gd name="connsiteY491" fmla="*/ 384081 h 572369"/>
                    <a:gd name="connsiteX492" fmla="*/ 346316 w 499499"/>
                    <a:gd name="connsiteY492" fmla="*/ 382053 h 572369"/>
                    <a:gd name="connsiteX493" fmla="*/ 345746 w 499499"/>
                    <a:gd name="connsiteY493" fmla="*/ 373371 h 572369"/>
                    <a:gd name="connsiteX494" fmla="*/ 345722 w 499499"/>
                    <a:gd name="connsiteY494" fmla="*/ 372946 h 572369"/>
                    <a:gd name="connsiteX495" fmla="*/ 345636 w 499499"/>
                    <a:gd name="connsiteY495" fmla="*/ 372533 h 572369"/>
                    <a:gd name="connsiteX496" fmla="*/ 341216 w 499499"/>
                    <a:gd name="connsiteY496" fmla="*/ 351222 h 572369"/>
                    <a:gd name="connsiteX497" fmla="*/ 341144 w 499499"/>
                    <a:gd name="connsiteY497" fmla="*/ 350870 h 572369"/>
                    <a:gd name="connsiteX498" fmla="*/ 341034 w 499499"/>
                    <a:gd name="connsiteY498" fmla="*/ 350530 h 572369"/>
                    <a:gd name="connsiteX499" fmla="*/ 338521 w 499499"/>
                    <a:gd name="connsiteY499" fmla="*/ 343002 h 572369"/>
                    <a:gd name="connsiteX500" fmla="*/ 338545 w 499499"/>
                    <a:gd name="connsiteY500" fmla="*/ 342322 h 572369"/>
                    <a:gd name="connsiteX501" fmla="*/ 352254 w 499499"/>
                    <a:gd name="connsiteY501" fmla="*/ 345576 h 572369"/>
                    <a:gd name="connsiteX502" fmla="*/ 352619 w 499499"/>
                    <a:gd name="connsiteY502" fmla="*/ 345661 h 572369"/>
                    <a:gd name="connsiteX503" fmla="*/ 352995 w 499499"/>
                    <a:gd name="connsiteY503" fmla="*/ 345697 h 572369"/>
                    <a:gd name="connsiteX504" fmla="*/ 361775 w 499499"/>
                    <a:gd name="connsiteY504" fmla="*/ 346644 h 572369"/>
                    <a:gd name="connsiteX505" fmla="*/ 362722 w 499499"/>
                    <a:gd name="connsiteY505" fmla="*/ 346742 h 572369"/>
                    <a:gd name="connsiteX506" fmla="*/ 363657 w 499499"/>
                    <a:gd name="connsiteY506" fmla="*/ 346547 h 572369"/>
                    <a:gd name="connsiteX507" fmla="*/ 371343 w 499499"/>
                    <a:gd name="connsiteY507" fmla="*/ 344969 h 572369"/>
                    <a:gd name="connsiteX508" fmla="*/ 373577 w 499499"/>
                    <a:gd name="connsiteY508" fmla="*/ 344507 h 572369"/>
                    <a:gd name="connsiteX509" fmla="*/ 375362 w 499499"/>
                    <a:gd name="connsiteY509" fmla="*/ 342601 h 572369"/>
                    <a:gd name="connsiteX510" fmla="*/ 380086 w 499499"/>
                    <a:gd name="connsiteY510" fmla="*/ 336372 h 572369"/>
                    <a:gd name="connsiteX511" fmla="*/ 381434 w 499499"/>
                    <a:gd name="connsiteY511" fmla="*/ 334599 h 572369"/>
                    <a:gd name="connsiteX512" fmla="*/ 381312 w 499499"/>
                    <a:gd name="connsiteY512" fmla="*/ 332364 h 572369"/>
                    <a:gd name="connsiteX513" fmla="*/ 381094 w 499499"/>
                    <a:gd name="connsiteY513" fmla="*/ 328418 h 572369"/>
                    <a:gd name="connsiteX514" fmla="*/ 380985 w 499499"/>
                    <a:gd name="connsiteY514" fmla="*/ 326463 h 572369"/>
                    <a:gd name="connsiteX515" fmla="*/ 379758 w 499499"/>
                    <a:gd name="connsiteY515" fmla="*/ 324945 h 572369"/>
                    <a:gd name="connsiteX516" fmla="*/ 377682 w 499499"/>
                    <a:gd name="connsiteY516" fmla="*/ 322371 h 572369"/>
                    <a:gd name="connsiteX517" fmla="*/ 377342 w 499499"/>
                    <a:gd name="connsiteY517" fmla="*/ 321946 h 572369"/>
                    <a:gd name="connsiteX518" fmla="*/ 376929 w 499499"/>
                    <a:gd name="connsiteY518" fmla="*/ 321594 h 572369"/>
                    <a:gd name="connsiteX519" fmla="*/ 374962 w 499499"/>
                    <a:gd name="connsiteY519" fmla="*/ 319881 h 572369"/>
                    <a:gd name="connsiteX520" fmla="*/ 374549 w 499499"/>
                    <a:gd name="connsiteY520" fmla="*/ 319226 h 572369"/>
                    <a:gd name="connsiteX521" fmla="*/ 374549 w 499499"/>
                    <a:gd name="connsiteY521" fmla="*/ 318667 h 572369"/>
                    <a:gd name="connsiteX522" fmla="*/ 374962 w 499499"/>
                    <a:gd name="connsiteY522" fmla="*/ 318084 h 572369"/>
                    <a:gd name="connsiteX523" fmla="*/ 376795 w 499499"/>
                    <a:gd name="connsiteY523" fmla="*/ 316906 h 572369"/>
                    <a:gd name="connsiteX524" fmla="*/ 379418 w 499499"/>
                    <a:gd name="connsiteY524" fmla="*/ 315874 h 572369"/>
                    <a:gd name="connsiteX525" fmla="*/ 386935 w 499499"/>
                    <a:gd name="connsiteY525" fmla="*/ 314514 h 572369"/>
                    <a:gd name="connsiteX526" fmla="*/ 387505 w 499499"/>
                    <a:gd name="connsiteY526" fmla="*/ 314405 h 572369"/>
                    <a:gd name="connsiteX527" fmla="*/ 388052 w 499499"/>
                    <a:gd name="connsiteY527" fmla="*/ 314186 h 572369"/>
                    <a:gd name="connsiteX528" fmla="*/ 391561 w 499499"/>
                    <a:gd name="connsiteY528" fmla="*/ 312814 h 572369"/>
                    <a:gd name="connsiteX529" fmla="*/ 392751 w 499499"/>
                    <a:gd name="connsiteY529" fmla="*/ 312353 h 572369"/>
                    <a:gd name="connsiteX530" fmla="*/ 393650 w 499499"/>
                    <a:gd name="connsiteY530" fmla="*/ 311454 h 572369"/>
                    <a:gd name="connsiteX531" fmla="*/ 396928 w 499499"/>
                    <a:gd name="connsiteY531" fmla="*/ 308176 h 572369"/>
                    <a:gd name="connsiteX532" fmla="*/ 397827 w 499499"/>
                    <a:gd name="connsiteY532" fmla="*/ 307277 h 572369"/>
                    <a:gd name="connsiteX533" fmla="*/ 398288 w 499499"/>
                    <a:gd name="connsiteY533" fmla="*/ 306099 h 572369"/>
                    <a:gd name="connsiteX534" fmla="*/ 399891 w 499499"/>
                    <a:gd name="connsiteY534" fmla="*/ 302019 h 572369"/>
                    <a:gd name="connsiteX535" fmla="*/ 400086 w 499499"/>
                    <a:gd name="connsiteY535" fmla="*/ 301509 h 572369"/>
                    <a:gd name="connsiteX536" fmla="*/ 400195 w 499499"/>
                    <a:gd name="connsiteY536" fmla="*/ 300987 h 572369"/>
                    <a:gd name="connsiteX537" fmla="*/ 401106 w 499499"/>
                    <a:gd name="connsiteY537" fmla="*/ 296433 h 572369"/>
                    <a:gd name="connsiteX538" fmla="*/ 402016 w 499499"/>
                    <a:gd name="connsiteY538" fmla="*/ 293592 h 572369"/>
                    <a:gd name="connsiteX539" fmla="*/ 402271 w 499499"/>
                    <a:gd name="connsiteY539" fmla="*/ 293325 h 572369"/>
                    <a:gd name="connsiteX540" fmla="*/ 406752 w 499499"/>
                    <a:gd name="connsiteY540" fmla="*/ 292863 h 572369"/>
                    <a:gd name="connsiteX541" fmla="*/ 411646 w 499499"/>
                    <a:gd name="connsiteY541" fmla="*/ 293762 h 572369"/>
                    <a:gd name="connsiteX542" fmla="*/ 422489 w 499499"/>
                    <a:gd name="connsiteY542" fmla="*/ 295741 h 572369"/>
                    <a:gd name="connsiteX543" fmla="*/ 423874 w 499499"/>
                    <a:gd name="connsiteY543" fmla="*/ 295996 h 572369"/>
                    <a:gd name="connsiteX544" fmla="*/ 425234 w 499499"/>
                    <a:gd name="connsiteY544" fmla="*/ 295608 h 572369"/>
                    <a:gd name="connsiteX545" fmla="*/ 432641 w 499499"/>
                    <a:gd name="connsiteY545" fmla="*/ 293507 h 572369"/>
                    <a:gd name="connsiteX546" fmla="*/ 434450 w 499499"/>
                    <a:gd name="connsiteY546" fmla="*/ 292997 h 572369"/>
                    <a:gd name="connsiteX547" fmla="*/ 435652 w 499499"/>
                    <a:gd name="connsiteY547" fmla="*/ 291552 h 572369"/>
                    <a:gd name="connsiteX548" fmla="*/ 438409 w 499499"/>
                    <a:gd name="connsiteY548" fmla="*/ 288225 h 572369"/>
                    <a:gd name="connsiteX549" fmla="*/ 439344 w 499499"/>
                    <a:gd name="connsiteY549" fmla="*/ 287108 h 572369"/>
                    <a:gd name="connsiteX550" fmla="*/ 439659 w 499499"/>
                    <a:gd name="connsiteY550" fmla="*/ 285699 h 572369"/>
                    <a:gd name="connsiteX551" fmla="*/ 442622 w 499499"/>
                    <a:gd name="connsiteY551" fmla="*/ 272621 h 572369"/>
                    <a:gd name="connsiteX552" fmla="*/ 445828 w 499499"/>
                    <a:gd name="connsiteY552" fmla="*/ 265287 h 572369"/>
                    <a:gd name="connsiteX553" fmla="*/ 447589 w 499499"/>
                    <a:gd name="connsiteY553" fmla="*/ 262518 h 572369"/>
                    <a:gd name="connsiteX554" fmla="*/ 457959 w 499499"/>
                    <a:gd name="connsiteY554" fmla="*/ 251286 h 572369"/>
                    <a:gd name="connsiteX555" fmla="*/ 458396 w 499499"/>
                    <a:gd name="connsiteY555" fmla="*/ 250812 h 572369"/>
                    <a:gd name="connsiteX556" fmla="*/ 458724 w 499499"/>
                    <a:gd name="connsiteY556" fmla="*/ 250266 h 572369"/>
                    <a:gd name="connsiteX557" fmla="*/ 461492 w 499499"/>
                    <a:gd name="connsiteY557" fmla="*/ 245579 h 572369"/>
                    <a:gd name="connsiteX558" fmla="*/ 461930 w 499499"/>
                    <a:gd name="connsiteY558" fmla="*/ 244826 h 572369"/>
                    <a:gd name="connsiteX559" fmla="*/ 462148 w 499499"/>
                    <a:gd name="connsiteY559" fmla="*/ 243988 h 572369"/>
                    <a:gd name="connsiteX560" fmla="*/ 463702 w 499499"/>
                    <a:gd name="connsiteY560" fmla="*/ 237929 h 572369"/>
                    <a:gd name="connsiteX561" fmla="*/ 463909 w 499499"/>
                    <a:gd name="connsiteY561" fmla="*/ 237127 h 572369"/>
                    <a:gd name="connsiteX562" fmla="*/ 463897 w 499499"/>
                    <a:gd name="connsiteY562" fmla="*/ 236289 h 572369"/>
                    <a:gd name="connsiteX563" fmla="*/ 463095 w 499499"/>
                    <a:gd name="connsiteY563" fmla="*/ 200456 h 572369"/>
                    <a:gd name="connsiteX564" fmla="*/ 464346 w 499499"/>
                    <a:gd name="connsiteY564" fmla="*/ 195841 h 572369"/>
                    <a:gd name="connsiteX565" fmla="*/ 468839 w 499499"/>
                    <a:gd name="connsiteY565" fmla="*/ 190013 h 572369"/>
                    <a:gd name="connsiteX566" fmla="*/ 474570 w 499499"/>
                    <a:gd name="connsiteY566" fmla="*/ 184148 h 572369"/>
                    <a:gd name="connsiteX567" fmla="*/ 474959 w 499499"/>
                    <a:gd name="connsiteY567" fmla="*/ 183747 h 572369"/>
                    <a:gd name="connsiteX568" fmla="*/ 475262 w 499499"/>
                    <a:gd name="connsiteY568" fmla="*/ 183273 h 572369"/>
                    <a:gd name="connsiteX569" fmla="*/ 479391 w 499499"/>
                    <a:gd name="connsiteY569" fmla="*/ 177105 h 572369"/>
                    <a:gd name="connsiteX570" fmla="*/ 480083 w 499499"/>
                    <a:gd name="connsiteY570" fmla="*/ 176085 h 572369"/>
                    <a:gd name="connsiteX571" fmla="*/ 480314 w 499499"/>
                    <a:gd name="connsiteY571" fmla="*/ 174870 h 572369"/>
                    <a:gd name="connsiteX572" fmla="*/ 481686 w 499499"/>
                    <a:gd name="connsiteY572" fmla="*/ 167718 h 572369"/>
                    <a:gd name="connsiteX573" fmla="*/ 481941 w 499499"/>
                    <a:gd name="connsiteY573" fmla="*/ 166383 h 572369"/>
                    <a:gd name="connsiteX574" fmla="*/ 481601 w 499499"/>
                    <a:gd name="connsiteY574" fmla="*/ 165071 h 572369"/>
                    <a:gd name="connsiteX575" fmla="*/ 479415 w 499499"/>
                    <a:gd name="connsiteY575" fmla="*/ 156510 h 572369"/>
                    <a:gd name="connsiteX576" fmla="*/ 478614 w 499499"/>
                    <a:gd name="connsiteY576" fmla="*/ 149807 h 572369"/>
                    <a:gd name="connsiteX577" fmla="*/ 481140 w 499499"/>
                    <a:gd name="connsiteY577" fmla="*/ 145557 h 572369"/>
                    <a:gd name="connsiteX578" fmla="*/ 493258 w 499499"/>
                    <a:gd name="connsiteY578" fmla="*/ 135527 h 572369"/>
                    <a:gd name="connsiteX579" fmla="*/ 494266 w 499499"/>
                    <a:gd name="connsiteY579" fmla="*/ 134689 h 572369"/>
                    <a:gd name="connsiteX580" fmla="*/ 494837 w 499499"/>
                    <a:gd name="connsiteY580" fmla="*/ 133512 h 572369"/>
                    <a:gd name="connsiteX581" fmla="*/ 497885 w 499499"/>
                    <a:gd name="connsiteY581" fmla="*/ 127246 h 572369"/>
                    <a:gd name="connsiteX582" fmla="*/ 498358 w 499499"/>
                    <a:gd name="connsiteY582" fmla="*/ 126287 h 572369"/>
                    <a:gd name="connsiteX583" fmla="*/ 498467 w 499499"/>
                    <a:gd name="connsiteY583" fmla="*/ 125230 h 572369"/>
                    <a:gd name="connsiteX584" fmla="*/ 499390 w 499499"/>
                    <a:gd name="connsiteY584" fmla="*/ 116475 h 572369"/>
                    <a:gd name="connsiteX585" fmla="*/ 499500 w 499499"/>
                    <a:gd name="connsiteY585" fmla="*/ 115419 h 572369"/>
                    <a:gd name="connsiteX586" fmla="*/ 499245 w 499499"/>
                    <a:gd name="connsiteY586" fmla="*/ 114399 h 572369"/>
                    <a:gd name="connsiteX587" fmla="*/ 498783 w 499499"/>
                    <a:gd name="connsiteY587" fmla="*/ 112504 h 572369"/>
                    <a:gd name="connsiteX588" fmla="*/ 497338 w 499499"/>
                    <a:gd name="connsiteY588" fmla="*/ 106676 h 572369"/>
                    <a:gd name="connsiteX589" fmla="*/ 496731 w 499499"/>
                    <a:gd name="connsiteY589" fmla="*/ 104235 h 572369"/>
                    <a:gd name="connsiteX590" fmla="*/ 494582 w 499499"/>
                    <a:gd name="connsiteY590" fmla="*/ 102948 h 572369"/>
                    <a:gd name="connsiteX591" fmla="*/ 489312 w 499499"/>
                    <a:gd name="connsiteY591" fmla="*/ 99754 h 572369"/>
                    <a:gd name="connsiteX592" fmla="*/ 487005 w 499499"/>
                    <a:gd name="connsiteY592" fmla="*/ 98358 h 572369"/>
                    <a:gd name="connsiteX593" fmla="*/ 484418 w 499499"/>
                    <a:gd name="connsiteY593" fmla="*/ 99135 h 572369"/>
                    <a:gd name="connsiteX594" fmla="*/ 481370 w 499499"/>
                    <a:gd name="connsiteY594" fmla="*/ 100058 h 572369"/>
                    <a:gd name="connsiteX595" fmla="*/ 480387 w 499499"/>
                    <a:gd name="connsiteY595" fmla="*/ 100349 h 572369"/>
                    <a:gd name="connsiteX596" fmla="*/ 479573 w 499499"/>
                    <a:gd name="connsiteY596" fmla="*/ 100944 h 572369"/>
                    <a:gd name="connsiteX597" fmla="*/ 477497 w 499499"/>
                    <a:gd name="connsiteY597" fmla="*/ 102134 h 572369"/>
                    <a:gd name="connsiteX598" fmla="*/ 476805 w 499499"/>
                    <a:gd name="connsiteY598" fmla="*/ 102450 h 572369"/>
                    <a:gd name="connsiteX599" fmla="*/ 473781 w 499499"/>
                    <a:gd name="connsiteY599" fmla="*/ 97508 h 572369"/>
                    <a:gd name="connsiteX600" fmla="*/ 473332 w 499499"/>
                    <a:gd name="connsiteY600" fmla="*/ 96755 h 572369"/>
                    <a:gd name="connsiteX601" fmla="*/ 472688 w 499499"/>
                    <a:gd name="connsiteY601" fmla="*/ 96172 h 572369"/>
                    <a:gd name="connsiteX602" fmla="*/ 470211 w 499499"/>
                    <a:gd name="connsiteY602" fmla="*/ 93926 h 572369"/>
                    <a:gd name="connsiteX603" fmla="*/ 469009 w 499499"/>
                    <a:gd name="connsiteY603" fmla="*/ 92833 h 572369"/>
                    <a:gd name="connsiteX604" fmla="*/ 467430 w 499499"/>
                    <a:gd name="connsiteY604" fmla="*/ 92493 h 572369"/>
                    <a:gd name="connsiteX605" fmla="*/ 460594 w 499499"/>
                    <a:gd name="connsiteY605" fmla="*/ 90999 h 572369"/>
                    <a:gd name="connsiteX606" fmla="*/ 457315 w 499499"/>
                    <a:gd name="connsiteY606" fmla="*/ 90283 h 572369"/>
                    <a:gd name="connsiteX607" fmla="*/ 454971 w 499499"/>
                    <a:gd name="connsiteY607" fmla="*/ 92663 h 572369"/>
                    <a:gd name="connsiteX608" fmla="*/ 451426 w 499499"/>
                    <a:gd name="connsiteY608" fmla="*/ 96257 h 572369"/>
                    <a:gd name="connsiteX609" fmla="*/ 450418 w 499499"/>
                    <a:gd name="connsiteY609" fmla="*/ 97265 h 572369"/>
                    <a:gd name="connsiteX610" fmla="*/ 449969 w 499499"/>
                    <a:gd name="connsiteY610" fmla="*/ 98613 h 572369"/>
                    <a:gd name="connsiteX611" fmla="*/ 445876 w 499499"/>
                    <a:gd name="connsiteY611" fmla="*/ 111071 h 572369"/>
                    <a:gd name="connsiteX612" fmla="*/ 443242 w 499499"/>
                    <a:gd name="connsiteY612" fmla="*/ 115224 h 572369"/>
                    <a:gd name="connsiteX613" fmla="*/ 439040 w 499499"/>
                    <a:gd name="connsiteY613" fmla="*/ 119839 h 572369"/>
                    <a:gd name="connsiteX614" fmla="*/ 434814 w 499499"/>
                    <a:gd name="connsiteY614" fmla="*/ 122874 h 572369"/>
                    <a:gd name="connsiteX615" fmla="*/ 432750 w 499499"/>
                    <a:gd name="connsiteY615" fmla="*/ 123336 h 572369"/>
                    <a:gd name="connsiteX616" fmla="*/ 430880 w 499499"/>
                    <a:gd name="connsiteY616" fmla="*/ 122316 h 572369"/>
                    <a:gd name="connsiteX617" fmla="*/ 428719 w 499499"/>
                    <a:gd name="connsiteY617" fmla="*/ 118624 h 572369"/>
                    <a:gd name="connsiteX618" fmla="*/ 426958 w 499499"/>
                    <a:gd name="connsiteY618" fmla="*/ 112723 h 572369"/>
                    <a:gd name="connsiteX619" fmla="*/ 425889 w 499499"/>
                    <a:gd name="connsiteY619" fmla="*/ 106554 h 572369"/>
                    <a:gd name="connsiteX620" fmla="*/ 425816 w 499499"/>
                    <a:gd name="connsiteY620" fmla="*/ 106141 h 572369"/>
                    <a:gd name="connsiteX621" fmla="*/ 425683 w 499499"/>
                    <a:gd name="connsiteY621" fmla="*/ 105741 h 572369"/>
                    <a:gd name="connsiteX622" fmla="*/ 423436 w 499499"/>
                    <a:gd name="connsiteY622" fmla="*/ 98734 h 572369"/>
                    <a:gd name="connsiteX623" fmla="*/ 423315 w 499499"/>
                    <a:gd name="connsiteY623" fmla="*/ 98358 h 572369"/>
                    <a:gd name="connsiteX624" fmla="*/ 423145 w 499499"/>
                    <a:gd name="connsiteY624" fmla="*/ 98006 h 572369"/>
                    <a:gd name="connsiteX625" fmla="*/ 418543 w 499499"/>
                    <a:gd name="connsiteY625" fmla="*/ 88218 h 572369"/>
                    <a:gd name="connsiteX626" fmla="*/ 418178 w 499499"/>
                    <a:gd name="connsiteY626" fmla="*/ 87453 h 572369"/>
                    <a:gd name="connsiteX627" fmla="*/ 417620 w 499499"/>
                    <a:gd name="connsiteY627" fmla="*/ 86810 h 572369"/>
                    <a:gd name="connsiteX628" fmla="*/ 412058 w 499499"/>
                    <a:gd name="connsiteY628" fmla="*/ 80435 h 572369"/>
                    <a:gd name="connsiteX629" fmla="*/ 408683 w 499499"/>
                    <a:gd name="connsiteY629" fmla="*/ 76561 h 572369"/>
                    <a:gd name="connsiteX630" fmla="*/ 404299 w 499499"/>
                    <a:gd name="connsiteY630" fmla="*/ 79245 h 572369"/>
                    <a:gd name="connsiteX631" fmla="*/ 399017 w 499499"/>
                    <a:gd name="connsiteY631" fmla="*/ 82487 h 572369"/>
                    <a:gd name="connsiteX632" fmla="*/ 397790 w 499499"/>
                    <a:gd name="connsiteY632" fmla="*/ 83240 h 572369"/>
                    <a:gd name="connsiteX633" fmla="*/ 397038 w 499499"/>
                    <a:gd name="connsiteY633" fmla="*/ 84454 h 572369"/>
                    <a:gd name="connsiteX634" fmla="*/ 395216 w 499499"/>
                    <a:gd name="connsiteY634" fmla="*/ 87368 h 572369"/>
                    <a:gd name="connsiteX635" fmla="*/ 393735 w 499499"/>
                    <a:gd name="connsiteY635" fmla="*/ 88765 h 572369"/>
                    <a:gd name="connsiteX636" fmla="*/ 393650 w 499499"/>
                    <a:gd name="connsiteY636" fmla="*/ 88607 h 572369"/>
                    <a:gd name="connsiteX637" fmla="*/ 393115 w 499499"/>
                    <a:gd name="connsiteY637" fmla="*/ 85559 h 572369"/>
                    <a:gd name="connsiteX638" fmla="*/ 393018 w 499499"/>
                    <a:gd name="connsiteY638" fmla="*/ 84976 h 572369"/>
                    <a:gd name="connsiteX639" fmla="*/ 392800 w 499499"/>
                    <a:gd name="connsiteY639" fmla="*/ 84418 h 572369"/>
                    <a:gd name="connsiteX640" fmla="*/ 391476 w 499499"/>
                    <a:gd name="connsiteY640" fmla="*/ 81018 h 572369"/>
                    <a:gd name="connsiteX641" fmla="*/ 390602 w 499499"/>
                    <a:gd name="connsiteY641" fmla="*/ 78771 h 572369"/>
                    <a:gd name="connsiteX642" fmla="*/ 388428 w 499499"/>
                    <a:gd name="connsiteY642" fmla="*/ 77739 h 572369"/>
                    <a:gd name="connsiteX643" fmla="*/ 384700 w 499499"/>
                    <a:gd name="connsiteY643" fmla="*/ 75966 h 572369"/>
                    <a:gd name="connsiteX644" fmla="*/ 383850 w 499499"/>
                    <a:gd name="connsiteY644" fmla="*/ 75565 h 572369"/>
                    <a:gd name="connsiteX645" fmla="*/ 382915 w 499499"/>
                    <a:gd name="connsiteY645" fmla="*/ 75432 h 572369"/>
                    <a:gd name="connsiteX646" fmla="*/ 369340 w 499499"/>
                    <a:gd name="connsiteY646" fmla="*/ 73598 h 572369"/>
                    <a:gd name="connsiteX647" fmla="*/ 366522 w 499499"/>
                    <a:gd name="connsiteY647" fmla="*/ 71607 h 572369"/>
                    <a:gd name="connsiteX648" fmla="*/ 362479 w 499499"/>
                    <a:gd name="connsiteY648" fmla="*/ 61431 h 572369"/>
                    <a:gd name="connsiteX649" fmla="*/ 362212 w 499499"/>
                    <a:gd name="connsiteY649" fmla="*/ 60763 h 572369"/>
                    <a:gd name="connsiteX650" fmla="*/ 361799 w 499499"/>
                    <a:gd name="connsiteY650" fmla="*/ 60168 h 572369"/>
                    <a:gd name="connsiteX651" fmla="*/ 357852 w 499499"/>
                    <a:gd name="connsiteY651" fmla="*/ 54570 h 572369"/>
                    <a:gd name="connsiteX652" fmla="*/ 357779 w 499499"/>
                    <a:gd name="connsiteY652" fmla="*/ 54157 h 572369"/>
                    <a:gd name="connsiteX653" fmla="*/ 358204 w 499499"/>
                    <a:gd name="connsiteY653" fmla="*/ 53283 h 572369"/>
                    <a:gd name="connsiteX654" fmla="*/ 360135 w 499499"/>
                    <a:gd name="connsiteY654" fmla="*/ 51280 h 572369"/>
                    <a:gd name="connsiteX655" fmla="*/ 360937 w 499499"/>
                    <a:gd name="connsiteY655" fmla="*/ 50454 h 572369"/>
                    <a:gd name="connsiteX656" fmla="*/ 361374 w 499499"/>
                    <a:gd name="connsiteY656" fmla="*/ 49385 h 572369"/>
                    <a:gd name="connsiteX657" fmla="*/ 362564 w 499499"/>
                    <a:gd name="connsiteY657" fmla="*/ 46483 h 572369"/>
                    <a:gd name="connsiteX658" fmla="*/ 363754 w 499499"/>
                    <a:gd name="connsiteY658" fmla="*/ 43593 h 572369"/>
                    <a:gd name="connsiteX659" fmla="*/ 362090 w 499499"/>
                    <a:gd name="connsiteY659" fmla="*/ 40946 h 572369"/>
                    <a:gd name="connsiteX660" fmla="*/ 359564 w 499499"/>
                    <a:gd name="connsiteY660" fmla="*/ 36927 h 572369"/>
                    <a:gd name="connsiteX661" fmla="*/ 358715 w 499499"/>
                    <a:gd name="connsiteY661" fmla="*/ 35567 h 572369"/>
                    <a:gd name="connsiteX662" fmla="*/ 357306 w 499499"/>
                    <a:gd name="connsiteY662" fmla="*/ 34814 h 572369"/>
                    <a:gd name="connsiteX663" fmla="*/ 355703 w 499499"/>
                    <a:gd name="connsiteY663" fmla="*/ 33952 h 572369"/>
                    <a:gd name="connsiteX664" fmla="*/ 354768 w 499499"/>
                    <a:gd name="connsiteY664" fmla="*/ 33442 h 572369"/>
                    <a:gd name="connsiteX665" fmla="*/ 353724 w 499499"/>
                    <a:gd name="connsiteY665" fmla="*/ 33284 h 572369"/>
                    <a:gd name="connsiteX666" fmla="*/ 350239 w 499499"/>
                    <a:gd name="connsiteY666" fmla="*/ 32774 h 572369"/>
                    <a:gd name="connsiteX667" fmla="*/ 350239 w 499499"/>
                    <a:gd name="connsiteY667" fmla="*/ 32762 h 572369"/>
                    <a:gd name="connsiteX668" fmla="*/ 350081 w 499499"/>
                    <a:gd name="connsiteY668" fmla="*/ 31499 h 572369"/>
                    <a:gd name="connsiteX669" fmla="*/ 349437 w 499499"/>
                    <a:gd name="connsiteY669" fmla="*/ 30406 h 572369"/>
                    <a:gd name="connsiteX670" fmla="*/ 348527 w 499499"/>
                    <a:gd name="connsiteY670" fmla="*/ 28864 h 572369"/>
                    <a:gd name="connsiteX671" fmla="*/ 347324 w 499499"/>
                    <a:gd name="connsiteY671" fmla="*/ 26836 h 572369"/>
                    <a:gd name="connsiteX672" fmla="*/ 345066 w 499499"/>
                    <a:gd name="connsiteY672" fmla="*/ 26144 h 572369"/>
                    <a:gd name="connsiteX673" fmla="*/ 340925 w 499499"/>
                    <a:gd name="connsiteY673" fmla="*/ 24881 h 572369"/>
                    <a:gd name="connsiteX674" fmla="*/ 339541 w 499499"/>
                    <a:gd name="connsiteY674" fmla="*/ 24456 h 572369"/>
                    <a:gd name="connsiteX675" fmla="*/ 338108 w 499499"/>
                    <a:gd name="connsiteY675" fmla="*/ 24711 h 572369"/>
                    <a:gd name="connsiteX676" fmla="*/ 333761 w 499499"/>
                    <a:gd name="connsiteY676" fmla="*/ 25464 h 572369"/>
                    <a:gd name="connsiteX677" fmla="*/ 333251 w 499499"/>
                    <a:gd name="connsiteY677" fmla="*/ 25549 h 572369"/>
                    <a:gd name="connsiteX678" fmla="*/ 332765 w 499499"/>
                    <a:gd name="connsiteY678" fmla="*/ 25719 h 572369"/>
                    <a:gd name="connsiteX679" fmla="*/ 325819 w 499499"/>
                    <a:gd name="connsiteY679" fmla="*/ 28184 h 572369"/>
                    <a:gd name="connsiteX680" fmla="*/ 322796 w 499499"/>
                    <a:gd name="connsiteY680" fmla="*/ 27467 h 572369"/>
                    <a:gd name="connsiteX681" fmla="*/ 322638 w 499499"/>
                    <a:gd name="connsiteY681" fmla="*/ 27030 h 572369"/>
                    <a:gd name="connsiteX682" fmla="*/ 323184 w 499499"/>
                    <a:gd name="connsiteY682" fmla="*/ 21991 h 572369"/>
                    <a:gd name="connsiteX683" fmla="*/ 323257 w 499499"/>
                    <a:gd name="connsiteY683" fmla="*/ 21262 h 572369"/>
                    <a:gd name="connsiteX684" fmla="*/ 323172 w 499499"/>
                    <a:gd name="connsiteY684" fmla="*/ 20546 h 572369"/>
                    <a:gd name="connsiteX685" fmla="*/ 322310 w 499499"/>
                    <a:gd name="connsiteY685" fmla="*/ 13819 h 572369"/>
                    <a:gd name="connsiteX686" fmla="*/ 322055 w 499499"/>
                    <a:gd name="connsiteY686" fmla="*/ 11876 h 572369"/>
                    <a:gd name="connsiteX687" fmla="*/ 320719 w 499499"/>
                    <a:gd name="connsiteY687" fmla="*/ 10443 h 572369"/>
                    <a:gd name="connsiteX688" fmla="*/ 316287 w 499499"/>
                    <a:gd name="connsiteY688" fmla="*/ 5719 h 572369"/>
                    <a:gd name="connsiteX689" fmla="*/ 315388 w 499499"/>
                    <a:gd name="connsiteY689" fmla="*/ 4760 h 572369"/>
                    <a:gd name="connsiteX690" fmla="*/ 314174 w 499499"/>
                    <a:gd name="connsiteY690" fmla="*/ 4250 h 572369"/>
                    <a:gd name="connsiteX691" fmla="*/ 307350 w 499499"/>
                    <a:gd name="connsiteY691" fmla="*/ 1433 h 572369"/>
                    <a:gd name="connsiteX692" fmla="*/ 306633 w 499499"/>
                    <a:gd name="connsiteY692" fmla="*/ 1141 h 572369"/>
                    <a:gd name="connsiteX693" fmla="*/ 305868 w 499499"/>
                    <a:gd name="connsiteY693" fmla="*/ 1044 h 572369"/>
                    <a:gd name="connsiteX694" fmla="*/ 298352 w 499499"/>
                    <a:gd name="connsiteY694" fmla="*/ 12 h 572369"/>
                    <a:gd name="connsiteX695" fmla="*/ 297708 w 499499"/>
                    <a:gd name="connsiteY695" fmla="*/ 0 h 572369"/>
                    <a:gd name="connsiteX696" fmla="*/ 297708 w 499499"/>
                    <a:gd name="connsiteY696" fmla="*/ 0 h 572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Lst>
                  <a:rect l="l" t="t" r="r" b="b"/>
                  <a:pathLst>
                    <a:path w="499499" h="572369">
                      <a:moveTo>
                        <a:pt x="297575" y="6096"/>
                      </a:moveTo>
                      <a:lnTo>
                        <a:pt x="305091" y="7128"/>
                      </a:lnTo>
                      <a:lnTo>
                        <a:pt x="311916" y="9945"/>
                      </a:lnTo>
                      <a:lnTo>
                        <a:pt x="316348" y="14669"/>
                      </a:lnTo>
                      <a:lnTo>
                        <a:pt x="317210" y="21396"/>
                      </a:lnTo>
                      <a:lnTo>
                        <a:pt x="316506" y="27832"/>
                      </a:lnTo>
                      <a:lnTo>
                        <a:pt x="318242" y="32677"/>
                      </a:lnTo>
                      <a:lnTo>
                        <a:pt x="326220" y="34571"/>
                      </a:lnTo>
                      <a:lnTo>
                        <a:pt x="334841" y="31511"/>
                      </a:lnTo>
                      <a:lnTo>
                        <a:pt x="339189" y="30758"/>
                      </a:lnTo>
                      <a:lnTo>
                        <a:pt x="343329" y="32021"/>
                      </a:lnTo>
                      <a:lnTo>
                        <a:pt x="344240" y="33563"/>
                      </a:lnTo>
                      <a:lnTo>
                        <a:pt x="344483" y="35555"/>
                      </a:lnTo>
                      <a:lnTo>
                        <a:pt x="344993" y="37388"/>
                      </a:lnTo>
                      <a:lnTo>
                        <a:pt x="346839" y="38481"/>
                      </a:lnTo>
                      <a:lnTo>
                        <a:pt x="352862" y="39367"/>
                      </a:lnTo>
                      <a:lnTo>
                        <a:pt x="354464" y="40230"/>
                      </a:lnTo>
                      <a:lnTo>
                        <a:pt x="356990" y="44249"/>
                      </a:lnTo>
                      <a:lnTo>
                        <a:pt x="355800" y="47151"/>
                      </a:lnTo>
                      <a:lnTo>
                        <a:pt x="353214" y="49847"/>
                      </a:lnTo>
                      <a:lnTo>
                        <a:pt x="351489" y="53380"/>
                      </a:lnTo>
                      <a:lnTo>
                        <a:pt x="352182" y="57060"/>
                      </a:lnTo>
                      <a:lnTo>
                        <a:pt x="356881" y="63738"/>
                      </a:lnTo>
                      <a:lnTo>
                        <a:pt x="361592" y="75602"/>
                      </a:lnTo>
                      <a:lnTo>
                        <a:pt x="367105" y="79476"/>
                      </a:lnTo>
                      <a:lnTo>
                        <a:pt x="382150" y="81516"/>
                      </a:lnTo>
                      <a:lnTo>
                        <a:pt x="385878" y="83288"/>
                      </a:lnTo>
                      <a:lnTo>
                        <a:pt x="387202" y="86688"/>
                      </a:lnTo>
                      <a:lnTo>
                        <a:pt x="387894" y="90623"/>
                      </a:lnTo>
                      <a:lnTo>
                        <a:pt x="389618" y="94035"/>
                      </a:lnTo>
                      <a:lnTo>
                        <a:pt x="393237" y="95614"/>
                      </a:lnTo>
                      <a:lnTo>
                        <a:pt x="396843" y="94314"/>
                      </a:lnTo>
                      <a:lnTo>
                        <a:pt x="400013" y="91339"/>
                      </a:lnTo>
                      <a:lnTo>
                        <a:pt x="402247" y="87745"/>
                      </a:lnTo>
                      <a:lnTo>
                        <a:pt x="407529" y="84503"/>
                      </a:lnTo>
                      <a:lnTo>
                        <a:pt x="413091" y="90878"/>
                      </a:lnTo>
                      <a:lnTo>
                        <a:pt x="417693" y="100665"/>
                      </a:lnTo>
                      <a:lnTo>
                        <a:pt x="419939" y="107671"/>
                      </a:lnTo>
                      <a:lnTo>
                        <a:pt x="421081" y="114192"/>
                      </a:lnTo>
                      <a:lnTo>
                        <a:pt x="423145" y="121138"/>
                      </a:lnTo>
                      <a:lnTo>
                        <a:pt x="426533" y="126906"/>
                      </a:lnTo>
                      <a:lnTo>
                        <a:pt x="431876" y="129832"/>
                      </a:lnTo>
                      <a:lnTo>
                        <a:pt x="437389" y="128606"/>
                      </a:lnTo>
                      <a:lnTo>
                        <a:pt x="443132" y="124465"/>
                      </a:lnTo>
                      <a:lnTo>
                        <a:pt x="448123" y="118989"/>
                      </a:lnTo>
                      <a:lnTo>
                        <a:pt x="451450" y="113755"/>
                      </a:lnTo>
                      <a:lnTo>
                        <a:pt x="455773" y="100580"/>
                      </a:lnTo>
                      <a:lnTo>
                        <a:pt x="459319" y="96986"/>
                      </a:lnTo>
                      <a:lnTo>
                        <a:pt x="466155" y="98479"/>
                      </a:lnTo>
                      <a:lnTo>
                        <a:pt x="468632" y="100726"/>
                      </a:lnTo>
                      <a:lnTo>
                        <a:pt x="472130" y="106469"/>
                      </a:lnTo>
                      <a:lnTo>
                        <a:pt x="472943" y="107210"/>
                      </a:lnTo>
                      <a:lnTo>
                        <a:pt x="474303" y="108497"/>
                      </a:lnTo>
                      <a:lnTo>
                        <a:pt x="477412" y="108910"/>
                      </a:lnTo>
                      <a:lnTo>
                        <a:pt x="480290" y="107611"/>
                      </a:lnTo>
                      <a:lnTo>
                        <a:pt x="482985" y="106044"/>
                      </a:lnTo>
                      <a:lnTo>
                        <a:pt x="483155" y="105923"/>
                      </a:lnTo>
                      <a:lnTo>
                        <a:pt x="486203" y="105000"/>
                      </a:lnTo>
                      <a:lnTo>
                        <a:pt x="491473" y="108181"/>
                      </a:lnTo>
                      <a:lnTo>
                        <a:pt x="492918" y="113986"/>
                      </a:lnTo>
                      <a:lnTo>
                        <a:pt x="493380" y="115880"/>
                      </a:lnTo>
                      <a:lnTo>
                        <a:pt x="492457" y="124635"/>
                      </a:lnTo>
                      <a:lnTo>
                        <a:pt x="489409" y="130901"/>
                      </a:lnTo>
                      <a:lnTo>
                        <a:pt x="476489" y="141599"/>
                      </a:lnTo>
                      <a:lnTo>
                        <a:pt x="472360" y="148520"/>
                      </a:lnTo>
                      <a:lnTo>
                        <a:pt x="473453" y="157664"/>
                      </a:lnTo>
                      <a:lnTo>
                        <a:pt x="475736" y="166613"/>
                      </a:lnTo>
                      <a:lnTo>
                        <a:pt x="474364" y="173765"/>
                      </a:lnTo>
                      <a:lnTo>
                        <a:pt x="470235" y="179934"/>
                      </a:lnTo>
                      <a:lnTo>
                        <a:pt x="464261" y="186054"/>
                      </a:lnTo>
                      <a:lnTo>
                        <a:pt x="458809" y="193121"/>
                      </a:lnTo>
                      <a:lnTo>
                        <a:pt x="457024" y="199751"/>
                      </a:lnTo>
                      <a:lnTo>
                        <a:pt x="457837" y="236459"/>
                      </a:lnTo>
                      <a:lnTo>
                        <a:pt x="456283" y="242519"/>
                      </a:lnTo>
                      <a:lnTo>
                        <a:pt x="453514" y="247206"/>
                      </a:lnTo>
                      <a:lnTo>
                        <a:pt x="442792" y="258839"/>
                      </a:lnTo>
                      <a:lnTo>
                        <a:pt x="440485" y="262457"/>
                      </a:lnTo>
                      <a:lnTo>
                        <a:pt x="436866" y="270751"/>
                      </a:lnTo>
                      <a:lnTo>
                        <a:pt x="433770" y="284388"/>
                      </a:lnTo>
                      <a:lnTo>
                        <a:pt x="431014" y="287715"/>
                      </a:lnTo>
                      <a:lnTo>
                        <a:pt x="423606" y="289816"/>
                      </a:lnTo>
                      <a:lnTo>
                        <a:pt x="412763" y="287836"/>
                      </a:lnTo>
                      <a:lnTo>
                        <a:pt x="407007" y="286780"/>
                      </a:lnTo>
                      <a:lnTo>
                        <a:pt x="399430" y="287569"/>
                      </a:lnTo>
                      <a:lnTo>
                        <a:pt x="396673" y="290471"/>
                      </a:lnTo>
                      <a:lnTo>
                        <a:pt x="395240" y="294976"/>
                      </a:lnTo>
                      <a:lnTo>
                        <a:pt x="394269" y="299858"/>
                      </a:lnTo>
                      <a:lnTo>
                        <a:pt x="392666" y="303938"/>
                      </a:lnTo>
                      <a:lnTo>
                        <a:pt x="389388" y="307216"/>
                      </a:lnTo>
                      <a:lnTo>
                        <a:pt x="385878" y="308588"/>
                      </a:lnTo>
                      <a:lnTo>
                        <a:pt x="377779" y="310058"/>
                      </a:lnTo>
                      <a:lnTo>
                        <a:pt x="374051" y="311527"/>
                      </a:lnTo>
                      <a:lnTo>
                        <a:pt x="370724" y="313664"/>
                      </a:lnTo>
                      <a:lnTo>
                        <a:pt x="368538" y="316749"/>
                      </a:lnTo>
                      <a:lnTo>
                        <a:pt x="368477" y="320986"/>
                      </a:lnTo>
                      <a:lnTo>
                        <a:pt x="370323" y="323925"/>
                      </a:lnTo>
                      <a:lnTo>
                        <a:pt x="372970" y="326220"/>
                      </a:lnTo>
                      <a:lnTo>
                        <a:pt x="375047" y="328794"/>
                      </a:lnTo>
                      <a:lnTo>
                        <a:pt x="375265" y="332741"/>
                      </a:lnTo>
                      <a:lnTo>
                        <a:pt x="370542" y="338970"/>
                      </a:lnTo>
                      <a:lnTo>
                        <a:pt x="370141" y="339055"/>
                      </a:lnTo>
                      <a:lnTo>
                        <a:pt x="362455" y="340634"/>
                      </a:lnTo>
                      <a:lnTo>
                        <a:pt x="353675" y="339687"/>
                      </a:lnTo>
                      <a:lnTo>
                        <a:pt x="338788" y="336153"/>
                      </a:lnTo>
                      <a:lnTo>
                        <a:pt x="334951" y="336699"/>
                      </a:lnTo>
                      <a:lnTo>
                        <a:pt x="332595" y="339626"/>
                      </a:lnTo>
                      <a:lnTo>
                        <a:pt x="332425" y="343876"/>
                      </a:lnTo>
                      <a:lnTo>
                        <a:pt x="335291" y="352461"/>
                      </a:lnTo>
                      <a:lnTo>
                        <a:pt x="339711" y="373772"/>
                      </a:lnTo>
                      <a:lnTo>
                        <a:pt x="340282" y="382454"/>
                      </a:lnTo>
                      <a:lnTo>
                        <a:pt x="336784" y="387797"/>
                      </a:lnTo>
                      <a:lnTo>
                        <a:pt x="333227" y="388064"/>
                      </a:lnTo>
                      <a:lnTo>
                        <a:pt x="330239" y="387335"/>
                      </a:lnTo>
                      <a:lnTo>
                        <a:pt x="328418" y="388295"/>
                      </a:lnTo>
                      <a:lnTo>
                        <a:pt x="328236" y="393601"/>
                      </a:lnTo>
                      <a:lnTo>
                        <a:pt x="330239" y="401324"/>
                      </a:lnTo>
                      <a:lnTo>
                        <a:pt x="329717" y="404336"/>
                      </a:lnTo>
                      <a:lnTo>
                        <a:pt x="326220" y="407930"/>
                      </a:lnTo>
                      <a:lnTo>
                        <a:pt x="320999" y="412435"/>
                      </a:lnTo>
                      <a:lnTo>
                        <a:pt x="312899" y="422064"/>
                      </a:lnTo>
                      <a:lnTo>
                        <a:pt x="307386" y="424262"/>
                      </a:lnTo>
                      <a:lnTo>
                        <a:pt x="261680" y="421117"/>
                      </a:lnTo>
                      <a:lnTo>
                        <a:pt x="255937" y="422453"/>
                      </a:lnTo>
                      <a:lnTo>
                        <a:pt x="254504" y="423631"/>
                      </a:lnTo>
                      <a:lnTo>
                        <a:pt x="252039" y="426654"/>
                      </a:lnTo>
                      <a:lnTo>
                        <a:pt x="250132" y="427626"/>
                      </a:lnTo>
                      <a:lnTo>
                        <a:pt x="248578" y="427686"/>
                      </a:lnTo>
                      <a:lnTo>
                        <a:pt x="244219" y="426266"/>
                      </a:lnTo>
                      <a:lnTo>
                        <a:pt x="224705" y="425185"/>
                      </a:lnTo>
                      <a:lnTo>
                        <a:pt x="218621" y="430236"/>
                      </a:lnTo>
                      <a:lnTo>
                        <a:pt x="215744" y="437959"/>
                      </a:lnTo>
                      <a:lnTo>
                        <a:pt x="217638" y="446192"/>
                      </a:lnTo>
                      <a:lnTo>
                        <a:pt x="221147" y="453927"/>
                      </a:lnTo>
                      <a:lnTo>
                        <a:pt x="223491" y="461614"/>
                      </a:lnTo>
                      <a:lnTo>
                        <a:pt x="226587" y="468863"/>
                      </a:lnTo>
                      <a:lnTo>
                        <a:pt x="232392" y="475262"/>
                      </a:lnTo>
                      <a:lnTo>
                        <a:pt x="235209" y="478954"/>
                      </a:lnTo>
                      <a:lnTo>
                        <a:pt x="235949" y="483641"/>
                      </a:lnTo>
                      <a:lnTo>
                        <a:pt x="236119" y="488717"/>
                      </a:lnTo>
                      <a:lnTo>
                        <a:pt x="238997" y="498710"/>
                      </a:lnTo>
                      <a:lnTo>
                        <a:pt x="239289" y="503823"/>
                      </a:lnTo>
                      <a:lnTo>
                        <a:pt x="237334" y="506846"/>
                      </a:lnTo>
                      <a:lnTo>
                        <a:pt x="232392" y="505656"/>
                      </a:lnTo>
                      <a:lnTo>
                        <a:pt x="226587" y="503738"/>
                      </a:lnTo>
                      <a:lnTo>
                        <a:pt x="221366" y="503883"/>
                      </a:lnTo>
                      <a:lnTo>
                        <a:pt x="217346" y="506688"/>
                      </a:lnTo>
                      <a:lnTo>
                        <a:pt x="215331" y="512638"/>
                      </a:lnTo>
                      <a:lnTo>
                        <a:pt x="215634" y="517860"/>
                      </a:lnTo>
                      <a:lnTo>
                        <a:pt x="218840" y="527392"/>
                      </a:lnTo>
                      <a:lnTo>
                        <a:pt x="219933" y="533136"/>
                      </a:lnTo>
                      <a:lnTo>
                        <a:pt x="219241" y="542874"/>
                      </a:lnTo>
                      <a:lnTo>
                        <a:pt x="219532" y="547987"/>
                      </a:lnTo>
                      <a:lnTo>
                        <a:pt x="220455" y="552455"/>
                      </a:lnTo>
                      <a:lnTo>
                        <a:pt x="221086" y="555527"/>
                      </a:lnTo>
                      <a:lnTo>
                        <a:pt x="203916" y="540118"/>
                      </a:lnTo>
                      <a:lnTo>
                        <a:pt x="199545" y="533136"/>
                      </a:lnTo>
                      <a:lnTo>
                        <a:pt x="195878" y="520847"/>
                      </a:lnTo>
                      <a:lnTo>
                        <a:pt x="198221" y="480630"/>
                      </a:lnTo>
                      <a:lnTo>
                        <a:pt x="196958" y="467042"/>
                      </a:lnTo>
                      <a:lnTo>
                        <a:pt x="193813" y="453575"/>
                      </a:lnTo>
                      <a:lnTo>
                        <a:pt x="184560" y="427856"/>
                      </a:lnTo>
                      <a:lnTo>
                        <a:pt x="186236" y="409970"/>
                      </a:lnTo>
                      <a:lnTo>
                        <a:pt x="200468" y="400729"/>
                      </a:lnTo>
                      <a:lnTo>
                        <a:pt x="218719" y="393310"/>
                      </a:lnTo>
                      <a:lnTo>
                        <a:pt x="232392" y="380863"/>
                      </a:lnTo>
                      <a:lnTo>
                        <a:pt x="234116" y="376030"/>
                      </a:lnTo>
                      <a:lnTo>
                        <a:pt x="234687" y="371149"/>
                      </a:lnTo>
                      <a:lnTo>
                        <a:pt x="234116" y="366243"/>
                      </a:lnTo>
                      <a:lnTo>
                        <a:pt x="232392" y="361422"/>
                      </a:lnTo>
                      <a:lnTo>
                        <a:pt x="228773" y="354902"/>
                      </a:lnTo>
                      <a:lnTo>
                        <a:pt x="227692" y="352947"/>
                      </a:lnTo>
                      <a:lnTo>
                        <a:pt x="222289" y="348065"/>
                      </a:lnTo>
                      <a:lnTo>
                        <a:pt x="215452" y="345224"/>
                      </a:lnTo>
                      <a:lnTo>
                        <a:pt x="206721" y="342868"/>
                      </a:lnTo>
                      <a:lnTo>
                        <a:pt x="199666" y="339031"/>
                      </a:lnTo>
                      <a:lnTo>
                        <a:pt x="190073" y="327131"/>
                      </a:lnTo>
                      <a:lnTo>
                        <a:pt x="173948" y="315449"/>
                      </a:lnTo>
                      <a:lnTo>
                        <a:pt x="163201" y="311199"/>
                      </a:lnTo>
                      <a:lnTo>
                        <a:pt x="120482" y="304399"/>
                      </a:lnTo>
                      <a:lnTo>
                        <a:pt x="112213" y="301072"/>
                      </a:lnTo>
                      <a:lnTo>
                        <a:pt x="104806" y="294661"/>
                      </a:lnTo>
                      <a:lnTo>
                        <a:pt x="100556" y="287399"/>
                      </a:lnTo>
                      <a:lnTo>
                        <a:pt x="88959" y="247230"/>
                      </a:lnTo>
                      <a:lnTo>
                        <a:pt x="87283" y="243527"/>
                      </a:lnTo>
                      <a:lnTo>
                        <a:pt x="79706" y="234407"/>
                      </a:lnTo>
                      <a:lnTo>
                        <a:pt x="77071" y="227109"/>
                      </a:lnTo>
                      <a:lnTo>
                        <a:pt x="75408" y="210996"/>
                      </a:lnTo>
                      <a:lnTo>
                        <a:pt x="73683" y="203248"/>
                      </a:lnTo>
                      <a:lnTo>
                        <a:pt x="56112" y="173729"/>
                      </a:lnTo>
                      <a:lnTo>
                        <a:pt x="49507" y="157858"/>
                      </a:lnTo>
                      <a:lnTo>
                        <a:pt x="51170" y="141113"/>
                      </a:lnTo>
                      <a:lnTo>
                        <a:pt x="56453" y="130354"/>
                      </a:lnTo>
                      <a:lnTo>
                        <a:pt x="59731" y="118673"/>
                      </a:lnTo>
                      <a:lnTo>
                        <a:pt x="57606" y="110404"/>
                      </a:lnTo>
                      <a:lnTo>
                        <a:pt x="46641" y="109881"/>
                      </a:lnTo>
                      <a:lnTo>
                        <a:pt x="41407" y="112431"/>
                      </a:lnTo>
                      <a:lnTo>
                        <a:pt x="32919" y="121199"/>
                      </a:lnTo>
                      <a:lnTo>
                        <a:pt x="27406" y="123324"/>
                      </a:lnTo>
                      <a:lnTo>
                        <a:pt x="22513" y="122146"/>
                      </a:lnTo>
                      <a:lnTo>
                        <a:pt x="18214" y="118843"/>
                      </a:lnTo>
                      <a:lnTo>
                        <a:pt x="14657" y="114301"/>
                      </a:lnTo>
                      <a:lnTo>
                        <a:pt x="11827" y="109602"/>
                      </a:lnTo>
                      <a:lnTo>
                        <a:pt x="17340" y="110367"/>
                      </a:lnTo>
                      <a:lnTo>
                        <a:pt x="23096" y="112006"/>
                      </a:lnTo>
                      <a:lnTo>
                        <a:pt x="28657" y="112516"/>
                      </a:lnTo>
                      <a:lnTo>
                        <a:pt x="33369" y="109881"/>
                      </a:lnTo>
                      <a:lnTo>
                        <a:pt x="36538" y="103798"/>
                      </a:lnTo>
                      <a:lnTo>
                        <a:pt x="38311" y="98661"/>
                      </a:lnTo>
                      <a:lnTo>
                        <a:pt x="40837" y="95468"/>
                      </a:lnTo>
                      <a:lnTo>
                        <a:pt x="46410" y="95128"/>
                      </a:lnTo>
                      <a:lnTo>
                        <a:pt x="63058" y="100070"/>
                      </a:lnTo>
                      <a:lnTo>
                        <a:pt x="68340" y="100459"/>
                      </a:lnTo>
                      <a:lnTo>
                        <a:pt x="70866" y="99111"/>
                      </a:lnTo>
                      <a:lnTo>
                        <a:pt x="73465" y="90938"/>
                      </a:lnTo>
                      <a:lnTo>
                        <a:pt x="75990" y="86057"/>
                      </a:lnTo>
                      <a:lnTo>
                        <a:pt x="79645" y="82268"/>
                      </a:lnTo>
                      <a:lnTo>
                        <a:pt x="84126" y="79621"/>
                      </a:lnTo>
                      <a:lnTo>
                        <a:pt x="92335" y="77144"/>
                      </a:lnTo>
                      <a:lnTo>
                        <a:pt x="94521" y="75177"/>
                      </a:lnTo>
                      <a:lnTo>
                        <a:pt x="98261" y="69628"/>
                      </a:lnTo>
                      <a:lnTo>
                        <a:pt x="101017" y="67078"/>
                      </a:lnTo>
                      <a:lnTo>
                        <a:pt x="104174" y="65693"/>
                      </a:lnTo>
                      <a:lnTo>
                        <a:pt x="111169" y="63969"/>
                      </a:lnTo>
                      <a:lnTo>
                        <a:pt x="118066" y="60593"/>
                      </a:lnTo>
                      <a:lnTo>
                        <a:pt x="124392" y="56258"/>
                      </a:lnTo>
                      <a:lnTo>
                        <a:pt x="130925" y="52919"/>
                      </a:lnTo>
                      <a:lnTo>
                        <a:pt x="144768" y="51462"/>
                      </a:lnTo>
                      <a:lnTo>
                        <a:pt x="151592" y="48620"/>
                      </a:lnTo>
                      <a:lnTo>
                        <a:pt x="171653" y="35834"/>
                      </a:lnTo>
                      <a:lnTo>
                        <a:pt x="174008" y="33369"/>
                      </a:lnTo>
                      <a:lnTo>
                        <a:pt x="178817" y="24189"/>
                      </a:lnTo>
                      <a:lnTo>
                        <a:pt x="181173" y="21663"/>
                      </a:lnTo>
                      <a:lnTo>
                        <a:pt x="187208" y="19040"/>
                      </a:lnTo>
                      <a:lnTo>
                        <a:pt x="194214" y="18664"/>
                      </a:lnTo>
                      <a:lnTo>
                        <a:pt x="201208" y="19842"/>
                      </a:lnTo>
                      <a:lnTo>
                        <a:pt x="214019" y="24213"/>
                      </a:lnTo>
                      <a:lnTo>
                        <a:pt x="219872" y="25075"/>
                      </a:lnTo>
                      <a:lnTo>
                        <a:pt x="225737" y="24262"/>
                      </a:lnTo>
                      <a:lnTo>
                        <a:pt x="247728" y="16514"/>
                      </a:lnTo>
                      <a:lnTo>
                        <a:pt x="271322" y="14365"/>
                      </a:lnTo>
                      <a:lnTo>
                        <a:pt x="291248" y="6666"/>
                      </a:lnTo>
                      <a:lnTo>
                        <a:pt x="297575" y="6096"/>
                      </a:lnTo>
                      <a:moveTo>
                        <a:pt x="297708" y="0"/>
                      </a:moveTo>
                      <a:lnTo>
                        <a:pt x="297016" y="61"/>
                      </a:lnTo>
                      <a:lnTo>
                        <a:pt x="290690" y="631"/>
                      </a:lnTo>
                      <a:lnTo>
                        <a:pt x="289852" y="704"/>
                      </a:lnTo>
                      <a:lnTo>
                        <a:pt x="289063" y="1008"/>
                      </a:lnTo>
                      <a:lnTo>
                        <a:pt x="269925" y="8391"/>
                      </a:lnTo>
                      <a:lnTo>
                        <a:pt x="247182" y="10467"/>
                      </a:lnTo>
                      <a:lnTo>
                        <a:pt x="246429" y="10540"/>
                      </a:lnTo>
                      <a:lnTo>
                        <a:pt x="245712" y="10795"/>
                      </a:lnTo>
                      <a:lnTo>
                        <a:pt x="224292" y="18336"/>
                      </a:lnTo>
                      <a:lnTo>
                        <a:pt x="219896" y="18955"/>
                      </a:lnTo>
                      <a:lnTo>
                        <a:pt x="215452" y="18299"/>
                      </a:lnTo>
                      <a:lnTo>
                        <a:pt x="203163" y="14110"/>
                      </a:lnTo>
                      <a:lnTo>
                        <a:pt x="202690" y="13952"/>
                      </a:lnTo>
                      <a:lnTo>
                        <a:pt x="202204" y="13867"/>
                      </a:lnTo>
                      <a:lnTo>
                        <a:pt x="195210" y="12689"/>
                      </a:lnTo>
                      <a:lnTo>
                        <a:pt x="194542" y="12580"/>
                      </a:lnTo>
                      <a:lnTo>
                        <a:pt x="193874" y="12617"/>
                      </a:lnTo>
                      <a:lnTo>
                        <a:pt x="186868" y="12993"/>
                      </a:lnTo>
                      <a:lnTo>
                        <a:pt x="185775" y="13042"/>
                      </a:lnTo>
                      <a:lnTo>
                        <a:pt x="184767" y="13479"/>
                      </a:lnTo>
                      <a:lnTo>
                        <a:pt x="178732" y="16102"/>
                      </a:lnTo>
                      <a:lnTo>
                        <a:pt x="177566" y="16612"/>
                      </a:lnTo>
                      <a:lnTo>
                        <a:pt x="176704" y="17534"/>
                      </a:lnTo>
                      <a:lnTo>
                        <a:pt x="174348" y="20060"/>
                      </a:lnTo>
                      <a:lnTo>
                        <a:pt x="173790" y="20655"/>
                      </a:lnTo>
                      <a:lnTo>
                        <a:pt x="173413" y="21384"/>
                      </a:lnTo>
                      <a:lnTo>
                        <a:pt x="169005" y="29799"/>
                      </a:lnTo>
                      <a:lnTo>
                        <a:pt x="167742" y="31110"/>
                      </a:lnTo>
                      <a:lnTo>
                        <a:pt x="148751" y="43229"/>
                      </a:lnTo>
                      <a:lnTo>
                        <a:pt x="143226" y="45524"/>
                      </a:lnTo>
                      <a:lnTo>
                        <a:pt x="130269" y="46896"/>
                      </a:lnTo>
                      <a:lnTo>
                        <a:pt x="129140" y="47017"/>
                      </a:lnTo>
                      <a:lnTo>
                        <a:pt x="128132" y="47527"/>
                      </a:lnTo>
                      <a:lnTo>
                        <a:pt x="121599" y="50867"/>
                      </a:lnTo>
                      <a:lnTo>
                        <a:pt x="121247" y="51049"/>
                      </a:lnTo>
                      <a:lnTo>
                        <a:pt x="120932" y="51267"/>
                      </a:lnTo>
                      <a:lnTo>
                        <a:pt x="114969" y="55348"/>
                      </a:lnTo>
                      <a:lnTo>
                        <a:pt x="109056" y="58238"/>
                      </a:lnTo>
                      <a:lnTo>
                        <a:pt x="102693" y="59804"/>
                      </a:lnTo>
                      <a:lnTo>
                        <a:pt x="102183" y="59925"/>
                      </a:lnTo>
                      <a:lnTo>
                        <a:pt x="101697" y="60132"/>
                      </a:lnTo>
                      <a:lnTo>
                        <a:pt x="98540" y="61516"/>
                      </a:lnTo>
                      <a:lnTo>
                        <a:pt x="97605" y="61929"/>
                      </a:lnTo>
                      <a:lnTo>
                        <a:pt x="96852" y="62621"/>
                      </a:lnTo>
                      <a:lnTo>
                        <a:pt x="94096" y="65171"/>
                      </a:lnTo>
                      <a:lnTo>
                        <a:pt x="93573" y="65657"/>
                      </a:lnTo>
                      <a:lnTo>
                        <a:pt x="93173" y="66240"/>
                      </a:lnTo>
                      <a:lnTo>
                        <a:pt x="89870" y="71170"/>
                      </a:lnTo>
                      <a:lnTo>
                        <a:pt x="89250" y="71716"/>
                      </a:lnTo>
                      <a:lnTo>
                        <a:pt x="82329" y="73805"/>
                      </a:lnTo>
                      <a:lnTo>
                        <a:pt x="81625" y="74023"/>
                      </a:lnTo>
                      <a:lnTo>
                        <a:pt x="80993" y="74400"/>
                      </a:lnTo>
                      <a:lnTo>
                        <a:pt x="76513" y="77047"/>
                      </a:lnTo>
                      <a:lnTo>
                        <a:pt x="75808" y="77460"/>
                      </a:lnTo>
                      <a:lnTo>
                        <a:pt x="75238" y="78055"/>
                      </a:lnTo>
                      <a:lnTo>
                        <a:pt x="71582" y="81843"/>
                      </a:lnTo>
                      <a:lnTo>
                        <a:pt x="70963" y="82475"/>
                      </a:lnTo>
                      <a:lnTo>
                        <a:pt x="70562" y="83264"/>
                      </a:lnTo>
                      <a:lnTo>
                        <a:pt x="68037" y="88146"/>
                      </a:lnTo>
                      <a:lnTo>
                        <a:pt x="67794" y="88607"/>
                      </a:lnTo>
                      <a:lnTo>
                        <a:pt x="67636" y="89105"/>
                      </a:lnTo>
                      <a:lnTo>
                        <a:pt x="66009" y="94205"/>
                      </a:lnTo>
                      <a:lnTo>
                        <a:pt x="64115" y="94059"/>
                      </a:lnTo>
                      <a:lnTo>
                        <a:pt x="48098" y="89299"/>
                      </a:lnTo>
                      <a:lnTo>
                        <a:pt x="47066" y="88996"/>
                      </a:lnTo>
                      <a:lnTo>
                        <a:pt x="45997" y="89056"/>
                      </a:lnTo>
                      <a:lnTo>
                        <a:pt x="40424" y="89396"/>
                      </a:lnTo>
                      <a:lnTo>
                        <a:pt x="37716" y="89566"/>
                      </a:lnTo>
                      <a:lnTo>
                        <a:pt x="36028" y="91691"/>
                      </a:lnTo>
                      <a:lnTo>
                        <a:pt x="33502" y="94885"/>
                      </a:lnTo>
                      <a:lnTo>
                        <a:pt x="32859" y="95699"/>
                      </a:lnTo>
                      <a:lnTo>
                        <a:pt x="32519" y="96682"/>
                      </a:lnTo>
                      <a:lnTo>
                        <a:pt x="30892" y="101406"/>
                      </a:lnTo>
                      <a:lnTo>
                        <a:pt x="28766" y="105474"/>
                      </a:lnTo>
                      <a:lnTo>
                        <a:pt x="27285" y="106299"/>
                      </a:lnTo>
                      <a:lnTo>
                        <a:pt x="24152" y="106020"/>
                      </a:lnTo>
                      <a:lnTo>
                        <a:pt x="18943" y="104539"/>
                      </a:lnTo>
                      <a:lnTo>
                        <a:pt x="18530" y="104429"/>
                      </a:lnTo>
                      <a:lnTo>
                        <a:pt x="18117" y="104369"/>
                      </a:lnTo>
                      <a:lnTo>
                        <a:pt x="12604" y="103604"/>
                      </a:lnTo>
                      <a:lnTo>
                        <a:pt x="0" y="101855"/>
                      </a:lnTo>
                      <a:lnTo>
                        <a:pt x="6569" y="112747"/>
                      </a:lnTo>
                      <a:lnTo>
                        <a:pt x="9399" y="117446"/>
                      </a:lnTo>
                      <a:lnTo>
                        <a:pt x="9593" y="117762"/>
                      </a:lnTo>
                      <a:lnTo>
                        <a:pt x="9824" y="118054"/>
                      </a:lnTo>
                      <a:lnTo>
                        <a:pt x="13381" y="122595"/>
                      </a:lnTo>
                      <a:lnTo>
                        <a:pt x="13855" y="123202"/>
                      </a:lnTo>
                      <a:lnTo>
                        <a:pt x="14462" y="123676"/>
                      </a:lnTo>
                      <a:lnTo>
                        <a:pt x="18761" y="126979"/>
                      </a:lnTo>
                      <a:lnTo>
                        <a:pt x="19781" y="127756"/>
                      </a:lnTo>
                      <a:lnTo>
                        <a:pt x="21032" y="128059"/>
                      </a:lnTo>
                      <a:lnTo>
                        <a:pt x="25925" y="129237"/>
                      </a:lnTo>
                      <a:lnTo>
                        <a:pt x="27771" y="129687"/>
                      </a:lnTo>
                      <a:lnTo>
                        <a:pt x="29544" y="129007"/>
                      </a:lnTo>
                      <a:lnTo>
                        <a:pt x="35057" y="126882"/>
                      </a:lnTo>
                      <a:lnTo>
                        <a:pt x="36307" y="126396"/>
                      </a:lnTo>
                      <a:lnTo>
                        <a:pt x="37230" y="125437"/>
                      </a:lnTo>
                      <a:lnTo>
                        <a:pt x="44977" y="117434"/>
                      </a:lnTo>
                      <a:lnTo>
                        <a:pt x="47855" y="116026"/>
                      </a:lnTo>
                      <a:lnTo>
                        <a:pt x="52797" y="116269"/>
                      </a:lnTo>
                      <a:lnTo>
                        <a:pt x="53405" y="118612"/>
                      </a:lnTo>
                      <a:lnTo>
                        <a:pt x="50709" y="128193"/>
                      </a:lnTo>
                      <a:lnTo>
                        <a:pt x="45670" y="138454"/>
                      </a:lnTo>
                      <a:lnTo>
                        <a:pt x="45184" y="139437"/>
                      </a:lnTo>
                      <a:lnTo>
                        <a:pt x="45074" y="140530"/>
                      </a:lnTo>
                      <a:lnTo>
                        <a:pt x="43411" y="157275"/>
                      </a:lnTo>
                      <a:lnTo>
                        <a:pt x="43265" y="158793"/>
                      </a:lnTo>
                      <a:lnTo>
                        <a:pt x="43848" y="160202"/>
                      </a:lnTo>
                      <a:lnTo>
                        <a:pt x="50454" y="176073"/>
                      </a:lnTo>
                      <a:lnTo>
                        <a:pt x="50624" y="176473"/>
                      </a:lnTo>
                      <a:lnTo>
                        <a:pt x="50842" y="176850"/>
                      </a:lnTo>
                      <a:lnTo>
                        <a:pt x="67915" y="205531"/>
                      </a:lnTo>
                      <a:lnTo>
                        <a:pt x="69360" y="211979"/>
                      </a:lnTo>
                      <a:lnTo>
                        <a:pt x="70988" y="227741"/>
                      </a:lnTo>
                      <a:lnTo>
                        <a:pt x="71060" y="228481"/>
                      </a:lnTo>
                      <a:lnTo>
                        <a:pt x="71315" y="229174"/>
                      </a:lnTo>
                      <a:lnTo>
                        <a:pt x="73950" y="236472"/>
                      </a:lnTo>
                      <a:lnTo>
                        <a:pt x="74315" y="237479"/>
                      </a:lnTo>
                      <a:lnTo>
                        <a:pt x="74995" y="238293"/>
                      </a:lnTo>
                      <a:lnTo>
                        <a:pt x="82050" y="246781"/>
                      </a:lnTo>
                      <a:lnTo>
                        <a:pt x="83216" y="249343"/>
                      </a:lnTo>
                      <a:lnTo>
                        <a:pt x="94678" y="289087"/>
                      </a:lnTo>
                      <a:lnTo>
                        <a:pt x="94897" y="289816"/>
                      </a:lnTo>
                      <a:lnTo>
                        <a:pt x="95273" y="290471"/>
                      </a:lnTo>
                      <a:lnTo>
                        <a:pt x="99524" y="297733"/>
                      </a:lnTo>
                      <a:lnTo>
                        <a:pt x="100033" y="298595"/>
                      </a:lnTo>
                      <a:lnTo>
                        <a:pt x="100786" y="299251"/>
                      </a:lnTo>
                      <a:lnTo>
                        <a:pt x="108193" y="305662"/>
                      </a:lnTo>
                      <a:lnTo>
                        <a:pt x="108958" y="306330"/>
                      </a:lnTo>
                      <a:lnTo>
                        <a:pt x="109893" y="306706"/>
                      </a:lnTo>
                      <a:lnTo>
                        <a:pt x="118163" y="310034"/>
                      </a:lnTo>
                      <a:lnTo>
                        <a:pt x="118806" y="310289"/>
                      </a:lnTo>
                      <a:lnTo>
                        <a:pt x="119486" y="310398"/>
                      </a:lnTo>
                      <a:lnTo>
                        <a:pt x="161550" y="317089"/>
                      </a:lnTo>
                      <a:lnTo>
                        <a:pt x="170973" y="320816"/>
                      </a:lnTo>
                      <a:lnTo>
                        <a:pt x="185811" y="331575"/>
                      </a:lnTo>
                      <a:lnTo>
                        <a:pt x="194906" y="342844"/>
                      </a:lnTo>
                      <a:lnTo>
                        <a:pt x="195659" y="343791"/>
                      </a:lnTo>
                      <a:lnTo>
                        <a:pt x="196728" y="344374"/>
                      </a:lnTo>
                      <a:lnTo>
                        <a:pt x="203783" y="348211"/>
                      </a:lnTo>
                      <a:lnTo>
                        <a:pt x="204414" y="348551"/>
                      </a:lnTo>
                      <a:lnTo>
                        <a:pt x="205106" y="348745"/>
                      </a:lnTo>
                      <a:lnTo>
                        <a:pt x="213461" y="350992"/>
                      </a:lnTo>
                      <a:lnTo>
                        <a:pt x="218961" y="353274"/>
                      </a:lnTo>
                      <a:lnTo>
                        <a:pt x="222835" y="356784"/>
                      </a:lnTo>
                      <a:lnTo>
                        <a:pt x="223418" y="357852"/>
                      </a:lnTo>
                      <a:lnTo>
                        <a:pt x="226794" y="363948"/>
                      </a:lnTo>
                      <a:lnTo>
                        <a:pt x="228117" y="367652"/>
                      </a:lnTo>
                      <a:lnTo>
                        <a:pt x="228530" y="371173"/>
                      </a:lnTo>
                      <a:lnTo>
                        <a:pt x="228117" y="374658"/>
                      </a:lnTo>
                      <a:lnTo>
                        <a:pt x="227134" y="377415"/>
                      </a:lnTo>
                      <a:lnTo>
                        <a:pt x="215379" y="388113"/>
                      </a:lnTo>
                      <a:lnTo>
                        <a:pt x="198173" y="395107"/>
                      </a:lnTo>
                      <a:lnTo>
                        <a:pt x="197638" y="395325"/>
                      </a:lnTo>
                      <a:lnTo>
                        <a:pt x="197153" y="395641"/>
                      </a:lnTo>
                      <a:lnTo>
                        <a:pt x="182921" y="404882"/>
                      </a:lnTo>
                      <a:lnTo>
                        <a:pt x="180456" y="406485"/>
                      </a:lnTo>
                      <a:lnTo>
                        <a:pt x="180177" y="409411"/>
                      </a:lnTo>
                      <a:lnTo>
                        <a:pt x="178501" y="427298"/>
                      </a:lnTo>
                      <a:lnTo>
                        <a:pt x="178368" y="428646"/>
                      </a:lnTo>
                      <a:lnTo>
                        <a:pt x="178829" y="429921"/>
                      </a:lnTo>
                      <a:lnTo>
                        <a:pt x="187960" y="455299"/>
                      </a:lnTo>
                      <a:lnTo>
                        <a:pt x="190936" y="468025"/>
                      </a:lnTo>
                      <a:lnTo>
                        <a:pt x="192113" y="480739"/>
                      </a:lnTo>
                      <a:lnTo>
                        <a:pt x="189806" y="520495"/>
                      </a:lnTo>
                      <a:lnTo>
                        <a:pt x="189745" y="521563"/>
                      </a:lnTo>
                      <a:lnTo>
                        <a:pt x="190049" y="522583"/>
                      </a:lnTo>
                      <a:lnTo>
                        <a:pt x="193716" y="534872"/>
                      </a:lnTo>
                      <a:lnTo>
                        <a:pt x="193959" y="535661"/>
                      </a:lnTo>
                      <a:lnTo>
                        <a:pt x="194396" y="536354"/>
                      </a:lnTo>
                      <a:lnTo>
                        <a:pt x="198768" y="543336"/>
                      </a:lnTo>
                      <a:lnTo>
                        <a:pt x="199229" y="544064"/>
                      </a:lnTo>
                      <a:lnTo>
                        <a:pt x="199861" y="544635"/>
                      </a:lnTo>
                      <a:lnTo>
                        <a:pt x="217031" y="560044"/>
                      </a:lnTo>
                      <a:lnTo>
                        <a:pt x="230764" y="572370"/>
                      </a:lnTo>
                      <a:lnTo>
                        <a:pt x="227036" y="554301"/>
                      </a:lnTo>
                      <a:lnTo>
                        <a:pt x="226405" y="551229"/>
                      </a:lnTo>
                      <a:lnTo>
                        <a:pt x="225579" y="547197"/>
                      </a:lnTo>
                      <a:lnTo>
                        <a:pt x="225324" y="542911"/>
                      </a:lnTo>
                      <a:lnTo>
                        <a:pt x="225992" y="533561"/>
                      </a:lnTo>
                      <a:lnTo>
                        <a:pt x="226053" y="532771"/>
                      </a:lnTo>
                      <a:lnTo>
                        <a:pt x="225907" y="531994"/>
                      </a:lnTo>
                      <a:lnTo>
                        <a:pt x="224814" y="526251"/>
                      </a:lnTo>
                      <a:lnTo>
                        <a:pt x="224741" y="525838"/>
                      </a:lnTo>
                      <a:lnTo>
                        <a:pt x="224608" y="525437"/>
                      </a:lnTo>
                      <a:lnTo>
                        <a:pt x="221657" y="516682"/>
                      </a:lnTo>
                      <a:lnTo>
                        <a:pt x="221475" y="513452"/>
                      </a:lnTo>
                      <a:lnTo>
                        <a:pt x="222471" y="510501"/>
                      </a:lnTo>
                      <a:lnTo>
                        <a:pt x="223357" y="509882"/>
                      </a:lnTo>
                      <a:lnTo>
                        <a:pt x="225701" y="509821"/>
                      </a:lnTo>
                      <a:lnTo>
                        <a:pt x="230497" y="511400"/>
                      </a:lnTo>
                      <a:lnTo>
                        <a:pt x="235925" y="512736"/>
                      </a:lnTo>
                      <a:lnTo>
                        <a:pt x="240114" y="513743"/>
                      </a:lnTo>
                      <a:lnTo>
                        <a:pt x="242446" y="510125"/>
                      </a:lnTo>
                      <a:lnTo>
                        <a:pt x="244401" y="507101"/>
                      </a:lnTo>
                      <a:lnTo>
                        <a:pt x="245469" y="505438"/>
                      </a:lnTo>
                      <a:lnTo>
                        <a:pt x="245360" y="503458"/>
                      </a:lnTo>
                      <a:lnTo>
                        <a:pt x="245069" y="498346"/>
                      </a:lnTo>
                      <a:lnTo>
                        <a:pt x="245032" y="497666"/>
                      </a:lnTo>
                      <a:lnTo>
                        <a:pt x="244838" y="497010"/>
                      </a:lnTo>
                      <a:lnTo>
                        <a:pt x="242167" y="487745"/>
                      </a:lnTo>
                      <a:lnTo>
                        <a:pt x="242021" y="483423"/>
                      </a:lnTo>
                      <a:lnTo>
                        <a:pt x="242009" y="483046"/>
                      </a:lnTo>
                      <a:lnTo>
                        <a:pt x="241948" y="482670"/>
                      </a:lnTo>
                      <a:lnTo>
                        <a:pt x="241207" y="477982"/>
                      </a:lnTo>
                      <a:lnTo>
                        <a:pt x="240964" y="476465"/>
                      </a:lnTo>
                      <a:lnTo>
                        <a:pt x="240029" y="475238"/>
                      </a:lnTo>
                      <a:lnTo>
                        <a:pt x="237212" y="471547"/>
                      </a:lnTo>
                      <a:lnTo>
                        <a:pt x="231772" y="465524"/>
                      </a:lnTo>
                      <a:lnTo>
                        <a:pt x="229198" y="459501"/>
                      </a:lnTo>
                      <a:lnTo>
                        <a:pt x="226951" y="452130"/>
                      </a:lnTo>
                      <a:lnTo>
                        <a:pt x="226830" y="451754"/>
                      </a:lnTo>
                      <a:lnTo>
                        <a:pt x="226660" y="451389"/>
                      </a:lnTo>
                      <a:lnTo>
                        <a:pt x="223406" y="444213"/>
                      </a:lnTo>
                      <a:lnTo>
                        <a:pt x="222058" y="438348"/>
                      </a:lnTo>
                      <a:lnTo>
                        <a:pt x="223733" y="433843"/>
                      </a:lnTo>
                      <a:lnTo>
                        <a:pt x="226745" y="431354"/>
                      </a:lnTo>
                      <a:lnTo>
                        <a:pt x="243089" y="432252"/>
                      </a:lnTo>
                      <a:lnTo>
                        <a:pt x="246684" y="433430"/>
                      </a:lnTo>
                      <a:lnTo>
                        <a:pt x="247716" y="433770"/>
                      </a:lnTo>
                      <a:lnTo>
                        <a:pt x="248797" y="433734"/>
                      </a:lnTo>
                      <a:lnTo>
                        <a:pt x="250351" y="433673"/>
                      </a:lnTo>
                      <a:lnTo>
                        <a:pt x="251687" y="433624"/>
                      </a:lnTo>
                      <a:lnTo>
                        <a:pt x="252877" y="433017"/>
                      </a:lnTo>
                      <a:lnTo>
                        <a:pt x="254783" y="432046"/>
                      </a:lnTo>
                      <a:lnTo>
                        <a:pt x="255924" y="431463"/>
                      </a:lnTo>
                      <a:lnTo>
                        <a:pt x="256726" y="430467"/>
                      </a:lnTo>
                      <a:lnTo>
                        <a:pt x="258729" y="428002"/>
                      </a:lnTo>
                      <a:lnTo>
                        <a:pt x="262154" y="427213"/>
                      </a:lnTo>
                      <a:lnTo>
                        <a:pt x="306949" y="430297"/>
                      </a:lnTo>
                      <a:lnTo>
                        <a:pt x="308321" y="430394"/>
                      </a:lnTo>
                      <a:lnTo>
                        <a:pt x="309608" y="429884"/>
                      </a:lnTo>
                      <a:lnTo>
                        <a:pt x="315121" y="427686"/>
                      </a:lnTo>
                      <a:lnTo>
                        <a:pt x="316542" y="427128"/>
                      </a:lnTo>
                      <a:lnTo>
                        <a:pt x="317526" y="425962"/>
                      </a:lnTo>
                      <a:lnTo>
                        <a:pt x="325309" y="416709"/>
                      </a:lnTo>
                      <a:lnTo>
                        <a:pt x="330154" y="412520"/>
                      </a:lnTo>
                      <a:lnTo>
                        <a:pt x="334040" y="408561"/>
                      </a:lnTo>
                      <a:lnTo>
                        <a:pt x="335351" y="407213"/>
                      </a:lnTo>
                      <a:lnTo>
                        <a:pt x="335667" y="405368"/>
                      </a:lnTo>
                      <a:lnTo>
                        <a:pt x="336189" y="402356"/>
                      </a:lnTo>
                      <a:lnTo>
                        <a:pt x="336420" y="401069"/>
                      </a:lnTo>
                      <a:lnTo>
                        <a:pt x="336092" y="399806"/>
                      </a:lnTo>
                      <a:lnTo>
                        <a:pt x="334599" y="394050"/>
                      </a:lnTo>
                      <a:lnTo>
                        <a:pt x="337222" y="393856"/>
                      </a:lnTo>
                      <a:lnTo>
                        <a:pt x="340209" y="393625"/>
                      </a:lnTo>
                      <a:lnTo>
                        <a:pt x="341848" y="391124"/>
                      </a:lnTo>
                      <a:lnTo>
                        <a:pt x="345345" y="385781"/>
                      </a:lnTo>
                      <a:lnTo>
                        <a:pt x="346450" y="384081"/>
                      </a:lnTo>
                      <a:lnTo>
                        <a:pt x="346316" y="382053"/>
                      </a:lnTo>
                      <a:lnTo>
                        <a:pt x="345746" y="373371"/>
                      </a:lnTo>
                      <a:lnTo>
                        <a:pt x="345722" y="372946"/>
                      </a:lnTo>
                      <a:lnTo>
                        <a:pt x="345636" y="372533"/>
                      </a:lnTo>
                      <a:lnTo>
                        <a:pt x="341216" y="351222"/>
                      </a:lnTo>
                      <a:lnTo>
                        <a:pt x="341144" y="350870"/>
                      </a:lnTo>
                      <a:lnTo>
                        <a:pt x="341034" y="350530"/>
                      </a:lnTo>
                      <a:lnTo>
                        <a:pt x="338521" y="343002"/>
                      </a:lnTo>
                      <a:lnTo>
                        <a:pt x="338545" y="342322"/>
                      </a:lnTo>
                      <a:lnTo>
                        <a:pt x="352254" y="345576"/>
                      </a:lnTo>
                      <a:lnTo>
                        <a:pt x="352619" y="345661"/>
                      </a:lnTo>
                      <a:lnTo>
                        <a:pt x="352995" y="345697"/>
                      </a:lnTo>
                      <a:lnTo>
                        <a:pt x="361775" y="346644"/>
                      </a:lnTo>
                      <a:lnTo>
                        <a:pt x="362722" y="346742"/>
                      </a:lnTo>
                      <a:lnTo>
                        <a:pt x="363657" y="346547"/>
                      </a:lnTo>
                      <a:lnTo>
                        <a:pt x="371343" y="344969"/>
                      </a:lnTo>
                      <a:lnTo>
                        <a:pt x="373577" y="344507"/>
                      </a:lnTo>
                      <a:lnTo>
                        <a:pt x="375362" y="342601"/>
                      </a:lnTo>
                      <a:lnTo>
                        <a:pt x="380086" y="336372"/>
                      </a:lnTo>
                      <a:lnTo>
                        <a:pt x="381434" y="334599"/>
                      </a:lnTo>
                      <a:lnTo>
                        <a:pt x="381312" y="332364"/>
                      </a:lnTo>
                      <a:lnTo>
                        <a:pt x="381094" y="328418"/>
                      </a:lnTo>
                      <a:lnTo>
                        <a:pt x="380985" y="326463"/>
                      </a:lnTo>
                      <a:lnTo>
                        <a:pt x="379758" y="324945"/>
                      </a:lnTo>
                      <a:lnTo>
                        <a:pt x="377682" y="322371"/>
                      </a:lnTo>
                      <a:lnTo>
                        <a:pt x="377342" y="321946"/>
                      </a:lnTo>
                      <a:lnTo>
                        <a:pt x="376929" y="321594"/>
                      </a:lnTo>
                      <a:lnTo>
                        <a:pt x="374962" y="319881"/>
                      </a:lnTo>
                      <a:lnTo>
                        <a:pt x="374549" y="319226"/>
                      </a:lnTo>
                      <a:lnTo>
                        <a:pt x="374549" y="318667"/>
                      </a:lnTo>
                      <a:lnTo>
                        <a:pt x="374962" y="318084"/>
                      </a:lnTo>
                      <a:lnTo>
                        <a:pt x="376795" y="316906"/>
                      </a:lnTo>
                      <a:lnTo>
                        <a:pt x="379418" y="315874"/>
                      </a:lnTo>
                      <a:lnTo>
                        <a:pt x="386935" y="314514"/>
                      </a:lnTo>
                      <a:lnTo>
                        <a:pt x="387505" y="314405"/>
                      </a:lnTo>
                      <a:lnTo>
                        <a:pt x="388052" y="314186"/>
                      </a:lnTo>
                      <a:lnTo>
                        <a:pt x="391561" y="312814"/>
                      </a:lnTo>
                      <a:lnTo>
                        <a:pt x="392751" y="312353"/>
                      </a:lnTo>
                      <a:lnTo>
                        <a:pt x="393650" y="311454"/>
                      </a:lnTo>
                      <a:lnTo>
                        <a:pt x="396928" y="308176"/>
                      </a:lnTo>
                      <a:lnTo>
                        <a:pt x="397827" y="307277"/>
                      </a:lnTo>
                      <a:lnTo>
                        <a:pt x="398288" y="306099"/>
                      </a:lnTo>
                      <a:lnTo>
                        <a:pt x="399891" y="302019"/>
                      </a:lnTo>
                      <a:lnTo>
                        <a:pt x="400086" y="301509"/>
                      </a:lnTo>
                      <a:lnTo>
                        <a:pt x="400195" y="300987"/>
                      </a:lnTo>
                      <a:lnTo>
                        <a:pt x="401106" y="296433"/>
                      </a:lnTo>
                      <a:lnTo>
                        <a:pt x="402016" y="293592"/>
                      </a:lnTo>
                      <a:lnTo>
                        <a:pt x="402271" y="293325"/>
                      </a:lnTo>
                      <a:lnTo>
                        <a:pt x="406752" y="292863"/>
                      </a:lnTo>
                      <a:lnTo>
                        <a:pt x="411646" y="293762"/>
                      </a:lnTo>
                      <a:lnTo>
                        <a:pt x="422489" y="295741"/>
                      </a:lnTo>
                      <a:lnTo>
                        <a:pt x="423874" y="295996"/>
                      </a:lnTo>
                      <a:lnTo>
                        <a:pt x="425234" y="295608"/>
                      </a:lnTo>
                      <a:lnTo>
                        <a:pt x="432641" y="293507"/>
                      </a:lnTo>
                      <a:lnTo>
                        <a:pt x="434450" y="292997"/>
                      </a:lnTo>
                      <a:lnTo>
                        <a:pt x="435652" y="291552"/>
                      </a:lnTo>
                      <a:lnTo>
                        <a:pt x="438409" y="288225"/>
                      </a:lnTo>
                      <a:lnTo>
                        <a:pt x="439344" y="287108"/>
                      </a:lnTo>
                      <a:lnTo>
                        <a:pt x="439659" y="285699"/>
                      </a:lnTo>
                      <a:lnTo>
                        <a:pt x="442622" y="272621"/>
                      </a:lnTo>
                      <a:lnTo>
                        <a:pt x="445828" y="265287"/>
                      </a:lnTo>
                      <a:lnTo>
                        <a:pt x="447589" y="262518"/>
                      </a:lnTo>
                      <a:lnTo>
                        <a:pt x="457959" y="251286"/>
                      </a:lnTo>
                      <a:lnTo>
                        <a:pt x="458396" y="250812"/>
                      </a:lnTo>
                      <a:lnTo>
                        <a:pt x="458724" y="250266"/>
                      </a:lnTo>
                      <a:lnTo>
                        <a:pt x="461492" y="245579"/>
                      </a:lnTo>
                      <a:lnTo>
                        <a:pt x="461930" y="244826"/>
                      </a:lnTo>
                      <a:lnTo>
                        <a:pt x="462148" y="243988"/>
                      </a:lnTo>
                      <a:lnTo>
                        <a:pt x="463702" y="237929"/>
                      </a:lnTo>
                      <a:lnTo>
                        <a:pt x="463909" y="237127"/>
                      </a:lnTo>
                      <a:lnTo>
                        <a:pt x="463897" y="236289"/>
                      </a:lnTo>
                      <a:lnTo>
                        <a:pt x="463095" y="200456"/>
                      </a:lnTo>
                      <a:lnTo>
                        <a:pt x="464346" y="195841"/>
                      </a:lnTo>
                      <a:lnTo>
                        <a:pt x="468839" y="190013"/>
                      </a:lnTo>
                      <a:lnTo>
                        <a:pt x="474570" y="184148"/>
                      </a:lnTo>
                      <a:lnTo>
                        <a:pt x="474959" y="183747"/>
                      </a:lnTo>
                      <a:lnTo>
                        <a:pt x="475262" y="183273"/>
                      </a:lnTo>
                      <a:lnTo>
                        <a:pt x="479391" y="177105"/>
                      </a:lnTo>
                      <a:lnTo>
                        <a:pt x="480083" y="176085"/>
                      </a:lnTo>
                      <a:lnTo>
                        <a:pt x="480314" y="174870"/>
                      </a:lnTo>
                      <a:lnTo>
                        <a:pt x="481686" y="167718"/>
                      </a:lnTo>
                      <a:lnTo>
                        <a:pt x="481941" y="166383"/>
                      </a:lnTo>
                      <a:lnTo>
                        <a:pt x="481601" y="165071"/>
                      </a:lnTo>
                      <a:lnTo>
                        <a:pt x="479415" y="156510"/>
                      </a:lnTo>
                      <a:lnTo>
                        <a:pt x="478614" y="149807"/>
                      </a:lnTo>
                      <a:lnTo>
                        <a:pt x="481140" y="145557"/>
                      </a:lnTo>
                      <a:lnTo>
                        <a:pt x="493258" y="135527"/>
                      </a:lnTo>
                      <a:lnTo>
                        <a:pt x="494266" y="134689"/>
                      </a:lnTo>
                      <a:lnTo>
                        <a:pt x="494837" y="133512"/>
                      </a:lnTo>
                      <a:lnTo>
                        <a:pt x="497885" y="127246"/>
                      </a:lnTo>
                      <a:lnTo>
                        <a:pt x="498358" y="126287"/>
                      </a:lnTo>
                      <a:lnTo>
                        <a:pt x="498467" y="125230"/>
                      </a:lnTo>
                      <a:lnTo>
                        <a:pt x="499390" y="116475"/>
                      </a:lnTo>
                      <a:lnTo>
                        <a:pt x="499500" y="115419"/>
                      </a:lnTo>
                      <a:lnTo>
                        <a:pt x="499245" y="114399"/>
                      </a:lnTo>
                      <a:lnTo>
                        <a:pt x="498783" y="112504"/>
                      </a:lnTo>
                      <a:lnTo>
                        <a:pt x="497338" y="106676"/>
                      </a:lnTo>
                      <a:lnTo>
                        <a:pt x="496731" y="104235"/>
                      </a:lnTo>
                      <a:lnTo>
                        <a:pt x="494582" y="102948"/>
                      </a:lnTo>
                      <a:lnTo>
                        <a:pt x="489312" y="99754"/>
                      </a:lnTo>
                      <a:lnTo>
                        <a:pt x="487005" y="98358"/>
                      </a:lnTo>
                      <a:lnTo>
                        <a:pt x="484418" y="99135"/>
                      </a:lnTo>
                      <a:lnTo>
                        <a:pt x="481370" y="100058"/>
                      </a:lnTo>
                      <a:lnTo>
                        <a:pt x="480387" y="100349"/>
                      </a:lnTo>
                      <a:lnTo>
                        <a:pt x="479573" y="100944"/>
                      </a:lnTo>
                      <a:lnTo>
                        <a:pt x="477497" y="102134"/>
                      </a:lnTo>
                      <a:lnTo>
                        <a:pt x="476805" y="102450"/>
                      </a:lnTo>
                      <a:lnTo>
                        <a:pt x="473781" y="97508"/>
                      </a:lnTo>
                      <a:lnTo>
                        <a:pt x="473332" y="96755"/>
                      </a:lnTo>
                      <a:lnTo>
                        <a:pt x="472688" y="96172"/>
                      </a:lnTo>
                      <a:lnTo>
                        <a:pt x="470211" y="93926"/>
                      </a:lnTo>
                      <a:lnTo>
                        <a:pt x="469009" y="92833"/>
                      </a:lnTo>
                      <a:lnTo>
                        <a:pt x="467430" y="92493"/>
                      </a:lnTo>
                      <a:lnTo>
                        <a:pt x="460594" y="90999"/>
                      </a:lnTo>
                      <a:lnTo>
                        <a:pt x="457315" y="90283"/>
                      </a:lnTo>
                      <a:lnTo>
                        <a:pt x="454971" y="92663"/>
                      </a:lnTo>
                      <a:lnTo>
                        <a:pt x="451426" y="96257"/>
                      </a:lnTo>
                      <a:lnTo>
                        <a:pt x="450418" y="97265"/>
                      </a:lnTo>
                      <a:lnTo>
                        <a:pt x="449969" y="98613"/>
                      </a:lnTo>
                      <a:lnTo>
                        <a:pt x="445876" y="111071"/>
                      </a:lnTo>
                      <a:lnTo>
                        <a:pt x="443242" y="115224"/>
                      </a:lnTo>
                      <a:lnTo>
                        <a:pt x="439040" y="119839"/>
                      </a:lnTo>
                      <a:lnTo>
                        <a:pt x="434814" y="122874"/>
                      </a:lnTo>
                      <a:lnTo>
                        <a:pt x="432750" y="123336"/>
                      </a:lnTo>
                      <a:lnTo>
                        <a:pt x="430880" y="122316"/>
                      </a:lnTo>
                      <a:lnTo>
                        <a:pt x="428719" y="118624"/>
                      </a:lnTo>
                      <a:lnTo>
                        <a:pt x="426958" y="112723"/>
                      </a:lnTo>
                      <a:lnTo>
                        <a:pt x="425889" y="106554"/>
                      </a:lnTo>
                      <a:lnTo>
                        <a:pt x="425816" y="106141"/>
                      </a:lnTo>
                      <a:lnTo>
                        <a:pt x="425683" y="105741"/>
                      </a:lnTo>
                      <a:lnTo>
                        <a:pt x="423436" y="98734"/>
                      </a:lnTo>
                      <a:lnTo>
                        <a:pt x="423315" y="98358"/>
                      </a:lnTo>
                      <a:lnTo>
                        <a:pt x="423145" y="98006"/>
                      </a:lnTo>
                      <a:lnTo>
                        <a:pt x="418543" y="88218"/>
                      </a:lnTo>
                      <a:lnTo>
                        <a:pt x="418178" y="87453"/>
                      </a:lnTo>
                      <a:lnTo>
                        <a:pt x="417620" y="86810"/>
                      </a:lnTo>
                      <a:lnTo>
                        <a:pt x="412058" y="80435"/>
                      </a:lnTo>
                      <a:lnTo>
                        <a:pt x="408683" y="76561"/>
                      </a:lnTo>
                      <a:lnTo>
                        <a:pt x="404299" y="79245"/>
                      </a:lnTo>
                      <a:lnTo>
                        <a:pt x="399017" y="82487"/>
                      </a:lnTo>
                      <a:lnTo>
                        <a:pt x="397790" y="83240"/>
                      </a:lnTo>
                      <a:lnTo>
                        <a:pt x="397038" y="84454"/>
                      </a:lnTo>
                      <a:lnTo>
                        <a:pt x="395216" y="87368"/>
                      </a:lnTo>
                      <a:lnTo>
                        <a:pt x="393735" y="88765"/>
                      </a:lnTo>
                      <a:lnTo>
                        <a:pt x="393650" y="88607"/>
                      </a:lnTo>
                      <a:lnTo>
                        <a:pt x="393115" y="85559"/>
                      </a:lnTo>
                      <a:lnTo>
                        <a:pt x="393018" y="84976"/>
                      </a:lnTo>
                      <a:lnTo>
                        <a:pt x="392800" y="84418"/>
                      </a:lnTo>
                      <a:lnTo>
                        <a:pt x="391476" y="81018"/>
                      </a:lnTo>
                      <a:lnTo>
                        <a:pt x="390602" y="78771"/>
                      </a:lnTo>
                      <a:lnTo>
                        <a:pt x="388428" y="77739"/>
                      </a:lnTo>
                      <a:lnTo>
                        <a:pt x="384700" y="75966"/>
                      </a:lnTo>
                      <a:lnTo>
                        <a:pt x="383850" y="75565"/>
                      </a:lnTo>
                      <a:lnTo>
                        <a:pt x="382915" y="75432"/>
                      </a:lnTo>
                      <a:lnTo>
                        <a:pt x="369340" y="73598"/>
                      </a:lnTo>
                      <a:lnTo>
                        <a:pt x="366522" y="71607"/>
                      </a:lnTo>
                      <a:lnTo>
                        <a:pt x="362479" y="61431"/>
                      </a:lnTo>
                      <a:lnTo>
                        <a:pt x="362212" y="60763"/>
                      </a:lnTo>
                      <a:lnTo>
                        <a:pt x="361799" y="60168"/>
                      </a:lnTo>
                      <a:lnTo>
                        <a:pt x="357852" y="54570"/>
                      </a:lnTo>
                      <a:lnTo>
                        <a:pt x="357779" y="54157"/>
                      </a:lnTo>
                      <a:lnTo>
                        <a:pt x="358204" y="53283"/>
                      </a:lnTo>
                      <a:lnTo>
                        <a:pt x="360135" y="51280"/>
                      </a:lnTo>
                      <a:lnTo>
                        <a:pt x="360937" y="50454"/>
                      </a:lnTo>
                      <a:lnTo>
                        <a:pt x="361374" y="49385"/>
                      </a:lnTo>
                      <a:lnTo>
                        <a:pt x="362564" y="46483"/>
                      </a:lnTo>
                      <a:lnTo>
                        <a:pt x="363754" y="43593"/>
                      </a:lnTo>
                      <a:lnTo>
                        <a:pt x="362090" y="40946"/>
                      </a:lnTo>
                      <a:lnTo>
                        <a:pt x="359564" y="36927"/>
                      </a:lnTo>
                      <a:lnTo>
                        <a:pt x="358715" y="35567"/>
                      </a:lnTo>
                      <a:lnTo>
                        <a:pt x="357306" y="34814"/>
                      </a:lnTo>
                      <a:lnTo>
                        <a:pt x="355703" y="33952"/>
                      </a:lnTo>
                      <a:lnTo>
                        <a:pt x="354768" y="33442"/>
                      </a:lnTo>
                      <a:lnTo>
                        <a:pt x="353724" y="33284"/>
                      </a:lnTo>
                      <a:lnTo>
                        <a:pt x="350239" y="32774"/>
                      </a:lnTo>
                      <a:lnTo>
                        <a:pt x="350239" y="32762"/>
                      </a:lnTo>
                      <a:lnTo>
                        <a:pt x="350081" y="31499"/>
                      </a:lnTo>
                      <a:lnTo>
                        <a:pt x="349437" y="30406"/>
                      </a:lnTo>
                      <a:lnTo>
                        <a:pt x="348527" y="28864"/>
                      </a:lnTo>
                      <a:lnTo>
                        <a:pt x="347324" y="26836"/>
                      </a:lnTo>
                      <a:lnTo>
                        <a:pt x="345066" y="26144"/>
                      </a:lnTo>
                      <a:lnTo>
                        <a:pt x="340925" y="24881"/>
                      </a:lnTo>
                      <a:lnTo>
                        <a:pt x="339541" y="24456"/>
                      </a:lnTo>
                      <a:lnTo>
                        <a:pt x="338108" y="24711"/>
                      </a:lnTo>
                      <a:lnTo>
                        <a:pt x="333761" y="25464"/>
                      </a:lnTo>
                      <a:lnTo>
                        <a:pt x="333251" y="25549"/>
                      </a:lnTo>
                      <a:lnTo>
                        <a:pt x="332765" y="25719"/>
                      </a:lnTo>
                      <a:lnTo>
                        <a:pt x="325819" y="28184"/>
                      </a:lnTo>
                      <a:lnTo>
                        <a:pt x="322796" y="27467"/>
                      </a:lnTo>
                      <a:lnTo>
                        <a:pt x="322638" y="27030"/>
                      </a:lnTo>
                      <a:lnTo>
                        <a:pt x="323184" y="21991"/>
                      </a:lnTo>
                      <a:lnTo>
                        <a:pt x="323257" y="21262"/>
                      </a:lnTo>
                      <a:lnTo>
                        <a:pt x="323172" y="20546"/>
                      </a:lnTo>
                      <a:lnTo>
                        <a:pt x="322310" y="13819"/>
                      </a:lnTo>
                      <a:lnTo>
                        <a:pt x="322055" y="11876"/>
                      </a:lnTo>
                      <a:lnTo>
                        <a:pt x="320719" y="10443"/>
                      </a:lnTo>
                      <a:lnTo>
                        <a:pt x="316287" y="5719"/>
                      </a:lnTo>
                      <a:lnTo>
                        <a:pt x="315388" y="4760"/>
                      </a:lnTo>
                      <a:lnTo>
                        <a:pt x="314174" y="4250"/>
                      </a:lnTo>
                      <a:lnTo>
                        <a:pt x="307350" y="1433"/>
                      </a:lnTo>
                      <a:lnTo>
                        <a:pt x="306633" y="1141"/>
                      </a:lnTo>
                      <a:lnTo>
                        <a:pt x="305868" y="1044"/>
                      </a:lnTo>
                      <a:lnTo>
                        <a:pt x="298352" y="12"/>
                      </a:lnTo>
                      <a:lnTo>
                        <a:pt x="297708" y="0"/>
                      </a:lnTo>
                      <a:lnTo>
                        <a:pt x="297708" y="0"/>
                      </a:lnTo>
                      <a:close/>
                    </a:path>
                  </a:pathLst>
                </a:custGeom>
                <a:solidFill>
                  <a:srgbClr val="FFFFFF"/>
                </a:solidFill>
                <a:ln w="12138" cap="flat">
                  <a:noFill/>
                  <a:prstDash val="solid"/>
                  <a:miter/>
                </a:ln>
              </p:spPr>
              <p:txBody>
                <a:bodyPr rtlCol="0" anchor="ctr"/>
                <a:lstStyle/>
                <a:p>
                  <a:endParaRPr lang="en-US"/>
                </a:p>
              </p:txBody>
            </p:sp>
          </p:grpSp>
          <p:grpSp>
            <p:nvGrpSpPr>
              <p:cNvPr id="273" name="Graphic 280">
                <a:extLst>
                  <a:ext uri="{FF2B5EF4-FFF2-40B4-BE49-F238E27FC236}">
                    <a16:creationId xmlns:a16="http://schemas.microsoft.com/office/drawing/2014/main" id="{8530D301-4347-4801-9646-71A38518D8A5}"/>
                  </a:ext>
                </a:extLst>
              </p:cNvPr>
              <p:cNvGrpSpPr/>
              <p:nvPr/>
            </p:nvGrpSpPr>
            <p:grpSpPr>
              <a:xfrm>
                <a:off x="4408083" y="1139791"/>
                <a:ext cx="590377" cy="533244"/>
                <a:chOff x="4408083" y="1139791"/>
                <a:chExt cx="590377" cy="533244"/>
              </a:xfrm>
            </p:grpSpPr>
            <p:sp>
              <p:nvSpPr>
                <p:cNvPr id="304" name="Freeform: Shape 303">
                  <a:extLst>
                    <a:ext uri="{FF2B5EF4-FFF2-40B4-BE49-F238E27FC236}">
                      <a16:creationId xmlns:a16="http://schemas.microsoft.com/office/drawing/2014/main" id="{AB8B8030-D2FA-4196-BE9F-61A78448A5A2}"/>
                    </a:ext>
                  </a:extLst>
                </p:cNvPr>
                <p:cNvSpPr/>
                <p:nvPr/>
              </p:nvSpPr>
              <p:spPr>
                <a:xfrm>
                  <a:off x="4411203" y="1142888"/>
                  <a:ext cx="583176" cy="526469"/>
                </a:xfrm>
                <a:custGeom>
                  <a:avLst/>
                  <a:gdLst>
                    <a:gd name="connsiteX0" fmla="*/ 322055 w 583176"/>
                    <a:gd name="connsiteY0" fmla="*/ 524271 h 526469"/>
                    <a:gd name="connsiteX1" fmla="*/ 318351 w 583176"/>
                    <a:gd name="connsiteY1" fmla="*/ 521746 h 526469"/>
                    <a:gd name="connsiteX2" fmla="*/ 316154 w 583176"/>
                    <a:gd name="connsiteY2" fmla="*/ 520641 h 526469"/>
                    <a:gd name="connsiteX3" fmla="*/ 314089 w 583176"/>
                    <a:gd name="connsiteY3" fmla="*/ 518710 h 526469"/>
                    <a:gd name="connsiteX4" fmla="*/ 312972 w 583176"/>
                    <a:gd name="connsiteY4" fmla="*/ 516573 h 526469"/>
                    <a:gd name="connsiteX5" fmla="*/ 312644 w 583176"/>
                    <a:gd name="connsiteY5" fmla="*/ 515820 h 526469"/>
                    <a:gd name="connsiteX6" fmla="*/ 312693 w 583176"/>
                    <a:gd name="connsiteY6" fmla="*/ 515480 h 526469"/>
                    <a:gd name="connsiteX7" fmla="*/ 306719 w 583176"/>
                    <a:gd name="connsiteY7" fmla="*/ 518637 h 526469"/>
                    <a:gd name="connsiteX8" fmla="*/ 294005 w 583176"/>
                    <a:gd name="connsiteY8" fmla="*/ 517641 h 526469"/>
                    <a:gd name="connsiteX9" fmla="*/ 289682 w 583176"/>
                    <a:gd name="connsiteY9" fmla="*/ 519111 h 526469"/>
                    <a:gd name="connsiteX10" fmla="*/ 288188 w 583176"/>
                    <a:gd name="connsiteY10" fmla="*/ 519548 h 526469"/>
                    <a:gd name="connsiteX11" fmla="*/ 274163 w 583176"/>
                    <a:gd name="connsiteY11" fmla="*/ 508643 h 526469"/>
                    <a:gd name="connsiteX12" fmla="*/ 268165 w 583176"/>
                    <a:gd name="connsiteY12" fmla="*/ 505341 h 526469"/>
                    <a:gd name="connsiteX13" fmla="*/ 255815 w 583176"/>
                    <a:gd name="connsiteY13" fmla="*/ 502621 h 526469"/>
                    <a:gd name="connsiteX14" fmla="*/ 248651 w 583176"/>
                    <a:gd name="connsiteY14" fmla="*/ 498601 h 526469"/>
                    <a:gd name="connsiteX15" fmla="*/ 241317 w 583176"/>
                    <a:gd name="connsiteY15" fmla="*/ 492894 h 526469"/>
                    <a:gd name="connsiteX16" fmla="*/ 236957 w 583176"/>
                    <a:gd name="connsiteY16" fmla="*/ 491364 h 526469"/>
                    <a:gd name="connsiteX17" fmla="*/ 231432 w 583176"/>
                    <a:gd name="connsiteY17" fmla="*/ 491910 h 526469"/>
                    <a:gd name="connsiteX18" fmla="*/ 224292 w 583176"/>
                    <a:gd name="connsiteY18" fmla="*/ 494776 h 526469"/>
                    <a:gd name="connsiteX19" fmla="*/ 214906 w 583176"/>
                    <a:gd name="connsiteY19" fmla="*/ 495808 h 526469"/>
                    <a:gd name="connsiteX20" fmla="*/ 201949 w 583176"/>
                    <a:gd name="connsiteY20" fmla="*/ 489567 h 526469"/>
                    <a:gd name="connsiteX21" fmla="*/ 195428 w 583176"/>
                    <a:gd name="connsiteY21" fmla="*/ 489980 h 526469"/>
                    <a:gd name="connsiteX22" fmla="*/ 189430 w 583176"/>
                    <a:gd name="connsiteY22" fmla="*/ 491947 h 526469"/>
                    <a:gd name="connsiteX23" fmla="*/ 181452 w 583176"/>
                    <a:gd name="connsiteY23" fmla="*/ 492445 h 526469"/>
                    <a:gd name="connsiteX24" fmla="*/ 172915 w 583176"/>
                    <a:gd name="connsiteY24" fmla="*/ 489870 h 526469"/>
                    <a:gd name="connsiteX25" fmla="*/ 167318 w 583176"/>
                    <a:gd name="connsiteY25" fmla="*/ 483617 h 526469"/>
                    <a:gd name="connsiteX26" fmla="*/ 161113 w 583176"/>
                    <a:gd name="connsiteY26" fmla="*/ 468135 h 526469"/>
                    <a:gd name="connsiteX27" fmla="*/ 160323 w 583176"/>
                    <a:gd name="connsiteY27" fmla="*/ 462525 h 526469"/>
                    <a:gd name="connsiteX28" fmla="*/ 161963 w 583176"/>
                    <a:gd name="connsiteY28" fmla="*/ 458044 h 526469"/>
                    <a:gd name="connsiteX29" fmla="*/ 164233 w 583176"/>
                    <a:gd name="connsiteY29" fmla="*/ 453939 h 526469"/>
                    <a:gd name="connsiteX30" fmla="*/ 165569 w 583176"/>
                    <a:gd name="connsiteY30" fmla="*/ 450709 h 526469"/>
                    <a:gd name="connsiteX31" fmla="*/ 165569 w 583176"/>
                    <a:gd name="connsiteY31" fmla="*/ 447577 h 526469"/>
                    <a:gd name="connsiteX32" fmla="*/ 164270 w 583176"/>
                    <a:gd name="connsiteY32" fmla="*/ 439720 h 526469"/>
                    <a:gd name="connsiteX33" fmla="*/ 164136 w 583176"/>
                    <a:gd name="connsiteY33" fmla="*/ 434729 h 526469"/>
                    <a:gd name="connsiteX34" fmla="*/ 165642 w 583176"/>
                    <a:gd name="connsiteY34" fmla="*/ 429180 h 526469"/>
                    <a:gd name="connsiteX35" fmla="*/ 170657 w 583176"/>
                    <a:gd name="connsiteY35" fmla="*/ 419806 h 526469"/>
                    <a:gd name="connsiteX36" fmla="*/ 171495 w 583176"/>
                    <a:gd name="connsiteY36" fmla="*/ 416576 h 526469"/>
                    <a:gd name="connsiteX37" fmla="*/ 171070 w 583176"/>
                    <a:gd name="connsiteY37" fmla="*/ 413734 h 526469"/>
                    <a:gd name="connsiteX38" fmla="*/ 170560 w 583176"/>
                    <a:gd name="connsiteY38" fmla="*/ 413346 h 526469"/>
                    <a:gd name="connsiteX39" fmla="*/ 169382 w 583176"/>
                    <a:gd name="connsiteY39" fmla="*/ 413576 h 526469"/>
                    <a:gd name="connsiteX40" fmla="*/ 166698 w 583176"/>
                    <a:gd name="connsiteY40" fmla="*/ 416163 h 526469"/>
                    <a:gd name="connsiteX41" fmla="*/ 165593 w 583176"/>
                    <a:gd name="connsiteY41" fmla="*/ 419247 h 526469"/>
                    <a:gd name="connsiteX42" fmla="*/ 164962 w 583176"/>
                    <a:gd name="connsiteY42" fmla="*/ 422307 h 526469"/>
                    <a:gd name="connsiteX43" fmla="*/ 162898 w 583176"/>
                    <a:gd name="connsiteY43" fmla="*/ 426824 h 526469"/>
                    <a:gd name="connsiteX44" fmla="*/ 158283 w 583176"/>
                    <a:gd name="connsiteY44" fmla="*/ 429896 h 526469"/>
                    <a:gd name="connsiteX45" fmla="*/ 153815 w 583176"/>
                    <a:gd name="connsiteY45" fmla="*/ 431402 h 526469"/>
                    <a:gd name="connsiteX46" fmla="*/ 143505 w 583176"/>
                    <a:gd name="connsiteY46" fmla="*/ 433029 h 526469"/>
                    <a:gd name="connsiteX47" fmla="*/ 138454 w 583176"/>
                    <a:gd name="connsiteY47" fmla="*/ 432871 h 526469"/>
                    <a:gd name="connsiteX48" fmla="*/ 134823 w 583176"/>
                    <a:gd name="connsiteY48" fmla="*/ 431001 h 526469"/>
                    <a:gd name="connsiteX49" fmla="*/ 128606 w 583176"/>
                    <a:gd name="connsiteY49" fmla="*/ 425221 h 526469"/>
                    <a:gd name="connsiteX50" fmla="*/ 127112 w 583176"/>
                    <a:gd name="connsiteY50" fmla="*/ 424590 h 526469"/>
                    <a:gd name="connsiteX51" fmla="*/ 124829 w 583176"/>
                    <a:gd name="connsiteY51" fmla="*/ 424772 h 526469"/>
                    <a:gd name="connsiteX52" fmla="*/ 119268 w 583176"/>
                    <a:gd name="connsiteY52" fmla="*/ 427941 h 526469"/>
                    <a:gd name="connsiteX53" fmla="*/ 114399 w 583176"/>
                    <a:gd name="connsiteY53" fmla="*/ 429301 h 526469"/>
                    <a:gd name="connsiteX54" fmla="*/ 109736 w 583176"/>
                    <a:gd name="connsiteY54" fmla="*/ 428500 h 526469"/>
                    <a:gd name="connsiteX55" fmla="*/ 105461 w 583176"/>
                    <a:gd name="connsiteY55" fmla="*/ 426071 h 526469"/>
                    <a:gd name="connsiteX56" fmla="*/ 102256 w 583176"/>
                    <a:gd name="connsiteY56" fmla="*/ 422368 h 526469"/>
                    <a:gd name="connsiteX57" fmla="*/ 99305 w 583176"/>
                    <a:gd name="connsiteY57" fmla="*/ 416175 h 526469"/>
                    <a:gd name="connsiteX58" fmla="*/ 103373 w 583176"/>
                    <a:gd name="connsiteY58" fmla="*/ 410480 h 526469"/>
                    <a:gd name="connsiteX59" fmla="*/ 105219 w 583176"/>
                    <a:gd name="connsiteY59" fmla="*/ 406886 h 526469"/>
                    <a:gd name="connsiteX60" fmla="*/ 105474 w 583176"/>
                    <a:gd name="connsiteY60" fmla="*/ 403534 h 526469"/>
                    <a:gd name="connsiteX61" fmla="*/ 103203 w 583176"/>
                    <a:gd name="connsiteY61" fmla="*/ 393808 h 526469"/>
                    <a:gd name="connsiteX62" fmla="*/ 102693 w 583176"/>
                    <a:gd name="connsiteY62" fmla="*/ 382709 h 526469"/>
                    <a:gd name="connsiteX63" fmla="*/ 101394 w 583176"/>
                    <a:gd name="connsiteY63" fmla="*/ 380086 h 526469"/>
                    <a:gd name="connsiteX64" fmla="*/ 97059 w 583176"/>
                    <a:gd name="connsiteY64" fmla="*/ 377512 h 526469"/>
                    <a:gd name="connsiteX65" fmla="*/ 80666 w 583176"/>
                    <a:gd name="connsiteY65" fmla="*/ 375108 h 526469"/>
                    <a:gd name="connsiteX66" fmla="*/ 72190 w 583176"/>
                    <a:gd name="connsiteY66" fmla="*/ 370675 h 526469"/>
                    <a:gd name="connsiteX67" fmla="*/ 61419 w 583176"/>
                    <a:gd name="connsiteY67" fmla="*/ 356614 h 526469"/>
                    <a:gd name="connsiteX68" fmla="*/ 55590 w 583176"/>
                    <a:gd name="connsiteY68" fmla="*/ 351150 h 526469"/>
                    <a:gd name="connsiteX69" fmla="*/ 49143 w 583176"/>
                    <a:gd name="connsiteY69" fmla="*/ 346948 h 526469"/>
                    <a:gd name="connsiteX70" fmla="*/ 43180 w 583176"/>
                    <a:gd name="connsiteY70" fmla="*/ 341192 h 526469"/>
                    <a:gd name="connsiteX71" fmla="*/ 40108 w 583176"/>
                    <a:gd name="connsiteY71" fmla="*/ 333482 h 526469"/>
                    <a:gd name="connsiteX72" fmla="*/ 40776 w 583176"/>
                    <a:gd name="connsiteY72" fmla="*/ 322954 h 526469"/>
                    <a:gd name="connsiteX73" fmla="*/ 43326 w 583176"/>
                    <a:gd name="connsiteY73" fmla="*/ 317999 h 526469"/>
                    <a:gd name="connsiteX74" fmla="*/ 46957 w 583176"/>
                    <a:gd name="connsiteY74" fmla="*/ 315583 h 526469"/>
                    <a:gd name="connsiteX75" fmla="*/ 54655 w 583176"/>
                    <a:gd name="connsiteY75" fmla="*/ 312656 h 526469"/>
                    <a:gd name="connsiteX76" fmla="*/ 57072 w 583176"/>
                    <a:gd name="connsiteY76" fmla="*/ 310859 h 526469"/>
                    <a:gd name="connsiteX77" fmla="*/ 59100 w 583176"/>
                    <a:gd name="connsiteY77" fmla="*/ 308698 h 526469"/>
                    <a:gd name="connsiteX78" fmla="*/ 60860 w 583176"/>
                    <a:gd name="connsiteY78" fmla="*/ 306099 h 526469"/>
                    <a:gd name="connsiteX79" fmla="*/ 62415 w 583176"/>
                    <a:gd name="connsiteY79" fmla="*/ 302966 h 526469"/>
                    <a:gd name="connsiteX80" fmla="*/ 68025 w 583176"/>
                    <a:gd name="connsiteY80" fmla="*/ 287982 h 526469"/>
                    <a:gd name="connsiteX81" fmla="*/ 71813 w 583176"/>
                    <a:gd name="connsiteY81" fmla="*/ 273046 h 526469"/>
                    <a:gd name="connsiteX82" fmla="*/ 69190 w 583176"/>
                    <a:gd name="connsiteY82" fmla="*/ 263222 h 526469"/>
                    <a:gd name="connsiteX83" fmla="*/ 60035 w 583176"/>
                    <a:gd name="connsiteY83" fmla="*/ 256325 h 526469"/>
                    <a:gd name="connsiteX84" fmla="*/ 48487 w 583176"/>
                    <a:gd name="connsiteY84" fmla="*/ 250497 h 526469"/>
                    <a:gd name="connsiteX85" fmla="*/ 39052 w 583176"/>
                    <a:gd name="connsiteY85" fmla="*/ 242980 h 526469"/>
                    <a:gd name="connsiteX86" fmla="*/ 36732 w 583176"/>
                    <a:gd name="connsiteY86" fmla="*/ 239179 h 526469"/>
                    <a:gd name="connsiteX87" fmla="*/ 35530 w 583176"/>
                    <a:gd name="connsiteY87" fmla="*/ 235585 h 526469"/>
                    <a:gd name="connsiteX88" fmla="*/ 34960 w 583176"/>
                    <a:gd name="connsiteY88" fmla="*/ 231821 h 526469"/>
                    <a:gd name="connsiteX89" fmla="*/ 35397 w 583176"/>
                    <a:gd name="connsiteY89" fmla="*/ 224984 h 526469"/>
                    <a:gd name="connsiteX90" fmla="*/ 36028 w 583176"/>
                    <a:gd name="connsiteY90" fmla="*/ 221876 h 526469"/>
                    <a:gd name="connsiteX91" fmla="*/ 36915 w 583176"/>
                    <a:gd name="connsiteY91" fmla="*/ 218949 h 526469"/>
                    <a:gd name="connsiteX92" fmla="*/ 38190 w 583176"/>
                    <a:gd name="connsiteY92" fmla="*/ 216096 h 526469"/>
                    <a:gd name="connsiteX93" fmla="*/ 44844 w 583176"/>
                    <a:gd name="connsiteY93" fmla="*/ 204949 h 526469"/>
                    <a:gd name="connsiteX94" fmla="*/ 50466 w 583176"/>
                    <a:gd name="connsiteY94" fmla="*/ 199824 h 526469"/>
                    <a:gd name="connsiteX95" fmla="*/ 71534 w 583176"/>
                    <a:gd name="connsiteY95" fmla="*/ 196424 h 526469"/>
                    <a:gd name="connsiteX96" fmla="*/ 77436 w 583176"/>
                    <a:gd name="connsiteY96" fmla="*/ 193813 h 526469"/>
                    <a:gd name="connsiteX97" fmla="*/ 83483 w 583176"/>
                    <a:gd name="connsiteY97" fmla="*/ 189697 h 526469"/>
                    <a:gd name="connsiteX98" fmla="*/ 88218 w 583176"/>
                    <a:gd name="connsiteY98" fmla="*/ 185228 h 526469"/>
                    <a:gd name="connsiteX99" fmla="*/ 92104 w 583176"/>
                    <a:gd name="connsiteY99" fmla="*/ 179594 h 526469"/>
                    <a:gd name="connsiteX100" fmla="*/ 93258 w 583176"/>
                    <a:gd name="connsiteY100" fmla="*/ 174737 h 526469"/>
                    <a:gd name="connsiteX101" fmla="*/ 91485 w 583176"/>
                    <a:gd name="connsiteY101" fmla="*/ 169722 h 526469"/>
                    <a:gd name="connsiteX102" fmla="*/ 87296 w 583176"/>
                    <a:gd name="connsiteY102" fmla="*/ 166917 h 526469"/>
                    <a:gd name="connsiteX103" fmla="*/ 81479 w 583176"/>
                    <a:gd name="connsiteY103" fmla="*/ 167123 h 526469"/>
                    <a:gd name="connsiteX104" fmla="*/ 74934 w 583176"/>
                    <a:gd name="connsiteY104" fmla="*/ 168678 h 526469"/>
                    <a:gd name="connsiteX105" fmla="*/ 67697 w 583176"/>
                    <a:gd name="connsiteY105" fmla="*/ 169090 h 526469"/>
                    <a:gd name="connsiteX106" fmla="*/ 56586 w 583176"/>
                    <a:gd name="connsiteY106" fmla="*/ 165581 h 526469"/>
                    <a:gd name="connsiteX107" fmla="*/ 53575 w 583176"/>
                    <a:gd name="connsiteY107" fmla="*/ 165508 h 526469"/>
                    <a:gd name="connsiteX108" fmla="*/ 41019 w 583176"/>
                    <a:gd name="connsiteY108" fmla="*/ 168726 h 526469"/>
                    <a:gd name="connsiteX109" fmla="*/ 33952 w 583176"/>
                    <a:gd name="connsiteY109" fmla="*/ 167378 h 526469"/>
                    <a:gd name="connsiteX110" fmla="*/ 27892 w 583176"/>
                    <a:gd name="connsiteY110" fmla="*/ 163201 h 526469"/>
                    <a:gd name="connsiteX111" fmla="*/ 22974 w 583176"/>
                    <a:gd name="connsiteY111" fmla="*/ 156984 h 526469"/>
                    <a:gd name="connsiteX112" fmla="*/ 20522 w 583176"/>
                    <a:gd name="connsiteY112" fmla="*/ 148872 h 526469"/>
                    <a:gd name="connsiteX113" fmla="*/ 22598 w 583176"/>
                    <a:gd name="connsiteY113" fmla="*/ 140822 h 526469"/>
                    <a:gd name="connsiteX114" fmla="*/ 27625 w 583176"/>
                    <a:gd name="connsiteY114" fmla="*/ 135892 h 526469"/>
                    <a:gd name="connsiteX115" fmla="*/ 39598 w 583176"/>
                    <a:gd name="connsiteY115" fmla="*/ 129796 h 526469"/>
                    <a:gd name="connsiteX116" fmla="*/ 41590 w 583176"/>
                    <a:gd name="connsiteY116" fmla="*/ 127902 h 526469"/>
                    <a:gd name="connsiteX117" fmla="*/ 41930 w 583176"/>
                    <a:gd name="connsiteY117" fmla="*/ 125376 h 526469"/>
                    <a:gd name="connsiteX118" fmla="*/ 40655 w 583176"/>
                    <a:gd name="connsiteY118" fmla="*/ 121429 h 526469"/>
                    <a:gd name="connsiteX119" fmla="*/ 38396 w 583176"/>
                    <a:gd name="connsiteY119" fmla="*/ 118114 h 526469"/>
                    <a:gd name="connsiteX120" fmla="*/ 33939 w 583176"/>
                    <a:gd name="connsiteY120" fmla="*/ 107101 h 526469"/>
                    <a:gd name="connsiteX121" fmla="*/ 32252 w 583176"/>
                    <a:gd name="connsiteY121" fmla="*/ 105304 h 526469"/>
                    <a:gd name="connsiteX122" fmla="*/ 27662 w 583176"/>
                    <a:gd name="connsiteY122" fmla="*/ 104842 h 526469"/>
                    <a:gd name="connsiteX123" fmla="*/ 22938 w 583176"/>
                    <a:gd name="connsiteY123" fmla="*/ 105389 h 526469"/>
                    <a:gd name="connsiteX124" fmla="*/ 17389 w 583176"/>
                    <a:gd name="connsiteY124" fmla="*/ 104721 h 526469"/>
                    <a:gd name="connsiteX125" fmla="*/ 12192 w 583176"/>
                    <a:gd name="connsiteY125" fmla="*/ 102851 h 526469"/>
                    <a:gd name="connsiteX126" fmla="*/ 7140 w 583176"/>
                    <a:gd name="connsiteY126" fmla="*/ 100106 h 526469"/>
                    <a:gd name="connsiteX127" fmla="*/ 1821 w 583176"/>
                    <a:gd name="connsiteY127" fmla="*/ 94970 h 526469"/>
                    <a:gd name="connsiteX128" fmla="*/ 0 w 583176"/>
                    <a:gd name="connsiteY128" fmla="*/ 88425 h 526469"/>
                    <a:gd name="connsiteX129" fmla="*/ 1141 w 583176"/>
                    <a:gd name="connsiteY129" fmla="*/ 81819 h 526469"/>
                    <a:gd name="connsiteX130" fmla="*/ 4578 w 583176"/>
                    <a:gd name="connsiteY130" fmla="*/ 76537 h 526469"/>
                    <a:gd name="connsiteX131" fmla="*/ 7286 w 583176"/>
                    <a:gd name="connsiteY131" fmla="*/ 74327 h 526469"/>
                    <a:gd name="connsiteX132" fmla="*/ 12362 w 583176"/>
                    <a:gd name="connsiteY132" fmla="*/ 71716 h 526469"/>
                    <a:gd name="connsiteX133" fmla="*/ 12689 w 583176"/>
                    <a:gd name="connsiteY133" fmla="*/ 71291 h 526469"/>
                    <a:gd name="connsiteX134" fmla="*/ 13539 w 583176"/>
                    <a:gd name="connsiteY134" fmla="*/ 69081 h 526469"/>
                    <a:gd name="connsiteX135" fmla="*/ 13576 w 583176"/>
                    <a:gd name="connsiteY135" fmla="*/ 61285 h 526469"/>
                    <a:gd name="connsiteX136" fmla="*/ 17401 w 583176"/>
                    <a:gd name="connsiteY136" fmla="*/ 55177 h 526469"/>
                    <a:gd name="connsiteX137" fmla="*/ 26921 w 583176"/>
                    <a:gd name="connsiteY137" fmla="*/ 48900 h 526469"/>
                    <a:gd name="connsiteX138" fmla="*/ 28378 w 583176"/>
                    <a:gd name="connsiteY138" fmla="*/ 46410 h 526469"/>
                    <a:gd name="connsiteX139" fmla="*/ 28317 w 583176"/>
                    <a:gd name="connsiteY139" fmla="*/ 41225 h 526469"/>
                    <a:gd name="connsiteX140" fmla="*/ 26933 w 583176"/>
                    <a:gd name="connsiteY140" fmla="*/ 36490 h 526469"/>
                    <a:gd name="connsiteX141" fmla="*/ 27273 w 583176"/>
                    <a:gd name="connsiteY141" fmla="*/ 29228 h 526469"/>
                    <a:gd name="connsiteX142" fmla="*/ 33794 w 583176"/>
                    <a:gd name="connsiteY142" fmla="*/ 24128 h 526469"/>
                    <a:gd name="connsiteX143" fmla="*/ 37000 w 583176"/>
                    <a:gd name="connsiteY143" fmla="*/ 22598 h 526469"/>
                    <a:gd name="connsiteX144" fmla="*/ 67515 w 583176"/>
                    <a:gd name="connsiteY144" fmla="*/ 17547 h 526469"/>
                    <a:gd name="connsiteX145" fmla="*/ 71571 w 583176"/>
                    <a:gd name="connsiteY145" fmla="*/ 15482 h 526469"/>
                    <a:gd name="connsiteX146" fmla="*/ 85146 w 583176"/>
                    <a:gd name="connsiteY146" fmla="*/ 5986 h 526469"/>
                    <a:gd name="connsiteX147" fmla="*/ 97872 w 583176"/>
                    <a:gd name="connsiteY147" fmla="*/ 1154 h 526469"/>
                    <a:gd name="connsiteX148" fmla="*/ 110513 w 583176"/>
                    <a:gd name="connsiteY148" fmla="*/ 0 h 526469"/>
                    <a:gd name="connsiteX149" fmla="*/ 123081 w 583176"/>
                    <a:gd name="connsiteY149" fmla="*/ 1919 h 526469"/>
                    <a:gd name="connsiteX150" fmla="*/ 171009 w 583176"/>
                    <a:gd name="connsiteY150" fmla="*/ 18202 h 526469"/>
                    <a:gd name="connsiteX151" fmla="*/ 236787 w 583176"/>
                    <a:gd name="connsiteY151" fmla="*/ 30491 h 526469"/>
                    <a:gd name="connsiteX152" fmla="*/ 253545 w 583176"/>
                    <a:gd name="connsiteY152" fmla="*/ 29617 h 526469"/>
                    <a:gd name="connsiteX153" fmla="*/ 265311 w 583176"/>
                    <a:gd name="connsiteY153" fmla="*/ 27200 h 526469"/>
                    <a:gd name="connsiteX154" fmla="*/ 273690 w 583176"/>
                    <a:gd name="connsiteY154" fmla="*/ 27237 h 526469"/>
                    <a:gd name="connsiteX155" fmla="*/ 279409 w 583176"/>
                    <a:gd name="connsiteY155" fmla="*/ 30758 h 526469"/>
                    <a:gd name="connsiteX156" fmla="*/ 282530 w 583176"/>
                    <a:gd name="connsiteY156" fmla="*/ 35275 h 526469"/>
                    <a:gd name="connsiteX157" fmla="*/ 285225 w 583176"/>
                    <a:gd name="connsiteY157" fmla="*/ 38044 h 526469"/>
                    <a:gd name="connsiteX158" fmla="*/ 292159 w 583176"/>
                    <a:gd name="connsiteY158" fmla="*/ 42804 h 526469"/>
                    <a:gd name="connsiteX159" fmla="*/ 299433 w 583176"/>
                    <a:gd name="connsiteY159" fmla="*/ 46082 h 526469"/>
                    <a:gd name="connsiteX160" fmla="*/ 323160 w 583176"/>
                    <a:gd name="connsiteY160" fmla="*/ 52020 h 526469"/>
                    <a:gd name="connsiteX161" fmla="*/ 325443 w 583176"/>
                    <a:gd name="connsiteY161" fmla="*/ 58857 h 526469"/>
                    <a:gd name="connsiteX162" fmla="*/ 320088 w 583176"/>
                    <a:gd name="connsiteY162" fmla="*/ 58092 h 526469"/>
                    <a:gd name="connsiteX163" fmla="*/ 320865 w 583176"/>
                    <a:gd name="connsiteY163" fmla="*/ 59537 h 526469"/>
                    <a:gd name="connsiteX164" fmla="*/ 322614 w 583176"/>
                    <a:gd name="connsiteY164" fmla="*/ 61978 h 526469"/>
                    <a:gd name="connsiteX165" fmla="*/ 322261 w 583176"/>
                    <a:gd name="connsiteY165" fmla="*/ 62208 h 526469"/>
                    <a:gd name="connsiteX166" fmla="*/ 323852 w 583176"/>
                    <a:gd name="connsiteY166" fmla="*/ 65147 h 526469"/>
                    <a:gd name="connsiteX167" fmla="*/ 324326 w 583176"/>
                    <a:gd name="connsiteY167" fmla="*/ 67235 h 526469"/>
                    <a:gd name="connsiteX168" fmla="*/ 325929 w 583176"/>
                    <a:gd name="connsiteY168" fmla="*/ 69445 h 526469"/>
                    <a:gd name="connsiteX169" fmla="*/ 325054 w 583176"/>
                    <a:gd name="connsiteY169" fmla="*/ 73113 h 526469"/>
                    <a:gd name="connsiteX170" fmla="*/ 326232 w 583176"/>
                    <a:gd name="connsiteY170" fmla="*/ 73902 h 526469"/>
                    <a:gd name="connsiteX171" fmla="*/ 327252 w 583176"/>
                    <a:gd name="connsiteY171" fmla="*/ 74715 h 526469"/>
                    <a:gd name="connsiteX172" fmla="*/ 331478 w 583176"/>
                    <a:gd name="connsiteY172" fmla="*/ 80459 h 526469"/>
                    <a:gd name="connsiteX173" fmla="*/ 332061 w 583176"/>
                    <a:gd name="connsiteY173" fmla="*/ 81054 h 526469"/>
                    <a:gd name="connsiteX174" fmla="*/ 332146 w 583176"/>
                    <a:gd name="connsiteY174" fmla="*/ 80993 h 526469"/>
                    <a:gd name="connsiteX175" fmla="*/ 334344 w 583176"/>
                    <a:gd name="connsiteY175" fmla="*/ 82997 h 526469"/>
                    <a:gd name="connsiteX176" fmla="*/ 339735 w 583176"/>
                    <a:gd name="connsiteY176" fmla="*/ 88996 h 526469"/>
                    <a:gd name="connsiteX177" fmla="*/ 339553 w 583176"/>
                    <a:gd name="connsiteY177" fmla="*/ 89360 h 526469"/>
                    <a:gd name="connsiteX178" fmla="*/ 339978 w 583176"/>
                    <a:gd name="connsiteY178" fmla="*/ 89870 h 526469"/>
                    <a:gd name="connsiteX179" fmla="*/ 342103 w 583176"/>
                    <a:gd name="connsiteY179" fmla="*/ 91934 h 526469"/>
                    <a:gd name="connsiteX180" fmla="*/ 343414 w 583176"/>
                    <a:gd name="connsiteY180" fmla="*/ 93488 h 526469"/>
                    <a:gd name="connsiteX181" fmla="*/ 348308 w 583176"/>
                    <a:gd name="connsiteY181" fmla="*/ 97520 h 526469"/>
                    <a:gd name="connsiteX182" fmla="*/ 348199 w 583176"/>
                    <a:gd name="connsiteY182" fmla="*/ 97666 h 526469"/>
                    <a:gd name="connsiteX183" fmla="*/ 350579 w 583176"/>
                    <a:gd name="connsiteY183" fmla="*/ 99621 h 526469"/>
                    <a:gd name="connsiteX184" fmla="*/ 354197 w 583176"/>
                    <a:gd name="connsiteY184" fmla="*/ 103045 h 526469"/>
                    <a:gd name="connsiteX185" fmla="*/ 356930 w 583176"/>
                    <a:gd name="connsiteY185" fmla="*/ 104138 h 526469"/>
                    <a:gd name="connsiteX186" fmla="*/ 358787 w 583176"/>
                    <a:gd name="connsiteY186" fmla="*/ 104150 h 526469"/>
                    <a:gd name="connsiteX187" fmla="*/ 359431 w 583176"/>
                    <a:gd name="connsiteY187" fmla="*/ 104211 h 526469"/>
                    <a:gd name="connsiteX188" fmla="*/ 361131 w 583176"/>
                    <a:gd name="connsiteY188" fmla="*/ 104636 h 526469"/>
                    <a:gd name="connsiteX189" fmla="*/ 363960 w 583176"/>
                    <a:gd name="connsiteY189" fmla="*/ 106239 h 526469"/>
                    <a:gd name="connsiteX190" fmla="*/ 367008 w 583176"/>
                    <a:gd name="connsiteY190" fmla="*/ 107477 h 526469"/>
                    <a:gd name="connsiteX191" fmla="*/ 367032 w 583176"/>
                    <a:gd name="connsiteY191" fmla="*/ 107319 h 526469"/>
                    <a:gd name="connsiteX192" fmla="*/ 370675 w 583176"/>
                    <a:gd name="connsiteY192" fmla="*/ 107890 h 526469"/>
                    <a:gd name="connsiteX193" fmla="*/ 370955 w 583176"/>
                    <a:gd name="connsiteY193" fmla="*/ 107429 h 526469"/>
                    <a:gd name="connsiteX194" fmla="*/ 373954 w 583176"/>
                    <a:gd name="connsiteY194" fmla="*/ 107708 h 526469"/>
                    <a:gd name="connsiteX195" fmla="*/ 378799 w 583176"/>
                    <a:gd name="connsiteY195" fmla="*/ 110659 h 526469"/>
                    <a:gd name="connsiteX196" fmla="*/ 378641 w 583176"/>
                    <a:gd name="connsiteY196" fmla="*/ 110889 h 526469"/>
                    <a:gd name="connsiteX197" fmla="*/ 379236 w 583176"/>
                    <a:gd name="connsiteY197" fmla="*/ 111254 h 526469"/>
                    <a:gd name="connsiteX198" fmla="*/ 379479 w 583176"/>
                    <a:gd name="connsiteY198" fmla="*/ 111071 h 526469"/>
                    <a:gd name="connsiteX199" fmla="*/ 381519 w 583176"/>
                    <a:gd name="connsiteY199" fmla="*/ 113306 h 526469"/>
                    <a:gd name="connsiteX200" fmla="*/ 386862 w 583176"/>
                    <a:gd name="connsiteY200" fmla="*/ 120373 h 526469"/>
                    <a:gd name="connsiteX201" fmla="*/ 385915 w 583176"/>
                    <a:gd name="connsiteY201" fmla="*/ 121089 h 526469"/>
                    <a:gd name="connsiteX202" fmla="*/ 386133 w 583176"/>
                    <a:gd name="connsiteY202" fmla="*/ 121757 h 526469"/>
                    <a:gd name="connsiteX203" fmla="*/ 387348 w 583176"/>
                    <a:gd name="connsiteY203" fmla="*/ 124489 h 526469"/>
                    <a:gd name="connsiteX204" fmla="*/ 388598 w 583176"/>
                    <a:gd name="connsiteY204" fmla="*/ 128339 h 526469"/>
                    <a:gd name="connsiteX205" fmla="*/ 389254 w 583176"/>
                    <a:gd name="connsiteY205" fmla="*/ 129092 h 526469"/>
                    <a:gd name="connsiteX206" fmla="*/ 390881 w 583176"/>
                    <a:gd name="connsiteY206" fmla="*/ 131484 h 526469"/>
                    <a:gd name="connsiteX207" fmla="*/ 390651 w 583176"/>
                    <a:gd name="connsiteY207" fmla="*/ 131654 h 526469"/>
                    <a:gd name="connsiteX208" fmla="*/ 392533 w 583176"/>
                    <a:gd name="connsiteY208" fmla="*/ 133997 h 526469"/>
                    <a:gd name="connsiteX209" fmla="*/ 393346 w 583176"/>
                    <a:gd name="connsiteY209" fmla="*/ 135212 h 526469"/>
                    <a:gd name="connsiteX210" fmla="*/ 398361 w 583176"/>
                    <a:gd name="connsiteY210" fmla="*/ 139996 h 526469"/>
                    <a:gd name="connsiteX211" fmla="*/ 398058 w 583176"/>
                    <a:gd name="connsiteY211" fmla="*/ 140275 h 526469"/>
                    <a:gd name="connsiteX212" fmla="*/ 400243 w 583176"/>
                    <a:gd name="connsiteY212" fmla="*/ 142485 h 526469"/>
                    <a:gd name="connsiteX213" fmla="*/ 402611 w 583176"/>
                    <a:gd name="connsiteY213" fmla="*/ 145436 h 526469"/>
                    <a:gd name="connsiteX214" fmla="*/ 405866 w 583176"/>
                    <a:gd name="connsiteY214" fmla="*/ 148411 h 526469"/>
                    <a:gd name="connsiteX215" fmla="*/ 405696 w 583176"/>
                    <a:gd name="connsiteY215" fmla="*/ 148630 h 526469"/>
                    <a:gd name="connsiteX216" fmla="*/ 408112 w 583176"/>
                    <a:gd name="connsiteY216" fmla="*/ 150402 h 526469"/>
                    <a:gd name="connsiteX217" fmla="*/ 413431 w 583176"/>
                    <a:gd name="connsiteY217" fmla="*/ 154932 h 526469"/>
                    <a:gd name="connsiteX218" fmla="*/ 414694 w 583176"/>
                    <a:gd name="connsiteY218" fmla="*/ 155612 h 526469"/>
                    <a:gd name="connsiteX219" fmla="*/ 417171 w 583176"/>
                    <a:gd name="connsiteY219" fmla="*/ 156620 h 526469"/>
                    <a:gd name="connsiteX220" fmla="*/ 423558 w 583176"/>
                    <a:gd name="connsiteY220" fmla="*/ 157785 h 526469"/>
                    <a:gd name="connsiteX221" fmla="*/ 425064 w 583176"/>
                    <a:gd name="connsiteY221" fmla="*/ 157773 h 526469"/>
                    <a:gd name="connsiteX222" fmla="*/ 427201 w 583176"/>
                    <a:gd name="connsiteY222" fmla="*/ 157470 h 526469"/>
                    <a:gd name="connsiteX223" fmla="*/ 432289 w 583176"/>
                    <a:gd name="connsiteY223" fmla="*/ 156255 h 526469"/>
                    <a:gd name="connsiteX224" fmla="*/ 434669 w 583176"/>
                    <a:gd name="connsiteY224" fmla="*/ 155612 h 526469"/>
                    <a:gd name="connsiteX225" fmla="*/ 437049 w 583176"/>
                    <a:gd name="connsiteY225" fmla="*/ 154118 h 526469"/>
                    <a:gd name="connsiteX226" fmla="*/ 441347 w 583176"/>
                    <a:gd name="connsiteY226" fmla="*/ 151932 h 526469"/>
                    <a:gd name="connsiteX227" fmla="*/ 447431 w 583176"/>
                    <a:gd name="connsiteY227" fmla="*/ 155478 h 526469"/>
                    <a:gd name="connsiteX228" fmla="*/ 447188 w 583176"/>
                    <a:gd name="connsiteY228" fmla="*/ 156049 h 526469"/>
                    <a:gd name="connsiteX229" fmla="*/ 447540 w 583176"/>
                    <a:gd name="connsiteY229" fmla="*/ 156316 h 526469"/>
                    <a:gd name="connsiteX230" fmla="*/ 448111 w 583176"/>
                    <a:gd name="connsiteY230" fmla="*/ 155575 h 526469"/>
                    <a:gd name="connsiteX231" fmla="*/ 450685 w 583176"/>
                    <a:gd name="connsiteY231" fmla="*/ 158429 h 526469"/>
                    <a:gd name="connsiteX232" fmla="*/ 456247 w 583176"/>
                    <a:gd name="connsiteY232" fmla="*/ 165593 h 526469"/>
                    <a:gd name="connsiteX233" fmla="*/ 456040 w 583176"/>
                    <a:gd name="connsiteY233" fmla="*/ 165727 h 526469"/>
                    <a:gd name="connsiteX234" fmla="*/ 457886 w 583176"/>
                    <a:gd name="connsiteY234" fmla="*/ 167840 h 526469"/>
                    <a:gd name="connsiteX235" fmla="*/ 460145 w 583176"/>
                    <a:gd name="connsiteY235" fmla="*/ 170924 h 526469"/>
                    <a:gd name="connsiteX236" fmla="*/ 462865 w 583176"/>
                    <a:gd name="connsiteY236" fmla="*/ 175125 h 526469"/>
                    <a:gd name="connsiteX237" fmla="*/ 462622 w 583176"/>
                    <a:gd name="connsiteY237" fmla="*/ 175308 h 526469"/>
                    <a:gd name="connsiteX238" fmla="*/ 462852 w 583176"/>
                    <a:gd name="connsiteY238" fmla="*/ 175648 h 526469"/>
                    <a:gd name="connsiteX239" fmla="*/ 464200 w 583176"/>
                    <a:gd name="connsiteY239" fmla="*/ 176364 h 526469"/>
                    <a:gd name="connsiteX240" fmla="*/ 469470 w 583176"/>
                    <a:gd name="connsiteY240" fmla="*/ 179898 h 526469"/>
                    <a:gd name="connsiteX241" fmla="*/ 471049 w 583176"/>
                    <a:gd name="connsiteY241" fmla="*/ 182994 h 526469"/>
                    <a:gd name="connsiteX242" fmla="*/ 470915 w 583176"/>
                    <a:gd name="connsiteY242" fmla="*/ 183103 h 526469"/>
                    <a:gd name="connsiteX243" fmla="*/ 471535 w 583176"/>
                    <a:gd name="connsiteY243" fmla="*/ 184208 h 526469"/>
                    <a:gd name="connsiteX244" fmla="*/ 472749 w 583176"/>
                    <a:gd name="connsiteY244" fmla="*/ 185751 h 526469"/>
                    <a:gd name="connsiteX245" fmla="*/ 477315 w 583176"/>
                    <a:gd name="connsiteY245" fmla="*/ 192976 h 526469"/>
                    <a:gd name="connsiteX246" fmla="*/ 477132 w 583176"/>
                    <a:gd name="connsiteY246" fmla="*/ 193133 h 526469"/>
                    <a:gd name="connsiteX247" fmla="*/ 479051 w 583176"/>
                    <a:gd name="connsiteY247" fmla="*/ 195671 h 526469"/>
                    <a:gd name="connsiteX248" fmla="*/ 483848 w 583176"/>
                    <a:gd name="connsiteY248" fmla="*/ 202775 h 526469"/>
                    <a:gd name="connsiteX249" fmla="*/ 483253 w 583176"/>
                    <a:gd name="connsiteY249" fmla="*/ 203261 h 526469"/>
                    <a:gd name="connsiteX250" fmla="*/ 483981 w 583176"/>
                    <a:gd name="connsiteY250" fmla="*/ 204839 h 526469"/>
                    <a:gd name="connsiteX251" fmla="*/ 484552 w 583176"/>
                    <a:gd name="connsiteY251" fmla="*/ 205337 h 526469"/>
                    <a:gd name="connsiteX252" fmla="*/ 488923 w 583176"/>
                    <a:gd name="connsiteY252" fmla="*/ 209939 h 526469"/>
                    <a:gd name="connsiteX253" fmla="*/ 489943 w 583176"/>
                    <a:gd name="connsiteY253" fmla="*/ 213643 h 526469"/>
                    <a:gd name="connsiteX254" fmla="*/ 489603 w 583176"/>
                    <a:gd name="connsiteY254" fmla="*/ 213764 h 526469"/>
                    <a:gd name="connsiteX255" fmla="*/ 489713 w 583176"/>
                    <a:gd name="connsiteY255" fmla="*/ 214189 h 526469"/>
                    <a:gd name="connsiteX256" fmla="*/ 489968 w 583176"/>
                    <a:gd name="connsiteY256" fmla="*/ 214165 h 526469"/>
                    <a:gd name="connsiteX257" fmla="*/ 490672 w 583176"/>
                    <a:gd name="connsiteY257" fmla="*/ 217091 h 526469"/>
                    <a:gd name="connsiteX258" fmla="*/ 490939 w 583176"/>
                    <a:gd name="connsiteY258" fmla="*/ 219204 h 526469"/>
                    <a:gd name="connsiteX259" fmla="*/ 490514 w 583176"/>
                    <a:gd name="connsiteY259" fmla="*/ 226611 h 526469"/>
                    <a:gd name="connsiteX260" fmla="*/ 489919 w 583176"/>
                    <a:gd name="connsiteY260" fmla="*/ 226563 h 526469"/>
                    <a:gd name="connsiteX261" fmla="*/ 489676 w 583176"/>
                    <a:gd name="connsiteY261" fmla="*/ 229684 h 526469"/>
                    <a:gd name="connsiteX262" fmla="*/ 489421 w 583176"/>
                    <a:gd name="connsiteY262" fmla="*/ 231080 h 526469"/>
                    <a:gd name="connsiteX263" fmla="*/ 486980 w 583176"/>
                    <a:gd name="connsiteY263" fmla="*/ 238512 h 526469"/>
                    <a:gd name="connsiteX264" fmla="*/ 486835 w 583176"/>
                    <a:gd name="connsiteY264" fmla="*/ 238475 h 526469"/>
                    <a:gd name="connsiteX265" fmla="*/ 486531 w 583176"/>
                    <a:gd name="connsiteY265" fmla="*/ 241110 h 526469"/>
                    <a:gd name="connsiteX266" fmla="*/ 485888 w 583176"/>
                    <a:gd name="connsiteY266" fmla="*/ 244061 h 526469"/>
                    <a:gd name="connsiteX267" fmla="*/ 485718 w 583176"/>
                    <a:gd name="connsiteY267" fmla="*/ 245809 h 526469"/>
                    <a:gd name="connsiteX268" fmla="*/ 488073 w 583176"/>
                    <a:gd name="connsiteY268" fmla="*/ 244717 h 526469"/>
                    <a:gd name="connsiteX269" fmla="*/ 493368 w 583176"/>
                    <a:gd name="connsiteY269" fmla="*/ 243126 h 526469"/>
                    <a:gd name="connsiteX270" fmla="*/ 495213 w 583176"/>
                    <a:gd name="connsiteY270" fmla="*/ 241559 h 526469"/>
                    <a:gd name="connsiteX271" fmla="*/ 498893 w 583176"/>
                    <a:gd name="connsiteY271" fmla="*/ 237540 h 526469"/>
                    <a:gd name="connsiteX272" fmla="*/ 504867 w 583176"/>
                    <a:gd name="connsiteY272" fmla="*/ 238232 h 526469"/>
                    <a:gd name="connsiteX273" fmla="*/ 504818 w 583176"/>
                    <a:gd name="connsiteY273" fmla="*/ 238487 h 526469"/>
                    <a:gd name="connsiteX274" fmla="*/ 505668 w 583176"/>
                    <a:gd name="connsiteY274" fmla="*/ 238584 h 526469"/>
                    <a:gd name="connsiteX275" fmla="*/ 506251 w 583176"/>
                    <a:gd name="connsiteY275" fmla="*/ 239216 h 526469"/>
                    <a:gd name="connsiteX276" fmla="*/ 508522 w 583176"/>
                    <a:gd name="connsiteY276" fmla="*/ 241232 h 526469"/>
                    <a:gd name="connsiteX277" fmla="*/ 511691 w 583176"/>
                    <a:gd name="connsiteY277" fmla="*/ 244680 h 526469"/>
                    <a:gd name="connsiteX278" fmla="*/ 514521 w 583176"/>
                    <a:gd name="connsiteY278" fmla="*/ 248347 h 526469"/>
                    <a:gd name="connsiteX279" fmla="*/ 514326 w 583176"/>
                    <a:gd name="connsiteY279" fmla="*/ 248481 h 526469"/>
                    <a:gd name="connsiteX280" fmla="*/ 516196 w 583176"/>
                    <a:gd name="connsiteY280" fmla="*/ 250764 h 526469"/>
                    <a:gd name="connsiteX281" fmla="*/ 516755 w 583176"/>
                    <a:gd name="connsiteY281" fmla="*/ 251614 h 526469"/>
                    <a:gd name="connsiteX282" fmla="*/ 518431 w 583176"/>
                    <a:gd name="connsiteY282" fmla="*/ 252537 h 526469"/>
                    <a:gd name="connsiteX283" fmla="*/ 520240 w 583176"/>
                    <a:gd name="connsiteY283" fmla="*/ 252245 h 526469"/>
                    <a:gd name="connsiteX284" fmla="*/ 520313 w 583176"/>
                    <a:gd name="connsiteY284" fmla="*/ 252452 h 526469"/>
                    <a:gd name="connsiteX285" fmla="*/ 520568 w 583176"/>
                    <a:gd name="connsiteY285" fmla="*/ 252403 h 526469"/>
                    <a:gd name="connsiteX286" fmla="*/ 523178 w 583176"/>
                    <a:gd name="connsiteY286" fmla="*/ 251395 h 526469"/>
                    <a:gd name="connsiteX287" fmla="*/ 527696 w 583176"/>
                    <a:gd name="connsiteY287" fmla="*/ 250169 h 526469"/>
                    <a:gd name="connsiteX288" fmla="*/ 528898 w 583176"/>
                    <a:gd name="connsiteY288" fmla="*/ 252039 h 526469"/>
                    <a:gd name="connsiteX289" fmla="*/ 532735 w 583176"/>
                    <a:gd name="connsiteY289" fmla="*/ 257236 h 526469"/>
                    <a:gd name="connsiteX290" fmla="*/ 532529 w 583176"/>
                    <a:gd name="connsiteY290" fmla="*/ 257370 h 526469"/>
                    <a:gd name="connsiteX291" fmla="*/ 534338 w 583176"/>
                    <a:gd name="connsiteY291" fmla="*/ 259057 h 526469"/>
                    <a:gd name="connsiteX292" fmla="*/ 537179 w 583176"/>
                    <a:gd name="connsiteY292" fmla="*/ 262275 h 526469"/>
                    <a:gd name="connsiteX293" fmla="*/ 537750 w 583176"/>
                    <a:gd name="connsiteY293" fmla="*/ 262409 h 526469"/>
                    <a:gd name="connsiteX294" fmla="*/ 540652 w 583176"/>
                    <a:gd name="connsiteY294" fmla="*/ 264036 h 526469"/>
                    <a:gd name="connsiteX295" fmla="*/ 540507 w 583176"/>
                    <a:gd name="connsiteY295" fmla="*/ 264255 h 526469"/>
                    <a:gd name="connsiteX296" fmla="*/ 543032 w 583176"/>
                    <a:gd name="connsiteY296" fmla="*/ 265724 h 526469"/>
                    <a:gd name="connsiteX297" fmla="*/ 545813 w 583176"/>
                    <a:gd name="connsiteY297" fmla="*/ 267715 h 526469"/>
                    <a:gd name="connsiteX298" fmla="*/ 548472 w 583176"/>
                    <a:gd name="connsiteY298" fmla="*/ 272658 h 526469"/>
                    <a:gd name="connsiteX299" fmla="*/ 550646 w 583176"/>
                    <a:gd name="connsiteY299" fmla="*/ 273580 h 526469"/>
                    <a:gd name="connsiteX300" fmla="*/ 553427 w 583176"/>
                    <a:gd name="connsiteY300" fmla="*/ 274188 h 526469"/>
                    <a:gd name="connsiteX301" fmla="*/ 558733 w 583176"/>
                    <a:gd name="connsiteY301" fmla="*/ 275973 h 526469"/>
                    <a:gd name="connsiteX302" fmla="*/ 558478 w 583176"/>
                    <a:gd name="connsiteY302" fmla="*/ 276689 h 526469"/>
                    <a:gd name="connsiteX303" fmla="*/ 558964 w 583176"/>
                    <a:gd name="connsiteY303" fmla="*/ 277005 h 526469"/>
                    <a:gd name="connsiteX304" fmla="*/ 559073 w 583176"/>
                    <a:gd name="connsiteY304" fmla="*/ 276859 h 526469"/>
                    <a:gd name="connsiteX305" fmla="*/ 561660 w 583176"/>
                    <a:gd name="connsiteY305" fmla="*/ 278462 h 526469"/>
                    <a:gd name="connsiteX306" fmla="*/ 563299 w 583176"/>
                    <a:gd name="connsiteY306" fmla="*/ 279713 h 526469"/>
                    <a:gd name="connsiteX307" fmla="*/ 563044 w 583176"/>
                    <a:gd name="connsiteY307" fmla="*/ 281923 h 526469"/>
                    <a:gd name="connsiteX308" fmla="*/ 562291 w 583176"/>
                    <a:gd name="connsiteY308" fmla="*/ 285201 h 526469"/>
                    <a:gd name="connsiteX309" fmla="*/ 562667 w 583176"/>
                    <a:gd name="connsiteY309" fmla="*/ 285954 h 526469"/>
                    <a:gd name="connsiteX310" fmla="*/ 563189 w 583176"/>
                    <a:gd name="connsiteY310" fmla="*/ 288917 h 526469"/>
                    <a:gd name="connsiteX311" fmla="*/ 563117 w 583176"/>
                    <a:gd name="connsiteY311" fmla="*/ 288929 h 526469"/>
                    <a:gd name="connsiteX312" fmla="*/ 564197 w 583176"/>
                    <a:gd name="connsiteY312" fmla="*/ 290836 h 526469"/>
                    <a:gd name="connsiteX313" fmla="*/ 565460 w 583176"/>
                    <a:gd name="connsiteY313" fmla="*/ 292111 h 526469"/>
                    <a:gd name="connsiteX314" fmla="*/ 569649 w 583176"/>
                    <a:gd name="connsiteY314" fmla="*/ 292645 h 526469"/>
                    <a:gd name="connsiteX315" fmla="*/ 569577 w 583176"/>
                    <a:gd name="connsiteY315" fmla="*/ 292973 h 526469"/>
                    <a:gd name="connsiteX316" fmla="*/ 570718 w 583176"/>
                    <a:gd name="connsiteY316" fmla="*/ 294126 h 526469"/>
                    <a:gd name="connsiteX317" fmla="*/ 572928 w 583176"/>
                    <a:gd name="connsiteY317" fmla="*/ 295863 h 526469"/>
                    <a:gd name="connsiteX318" fmla="*/ 574410 w 583176"/>
                    <a:gd name="connsiteY318" fmla="*/ 297344 h 526469"/>
                    <a:gd name="connsiteX319" fmla="*/ 576814 w 583176"/>
                    <a:gd name="connsiteY319" fmla="*/ 301582 h 526469"/>
                    <a:gd name="connsiteX320" fmla="*/ 576389 w 583176"/>
                    <a:gd name="connsiteY320" fmla="*/ 305468 h 526469"/>
                    <a:gd name="connsiteX321" fmla="*/ 576085 w 583176"/>
                    <a:gd name="connsiteY321" fmla="*/ 305516 h 526469"/>
                    <a:gd name="connsiteX322" fmla="*/ 575988 w 583176"/>
                    <a:gd name="connsiteY322" fmla="*/ 306391 h 526469"/>
                    <a:gd name="connsiteX323" fmla="*/ 576170 w 583176"/>
                    <a:gd name="connsiteY323" fmla="*/ 308176 h 526469"/>
                    <a:gd name="connsiteX324" fmla="*/ 577457 w 583176"/>
                    <a:gd name="connsiteY324" fmla="*/ 309815 h 526469"/>
                    <a:gd name="connsiteX325" fmla="*/ 579740 w 583176"/>
                    <a:gd name="connsiteY325" fmla="*/ 313761 h 526469"/>
                    <a:gd name="connsiteX326" fmla="*/ 581331 w 583176"/>
                    <a:gd name="connsiteY326" fmla="*/ 314733 h 526469"/>
                    <a:gd name="connsiteX327" fmla="*/ 582060 w 583176"/>
                    <a:gd name="connsiteY327" fmla="*/ 315595 h 526469"/>
                    <a:gd name="connsiteX328" fmla="*/ 583177 w 583176"/>
                    <a:gd name="connsiteY328" fmla="*/ 316032 h 526469"/>
                    <a:gd name="connsiteX329" fmla="*/ 582594 w 583176"/>
                    <a:gd name="connsiteY329" fmla="*/ 318898 h 526469"/>
                    <a:gd name="connsiteX330" fmla="*/ 581392 w 583176"/>
                    <a:gd name="connsiteY330" fmla="*/ 322516 h 526469"/>
                    <a:gd name="connsiteX331" fmla="*/ 578016 w 583176"/>
                    <a:gd name="connsiteY331" fmla="*/ 322091 h 526469"/>
                    <a:gd name="connsiteX332" fmla="*/ 576413 w 583176"/>
                    <a:gd name="connsiteY332" fmla="*/ 321387 h 526469"/>
                    <a:gd name="connsiteX333" fmla="*/ 575199 w 583176"/>
                    <a:gd name="connsiteY333" fmla="*/ 320355 h 526469"/>
                    <a:gd name="connsiteX334" fmla="*/ 573766 w 583176"/>
                    <a:gd name="connsiteY334" fmla="*/ 318704 h 526469"/>
                    <a:gd name="connsiteX335" fmla="*/ 573329 w 583176"/>
                    <a:gd name="connsiteY335" fmla="*/ 323318 h 526469"/>
                    <a:gd name="connsiteX336" fmla="*/ 572503 w 583176"/>
                    <a:gd name="connsiteY336" fmla="*/ 323257 h 526469"/>
                    <a:gd name="connsiteX337" fmla="*/ 571787 w 583176"/>
                    <a:gd name="connsiteY337" fmla="*/ 324289 h 526469"/>
                    <a:gd name="connsiteX338" fmla="*/ 572248 w 583176"/>
                    <a:gd name="connsiteY338" fmla="*/ 324641 h 526469"/>
                    <a:gd name="connsiteX339" fmla="*/ 570475 w 583176"/>
                    <a:gd name="connsiteY339" fmla="*/ 327216 h 526469"/>
                    <a:gd name="connsiteX340" fmla="*/ 569820 w 583176"/>
                    <a:gd name="connsiteY340" fmla="*/ 328515 h 526469"/>
                    <a:gd name="connsiteX341" fmla="*/ 569467 w 583176"/>
                    <a:gd name="connsiteY341" fmla="*/ 329402 h 526469"/>
                    <a:gd name="connsiteX342" fmla="*/ 567852 w 583176"/>
                    <a:gd name="connsiteY342" fmla="*/ 330458 h 526469"/>
                    <a:gd name="connsiteX343" fmla="*/ 567682 w 583176"/>
                    <a:gd name="connsiteY343" fmla="*/ 330919 h 526469"/>
                    <a:gd name="connsiteX344" fmla="*/ 567901 w 583176"/>
                    <a:gd name="connsiteY344" fmla="*/ 332692 h 526469"/>
                    <a:gd name="connsiteX345" fmla="*/ 567986 w 583176"/>
                    <a:gd name="connsiteY345" fmla="*/ 332692 h 526469"/>
                    <a:gd name="connsiteX346" fmla="*/ 568326 w 583176"/>
                    <a:gd name="connsiteY346" fmla="*/ 337124 h 526469"/>
                    <a:gd name="connsiteX347" fmla="*/ 571228 w 583176"/>
                    <a:gd name="connsiteY347" fmla="*/ 340330 h 526469"/>
                    <a:gd name="connsiteX348" fmla="*/ 569188 w 583176"/>
                    <a:gd name="connsiteY348" fmla="*/ 342358 h 526469"/>
                    <a:gd name="connsiteX349" fmla="*/ 567124 w 583176"/>
                    <a:gd name="connsiteY349" fmla="*/ 343329 h 526469"/>
                    <a:gd name="connsiteX350" fmla="*/ 564707 w 583176"/>
                    <a:gd name="connsiteY350" fmla="*/ 342249 h 526469"/>
                    <a:gd name="connsiteX351" fmla="*/ 562388 w 583176"/>
                    <a:gd name="connsiteY351" fmla="*/ 339626 h 526469"/>
                    <a:gd name="connsiteX352" fmla="*/ 560397 w 583176"/>
                    <a:gd name="connsiteY352" fmla="*/ 338594 h 526469"/>
                    <a:gd name="connsiteX353" fmla="*/ 558551 w 583176"/>
                    <a:gd name="connsiteY353" fmla="*/ 338339 h 526469"/>
                    <a:gd name="connsiteX354" fmla="*/ 537398 w 583176"/>
                    <a:gd name="connsiteY354" fmla="*/ 340184 h 526469"/>
                    <a:gd name="connsiteX355" fmla="*/ 534180 w 583176"/>
                    <a:gd name="connsiteY355" fmla="*/ 338946 h 526469"/>
                    <a:gd name="connsiteX356" fmla="*/ 524053 w 583176"/>
                    <a:gd name="connsiteY356" fmla="*/ 331174 h 526469"/>
                    <a:gd name="connsiteX357" fmla="*/ 522899 w 583176"/>
                    <a:gd name="connsiteY357" fmla="*/ 331053 h 526469"/>
                    <a:gd name="connsiteX358" fmla="*/ 518066 w 583176"/>
                    <a:gd name="connsiteY358" fmla="*/ 333858 h 526469"/>
                    <a:gd name="connsiteX359" fmla="*/ 495468 w 583176"/>
                    <a:gd name="connsiteY359" fmla="*/ 338290 h 526469"/>
                    <a:gd name="connsiteX360" fmla="*/ 488000 w 583176"/>
                    <a:gd name="connsiteY360" fmla="*/ 341775 h 526469"/>
                    <a:gd name="connsiteX361" fmla="*/ 477254 w 583176"/>
                    <a:gd name="connsiteY361" fmla="*/ 348357 h 526469"/>
                    <a:gd name="connsiteX362" fmla="*/ 475299 w 583176"/>
                    <a:gd name="connsiteY362" fmla="*/ 350336 h 526469"/>
                    <a:gd name="connsiteX363" fmla="*/ 475008 w 583176"/>
                    <a:gd name="connsiteY363" fmla="*/ 350919 h 526469"/>
                    <a:gd name="connsiteX364" fmla="*/ 474971 w 583176"/>
                    <a:gd name="connsiteY364" fmla="*/ 352388 h 526469"/>
                    <a:gd name="connsiteX365" fmla="*/ 474206 w 583176"/>
                    <a:gd name="connsiteY365" fmla="*/ 355788 h 526469"/>
                    <a:gd name="connsiteX366" fmla="*/ 472336 w 583176"/>
                    <a:gd name="connsiteY366" fmla="*/ 359892 h 526469"/>
                    <a:gd name="connsiteX367" fmla="*/ 467115 w 583176"/>
                    <a:gd name="connsiteY367" fmla="*/ 365539 h 526469"/>
                    <a:gd name="connsiteX368" fmla="*/ 462622 w 583176"/>
                    <a:gd name="connsiteY368" fmla="*/ 368562 h 526469"/>
                    <a:gd name="connsiteX369" fmla="*/ 458141 w 583176"/>
                    <a:gd name="connsiteY369" fmla="*/ 370457 h 526469"/>
                    <a:gd name="connsiteX370" fmla="*/ 449969 w 583176"/>
                    <a:gd name="connsiteY370" fmla="*/ 372861 h 526469"/>
                    <a:gd name="connsiteX371" fmla="*/ 440534 w 583176"/>
                    <a:gd name="connsiteY371" fmla="*/ 376795 h 526469"/>
                    <a:gd name="connsiteX372" fmla="*/ 437583 w 583176"/>
                    <a:gd name="connsiteY372" fmla="*/ 379018 h 526469"/>
                    <a:gd name="connsiteX373" fmla="*/ 437000 w 583176"/>
                    <a:gd name="connsiteY373" fmla="*/ 379989 h 526469"/>
                    <a:gd name="connsiteX374" fmla="*/ 432386 w 583176"/>
                    <a:gd name="connsiteY374" fmla="*/ 385150 h 526469"/>
                    <a:gd name="connsiteX375" fmla="*/ 417231 w 583176"/>
                    <a:gd name="connsiteY375" fmla="*/ 397693 h 526469"/>
                    <a:gd name="connsiteX376" fmla="*/ 413540 w 583176"/>
                    <a:gd name="connsiteY376" fmla="*/ 399964 h 526469"/>
                    <a:gd name="connsiteX377" fmla="*/ 409351 w 583176"/>
                    <a:gd name="connsiteY377" fmla="*/ 401421 h 526469"/>
                    <a:gd name="connsiteX378" fmla="*/ 406643 w 583176"/>
                    <a:gd name="connsiteY378" fmla="*/ 399393 h 526469"/>
                    <a:gd name="connsiteX379" fmla="*/ 403109 w 583176"/>
                    <a:gd name="connsiteY379" fmla="*/ 395386 h 526469"/>
                    <a:gd name="connsiteX380" fmla="*/ 402028 w 583176"/>
                    <a:gd name="connsiteY380" fmla="*/ 394646 h 526469"/>
                    <a:gd name="connsiteX381" fmla="*/ 399879 w 583176"/>
                    <a:gd name="connsiteY381" fmla="*/ 394184 h 526469"/>
                    <a:gd name="connsiteX382" fmla="*/ 394803 w 583176"/>
                    <a:gd name="connsiteY382" fmla="*/ 392059 h 526469"/>
                    <a:gd name="connsiteX383" fmla="*/ 393322 w 583176"/>
                    <a:gd name="connsiteY383" fmla="*/ 391816 h 526469"/>
                    <a:gd name="connsiteX384" fmla="*/ 391549 w 583176"/>
                    <a:gd name="connsiteY384" fmla="*/ 391853 h 526469"/>
                    <a:gd name="connsiteX385" fmla="*/ 388586 w 583176"/>
                    <a:gd name="connsiteY385" fmla="*/ 392618 h 526469"/>
                    <a:gd name="connsiteX386" fmla="*/ 387226 w 583176"/>
                    <a:gd name="connsiteY386" fmla="*/ 393601 h 526469"/>
                    <a:gd name="connsiteX387" fmla="*/ 387080 w 583176"/>
                    <a:gd name="connsiteY387" fmla="*/ 393820 h 526469"/>
                    <a:gd name="connsiteX388" fmla="*/ 386546 w 583176"/>
                    <a:gd name="connsiteY388" fmla="*/ 395908 h 526469"/>
                    <a:gd name="connsiteX389" fmla="*/ 386898 w 583176"/>
                    <a:gd name="connsiteY389" fmla="*/ 397645 h 526469"/>
                    <a:gd name="connsiteX390" fmla="*/ 387943 w 583176"/>
                    <a:gd name="connsiteY390" fmla="*/ 399721 h 526469"/>
                    <a:gd name="connsiteX391" fmla="*/ 389861 w 583176"/>
                    <a:gd name="connsiteY391" fmla="*/ 401907 h 526469"/>
                    <a:gd name="connsiteX392" fmla="*/ 396078 w 583176"/>
                    <a:gd name="connsiteY392" fmla="*/ 408148 h 526469"/>
                    <a:gd name="connsiteX393" fmla="*/ 398361 w 583176"/>
                    <a:gd name="connsiteY393" fmla="*/ 410941 h 526469"/>
                    <a:gd name="connsiteX394" fmla="*/ 399867 w 583176"/>
                    <a:gd name="connsiteY394" fmla="*/ 413224 h 526469"/>
                    <a:gd name="connsiteX395" fmla="*/ 400899 w 583176"/>
                    <a:gd name="connsiteY395" fmla="*/ 415507 h 526469"/>
                    <a:gd name="connsiteX396" fmla="*/ 401858 w 583176"/>
                    <a:gd name="connsiteY396" fmla="*/ 417158 h 526469"/>
                    <a:gd name="connsiteX397" fmla="*/ 404651 w 583176"/>
                    <a:gd name="connsiteY397" fmla="*/ 420486 h 526469"/>
                    <a:gd name="connsiteX398" fmla="*/ 406036 w 583176"/>
                    <a:gd name="connsiteY398" fmla="*/ 422671 h 526469"/>
                    <a:gd name="connsiteX399" fmla="*/ 406983 w 583176"/>
                    <a:gd name="connsiteY399" fmla="*/ 425792 h 526469"/>
                    <a:gd name="connsiteX400" fmla="*/ 407250 w 583176"/>
                    <a:gd name="connsiteY400" fmla="*/ 428379 h 526469"/>
                    <a:gd name="connsiteX401" fmla="*/ 405076 w 583176"/>
                    <a:gd name="connsiteY401" fmla="*/ 433151 h 526469"/>
                    <a:gd name="connsiteX402" fmla="*/ 405016 w 583176"/>
                    <a:gd name="connsiteY402" fmla="*/ 439040 h 526469"/>
                    <a:gd name="connsiteX403" fmla="*/ 405550 w 583176"/>
                    <a:gd name="connsiteY403" fmla="*/ 440558 h 526469"/>
                    <a:gd name="connsiteX404" fmla="*/ 409108 w 583176"/>
                    <a:gd name="connsiteY404" fmla="*/ 448257 h 526469"/>
                    <a:gd name="connsiteX405" fmla="*/ 409593 w 583176"/>
                    <a:gd name="connsiteY405" fmla="*/ 451487 h 526469"/>
                    <a:gd name="connsiteX406" fmla="*/ 409557 w 583176"/>
                    <a:gd name="connsiteY406" fmla="*/ 454085 h 526469"/>
                    <a:gd name="connsiteX407" fmla="*/ 408804 w 583176"/>
                    <a:gd name="connsiteY407" fmla="*/ 457959 h 526469"/>
                    <a:gd name="connsiteX408" fmla="*/ 407675 w 583176"/>
                    <a:gd name="connsiteY408" fmla="*/ 459635 h 526469"/>
                    <a:gd name="connsiteX409" fmla="*/ 405635 w 583176"/>
                    <a:gd name="connsiteY409" fmla="*/ 460825 h 526469"/>
                    <a:gd name="connsiteX410" fmla="*/ 402915 w 583176"/>
                    <a:gd name="connsiteY410" fmla="*/ 463302 h 526469"/>
                    <a:gd name="connsiteX411" fmla="*/ 398446 w 583176"/>
                    <a:gd name="connsiteY411" fmla="*/ 469482 h 526469"/>
                    <a:gd name="connsiteX412" fmla="*/ 398665 w 583176"/>
                    <a:gd name="connsiteY412" fmla="*/ 471972 h 526469"/>
                    <a:gd name="connsiteX413" fmla="*/ 395957 w 583176"/>
                    <a:gd name="connsiteY413" fmla="*/ 477169 h 526469"/>
                    <a:gd name="connsiteX414" fmla="*/ 392739 w 583176"/>
                    <a:gd name="connsiteY414" fmla="*/ 481686 h 526469"/>
                    <a:gd name="connsiteX415" fmla="*/ 389885 w 583176"/>
                    <a:gd name="connsiteY415" fmla="*/ 484430 h 526469"/>
                    <a:gd name="connsiteX416" fmla="*/ 387214 w 583176"/>
                    <a:gd name="connsiteY416" fmla="*/ 485244 h 526469"/>
                    <a:gd name="connsiteX417" fmla="*/ 384348 w 583176"/>
                    <a:gd name="connsiteY417" fmla="*/ 487624 h 526469"/>
                    <a:gd name="connsiteX418" fmla="*/ 374245 w 583176"/>
                    <a:gd name="connsiteY418" fmla="*/ 491206 h 526469"/>
                    <a:gd name="connsiteX419" fmla="*/ 373663 w 583176"/>
                    <a:gd name="connsiteY419" fmla="*/ 492117 h 526469"/>
                    <a:gd name="connsiteX420" fmla="*/ 373274 w 583176"/>
                    <a:gd name="connsiteY420" fmla="*/ 494995 h 526469"/>
                    <a:gd name="connsiteX421" fmla="*/ 372339 w 583176"/>
                    <a:gd name="connsiteY421" fmla="*/ 497642 h 526469"/>
                    <a:gd name="connsiteX422" fmla="*/ 370724 w 583176"/>
                    <a:gd name="connsiteY422" fmla="*/ 499233 h 526469"/>
                    <a:gd name="connsiteX423" fmla="*/ 367093 w 583176"/>
                    <a:gd name="connsiteY423" fmla="*/ 501904 h 526469"/>
                    <a:gd name="connsiteX424" fmla="*/ 365976 w 583176"/>
                    <a:gd name="connsiteY424" fmla="*/ 503033 h 526469"/>
                    <a:gd name="connsiteX425" fmla="*/ 362175 w 583176"/>
                    <a:gd name="connsiteY425" fmla="*/ 504928 h 526469"/>
                    <a:gd name="connsiteX426" fmla="*/ 348636 w 583176"/>
                    <a:gd name="connsiteY426" fmla="*/ 506033 h 526469"/>
                    <a:gd name="connsiteX427" fmla="*/ 342006 w 583176"/>
                    <a:gd name="connsiteY427" fmla="*/ 510003 h 526469"/>
                    <a:gd name="connsiteX428" fmla="*/ 335910 w 583176"/>
                    <a:gd name="connsiteY428" fmla="*/ 515771 h 526469"/>
                    <a:gd name="connsiteX429" fmla="*/ 328321 w 583176"/>
                    <a:gd name="connsiteY429" fmla="*/ 526469 h 526469"/>
                    <a:gd name="connsiteX430" fmla="*/ 322055 w 583176"/>
                    <a:gd name="connsiteY430" fmla="*/ 524271 h 526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Lst>
                  <a:rect l="l" t="t" r="r" b="b"/>
                  <a:pathLst>
                    <a:path w="583176" h="526469">
                      <a:moveTo>
                        <a:pt x="322055" y="524271"/>
                      </a:moveTo>
                      <a:lnTo>
                        <a:pt x="318351" y="521746"/>
                      </a:lnTo>
                      <a:lnTo>
                        <a:pt x="316154" y="520641"/>
                      </a:lnTo>
                      <a:lnTo>
                        <a:pt x="314089" y="518710"/>
                      </a:lnTo>
                      <a:lnTo>
                        <a:pt x="312972" y="516573"/>
                      </a:lnTo>
                      <a:lnTo>
                        <a:pt x="312644" y="515820"/>
                      </a:lnTo>
                      <a:lnTo>
                        <a:pt x="312693" y="515480"/>
                      </a:lnTo>
                      <a:lnTo>
                        <a:pt x="306719" y="518637"/>
                      </a:lnTo>
                      <a:lnTo>
                        <a:pt x="294005" y="517641"/>
                      </a:lnTo>
                      <a:lnTo>
                        <a:pt x="289682" y="519111"/>
                      </a:lnTo>
                      <a:lnTo>
                        <a:pt x="288188" y="519548"/>
                      </a:lnTo>
                      <a:lnTo>
                        <a:pt x="274163" y="508643"/>
                      </a:lnTo>
                      <a:lnTo>
                        <a:pt x="268165" y="505341"/>
                      </a:lnTo>
                      <a:lnTo>
                        <a:pt x="255815" y="502621"/>
                      </a:lnTo>
                      <a:lnTo>
                        <a:pt x="248651" y="498601"/>
                      </a:lnTo>
                      <a:lnTo>
                        <a:pt x="241317" y="492894"/>
                      </a:lnTo>
                      <a:lnTo>
                        <a:pt x="236957" y="491364"/>
                      </a:lnTo>
                      <a:lnTo>
                        <a:pt x="231432" y="491910"/>
                      </a:lnTo>
                      <a:lnTo>
                        <a:pt x="224292" y="494776"/>
                      </a:lnTo>
                      <a:lnTo>
                        <a:pt x="214906" y="495808"/>
                      </a:lnTo>
                      <a:lnTo>
                        <a:pt x="201949" y="489567"/>
                      </a:lnTo>
                      <a:lnTo>
                        <a:pt x="195428" y="489980"/>
                      </a:lnTo>
                      <a:lnTo>
                        <a:pt x="189430" y="491947"/>
                      </a:lnTo>
                      <a:lnTo>
                        <a:pt x="181452" y="492445"/>
                      </a:lnTo>
                      <a:lnTo>
                        <a:pt x="172915" y="489870"/>
                      </a:lnTo>
                      <a:lnTo>
                        <a:pt x="167318" y="483617"/>
                      </a:lnTo>
                      <a:lnTo>
                        <a:pt x="161113" y="468135"/>
                      </a:lnTo>
                      <a:lnTo>
                        <a:pt x="160323" y="462525"/>
                      </a:lnTo>
                      <a:lnTo>
                        <a:pt x="161963" y="458044"/>
                      </a:lnTo>
                      <a:lnTo>
                        <a:pt x="164233" y="453939"/>
                      </a:lnTo>
                      <a:lnTo>
                        <a:pt x="165569" y="450709"/>
                      </a:lnTo>
                      <a:lnTo>
                        <a:pt x="165569" y="447577"/>
                      </a:lnTo>
                      <a:lnTo>
                        <a:pt x="164270" y="439720"/>
                      </a:lnTo>
                      <a:lnTo>
                        <a:pt x="164136" y="434729"/>
                      </a:lnTo>
                      <a:lnTo>
                        <a:pt x="165642" y="429180"/>
                      </a:lnTo>
                      <a:lnTo>
                        <a:pt x="170657" y="419806"/>
                      </a:lnTo>
                      <a:lnTo>
                        <a:pt x="171495" y="416576"/>
                      </a:lnTo>
                      <a:lnTo>
                        <a:pt x="171070" y="413734"/>
                      </a:lnTo>
                      <a:lnTo>
                        <a:pt x="170560" y="413346"/>
                      </a:lnTo>
                      <a:lnTo>
                        <a:pt x="169382" y="413576"/>
                      </a:lnTo>
                      <a:lnTo>
                        <a:pt x="166698" y="416163"/>
                      </a:lnTo>
                      <a:lnTo>
                        <a:pt x="165593" y="419247"/>
                      </a:lnTo>
                      <a:lnTo>
                        <a:pt x="164962" y="422307"/>
                      </a:lnTo>
                      <a:lnTo>
                        <a:pt x="162898" y="426824"/>
                      </a:lnTo>
                      <a:lnTo>
                        <a:pt x="158283" y="429896"/>
                      </a:lnTo>
                      <a:lnTo>
                        <a:pt x="153815" y="431402"/>
                      </a:lnTo>
                      <a:lnTo>
                        <a:pt x="143505" y="433029"/>
                      </a:lnTo>
                      <a:lnTo>
                        <a:pt x="138454" y="432871"/>
                      </a:lnTo>
                      <a:lnTo>
                        <a:pt x="134823" y="431001"/>
                      </a:lnTo>
                      <a:lnTo>
                        <a:pt x="128606" y="425221"/>
                      </a:lnTo>
                      <a:lnTo>
                        <a:pt x="127112" y="424590"/>
                      </a:lnTo>
                      <a:lnTo>
                        <a:pt x="124829" y="424772"/>
                      </a:lnTo>
                      <a:lnTo>
                        <a:pt x="119268" y="427941"/>
                      </a:lnTo>
                      <a:lnTo>
                        <a:pt x="114399" y="429301"/>
                      </a:lnTo>
                      <a:lnTo>
                        <a:pt x="109736" y="428500"/>
                      </a:lnTo>
                      <a:lnTo>
                        <a:pt x="105461" y="426071"/>
                      </a:lnTo>
                      <a:lnTo>
                        <a:pt x="102256" y="422368"/>
                      </a:lnTo>
                      <a:lnTo>
                        <a:pt x="99305" y="416175"/>
                      </a:lnTo>
                      <a:lnTo>
                        <a:pt x="103373" y="410480"/>
                      </a:lnTo>
                      <a:lnTo>
                        <a:pt x="105219" y="406886"/>
                      </a:lnTo>
                      <a:lnTo>
                        <a:pt x="105474" y="403534"/>
                      </a:lnTo>
                      <a:lnTo>
                        <a:pt x="103203" y="393808"/>
                      </a:lnTo>
                      <a:lnTo>
                        <a:pt x="102693" y="382709"/>
                      </a:lnTo>
                      <a:lnTo>
                        <a:pt x="101394" y="380086"/>
                      </a:lnTo>
                      <a:lnTo>
                        <a:pt x="97059" y="377512"/>
                      </a:lnTo>
                      <a:lnTo>
                        <a:pt x="80666" y="375108"/>
                      </a:lnTo>
                      <a:lnTo>
                        <a:pt x="72190" y="370675"/>
                      </a:lnTo>
                      <a:lnTo>
                        <a:pt x="61419" y="356614"/>
                      </a:lnTo>
                      <a:lnTo>
                        <a:pt x="55590" y="351150"/>
                      </a:lnTo>
                      <a:lnTo>
                        <a:pt x="49143" y="346948"/>
                      </a:lnTo>
                      <a:lnTo>
                        <a:pt x="43180" y="341192"/>
                      </a:lnTo>
                      <a:lnTo>
                        <a:pt x="40108" y="333482"/>
                      </a:lnTo>
                      <a:lnTo>
                        <a:pt x="40776" y="322954"/>
                      </a:lnTo>
                      <a:lnTo>
                        <a:pt x="43326" y="317999"/>
                      </a:lnTo>
                      <a:lnTo>
                        <a:pt x="46957" y="315583"/>
                      </a:lnTo>
                      <a:lnTo>
                        <a:pt x="54655" y="312656"/>
                      </a:lnTo>
                      <a:lnTo>
                        <a:pt x="57072" y="310859"/>
                      </a:lnTo>
                      <a:lnTo>
                        <a:pt x="59100" y="308698"/>
                      </a:lnTo>
                      <a:lnTo>
                        <a:pt x="60860" y="306099"/>
                      </a:lnTo>
                      <a:lnTo>
                        <a:pt x="62415" y="302966"/>
                      </a:lnTo>
                      <a:lnTo>
                        <a:pt x="68025" y="287982"/>
                      </a:lnTo>
                      <a:lnTo>
                        <a:pt x="71813" y="273046"/>
                      </a:lnTo>
                      <a:lnTo>
                        <a:pt x="69190" y="263222"/>
                      </a:lnTo>
                      <a:lnTo>
                        <a:pt x="60035" y="256325"/>
                      </a:lnTo>
                      <a:lnTo>
                        <a:pt x="48487" y="250497"/>
                      </a:lnTo>
                      <a:lnTo>
                        <a:pt x="39052" y="242980"/>
                      </a:lnTo>
                      <a:lnTo>
                        <a:pt x="36732" y="239179"/>
                      </a:lnTo>
                      <a:lnTo>
                        <a:pt x="35530" y="235585"/>
                      </a:lnTo>
                      <a:lnTo>
                        <a:pt x="34960" y="231821"/>
                      </a:lnTo>
                      <a:lnTo>
                        <a:pt x="35397" y="224984"/>
                      </a:lnTo>
                      <a:lnTo>
                        <a:pt x="36028" y="221876"/>
                      </a:lnTo>
                      <a:lnTo>
                        <a:pt x="36915" y="218949"/>
                      </a:lnTo>
                      <a:lnTo>
                        <a:pt x="38190" y="216096"/>
                      </a:lnTo>
                      <a:lnTo>
                        <a:pt x="44844" y="204949"/>
                      </a:lnTo>
                      <a:lnTo>
                        <a:pt x="50466" y="199824"/>
                      </a:lnTo>
                      <a:lnTo>
                        <a:pt x="71534" y="196424"/>
                      </a:lnTo>
                      <a:lnTo>
                        <a:pt x="77436" y="193813"/>
                      </a:lnTo>
                      <a:lnTo>
                        <a:pt x="83483" y="189697"/>
                      </a:lnTo>
                      <a:lnTo>
                        <a:pt x="88218" y="185228"/>
                      </a:lnTo>
                      <a:lnTo>
                        <a:pt x="92104" y="179594"/>
                      </a:lnTo>
                      <a:lnTo>
                        <a:pt x="93258" y="174737"/>
                      </a:lnTo>
                      <a:lnTo>
                        <a:pt x="91485" y="169722"/>
                      </a:lnTo>
                      <a:lnTo>
                        <a:pt x="87296" y="166917"/>
                      </a:lnTo>
                      <a:lnTo>
                        <a:pt x="81479" y="167123"/>
                      </a:lnTo>
                      <a:lnTo>
                        <a:pt x="74934" y="168678"/>
                      </a:lnTo>
                      <a:lnTo>
                        <a:pt x="67697" y="169090"/>
                      </a:lnTo>
                      <a:lnTo>
                        <a:pt x="56586" y="165581"/>
                      </a:lnTo>
                      <a:lnTo>
                        <a:pt x="53575" y="165508"/>
                      </a:lnTo>
                      <a:lnTo>
                        <a:pt x="41019" y="168726"/>
                      </a:lnTo>
                      <a:lnTo>
                        <a:pt x="33952" y="167378"/>
                      </a:lnTo>
                      <a:lnTo>
                        <a:pt x="27892" y="163201"/>
                      </a:lnTo>
                      <a:lnTo>
                        <a:pt x="22974" y="156984"/>
                      </a:lnTo>
                      <a:lnTo>
                        <a:pt x="20522" y="148872"/>
                      </a:lnTo>
                      <a:lnTo>
                        <a:pt x="22598" y="140822"/>
                      </a:lnTo>
                      <a:lnTo>
                        <a:pt x="27625" y="135892"/>
                      </a:lnTo>
                      <a:lnTo>
                        <a:pt x="39598" y="129796"/>
                      </a:lnTo>
                      <a:lnTo>
                        <a:pt x="41590" y="127902"/>
                      </a:lnTo>
                      <a:lnTo>
                        <a:pt x="41930" y="125376"/>
                      </a:lnTo>
                      <a:lnTo>
                        <a:pt x="40655" y="121429"/>
                      </a:lnTo>
                      <a:lnTo>
                        <a:pt x="38396" y="118114"/>
                      </a:lnTo>
                      <a:lnTo>
                        <a:pt x="33939" y="107101"/>
                      </a:lnTo>
                      <a:lnTo>
                        <a:pt x="32252" y="105304"/>
                      </a:lnTo>
                      <a:lnTo>
                        <a:pt x="27662" y="104842"/>
                      </a:lnTo>
                      <a:lnTo>
                        <a:pt x="22938" y="105389"/>
                      </a:lnTo>
                      <a:lnTo>
                        <a:pt x="17389" y="104721"/>
                      </a:lnTo>
                      <a:lnTo>
                        <a:pt x="12192" y="102851"/>
                      </a:lnTo>
                      <a:lnTo>
                        <a:pt x="7140" y="100106"/>
                      </a:lnTo>
                      <a:lnTo>
                        <a:pt x="1821" y="94970"/>
                      </a:lnTo>
                      <a:lnTo>
                        <a:pt x="0" y="88425"/>
                      </a:lnTo>
                      <a:lnTo>
                        <a:pt x="1141" y="81819"/>
                      </a:lnTo>
                      <a:lnTo>
                        <a:pt x="4578" y="76537"/>
                      </a:lnTo>
                      <a:lnTo>
                        <a:pt x="7286" y="74327"/>
                      </a:lnTo>
                      <a:lnTo>
                        <a:pt x="12362" y="71716"/>
                      </a:lnTo>
                      <a:lnTo>
                        <a:pt x="12689" y="71291"/>
                      </a:lnTo>
                      <a:lnTo>
                        <a:pt x="13539" y="69081"/>
                      </a:lnTo>
                      <a:lnTo>
                        <a:pt x="13576" y="61285"/>
                      </a:lnTo>
                      <a:lnTo>
                        <a:pt x="17401" y="55177"/>
                      </a:lnTo>
                      <a:lnTo>
                        <a:pt x="26921" y="48900"/>
                      </a:lnTo>
                      <a:lnTo>
                        <a:pt x="28378" y="46410"/>
                      </a:lnTo>
                      <a:lnTo>
                        <a:pt x="28317" y="41225"/>
                      </a:lnTo>
                      <a:lnTo>
                        <a:pt x="26933" y="36490"/>
                      </a:lnTo>
                      <a:lnTo>
                        <a:pt x="27273" y="29228"/>
                      </a:lnTo>
                      <a:lnTo>
                        <a:pt x="33794" y="24128"/>
                      </a:lnTo>
                      <a:lnTo>
                        <a:pt x="37000" y="22598"/>
                      </a:lnTo>
                      <a:lnTo>
                        <a:pt x="67515" y="17547"/>
                      </a:lnTo>
                      <a:lnTo>
                        <a:pt x="71571" y="15482"/>
                      </a:lnTo>
                      <a:lnTo>
                        <a:pt x="85146" y="5986"/>
                      </a:lnTo>
                      <a:lnTo>
                        <a:pt x="97872" y="1154"/>
                      </a:lnTo>
                      <a:lnTo>
                        <a:pt x="110513" y="0"/>
                      </a:lnTo>
                      <a:lnTo>
                        <a:pt x="123081" y="1919"/>
                      </a:lnTo>
                      <a:lnTo>
                        <a:pt x="171009" y="18202"/>
                      </a:lnTo>
                      <a:lnTo>
                        <a:pt x="236787" y="30491"/>
                      </a:lnTo>
                      <a:lnTo>
                        <a:pt x="253545" y="29617"/>
                      </a:lnTo>
                      <a:lnTo>
                        <a:pt x="265311" y="27200"/>
                      </a:lnTo>
                      <a:lnTo>
                        <a:pt x="273690" y="27237"/>
                      </a:lnTo>
                      <a:lnTo>
                        <a:pt x="279409" y="30758"/>
                      </a:lnTo>
                      <a:lnTo>
                        <a:pt x="282530" y="35275"/>
                      </a:lnTo>
                      <a:lnTo>
                        <a:pt x="285225" y="38044"/>
                      </a:lnTo>
                      <a:lnTo>
                        <a:pt x="292159" y="42804"/>
                      </a:lnTo>
                      <a:lnTo>
                        <a:pt x="299433" y="46082"/>
                      </a:lnTo>
                      <a:lnTo>
                        <a:pt x="323160" y="52020"/>
                      </a:lnTo>
                      <a:lnTo>
                        <a:pt x="325443" y="58857"/>
                      </a:lnTo>
                      <a:lnTo>
                        <a:pt x="320088" y="58092"/>
                      </a:lnTo>
                      <a:lnTo>
                        <a:pt x="320865" y="59537"/>
                      </a:lnTo>
                      <a:lnTo>
                        <a:pt x="322614" y="61978"/>
                      </a:lnTo>
                      <a:lnTo>
                        <a:pt x="322261" y="62208"/>
                      </a:lnTo>
                      <a:lnTo>
                        <a:pt x="323852" y="65147"/>
                      </a:lnTo>
                      <a:lnTo>
                        <a:pt x="324326" y="67235"/>
                      </a:lnTo>
                      <a:lnTo>
                        <a:pt x="325929" y="69445"/>
                      </a:lnTo>
                      <a:lnTo>
                        <a:pt x="325054" y="73113"/>
                      </a:lnTo>
                      <a:lnTo>
                        <a:pt x="326232" y="73902"/>
                      </a:lnTo>
                      <a:lnTo>
                        <a:pt x="327252" y="74715"/>
                      </a:lnTo>
                      <a:lnTo>
                        <a:pt x="331478" y="80459"/>
                      </a:lnTo>
                      <a:lnTo>
                        <a:pt x="332061" y="81054"/>
                      </a:lnTo>
                      <a:lnTo>
                        <a:pt x="332146" y="80993"/>
                      </a:lnTo>
                      <a:lnTo>
                        <a:pt x="334344" y="82997"/>
                      </a:lnTo>
                      <a:lnTo>
                        <a:pt x="339735" y="88996"/>
                      </a:lnTo>
                      <a:lnTo>
                        <a:pt x="339553" y="89360"/>
                      </a:lnTo>
                      <a:lnTo>
                        <a:pt x="339978" y="89870"/>
                      </a:lnTo>
                      <a:lnTo>
                        <a:pt x="342103" y="91934"/>
                      </a:lnTo>
                      <a:lnTo>
                        <a:pt x="343414" y="93488"/>
                      </a:lnTo>
                      <a:lnTo>
                        <a:pt x="348308" y="97520"/>
                      </a:lnTo>
                      <a:lnTo>
                        <a:pt x="348199" y="97666"/>
                      </a:lnTo>
                      <a:lnTo>
                        <a:pt x="350579" y="99621"/>
                      </a:lnTo>
                      <a:lnTo>
                        <a:pt x="354197" y="103045"/>
                      </a:lnTo>
                      <a:lnTo>
                        <a:pt x="356930" y="104138"/>
                      </a:lnTo>
                      <a:lnTo>
                        <a:pt x="358787" y="104150"/>
                      </a:lnTo>
                      <a:lnTo>
                        <a:pt x="359431" y="104211"/>
                      </a:lnTo>
                      <a:lnTo>
                        <a:pt x="361131" y="104636"/>
                      </a:lnTo>
                      <a:lnTo>
                        <a:pt x="363960" y="106239"/>
                      </a:lnTo>
                      <a:lnTo>
                        <a:pt x="367008" y="107477"/>
                      </a:lnTo>
                      <a:lnTo>
                        <a:pt x="367032" y="107319"/>
                      </a:lnTo>
                      <a:lnTo>
                        <a:pt x="370675" y="107890"/>
                      </a:lnTo>
                      <a:lnTo>
                        <a:pt x="370955" y="107429"/>
                      </a:lnTo>
                      <a:lnTo>
                        <a:pt x="373954" y="107708"/>
                      </a:lnTo>
                      <a:lnTo>
                        <a:pt x="378799" y="110659"/>
                      </a:lnTo>
                      <a:lnTo>
                        <a:pt x="378641" y="110889"/>
                      </a:lnTo>
                      <a:lnTo>
                        <a:pt x="379236" y="111254"/>
                      </a:lnTo>
                      <a:lnTo>
                        <a:pt x="379479" y="111071"/>
                      </a:lnTo>
                      <a:lnTo>
                        <a:pt x="381519" y="113306"/>
                      </a:lnTo>
                      <a:lnTo>
                        <a:pt x="386862" y="120373"/>
                      </a:lnTo>
                      <a:lnTo>
                        <a:pt x="385915" y="121089"/>
                      </a:lnTo>
                      <a:lnTo>
                        <a:pt x="386133" y="121757"/>
                      </a:lnTo>
                      <a:lnTo>
                        <a:pt x="387348" y="124489"/>
                      </a:lnTo>
                      <a:lnTo>
                        <a:pt x="388598" y="128339"/>
                      </a:lnTo>
                      <a:lnTo>
                        <a:pt x="389254" y="129092"/>
                      </a:lnTo>
                      <a:lnTo>
                        <a:pt x="390881" y="131484"/>
                      </a:lnTo>
                      <a:lnTo>
                        <a:pt x="390651" y="131654"/>
                      </a:lnTo>
                      <a:lnTo>
                        <a:pt x="392533" y="133997"/>
                      </a:lnTo>
                      <a:lnTo>
                        <a:pt x="393346" y="135212"/>
                      </a:lnTo>
                      <a:lnTo>
                        <a:pt x="398361" y="139996"/>
                      </a:lnTo>
                      <a:lnTo>
                        <a:pt x="398058" y="140275"/>
                      </a:lnTo>
                      <a:lnTo>
                        <a:pt x="400243" y="142485"/>
                      </a:lnTo>
                      <a:lnTo>
                        <a:pt x="402611" y="145436"/>
                      </a:lnTo>
                      <a:lnTo>
                        <a:pt x="405866" y="148411"/>
                      </a:lnTo>
                      <a:lnTo>
                        <a:pt x="405696" y="148630"/>
                      </a:lnTo>
                      <a:lnTo>
                        <a:pt x="408112" y="150402"/>
                      </a:lnTo>
                      <a:lnTo>
                        <a:pt x="413431" y="154932"/>
                      </a:lnTo>
                      <a:lnTo>
                        <a:pt x="414694" y="155612"/>
                      </a:lnTo>
                      <a:lnTo>
                        <a:pt x="417171" y="156620"/>
                      </a:lnTo>
                      <a:lnTo>
                        <a:pt x="423558" y="157785"/>
                      </a:lnTo>
                      <a:lnTo>
                        <a:pt x="425064" y="157773"/>
                      </a:lnTo>
                      <a:lnTo>
                        <a:pt x="427201" y="157470"/>
                      </a:lnTo>
                      <a:lnTo>
                        <a:pt x="432289" y="156255"/>
                      </a:lnTo>
                      <a:lnTo>
                        <a:pt x="434669" y="155612"/>
                      </a:lnTo>
                      <a:lnTo>
                        <a:pt x="437049" y="154118"/>
                      </a:lnTo>
                      <a:lnTo>
                        <a:pt x="441347" y="151932"/>
                      </a:lnTo>
                      <a:lnTo>
                        <a:pt x="447431" y="155478"/>
                      </a:lnTo>
                      <a:lnTo>
                        <a:pt x="447188" y="156049"/>
                      </a:lnTo>
                      <a:lnTo>
                        <a:pt x="447540" y="156316"/>
                      </a:lnTo>
                      <a:lnTo>
                        <a:pt x="448111" y="155575"/>
                      </a:lnTo>
                      <a:lnTo>
                        <a:pt x="450685" y="158429"/>
                      </a:lnTo>
                      <a:lnTo>
                        <a:pt x="456247" y="165593"/>
                      </a:lnTo>
                      <a:lnTo>
                        <a:pt x="456040" y="165727"/>
                      </a:lnTo>
                      <a:lnTo>
                        <a:pt x="457886" y="167840"/>
                      </a:lnTo>
                      <a:lnTo>
                        <a:pt x="460145" y="170924"/>
                      </a:lnTo>
                      <a:lnTo>
                        <a:pt x="462865" y="175125"/>
                      </a:lnTo>
                      <a:lnTo>
                        <a:pt x="462622" y="175308"/>
                      </a:lnTo>
                      <a:lnTo>
                        <a:pt x="462852" y="175648"/>
                      </a:lnTo>
                      <a:lnTo>
                        <a:pt x="464200" y="176364"/>
                      </a:lnTo>
                      <a:lnTo>
                        <a:pt x="469470" y="179898"/>
                      </a:lnTo>
                      <a:lnTo>
                        <a:pt x="471049" y="182994"/>
                      </a:lnTo>
                      <a:lnTo>
                        <a:pt x="470915" y="183103"/>
                      </a:lnTo>
                      <a:lnTo>
                        <a:pt x="471535" y="184208"/>
                      </a:lnTo>
                      <a:lnTo>
                        <a:pt x="472749" y="185751"/>
                      </a:lnTo>
                      <a:lnTo>
                        <a:pt x="477315" y="192976"/>
                      </a:lnTo>
                      <a:lnTo>
                        <a:pt x="477132" y="193133"/>
                      </a:lnTo>
                      <a:lnTo>
                        <a:pt x="479051" y="195671"/>
                      </a:lnTo>
                      <a:lnTo>
                        <a:pt x="483848" y="202775"/>
                      </a:lnTo>
                      <a:lnTo>
                        <a:pt x="483253" y="203261"/>
                      </a:lnTo>
                      <a:lnTo>
                        <a:pt x="483981" y="204839"/>
                      </a:lnTo>
                      <a:lnTo>
                        <a:pt x="484552" y="205337"/>
                      </a:lnTo>
                      <a:lnTo>
                        <a:pt x="488923" y="209939"/>
                      </a:lnTo>
                      <a:lnTo>
                        <a:pt x="489943" y="213643"/>
                      </a:lnTo>
                      <a:lnTo>
                        <a:pt x="489603" y="213764"/>
                      </a:lnTo>
                      <a:lnTo>
                        <a:pt x="489713" y="214189"/>
                      </a:lnTo>
                      <a:lnTo>
                        <a:pt x="489968" y="214165"/>
                      </a:lnTo>
                      <a:lnTo>
                        <a:pt x="490672" y="217091"/>
                      </a:lnTo>
                      <a:lnTo>
                        <a:pt x="490939" y="219204"/>
                      </a:lnTo>
                      <a:lnTo>
                        <a:pt x="490514" y="226611"/>
                      </a:lnTo>
                      <a:lnTo>
                        <a:pt x="489919" y="226563"/>
                      </a:lnTo>
                      <a:lnTo>
                        <a:pt x="489676" y="229684"/>
                      </a:lnTo>
                      <a:lnTo>
                        <a:pt x="489421" y="231080"/>
                      </a:lnTo>
                      <a:lnTo>
                        <a:pt x="486980" y="238512"/>
                      </a:lnTo>
                      <a:lnTo>
                        <a:pt x="486835" y="238475"/>
                      </a:lnTo>
                      <a:lnTo>
                        <a:pt x="486531" y="241110"/>
                      </a:lnTo>
                      <a:lnTo>
                        <a:pt x="485888" y="244061"/>
                      </a:lnTo>
                      <a:lnTo>
                        <a:pt x="485718" y="245809"/>
                      </a:lnTo>
                      <a:lnTo>
                        <a:pt x="488073" y="244717"/>
                      </a:lnTo>
                      <a:lnTo>
                        <a:pt x="493368" y="243126"/>
                      </a:lnTo>
                      <a:lnTo>
                        <a:pt x="495213" y="241559"/>
                      </a:lnTo>
                      <a:lnTo>
                        <a:pt x="498893" y="237540"/>
                      </a:lnTo>
                      <a:lnTo>
                        <a:pt x="504867" y="238232"/>
                      </a:lnTo>
                      <a:lnTo>
                        <a:pt x="504818" y="238487"/>
                      </a:lnTo>
                      <a:lnTo>
                        <a:pt x="505668" y="238584"/>
                      </a:lnTo>
                      <a:lnTo>
                        <a:pt x="506251" y="239216"/>
                      </a:lnTo>
                      <a:lnTo>
                        <a:pt x="508522" y="241232"/>
                      </a:lnTo>
                      <a:lnTo>
                        <a:pt x="511691" y="244680"/>
                      </a:lnTo>
                      <a:lnTo>
                        <a:pt x="514521" y="248347"/>
                      </a:lnTo>
                      <a:lnTo>
                        <a:pt x="514326" y="248481"/>
                      </a:lnTo>
                      <a:lnTo>
                        <a:pt x="516196" y="250764"/>
                      </a:lnTo>
                      <a:lnTo>
                        <a:pt x="516755" y="251614"/>
                      </a:lnTo>
                      <a:lnTo>
                        <a:pt x="518431" y="252537"/>
                      </a:lnTo>
                      <a:lnTo>
                        <a:pt x="520240" y="252245"/>
                      </a:lnTo>
                      <a:lnTo>
                        <a:pt x="520313" y="252452"/>
                      </a:lnTo>
                      <a:lnTo>
                        <a:pt x="520568" y="252403"/>
                      </a:lnTo>
                      <a:lnTo>
                        <a:pt x="523178" y="251395"/>
                      </a:lnTo>
                      <a:lnTo>
                        <a:pt x="527696" y="250169"/>
                      </a:lnTo>
                      <a:lnTo>
                        <a:pt x="528898" y="252039"/>
                      </a:lnTo>
                      <a:lnTo>
                        <a:pt x="532735" y="257236"/>
                      </a:lnTo>
                      <a:lnTo>
                        <a:pt x="532529" y="257370"/>
                      </a:lnTo>
                      <a:lnTo>
                        <a:pt x="534338" y="259057"/>
                      </a:lnTo>
                      <a:lnTo>
                        <a:pt x="537179" y="262275"/>
                      </a:lnTo>
                      <a:lnTo>
                        <a:pt x="537750" y="262409"/>
                      </a:lnTo>
                      <a:lnTo>
                        <a:pt x="540652" y="264036"/>
                      </a:lnTo>
                      <a:lnTo>
                        <a:pt x="540507" y="264255"/>
                      </a:lnTo>
                      <a:lnTo>
                        <a:pt x="543032" y="265724"/>
                      </a:lnTo>
                      <a:lnTo>
                        <a:pt x="545813" y="267715"/>
                      </a:lnTo>
                      <a:lnTo>
                        <a:pt x="548472" y="272658"/>
                      </a:lnTo>
                      <a:lnTo>
                        <a:pt x="550646" y="273580"/>
                      </a:lnTo>
                      <a:lnTo>
                        <a:pt x="553427" y="274188"/>
                      </a:lnTo>
                      <a:lnTo>
                        <a:pt x="558733" y="275973"/>
                      </a:lnTo>
                      <a:lnTo>
                        <a:pt x="558478" y="276689"/>
                      </a:lnTo>
                      <a:lnTo>
                        <a:pt x="558964" y="277005"/>
                      </a:lnTo>
                      <a:lnTo>
                        <a:pt x="559073" y="276859"/>
                      </a:lnTo>
                      <a:lnTo>
                        <a:pt x="561660" y="278462"/>
                      </a:lnTo>
                      <a:lnTo>
                        <a:pt x="563299" y="279713"/>
                      </a:lnTo>
                      <a:lnTo>
                        <a:pt x="563044" y="281923"/>
                      </a:lnTo>
                      <a:lnTo>
                        <a:pt x="562291" y="285201"/>
                      </a:lnTo>
                      <a:lnTo>
                        <a:pt x="562667" y="285954"/>
                      </a:lnTo>
                      <a:lnTo>
                        <a:pt x="563189" y="288917"/>
                      </a:lnTo>
                      <a:lnTo>
                        <a:pt x="563117" y="288929"/>
                      </a:lnTo>
                      <a:lnTo>
                        <a:pt x="564197" y="290836"/>
                      </a:lnTo>
                      <a:lnTo>
                        <a:pt x="565460" y="292111"/>
                      </a:lnTo>
                      <a:lnTo>
                        <a:pt x="569649" y="292645"/>
                      </a:lnTo>
                      <a:lnTo>
                        <a:pt x="569577" y="292973"/>
                      </a:lnTo>
                      <a:lnTo>
                        <a:pt x="570718" y="294126"/>
                      </a:lnTo>
                      <a:lnTo>
                        <a:pt x="572928" y="295863"/>
                      </a:lnTo>
                      <a:lnTo>
                        <a:pt x="574410" y="297344"/>
                      </a:lnTo>
                      <a:lnTo>
                        <a:pt x="576814" y="301582"/>
                      </a:lnTo>
                      <a:lnTo>
                        <a:pt x="576389" y="305468"/>
                      </a:lnTo>
                      <a:lnTo>
                        <a:pt x="576085" y="305516"/>
                      </a:lnTo>
                      <a:lnTo>
                        <a:pt x="575988" y="306391"/>
                      </a:lnTo>
                      <a:lnTo>
                        <a:pt x="576170" y="308176"/>
                      </a:lnTo>
                      <a:lnTo>
                        <a:pt x="577457" y="309815"/>
                      </a:lnTo>
                      <a:lnTo>
                        <a:pt x="579740" y="313761"/>
                      </a:lnTo>
                      <a:lnTo>
                        <a:pt x="581331" y="314733"/>
                      </a:lnTo>
                      <a:lnTo>
                        <a:pt x="582060" y="315595"/>
                      </a:lnTo>
                      <a:lnTo>
                        <a:pt x="583177" y="316032"/>
                      </a:lnTo>
                      <a:lnTo>
                        <a:pt x="582594" y="318898"/>
                      </a:lnTo>
                      <a:lnTo>
                        <a:pt x="581392" y="322516"/>
                      </a:lnTo>
                      <a:lnTo>
                        <a:pt x="578016" y="322091"/>
                      </a:lnTo>
                      <a:lnTo>
                        <a:pt x="576413" y="321387"/>
                      </a:lnTo>
                      <a:lnTo>
                        <a:pt x="575199" y="320355"/>
                      </a:lnTo>
                      <a:lnTo>
                        <a:pt x="573766" y="318704"/>
                      </a:lnTo>
                      <a:lnTo>
                        <a:pt x="573329" y="323318"/>
                      </a:lnTo>
                      <a:lnTo>
                        <a:pt x="572503" y="323257"/>
                      </a:lnTo>
                      <a:lnTo>
                        <a:pt x="571787" y="324289"/>
                      </a:lnTo>
                      <a:lnTo>
                        <a:pt x="572248" y="324641"/>
                      </a:lnTo>
                      <a:lnTo>
                        <a:pt x="570475" y="327216"/>
                      </a:lnTo>
                      <a:lnTo>
                        <a:pt x="569820" y="328515"/>
                      </a:lnTo>
                      <a:lnTo>
                        <a:pt x="569467" y="329402"/>
                      </a:lnTo>
                      <a:lnTo>
                        <a:pt x="567852" y="330458"/>
                      </a:lnTo>
                      <a:lnTo>
                        <a:pt x="567682" y="330919"/>
                      </a:lnTo>
                      <a:cubicBezTo>
                        <a:pt x="567767" y="331466"/>
                        <a:pt x="567840" y="332049"/>
                        <a:pt x="567901" y="332692"/>
                      </a:cubicBezTo>
                      <a:lnTo>
                        <a:pt x="567986" y="332692"/>
                      </a:lnTo>
                      <a:cubicBezTo>
                        <a:pt x="567986" y="332692"/>
                        <a:pt x="568289" y="336748"/>
                        <a:pt x="568326" y="337124"/>
                      </a:cubicBezTo>
                      <a:lnTo>
                        <a:pt x="571228" y="340330"/>
                      </a:lnTo>
                      <a:lnTo>
                        <a:pt x="569188" y="342358"/>
                      </a:lnTo>
                      <a:lnTo>
                        <a:pt x="567124" y="343329"/>
                      </a:lnTo>
                      <a:lnTo>
                        <a:pt x="564707" y="342249"/>
                      </a:lnTo>
                      <a:lnTo>
                        <a:pt x="562388" y="339626"/>
                      </a:lnTo>
                      <a:lnTo>
                        <a:pt x="560397" y="338594"/>
                      </a:lnTo>
                      <a:lnTo>
                        <a:pt x="558551" y="338339"/>
                      </a:lnTo>
                      <a:lnTo>
                        <a:pt x="537398" y="340184"/>
                      </a:lnTo>
                      <a:lnTo>
                        <a:pt x="534180" y="338946"/>
                      </a:lnTo>
                      <a:lnTo>
                        <a:pt x="524053" y="331174"/>
                      </a:lnTo>
                      <a:lnTo>
                        <a:pt x="522899" y="331053"/>
                      </a:lnTo>
                      <a:lnTo>
                        <a:pt x="518066" y="333858"/>
                      </a:lnTo>
                      <a:lnTo>
                        <a:pt x="495468" y="338290"/>
                      </a:lnTo>
                      <a:lnTo>
                        <a:pt x="488000" y="341775"/>
                      </a:lnTo>
                      <a:lnTo>
                        <a:pt x="477254" y="348357"/>
                      </a:lnTo>
                      <a:lnTo>
                        <a:pt x="475299" y="350336"/>
                      </a:lnTo>
                      <a:lnTo>
                        <a:pt x="475008" y="350919"/>
                      </a:lnTo>
                      <a:lnTo>
                        <a:pt x="474971" y="352388"/>
                      </a:lnTo>
                      <a:lnTo>
                        <a:pt x="474206" y="355788"/>
                      </a:lnTo>
                      <a:lnTo>
                        <a:pt x="472336" y="359892"/>
                      </a:lnTo>
                      <a:lnTo>
                        <a:pt x="467115" y="365539"/>
                      </a:lnTo>
                      <a:lnTo>
                        <a:pt x="462622" y="368562"/>
                      </a:lnTo>
                      <a:lnTo>
                        <a:pt x="458141" y="370457"/>
                      </a:lnTo>
                      <a:lnTo>
                        <a:pt x="449969" y="372861"/>
                      </a:lnTo>
                      <a:lnTo>
                        <a:pt x="440534" y="376795"/>
                      </a:lnTo>
                      <a:lnTo>
                        <a:pt x="437583" y="379018"/>
                      </a:lnTo>
                      <a:lnTo>
                        <a:pt x="437000" y="379989"/>
                      </a:lnTo>
                      <a:lnTo>
                        <a:pt x="432386" y="385150"/>
                      </a:lnTo>
                      <a:lnTo>
                        <a:pt x="417231" y="397693"/>
                      </a:lnTo>
                      <a:lnTo>
                        <a:pt x="413540" y="399964"/>
                      </a:lnTo>
                      <a:lnTo>
                        <a:pt x="409351" y="401421"/>
                      </a:lnTo>
                      <a:lnTo>
                        <a:pt x="406643" y="399393"/>
                      </a:lnTo>
                      <a:lnTo>
                        <a:pt x="403109" y="395386"/>
                      </a:lnTo>
                      <a:lnTo>
                        <a:pt x="402028" y="394646"/>
                      </a:lnTo>
                      <a:lnTo>
                        <a:pt x="399879" y="394184"/>
                      </a:lnTo>
                      <a:lnTo>
                        <a:pt x="394803" y="392059"/>
                      </a:lnTo>
                      <a:lnTo>
                        <a:pt x="393322" y="391816"/>
                      </a:lnTo>
                      <a:lnTo>
                        <a:pt x="391549" y="391853"/>
                      </a:lnTo>
                      <a:lnTo>
                        <a:pt x="388586" y="392618"/>
                      </a:lnTo>
                      <a:lnTo>
                        <a:pt x="387226" y="393601"/>
                      </a:lnTo>
                      <a:lnTo>
                        <a:pt x="387080" y="393820"/>
                      </a:lnTo>
                      <a:lnTo>
                        <a:pt x="386546" y="395908"/>
                      </a:lnTo>
                      <a:lnTo>
                        <a:pt x="386898" y="397645"/>
                      </a:lnTo>
                      <a:lnTo>
                        <a:pt x="387943" y="399721"/>
                      </a:lnTo>
                      <a:lnTo>
                        <a:pt x="389861" y="401907"/>
                      </a:lnTo>
                      <a:lnTo>
                        <a:pt x="396078" y="408148"/>
                      </a:lnTo>
                      <a:lnTo>
                        <a:pt x="398361" y="410941"/>
                      </a:lnTo>
                      <a:lnTo>
                        <a:pt x="399867" y="413224"/>
                      </a:lnTo>
                      <a:lnTo>
                        <a:pt x="400899" y="415507"/>
                      </a:lnTo>
                      <a:lnTo>
                        <a:pt x="401858" y="417158"/>
                      </a:lnTo>
                      <a:lnTo>
                        <a:pt x="404651" y="420486"/>
                      </a:lnTo>
                      <a:lnTo>
                        <a:pt x="406036" y="422671"/>
                      </a:lnTo>
                      <a:lnTo>
                        <a:pt x="406983" y="425792"/>
                      </a:lnTo>
                      <a:lnTo>
                        <a:pt x="407250" y="428379"/>
                      </a:lnTo>
                      <a:lnTo>
                        <a:pt x="405076" y="433151"/>
                      </a:lnTo>
                      <a:lnTo>
                        <a:pt x="405016" y="439040"/>
                      </a:lnTo>
                      <a:lnTo>
                        <a:pt x="405550" y="440558"/>
                      </a:lnTo>
                      <a:lnTo>
                        <a:pt x="409108" y="448257"/>
                      </a:lnTo>
                      <a:lnTo>
                        <a:pt x="409593" y="451487"/>
                      </a:lnTo>
                      <a:lnTo>
                        <a:pt x="409557" y="454085"/>
                      </a:lnTo>
                      <a:lnTo>
                        <a:pt x="408804" y="457959"/>
                      </a:lnTo>
                      <a:lnTo>
                        <a:pt x="407675" y="459635"/>
                      </a:lnTo>
                      <a:lnTo>
                        <a:pt x="405635" y="460825"/>
                      </a:lnTo>
                      <a:lnTo>
                        <a:pt x="402915" y="463302"/>
                      </a:lnTo>
                      <a:lnTo>
                        <a:pt x="398446" y="469482"/>
                      </a:lnTo>
                      <a:lnTo>
                        <a:pt x="398665" y="471972"/>
                      </a:lnTo>
                      <a:lnTo>
                        <a:pt x="395957" y="477169"/>
                      </a:lnTo>
                      <a:lnTo>
                        <a:pt x="392739" y="481686"/>
                      </a:lnTo>
                      <a:lnTo>
                        <a:pt x="389885" y="484430"/>
                      </a:lnTo>
                      <a:lnTo>
                        <a:pt x="387214" y="485244"/>
                      </a:lnTo>
                      <a:lnTo>
                        <a:pt x="384348" y="487624"/>
                      </a:lnTo>
                      <a:lnTo>
                        <a:pt x="374245" y="491206"/>
                      </a:lnTo>
                      <a:lnTo>
                        <a:pt x="373663" y="492117"/>
                      </a:lnTo>
                      <a:lnTo>
                        <a:pt x="373274" y="494995"/>
                      </a:lnTo>
                      <a:lnTo>
                        <a:pt x="372339" y="497642"/>
                      </a:lnTo>
                      <a:lnTo>
                        <a:pt x="370724" y="499233"/>
                      </a:lnTo>
                      <a:lnTo>
                        <a:pt x="367093" y="501904"/>
                      </a:lnTo>
                      <a:lnTo>
                        <a:pt x="365976" y="503033"/>
                      </a:lnTo>
                      <a:lnTo>
                        <a:pt x="362175" y="504928"/>
                      </a:lnTo>
                      <a:lnTo>
                        <a:pt x="348636" y="506033"/>
                      </a:lnTo>
                      <a:lnTo>
                        <a:pt x="342006" y="510003"/>
                      </a:lnTo>
                      <a:lnTo>
                        <a:pt x="335910" y="515771"/>
                      </a:lnTo>
                      <a:lnTo>
                        <a:pt x="328321" y="526469"/>
                      </a:lnTo>
                      <a:lnTo>
                        <a:pt x="322055" y="524271"/>
                      </a:lnTo>
                      <a:close/>
                    </a:path>
                  </a:pathLst>
                </a:custGeom>
                <a:solidFill>
                  <a:srgbClr val="D7D7D2"/>
                </a:solidFill>
                <a:ln w="12138" cap="flat">
                  <a:noFill/>
                  <a:prstDash val="solid"/>
                  <a:miter/>
                </a:ln>
              </p:spPr>
              <p:txBody>
                <a:bodyPr rtlCol="0" anchor="ctr"/>
                <a:lstStyle/>
                <a:p>
                  <a:endParaRPr lang="en-US"/>
                </a:p>
              </p:txBody>
            </p:sp>
            <p:sp>
              <p:nvSpPr>
                <p:cNvPr id="305" name="Freeform: Shape 304">
                  <a:extLst>
                    <a:ext uri="{FF2B5EF4-FFF2-40B4-BE49-F238E27FC236}">
                      <a16:creationId xmlns:a16="http://schemas.microsoft.com/office/drawing/2014/main" id="{672361E4-BB6B-4455-960B-36E8FF49A25E}"/>
                    </a:ext>
                  </a:extLst>
                </p:cNvPr>
                <p:cNvSpPr/>
                <p:nvPr/>
              </p:nvSpPr>
              <p:spPr>
                <a:xfrm>
                  <a:off x="4408083" y="1139791"/>
                  <a:ext cx="590377" cy="533244"/>
                </a:xfrm>
                <a:custGeom>
                  <a:avLst/>
                  <a:gdLst>
                    <a:gd name="connsiteX0" fmla="*/ 113876 w 590377"/>
                    <a:gd name="connsiteY0" fmla="*/ 6120 h 533244"/>
                    <a:gd name="connsiteX1" fmla="*/ 125716 w 590377"/>
                    <a:gd name="connsiteY1" fmla="*/ 8014 h 533244"/>
                    <a:gd name="connsiteX2" fmla="*/ 173146 w 590377"/>
                    <a:gd name="connsiteY2" fmla="*/ 24177 h 533244"/>
                    <a:gd name="connsiteX3" fmla="*/ 239349 w 590377"/>
                    <a:gd name="connsiteY3" fmla="*/ 36575 h 533244"/>
                    <a:gd name="connsiteX4" fmla="*/ 256811 w 590377"/>
                    <a:gd name="connsiteY4" fmla="*/ 35749 h 533244"/>
                    <a:gd name="connsiteX5" fmla="*/ 269039 w 590377"/>
                    <a:gd name="connsiteY5" fmla="*/ 33284 h 533244"/>
                    <a:gd name="connsiteX6" fmla="*/ 275936 w 590377"/>
                    <a:gd name="connsiteY6" fmla="*/ 33369 h 533244"/>
                    <a:gd name="connsiteX7" fmla="*/ 278122 w 590377"/>
                    <a:gd name="connsiteY7" fmla="*/ 34717 h 533244"/>
                    <a:gd name="connsiteX8" fmla="*/ 280405 w 590377"/>
                    <a:gd name="connsiteY8" fmla="*/ 36125 h 533244"/>
                    <a:gd name="connsiteX9" fmla="*/ 283161 w 590377"/>
                    <a:gd name="connsiteY9" fmla="*/ 40108 h 533244"/>
                    <a:gd name="connsiteX10" fmla="*/ 286160 w 590377"/>
                    <a:gd name="connsiteY10" fmla="*/ 43241 h 533244"/>
                    <a:gd name="connsiteX11" fmla="*/ 293555 w 590377"/>
                    <a:gd name="connsiteY11" fmla="*/ 48390 h 533244"/>
                    <a:gd name="connsiteX12" fmla="*/ 301303 w 590377"/>
                    <a:gd name="connsiteY12" fmla="*/ 51935 h 533244"/>
                    <a:gd name="connsiteX13" fmla="*/ 323937 w 590377"/>
                    <a:gd name="connsiteY13" fmla="*/ 57643 h 533244"/>
                    <a:gd name="connsiteX14" fmla="*/ 324156 w 590377"/>
                    <a:gd name="connsiteY14" fmla="*/ 58286 h 533244"/>
                    <a:gd name="connsiteX15" fmla="*/ 322225 w 590377"/>
                    <a:gd name="connsiteY15" fmla="*/ 57800 h 533244"/>
                    <a:gd name="connsiteX16" fmla="*/ 322286 w 590377"/>
                    <a:gd name="connsiteY16" fmla="*/ 57521 h 533244"/>
                    <a:gd name="connsiteX17" fmla="*/ 318145 w 590377"/>
                    <a:gd name="connsiteY17" fmla="*/ 56477 h 533244"/>
                    <a:gd name="connsiteX18" fmla="*/ 318789 w 590377"/>
                    <a:gd name="connsiteY18" fmla="*/ 58942 h 533244"/>
                    <a:gd name="connsiteX19" fmla="*/ 319080 w 590377"/>
                    <a:gd name="connsiteY19" fmla="*/ 58857 h 533244"/>
                    <a:gd name="connsiteX20" fmla="*/ 319857 w 590377"/>
                    <a:gd name="connsiteY20" fmla="*/ 61237 h 533244"/>
                    <a:gd name="connsiteX21" fmla="*/ 321290 w 590377"/>
                    <a:gd name="connsiteY21" fmla="*/ 64018 h 533244"/>
                    <a:gd name="connsiteX22" fmla="*/ 321436 w 590377"/>
                    <a:gd name="connsiteY22" fmla="*/ 64224 h 533244"/>
                    <a:gd name="connsiteX23" fmla="*/ 321193 w 590377"/>
                    <a:gd name="connsiteY23" fmla="*/ 64406 h 533244"/>
                    <a:gd name="connsiteX24" fmla="*/ 322747 w 590377"/>
                    <a:gd name="connsiteY24" fmla="*/ 66725 h 533244"/>
                    <a:gd name="connsiteX25" fmla="*/ 323901 w 590377"/>
                    <a:gd name="connsiteY25" fmla="*/ 69506 h 533244"/>
                    <a:gd name="connsiteX26" fmla="*/ 324180 w 590377"/>
                    <a:gd name="connsiteY26" fmla="*/ 69409 h 533244"/>
                    <a:gd name="connsiteX27" fmla="*/ 324338 w 590377"/>
                    <a:gd name="connsiteY27" fmla="*/ 69785 h 533244"/>
                    <a:gd name="connsiteX28" fmla="*/ 324629 w 590377"/>
                    <a:gd name="connsiteY28" fmla="*/ 71607 h 533244"/>
                    <a:gd name="connsiteX29" fmla="*/ 325771 w 590377"/>
                    <a:gd name="connsiteY29" fmla="*/ 73185 h 533244"/>
                    <a:gd name="connsiteX30" fmla="*/ 325382 w 590377"/>
                    <a:gd name="connsiteY30" fmla="*/ 74825 h 533244"/>
                    <a:gd name="connsiteX31" fmla="*/ 325103 w 590377"/>
                    <a:gd name="connsiteY31" fmla="*/ 74764 h 533244"/>
                    <a:gd name="connsiteX32" fmla="*/ 324532 w 590377"/>
                    <a:gd name="connsiteY32" fmla="*/ 77181 h 533244"/>
                    <a:gd name="connsiteX33" fmla="*/ 324471 w 590377"/>
                    <a:gd name="connsiteY33" fmla="*/ 77351 h 533244"/>
                    <a:gd name="connsiteX34" fmla="*/ 327289 w 590377"/>
                    <a:gd name="connsiteY34" fmla="*/ 79585 h 533244"/>
                    <a:gd name="connsiteX35" fmla="*/ 327459 w 590377"/>
                    <a:gd name="connsiteY35" fmla="*/ 79366 h 533244"/>
                    <a:gd name="connsiteX36" fmla="*/ 328479 w 590377"/>
                    <a:gd name="connsiteY36" fmla="*/ 80180 h 533244"/>
                    <a:gd name="connsiteX37" fmla="*/ 331114 w 590377"/>
                    <a:gd name="connsiteY37" fmla="*/ 83908 h 533244"/>
                    <a:gd name="connsiteX38" fmla="*/ 330895 w 590377"/>
                    <a:gd name="connsiteY38" fmla="*/ 84066 h 533244"/>
                    <a:gd name="connsiteX39" fmla="*/ 331478 w 590377"/>
                    <a:gd name="connsiteY39" fmla="*/ 84928 h 533244"/>
                    <a:gd name="connsiteX40" fmla="*/ 334574 w 590377"/>
                    <a:gd name="connsiteY40" fmla="*/ 87866 h 533244"/>
                    <a:gd name="connsiteX41" fmla="*/ 334975 w 590377"/>
                    <a:gd name="connsiteY41" fmla="*/ 88316 h 533244"/>
                    <a:gd name="connsiteX42" fmla="*/ 335206 w 590377"/>
                    <a:gd name="connsiteY42" fmla="*/ 88121 h 533244"/>
                    <a:gd name="connsiteX43" fmla="*/ 339201 w 590377"/>
                    <a:gd name="connsiteY43" fmla="*/ 92566 h 533244"/>
                    <a:gd name="connsiteX44" fmla="*/ 339055 w 590377"/>
                    <a:gd name="connsiteY44" fmla="*/ 92857 h 533244"/>
                    <a:gd name="connsiteX45" fmla="*/ 342674 w 590377"/>
                    <a:gd name="connsiteY45" fmla="*/ 97192 h 533244"/>
                    <a:gd name="connsiteX46" fmla="*/ 342904 w 590377"/>
                    <a:gd name="connsiteY46" fmla="*/ 96986 h 533244"/>
                    <a:gd name="connsiteX47" fmla="*/ 344216 w 590377"/>
                    <a:gd name="connsiteY47" fmla="*/ 98540 h 533244"/>
                    <a:gd name="connsiteX48" fmla="*/ 347203 w 590377"/>
                    <a:gd name="connsiteY48" fmla="*/ 101029 h 533244"/>
                    <a:gd name="connsiteX49" fmla="*/ 347033 w 590377"/>
                    <a:gd name="connsiteY49" fmla="*/ 101236 h 533244"/>
                    <a:gd name="connsiteX50" fmla="*/ 349741 w 590377"/>
                    <a:gd name="connsiteY50" fmla="*/ 103482 h 533244"/>
                    <a:gd name="connsiteX51" fmla="*/ 351465 w 590377"/>
                    <a:gd name="connsiteY51" fmla="*/ 105085 h 533244"/>
                    <a:gd name="connsiteX52" fmla="*/ 351611 w 590377"/>
                    <a:gd name="connsiteY52" fmla="*/ 104903 h 533244"/>
                    <a:gd name="connsiteX53" fmla="*/ 355229 w 590377"/>
                    <a:gd name="connsiteY53" fmla="*/ 108327 h 533244"/>
                    <a:gd name="connsiteX54" fmla="*/ 356043 w 590377"/>
                    <a:gd name="connsiteY54" fmla="*/ 108655 h 533244"/>
                    <a:gd name="connsiteX55" fmla="*/ 355946 w 590377"/>
                    <a:gd name="connsiteY55" fmla="*/ 108898 h 533244"/>
                    <a:gd name="connsiteX56" fmla="*/ 359565 w 590377"/>
                    <a:gd name="connsiteY56" fmla="*/ 110367 h 533244"/>
                    <a:gd name="connsiteX57" fmla="*/ 361617 w 590377"/>
                    <a:gd name="connsiteY57" fmla="*/ 110537 h 533244"/>
                    <a:gd name="connsiteX58" fmla="*/ 361617 w 590377"/>
                    <a:gd name="connsiteY58" fmla="*/ 110258 h 533244"/>
                    <a:gd name="connsiteX59" fmla="*/ 362746 w 590377"/>
                    <a:gd name="connsiteY59" fmla="*/ 110367 h 533244"/>
                    <a:gd name="connsiteX60" fmla="*/ 365575 w 590377"/>
                    <a:gd name="connsiteY60" fmla="*/ 111970 h 533244"/>
                    <a:gd name="connsiteX61" fmla="*/ 366960 w 590377"/>
                    <a:gd name="connsiteY61" fmla="*/ 112541 h 533244"/>
                    <a:gd name="connsiteX62" fmla="*/ 366850 w 590377"/>
                    <a:gd name="connsiteY62" fmla="*/ 112808 h 533244"/>
                    <a:gd name="connsiteX63" fmla="*/ 369667 w 590377"/>
                    <a:gd name="connsiteY63" fmla="*/ 113925 h 533244"/>
                    <a:gd name="connsiteX64" fmla="*/ 372193 w 590377"/>
                    <a:gd name="connsiteY64" fmla="*/ 114010 h 533244"/>
                    <a:gd name="connsiteX65" fmla="*/ 372594 w 590377"/>
                    <a:gd name="connsiteY65" fmla="*/ 114107 h 533244"/>
                    <a:gd name="connsiteX66" fmla="*/ 372642 w 590377"/>
                    <a:gd name="connsiteY66" fmla="*/ 113828 h 533244"/>
                    <a:gd name="connsiteX67" fmla="*/ 375205 w 590377"/>
                    <a:gd name="connsiteY67" fmla="*/ 114435 h 533244"/>
                    <a:gd name="connsiteX68" fmla="*/ 375763 w 590377"/>
                    <a:gd name="connsiteY68" fmla="*/ 113549 h 533244"/>
                    <a:gd name="connsiteX69" fmla="*/ 376055 w 590377"/>
                    <a:gd name="connsiteY69" fmla="*/ 113694 h 533244"/>
                    <a:gd name="connsiteX70" fmla="*/ 377645 w 590377"/>
                    <a:gd name="connsiteY70" fmla="*/ 114678 h 533244"/>
                    <a:gd name="connsiteX71" fmla="*/ 377475 w 590377"/>
                    <a:gd name="connsiteY71" fmla="*/ 114933 h 533244"/>
                    <a:gd name="connsiteX72" fmla="*/ 380973 w 590377"/>
                    <a:gd name="connsiteY72" fmla="*/ 117058 h 533244"/>
                    <a:gd name="connsiteX73" fmla="*/ 382005 w 590377"/>
                    <a:gd name="connsiteY73" fmla="*/ 118406 h 533244"/>
                    <a:gd name="connsiteX74" fmla="*/ 382235 w 590377"/>
                    <a:gd name="connsiteY74" fmla="*/ 118236 h 533244"/>
                    <a:gd name="connsiteX75" fmla="*/ 385745 w 590377"/>
                    <a:gd name="connsiteY75" fmla="*/ 122874 h 533244"/>
                    <a:gd name="connsiteX76" fmla="*/ 385502 w 590377"/>
                    <a:gd name="connsiteY76" fmla="*/ 123057 h 533244"/>
                    <a:gd name="connsiteX77" fmla="*/ 387299 w 590377"/>
                    <a:gd name="connsiteY77" fmla="*/ 128606 h 533244"/>
                    <a:gd name="connsiteX78" fmla="*/ 387603 w 590377"/>
                    <a:gd name="connsiteY78" fmla="*/ 128509 h 533244"/>
                    <a:gd name="connsiteX79" fmla="*/ 388853 w 590377"/>
                    <a:gd name="connsiteY79" fmla="*/ 132358 h 533244"/>
                    <a:gd name="connsiteX80" fmla="*/ 389885 w 590377"/>
                    <a:gd name="connsiteY80" fmla="*/ 133876 h 533244"/>
                    <a:gd name="connsiteX81" fmla="*/ 389643 w 590377"/>
                    <a:gd name="connsiteY81" fmla="*/ 134058 h 533244"/>
                    <a:gd name="connsiteX82" fmla="*/ 392921 w 590377"/>
                    <a:gd name="connsiteY82" fmla="*/ 138940 h 533244"/>
                    <a:gd name="connsiteX83" fmla="*/ 393152 w 590377"/>
                    <a:gd name="connsiteY83" fmla="*/ 138757 h 533244"/>
                    <a:gd name="connsiteX84" fmla="*/ 393966 w 590377"/>
                    <a:gd name="connsiteY84" fmla="*/ 139972 h 533244"/>
                    <a:gd name="connsiteX85" fmla="*/ 397123 w 590377"/>
                    <a:gd name="connsiteY85" fmla="*/ 143044 h 533244"/>
                    <a:gd name="connsiteX86" fmla="*/ 396880 w 590377"/>
                    <a:gd name="connsiteY86" fmla="*/ 143275 h 533244"/>
                    <a:gd name="connsiteX87" fmla="*/ 398495 w 590377"/>
                    <a:gd name="connsiteY87" fmla="*/ 144792 h 533244"/>
                    <a:gd name="connsiteX88" fmla="*/ 400790 w 590377"/>
                    <a:gd name="connsiteY88" fmla="*/ 147634 h 533244"/>
                    <a:gd name="connsiteX89" fmla="*/ 401021 w 590377"/>
                    <a:gd name="connsiteY89" fmla="*/ 147464 h 533244"/>
                    <a:gd name="connsiteX90" fmla="*/ 403388 w 590377"/>
                    <a:gd name="connsiteY90" fmla="*/ 150415 h 533244"/>
                    <a:gd name="connsiteX91" fmla="*/ 404906 w 590377"/>
                    <a:gd name="connsiteY91" fmla="*/ 151823 h 533244"/>
                    <a:gd name="connsiteX92" fmla="*/ 404748 w 590377"/>
                    <a:gd name="connsiteY92" fmla="*/ 152030 h 533244"/>
                    <a:gd name="connsiteX93" fmla="*/ 408076 w 590377"/>
                    <a:gd name="connsiteY93" fmla="*/ 155162 h 533244"/>
                    <a:gd name="connsiteX94" fmla="*/ 409120 w 590377"/>
                    <a:gd name="connsiteY94" fmla="*/ 156025 h 533244"/>
                    <a:gd name="connsiteX95" fmla="*/ 409278 w 590377"/>
                    <a:gd name="connsiteY95" fmla="*/ 155794 h 533244"/>
                    <a:gd name="connsiteX96" fmla="*/ 413722 w 590377"/>
                    <a:gd name="connsiteY96" fmla="*/ 159583 h 533244"/>
                    <a:gd name="connsiteX97" fmla="*/ 413540 w 590377"/>
                    <a:gd name="connsiteY97" fmla="*/ 159838 h 533244"/>
                    <a:gd name="connsiteX98" fmla="*/ 418810 w 590377"/>
                    <a:gd name="connsiteY98" fmla="*/ 162655 h 533244"/>
                    <a:gd name="connsiteX99" fmla="*/ 418919 w 590377"/>
                    <a:gd name="connsiteY99" fmla="*/ 162400 h 533244"/>
                    <a:gd name="connsiteX100" fmla="*/ 419393 w 590377"/>
                    <a:gd name="connsiteY100" fmla="*/ 162643 h 533244"/>
                    <a:gd name="connsiteX101" fmla="*/ 424614 w 590377"/>
                    <a:gd name="connsiteY101" fmla="*/ 163578 h 533244"/>
                    <a:gd name="connsiteX102" fmla="*/ 424554 w 590377"/>
                    <a:gd name="connsiteY102" fmla="*/ 163881 h 533244"/>
                    <a:gd name="connsiteX103" fmla="*/ 425646 w 590377"/>
                    <a:gd name="connsiteY103" fmla="*/ 164051 h 533244"/>
                    <a:gd name="connsiteX104" fmla="*/ 430467 w 590377"/>
                    <a:gd name="connsiteY104" fmla="*/ 163857 h 533244"/>
                    <a:gd name="connsiteX105" fmla="*/ 430467 w 590377"/>
                    <a:gd name="connsiteY105" fmla="*/ 163578 h 533244"/>
                    <a:gd name="connsiteX106" fmla="*/ 431511 w 590377"/>
                    <a:gd name="connsiteY106" fmla="*/ 163529 h 533244"/>
                    <a:gd name="connsiteX107" fmla="*/ 436211 w 590377"/>
                    <a:gd name="connsiteY107" fmla="*/ 162266 h 533244"/>
                    <a:gd name="connsiteX108" fmla="*/ 436272 w 590377"/>
                    <a:gd name="connsiteY108" fmla="*/ 162558 h 533244"/>
                    <a:gd name="connsiteX109" fmla="*/ 437765 w 590377"/>
                    <a:gd name="connsiteY109" fmla="*/ 162133 h 533244"/>
                    <a:gd name="connsiteX110" fmla="*/ 441663 w 590377"/>
                    <a:gd name="connsiteY110" fmla="*/ 160153 h 533244"/>
                    <a:gd name="connsiteX111" fmla="*/ 441554 w 590377"/>
                    <a:gd name="connsiteY111" fmla="*/ 159910 h 533244"/>
                    <a:gd name="connsiteX112" fmla="*/ 444383 w 590377"/>
                    <a:gd name="connsiteY112" fmla="*/ 158478 h 533244"/>
                    <a:gd name="connsiteX113" fmla="*/ 446727 w 590377"/>
                    <a:gd name="connsiteY113" fmla="*/ 159838 h 533244"/>
                    <a:gd name="connsiteX114" fmla="*/ 446605 w 590377"/>
                    <a:gd name="connsiteY114" fmla="*/ 160129 h 533244"/>
                    <a:gd name="connsiteX115" fmla="*/ 451256 w 590377"/>
                    <a:gd name="connsiteY115" fmla="*/ 163626 h 533244"/>
                    <a:gd name="connsiteX116" fmla="*/ 451438 w 590377"/>
                    <a:gd name="connsiteY116" fmla="*/ 163383 h 533244"/>
                    <a:gd name="connsiteX117" fmla="*/ 451438 w 590377"/>
                    <a:gd name="connsiteY117" fmla="*/ 163395 h 533244"/>
                    <a:gd name="connsiteX118" fmla="*/ 455057 w 590377"/>
                    <a:gd name="connsiteY118" fmla="*/ 168046 h 533244"/>
                    <a:gd name="connsiteX119" fmla="*/ 454814 w 590377"/>
                    <a:gd name="connsiteY119" fmla="*/ 168216 h 533244"/>
                    <a:gd name="connsiteX120" fmla="*/ 458384 w 590377"/>
                    <a:gd name="connsiteY120" fmla="*/ 172903 h 533244"/>
                    <a:gd name="connsiteX121" fmla="*/ 458602 w 590377"/>
                    <a:gd name="connsiteY121" fmla="*/ 172733 h 533244"/>
                    <a:gd name="connsiteX122" fmla="*/ 460861 w 590377"/>
                    <a:gd name="connsiteY122" fmla="*/ 175818 h 533244"/>
                    <a:gd name="connsiteX123" fmla="*/ 461966 w 590377"/>
                    <a:gd name="connsiteY123" fmla="*/ 177530 h 533244"/>
                    <a:gd name="connsiteX124" fmla="*/ 461711 w 590377"/>
                    <a:gd name="connsiteY124" fmla="*/ 177724 h 533244"/>
                    <a:gd name="connsiteX125" fmla="*/ 464054 w 590377"/>
                    <a:gd name="connsiteY125" fmla="*/ 181306 h 533244"/>
                    <a:gd name="connsiteX126" fmla="*/ 465500 w 590377"/>
                    <a:gd name="connsiteY126" fmla="*/ 182253 h 533244"/>
                    <a:gd name="connsiteX127" fmla="*/ 465670 w 590377"/>
                    <a:gd name="connsiteY127" fmla="*/ 181998 h 533244"/>
                    <a:gd name="connsiteX128" fmla="*/ 470284 w 590377"/>
                    <a:gd name="connsiteY128" fmla="*/ 185095 h 533244"/>
                    <a:gd name="connsiteX129" fmla="*/ 470430 w 590377"/>
                    <a:gd name="connsiteY129" fmla="*/ 185386 h 533244"/>
                    <a:gd name="connsiteX130" fmla="*/ 470211 w 590377"/>
                    <a:gd name="connsiteY130" fmla="*/ 185532 h 533244"/>
                    <a:gd name="connsiteX131" fmla="*/ 472858 w 590377"/>
                    <a:gd name="connsiteY131" fmla="*/ 190268 h 533244"/>
                    <a:gd name="connsiteX132" fmla="*/ 473077 w 590377"/>
                    <a:gd name="connsiteY132" fmla="*/ 190644 h 533244"/>
                    <a:gd name="connsiteX133" fmla="*/ 473332 w 590377"/>
                    <a:gd name="connsiteY133" fmla="*/ 190486 h 533244"/>
                    <a:gd name="connsiteX134" fmla="*/ 476477 w 590377"/>
                    <a:gd name="connsiteY134" fmla="*/ 195453 h 533244"/>
                    <a:gd name="connsiteX135" fmla="*/ 476234 w 590377"/>
                    <a:gd name="connsiteY135" fmla="*/ 195647 h 533244"/>
                    <a:gd name="connsiteX136" fmla="*/ 479403 w 590377"/>
                    <a:gd name="connsiteY136" fmla="*/ 200577 h 533244"/>
                    <a:gd name="connsiteX137" fmla="*/ 479634 w 590377"/>
                    <a:gd name="connsiteY137" fmla="*/ 200395 h 533244"/>
                    <a:gd name="connsiteX138" fmla="*/ 479986 w 590377"/>
                    <a:gd name="connsiteY138" fmla="*/ 200953 h 533244"/>
                    <a:gd name="connsiteX139" fmla="*/ 482925 w 590377"/>
                    <a:gd name="connsiteY139" fmla="*/ 205289 h 533244"/>
                    <a:gd name="connsiteX140" fmla="*/ 482670 w 590377"/>
                    <a:gd name="connsiteY140" fmla="*/ 205495 h 533244"/>
                    <a:gd name="connsiteX141" fmla="*/ 484855 w 590377"/>
                    <a:gd name="connsiteY141" fmla="*/ 210316 h 533244"/>
                    <a:gd name="connsiteX142" fmla="*/ 485256 w 590377"/>
                    <a:gd name="connsiteY142" fmla="*/ 210741 h 533244"/>
                    <a:gd name="connsiteX143" fmla="*/ 485499 w 590377"/>
                    <a:gd name="connsiteY143" fmla="*/ 210534 h 533244"/>
                    <a:gd name="connsiteX144" fmla="*/ 489348 w 590377"/>
                    <a:gd name="connsiteY144" fmla="*/ 214590 h 533244"/>
                    <a:gd name="connsiteX145" fmla="*/ 489421 w 590377"/>
                    <a:gd name="connsiteY145" fmla="*/ 214869 h 533244"/>
                    <a:gd name="connsiteX146" fmla="*/ 489105 w 590377"/>
                    <a:gd name="connsiteY146" fmla="*/ 214954 h 533244"/>
                    <a:gd name="connsiteX147" fmla="*/ 490417 w 590377"/>
                    <a:gd name="connsiteY147" fmla="*/ 219933 h 533244"/>
                    <a:gd name="connsiteX148" fmla="*/ 490478 w 590377"/>
                    <a:gd name="connsiteY148" fmla="*/ 220613 h 533244"/>
                    <a:gd name="connsiteX149" fmla="*/ 490805 w 590377"/>
                    <a:gd name="connsiteY149" fmla="*/ 220576 h 533244"/>
                    <a:gd name="connsiteX150" fmla="*/ 491073 w 590377"/>
                    <a:gd name="connsiteY150" fmla="*/ 222689 h 533244"/>
                    <a:gd name="connsiteX151" fmla="*/ 490830 w 590377"/>
                    <a:gd name="connsiteY151" fmla="*/ 226442 h 533244"/>
                    <a:gd name="connsiteX152" fmla="*/ 490538 w 590377"/>
                    <a:gd name="connsiteY152" fmla="*/ 226417 h 533244"/>
                    <a:gd name="connsiteX153" fmla="*/ 489555 w 590377"/>
                    <a:gd name="connsiteY153" fmla="*/ 232185 h 533244"/>
                    <a:gd name="connsiteX154" fmla="*/ 489834 w 590377"/>
                    <a:gd name="connsiteY154" fmla="*/ 232246 h 533244"/>
                    <a:gd name="connsiteX155" fmla="*/ 489579 w 590377"/>
                    <a:gd name="connsiteY155" fmla="*/ 233642 h 533244"/>
                    <a:gd name="connsiteX156" fmla="*/ 488170 w 590377"/>
                    <a:gd name="connsiteY156" fmla="*/ 237868 h 533244"/>
                    <a:gd name="connsiteX157" fmla="*/ 487891 w 590377"/>
                    <a:gd name="connsiteY157" fmla="*/ 237783 h 533244"/>
                    <a:gd name="connsiteX158" fmla="*/ 487260 w 590377"/>
                    <a:gd name="connsiteY158" fmla="*/ 239653 h 533244"/>
                    <a:gd name="connsiteX159" fmla="*/ 486398 w 590377"/>
                    <a:gd name="connsiteY159" fmla="*/ 243502 h 533244"/>
                    <a:gd name="connsiteX160" fmla="*/ 486713 w 590377"/>
                    <a:gd name="connsiteY160" fmla="*/ 243563 h 533244"/>
                    <a:gd name="connsiteX161" fmla="*/ 486070 w 590377"/>
                    <a:gd name="connsiteY161" fmla="*/ 246514 h 533244"/>
                    <a:gd name="connsiteX162" fmla="*/ 485778 w 590377"/>
                    <a:gd name="connsiteY162" fmla="*/ 249355 h 533244"/>
                    <a:gd name="connsiteX163" fmla="*/ 485487 w 590377"/>
                    <a:gd name="connsiteY163" fmla="*/ 249331 h 533244"/>
                    <a:gd name="connsiteX164" fmla="*/ 485305 w 590377"/>
                    <a:gd name="connsiteY164" fmla="*/ 251031 h 533244"/>
                    <a:gd name="connsiteX165" fmla="*/ 485305 w 590377"/>
                    <a:gd name="connsiteY165" fmla="*/ 251225 h 533244"/>
                    <a:gd name="connsiteX166" fmla="*/ 488753 w 590377"/>
                    <a:gd name="connsiteY166" fmla="*/ 252597 h 533244"/>
                    <a:gd name="connsiteX167" fmla="*/ 489555 w 590377"/>
                    <a:gd name="connsiteY167" fmla="*/ 252233 h 533244"/>
                    <a:gd name="connsiteX168" fmla="*/ 489445 w 590377"/>
                    <a:gd name="connsiteY168" fmla="*/ 251978 h 533244"/>
                    <a:gd name="connsiteX169" fmla="*/ 492505 w 590377"/>
                    <a:gd name="connsiteY169" fmla="*/ 250557 h 533244"/>
                    <a:gd name="connsiteX170" fmla="*/ 494898 w 590377"/>
                    <a:gd name="connsiteY170" fmla="*/ 249853 h 533244"/>
                    <a:gd name="connsiteX171" fmla="*/ 494958 w 590377"/>
                    <a:gd name="connsiteY171" fmla="*/ 250132 h 533244"/>
                    <a:gd name="connsiteX172" fmla="*/ 497144 w 590377"/>
                    <a:gd name="connsiteY172" fmla="*/ 249501 h 533244"/>
                    <a:gd name="connsiteX173" fmla="*/ 500240 w 590377"/>
                    <a:gd name="connsiteY173" fmla="*/ 247437 h 533244"/>
                    <a:gd name="connsiteX174" fmla="*/ 500058 w 590377"/>
                    <a:gd name="connsiteY174" fmla="*/ 247157 h 533244"/>
                    <a:gd name="connsiteX175" fmla="*/ 500423 w 590377"/>
                    <a:gd name="connsiteY175" fmla="*/ 246914 h 533244"/>
                    <a:gd name="connsiteX176" fmla="*/ 503240 w 590377"/>
                    <a:gd name="connsiteY176" fmla="*/ 243818 h 533244"/>
                    <a:gd name="connsiteX177" fmla="*/ 504478 w 590377"/>
                    <a:gd name="connsiteY177" fmla="*/ 243964 h 533244"/>
                    <a:gd name="connsiteX178" fmla="*/ 504430 w 590377"/>
                    <a:gd name="connsiteY178" fmla="*/ 244243 h 533244"/>
                    <a:gd name="connsiteX179" fmla="*/ 507356 w 590377"/>
                    <a:gd name="connsiteY179" fmla="*/ 244559 h 533244"/>
                    <a:gd name="connsiteX180" fmla="*/ 509202 w 590377"/>
                    <a:gd name="connsiteY180" fmla="*/ 246574 h 533244"/>
                    <a:gd name="connsiteX181" fmla="*/ 509433 w 590377"/>
                    <a:gd name="connsiteY181" fmla="*/ 246356 h 533244"/>
                    <a:gd name="connsiteX182" fmla="*/ 512602 w 590377"/>
                    <a:gd name="connsiteY182" fmla="*/ 249805 h 533244"/>
                    <a:gd name="connsiteX183" fmla="*/ 513355 w 590377"/>
                    <a:gd name="connsiteY183" fmla="*/ 250788 h 533244"/>
                    <a:gd name="connsiteX184" fmla="*/ 513100 w 590377"/>
                    <a:gd name="connsiteY184" fmla="*/ 250970 h 533244"/>
                    <a:gd name="connsiteX185" fmla="*/ 515407 w 590377"/>
                    <a:gd name="connsiteY185" fmla="*/ 253921 h 533244"/>
                    <a:gd name="connsiteX186" fmla="*/ 516536 w 590377"/>
                    <a:gd name="connsiteY186" fmla="*/ 255706 h 533244"/>
                    <a:gd name="connsiteX187" fmla="*/ 516803 w 590377"/>
                    <a:gd name="connsiteY187" fmla="*/ 255512 h 533244"/>
                    <a:gd name="connsiteX188" fmla="*/ 517775 w 590377"/>
                    <a:gd name="connsiteY188" fmla="*/ 256993 h 533244"/>
                    <a:gd name="connsiteX189" fmla="*/ 521029 w 590377"/>
                    <a:gd name="connsiteY189" fmla="*/ 258790 h 533244"/>
                    <a:gd name="connsiteX190" fmla="*/ 521430 w 590377"/>
                    <a:gd name="connsiteY190" fmla="*/ 258730 h 533244"/>
                    <a:gd name="connsiteX191" fmla="*/ 521491 w 590377"/>
                    <a:gd name="connsiteY191" fmla="*/ 258997 h 533244"/>
                    <a:gd name="connsiteX192" fmla="*/ 524636 w 590377"/>
                    <a:gd name="connsiteY192" fmla="*/ 258402 h 533244"/>
                    <a:gd name="connsiteX193" fmla="*/ 527161 w 590377"/>
                    <a:gd name="connsiteY193" fmla="*/ 257685 h 533244"/>
                    <a:gd name="connsiteX194" fmla="*/ 527113 w 590377"/>
                    <a:gd name="connsiteY194" fmla="*/ 257406 h 533244"/>
                    <a:gd name="connsiteX195" fmla="*/ 529481 w 590377"/>
                    <a:gd name="connsiteY195" fmla="*/ 256762 h 533244"/>
                    <a:gd name="connsiteX196" fmla="*/ 529590 w 590377"/>
                    <a:gd name="connsiteY196" fmla="*/ 256932 h 533244"/>
                    <a:gd name="connsiteX197" fmla="*/ 531533 w 590377"/>
                    <a:gd name="connsiteY197" fmla="*/ 259555 h 533244"/>
                    <a:gd name="connsiteX198" fmla="*/ 531302 w 590377"/>
                    <a:gd name="connsiteY198" fmla="*/ 259713 h 533244"/>
                    <a:gd name="connsiteX199" fmla="*/ 533257 w 590377"/>
                    <a:gd name="connsiteY199" fmla="*/ 262421 h 533244"/>
                    <a:gd name="connsiteX200" fmla="*/ 534981 w 590377"/>
                    <a:gd name="connsiteY200" fmla="*/ 264340 h 533244"/>
                    <a:gd name="connsiteX201" fmla="*/ 535200 w 590377"/>
                    <a:gd name="connsiteY201" fmla="*/ 264145 h 533244"/>
                    <a:gd name="connsiteX202" fmla="*/ 538041 w 590377"/>
                    <a:gd name="connsiteY202" fmla="*/ 267363 h 533244"/>
                    <a:gd name="connsiteX203" fmla="*/ 539402 w 590377"/>
                    <a:gd name="connsiteY203" fmla="*/ 268128 h 533244"/>
                    <a:gd name="connsiteX204" fmla="*/ 539219 w 590377"/>
                    <a:gd name="connsiteY204" fmla="*/ 268395 h 533244"/>
                    <a:gd name="connsiteX205" fmla="*/ 542389 w 590377"/>
                    <a:gd name="connsiteY205" fmla="*/ 270168 h 533244"/>
                    <a:gd name="connsiteX206" fmla="*/ 544222 w 590377"/>
                    <a:gd name="connsiteY206" fmla="*/ 271492 h 533244"/>
                    <a:gd name="connsiteX207" fmla="*/ 544392 w 590377"/>
                    <a:gd name="connsiteY207" fmla="*/ 271261 h 533244"/>
                    <a:gd name="connsiteX208" fmla="*/ 546590 w 590377"/>
                    <a:gd name="connsiteY208" fmla="*/ 272840 h 533244"/>
                    <a:gd name="connsiteX209" fmla="*/ 548084 w 590377"/>
                    <a:gd name="connsiteY209" fmla="*/ 275620 h 533244"/>
                    <a:gd name="connsiteX210" fmla="*/ 547792 w 590377"/>
                    <a:gd name="connsiteY210" fmla="*/ 275778 h 533244"/>
                    <a:gd name="connsiteX211" fmla="*/ 549055 w 590377"/>
                    <a:gd name="connsiteY211" fmla="*/ 277915 h 533244"/>
                    <a:gd name="connsiteX212" fmla="*/ 552212 w 590377"/>
                    <a:gd name="connsiteY212" fmla="*/ 279591 h 533244"/>
                    <a:gd name="connsiteX213" fmla="*/ 552334 w 590377"/>
                    <a:gd name="connsiteY213" fmla="*/ 279324 h 533244"/>
                    <a:gd name="connsiteX214" fmla="*/ 553196 w 590377"/>
                    <a:gd name="connsiteY214" fmla="*/ 279785 h 533244"/>
                    <a:gd name="connsiteX215" fmla="*/ 556062 w 590377"/>
                    <a:gd name="connsiteY215" fmla="*/ 280247 h 533244"/>
                    <a:gd name="connsiteX216" fmla="*/ 557944 w 590377"/>
                    <a:gd name="connsiteY216" fmla="*/ 280903 h 533244"/>
                    <a:gd name="connsiteX217" fmla="*/ 557834 w 590377"/>
                    <a:gd name="connsiteY217" fmla="*/ 281194 h 533244"/>
                    <a:gd name="connsiteX218" fmla="*/ 559037 w 590377"/>
                    <a:gd name="connsiteY218" fmla="*/ 281570 h 533244"/>
                    <a:gd name="connsiteX219" fmla="*/ 562777 w 590377"/>
                    <a:gd name="connsiteY219" fmla="*/ 284181 h 533244"/>
                    <a:gd name="connsiteX220" fmla="*/ 562947 w 590377"/>
                    <a:gd name="connsiteY220" fmla="*/ 283963 h 533244"/>
                    <a:gd name="connsiteX221" fmla="*/ 563238 w 590377"/>
                    <a:gd name="connsiteY221" fmla="*/ 284181 h 533244"/>
                    <a:gd name="connsiteX222" fmla="*/ 563190 w 590377"/>
                    <a:gd name="connsiteY222" fmla="*/ 284351 h 533244"/>
                    <a:gd name="connsiteX223" fmla="*/ 562449 w 590377"/>
                    <a:gd name="connsiteY223" fmla="*/ 287593 h 533244"/>
                    <a:gd name="connsiteX224" fmla="*/ 562789 w 590377"/>
                    <a:gd name="connsiteY224" fmla="*/ 289548 h 533244"/>
                    <a:gd name="connsiteX225" fmla="*/ 562473 w 590377"/>
                    <a:gd name="connsiteY225" fmla="*/ 289609 h 533244"/>
                    <a:gd name="connsiteX226" fmla="*/ 562947 w 590377"/>
                    <a:gd name="connsiteY226" fmla="*/ 292196 h 533244"/>
                    <a:gd name="connsiteX227" fmla="*/ 564210 w 590377"/>
                    <a:gd name="connsiteY227" fmla="*/ 295231 h 533244"/>
                    <a:gd name="connsiteX228" fmla="*/ 564525 w 590377"/>
                    <a:gd name="connsiteY228" fmla="*/ 295098 h 533244"/>
                    <a:gd name="connsiteX229" fmla="*/ 564744 w 590377"/>
                    <a:gd name="connsiteY229" fmla="*/ 295608 h 533244"/>
                    <a:gd name="connsiteX230" fmla="*/ 567148 w 590377"/>
                    <a:gd name="connsiteY230" fmla="*/ 298048 h 533244"/>
                    <a:gd name="connsiteX231" fmla="*/ 569042 w 590377"/>
                    <a:gd name="connsiteY231" fmla="*/ 298291 h 533244"/>
                    <a:gd name="connsiteX232" fmla="*/ 568970 w 590377"/>
                    <a:gd name="connsiteY232" fmla="*/ 298595 h 533244"/>
                    <a:gd name="connsiteX233" fmla="*/ 571143 w 590377"/>
                    <a:gd name="connsiteY233" fmla="*/ 298801 h 533244"/>
                    <a:gd name="connsiteX234" fmla="*/ 573620 w 590377"/>
                    <a:gd name="connsiteY234" fmla="*/ 301291 h 533244"/>
                    <a:gd name="connsiteX235" fmla="*/ 573875 w 590377"/>
                    <a:gd name="connsiteY235" fmla="*/ 301072 h 533244"/>
                    <a:gd name="connsiteX236" fmla="*/ 575357 w 590377"/>
                    <a:gd name="connsiteY236" fmla="*/ 302553 h 533244"/>
                    <a:gd name="connsiteX237" fmla="*/ 576790 w 590377"/>
                    <a:gd name="connsiteY237" fmla="*/ 305249 h 533244"/>
                    <a:gd name="connsiteX238" fmla="*/ 576705 w 590377"/>
                    <a:gd name="connsiteY238" fmla="*/ 306002 h 533244"/>
                    <a:gd name="connsiteX239" fmla="*/ 576437 w 590377"/>
                    <a:gd name="connsiteY239" fmla="*/ 305978 h 533244"/>
                    <a:gd name="connsiteX240" fmla="*/ 575976 w 590377"/>
                    <a:gd name="connsiteY240" fmla="*/ 309791 h 533244"/>
                    <a:gd name="connsiteX241" fmla="*/ 575976 w 590377"/>
                    <a:gd name="connsiteY241" fmla="*/ 311867 h 533244"/>
                    <a:gd name="connsiteX242" fmla="*/ 576279 w 590377"/>
                    <a:gd name="connsiteY242" fmla="*/ 311867 h 533244"/>
                    <a:gd name="connsiteX243" fmla="*/ 576279 w 590377"/>
                    <a:gd name="connsiteY243" fmla="*/ 312377 h 533244"/>
                    <a:gd name="connsiteX244" fmla="*/ 578162 w 590377"/>
                    <a:gd name="connsiteY244" fmla="*/ 314757 h 533244"/>
                    <a:gd name="connsiteX245" fmla="*/ 579303 w 590377"/>
                    <a:gd name="connsiteY245" fmla="*/ 316773 h 533244"/>
                    <a:gd name="connsiteX246" fmla="*/ 579085 w 590377"/>
                    <a:gd name="connsiteY246" fmla="*/ 316906 h 533244"/>
                    <a:gd name="connsiteX247" fmla="*/ 580056 w 590377"/>
                    <a:gd name="connsiteY247" fmla="*/ 318691 h 533244"/>
                    <a:gd name="connsiteX248" fmla="*/ 582400 w 590377"/>
                    <a:gd name="connsiteY248" fmla="*/ 320124 h 533244"/>
                    <a:gd name="connsiteX249" fmla="*/ 582642 w 590377"/>
                    <a:gd name="connsiteY249" fmla="*/ 320416 h 533244"/>
                    <a:gd name="connsiteX250" fmla="*/ 582460 w 590377"/>
                    <a:gd name="connsiteY250" fmla="*/ 320877 h 533244"/>
                    <a:gd name="connsiteX251" fmla="*/ 582776 w 590377"/>
                    <a:gd name="connsiteY251" fmla="*/ 320999 h 533244"/>
                    <a:gd name="connsiteX252" fmla="*/ 582363 w 590377"/>
                    <a:gd name="connsiteY252" fmla="*/ 322249 h 533244"/>
                    <a:gd name="connsiteX253" fmla="*/ 581453 w 590377"/>
                    <a:gd name="connsiteY253" fmla="*/ 322140 h 533244"/>
                    <a:gd name="connsiteX254" fmla="*/ 580238 w 590377"/>
                    <a:gd name="connsiteY254" fmla="*/ 321108 h 533244"/>
                    <a:gd name="connsiteX255" fmla="*/ 578927 w 590377"/>
                    <a:gd name="connsiteY255" fmla="*/ 319541 h 533244"/>
                    <a:gd name="connsiteX256" fmla="*/ 579145 w 590377"/>
                    <a:gd name="connsiteY256" fmla="*/ 319359 h 533244"/>
                    <a:gd name="connsiteX257" fmla="*/ 577992 w 590377"/>
                    <a:gd name="connsiteY257" fmla="*/ 318096 h 533244"/>
                    <a:gd name="connsiteX258" fmla="*/ 576619 w 590377"/>
                    <a:gd name="connsiteY258" fmla="*/ 317720 h 533244"/>
                    <a:gd name="connsiteX259" fmla="*/ 573851 w 590377"/>
                    <a:gd name="connsiteY259" fmla="*/ 318036 h 533244"/>
                    <a:gd name="connsiteX260" fmla="*/ 573572 w 590377"/>
                    <a:gd name="connsiteY260" fmla="*/ 318181 h 533244"/>
                    <a:gd name="connsiteX261" fmla="*/ 573669 w 590377"/>
                    <a:gd name="connsiteY261" fmla="*/ 318424 h 533244"/>
                    <a:gd name="connsiteX262" fmla="*/ 573353 w 590377"/>
                    <a:gd name="connsiteY262" fmla="*/ 318570 h 533244"/>
                    <a:gd name="connsiteX263" fmla="*/ 572491 w 590377"/>
                    <a:gd name="connsiteY263" fmla="*/ 319323 h 533244"/>
                    <a:gd name="connsiteX264" fmla="*/ 573074 w 590377"/>
                    <a:gd name="connsiteY264" fmla="*/ 320294 h 533244"/>
                    <a:gd name="connsiteX265" fmla="*/ 573863 w 590377"/>
                    <a:gd name="connsiteY265" fmla="*/ 320986 h 533244"/>
                    <a:gd name="connsiteX266" fmla="*/ 573657 w 590377"/>
                    <a:gd name="connsiteY266" fmla="*/ 323148 h 533244"/>
                    <a:gd name="connsiteX267" fmla="*/ 573329 w 590377"/>
                    <a:gd name="connsiteY267" fmla="*/ 323124 h 533244"/>
                    <a:gd name="connsiteX268" fmla="*/ 573280 w 590377"/>
                    <a:gd name="connsiteY268" fmla="*/ 324326 h 533244"/>
                    <a:gd name="connsiteX269" fmla="*/ 572418 w 590377"/>
                    <a:gd name="connsiteY269" fmla="*/ 325528 h 533244"/>
                    <a:gd name="connsiteX270" fmla="*/ 571447 w 590377"/>
                    <a:gd name="connsiteY270" fmla="*/ 327592 h 533244"/>
                    <a:gd name="connsiteX271" fmla="*/ 570985 w 590377"/>
                    <a:gd name="connsiteY271" fmla="*/ 328199 h 533244"/>
                    <a:gd name="connsiteX272" fmla="*/ 571192 w 590377"/>
                    <a:gd name="connsiteY272" fmla="*/ 328357 h 533244"/>
                    <a:gd name="connsiteX273" fmla="*/ 570645 w 590377"/>
                    <a:gd name="connsiteY273" fmla="*/ 329025 h 533244"/>
                    <a:gd name="connsiteX274" fmla="*/ 570074 w 590377"/>
                    <a:gd name="connsiteY274" fmla="*/ 330458 h 533244"/>
                    <a:gd name="connsiteX275" fmla="*/ 568411 w 590377"/>
                    <a:gd name="connsiteY275" fmla="*/ 331551 h 533244"/>
                    <a:gd name="connsiteX276" fmla="*/ 567877 w 590377"/>
                    <a:gd name="connsiteY276" fmla="*/ 333020 h 533244"/>
                    <a:gd name="connsiteX277" fmla="*/ 567537 w 590377"/>
                    <a:gd name="connsiteY277" fmla="*/ 333020 h 533244"/>
                    <a:gd name="connsiteX278" fmla="*/ 567537 w 590377"/>
                    <a:gd name="connsiteY278" fmla="*/ 333299 h 533244"/>
                    <a:gd name="connsiteX279" fmla="*/ 568107 w 590377"/>
                    <a:gd name="connsiteY279" fmla="*/ 338800 h 533244"/>
                    <a:gd name="connsiteX280" fmla="*/ 568229 w 590377"/>
                    <a:gd name="connsiteY280" fmla="*/ 338800 h 533244"/>
                    <a:gd name="connsiteX281" fmla="*/ 568423 w 590377"/>
                    <a:gd name="connsiteY281" fmla="*/ 341399 h 533244"/>
                    <a:gd name="connsiteX282" fmla="*/ 568532 w 590377"/>
                    <a:gd name="connsiteY282" fmla="*/ 341472 h 533244"/>
                    <a:gd name="connsiteX283" fmla="*/ 570123 w 590377"/>
                    <a:gd name="connsiteY283" fmla="*/ 343269 h 533244"/>
                    <a:gd name="connsiteX284" fmla="*/ 570062 w 590377"/>
                    <a:gd name="connsiteY284" fmla="*/ 343305 h 533244"/>
                    <a:gd name="connsiteX285" fmla="*/ 567743 w 590377"/>
                    <a:gd name="connsiteY285" fmla="*/ 340682 h 533244"/>
                    <a:gd name="connsiteX286" fmla="*/ 565047 w 590377"/>
                    <a:gd name="connsiteY286" fmla="*/ 339055 h 533244"/>
                    <a:gd name="connsiteX287" fmla="*/ 562291 w 590377"/>
                    <a:gd name="connsiteY287" fmla="*/ 338436 h 533244"/>
                    <a:gd name="connsiteX288" fmla="*/ 540919 w 590377"/>
                    <a:gd name="connsiteY288" fmla="*/ 340172 h 533244"/>
                    <a:gd name="connsiteX289" fmla="*/ 538345 w 590377"/>
                    <a:gd name="connsiteY289" fmla="*/ 339189 h 533244"/>
                    <a:gd name="connsiteX290" fmla="*/ 528303 w 590377"/>
                    <a:gd name="connsiteY290" fmla="*/ 331320 h 533244"/>
                    <a:gd name="connsiteX291" fmla="*/ 525316 w 590377"/>
                    <a:gd name="connsiteY291" fmla="*/ 331004 h 533244"/>
                    <a:gd name="connsiteX292" fmla="*/ 519621 w 590377"/>
                    <a:gd name="connsiteY292" fmla="*/ 334307 h 533244"/>
                    <a:gd name="connsiteX293" fmla="*/ 497982 w 590377"/>
                    <a:gd name="connsiteY293" fmla="*/ 338387 h 533244"/>
                    <a:gd name="connsiteX294" fmla="*/ 489822 w 590377"/>
                    <a:gd name="connsiteY294" fmla="*/ 342091 h 533244"/>
                    <a:gd name="connsiteX295" fmla="*/ 478747 w 590377"/>
                    <a:gd name="connsiteY295" fmla="*/ 348842 h 533244"/>
                    <a:gd name="connsiteX296" fmla="*/ 476270 w 590377"/>
                    <a:gd name="connsiteY296" fmla="*/ 351222 h 533244"/>
                    <a:gd name="connsiteX297" fmla="*/ 475068 w 590377"/>
                    <a:gd name="connsiteY297" fmla="*/ 353262 h 533244"/>
                    <a:gd name="connsiteX298" fmla="*/ 475007 w 590377"/>
                    <a:gd name="connsiteY298" fmla="*/ 355387 h 533244"/>
                    <a:gd name="connsiteX299" fmla="*/ 474327 w 590377"/>
                    <a:gd name="connsiteY299" fmla="*/ 358144 h 533244"/>
                    <a:gd name="connsiteX300" fmla="*/ 472664 w 590377"/>
                    <a:gd name="connsiteY300" fmla="*/ 361690 h 533244"/>
                    <a:gd name="connsiteX301" fmla="*/ 468001 w 590377"/>
                    <a:gd name="connsiteY301" fmla="*/ 366522 h 533244"/>
                    <a:gd name="connsiteX302" fmla="*/ 464042 w 590377"/>
                    <a:gd name="connsiteY302" fmla="*/ 369109 h 533244"/>
                    <a:gd name="connsiteX303" fmla="*/ 460072 w 590377"/>
                    <a:gd name="connsiteY303" fmla="*/ 370736 h 533244"/>
                    <a:gd name="connsiteX304" fmla="*/ 452203 w 590377"/>
                    <a:gd name="connsiteY304" fmla="*/ 373043 h 533244"/>
                    <a:gd name="connsiteX305" fmla="*/ 442452 w 590377"/>
                    <a:gd name="connsiteY305" fmla="*/ 377087 h 533244"/>
                    <a:gd name="connsiteX306" fmla="*/ 438894 w 590377"/>
                    <a:gd name="connsiteY306" fmla="*/ 379649 h 533244"/>
                    <a:gd name="connsiteX307" fmla="*/ 437680 w 590377"/>
                    <a:gd name="connsiteY307" fmla="*/ 381228 h 533244"/>
                    <a:gd name="connsiteX308" fmla="*/ 433211 w 590377"/>
                    <a:gd name="connsiteY308" fmla="*/ 386218 h 533244"/>
                    <a:gd name="connsiteX309" fmla="*/ 418385 w 590377"/>
                    <a:gd name="connsiteY309" fmla="*/ 398446 h 533244"/>
                    <a:gd name="connsiteX310" fmla="*/ 415058 w 590377"/>
                    <a:gd name="connsiteY310" fmla="*/ 400462 h 533244"/>
                    <a:gd name="connsiteX311" fmla="*/ 412994 w 590377"/>
                    <a:gd name="connsiteY311" fmla="*/ 401142 h 533244"/>
                    <a:gd name="connsiteX312" fmla="*/ 411561 w 590377"/>
                    <a:gd name="connsiteY312" fmla="*/ 400061 h 533244"/>
                    <a:gd name="connsiteX313" fmla="*/ 408513 w 590377"/>
                    <a:gd name="connsiteY313" fmla="*/ 396503 h 533244"/>
                    <a:gd name="connsiteX314" fmla="*/ 406971 w 590377"/>
                    <a:gd name="connsiteY314" fmla="*/ 395325 h 533244"/>
                    <a:gd name="connsiteX315" fmla="*/ 405356 w 590377"/>
                    <a:gd name="connsiteY315" fmla="*/ 394694 h 533244"/>
                    <a:gd name="connsiteX316" fmla="*/ 403631 w 590377"/>
                    <a:gd name="connsiteY316" fmla="*/ 394318 h 533244"/>
                    <a:gd name="connsiteX317" fmla="*/ 399090 w 590377"/>
                    <a:gd name="connsiteY317" fmla="*/ 392363 h 533244"/>
                    <a:gd name="connsiteX318" fmla="*/ 397026 w 590377"/>
                    <a:gd name="connsiteY318" fmla="*/ 391938 h 533244"/>
                    <a:gd name="connsiteX319" fmla="*/ 394670 w 590377"/>
                    <a:gd name="connsiteY319" fmla="*/ 391913 h 533244"/>
                    <a:gd name="connsiteX320" fmla="*/ 390990 w 590377"/>
                    <a:gd name="connsiteY320" fmla="*/ 392763 h 533244"/>
                    <a:gd name="connsiteX321" fmla="*/ 388756 w 590377"/>
                    <a:gd name="connsiteY321" fmla="*/ 394087 h 533244"/>
                    <a:gd name="connsiteX322" fmla="*/ 387323 w 590377"/>
                    <a:gd name="connsiteY322" fmla="*/ 395811 h 533244"/>
                    <a:gd name="connsiteX323" fmla="*/ 386692 w 590377"/>
                    <a:gd name="connsiteY323" fmla="*/ 398252 h 533244"/>
                    <a:gd name="connsiteX324" fmla="*/ 386971 w 590377"/>
                    <a:gd name="connsiteY324" fmla="*/ 401045 h 533244"/>
                    <a:gd name="connsiteX325" fmla="*/ 388246 w 590377"/>
                    <a:gd name="connsiteY325" fmla="*/ 404020 h 533244"/>
                    <a:gd name="connsiteX326" fmla="*/ 390602 w 590377"/>
                    <a:gd name="connsiteY326" fmla="*/ 406922 h 533244"/>
                    <a:gd name="connsiteX327" fmla="*/ 397026 w 590377"/>
                    <a:gd name="connsiteY327" fmla="*/ 413382 h 533244"/>
                    <a:gd name="connsiteX328" fmla="*/ 399090 w 590377"/>
                    <a:gd name="connsiteY328" fmla="*/ 415944 h 533244"/>
                    <a:gd name="connsiteX329" fmla="*/ 400413 w 590377"/>
                    <a:gd name="connsiteY329" fmla="*/ 417972 h 533244"/>
                    <a:gd name="connsiteX330" fmla="*/ 401215 w 590377"/>
                    <a:gd name="connsiteY330" fmla="*/ 419806 h 533244"/>
                    <a:gd name="connsiteX331" fmla="*/ 402308 w 590377"/>
                    <a:gd name="connsiteY331" fmla="*/ 421736 h 533244"/>
                    <a:gd name="connsiteX332" fmla="*/ 405404 w 590377"/>
                    <a:gd name="connsiteY332" fmla="*/ 425501 h 533244"/>
                    <a:gd name="connsiteX333" fmla="*/ 406558 w 590377"/>
                    <a:gd name="connsiteY333" fmla="*/ 427359 h 533244"/>
                    <a:gd name="connsiteX334" fmla="*/ 407141 w 590377"/>
                    <a:gd name="connsiteY334" fmla="*/ 429629 h 533244"/>
                    <a:gd name="connsiteX335" fmla="*/ 407250 w 590377"/>
                    <a:gd name="connsiteY335" fmla="*/ 430929 h 533244"/>
                    <a:gd name="connsiteX336" fmla="*/ 405404 w 590377"/>
                    <a:gd name="connsiteY336" fmla="*/ 434972 h 533244"/>
                    <a:gd name="connsiteX337" fmla="*/ 405076 w 590377"/>
                    <a:gd name="connsiteY337" fmla="*/ 441979 h 533244"/>
                    <a:gd name="connsiteX338" fmla="*/ 405696 w 590377"/>
                    <a:gd name="connsiteY338" fmla="*/ 444395 h 533244"/>
                    <a:gd name="connsiteX339" fmla="*/ 409436 w 590377"/>
                    <a:gd name="connsiteY339" fmla="*/ 452592 h 533244"/>
                    <a:gd name="connsiteX340" fmla="*/ 409666 w 590377"/>
                    <a:gd name="connsiteY340" fmla="*/ 454874 h 533244"/>
                    <a:gd name="connsiteX341" fmla="*/ 409606 w 590377"/>
                    <a:gd name="connsiteY341" fmla="*/ 457084 h 533244"/>
                    <a:gd name="connsiteX342" fmla="*/ 409035 w 590377"/>
                    <a:gd name="connsiteY342" fmla="*/ 459841 h 533244"/>
                    <a:gd name="connsiteX343" fmla="*/ 408634 w 590377"/>
                    <a:gd name="connsiteY343" fmla="*/ 460436 h 533244"/>
                    <a:gd name="connsiteX344" fmla="*/ 407189 w 590377"/>
                    <a:gd name="connsiteY344" fmla="*/ 461274 h 533244"/>
                    <a:gd name="connsiteX345" fmla="*/ 403983 w 590377"/>
                    <a:gd name="connsiteY345" fmla="*/ 464103 h 533244"/>
                    <a:gd name="connsiteX346" fmla="*/ 398410 w 590377"/>
                    <a:gd name="connsiteY346" fmla="*/ 471692 h 533244"/>
                    <a:gd name="connsiteX347" fmla="*/ 398640 w 590377"/>
                    <a:gd name="connsiteY347" fmla="*/ 474425 h 533244"/>
                    <a:gd name="connsiteX348" fmla="*/ 396346 w 590377"/>
                    <a:gd name="connsiteY348" fmla="*/ 478845 h 533244"/>
                    <a:gd name="connsiteX349" fmla="*/ 394900 w 590377"/>
                    <a:gd name="connsiteY349" fmla="*/ 480848 h 533244"/>
                    <a:gd name="connsiteX350" fmla="*/ 393358 w 590377"/>
                    <a:gd name="connsiteY350" fmla="*/ 482973 h 533244"/>
                    <a:gd name="connsiteX351" fmla="*/ 391403 w 590377"/>
                    <a:gd name="connsiteY351" fmla="*/ 484795 h 533244"/>
                    <a:gd name="connsiteX352" fmla="*/ 389400 w 590377"/>
                    <a:gd name="connsiteY352" fmla="*/ 485414 h 533244"/>
                    <a:gd name="connsiteX353" fmla="*/ 385599 w 590377"/>
                    <a:gd name="connsiteY353" fmla="*/ 488268 h 533244"/>
                    <a:gd name="connsiteX354" fmla="*/ 375326 w 590377"/>
                    <a:gd name="connsiteY354" fmla="*/ 491765 h 533244"/>
                    <a:gd name="connsiteX355" fmla="*/ 374185 w 590377"/>
                    <a:gd name="connsiteY355" fmla="*/ 493538 h 533244"/>
                    <a:gd name="connsiteX356" fmla="*/ 373371 w 590377"/>
                    <a:gd name="connsiteY356" fmla="*/ 497448 h 533244"/>
                    <a:gd name="connsiteX357" fmla="*/ 372788 w 590377"/>
                    <a:gd name="connsiteY357" fmla="*/ 499026 h 533244"/>
                    <a:gd name="connsiteX358" fmla="*/ 371659 w 590377"/>
                    <a:gd name="connsiteY358" fmla="*/ 500143 h 533244"/>
                    <a:gd name="connsiteX359" fmla="*/ 368380 w 590377"/>
                    <a:gd name="connsiteY359" fmla="*/ 502523 h 533244"/>
                    <a:gd name="connsiteX360" fmla="*/ 366935 w 590377"/>
                    <a:gd name="connsiteY360" fmla="*/ 503932 h 533244"/>
                    <a:gd name="connsiteX361" fmla="*/ 364009 w 590377"/>
                    <a:gd name="connsiteY361" fmla="*/ 505231 h 533244"/>
                    <a:gd name="connsiteX362" fmla="*/ 350749 w 590377"/>
                    <a:gd name="connsiteY362" fmla="*/ 506142 h 533244"/>
                    <a:gd name="connsiteX363" fmla="*/ 343512 w 590377"/>
                    <a:gd name="connsiteY363" fmla="*/ 510477 h 533244"/>
                    <a:gd name="connsiteX364" fmla="*/ 336906 w 590377"/>
                    <a:gd name="connsiteY364" fmla="*/ 516621 h 533244"/>
                    <a:gd name="connsiteX365" fmla="*/ 330239 w 590377"/>
                    <a:gd name="connsiteY365" fmla="*/ 525923 h 533244"/>
                    <a:gd name="connsiteX366" fmla="*/ 326184 w 590377"/>
                    <a:gd name="connsiteY366" fmla="*/ 524502 h 533244"/>
                    <a:gd name="connsiteX367" fmla="*/ 324909 w 590377"/>
                    <a:gd name="connsiteY367" fmla="*/ 523518 h 533244"/>
                    <a:gd name="connsiteX368" fmla="*/ 323184 w 590377"/>
                    <a:gd name="connsiteY368" fmla="*/ 522341 h 533244"/>
                    <a:gd name="connsiteX369" fmla="*/ 320659 w 590377"/>
                    <a:gd name="connsiteY369" fmla="*/ 521041 h 533244"/>
                    <a:gd name="connsiteX370" fmla="*/ 319396 w 590377"/>
                    <a:gd name="connsiteY370" fmla="*/ 519718 h 533244"/>
                    <a:gd name="connsiteX371" fmla="*/ 318874 w 590377"/>
                    <a:gd name="connsiteY371" fmla="*/ 518491 h 533244"/>
                    <a:gd name="connsiteX372" fmla="*/ 319335 w 590377"/>
                    <a:gd name="connsiteY372" fmla="*/ 514958 h 533244"/>
                    <a:gd name="connsiteX373" fmla="*/ 318874 w 590377"/>
                    <a:gd name="connsiteY373" fmla="*/ 513586 h 533244"/>
                    <a:gd name="connsiteX374" fmla="*/ 317902 w 590377"/>
                    <a:gd name="connsiteY374" fmla="*/ 513501 h 533244"/>
                    <a:gd name="connsiteX375" fmla="*/ 315255 w 590377"/>
                    <a:gd name="connsiteY375" fmla="*/ 514788 h 533244"/>
                    <a:gd name="connsiteX376" fmla="*/ 313652 w 590377"/>
                    <a:gd name="connsiteY376" fmla="*/ 516451 h 533244"/>
                    <a:gd name="connsiteX377" fmla="*/ 309232 w 590377"/>
                    <a:gd name="connsiteY377" fmla="*/ 518637 h 533244"/>
                    <a:gd name="connsiteX378" fmla="*/ 297356 w 590377"/>
                    <a:gd name="connsiteY378" fmla="*/ 517714 h 533244"/>
                    <a:gd name="connsiteX379" fmla="*/ 291941 w 590377"/>
                    <a:gd name="connsiteY379" fmla="*/ 519293 h 533244"/>
                    <a:gd name="connsiteX380" fmla="*/ 279142 w 590377"/>
                    <a:gd name="connsiteY380" fmla="*/ 509336 h 533244"/>
                    <a:gd name="connsiteX381" fmla="*/ 272767 w 590377"/>
                    <a:gd name="connsiteY381" fmla="*/ 505778 h 533244"/>
                    <a:gd name="connsiteX382" fmla="*/ 259616 w 590377"/>
                    <a:gd name="connsiteY382" fmla="*/ 502754 h 533244"/>
                    <a:gd name="connsiteX383" fmla="*/ 253302 w 590377"/>
                    <a:gd name="connsiteY383" fmla="*/ 499075 h 533244"/>
                    <a:gd name="connsiteX384" fmla="*/ 246295 w 590377"/>
                    <a:gd name="connsiteY384" fmla="*/ 493598 h 533244"/>
                    <a:gd name="connsiteX385" fmla="*/ 240442 w 590377"/>
                    <a:gd name="connsiteY385" fmla="*/ 491364 h 533244"/>
                    <a:gd name="connsiteX386" fmla="*/ 234237 w 590377"/>
                    <a:gd name="connsiteY386" fmla="*/ 491983 h 533244"/>
                    <a:gd name="connsiteX387" fmla="*/ 226308 w 590377"/>
                    <a:gd name="connsiteY387" fmla="*/ 495031 h 533244"/>
                    <a:gd name="connsiteX388" fmla="*/ 218561 w 590377"/>
                    <a:gd name="connsiteY388" fmla="*/ 495784 h 533244"/>
                    <a:gd name="connsiteX389" fmla="*/ 205653 w 590377"/>
                    <a:gd name="connsiteY389" fmla="*/ 489579 h 533244"/>
                    <a:gd name="connsiteX390" fmla="*/ 198343 w 590377"/>
                    <a:gd name="connsiteY390" fmla="*/ 490040 h 533244"/>
                    <a:gd name="connsiteX391" fmla="*/ 191628 w 590377"/>
                    <a:gd name="connsiteY391" fmla="*/ 492141 h 533244"/>
                    <a:gd name="connsiteX392" fmla="*/ 184403 w 590377"/>
                    <a:gd name="connsiteY392" fmla="*/ 492505 h 533244"/>
                    <a:gd name="connsiteX393" fmla="*/ 177736 w 590377"/>
                    <a:gd name="connsiteY393" fmla="*/ 490320 h 533244"/>
                    <a:gd name="connsiteX394" fmla="*/ 172685 w 590377"/>
                    <a:gd name="connsiteY394" fmla="*/ 484673 h 533244"/>
                    <a:gd name="connsiteX395" fmla="*/ 167050 w 590377"/>
                    <a:gd name="connsiteY395" fmla="*/ 470114 h 533244"/>
                    <a:gd name="connsiteX396" fmla="*/ 166528 w 590377"/>
                    <a:gd name="connsiteY396" fmla="*/ 465949 h 533244"/>
                    <a:gd name="connsiteX397" fmla="*/ 167912 w 590377"/>
                    <a:gd name="connsiteY397" fmla="*/ 462160 h 533244"/>
                    <a:gd name="connsiteX398" fmla="*/ 169977 w 590377"/>
                    <a:gd name="connsiteY398" fmla="*/ 458505 h 533244"/>
                    <a:gd name="connsiteX399" fmla="*/ 171470 w 590377"/>
                    <a:gd name="connsiteY399" fmla="*/ 454959 h 533244"/>
                    <a:gd name="connsiteX400" fmla="*/ 171701 w 590377"/>
                    <a:gd name="connsiteY400" fmla="*/ 450819 h 533244"/>
                    <a:gd name="connsiteX401" fmla="*/ 170378 w 590377"/>
                    <a:gd name="connsiteY401" fmla="*/ 442319 h 533244"/>
                    <a:gd name="connsiteX402" fmla="*/ 170280 w 590377"/>
                    <a:gd name="connsiteY402" fmla="*/ 437729 h 533244"/>
                    <a:gd name="connsiteX403" fmla="*/ 171653 w 590377"/>
                    <a:gd name="connsiteY403" fmla="*/ 433114 h 533244"/>
                    <a:gd name="connsiteX404" fmla="*/ 176425 w 590377"/>
                    <a:gd name="connsiteY404" fmla="*/ 424323 h 533244"/>
                    <a:gd name="connsiteX405" fmla="*/ 177688 w 590377"/>
                    <a:gd name="connsiteY405" fmla="*/ 419806 h 533244"/>
                    <a:gd name="connsiteX406" fmla="*/ 176983 w 590377"/>
                    <a:gd name="connsiteY406" fmla="*/ 415131 h 533244"/>
                    <a:gd name="connsiteX407" fmla="*/ 174409 w 590377"/>
                    <a:gd name="connsiteY407" fmla="*/ 413176 h 533244"/>
                    <a:gd name="connsiteX408" fmla="*/ 171021 w 590377"/>
                    <a:gd name="connsiteY408" fmla="*/ 413843 h 533244"/>
                    <a:gd name="connsiteX409" fmla="*/ 167694 w 590377"/>
                    <a:gd name="connsiteY409" fmla="*/ 417049 h 533244"/>
                    <a:gd name="connsiteX410" fmla="*/ 165909 w 590377"/>
                    <a:gd name="connsiteY410" fmla="*/ 421105 h 533244"/>
                    <a:gd name="connsiteX411" fmla="*/ 165095 w 590377"/>
                    <a:gd name="connsiteY411" fmla="*/ 424724 h 533244"/>
                    <a:gd name="connsiteX412" fmla="*/ 163614 w 590377"/>
                    <a:gd name="connsiteY412" fmla="*/ 427844 h 533244"/>
                    <a:gd name="connsiteX413" fmla="*/ 159704 w 590377"/>
                    <a:gd name="connsiteY413" fmla="*/ 430455 h 533244"/>
                    <a:gd name="connsiteX414" fmla="*/ 156025 w 590377"/>
                    <a:gd name="connsiteY414" fmla="*/ 431584 h 533244"/>
                    <a:gd name="connsiteX415" fmla="*/ 146152 w 590377"/>
                    <a:gd name="connsiteY415" fmla="*/ 433114 h 533244"/>
                    <a:gd name="connsiteX416" fmla="*/ 142364 w 590377"/>
                    <a:gd name="connsiteY416" fmla="*/ 432956 h 533244"/>
                    <a:gd name="connsiteX417" fmla="*/ 139328 w 590377"/>
                    <a:gd name="connsiteY417" fmla="*/ 431390 h 533244"/>
                    <a:gd name="connsiteX418" fmla="*/ 133815 w 590377"/>
                    <a:gd name="connsiteY418" fmla="*/ 426120 h 533244"/>
                    <a:gd name="connsiteX419" fmla="*/ 130707 w 590377"/>
                    <a:gd name="connsiteY419" fmla="*/ 424602 h 533244"/>
                    <a:gd name="connsiteX420" fmla="*/ 127027 w 590377"/>
                    <a:gd name="connsiteY420" fmla="*/ 424894 h 533244"/>
                    <a:gd name="connsiteX421" fmla="*/ 120883 w 590377"/>
                    <a:gd name="connsiteY421" fmla="*/ 428391 h 533244"/>
                    <a:gd name="connsiteX422" fmla="*/ 117386 w 590377"/>
                    <a:gd name="connsiteY422" fmla="*/ 429289 h 533244"/>
                    <a:gd name="connsiteX423" fmla="*/ 113366 w 590377"/>
                    <a:gd name="connsiteY423" fmla="*/ 428597 h 533244"/>
                    <a:gd name="connsiteX424" fmla="*/ 110197 w 590377"/>
                    <a:gd name="connsiteY424" fmla="*/ 426594 h 533244"/>
                    <a:gd name="connsiteX425" fmla="*/ 107732 w 590377"/>
                    <a:gd name="connsiteY425" fmla="*/ 423546 h 533244"/>
                    <a:gd name="connsiteX426" fmla="*/ 105911 w 590377"/>
                    <a:gd name="connsiteY426" fmla="*/ 419587 h 533244"/>
                    <a:gd name="connsiteX427" fmla="*/ 107671 w 590377"/>
                    <a:gd name="connsiteY427" fmla="*/ 417110 h 533244"/>
                    <a:gd name="connsiteX428" fmla="*/ 107914 w 590377"/>
                    <a:gd name="connsiteY428" fmla="*/ 416855 h 533244"/>
                    <a:gd name="connsiteX429" fmla="*/ 108995 w 590377"/>
                    <a:gd name="connsiteY429" fmla="*/ 415276 h 533244"/>
                    <a:gd name="connsiteX430" fmla="*/ 111023 w 590377"/>
                    <a:gd name="connsiteY430" fmla="*/ 411366 h 533244"/>
                    <a:gd name="connsiteX431" fmla="*/ 111594 w 590377"/>
                    <a:gd name="connsiteY431" fmla="*/ 407007 h 533244"/>
                    <a:gd name="connsiteX432" fmla="*/ 109286 w 590377"/>
                    <a:gd name="connsiteY432" fmla="*/ 396261 h 533244"/>
                    <a:gd name="connsiteX433" fmla="*/ 108837 w 590377"/>
                    <a:gd name="connsiteY433" fmla="*/ 385672 h 533244"/>
                    <a:gd name="connsiteX434" fmla="*/ 106821 w 590377"/>
                    <a:gd name="connsiteY434" fmla="*/ 381021 h 533244"/>
                    <a:gd name="connsiteX435" fmla="*/ 101709 w 590377"/>
                    <a:gd name="connsiteY435" fmla="*/ 377985 h 533244"/>
                    <a:gd name="connsiteX436" fmla="*/ 84248 w 590377"/>
                    <a:gd name="connsiteY436" fmla="*/ 375193 h 533244"/>
                    <a:gd name="connsiteX437" fmla="*/ 77302 w 590377"/>
                    <a:gd name="connsiteY437" fmla="*/ 371404 h 533244"/>
                    <a:gd name="connsiteX438" fmla="*/ 66920 w 590377"/>
                    <a:gd name="connsiteY438" fmla="*/ 357852 h 533244"/>
                    <a:gd name="connsiteX439" fmla="*/ 60775 w 590377"/>
                    <a:gd name="connsiteY439" fmla="*/ 352024 h 533244"/>
                    <a:gd name="connsiteX440" fmla="*/ 53939 w 590377"/>
                    <a:gd name="connsiteY440" fmla="*/ 347519 h 533244"/>
                    <a:gd name="connsiteX441" fmla="*/ 48887 w 590377"/>
                    <a:gd name="connsiteY441" fmla="*/ 342577 h 533244"/>
                    <a:gd name="connsiteX442" fmla="*/ 46301 w 590377"/>
                    <a:gd name="connsiteY442" fmla="*/ 336092 h 533244"/>
                    <a:gd name="connsiteX443" fmla="*/ 46884 w 590377"/>
                    <a:gd name="connsiteY443" fmla="*/ 326876 h 533244"/>
                    <a:gd name="connsiteX444" fmla="*/ 48778 w 590377"/>
                    <a:gd name="connsiteY444" fmla="*/ 323197 h 533244"/>
                    <a:gd name="connsiteX445" fmla="*/ 51753 w 590377"/>
                    <a:gd name="connsiteY445" fmla="*/ 321217 h 533244"/>
                    <a:gd name="connsiteX446" fmla="*/ 58820 w 590377"/>
                    <a:gd name="connsiteY446" fmla="*/ 318606 h 533244"/>
                    <a:gd name="connsiteX447" fmla="*/ 61917 w 590377"/>
                    <a:gd name="connsiteY447" fmla="*/ 316457 h 533244"/>
                    <a:gd name="connsiteX448" fmla="*/ 64382 w 590377"/>
                    <a:gd name="connsiteY448" fmla="*/ 313919 h 533244"/>
                    <a:gd name="connsiteX449" fmla="*/ 66458 w 590377"/>
                    <a:gd name="connsiteY449" fmla="*/ 310944 h 533244"/>
                    <a:gd name="connsiteX450" fmla="*/ 68231 w 590377"/>
                    <a:gd name="connsiteY450" fmla="*/ 307447 h 533244"/>
                    <a:gd name="connsiteX451" fmla="*/ 73975 w 590377"/>
                    <a:gd name="connsiteY451" fmla="*/ 292159 h 533244"/>
                    <a:gd name="connsiteX452" fmla="*/ 78055 w 590377"/>
                    <a:gd name="connsiteY452" fmla="*/ 276143 h 533244"/>
                    <a:gd name="connsiteX453" fmla="*/ 74958 w 590377"/>
                    <a:gd name="connsiteY453" fmla="*/ 264546 h 533244"/>
                    <a:gd name="connsiteX454" fmla="*/ 64965 w 590377"/>
                    <a:gd name="connsiteY454" fmla="*/ 257017 h 533244"/>
                    <a:gd name="connsiteX455" fmla="*/ 52967 w 590377"/>
                    <a:gd name="connsiteY455" fmla="*/ 250910 h 533244"/>
                    <a:gd name="connsiteX456" fmla="*/ 44055 w 590377"/>
                    <a:gd name="connsiteY456" fmla="*/ 243733 h 533244"/>
                    <a:gd name="connsiteX457" fmla="*/ 42500 w 590377"/>
                    <a:gd name="connsiteY457" fmla="*/ 240855 h 533244"/>
                    <a:gd name="connsiteX458" fmla="*/ 41529 w 590377"/>
                    <a:gd name="connsiteY458" fmla="*/ 237783 h 533244"/>
                    <a:gd name="connsiteX459" fmla="*/ 41067 w 590377"/>
                    <a:gd name="connsiteY459" fmla="*/ 234517 h 533244"/>
                    <a:gd name="connsiteX460" fmla="*/ 41529 w 590377"/>
                    <a:gd name="connsiteY460" fmla="*/ 228336 h 533244"/>
                    <a:gd name="connsiteX461" fmla="*/ 42100 w 590377"/>
                    <a:gd name="connsiteY461" fmla="*/ 225616 h 533244"/>
                    <a:gd name="connsiteX462" fmla="*/ 42913 w 590377"/>
                    <a:gd name="connsiteY462" fmla="*/ 222969 h 533244"/>
                    <a:gd name="connsiteX463" fmla="*/ 44055 w 590377"/>
                    <a:gd name="connsiteY463" fmla="*/ 220479 h 533244"/>
                    <a:gd name="connsiteX464" fmla="*/ 50551 w 590377"/>
                    <a:gd name="connsiteY464" fmla="*/ 209624 h 533244"/>
                    <a:gd name="connsiteX465" fmla="*/ 54922 w 590377"/>
                    <a:gd name="connsiteY465" fmla="*/ 205799 h 533244"/>
                    <a:gd name="connsiteX466" fmla="*/ 75128 w 590377"/>
                    <a:gd name="connsiteY466" fmla="*/ 202532 h 533244"/>
                    <a:gd name="connsiteX467" fmla="*/ 81734 w 590377"/>
                    <a:gd name="connsiteY467" fmla="*/ 199715 h 533244"/>
                    <a:gd name="connsiteX468" fmla="*/ 88279 w 590377"/>
                    <a:gd name="connsiteY468" fmla="*/ 195319 h 533244"/>
                    <a:gd name="connsiteX469" fmla="*/ 93391 w 590377"/>
                    <a:gd name="connsiteY469" fmla="*/ 190559 h 533244"/>
                    <a:gd name="connsiteX470" fmla="*/ 97690 w 590377"/>
                    <a:gd name="connsiteY470" fmla="*/ 184439 h 533244"/>
                    <a:gd name="connsiteX471" fmla="*/ 99524 w 590377"/>
                    <a:gd name="connsiteY471" fmla="*/ 177663 h 533244"/>
                    <a:gd name="connsiteX472" fmla="*/ 97107 w 590377"/>
                    <a:gd name="connsiteY472" fmla="*/ 170863 h 533244"/>
                    <a:gd name="connsiteX473" fmla="*/ 91266 w 590377"/>
                    <a:gd name="connsiteY473" fmla="*/ 166953 h 533244"/>
                    <a:gd name="connsiteX474" fmla="*/ 84478 w 590377"/>
                    <a:gd name="connsiteY474" fmla="*/ 167184 h 533244"/>
                    <a:gd name="connsiteX475" fmla="*/ 77350 w 590377"/>
                    <a:gd name="connsiteY475" fmla="*/ 168823 h 533244"/>
                    <a:gd name="connsiteX476" fmla="*/ 70648 w 590377"/>
                    <a:gd name="connsiteY476" fmla="*/ 169163 h 533244"/>
                    <a:gd name="connsiteX477" fmla="*/ 60654 w 590377"/>
                    <a:gd name="connsiteY477" fmla="*/ 165812 h 533244"/>
                    <a:gd name="connsiteX478" fmla="*/ 56865 w 590377"/>
                    <a:gd name="connsiteY478" fmla="*/ 165581 h 533244"/>
                    <a:gd name="connsiteX479" fmla="*/ 44055 w 590377"/>
                    <a:gd name="connsiteY479" fmla="*/ 168714 h 533244"/>
                    <a:gd name="connsiteX480" fmla="*/ 38262 w 590377"/>
                    <a:gd name="connsiteY480" fmla="*/ 167609 h 533244"/>
                    <a:gd name="connsiteX481" fmla="*/ 32737 w 590377"/>
                    <a:gd name="connsiteY481" fmla="*/ 163796 h 533244"/>
                    <a:gd name="connsiteX482" fmla="*/ 28499 w 590377"/>
                    <a:gd name="connsiteY482" fmla="*/ 158235 h 533244"/>
                    <a:gd name="connsiteX483" fmla="*/ 26775 w 590377"/>
                    <a:gd name="connsiteY483" fmla="*/ 151932 h 533244"/>
                    <a:gd name="connsiteX484" fmla="*/ 28439 w 590377"/>
                    <a:gd name="connsiteY484" fmla="*/ 145485 h 533244"/>
                    <a:gd name="connsiteX485" fmla="*/ 32859 w 590377"/>
                    <a:gd name="connsiteY485" fmla="*/ 141150 h 533244"/>
                    <a:gd name="connsiteX486" fmla="*/ 44055 w 590377"/>
                    <a:gd name="connsiteY486" fmla="*/ 135600 h 533244"/>
                    <a:gd name="connsiteX487" fmla="*/ 47564 w 590377"/>
                    <a:gd name="connsiteY487" fmla="*/ 132443 h 533244"/>
                    <a:gd name="connsiteX488" fmla="*/ 48135 w 590377"/>
                    <a:gd name="connsiteY488" fmla="*/ 128169 h 533244"/>
                    <a:gd name="connsiteX489" fmla="*/ 46641 w 590377"/>
                    <a:gd name="connsiteY489" fmla="*/ 123567 h 533244"/>
                    <a:gd name="connsiteX490" fmla="*/ 44055 w 590377"/>
                    <a:gd name="connsiteY490" fmla="*/ 119547 h 533244"/>
                    <a:gd name="connsiteX491" fmla="*/ 39865 w 590377"/>
                    <a:gd name="connsiteY491" fmla="*/ 109044 h 533244"/>
                    <a:gd name="connsiteX492" fmla="*/ 36781 w 590377"/>
                    <a:gd name="connsiteY492" fmla="*/ 105461 h 533244"/>
                    <a:gd name="connsiteX493" fmla="*/ 31074 w 590377"/>
                    <a:gd name="connsiteY493" fmla="*/ 104915 h 533244"/>
                    <a:gd name="connsiteX494" fmla="*/ 25743 w 590377"/>
                    <a:gd name="connsiteY494" fmla="*/ 105461 h 533244"/>
                    <a:gd name="connsiteX495" fmla="*/ 20922 w 590377"/>
                    <a:gd name="connsiteY495" fmla="*/ 104806 h 533244"/>
                    <a:gd name="connsiteX496" fmla="*/ 16381 w 590377"/>
                    <a:gd name="connsiteY496" fmla="*/ 103106 h 533244"/>
                    <a:gd name="connsiteX497" fmla="*/ 11730 w 590377"/>
                    <a:gd name="connsiteY497" fmla="*/ 100544 h 533244"/>
                    <a:gd name="connsiteX498" fmla="*/ 7650 w 590377"/>
                    <a:gd name="connsiteY498" fmla="*/ 96476 h 533244"/>
                    <a:gd name="connsiteX499" fmla="*/ 6217 w 590377"/>
                    <a:gd name="connsiteY499" fmla="*/ 91363 h 533244"/>
                    <a:gd name="connsiteX500" fmla="*/ 7140 w 590377"/>
                    <a:gd name="connsiteY500" fmla="*/ 86045 h 533244"/>
                    <a:gd name="connsiteX501" fmla="*/ 10236 w 590377"/>
                    <a:gd name="connsiteY501" fmla="*/ 81285 h 533244"/>
                    <a:gd name="connsiteX502" fmla="*/ 12179 w 590377"/>
                    <a:gd name="connsiteY502" fmla="*/ 79876 h 533244"/>
                    <a:gd name="connsiteX503" fmla="*/ 16842 w 590377"/>
                    <a:gd name="connsiteY503" fmla="*/ 77521 h 533244"/>
                    <a:gd name="connsiteX504" fmla="*/ 18506 w 590377"/>
                    <a:gd name="connsiteY504" fmla="*/ 75833 h 533244"/>
                    <a:gd name="connsiteX505" fmla="*/ 19489 w 590377"/>
                    <a:gd name="connsiteY505" fmla="*/ 73270 h 533244"/>
                    <a:gd name="connsiteX506" fmla="*/ 19708 w 590377"/>
                    <a:gd name="connsiteY506" fmla="*/ 65293 h 533244"/>
                    <a:gd name="connsiteX507" fmla="*/ 19708 w 590377"/>
                    <a:gd name="connsiteY507" fmla="*/ 65256 h 533244"/>
                    <a:gd name="connsiteX508" fmla="*/ 22744 w 590377"/>
                    <a:gd name="connsiteY508" fmla="*/ 60435 h 533244"/>
                    <a:gd name="connsiteX509" fmla="*/ 31717 w 590377"/>
                    <a:gd name="connsiteY509" fmla="*/ 54522 h 533244"/>
                    <a:gd name="connsiteX510" fmla="*/ 34534 w 590377"/>
                    <a:gd name="connsiteY510" fmla="*/ 50296 h 533244"/>
                    <a:gd name="connsiteX511" fmla="*/ 34474 w 590377"/>
                    <a:gd name="connsiteY511" fmla="*/ 44273 h 533244"/>
                    <a:gd name="connsiteX512" fmla="*/ 32980 w 590377"/>
                    <a:gd name="connsiteY512" fmla="*/ 38785 h 533244"/>
                    <a:gd name="connsiteX513" fmla="*/ 33320 w 590377"/>
                    <a:gd name="connsiteY513" fmla="*/ 33879 h 533244"/>
                    <a:gd name="connsiteX514" fmla="*/ 38785 w 590377"/>
                    <a:gd name="connsiteY514" fmla="*/ 29604 h 533244"/>
                    <a:gd name="connsiteX515" fmla="*/ 41359 w 590377"/>
                    <a:gd name="connsiteY515" fmla="*/ 28451 h 533244"/>
                    <a:gd name="connsiteX516" fmla="*/ 71109 w 590377"/>
                    <a:gd name="connsiteY516" fmla="*/ 23630 h 533244"/>
                    <a:gd name="connsiteX517" fmla="*/ 75990 w 590377"/>
                    <a:gd name="connsiteY517" fmla="*/ 21311 h 533244"/>
                    <a:gd name="connsiteX518" fmla="*/ 89991 w 590377"/>
                    <a:gd name="connsiteY518" fmla="*/ 11572 h 533244"/>
                    <a:gd name="connsiteX519" fmla="*/ 102049 w 590377"/>
                    <a:gd name="connsiteY519" fmla="*/ 7091 h 533244"/>
                    <a:gd name="connsiteX520" fmla="*/ 113876 w 590377"/>
                    <a:gd name="connsiteY520" fmla="*/ 6120 h 533244"/>
                    <a:gd name="connsiteX521" fmla="*/ 114107 w 590377"/>
                    <a:gd name="connsiteY521" fmla="*/ 0 h 533244"/>
                    <a:gd name="connsiteX522" fmla="*/ 113379 w 590377"/>
                    <a:gd name="connsiteY522" fmla="*/ 61 h 533244"/>
                    <a:gd name="connsiteX523" fmla="*/ 101551 w 590377"/>
                    <a:gd name="connsiteY523" fmla="*/ 1032 h 533244"/>
                    <a:gd name="connsiteX524" fmla="*/ 100726 w 590377"/>
                    <a:gd name="connsiteY524" fmla="*/ 1105 h 533244"/>
                    <a:gd name="connsiteX525" fmla="*/ 99948 w 590377"/>
                    <a:gd name="connsiteY525" fmla="*/ 1396 h 533244"/>
                    <a:gd name="connsiteX526" fmla="*/ 87891 w 590377"/>
                    <a:gd name="connsiteY526" fmla="*/ 5877 h 533244"/>
                    <a:gd name="connsiteX527" fmla="*/ 87174 w 590377"/>
                    <a:gd name="connsiteY527" fmla="*/ 6144 h 533244"/>
                    <a:gd name="connsiteX528" fmla="*/ 86543 w 590377"/>
                    <a:gd name="connsiteY528" fmla="*/ 6581 h 533244"/>
                    <a:gd name="connsiteX529" fmla="*/ 72943 w 590377"/>
                    <a:gd name="connsiteY529" fmla="*/ 16041 h 533244"/>
                    <a:gd name="connsiteX530" fmla="*/ 69300 w 590377"/>
                    <a:gd name="connsiteY530" fmla="*/ 17777 h 533244"/>
                    <a:gd name="connsiteX531" fmla="*/ 40400 w 590377"/>
                    <a:gd name="connsiteY531" fmla="*/ 22452 h 533244"/>
                    <a:gd name="connsiteX532" fmla="*/ 39610 w 590377"/>
                    <a:gd name="connsiteY532" fmla="*/ 22586 h 533244"/>
                    <a:gd name="connsiteX533" fmla="*/ 38882 w 590377"/>
                    <a:gd name="connsiteY533" fmla="*/ 22914 h 533244"/>
                    <a:gd name="connsiteX534" fmla="*/ 36307 w 590377"/>
                    <a:gd name="connsiteY534" fmla="*/ 24067 h 533244"/>
                    <a:gd name="connsiteX535" fmla="*/ 35639 w 590377"/>
                    <a:gd name="connsiteY535" fmla="*/ 24371 h 533244"/>
                    <a:gd name="connsiteX536" fmla="*/ 35057 w 590377"/>
                    <a:gd name="connsiteY536" fmla="*/ 24832 h 533244"/>
                    <a:gd name="connsiteX537" fmla="*/ 29592 w 590377"/>
                    <a:gd name="connsiteY537" fmla="*/ 29107 h 533244"/>
                    <a:gd name="connsiteX538" fmla="*/ 27467 w 590377"/>
                    <a:gd name="connsiteY538" fmla="*/ 30770 h 533244"/>
                    <a:gd name="connsiteX539" fmla="*/ 27285 w 590377"/>
                    <a:gd name="connsiteY539" fmla="*/ 33466 h 533244"/>
                    <a:gd name="connsiteX540" fmla="*/ 26945 w 590377"/>
                    <a:gd name="connsiteY540" fmla="*/ 38372 h 533244"/>
                    <a:gd name="connsiteX541" fmla="*/ 26872 w 590377"/>
                    <a:gd name="connsiteY541" fmla="*/ 39392 h 533244"/>
                    <a:gd name="connsiteX542" fmla="*/ 27139 w 590377"/>
                    <a:gd name="connsiteY542" fmla="*/ 40387 h 533244"/>
                    <a:gd name="connsiteX543" fmla="*/ 28427 w 590377"/>
                    <a:gd name="connsiteY543" fmla="*/ 45123 h 533244"/>
                    <a:gd name="connsiteX544" fmla="*/ 28463 w 590377"/>
                    <a:gd name="connsiteY544" fmla="*/ 48487 h 533244"/>
                    <a:gd name="connsiteX545" fmla="*/ 27358 w 590377"/>
                    <a:gd name="connsiteY545" fmla="*/ 50126 h 533244"/>
                    <a:gd name="connsiteX546" fmla="*/ 19417 w 590377"/>
                    <a:gd name="connsiteY546" fmla="*/ 55372 h 533244"/>
                    <a:gd name="connsiteX547" fmla="*/ 18324 w 590377"/>
                    <a:gd name="connsiteY547" fmla="*/ 56100 h 533244"/>
                    <a:gd name="connsiteX548" fmla="*/ 17619 w 590377"/>
                    <a:gd name="connsiteY548" fmla="*/ 57205 h 533244"/>
                    <a:gd name="connsiteX549" fmla="*/ 14584 w 590377"/>
                    <a:gd name="connsiteY549" fmla="*/ 62026 h 533244"/>
                    <a:gd name="connsiteX550" fmla="*/ 13649 w 590377"/>
                    <a:gd name="connsiteY550" fmla="*/ 63508 h 533244"/>
                    <a:gd name="connsiteX551" fmla="*/ 13649 w 590377"/>
                    <a:gd name="connsiteY551" fmla="*/ 65268 h 533244"/>
                    <a:gd name="connsiteX552" fmla="*/ 13454 w 590377"/>
                    <a:gd name="connsiteY552" fmla="*/ 72068 h 533244"/>
                    <a:gd name="connsiteX553" fmla="*/ 13297 w 590377"/>
                    <a:gd name="connsiteY553" fmla="*/ 72481 h 533244"/>
                    <a:gd name="connsiteX554" fmla="*/ 13224 w 590377"/>
                    <a:gd name="connsiteY554" fmla="*/ 72554 h 533244"/>
                    <a:gd name="connsiteX555" fmla="*/ 9447 w 590377"/>
                    <a:gd name="connsiteY555" fmla="*/ 74460 h 533244"/>
                    <a:gd name="connsiteX556" fmla="*/ 9010 w 590377"/>
                    <a:gd name="connsiteY556" fmla="*/ 74679 h 533244"/>
                    <a:gd name="connsiteX557" fmla="*/ 8621 w 590377"/>
                    <a:gd name="connsiteY557" fmla="*/ 74958 h 533244"/>
                    <a:gd name="connsiteX558" fmla="*/ 6679 w 590377"/>
                    <a:gd name="connsiteY558" fmla="*/ 76367 h 533244"/>
                    <a:gd name="connsiteX559" fmla="*/ 5768 w 590377"/>
                    <a:gd name="connsiteY559" fmla="*/ 77035 h 533244"/>
                    <a:gd name="connsiteX560" fmla="*/ 5149 w 590377"/>
                    <a:gd name="connsiteY560" fmla="*/ 77982 h 533244"/>
                    <a:gd name="connsiteX561" fmla="*/ 2052 w 590377"/>
                    <a:gd name="connsiteY561" fmla="*/ 82742 h 533244"/>
                    <a:gd name="connsiteX562" fmla="*/ 1372 w 590377"/>
                    <a:gd name="connsiteY562" fmla="*/ 83786 h 533244"/>
                    <a:gd name="connsiteX563" fmla="*/ 1154 w 590377"/>
                    <a:gd name="connsiteY563" fmla="*/ 85025 h 533244"/>
                    <a:gd name="connsiteX564" fmla="*/ 231 w 590377"/>
                    <a:gd name="connsiteY564" fmla="*/ 90343 h 533244"/>
                    <a:gd name="connsiteX565" fmla="*/ 0 w 590377"/>
                    <a:gd name="connsiteY565" fmla="*/ 91691 h 533244"/>
                    <a:gd name="connsiteX566" fmla="*/ 364 w 590377"/>
                    <a:gd name="connsiteY566" fmla="*/ 93015 h 533244"/>
                    <a:gd name="connsiteX567" fmla="*/ 1797 w 590377"/>
                    <a:gd name="connsiteY567" fmla="*/ 98127 h 533244"/>
                    <a:gd name="connsiteX568" fmla="*/ 2222 w 590377"/>
                    <a:gd name="connsiteY568" fmla="*/ 99657 h 533244"/>
                    <a:gd name="connsiteX569" fmla="*/ 3351 w 590377"/>
                    <a:gd name="connsiteY569" fmla="*/ 100786 h 533244"/>
                    <a:gd name="connsiteX570" fmla="*/ 7431 w 590377"/>
                    <a:gd name="connsiteY570" fmla="*/ 104854 h 533244"/>
                    <a:gd name="connsiteX571" fmla="*/ 8039 w 590377"/>
                    <a:gd name="connsiteY571" fmla="*/ 105461 h 533244"/>
                    <a:gd name="connsiteX572" fmla="*/ 8791 w 590377"/>
                    <a:gd name="connsiteY572" fmla="*/ 105874 h 533244"/>
                    <a:gd name="connsiteX573" fmla="*/ 13442 w 590377"/>
                    <a:gd name="connsiteY573" fmla="*/ 108436 h 533244"/>
                    <a:gd name="connsiteX574" fmla="*/ 13831 w 590377"/>
                    <a:gd name="connsiteY574" fmla="*/ 108655 h 533244"/>
                    <a:gd name="connsiteX575" fmla="*/ 14244 w 590377"/>
                    <a:gd name="connsiteY575" fmla="*/ 108813 h 533244"/>
                    <a:gd name="connsiteX576" fmla="*/ 18785 w 590377"/>
                    <a:gd name="connsiteY576" fmla="*/ 110513 h 533244"/>
                    <a:gd name="connsiteX577" fmla="*/ 19417 w 590377"/>
                    <a:gd name="connsiteY577" fmla="*/ 110756 h 533244"/>
                    <a:gd name="connsiteX578" fmla="*/ 20097 w 590377"/>
                    <a:gd name="connsiteY578" fmla="*/ 110853 h 533244"/>
                    <a:gd name="connsiteX579" fmla="*/ 24905 w 590377"/>
                    <a:gd name="connsiteY579" fmla="*/ 111509 h 533244"/>
                    <a:gd name="connsiteX580" fmla="*/ 25634 w 590377"/>
                    <a:gd name="connsiteY580" fmla="*/ 111606 h 533244"/>
                    <a:gd name="connsiteX581" fmla="*/ 26362 w 590377"/>
                    <a:gd name="connsiteY581" fmla="*/ 111533 h 533244"/>
                    <a:gd name="connsiteX582" fmla="*/ 31098 w 590377"/>
                    <a:gd name="connsiteY582" fmla="*/ 111035 h 533244"/>
                    <a:gd name="connsiteX583" fmla="*/ 33769 w 590377"/>
                    <a:gd name="connsiteY583" fmla="*/ 111290 h 533244"/>
                    <a:gd name="connsiteX584" fmla="*/ 34595 w 590377"/>
                    <a:gd name="connsiteY584" fmla="*/ 112261 h 533244"/>
                    <a:gd name="connsiteX585" fmla="*/ 38408 w 590377"/>
                    <a:gd name="connsiteY585" fmla="*/ 121818 h 533244"/>
                    <a:gd name="connsiteX586" fmla="*/ 38627 w 590377"/>
                    <a:gd name="connsiteY586" fmla="*/ 122364 h 533244"/>
                    <a:gd name="connsiteX587" fmla="*/ 38942 w 590377"/>
                    <a:gd name="connsiteY587" fmla="*/ 122862 h 533244"/>
                    <a:gd name="connsiteX588" fmla="*/ 41104 w 590377"/>
                    <a:gd name="connsiteY588" fmla="*/ 126214 h 533244"/>
                    <a:gd name="connsiteX589" fmla="*/ 41930 w 590377"/>
                    <a:gd name="connsiteY589" fmla="*/ 128752 h 533244"/>
                    <a:gd name="connsiteX590" fmla="*/ 41845 w 590377"/>
                    <a:gd name="connsiteY590" fmla="*/ 129444 h 533244"/>
                    <a:gd name="connsiteX591" fmla="*/ 40606 w 590377"/>
                    <a:gd name="connsiteY591" fmla="*/ 130524 h 533244"/>
                    <a:gd name="connsiteX592" fmla="*/ 30163 w 590377"/>
                    <a:gd name="connsiteY592" fmla="*/ 135710 h 533244"/>
                    <a:gd name="connsiteX593" fmla="*/ 29301 w 590377"/>
                    <a:gd name="connsiteY593" fmla="*/ 136135 h 533244"/>
                    <a:gd name="connsiteX594" fmla="*/ 28609 w 590377"/>
                    <a:gd name="connsiteY594" fmla="*/ 136815 h 533244"/>
                    <a:gd name="connsiteX595" fmla="*/ 24189 w 590377"/>
                    <a:gd name="connsiteY595" fmla="*/ 141150 h 533244"/>
                    <a:gd name="connsiteX596" fmla="*/ 22987 w 590377"/>
                    <a:gd name="connsiteY596" fmla="*/ 142327 h 533244"/>
                    <a:gd name="connsiteX597" fmla="*/ 22562 w 590377"/>
                    <a:gd name="connsiteY597" fmla="*/ 143967 h 533244"/>
                    <a:gd name="connsiteX598" fmla="*/ 20898 w 590377"/>
                    <a:gd name="connsiteY598" fmla="*/ 150415 h 533244"/>
                    <a:gd name="connsiteX599" fmla="*/ 20497 w 590377"/>
                    <a:gd name="connsiteY599" fmla="*/ 151969 h 533244"/>
                    <a:gd name="connsiteX600" fmla="*/ 20922 w 590377"/>
                    <a:gd name="connsiteY600" fmla="*/ 153523 h 533244"/>
                    <a:gd name="connsiteX601" fmla="*/ 22647 w 590377"/>
                    <a:gd name="connsiteY601" fmla="*/ 159825 h 533244"/>
                    <a:gd name="connsiteX602" fmla="*/ 22962 w 590377"/>
                    <a:gd name="connsiteY602" fmla="*/ 160967 h 533244"/>
                    <a:gd name="connsiteX603" fmla="*/ 23679 w 590377"/>
                    <a:gd name="connsiteY603" fmla="*/ 161902 h 533244"/>
                    <a:gd name="connsiteX604" fmla="*/ 27917 w 590377"/>
                    <a:gd name="connsiteY604" fmla="*/ 167463 h 533244"/>
                    <a:gd name="connsiteX605" fmla="*/ 28499 w 590377"/>
                    <a:gd name="connsiteY605" fmla="*/ 168228 h 533244"/>
                    <a:gd name="connsiteX606" fmla="*/ 29289 w 590377"/>
                    <a:gd name="connsiteY606" fmla="*/ 168775 h 533244"/>
                    <a:gd name="connsiteX607" fmla="*/ 34814 w 590377"/>
                    <a:gd name="connsiteY607" fmla="*/ 172588 h 533244"/>
                    <a:gd name="connsiteX608" fmla="*/ 35870 w 590377"/>
                    <a:gd name="connsiteY608" fmla="*/ 173316 h 533244"/>
                    <a:gd name="connsiteX609" fmla="*/ 37133 w 590377"/>
                    <a:gd name="connsiteY609" fmla="*/ 173559 h 533244"/>
                    <a:gd name="connsiteX610" fmla="*/ 42925 w 590377"/>
                    <a:gd name="connsiteY610" fmla="*/ 174664 h 533244"/>
                    <a:gd name="connsiteX611" fmla="*/ 44225 w 590377"/>
                    <a:gd name="connsiteY611" fmla="*/ 174919 h 533244"/>
                    <a:gd name="connsiteX612" fmla="*/ 45500 w 590377"/>
                    <a:gd name="connsiteY612" fmla="*/ 174603 h 533244"/>
                    <a:gd name="connsiteX613" fmla="*/ 57424 w 590377"/>
                    <a:gd name="connsiteY613" fmla="*/ 171689 h 533244"/>
                    <a:gd name="connsiteX614" fmla="*/ 59488 w 590377"/>
                    <a:gd name="connsiteY614" fmla="*/ 171810 h 533244"/>
                    <a:gd name="connsiteX615" fmla="*/ 68717 w 590377"/>
                    <a:gd name="connsiteY615" fmla="*/ 174907 h 533244"/>
                    <a:gd name="connsiteX616" fmla="*/ 69810 w 590377"/>
                    <a:gd name="connsiteY616" fmla="*/ 175271 h 533244"/>
                    <a:gd name="connsiteX617" fmla="*/ 70963 w 590377"/>
                    <a:gd name="connsiteY617" fmla="*/ 175223 h 533244"/>
                    <a:gd name="connsiteX618" fmla="*/ 77666 w 590377"/>
                    <a:gd name="connsiteY618" fmla="*/ 174883 h 533244"/>
                    <a:gd name="connsiteX619" fmla="*/ 78188 w 590377"/>
                    <a:gd name="connsiteY619" fmla="*/ 174858 h 533244"/>
                    <a:gd name="connsiteX620" fmla="*/ 78710 w 590377"/>
                    <a:gd name="connsiteY620" fmla="*/ 174737 h 533244"/>
                    <a:gd name="connsiteX621" fmla="*/ 85268 w 590377"/>
                    <a:gd name="connsiteY621" fmla="*/ 173231 h 533244"/>
                    <a:gd name="connsiteX622" fmla="*/ 89518 w 590377"/>
                    <a:gd name="connsiteY622" fmla="*/ 173085 h 533244"/>
                    <a:gd name="connsiteX623" fmla="*/ 92056 w 590377"/>
                    <a:gd name="connsiteY623" fmla="*/ 174785 h 533244"/>
                    <a:gd name="connsiteX624" fmla="*/ 93161 w 590377"/>
                    <a:gd name="connsiteY624" fmla="*/ 177906 h 533244"/>
                    <a:gd name="connsiteX625" fmla="*/ 92104 w 590377"/>
                    <a:gd name="connsiteY625" fmla="*/ 181828 h 533244"/>
                    <a:gd name="connsiteX626" fmla="*/ 88789 w 590377"/>
                    <a:gd name="connsiteY626" fmla="*/ 186552 h 533244"/>
                    <a:gd name="connsiteX627" fmla="*/ 84491 w 590377"/>
                    <a:gd name="connsiteY627" fmla="*/ 190547 h 533244"/>
                    <a:gd name="connsiteX628" fmla="*/ 78820 w 590377"/>
                    <a:gd name="connsiteY628" fmla="*/ 194348 h 533244"/>
                    <a:gd name="connsiteX629" fmla="*/ 73416 w 590377"/>
                    <a:gd name="connsiteY629" fmla="*/ 196643 h 533244"/>
                    <a:gd name="connsiteX630" fmla="*/ 53939 w 590377"/>
                    <a:gd name="connsiteY630" fmla="*/ 199788 h 533244"/>
                    <a:gd name="connsiteX631" fmla="*/ 52215 w 590377"/>
                    <a:gd name="connsiteY631" fmla="*/ 200067 h 533244"/>
                    <a:gd name="connsiteX632" fmla="*/ 50903 w 590377"/>
                    <a:gd name="connsiteY632" fmla="*/ 201208 h 533244"/>
                    <a:gd name="connsiteX633" fmla="*/ 46532 w 590377"/>
                    <a:gd name="connsiteY633" fmla="*/ 205034 h 533244"/>
                    <a:gd name="connsiteX634" fmla="*/ 45803 w 590377"/>
                    <a:gd name="connsiteY634" fmla="*/ 205665 h 533244"/>
                    <a:gd name="connsiteX635" fmla="*/ 45305 w 590377"/>
                    <a:gd name="connsiteY635" fmla="*/ 206479 h 533244"/>
                    <a:gd name="connsiteX636" fmla="*/ 38809 w 590377"/>
                    <a:gd name="connsiteY636" fmla="*/ 217334 h 533244"/>
                    <a:gd name="connsiteX637" fmla="*/ 38639 w 590377"/>
                    <a:gd name="connsiteY637" fmla="*/ 217626 h 533244"/>
                    <a:gd name="connsiteX638" fmla="*/ 38505 w 590377"/>
                    <a:gd name="connsiteY638" fmla="*/ 217929 h 533244"/>
                    <a:gd name="connsiteX639" fmla="*/ 37364 w 590377"/>
                    <a:gd name="connsiteY639" fmla="*/ 220419 h 533244"/>
                    <a:gd name="connsiteX640" fmla="*/ 37194 w 590377"/>
                    <a:gd name="connsiteY640" fmla="*/ 220783 h 533244"/>
                    <a:gd name="connsiteX641" fmla="*/ 37085 w 590377"/>
                    <a:gd name="connsiteY641" fmla="*/ 221159 h 533244"/>
                    <a:gd name="connsiteX642" fmla="*/ 36271 w 590377"/>
                    <a:gd name="connsiteY642" fmla="*/ 223806 h 533244"/>
                    <a:gd name="connsiteX643" fmla="*/ 35555 w 590377"/>
                    <a:gd name="connsiteY643" fmla="*/ 227073 h 533244"/>
                    <a:gd name="connsiteX644" fmla="*/ 35469 w 590377"/>
                    <a:gd name="connsiteY644" fmla="*/ 227462 h 533244"/>
                    <a:gd name="connsiteX645" fmla="*/ 35445 w 590377"/>
                    <a:gd name="connsiteY645" fmla="*/ 227862 h 533244"/>
                    <a:gd name="connsiteX646" fmla="*/ 34984 w 590377"/>
                    <a:gd name="connsiteY646" fmla="*/ 234043 h 533244"/>
                    <a:gd name="connsiteX647" fmla="*/ 34935 w 590377"/>
                    <a:gd name="connsiteY647" fmla="*/ 234699 h 533244"/>
                    <a:gd name="connsiteX648" fmla="*/ 35020 w 590377"/>
                    <a:gd name="connsiteY648" fmla="*/ 235354 h 533244"/>
                    <a:gd name="connsiteX649" fmla="*/ 35482 w 590377"/>
                    <a:gd name="connsiteY649" fmla="*/ 238621 h 533244"/>
                    <a:gd name="connsiteX650" fmla="*/ 35555 w 590377"/>
                    <a:gd name="connsiteY650" fmla="*/ 239119 h 533244"/>
                    <a:gd name="connsiteX651" fmla="*/ 35712 w 590377"/>
                    <a:gd name="connsiteY651" fmla="*/ 239604 h 533244"/>
                    <a:gd name="connsiteX652" fmla="*/ 36684 w 590377"/>
                    <a:gd name="connsiteY652" fmla="*/ 242677 h 533244"/>
                    <a:gd name="connsiteX653" fmla="*/ 36854 w 590377"/>
                    <a:gd name="connsiteY653" fmla="*/ 243223 h 533244"/>
                    <a:gd name="connsiteX654" fmla="*/ 37121 w 590377"/>
                    <a:gd name="connsiteY654" fmla="*/ 243733 h 533244"/>
                    <a:gd name="connsiteX655" fmla="*/ 38675 w 590377"/>
                    <a:gd name="connsiteY655" fmla="*/ 246611 h 533244"/>
                    <a:gd name="connsiteX656" fmla="*/ 39258 w 590377"/>
                    <a:gd name="connsiteY656" fmla="*/ 247680 h 533244"/>
                    <a:gd name="connsiteX657" fmla="*/ 40217 w 590377"/>
                    <a:gd name="connsiteY657" fmla="*/ 248445 h 533244"/>
                    <a:gd name="connsiteX658" fmla="*/ 49130 w 590377"/>
                    <a:gd name="connsiteY658" fmla="*/ 255621 h 533244"/>
                    <a:gd name="connsiteX659" fmla="*/ 49628 w 590377"/>
                    <a:gd name="connsiteY659" fmla="*/ 256022 h 533244"/>
                    <a:gd name="connsiteX660" fmla="*/ 50187 w 590377"/>
                    <a:gd name="connsiteY660" fmla="*/ 256313 h 533244"/>
                    <a:gd name="connsiteX661" fmla="*/ 61710 w 590377"/>
                    <a:gd name="connsiteY661" fmla="*/ 262178 h 533244"/>
                    <a:gd name="connsiteX662" fmla="*/ 69603 w 590377"/>
                    <a:gd name="connsiteY662" fmla="*/ 268128 h 533244"/>
                    <a:gd name="connsiteX663" fmla="*/ 71753 w 590377"/>
                    <a:gd name="connsiteY663" fmla="*/ 276167 h 533244"/>
                    <a:gd name="connsiteX664" fmla="*/ 68146 w 590377"/>
                    <a:gd name="connsiteY664" fmla="*/ 290338 h 533244"/>
                    <a:gd name="connsiteX665" fmla="*/ 62633 w 590377"/>
                    <a:gd name="connsiteY665" fmla="*/ 304994 h 533244"/>
                    <a:gd name="connsiteX666" fmla="*/ 61200 w 590377"/>
                    <a:gd name="connsiteY666" fmla="*/ 307811 h 533244"/>
                    <a:gd name="connsiteX667" fmla="*/ 59658 w 590377"/>
                    <a:gd name="connsiteY667" fmla="*/ 310033 h 533244"/>
                    <a:gd name="connsiteX668" fmla="*/ 57946 w 590377"/>
                    <a:gd name="connsiteY668" fmla="*/ 311794 h 533244"/>
                    <a:gd name="connsiteX669" fmla="*/ 55967 w 590377"/>
                    <a:gd name="connsiteY669" fmla="*/ 313166 h 533244"/>
                    <a:gd name="connsiteX670" fmla="*/ 49628 w 590377"/>
                    <a:gd name="connsiteY670" fmla="*/ 315510 h 533244"/>
                    <a:gd name="connsiteX671" fmla="*/ 48960 w 590377"/>
                    <a:gd name="connsiteY671" fmla="*/ 315765 h 533244"/>
                    <a:gd name="connsiteX672" fmla="*/ 48365 w 590377"/>
                    <a:gd name="connsiteY672" fmla="*/ 316154 h 533244"/>
                    <a:gd name="connsiteX673" fmla="*/ 45390 w 590377"/>
                    <a:gd name="connsiteY673" fmla="*/ 318133 h 533244"/>
                    <a:gd name="connsiteX674" fmla="*/ 44079 w 590377"/>
                    <a:gd name="connsiteY674" fmla="*/ 319007 h 533244"/>
                    <a:gd name="connsiteX675" fmla="*/ 43350 w 590377"/>
                    <a:gd name="connsiteY675" fmla="*/ 320404 h 533244"/>
                    <a:gd name="connsiteX676" fmla="*/ 41456 w 590377"/>
                    <a:gd name="connsiteY676" fmla="*/ 324083 h 533244"/>
                    <a:gd name="connsiteX677" fmla="*/ 40873 w 590377"/>
                    <a:gd name="connsiteY677" fmla="*/ 325212 h 533244"/>
                    <a:gd name="connsiteX678" fmla="*/ 40788 w 590377"/>
                    <a:gd name="connsiteY678" fmla="*/ 326475 h 533244"/>
                    <a:gd name="connsiteX679" fmla="*/ 40205 w 590377"/>
                    <a:gd name="connsiteY679" fmla="*/ 335692 h 533244"/>
                    <a:gd name="connsiteX680" fmla="*/ 40120 w 590377"/>
                    <a:gd name="connsiteY680" fmla="*/ 337052 h 533244"/>
                    <a:gd name="connsiteX681" fmla="*/ 40630 w 590377"/>
                    <a:gd name="connsiteY681" fmla="*/ 338314 h 533244"/>
                    <a:gd name="connsiteX682" fmla="*/ 43217 w 590377"/>
                    <a:gd name="connsiteY682" fmla="*/ 344799 h 533244"/>
                    <a:gd name="connsiteX683" fmla="*/ 43690 w 590377"/>
                    <a:gd name="connsiteY683" fmla="*/ 346001 h 533244"/>
                    <a:gd name="connsiteX684" fmla="*/ 44613 w 590377"/>
                    <a:gd name="connsiteY684" fmla="*/ 346899 h 533244"/>
                    <a:gd name="connsiteX685" fmla="*/ 49665 w 590377"/>
                    <a:gd name="connsiteY685" fmla="*/ 351842 h 533244"/>
                    <a:gd name="connsiteX686" fmla="*/ 50077 w 590377"/>
                    <a:gd name="connsiteY686" fmla="*/ 352255 h 533244"/>
                    <a:gd name="connsiteX687" fmla="*/ 50563 w 590377"/>
                    <a:gd name="connsiteY687" fmla="*/ 352570 h 533244"/>
                    <a:gd name="connsiteX688" fmla="*/ 56950 w 590377"/>
                    <a:gd name="connsiteY688" fmla="*/ 356784 h 533244"/>
                    <a:gd name="connsiteX689" fmla="*/ 62354 w 590377"/>
                    <a:gd name="connsiteY689" fmla="*/ 361908 h 533244"/>
                    <a:gd name="connsiteX690" fmla="*/ 72445 w 590377"/>
                    <a:gd name="connsiteY690" fmla="*/ 375083 h 533244"/>
                    <a:gd name="connsiteX691" fmla="*/ 73222 w 590377"/>
                    <a:gd name="connsiteY691" fmla="*/ 376103 h 533244"/>
                    <a:gd name="connsiteX692" fmla="*/ 74351 w 590377"/>
                    <a:gd name="connsiteY692" fmla="*/ 376723 h 533244"/>
                    <a:gd name="connsiteX693" fmla="*/ 81297 w 590377"/>
                    <a:gd name="connsiteY693" fmla="*/ 380511 h 533244"/>
                    <a:gd name="connsiteX694" fmla="*/ 82208 w 590377"/>
                    <a:gd name="connsiteY694" fmla="*/ 381009 h 533244"/>
                    <a:gd name="connsiteX695" fmla="*/ 83240 w 590377"/>
                    <a:gd name="connsiteY695" fmla="*/ 381179 h 533244"/>
                    <a:gd name="connsiteX696" fmla="*/ 99560 w 590377"/>
                    <a:gd name="connsiteY696" fmla="*/ 383790 h 533244"/>
                    <a:gd name="connsiteX697" fmla="*/ 101988 w 590377"/>
                    <a:gd name="connsiteY697" fmla="*/ 385235 h 533244"/>
                    <a:gd name="connsiteX698" fmla="*/ 102778 w 590377"/>
                    <a:gd name="connsiteY698" fmla="*/ 387044 h 533244"/>
                    <a:gd name="connsiteX699" fmla="*/ 103178 w 590377"/>
                    <a:gd name="connsiteY699" fmla="*/ 396515 h 533244"/>
                    <a:gd name="connsiteX700" fmla="*/ 103203 w 590377"/>
                    <a:gd name="connsiteY700" fmla="*/ 397025 h 533244"/>
                    <a:gd name="connsiteX701" fmla="*/ 103312 w 590377"/>
                    <a:gd name="connsiteY701" fmla="*/ 397535 h 533244"/>
                    <a:gd name="connsiteX702" fmla="*/ 105401 w 590377"/>
                    <a:gd name="connsiteY702" fmla="*/ 407262 h 533244"/>
                    <a:gd name="connsiteX703" fmla="*/ 105109 w 590377"/>
                    <a:gd name="connsiteY703" fmla="*/ 409521 h 533244"/>
                    <a:gd name="connsiteX704" fmla="*/ 103737 w 590377"/>
                    <a:gd name="connsiteY704" fmla="*/ 412156 h 533244"/>
                    <a:gd name="connsiteX705" fmla="*/ 103130 w 590377"/>
                    <a:gd name="connsiteY705" fmla="*/ 413054 h 533244"/>
                    <a:gd name="connsiteX706" fmla="*/ 102681 w 590377"/>
                    <a:gd name="connsiteY706" fmla="*/ 413589 h 533244"/>
                    <a:gd name="connsiteX707" fmla="*/ 100920 w 590377"/>
                    <a:gd name="connsiteY707" fmla="*/ 416066 h 533244"/>
                    <a:gd name="connsiteX708" fmla="*/ 98892 w 590377"/>
                    <a:gd name="connsiteY708" fmla="*/ 418931 h 533244"/>
                    <a:gd name="connsiteX709" fmla="*/ 100361 w 590377"/>
                    <a:gd name="connsiteY709" fmla="*/ 422125 h 533244"/>
                    <a:gd name="connsiteX710" fmla="*/ 102183 w 590377"/>
                    <a:gd name="connsiteY710" fmla="*/ 426084 h 533244"/>
                    <a:gd name="connsiteX711" fmla="*/ 102498 w 590377"/>
                    <a:gd name="connsiteY711" fmla="*/ 426776 h 533244"/>
                    <a:gd name="connsiteX712" fmla="*/ 102984 w 590377"/>
                    <a:gd name="connsiteY712" fmla="*/ 427371 h 533244"/>
                    <a:gd name="connsiteX713" fmla="*/ 105449 w 590377"/>
                    <a:gd name="connsiteY713" fmla="*/ 430419 h 533244"/>
                    <a:gd name="connsiteX714" fmla="*/ 106081 w 590377"/>
                    <a:gd name="connsiteY714" fmla="*/ 431196 h 533244"/>
                    <a:gd name="connsiteX715" fmla="*/ 106919 w 590377"/>
                    <a:gd name="connsiteY715" fmla="*/ 431730 h 533244"/>
                    <a:gd name="connsiteX716" fmla="*/ 110088 w 590377"/>
                    <a:gd name="connsiteY716" fmla="*/ 433734 h 533244"/>
                    <a:gd name="connsiteX717" fmla="*/ 111108 w 590377"/>
                    <a:gd name="connsiteY717" fmla="*/ 434377 h 533244"/>
                    <a:gd name="connsiteX718" fmla="*/ 112334 w 590377"/>
                    <a:gd name="connsiteY718" fmla="*/ 434584 h 533244"/>
                    <a:gd name="connsiteX719" fmla="*/ 116354 w 590377"/>
                    <a:gd name="connsiteY719" fmla="*/ 435276 h 533244"/>
                    <a:gd name="connsiteX720" fmla="*/ 117641 w 590377"/>
                    <a:gd name="connsiteY720" fmla="*/ 435506 h 533244"/>
                    <a:gd name="connsiteX721" fmla="*/ 118904 w 590377"/>
                    <a:gd name="connsiteY721" fmla="*/ 435179 h 533244"/>
                    <a:gd name="connsiteX722" fmla="*/ 122401 w 590377"/>
                    <a:gd name="connsiteY722" fmla="*/ 434280 h 533244"/>
                    <a:gd name="connsiteX723" fmla="*/ 123190 w 590377"/>
                    <a:gd name="connsiteY723" fmla="*/ 434074 h 533244"/>
                    <a:gd name="connsiteX724" fmla="*/ 123894 w 590377"/>
                    <a:gd name="connsiteY724" fmla="*/ 433673 h 533244"/>
                    <a:gd name="connsiteX725" fmla="*/ 128861 w 590377"/>
                    <a:gd name="connsiteY725" fmla="*/ 430844 h 533244"/>
                    <a:gd name="connsiteX726" fmla="*/ 129541 w 590377"/>
                    <a:gd name="connsiteY726" fmla="*/ 430795 h 533244"/>
                    <a:gd name="connsiteX727" fmla="*/ 130306 w 590377"/>
                    <a:gd name="connsiteY727" fmla="*/ 431171 h 533244"/>
                    <a:gd name="connsiteX728" fmla="*/ 135127 w 590377"/>
                    <a:gd name="connsiteY728" fmla="*/ 435786 h 533244"/>
                    <a:gd name="connsiteX729" fmla="*/ 135758 w 590377"/>
                    <a:gd name="connsiteY729" fmla="*/ 436393 h 533244"/>
                    <a:gd name="connsiteX730" fmla="*/ 136535 w 590377"/>
                    <a:gd name="connsiteY730" fmla="*/ 436794 h 533244"/>
                    <a:gd name="connsiteX731" fmla="*/ 139571 w 590377"/>
                    <a:gd name="connsiteY731" fmla="*/ 438360 h 533244"/>
                    <a:gd name="connsiteX732" fmla="*/ 140761 w 590377"/>
                    <a:gd name="connsiteY732" fmla="*/ 438979 h 533244"/>
                    <a:gd name="connsiteX733" fmla="*/ 142097 w 590377"/>
                    <a:gd name="connsiteY733" fmla="*/ 439028 h 533244"/>
                    <a:gd name="connsiteX734" fmla="*/ 145885 w 590377"/>
                    <a:gd name="connsiteY734" fmla="*/ 439186 h 533244"/>
                    <a:gd name="connsiteX735" fmla="*/ 146480 w 590377"/>
                    <a:gd name="connsiteY735" fmla="*/ 439210 h 533244"/>
                    <a:gd name="connsiteX736" fmla="*/ 147075 w 590377"/>
                    <a:gd name="connsiteY736" fmla="*/ 439125 h 533244"/>
                    <a:gd name="connsiteX737" fmla="*/ 156947 w 590377"/>
                    <a:gd name="connsiteY737" fmla="*/ 437595 h 533244"/>
                    <a:gd name="connsiteX738" fmla="*/ 157385 w 590377"/>
                    <a:gd name="connsiteY738" fmla="*/ 437522 h 533244"/>
                    <a:gd name="connsiteX739" fmla="*/ 157810 w 590377"/>
                    <a:gd name="connsiteY739" fmla="*/ 437401 h 533244"/>
                    <a:gd name="connsiteX740" fmla="*/ 161477 w 590377"/>
                    <a:gd name="connsiteY740" fmla="*/ 436271 h 533244"/>
                    <a:gd name="connsiteX741" fmla="*/ 162327 w 590377"/>
                    <a:gd name="connsiteY741" fmla="*/ 436016 h 533244"/>
                    <a:gd name="connsiteX742" fmla="*/ 163068 w 590377"/>
                    <a:gd name="connsiteY742" fmla="*/ 435519 h 533244"/>
                    <a:gd name="connsiteX743" fmla="*/ 164986 w 590377"/>
                    <a:gd name="connsiteY743" fmla="*/ 434244 h 533244"/>
                    <a:gd name="connsiteX744" fmla="*/ 164464 w 590377"/>
                    <a:gd name="connsiteY744" fmla="*/ 436016 h 533244"/>
                    <a:gd name="connsiteX745" fmla="*/ 164197 w 590377"/>
                    <a:gd name="connsiteY745" fmla="*/ 436927 h 533244"/>
                    <a:gd name="connsiteX746" fmla="*/ 164209 w 590377"/>
                    <a:gd name="connsiteY746" fmla="*/ 437874 h 533244"/>
                    <a:gd name="connsiteX747" fmla="*/ 164306 w 590377"/>
                    <a:gd name="connsiteY747" fmla="*/ 442464 h 533244"/>
                    <a:gd name="connsiteX748" fmla="*/ 164318 w 590377"/>
                    <a:gd name="connsiteY748" fmla="*/ 442877 h 533244"/>
                    <a:gd name="connsiteX749" fmla="*/ 164379 w 590377"/>
                    <a:gd name="connsiteY749" fmla="*/ 443278 h 533244"/>
                    <a:gd name="connsiteX750" fmla="*/ 165618 w 590377"/>
                    <a:gd name="connsiteY750" fmla="*/ 451147 h 533244"/>
                    <a:gd name="connsiteX751" fmla="*/ 165472 w 590377"/>
                    <a:gd name="connsiteY751" fmla="*/ 453599 h 533244"/>
                    <a:gd name="connsiteX752" fmla="*/ 164525 w 590377"/>
                    <a:gd name="connsiteY752" fmla="*/ 455858 h 533244"/>
                    <a:gd name="connsiteX753" fmla="*/ 162630 w 590377"/>
                    <a:gd name="connsiteY753" fmla="*/ 459210 h 533244"/>
                    <a:gd name="connsiteX754" fmla="*/ 162388 w 590377"/>
                    <a:gd name="connsiteY754" fmla="*/ 459647 h 533244"/>
                    <a:gd name="connsiteX755" fmla="*/ 162218 w 590377"/>
                    <a:gd name="connsiteY755" fmla="*/ 460108 h 533244"/>
                    <a:gd name="connsiteX756" fmla="*/ 160833 w 590377"/>
                    <a:gd name="connsiteY756" fmla="*/ 463897 h 533244"/>
                    <a:gd name="connsiteX757" fmla="*/ 160323 w 590377"/>
                    <a:gd name="connsiteY757" fmla="*/ 465281 h 533244"/>
                    <a:gd name="connsiteX758" fmla="*/ 160505 w 590377"/>
                    <a:gd name="connsiteY758" fmla="*/ 466738 h 533244"/>
                    <a:gd name="connsiteX759" fmla="*/ 161028 w 590377"/>
                    <a:gd name="connsiteY759" fmla="*/ 470903 h 533244"/>
                    <a:gd name="connsiteX760" fmla="*/ 161125 w 590377"/>
                    <a:gd name="connsiteY760" fmla="*/ 471644 h 533244"/>
                    <a:gd name="connsiteX761" fmla="*/ 161392 w 590377"/>
                    <a:gd name="connsiteY761" fmla="*/ 472348 h 533244"/>
                    <a:gd name="connsiteX762" fmla="*/ 167026 w 590377"/>
                    <a:gd name="connsiteY762" fmla="*/ 486908 h 533244"/>
                    <a:gd name="connsiteX763" fmla="*/ 167427 w 590377"/>
                    <a:gd name="connsiteY763" fmla="*/ 487940 h 533244"/>
                    <a:gd name="connsiteX764" fmla="*/ 168168 w 590377"/>
                    <a:gd name="connsiteY764" fmla="*/ 488765 h 533244"/>
                    <a:gd name="connsiteX765" fmla="*/ 173219 w 590377"/>
                    <a:gd name="connsiteY765" fmla="*/ 494412 h 533244"/>
                    <a:gd name="connsiteX766" fmla="*/ 174300 w 590377"/>
                    <a:gd name="connsiteY766" fmla="*/ 495626 h 533244"/>
                    <a:gd name="connsiteX767" fmla="*/ 175842 w 590377"/>
                    <a:gd name="connsiteY767" fmla="*/ 496136 h 533244"/>
                    <a:gd name="connsiteX768" fmla="*/ 182508 w 590377"/>
                    <a:gd name="connsiteY768" fmla="*/ 498322 h 533244"/>
                    <a:gd name="connsiteX769" fmla="*/ 183577 w 590377"/>
                    <a:gd name="connsiteY769" fmla="*/ 498674 h 533244"/>
                    <a:gd name="connsiteX770" fmla="*/ 184694 w 590377"/>
                    <a:gd name="connsiteY770" fmla="*/ 498626 h 533244"/>
                    <a:gd name="connsiteX771" fmla="*/ 191919 w 590377"/>
                    <a:gd name="connsiteY771" fmla="*/ 498261 h 533244"/>
                    <a:gd name="connsiteX772" fmla="*/ 192684 w 590377"/>
                    <a:gd name="connsiteY772" fmla="*/ 498225 h 533244"/>
                    <a:gd name="connsiteX773" fmla="*/ 193425 w 590377"/>
                    <a:gd name="connsiteY773" fmla="*/ 497994 h 533244"/>
                    <a:gd name="connsiteX774" fmla="*/ 199448 w 590377"/>
                    <a:gd name="connsiteY774" fmla="*/ 496112 h 533244"/>
                    <a:gd name="connsiteX775" fmla="*/ 204438 w 590377"/>
                    <a:gd name="connsiteY775" fmla="*/ 495796 h 533244"/>
                    <a:gd name="connsiteX776" fmla="*/ 215914 w 590377"/>
                    <a:gd name="connsiteY776" fmla="*/ 501321 h 533244"/>
                    <a:gd name="connsiteX777" fmla="*/ 217444 w 590377"/>
                    <a:gd name="connsiteY777" fmla="*/ 502062 h 533244"/>
                    <a:gd name="connsiteX778" fmla="*/ 219131 w 590377"/>
                    <a:gd name="connsiteY778" fmla="*/ 501892 h 533244"/>
                    <a:gd name="connsiteX779" fmla="*/ 226879 w 590377"/>
                    <a:gd name="connsiteY779" fmla="*/ 501139 h 533244"/>
                    <a:gd name="connsiteX780" fmla="*/ 227692 w 590377"/>
                    <a:gd name="connsiteY780" fmla="*/ 501066 h 533244"/>
                    <a:gd name="connsiteX781" fmla="*/ 228457 w 590377"/>
                    <a:gd name="connsiteY781" fmla="*/ 500775 h 533244"/>
                    <a:gd name="connsiteX782" fmla="*/ 235622 w 590377"/>
                    <a:gd name="connsiteY782" fmla="*/ 498018 h 533244"/>
                    <a:gd name="connsiteX783" fmla="*/ 239580 w 590377"/>
                    <a:gd name="connsiteY783" fmla="*/ 497630 h 533244"/>
                    <a:gd name="connsiteX784" fmla="*/ 243247 w 590377"/>
                    <a:gd name="connsiteY784" fmla="*/ 499026 h 533244"/>
                    <a:gd name="connsiteX785" fmla="*/ 249525 w 590377"/>
                    <a:gd name="connsiteY785" fmla="*/ 503932 h 533244"/>
                    <a:gd name="connsiteX786" fmla="*/ 249853 w 590377"/>
                    <a:gd name="connsiteY786" fmla="*/ 504187 h 533244"/>
                    <a:gd name="connsiteX787" fmla="*/ 250205 w 590377"/>
                    <a:gd name="connsiteY787" fmla="*/ 504393 h 533244"/>
                    <a:gd name="connsiteX788" fmla="*/ 256520 w 590377"/>
                    <a:gd name="connsiteY788" fmla="*/ 508073 h 533244"/>
                    <a:gd name="connsiteX789" fmla="*/ 257321 w 590377"/>
                    <a:gd name="connsiteY789" fmla="*/ 508534 h 533244"/>
                    <a:gd name="connsiteX790" fmla="*/ 258220 w 590377"/>
                    <a:gd name="connsiteY790" fmla="*/ 508741 h 533244"/>
                    <a:gd name="connsiteX791" fmla="*/ 270520 w 590377"/>
                    <a:gd name="connsiteY791" fmla="*/ 511570 h 533244"/>
                    <a:gd name="connsiteX792" fmla="*/ 275742 w 590377"/>
                    <a:gd name="connsiteY792" fmla="*/ 514484 h 533244"/>
                    <a:gd name="connsiteX793" fmla="*/ 288176 w 590377"/>
                    <a:gd name="connsiteY793" fmla="*/ 524150 h 533244"/>
                    <a:gd name="connsiteX794" fmla="*/ 290629 w 590377"/>
                    <a:gd name="connsiteY794" fmla="*/ 526056 h 533244"/>
                    <a:gd name="connsiteX795" fmla="*/ 293604 w 590377"/>
                    <a:gd name="connsiteY795" fmla="*/ 525194 h 533244"/>
                    <a:gd name="connsiteX796" fmla="*/ 297951 w 590377"/>
                    <a:gd name="connsiteY796" fmla="*/ 523931 h 533244"/>
                    <a:gd name="connsiteX797" fmla="*/ 308722 w 590377"/>
                    <a:gd name="connsiteY797" fmla="*/ 524769 h 533244"/>
                    <a:gd name="connsiteX798" fmla="*/ 310386 w 590377"/>
                    <a:gd name="connsiteY798" fmla="*/ 524903 h 533244"/>
                    <a:gd name="connsiteX799" fmla="*/ 311891 w 590377"/>
                    <a:gd name="connsiteY799" fmla="*/ 524162 h 533244"/>
                    <a:gd name="connsiteX800" fmla="*/ 314150 w 590377"/>
                    <a:gd name="connsiteY800" fmla="*/ 523045 h 533244"/>
                    <a:gd name="connsiteX801" fmla="*/ 314211 w 590377"/>
                    <a:gd name="connsiteY801" fmla="*/ 523191 h 533244"/>
                    <a:gd name="connsiteX802" fmla="*/ 314963 w 590377"/>
                    <a:gd name="connsiteY802" fmla="*/ 523992 h 533244"/>
                    <a:gd name="connsiteX803" fmla="*/ 316226 w 590377"/>
                    <a:gd name="connsiteY803" fmla="*/ 525304 h 533244"/>
                    <a:gd name="connsiteX804" fmla="*/ 316931 w 590377"/>
                    <a:gd name="connsiteY804" fmla="*/ 526056 h 533244"/>
                    <a:gd name="connsiteX805" fmla="*/ 317853 w 590377"/>
                    <a:gd name="connsiteY805" fmla="*/ 526530 h 533244"/>
                    <a:gd name="connsiteX806" fmla="*/ 320039 w 590377"/>
                    <a:gd name="connsiteY806" fmla="*/ 527647 h 533244"/>
                    <a:gd name="connsiteX807" fmla="*/ 321448 w 590377"/>
                    <a:gd name="connsiteY807" fmla="*/ 528619 h 533244"/>
                    <a:gd name="connsiteX808" fmla="*/ 322444 w 590377"/>
                    <a:gd name="connsiteY808" fmla="*/ 529396 h 533244"/>
                    <a:gd name="connsiteX809" fmla="*/ 323221 w 590377"/>
                    <a:gd name="connsiteY809" fmla="*/ 529991 h 533244"/>
                    <a:gd name="connsiteX810" fmla="*/ 324144 w 590377"/>
                    <a:gd name="connsiteY810" fmla="*/ 530319 h 533244"/>
                    <a:gd name="connsiteX811" fmla="*/ 328199 w 590377"/>
                    <a:gd name="connsiteY811" fmla="*/ 531739 h 533244"/>
                    <a:gd name="connsiteX812" fmla="*/ 332498 w 590377"/>
                    <a:gd name="connsiteY812" fmla="*/ 533245 h 533244"/>
                    <a:gd name="connsiteX813" fmla="*/ 335145 w 590377"/>
                    <a:gd name="connsiteY813" fmla="*/ 529554 h 533244"/>
                    <a:gd name="connsiteX814" fmla="*/ 341459 w 590377"/>
                    <a:gd name="connsiteY814" fmla="*/ 520738 h 533244"/>
                    <a:gd name="connsiteX815" fmla="*/ 347154 w 590377"/>
                    <a:gd name="connsiteY815" fmla="*/ 515443 h 533244"/>
                    <a:gd name="connsiteX816" fmla="*/ 352594 w 590377"/>
                    <a:gd name="connsiteY816" fmla="*/ 512177 h 533244"/>
                    <a:gd name="connsiteX817" fmla="*/ 364397 w 590377"/>
                    <a:gd name="connsiteY817" fmla="*/ 511376 h 533244"/>
                    <a:gd name="connsiteX818" fmla="*/ 365466 w 590377"/>
                    <a:gd name="connsiteY818" fmla="*/ 511303 h 533244"/>
                    <a:gd name="connsiteX819" fmla="*/ 366450 w 590377"/>
                    <a:gd name="connsiteY819" fmla="*/ 510866 h 533244"/>
                    <a:gd name="connsiteX820" fmla="*/ 369376 w 590377"/>
                    <a:gd name="connsiteY820" fmla="*/ 509566 h 533244"/>
                    <a:gd name="connsiteX821" fmla="*/ 370372 w 590377"/>
                    <a:gd name="connsiteY821" fmla="*/ 509117 h 533244"/>
                    <a:gd name="connsiteX822" fmla="*/ 371149 w 590377"/>
                    <a:gd name="connsiteY822" fmla="*/ 508364 h 533244"/>
                    <a:gd name="connsiteX823" fmla="*/ 372278 w 590377"/>
                    <a:gd name="connsiteY823" fmla="*/ 507259 h 533244"/>
                    <a:gd name="connsiteX824" fmla="*/ 375192 w 590377"/>
                    <a:gd name="connsiteY824" fmla="*/ 505146 h 533244"/>
                    <a:gd name="connsiteX825" fmla="*/ 375569 w 590377"/>
                    <a:gd name="connsiteY825" fmla="*/ 504879 h 533244"/>
                    <a:gd name="connsiteX826" fmla="*/ 375897 w 590377"/>
                    <a:gd name="connsiteY826" fmla="*/ 504551 h 533244"/>
                    <a:gd name="connsiteX827" fmla="*/ 377026 w 590377"/>
                    <a:gd name="connsiteY827" fmla="*/ 503434 h 533244"/>
                    <a:gd name="connsiteX828" fmla="*/ 377985 w 590377"/>
                    <a:gd name="connsiteY828" fmla="*/ 502487 h 533244"/>
                    <a:gd name="connsiteX829" fmla="*/ 378459 w 590377"/>
                    <a:gd name="connsiteY829" fmla="*/ 501224 h 533244"/>
                    <a:gd name="connsiteX830" fmla="*/ 379042 w 590377"/>
                    <a:gd name="connsiteY830" fmla="*/ 499646 h 533244"/>
                    <a:gd name="connsiteX831" fmla="*/ 379200 w 590377"/>
                    <a:gd name="connsiteY831" fmla="*/ 499220 h 533244"/>
                    <a:gd name="connsiteX832" fmla="*/ 379297 w 590377"/>
                    <a:gd name="connsiteY832" fmla="*/ 498771 h 533244"/>
                    <a:gd name="connsiteX833" fmla="*/ 379710 w 590377"/>
                    <a:gd name="connsiteY833" fmla="*/ 496768 h 533244"/>
                    <a:gd name="connsiteX834" fmla="*/ 387530 w 590377"/>
                    <a:gd name="connsiteY834" fmla="*/ 494096 h 533244"/>
                    <a:gd name="connsiteX835" fmla="*/ 388453 w 590377"/>
                    <a:gd name="connsiteY835" fmla="*/ 493793 h 533244"/>
                    <a:gd name="connsiteX836" fmla="*/ 389218 w 590377"/>
                    <a:gd name="connsiteY836" fmla="*/ 493210 h 533244"/>
                    <a:gd name="connsiteX837" fmla="*/ 392168 w 590377"/>
                    <a:gd name="connsiteY837" fmla="*/ 490988 h 533244"/>
                    <a:gd name="connsiteX838" fmla="*/ 393164 w 590377"/>
                    <a:gd name="connsiteY838" fmla="*/ 490684 h 533244"/>
                    <a:gd name="connsiteX839" fmla="*/ 394500 w 590377"/>
                    <a:gd name="connsiteY839" fmla="*/ 490271 h 533244"/>
                    <a:gd name="connsiteX840" fmla="*/ 395508 w 590377"/>
                    <a:gd name="connsiteY840" fmla="*/ 489324 h 533244"/>
                    <a:gd name="connsiteX841" fmla="*/ 397463 w 590377"/>
                    <a:gd name="connsiteY841" fmla="*/ 487503 h 533244"/>
                    <a:gd name="connsiteX842" fmla="*/ 397900 w 590377"/>
                    <a:gd name="connsiteY842" fmla="*/ 487102 h 533244"/>
                    <a:gd name="connsiteX843" fmla="*/ 398240 w 590377"/>
                    <a:gd name="connsiteY843" fmla="*/ 486616 h 533244"/>
                    <a:gd name="connsiteX844" fmla="*/ 399782 w 590377"/>
                    <a:gd name="connsiteY844" fmla="*/ 484491 h 533244"/>
                    <a:gd name="connsiteX845" fmla="*/ 401239 w 590377"/>
                    <a:gd name="connsiteY845" fmla="*/ 482475 h 533244"/>
                    <a:gd name="connsiteX846" fmla="*/ 401494 w 590377"/>
                    <a:gd name="connsiteY846" fmla="*/ 482123 h 533244"/>
                    <a:gd name="connsiteX847" fmla="*/ 401701 w 590377"/>
                    <a:gd name="connsiteY847" fmla="*/ 481723 h 533244"/>
                    <a:gd name="connsiteX848" fmla="*/ 403996 w 590377"/>
                    <a:gd name="connsiteY848" fmla="*/ 477302 h 533244"/>
                    <a:gd name="connsiteX849" fmla="*/ 404797 w 590377"/>
                    <a:gd name="connsiteY849" fmla="*/ 475748 h 533244"/>
                    <a:gd name="connsiteX850" fmla="*/ 404651 w 590377"/>
                    <a:gd name="connsiteY850" fmla="*/ 474000 h 533244"/>
                    <a:gd name="connsiteX851" fmla="*/ 404651 w 590377"/>
                    <a:gd name="connsiteY851" fmla="*/ 473441 h 533244"/>
                    <a:gd name="connsiteX852" fmla="*/ 408488 w 590377"/>
                    <a:gd name="connsiteY852" fmla="*/ 468220 h 533244"/>
                    <a:gd name="connsiteX853" fmla="*/ 410759 w 590377"/>
                    <a:gd name="connsiteY853" fmla="*/ 466216 h 533244"/>
                    <a:gd name="connsiteX854" fmla="*/ 411682 w 590377"/>
                    <a:gd name="connsiteY854" fmla="*/ 465682 h 533244"/>
                    <a:gd name="connsiteX855" fmla="*/ 412896 w 590377"/>
                    <a:gd name="connsiteY855" fmla="*/ 464977 h 533244"/>
                    <a:gd name="connsiteX856" fmla="*/ 413674 w 590377"/>
                    <a:gd name="connsiteY856" fmla="*/ 463824 h 533244"/>
                    <a:gd name="connsiteX857" fmla="*/ 414074 w 590377"/>
                    <a:gd name="connsiteY857" fmla="*/ 463229 h 533244"/>
                    <a:gd name="connsiteX858" fmla="*/ 414742 w 590377"/>
                    <a:gd name="connsiteY858" fmla="*/ 462233 h 533244"/>
                    <a:gd name="connsiteX859" fmla="*/ 414985 w 590377"/>
                    <a:gd name="connsiteY859" fmla="*/ 461055 h 533244"/>
                    <a:gd name="connsiteX860" fmla="*/ 415556 w 590377"/>
                    <a:gd name="connsiteY860" fmla="*/ 458299 h 533244"/>
                    <a:gd name="connsiteX861" fmla="*/ 415665 w 590377"/>
                    <a:gd name="connsiteY861" fmla="*/ 457777 h 533244"/>
                    <a:gd name="connsiteX862" fmla="*/ 415677 w 590377"/>
                    <a:gd name="connsiteY862" fmla="*/ 457242 h 533244"/>
                    <a:gd name="connsiteX863" fmla="*/ 415738 w 590377"/>
                    <a:gd name="connsiteY863" fmla="*/ 455032 h 533244"/>
                    <a:gd name="connsiteX864" fmla="*/ 415738 w 590377"/>
                    <a:gd name="connsiteY864" fmla="*/ 454644 h 533244"/>
                    <a:gd name="connsiteX865" fmla="*/ 415701 w 590377"/>
                    <a:gd name="connsiteY865" fmla="*/ 454255 h 533244"/>
                    <a:gd name="connsiteX866" fmla="*/ 415471 w 590377"/>
                    <a:gd name="connsiteY866" fmla="*/ 451972 h 533244"/>
                    <a:gd name="connsiteX867" fmla="*/ 415374 w 590377"/>
                    <a:gd name="connsiteY867" fmla="*/ 450977 h 533244"/>
                    <a:gd name="connsiteX868" fmla="*/ 414961 w 590377"/>
                    <a:gd name="connsiteY868" fmla="*/ 450066 h 533244"/>
                    <a:gd name="connsiteX869" fmla="*/ 411439 w 590377"/>
                    <a:gd name="connsiteY869" fmla="*/ 442355 h 533244"/>
                    <a:gd name="connsiteX870" fmla="*/ 411184 w 590377"/>
                    <a:gd name="connsiteY870" fmla="*/ 441347 h 533244"/>
                    <a:gd name="connsiteX871" fmla="*/ 411427 w 590377"/>
                    <a:gd name="connsiteY871" fmla="*/ 436417 h 533244"/>
                    <a:gd name="connsiteX872" fmla="*/ 412787 w 590377"/>
                    <a:gd name="connsiteY872" fmla="*/ 433442 h 533244"/>
                    <a:gd name="connsiteX873" fmla="*/ 413443 w 590377"/>
                    <a:gd name="connsiteY873" fmla="*/ 431985 h 533244"/>
                    <a:gd name="connsiteX874" fmla="*/ 413309 w 590377"/>
                    <a:gd name="connsiteY874" fmla="*/ 430394 h 533244"/>
                    <a:gd name="connsiteX875" fmla="*/ 413200 w 590377"/>
                    <a:gd name="connsiteY875" fmla="*/ 429095 h 533244"/>
                    <a:gd name="connsiteX876" fmla="*/ 413164 w 590377"/>
                    <a:gd name="connsiteY876" fmla="*/ 428597 h 533244"/>
                    <a:gd name="connsiteX877" fmla="*/ 413042 w 590377"/>
                    <a:gd name="connsiteY877" fmla="*/ 428111 h 533244"/>
                    <a:gd name="connsiteX878" fmla="*/ 412459 w 590377"/>
                    <a:gd name="connsiteY878" fmla="*/ 425841 h 533244"/>
                    <a:gd name="connsiteX879" fmla="*/ 412228 w 590377"/>
                    <a:gd name="connsiteY879" fmla="*/ 424942 h 533244"/>
                    <a:gd name="connsiteX880" fmla="*/ 411731 w 590377"/>
                    <a:gd name="connsiteY880" fmla="*/ 424153 h 533244"/>
                    <a:gd name="connsiteX881" fmla="*/ 410577 w 590377"/>
                    <a:gd name="connsiteY881" fmla="*/ 422295 h 533244"/>
                    <a:gd name="connsiteX882" fmla="*/ 410358 w 590377"/>
                    <a:gd name="connsiteY882" fmla="*/ 421955 h 533244"/>
                    <a:gd name="connsiteX883" fmla="*/ 410103 w 590377"/>
                    <a:gd name="connsiteY883" fmla="*/ 421639 h 533244"/>
                    <a:gd name="connsiteX884" fmla="*/ 407347 w 590377"/>
                    <a:gd name="connsiteY884" fmla="*/ 418288 h 533244"/>
                    <a:gd name="connsiteX885" fmla="*/ 406667 w 590377"/>
                    <a:gd name="connsiteY885" fmla="*/ 417086 h 533244"/>
                    <a:gd name="connsiteX886" fmla="*/ 405987 w 590377"/>
                    <a:gd name="connsiteY886" fmla="*/ 415543 h 533244"/>
                    <a:gd name="connsiteX887" fmla="*/ 405781 w 590377"/>
                    <a:gd name="connsiteY887" fmla="*/ 415082 h 533244"/>
                    <a:gd name="connsiteX888" fmla="*/ 405513 w 590377"/>
                    <a:gd name="connsiteY888" fmla="*/ 414657 h 533244"/>
                    <a:gd name="connsiteX889" fmla="*/ 404190 w 590377"/>
                    <a:gd name="connsiteY889" fmla="*/ 412629 h 533244"/>
                    <a:gd name="connsiteX890" fmla="*/ 404020 w 590377"/>
                    <a:gd name="connsiteY890" fmla="*/ 412374 h 533244"/>
                    <a:gd name="connsiteX891" fmla="*/ 403826 w 590377"/>
                    <a:gd name="connsiteY891" fmla="*/ 412131 h 533244"/>
                    <a:gd name="connsiteX892" fmla="*/ 401761 w 590377"/>
                    <a:gd name="connsiteY892" fmla="*/ 409569 h 533244"/>
                    <a:gd name="connsiteX893" fmla="*/ 401567 w 590377"/>
                    <a:gd name="connsiteY893" fmla="*/ 409326 h 533244"/>
                    <a:gd name="connsiteX894" fmla="*/ 401336 w 590377"/>
                    <a:gd name="connsiteY894" fmla="*/ 409096 h 533244"/>
                    <a:gd name="connsiteX895" fmla="*/ 395131 w 590377"/>
                    <a:gd name="connsiteY895" fmla="*/ 402854 h 533244"/>
                    <a:gd name="connsiteX896" fmla="*/ 393504 w 590377"/>
                    <a:gd name="connsiteY896" fmla="*/ 400838 h 533244"/>
                    <a:gd name="connsiteX897" fmla="*/ 392933 w 590377"/>
                    <a:gd name="connsiteY897" fmla="*/ 399503 h 533244"/>
                    <a:gd name="connsiteX898" fmla="*/ 392860 w 590377"/>
                    <a:gd name="connsiteY898" fmla="*/ 398713 h 533244"/>
                    <a:gd name="connsiteX899" fmla="*/ 393298 w 590377"/>
                    <a:gd name="connsiteY899" fmla="*/ 398458 h 533244"/>
                    <a:gd name="connsiteX900" fmla="*/ 395350 w 590377"/>
                    <a:gd name="connsiteY900" fmla="*/ 397985 h 533244"/>
                    <a:gd name="connsiteX901" fmla="*/ 396382 w 590377"/>
                    <a:gd name="connsiteY901" fmla="*/ 397997 h 533244"/>
                    <a:gd name="connsiteX902" fmla="*/ 397268 w 590377"/>
                    <a:gd name="connsiteY902" fmla="*/ 398179 h 533244"/>
                    <a:gd name="connsiteX903" fmla="*/ 401239 w 590377"/>
                    <a:gd name="connsiteY903" fmla="*/ 399891 h 533244"/>
                    <a:gd name="connsiteX904" fmla="*/ 401773 w 590377"/>
                    <a:gd name="connsiteY904" fmla="*/ 400122 h 533244"/>
                    <a:gd name="connsiteX905" fmla="*/ 402332 w 590377"/>
                    <a:gd name="connsiteY905" fmla="*/ 400243 h 533244"/>
                    <a:gd name="connsiteX906" fmla="*/ 403595 w 590377"/>
                    <a:gd name="connsiteY906" fmla="*/ 400523 h 533244"/>
                    <a:gd name="connsiteX907" fmla="*/ 403971 w 590377"/>
                    <a:gd name="connsiteY907" fmla="*/ 400668 h 533244"/>
                    <a:gd name="connsiteX908" fmla="*/ 404323 w 590377"/>
                    <a:gd name="connsiteY908" fmla="*/ 400936 h 533244"/>
                    <a:gd name="connsiteX909" fmla="*/ 406958 w 590377"/>
                    <a:gd name="connsiteY909" fmla="*/ 404008 h 533244"/>
                    <a:gd name="connsiteX910" fmla="*/ 407396 w 590377"/>
                    <a:gd name="connsiteY910" fmla="*/ 404518 h 533244"/>
                    <a:gd name="connsiteX911" fmla="*/ 407918 w 590377"/>
                    <a:gd name="connsiteY911" fmla="*/ 404918 h 533244"/>
                    <a:gd name="connsiteX912" fmla="*/ 409351 w 590377"/>
                    <a:gd name="connsiteY912" fmla="*/ 405999 h 533244"/>
                    <a:gd name="connsiteX913" fmla="*/ 411876 w 590377"/>
                    <a:gd name="connsiteY913" fmla="*/ 407906 h 533244"/>
                    <a:gd name="connsiteX914" fmla="*/ 414888 w 590377"/>
                    <a:gd name="connsiteY914" fmla="*/ 406922 h 533244"/>
                    <a:gd name="connsiteX915" fmla="*/ 416952 w 590377"/>
                    <a:gd name="connsiteY915" fmla="*/ 406242 h 533244"/>
                    <a:gd name="connsiteX916" fmla="*/ 417608 w 590377"/>
                    <a:gd name="connsiteY916" fmla="*/ 406023 h 533244"/>
                    <a:gd name="connsiteX917" fmla="*/ 418203 w 590377"/>
                    <a:gd name="connsiteY917" fmla="*/ 405659 h 533244"/>
                    <a:gd name="connsiteX918" fmla="*/ 421530 w 590377"/>
                    <a:gd name="connsiteY918" fmla="*/ 403643 h 533244"/>
                    <a:gd name="connsiteX919" fmla="*/ 421906 w 590377"/>
                    <a:gd name="connsiteY919" fmla="*/ 403413 h 533244"/>
                    <a:gd name="connsiteX920" fmla="*/ 422246 w 590377"/>
                    <a:gd name="connsiteY920" fmla="*/ 403133 h 533244"/>
                    <a:gd name="connsiteX921" fmla="*/ 437073 w 590377"/>
                    <a:gd name="connsiteY921" fmla="*/ 390905 h 533244"/>
                    <a:gd name="connsiteX922" fmla="*/ 437425 w 590377"/>
                    <a:gd name="connsiteY922" fmla="*/ 390614 h 533244"/>
                    <a:gd name="connsiteX923" fmla="*/ 437729 w 590377"/>
                    <a:gd name="connsiteY923" fmla="*/ 390274 h 533244"/>
                    <a:gd name="connsiteX924" fmla="*/ 442197 w 590377"/>
                    <a:gd name="connsiteY924" fmla="*/ 385283 h 533244"/>
                    <a:gd name="connsiteX925" fmla="*/ 443144 w 590377"/>
                    <a:gd name="connsiteY925" fmla="*/ 384057 h 533244"/>
                    <a:gd name="connsiteX926" fmla="*/ 445427 w 590377"/>
                    <a:gd name="connsiteY926" fmla="*/ 382418 h 533244"/>
                    <a:gd name="connsiteX927" fmla="*/ 454219 w 590377"/>
                    <a:gd name="connsiteY927" fmla="*/ 378775 h 533244"/>
                    <a:gd name="connsiteX928" fmla="*/ 461784 w 590377"/>
                    <a:gd name="connsiteY928" fmla="*/ 376565 h 533244"/>
                    <a:gd name="connsiteX929" fmla="*/ 462087 w 590377"/>
                    <a:gd name="connsiteY929" fmla="*/ 376480 h 533244"/>
                    <a:gd name="connsiteX930" fmla="*/ 462379 w 590377"/>
                    <a:gd name="connsiteY930" fmla="*/ 376358 h 533244"/>
                    <a:gd name="connsiteX931" fmla="*/ 466350 w 590377"/>
                    <a:gd name="connsiteY931" fmla="*/ 374731 h 533244"/>
                    <a:gd name="connsiteX932" fmla="*/ 466884 w 590377"/>
                    <a:gd name="connsiteY932" fmla="*/ 374513 h 533244"/>
                    <a:gd name="connsiteX933" fmla="*/ 467370 w 590377"/>
                    <a:gd name="connsiteY933" fmla="*/ 374197 h 533244"/>
                    <a:gd name="connsiteX934" fmla="*/ 471328 w 590377"/>
                    <a:gd name="connsiteY934" fmla="*/ 371610 h 533244"/>
                    <a:gd name="connsiteX935" fmla="*/ 471899 w 590377"/>
                    <a:gd name="connsiteY935" fmla="*/ 371234 h 533244"/>
                    <a:gd name="connsiteX936" fmla="*/ 472372 w 590377"/>
                    <a:gd name="connsiteY936" fmla="*/ 370736 h 533244"/>
                    <a:gd name="connsiteX937" fmla="*/ 477035 w 590377"/>
                    <a:gd name="connsiteY937" fmla="*/ 365903 h 533244"/>
                    <a:gd name="connsiteX938" fmla="*/ 477740 w 590377"/>
                    <a:gd name="connsiteY938" fmla="*/ 365175 h 533244"/>
                    <a:gd name="connsiteX939" fmla="*/ 478165 w 590377"/>
                    <a:gd name="connsiteY939" fmla="*/ 364264 h 533244"/>
                    <a:gd name="connsiteX940" fmla="*/ 479828 w 590377"/>
                    <a:gd name="connsiteY940" fmla="*/ 360718 h 533244"/>
                    <a:gd name="connsiteX941" fmla="*/ 480083 w 590377"/>
                    <a:gd name="connsiteY941" fmla="*/ 360184 h 533244"/>
                    <a:gd name="connsiteX942" fmla="*/ 480229 w 590377"/>
                    <a:gd name="connsiteY942" fmla="*/ 359601 h 533244"/>
                    <a:gd name="connsiteX943" fmla="*/ 480909 w 590377"/>
                    <a:gd name="connsiteY943" fmla="*/ 356845 h 533244"/>
                    <a:gd name="connsiteX944" fmla="*/ 481067 w 590377"/>
                    <a:gd name="connsiteY944" fmla="*/ 356213 h 533244"/>
                    <a:gd name="connsiteX945" fmla="*/ 481079 w 590377"/>
                    <a:gd name="connsiteY945" fmla="*/ 355557 h 533244"/>
                    <a:gd name="connsiteX946" fmla="*/ 481091 w 590377"/>
                    <a:gd name="connsiteY946" fmla="*/ 355011 h 533244"/>
                    <a:gd name="connsiteX947" fmla="*/ 482475 w 590377"/>
                    <a:gd name="connsiteY947" fmla="*/ 353687 h 533244"/>
                    <a:gd name="connsiteX948" fmla="*/ 492663 w 590377"/>
                    <a:gd name="connsiteY948" fmla="*/ 347470 h 533244"/>
                    <a:gd name="connsiteX949" fmla="*/ 499828 w 590377"/>
                    <a:gd name="connsiteY949" fmla="*/ 344216 h 533244"/>
                    <a:gd name="connsiteX950" fmla="*/ 520750 w 590377"/>
                    <a:gd name="connsiteY950" fmla="*/ 340269 h 533244"/>
                    <a:gd name="connsiteX951" fmla="*/ 521770 w 590377"/>
                    <a:gd name="connsiteY951" fmla="*/ 340075 h 533244"/>
                    <a:gd name="connsiteX952" fmla="*/ 522668 w 590377"/>
                    <a:gd name="connsiteY952" fmla="*/ 339553 h 533244"/>
                    <a:gd name="connsiteX953" fmla="*/ 526299 w 590377"/>
                    <a:gd name="connsiteY953" fmla="*/ 337452 h 533244"/>
                    <a:gd name="connsiteX954" fmla="*/ 534617 w 590377"/>
                    <a:gd name="connsiteY954" fmla="*/ 343961 h 533244"/>
                    <a:gd name="connsiteX955" fmla="*/ 535334 w 590377"/>
                    <a:gd name="connsiteY955" fmla="*/ 344519 h 533244"/>
                    <a:gd name="connsiteX956" fmla="*/ 536183 w 590377"/>
                    <a:gd name="connsiteY956" fmla="*/ 344847 h 533244"/>
                    <a:gd name="connsiteX957" fmla="*/ 538758 w 590377"/>
                    <a:gd name="connsiteY957" fmla="*/ 345831 h 533244"/>
                    <a:gd name="connsiteX958" fmla="*/ 540045 w 590377"/>
                    <a:gd name="connsiteY958" fmla="*/ 346329 h 533244"/>
                    <a:gd name="connsiteX959" fmla="*/ 541417 w 590377"/>
                    <a:gd name="connsiteY959" fmla="*/ 346219 h 533244"/>
                    <a:gd name="connsiteX960" fmla="*/ 561878 w 590377"/>
                    <a:gd name="connsiteY960" fmla="*/ 344556 h 533244"/>
                    <a:gd name="connsiteX961" fmla="*/ 562777 w 590377"/>
                    <a:gd name="connsiteY961" fmla="*/ 344762 h 533244"/>
                    <a:gd name="connsiteX962" fmla="*/ 563821 w 590377"/>
                    <a:gd name="connsiteY962" fmla="*/ 345394 h 533244"/>
                    <a:gd name="connsiteX963" fmla="*/ 565521 w 590377"/>
                    <a:gd name="connsiteY963" fmla="*/ 347325 h 533244"/>
                    <a:gd name="connsiteX964" fmla="*/ 568605 w 590377"/>
                    <a:gd name="connsiteY964" fmla="*/ 350822 h 533244"/>
                    <a:gd name="connsiteX965" fmla="*/ 572782 w 590377"/>
                    <a:gd name="connsiteY965" fmla="*/ 348745 h 533244"/>
                    <a:gd name="connsiteX966" fmla="*/ 573669 w 590377"/>
                    <a:gd name="connsiteY966" fmla="*/ 348296 h 533244"/>
                    <a:gd name="connsiteX967" fmla="*/ 574434 w 590377"/>
                    <a:gd name="connsiteY967" fmla="*/ 347555 h 533244"/>
                    <a:gd name="connsiteX968" fmla="*/ 578477 w 590377"/>
                    <a:gd name="connsiteY968" fmla="*/ 343512 h 533244"/>
                    <a:gd name="connsiteX969" fmla="*/ 574689 w 590377"/>
                    <a:gd name="connsiteY969" fmla="*/ 339225 h 533244"/>
                    <a:gd name="connsiteX970" fmla="*/ 574337 w 590377"/>
                    <a:gd name="connsiteY970" fmla="*/ 338837 h 533244"/>
                    <a:gd name="connsiteX971" fmla="*/ 574325 w 590377"/>
                    <a:gd name="connsiteY971" fmla="*/ 338618 h 533244"/>
                    <a:gd name="connsiteX972" fmla="*/ 574227 w 590377"/>
                    <a:gd name="connsiteY972" fmla="*/ 334999 h 533244"/>
                    <a:gd name="connsiteX973" fmla="*/ 575029 w 590377"/>
                    <a:gd name="connsiteY973" fmla="*/ 334477 h 533244"/>
                    <a:gd name="connsiteX974" fmla="*/ 575733 w 590377"/>
                    <a:gd name="connsiteY974" fmla="*/ 332704 h 533244"/>
                    <a:gd name="connsiteX975" fmla="*/ 575964 w 590377"/>
                    <a:gd name="connsiteY975" fmla="*/ 332146 h 533244"/>
                    <a:gd name="connsiteX976" fmla="*/ 578101 w 590377"/>
                    <a:gd name="connsiteY976" fmla="*/ 329547 h 533244"/>
                    <a:gd name="connsiteX977" fmla="*/ 578854 w 590377"/>
                    <a:gd name="connsiteY977" fmla="*/ 329596 h 533244"/>
                    <a:gd name="connsiteX978" fmla="*/ 579036 w 590377"/>
                    <a:gd name="connsiteY978" fmla="*/ 328406 h 533244"/>
                    <a:gd name="connsiteX979" fmla="*/ 579376 w 590377"/>
                    <a:gd name="connsiteY979" fmla="*/ 327981 h 533244"/>
                    <a:gd name="connsiteX980" fmla="*/ 580736 w 590377"/>
                    <a:gd name="connsiteY980" fmla="*/ 328151 h 533244"/>
                    <a:gd name="connsiteX981" fmla="*/ 581647 w 590377"/>
                    <a:gd name="connsiteY981" fmla="*/ 328260 h 533244"/>
                    <a:gd name="connsiteX982" fmla="*/ 586589 w 590377"/>
                    <a:gd name="connsiteY982" fmla="*/ 328867 h 533244"/>
                    <a:gd name="connsiteX983" fmla="*/ 588155 w 590377"/>
                    <a:gd name="connsiteY983" fmla="*/ 324144 h 533244"/>
                    <a:gd name="connsiteX984" fmla="*/ 588568 w 590377"/>
                    <a:gd name="connsiteY984" fmla="*/ 322893 h 533244"/>
                    <a:gd name="connsiteX985" fmla="*/ 590378 w 590377"/>
                    <a:gd name="connsiteY985" fmla="*/ 317416 h 533244"/>
                    <a:gd name="connsiteX986" fmla="*/ 586978 w 590377"/>
                    <a:gd name="connsiteY986" fmla="*/ 316093 h 533244"/>
                    <a:gd name="connsiteX987" fmla="*/ 586686 w 590377"/>
                    <a:gd name="connsiteY987" fmla="*/ 315729 h 533244"/>
                    <a:gd name="connsiteX988" fmla="*/ 585593 w 590377"/>
                    <a:gd name="connsiteY988" fmla="*/ 314927 h 533244"/>
                    <a:gd name="connsiteX989" fmla="*/ 585035 w 590377"/>
                    <a:gd name="connsiteY989" fmla="*/ 314587 h 533244"/>
                    <a:gd name="connsiteX990" fmla="*/ 584610 w 590377"/>
                    <a:gd name="connsiteY990" fmla="*/ 313761 h 533244"/>
                    <a:gd name="connsiteX991" fmla="*/ 583456 w 590377"/>
                    <a:gd name="connsiteY991" fmla="*/ 311746 h 533244"/>
                    <a:gd name="connsiteX992" fmla="*/ 583225 w 590377"/>
                    <a:gd name="connsiteY992" fmla="*/ 311345 h 533244"/>
                    <a:gd name="connsiteX993" fmla="*/ 582946 w 590377"/>
                    <a:gd name="connsiteY993" fmla="*/ 310981 h 533244"/>
                    <a:gd name="connsiteX994" fmla="*/ 582375 w 590377"/>
                    <a:gd name="connsiteY994" fmla="*/ 310252 h 533244"/>
                    <a:gd name="connsiteX995" fmla="*/ 582375 w 590377"/>
                    <a:gd name="connsiteY995" fmla="*/ 309159 h 533244"/>
                    <a:gd name="connsiteX996" fmla="*/ 582764 w 590377"/>
                    <a:gd name="connsiteY996" fmla="*/ 306646 h 533244"/>
                    <a:gd name="connsiteX997" fmla="*/ 582849 w 590377"/>
                    <a:gd name="connsiteY997" fmla="*/ 305893 h 533244"/>
                    <a:gd name="connsiteX998" fmla="*/ 583055 w 590377"/>
                    <a:gd name="connsiteY998" fmla="*/ 304035 h 533244"/>
                    <a:gd name="connsiteX999" fmla="*/ 582169 w 590377"/>
                    <a:gd name="connsiteY999" fmla="*/ 302371 h 533244"/>
                    <a:gd name="connsiteX1000" fmla="*/ 580736 w 590377"/>
                    <a:gd name="connsiteY1000" fmla="*/ 299676 h 533244"/>
                    <a:gd name="connsiteX1001" fmla="*/ 580311 w 590377"/>
                    <a:gd name="connsiteY1001" fmla="*/ 298886 h 533244"/>
                    <a:gd name="connsiteX1002" fmla="*/ 579680 w 590377"/>
                    <a:gd name="connsiteY1002" fmla="*/ 298243 h 533244"/>
                    <a:gd name="connsiteX1003" fmla="*/ 578210 w 590377"/>
                    <a:gd name="connsiteY1003" fmla="*/ 296761 h 533244"/>
                    <a:gd name="connsiteX1004" fmla="*/ 576146 w 590377"/>
                    <a:gd name="connsiteY1004" fmla="*/ 294697 h 533244"/>
                    <a:gd name="connsiteX1005" fmla="*/ 576450 w 590377"/>
                    <a:gd name="connsiteY1005" fmla="*/ 293410 h 533244"/>
                    <a:gd name="connsiteX1006" fmla="*/ 574531 w 590377"/>
                    <a:gd name="connsiteY1006" fmla="*/ 293070 h 533244"/>
                    <a:gd name="connsiteX1007" fmla="*/ 574276 w 590377"/>
                    <a:gd name="connsiteY1007" fmla="*/ 292815 h 533244"/>
                    <a:gd name="connsiteX1008" fmla="*/ 574070 w 590377"/>
                    <a:gd name="connsiteY1008" fmla="*/ 292997 h 533244"/>
                    <a:gd name="connsiteX1009" fmla="*/ 573972 w 590377"/>
                    <a:gd name="connsiteY1009" fmla="*/ 292985 h 533244"/>
                    <a:gd name="connsiteX1010" fmla="*/ 573948 w 590377"/>
                    <a:gd name="connsiteY1010" fmla="*/ 292961 h 533244"/>
                    <a:gd name="connsiteX1011" fmla="*/ 573669 w 590377"/>
                    <a:gd name="connsiteY1011" fmla="*/ 292936 h 533244"/>
                    <a:gd name="connsiteX1012" fmla="*/ 570062 w 590377"/>
                    <a:gd name="connsiteY1012" fmla="*/ 292305 h 533244"/>
                    <a:gd name="connsiteX1013" fmla="*/ 569917 w 590377"/>
                    <a:gd name="connsiteY1013" fmla="*/ 292159 h 533244"/>
                    <a:gd name="connsiteX1014" fmla="*/ 569006 w 590377"/>
                    <a:gd name="connsiteY1014" fmla="*/ 290046 h 533244"/>
                    <a:gd name="connsiteX1015" fmla="*/ 568824 w 590377"/>
                    <a:gd name="connsiteY1015" fmla="*/ 288504 h 533244"/>
                    <a:gd name="connsiteX1016" fmla="*/ 568690 w 590377"/>
                    <a:gd name="connsiteY1016" fmla="*/ 287751 h 533244"/>
                    <a:gd name="connsiteX1017" fmla="*/ 569164 w 590377"/>
                    <a:gd name="connsiteY1017" fmla="*/ 285711 h 533244"/>
                    <a:gd name="connsiteX1018" fmla="*/ 570038 w 590377"/>
                    <a:gd name="connsiteY1018" fmla="*/ 281874 h 533244"/>
                    <a:gd name="connsiteX1019" fmla="*/ 566954 w 590377"/>
                    <a:gd name="connsiteY1019" fmla="*/ 279336 h 533244"/>
                    <a:gd name="connsiteX1020" fmla="*/ 565460 w 590377"/>
                    <a:gd name="connsiteY1020" fmla="*/ 278207 h 533244"/>
                    <a:gd name="connsiteX1021" fmla="*/ 565727 w 590377"/>
                    <a:gd name="connsiteY1021" fmla="*/ 277478 h 533244"/>
                    <a:gd name="connsiteX1022" fmla="*/ 563092 w 590377"/>
                    <a:gd name="connsiteY1022" fmla="*/ 276422 h 533244"/>
                    <a:gd name="connsiteX1023" fmla="*/ 562109 w 590377"/>
                    <a:gd name="connsiteY1023" fmla="*/ 275681 h 533244"/>
                    <a:gd name="connsiteX1024" fmla="*/ 561890 w 590377"/>
                    <a:gd name="connsiteY1024" fmla="*/ 275936 h 533244"/>
                    <a:gd name="connsiteX1025" fmla="*/ 559984 w 590377"/>
                    <a:gd name="connsiteY1025" fmla="*/ 275171 h 533244"/>
                    <a:gd name="connsiteX1026" fmla="*/ 558102 w 590377"/>
                    <a:gd name="connsiteY1026" fmla="*/ 274515 h 533244"/>
                    <a:gd name="connsiteX1027" fmla="*/ 557591 w 590377"/>
                    <a:gd name="connsiteY1027" fmla="*/ 274333 h 533244"/>
                    <a:gd name="connsiteX1028" fmla="*/ 557069 w 590377"/>
                    <a:gd name="connsiteY1028" fmla="*/ 274248 h 533244"/>
                    <a:gd name="connsiteX1029" fmla="*/ 555211 w 590377"/>
                    <a:gd name="connsiteY1029" fmla="*/ 273945 h 533244"/>
                    <a:gd name="connsiteX1030" fmla="*/ 553657 w 590377"/>
                    <a:gd name="connsiteY1030" fmla="*/ 273119 h 533244"/>
                    <a:gd name="connsiteX1031" fmla="*/ 553475 w 590377"/>
                    <a:gd name="connsiteY1031" fmla="*/ 272743 h 533244"/>
                    <a:gd name="connsiteX1032" fmla="*/ 551982 w 590377"/>
                    <a:gd name="connsiteY1032" fmla="*/ 269962 h 533244"/>
                    <a:gd name="connsiteX1033" fmla="*/ 551314 w 590377"/>
                    <a:gd name="connsiteY1033" fmla="*/ 268723 h 533244"/>
                    <a:gd name="connsiteX1034" fmla="*/ 550172 w 590377"/>
                    <a:gd name="connsiteY1034" fmla="*/ 267910 h 533244"/>
                    <a:gd name="connsiteX1035" fmla="*/ 547974 w 590377"/>
                    <a:gd name="connsiteY1035" fmla="*/ 266331 h 533244"/>
                    <a:gd name="connsiteX1036" fmla="*/ 543129 w 590377"/>
                    <a:gd name="connsiteY1036" fmla="*/ 262846 h 533244"/>
                    <a:gd name="connsiteX1037" fmla="*/ 542911 w 590377"/>
                    <a:gd name="connsiteY1037" fmla="*/ 263137 h 533244"/>
                    <a:gd name="connsiteX1038" fmla="*/ 542425 w 590377"/>
                    <a:gd name="connsiteY1038" fmla="*/ 262834 h 533244"/>
                    <a:gd name="connsiteX1039" fmla="*/ 541951 w 590377"/>
                    <a:gd name="connsiteY1039" fmla="*/ 262579 h 533244"/>
                    <a:gd name="connsiteX1040" fmla="*/ 539790 w 590377"/>
                    <a:gd name="connsiteY1040" fmla="*/ 260126 h 533244"/>
                    <a:gd name="connsiteX1041" fmla="*/ 537580 w 590377"/>
                    <a:gd name="connsiteY1041" fmla="*/ 257612 h 533244"/>
                    <a:gd name="connsiteX1042" fmla="*/ 536451 w 590377"/>
                    <a:gd name="connsiteY1042" fmla="*/ 255937 h 533244"/>
                    <a:gd name="connsiteX1043" fmla="*/ 534508 w 590377"/>
                    <a:gd name="connsiteY1043" fmla="*/ 253314 h 533244"/>
                    <a:gd name="connsiteX1044" fmla="*/ 532043 w 590377"/>
                    <a:gd name="connsiteY1044" fmla="*/ 249987 h 533244"/>
                    <a:gd name="connsiteX1045" fmla="*/ 527939 w 590377"/>
                    <a:gd name="connsiteY1045" fmla="*/ 250910 h 533244"/>
                    <a:gd name="connsiteX1046" fmla="*/ 525583 w 590377"/>
                    <a:gd name="connsiteY1046" fmla="*/ 251553 h 533244"/>
                    <a:gd name="connsiteX1047" fmla="*/ 522183 w 590377"/>
                    <a:gd name="connsiteY1047" fmla="*/ 252476 h 533244"/>
                    <a:gd name="connsiteX1048" fmla="*/ 522086 w 590377"/>
                    <a:gd name="connsiteY1048" fmla="*/ 252415 h 533244"/>
                    <a:gd name="connsiteX1049" fmla="*/ 521940 w 590377"/>
                    <a:gd name="connsiteY1049" fmla="*/ 252185 h 533244"/>
                    <a:gd name="connsiteX1050" fmla="*/ 518479 w 590377"/>
                    <a:gd name="connsiteY1050" fmla="*/ 246914 h 533244"/>
                    <a:gd name="connsiteX1051" fmla="*/ 518224 w 590377"/>
                    <a:gd name="connsiteY1051" fmla="*/ 247097 h 533244"/>
                    <a:gd name="connsiteX1052" fmla="*/ 517471 w 590377"/>
                    <a:gd name="connsiteY1052" fmla="*/ 246113 h 533244"/>
                    <a:gd name="connsiteX1053" fmla="*/ 513950 w 590377"/>
                    <a:gd name="connsiteY1053" fmla="*/ 242252 h 533244"/>
                    <a:gd name="connsiteX1054" fmla="*/ 511436 w 590377"/>
                    <a:gd name="connsiteY1054" fmla="*/ 239519 h 533244"/>
                    <a:gd name="connsiteX1055" fmla="*/ 511533 w 590377"/>
                    <a:gd name="connsiteY1055" fmla="*/ 238949 h 533244"/>
                    <a:gd name="connsiteX1056" fmla="*/ 510793 w 590377"/>
                    <a:gd name="connsiteY1056" fmla="*/ 238827 h 533244"/>
                    <a:gd name="connsiteX1057" fmla="*/ 509821 w 590377"/>
                    <a:gd name="connsiteY1057" fmla="*/ 237783 h 533244"/>
                    <a:gd name="connsiteX1058" fmla="*/ 508995 w 590377"/>
                    <a:gd name="connsiteY1058" fmla="*/ 238548 h 533244"/>
                    <a:gd name="connsiteX1059" fmla="*/ 505207 w 590377"/>
                    <a:gd name="connsiteY1059" fmla="*/ 237941 h 533244"/>
                    <a:gd name="connsiteX1060" fmla="*/ 503968 w 590377"/>
                    <a:gd name="connsiteY1060" fmla="*/ 237795 h 533244"/>
                    <a:gd name="connsiteX1061" fmla="*/ 500884 w 590377"/>
                    <a:gd name="connsiteY1061" fmla="*/ 237443 h 533244"/>
                    <a:gd name="connsiteX1062" fmla="*/ 498795 w 590377"/>
                    <a:gd name="connsiteY1062" fmla="*/ 239738 h 533244"/>
                    <a:gd name="connsiteX1063" fmla="*/ 496476 w 590377"/>
                    <a:gd name="connsiteY1063" fmla="*/ 242288 h 533244"/>
                    <a:gd name="connsiteX1064" fmla="*/ 494266 w 590377"/>
                    <a:gd name="connsiteY1064" fmla="*/ 243769 h 533244"/>
                    <a:gd name="connsiteX1065" fmla="*/ 493222 w 590377"/>
                    <a:gd name="connsiteY1065" fmla="*/ 244024 h 533244"/>
                    <a:gd name="connsiteX1066" fmla="*/ 492845 w 590377"/>
                    <a:gd name="connsiteY1066" fmla="*/ 244134 h 533244"/>
                    <a:gd name="connsiteX1067" fmla="*/ 493574 w 590377"/>
                    <a:gd name="connsiteY1067" fmla="*/ 240831 h 533244"/>
                    <a:gd name="connsiteX1068" fmla="*/ 493987 w 590377"/>
                    <a:gd name="connsiteY1068" fmla="*/ 239787 h 533244"/>
                    <a:gd name="connsiteX1069" fmla="*/ 495395 w 590377"/>
                    <a:gd name="connsiteY1069" fmla="*/ 235561 h 533244"/>
                    <a:gd name="connsiteX1070" fmla="*/ 495529 w 590377"/>
                    <a:gd name="connsiteY1070" fmla="*/ 235160 h 533244"/>
                    <a:gd name="connsiteX1071" fmla="*/ 495602 w 590377"/>
                    <a:gd name="connsiteY1071" fmla="*/ 234735 h 533244"/>
                    <a:gd name="connsiteX1072" fmla="*/ 495857 w 590377"/>
                    <a:gd name="connsiteY1072" fmla="*/ 233339 h 533244"/>
                    <a:gd name="connsiteX1073" fmla="*/ 495930 w 590377"/>
                    <a:gd name="connsiteY1073" fmla="*/ 232950 h 533244"/>
                    <a:gd name="connsiteX1074" fmla="*/ 496258 w 590377"/>
                    <a:gd name="connsiteY1074" fmla="*/ 232974 h 533244"/>
                    <a:gd name="connsiteX1075" fmla="*/ 496768 w 590377"/>
                    <a:gd name="connsiteY1075" fmla="*/ 228360 h 533244"/>
                    <a:gd name="connsiteX1076" fmla="*/ 496913 w 590377"/>
                    <a:gd name="connsiteY1076" fmla="*/ 227547 h 533244"/>
                    <a:gd name="connsiteX1077" fmla="*/ 496865 w 590377"/>
                    <a:gd name="connsiteY1077" fmla="*/ 227534 h 533244"/>
                    <a:gd name="connsiteX1078" fmla="*/ 496938 w 590377"/>
                    <a:gd name="connsiteY1078" fmla="*/ 226842 h 533244"/>
                    <a:gd name="connsiteX1079" fmla="*/ 497180 w 590377"/>
                    <a:gd name="connsiteY1079" fmla="*/ 223090 h 533244"/>
                    <a:gd name="connsiteX1080" fmla="*/ 497217 w 590377"/>
                    <a:gd name="connsiteY1080" fmla="*/ 222519 h 533244"/>
                    <a:gd name="connsiteX1081" fmla="*/ 497144 w 590377"/>
                    <a:gd name="connsiteY1081" fmla="*/ 221949 h 533244"/>
                    <a:gd name="connsiteX1082" fmla="*/ 496877 w 590377"/>
                    <a:gd name="connsiteY1082" fmla="*/ 219836 h 533244"/>
                    <a:gd name="connsiteX1083" fmla="*/ 496124 w 590377"/>
                    <a:gd name="connsiteY1083" fmla="*/ 213910 h 533244"/>
                    <a:gd name="connsiteX1084" fmla="*/ 495480 w 590377"/>
                    <a:gd name="connsiteY1084" fmla="*/ 213983 h 533244"/>
                    <a:gd name="connsiteX1085" fmla="*/ 495323 w 590377"/>
                    <a:gd name="connsiteY1085" fmla="*/ 213266 h 533244"/>
                    <a:gd name="connsiteX1086" fmla="*/ 494922 w 590377"/>
                    <a:gd name="connsiteY1086" fmla="*/ 211809 h 533244"/>
                    <a:gd name="connsiteX1087" fmla="*/ 493805 w 590377"/>
                    <a:gd name="connsiteY1087" fmla="*/ 210425 h 533244"/>
                    <a:gd name="connsiteX1088" fmla="*/ 490526 w 590377"/>
                    <a:gd name="connsiteY1088" fmla="*/ 206976 h 533244"/>
                    <a:gd name="connsiteX1089" fmla="*/ 490866 w 590377"/>
                    <a:gd name="connsiteY1089" fmla="*/ 206709 h 533244"/>
                    <a:gd name="connsiteX1090" fmla="*/ 488000 w 590377"/>
                    <a:gd name="connsiteY1090" fmla="*/ 201901 h 533244"/>
                    <a:gd name="connsiteX1091" fmla="*/ 485062 w 590377"/>
                    <a:gd name="connsiteY1091" fmla="*/ 197566 h 533244"/>
                    <a:gd name="connsiteX1092" fmla="*/ 484831 w 590377"/>
                    <a:gd name="connsiteY1092" fmla="*/ 197189 h 533244"/>
                    <a:gd name="connsiteX1093" fmla="*/ 481225 w 590377"/>
                    <a:gd name="connsiteY1093" fmla="*/ 191433 h 533244"/>
                    <a:gd name="connsiteX1094" fmla="*/ 481188 w 590377"/>
                    <a:gd name="connsiteY1094" fmla="*/ 191470 h 533244"/>
                    <a:gd name="connsiteX1095" fmla="*/ 478517 w 590377"/>
                    <a:gd name="connsiteY1095" fmla="*/ 187256 h 533244"/>
                    <a:gd name="connsiteX1096" fmla="*/ 476647 w 590377"/>
                    <a:gd name="connsiteY1096" fmla="*/ 184293 h 533244"/>
                    <a:gd name="connsiteX1097" fmla="*/ 475894 w 590377"/>
                    <a:gd name="connsiteY1097" fmla="*/ 182630 h 533244"/>
                    <a:gd name="connsiteX1098" fmla="*/ 475177 w 590377"/>
                    <a:gd name="connsiteY1098" fmla="*/ 181233 h 533244"/>
                    <a:gd name="connsiteX1099" fmla="*/ 473720 w 590377"/>
                    <a:gd name="connsiteY1099" fmla="*/ 180068 h 533244"/>
                    <a:gd name="connsiteX1100" fmla="*/ 469106 w 590377"/>
                    <a:gd name="connsiteY1100" fmla="*/ 176971 h 533244"/>
                    <a:gd name="connsiteX1101" fmla="*/ 468390 w 590377"/>
                    <a:gd name="connsiteY1101" fmla="*/ 176485 h 533244"/>
                    <a:gd name="connsiteX1102" fmla="*/ 467114 w 590377"/>
                    <a:gd name="connsiteY1102" fmla="*/ 174239 h 533244"/>
                    <a:gd name="connsiteX1103" fmla="*/ 466010 w 590377"/>
                    <a:gd name="connsiteY1103" fmla="*/ 172527 h 533244"/>
                    <a:gd name="connsiteX1104" fmla="*/ 463557 w 590377"/>
                    <a:gd name="connsiteY1104" fmla="*/ 169151 h 533244"/>
                    <a:gd name="connsiteX1105" fmla="*/ 459853 w 590377"/>
                    <a:gd name="connsiteY1105" fmla="*/ 164088 h 533244"/>
                    <a:gd name="connsiteX1106" fmla="*/ 459768 w 590377"/>
                    <a:gd name="connsiteY1106" fmla="*/ 164148 h 533244"/>
                    <a:gd name="connsiteX1107" fmla="*/ 456283 w 590377"/>
                    <a:gd name="connsiteY1107" fmla="*/ 159668 h 533244"/>
                    <a:gd name="connsiteX1108" fmla="*/ 451608 w 590377"/>
                    <a:gd name="connsiteY1108" fmla="*/ 153657 h 533244"/>
                    <a:gd name="connsiteX1109" fmla="*/ 450491 w 590377"/>
                    <a:gd name="connsiteY1109" fmla="*/ 155029 h 533244"/>
                    <a:gd name="connsiteX1110" fmla="*/ 449835 w 590377"/>
                    <a:gd name="connsiteY1110" fmla="*/ 154592 h 533244"/>
                    <a:gd name="connsiteX1111" fmla="*/ 447492 w 590377"/>
                    <a:gd name="connsiteY1111" fmla="*/ 153232 h 533244"/>
                    <a:gd name="connsiteX1112" fmla="*/ 444638 w 590377"/>
                    <a:gd name="connsiteY1112" fmla="*/ 151568 h 533244"/>
                    <a:gd name="connsiteX1113" fmla="*/ 441699 w 590377"/>
                    <a:gd name="connsiteY1113" fmla="*/ 153062 h 533244"/>
                    <a:gd name="connsiteX1114" fmla="*/ 438870 w 590377"/>
                    <a:gd name="connsiteY1114" fmla="*/ 154495 h 533244"/>
                    <a:gd name="connsiteX1115" fmla="*/ 435409 w 590377"/>
                    <a:gd name="connsiteY1115" fmla="*/ 156255 h 533244"/>
                    <a:gd name="connsiteX1116" fmla="*/ 434681 w 590377"/>
                    <a:gd name="connsiteY1116" fmla="*/ 156413 h 533244"/>
                    <a:gd name="connsiteX1117" fmla="*/ 430625 w 590377"/>
                    <a:gd name="connsiteY1117" fmla="*/ 157506 h 533244"/>
                    <a:gd name="connsiteX1118" fmla="*/ 430249 w 590377"/>
                    <a:gd name="connsiteY1118" fmla="*/ 157518 h 533244"/>
                    <a:gd name="connsiteX1119" fmla="*/ 426156 w 590377"/>
                    <a:gd name="connsiteY1119" fmla="*/ 157700 h 533244"/>
                    <a:gd name="connsiteX1120" fmla="*/ 425731 w 590377"/>
                    <a:gd name="connsiteY1120" fmla="*/ 157603 h 533244"/>
                    <a:gd name="connsiteX1121" fmla="*/ 421408 w 590377"/>
                    <a:gd name="connsiteY1121" fmla="*/ 156838 h 533244"/>
                    <a:gd name="connsiteX1122" fmla="*/ 417632 w 590377"/>
                    <a:gd name="connsiteY1122" fmla="*/ 154907 h 533244"/>
                    <a:gd name="connsiteX1123" fmla="*/ 413273 w 590377"/>
                    <a:gd name="connsiteY1123" fmla="*/ 151180 h 533244"/>
                    <a:gd name="connsiteX1124" fmla="*/ 410528 w 590377"/>
                    <a:gd name="connsiteY1124" fmla="*/ 148848 h 533244"/>
                    <a:gd name="connsiteX1125" fmla="*/ 409096 w 590377"/>
                    <a:gd name="connsiteY1125" fmla="*/ 147379 h 533244"/>
                    <a:gd name="connsiteX1126" fmla="*/ 407893 w 590377"/>
                    <a:gd name="connsiteY1126" fmla="*/ 146262 h 533244"/>
                    <a:gd name="connsiteX1127" fmla="*/ 405805 w 590377"/>
                    <a:gd name="connsiteY1127" fmla="*/ 143663 h 533244"/>
                    <a:gd name="connsiteX1128" fmla="*/ 405598 w 590377"/>
                    <a:gd name="connsiteY1128" fmla="*/ 143408 h 533244"/>
                    <a:gd name="connsiteX1129" fmla="*/ 405683 w 590377"/>
                    <a:gd name="connsiteY1129" fmla="*/ 143323 h 533244"/>
                    <a:gd name="connsiteX1130" fmla="*/ 404421 w 590377"/>
                    <a:gd name="connsiteY1130" fmla="*/ 141963 h 533244"/>
                    <a:gd name="connsiteX1131" fmla="*/ 402186 w 590377"/>
                    <a:gd name="connsiteY1131" fmla="*/ 139182 h 533244"/>
                    <a:gd name="connsiteX1132" fmla="*/ 401980 w 590377"/>
                    <a:gd name="connsiteY1132" fmla="*/ 139328 h 533244"/>
                    <a:gd name="connsiteX1133" fmla="*/ 401397 w 590377"/>
                    <a:gd name="connsiteY1133" fmla="*/ 138697 h 533244"/>
                    <a:gd name="connsiteX1134" fmla="*/ 398689 w 590377"/>
                    <a:gd name="connsiteY1134" fmla="*/ 136074 h 533244"/>
                    <a:gd name="connsiteX1135" fmla="*/ 398228 w 590377"/>
                    <a:gd name="connsiteY1135" fmla="*/ 135394 h 533244"/>
                    <a:gd name="connsiteX1136" fmla="*/ 394573 w 590377"/>
                    <a:gd name="connsiteY1136" fmla="*/ 129917 h 533244"/>
                    <a:gd name="connsiteX1137" fmla="*/ 394560 w 590377"/>
                    <a:gd name="connsiteY1137" fmla="*/ 129917 h 533244"/>
                    <a:gd name="connsiteX1138" fmla="*/ 394390 w 590377"/>
                    <a:gd name="connsiteY1138" fmla="*/ 129662 h 533244"/>
                    <a:gd name="connsiteX1139" fmla="*/ 393407 w 590377"/>
                    <a:gd name="connsiteY1139" fmla="*/ 126627 h 533244"/>
                    <a:gd name="connsiteX1140" fmla="*/ 392897 w 590377"/>
                    <a:gd name="connsiteY1140" fmla="*/ 125097 h 533244"/>
                    <a:gd name="connsiteX1141" fmla="*/ 394038 w 590377"/>
                    <a:gd name="connsiteY1141" fmla="*/ 124234 h 533244"/>
                    <a:gd name="connsiteX1142" fmla="*/ 390614 w 590377"/>
                    <a:gd name="connsiteY1142" fmla="*/ 119207 h 533244"/>
                    <a:gd name="connsiteX1143" fmla="*/ 387105 w 590377"/>
                    <a:gd name="connsiteY1143" fmla="*/ 114569 h 533244"/>
                    <a:gd name="connsiteX1144" fmla="*/ 386036 w 590377"/>
                    <a:gd name="connsiteY1144" fmla="*/ 113148 h 533244"/>
                    <a:gd name="connsiteX1145" fmla="*/ 386073 w 590377"/>
                    <a:gd name="connsiteY1145" fmla="*/ 113099 h 533244"/>
                    <a:gd name="connsiteX1146" fmla="*/ 385915 w 590377"/>
                    <a:gd name="connsiteY1146" fmla="*/ 112990 h 533244"/>
                    <a:gd name="connsiteX1147" fmla="*/ 383486 w 590377"/>
                    <a:gd name="connsiteY1147" fmla="*/ 109772 h 533244"/>
                    <a:gd name="connsiteX1148" fmla="*/ 382418 w 590377"/>
                    <a:gd name="connsiteY1148" fmla="*/ 110574 h 533244"/>
                    <a:gd name="connsiteX1149" fmla="*/ 380888 w 590377"/>
                    <a:gd name="connsiteY1149" fmla="*/ 109517 h 533244"/>
                    <a:gd name="connsiteX1150" fmla="*/ 379297 w 590377"/>
                    <a:gd name="connsiteY1150" fmla="*/ 108534 h 533244"/>
                    <a:gd name="connsiteX1151" fmla="*/ 379030 w 590377"/>
                    <a:gd name="connsiteY1151" fmla="*/ 108364 h 533244"/>
                    <a:gd name="connsiteX1152" fmla="*/ 378738 w 590377"/>
                    <a:gd name="connsiteY1152" fmla="*/ 108218 h 533244"/>
                    <a:gd name="connsiteX1153" fmla="*/ 373869 w 590377"/>
                    <a:gd name="connsiteY1153" fmla="*/ 105874 h 533244"/>
                    <a:gd name="connsiteX1154" fmla="*/ 372642 w 590377"/>
                    <a:gd name="connsiteY1154" fmla="*/ 107574 h 533244"/>
                    <a:gd name="connsiteX1155" fmla="*/ 368587 w 590377"/>
                    <a:gd name="connsiteY1155" fmla="*/ 106615 h 533244"/>
                    <a:gd name="connsiteX1156" fmla="*/ 368307 w 590377"/>
                    <a:gd name="connsiteY1156" fmla="*/ 106494 h 533244"/>
                    <a:gd name="connsiteX1157" fmla="*/ 365794 w 590377"/>
                    <a:gd name="connsiteY1157" fmla="*/ 105073 h 533244"/>
                    <a:gd name="connsiteX1158" fmla="*/ 364665 w 590377"/>
                    <a:gd name="connsiteY1158" fmla="*/ 104429 h 533244"/>
                    <a:gd name="connsiteX1159" fmla="*/ 363377 w 590377"/>
                    <a:gd name="connsiteY1159" fmla="*/ 104308 h 533244"/>
                    <a:gd name="connsiteX1160" fmla="*/ 362248 w 590377"/>
                    <a:gd name="connsiteY1160" fmla="*/ 104199 h 533244"/>
                    <a:gd name="connsiteX1161" fmla="*/ 360682 w 590377"/>
                    <a:gd name="connsiteY1161" fmla="*/ 104053 h 533244"/>
                    <a:gd name="connsiteX1162" fmla="*/ 358654 w 590377"/>
                    <a:gd name="connsiteY1162" fmla="*/ 103130 h 533244"/>
                    <a:gd name="connsiteX1163" fmla="*/ 355849 w 590377"/>
                    <a:gd name="connsiteY1163" fmla="*/ 100471 h 533244"/>
                    <a:gd name="connsiteX1164" fmla="*/ 351077 w 590377"/>
                    <a:gd name="connsiteY1164" fmla="*/ 95941 h 533244"/>
                    <a:gd name="connsiteX1165" fmla="*/ 350919 w 590377"/>
                    <a:gd name="connsiteY1165" fmla="*/ 96136 h 533244"/>
                    <a:gd name="connsiteX1166" fmla="*/ 348575 w 590377"/>
                    <a:gd name="connsiteY1166" fmla="*/ 94181 h 533244"/>
                    <a:gd name="connsiteX1167" fmla="*/ 347592 w 590377"/>
                    <a:gd name="connsiteY1167" fmla="*/ 93027 h 533244"/>
                    <a:gd name="connsiteX1168" fmla="*/ 344228 w 590377"/>
                    <a:gd name="connsiteY1168" fmla="*/ 89044 h 533244"/>
                    <a:gd name="connsiteX1169" fmla="*/ 343779 w 590377"/>
                    <a:gd name="connsiteY1169" fmla="*/ 88473 h 533244"/>
                    <a:gd name="connsiteX1170" fmla="*/ 339784 w 590377"/>
                    <a:gd name="connsiteY1170" fmla="*/ 84029 h 533244"/>
                    <a:gd name="connsiteX1171" fmla="*/ 335837 w 590377"/>
                    <a:gd name="connsiteY1171" fmla="*/ 79646 h 533244"/>
                    <a:gd name="connsiteX1172" fmla="*/ 335704 w 590377"/>
                    <a:gd name="connsiteY1172" fmla="*/ 79767 h 533244"/>
                    <a:gd name="connsiteX1173" fmla="*/ 333481 w 590377"/>
                    <a:gd name="connsiteY1173" fmla="*/ 76646 h 533244"/>
                    <a:gd name="connsiteX1174" fmla="*/ 332996 w 590377"/>
                    <a:gd name="connsiteY1174" fmla="*/ 75954 h 533244"/>
                    <a:gd name="connsiteX1175" fmla="*/ 332328 w 590377"/>
                    <a:gd name="connsiteY1175" fmla="*/ 75420 h 533244"/>
                    <a:gd name="connsiteX1176" fmla="*/ 331648 w 590377"/>
                    <a:gd name="connsiteY1176" fmla="*/ 74885 h 533244"/>
                    <a:gd name="connsiteX1177" fmla="*/ 331721 w 590377"/>
                    <a:gd name="connsiteY1177" fmla="*/ 74582 h 533244"/>
                    <a:gd name="connsiteX1178" fmla="*/ 332364 w 590377"/>
                    <a:gd name="connsiteY1178" fmla="*/ 71862 h 533244"/>
                    <a:gd name="connsiteX1179" fmla="*/ 330725 w 590377"/>
                    <a:gd name="connsiteY1179" fmla="*/ 69603 h 533244"/>
                    <a:gd name="connsiteX1180" fmla="*/ 330434 w 590377"/>
                    <a:gd name="connsiteY1180" fmla="*/ 69203 h 533244"/>
                    <a:gd name="connsiteX1181" fmla="*/ 330373 w 590377"/>
                    <a:gd name="connsiteY1181" fmla="*/ 68814 h 533244"/>
                    <a:gd name="connsiteX1182" fmla="*/ 330264 w 590377"/>
                    <a:gd name="connsiteY1182" fmla="*/ 68085 h 533244"/>
                    <a:gd name="connsiteX1183" fmla="*/ 329972 w 590377"/>
                    <a:gd name="connsiteY1183" fmla="*/ 67405 h 533244"/>
                    <a:gd name="connsiteX1184" fmla="*/ 329365 w 590377"/>
                    <a:gd name="connsiteY1184" fmla="*/ 65960 h 533244"/>
                    <a:gd name="connsiteX1185" fmla="*/ 329499 w 590377"/>
                    <a:gd name="connsiteY1185" fmla="*/ 65863 h 533244"/>
                    <a:gd name="connsiteX1186" fmla="*/ 334259 w 590377"/>
                    <a:gd name="connsiteY1186" fmla="*/ 67065 h 533244"/>
                    <a:gd name="connsiteX1187" fmla="*/ 329839 w 590377"/>
                    <a:gd name="connsiteY1187" fmla="*/ 56015 h 533244"/>
                    <a:gd name="connsiteX1188" fmla="*/ 328782 w 590377"/>
                    <a:gd name="connsiteY1188" fmla="*/ 52858 h 533244"/>
                    <a:gd name="connsiteX1189" fmla="*/ 325467 w 590377"/>
                    <a:gd name="connsiteY1189" fmla="*/ 51741 h 533244"/>
                    <a:gd name="connsiteX1190" fmla="*/ 303367 w 590377"/>
                    <a:gd name="connsiteY1190" fmla="*/ 46167 h 533244"/>
                    <a:gd name="connsiteX1191" fmla="*/ 296615 w 590377"/>
                    <a:gd name="connsiteY1191" fmla="*/ 43083 h 533244"/>
                    <a:gd name="connsiteX1192" fmla="*/ 290168 w 590377"/>
                    <a:gd name="connsiteY1192" fmla="*/ 38590 h 533244"/>
                    <a:gd name="connsiteX1193" fmla="*/ 287921 w 590377"/>
                    <a:gd name="connsiteY1193" fmla="*/ 36247 h 533244"/>
                    <a:gd name="connsiteX1194" fmla="*/ 285432 w 590377"/>
                    <a:gd name="connsiteY1194" fmla="*/ 32652 h 533244"/>
                    <a:gd name="connsiteX1195" fmla="*/ 284703 w 590377"/>
                    <a:gd name="connsiteY1195" fmla="*/ 31608 h 533244"/>
                    <a:gd name="connsiteX1196" fmla="*/ 283623 w 590377"/>
                    <a:gd name="connsiteY1196" fmla="*/ 30940 h 533244"/>
                    <a:gd name="connsiteX1197" fmla="*/ 281340 w 590377"/>
                    <a:gd name="connsiteY1197" fmla="*/ 29532 h 533244"/>
                    <a:gd name="connsiteX1198" fmla="*/ 279166 w 590377"/>
                    <a:gd name="connsiteY1198" fmla="*/ 28184 h 533244"/>
                    <a:gd name="connsiteX1199" fmla="*/ 277733 w 590377"/>
                    <a:gd name="connsiteY1199" fmla="*/ 27309 h 533244"/>
                    <a:gd name="connsiteX1200" fmla="*/ 276058 w 590377"/>
                    <a:gd name="connsiteY1200" fmla="*/ 27285 h 533244"/>
                    <a:gd name="connsiteX1201" fmla="*/ 269160 w 590377"/>
                    <a:gd name="connsiteY1201" fmla="*/ 27200 h 533244"/>
                    <a:gd name="connsiteX1202" fmla="*/ 268517 w 590377"/>
                    <a:gd name="connsiteY1202" fmla="*/ 27200 h 533244"/>
                    <a:gd name="connsiteX1203" fmla="*/ 267885 w 590377"/>
                    <a:gd name="connsiteY1203" fmla="*/ 27322 h 533244"/>
                    <a:gd name="connsiteX1204" fmla="*/ 256107 w 590377"/>
                    <a:gd name="connsiteY1204" fmla="*/ 29702 h 533244"/>
                    <a:gd name="connsiteX1205" fmla="*/ 239811 w 590377"/>
                    <a:gd name="connsiteY1205" fmla="*/ 30467 h 533244"/>
                    <a:gd name="connsiteX1206" fmla="*/ 174737 w 590377"/>
                    <a:gd name="connsiteY1206" fmla="*/ 18275 h 533244"/>
                    <a:gd name="connsiteX1207" fmla="*/ 127719 w 590377"/>
                    <a:gd name="connsiteY1207" fmla="*/ 2259 h 533244"/>
                    <a:gd name="connsiteX1208" fmla="*/ 127234 w 590377"/>
                    <a:gd name="connsiteY1208" fmla="*/ 2089 h 533244"/>
                    <a:gd name="connsiteX1209" fmla="*/ 126724 w 590377"/>
                    <a:gd name="connsiteY1209" fmla="*/ 2004 h 533244"/>
                    <a:gd name="connsiteX1210" fmla="*/ 114872 w 590377"/>
                    <a:gd name="connsiteY1210" fmla="*/ 109 h 533244"/>
                    <a:gd name="connsiteX1211" fmla="*/ 114107 w 590377"/>
                    <a:gd name="connsiteY1211" fmla="*/ 0 h 533244"/>
                    <a:gd name="connsiteX1212" fmla="*/ 114107 w 590377"/>
                    <a:gd name="connsiteY1212" fmla="*/ 0 h 533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Lst>
                  <a:rect l="l" t="t" r="r" b="b"/>
                  <a:pathLst>
                    <a:path w="590377" h="533244">
                      <a:moveTo>
                        <a:pt x="113876" y="6120"/>
                      </a:moveTo>
                      <a:lnTo>
                        <a:pt x="125716" y="8014"/>
                      </a:lnTo>
                      <a:lnTo>
                        <a:pt x="173146" y="24177"/>
                      </a:lnTo>
                      <a:lnTo>
                        <a:pt x="239349" y="36575"/>
                      </a:lnTo>
                      <a:lnTo>
                        <a:pt x="256811" y="35749"/>
                      </a:lnTo>
                      <a:lnTo>
                        <a:pt x="269039" y="33284"/>
                      </a:lnTo>
                      <a:lnTo>
                        <a:pt x="275936" y="33369"/>
                      </a:lnTo>
                      <a:lnTo>
                        <a:pt x="278122" y="34717"/>
                      </a:lnTo>
                      <a:lnTo>
                        <a:pt x="280405" y="36125"/>
                      </a:lnTo>
                      <a:lnTo>
                        <a:pt x="283161" y="40108"/>
                      </a:lnTo>
                      <a:lnTo>
                        <a:pt x="286160" y="43241"/>
                      </a:lnTo>
                      <a:lnTo>
                        <a:pt x="293555" y="48390"/>
                      </a:lnTo>
                      <a:lnTo>
                        <a:pt x="301303" y="51935"/>
                      </a:lnTo>
                      <a:lnTo>
                        <a:pt x="323937" y="57643"/>
                      </a:lnTo>
                      <a:cubicBezTo>
                        <a:pt x="324010" y="57861"/>
                        <a:pt x="324071" y="58080"/>
                        <a:pt x="324156" y="58286"/>
                      </a:cubicBezTo>
                      <a:lnTo>
                        <a:pt x="322225" y="57800"/>
                      </a:lnTo>
                      <a:lnTo>
                        <a:pt x="322286" y="57521"/>
                      </a:lnTo>
                      <a:lnTo>
                        <a:pt x="318145" y="56477"/>
                      </a:lnTo>
                      <a:lnTo>
                        <a:pt x="318789" y="58942"/>
                      </a:lnTo>
                      <a:lnTo>
                        <a:pt x="319080" y="58857"/>
                      </a:lnTo>
                      <a:lnTo>
                        <a:pt x="319857" y="61237"/>
                      </a:lnTo>
                      <a:lnTo>
                        <a:pt x="321290" y="64018"/>
                      </a:lnTo>
                      <a:lnTo>
                        <a:pt x="321436" y="64224"/>
                      </a:lnTo>
                      <a:lnTo>
                        <a:pt x="321193" y="64406"/>
                      </a:lnTo>
                      <a:lnTo>
                        <a:pt x="322747" y="66725"/>
                      </a:lnTo>
                      <a:lnTo>
                        <a:pt x="323901" y="69506"/>
                      </a:lnTo>
                      <a:lnTo>
                        <a:pt x="324180" y="69409"/>
                      </a:lnTo>
                      <a:lnTo>
                        <a:pt x="324338" y="69785"/>
                      </a:lnTo>
                      <a:lnTo>
                        <a:pt x="324629" y="71607"/>
                      </a:lnTo>
                      <a:lnTo>
                        <a:pt x="325771" y="73185"/>
                      </a:lnTo>
                      <a:lnTo>
                        <a:pt x="325382" y="74825"/>
                      </a:lnTo>
                      <a:lnTo>
                        <a:pt x="325103" y="74764"/>
                      </a:lnTo>
                      <a:lnTo>
                        <a:pt x="324532" y="77181"/>
                      </a:lnTo>
                      <a:lnTo>
                        <a:pt x="324471" y="77351"/>
                      </a:lnTo>
                      <a:lnTo>
                        <a:pt x="327289" y="79585"/>
                      </a:lnTo>
                      <a:lnTo>
                        <a:pt x="327459" y="79366"/>
                      </a:lnTo>
                      <a:lnTo>
                        <a:pt x="328479" y="80180"/>
                      </a:lnTo>
                      <a:lnTo>
                        <a:pt x="331114" y="83908"/>
                      </a:lnTo>
                      <a:lnTo>
                        <a:pt x="330895" y="84066"/>
                      </a:lnTo>
                      <a:lnTo>
                        <a:pt x="331478" y="84928"/>
                      </a:lnTo>
                      <a:lnTo>
                        <a:pt x="334574" y="87866"/>
                      </a:lnTo>
                      <a:lnTo>
                        <a:pt x="334975" y="88316"/>
                      </a:lnTo>
                      <a:lnTo>
                        <a:pt x="335206" y="88121"/>
                      </a:lnTo>
                      <a:lnTo>
                        <a:pt x="339201" y="92566"/>
                      </a:lnTo>
                      <a:lnTo>
                        <a:pt x="339055" y="92857"/>
                      </a:lnTo>
                      <a:lnTo>
                        <a:pt x="342674" y="97192"/>
                      </a:lnTo>
                      <a:lnTo>
                        <a:pt x="342904" y="96986"/>
                      </a:lnTo>
                      <a:lnTo>
                        <a:pt x="344216" y="98540"/>
                      </a:lnTo>
                      <a:lnTo>
                        <a:pt x="347203" y="101029"/>
                      </a:lnTo>
                      <a:lnTo>
                        <a:pt x="347033" y="101236"/>
                      </a:lnTo>
                      <a:lnTo>
                        <a:pt x="349741" y="103482"/>
                      </a:lnTo>
                      <a:lnTo>
                        <a:pt x="351465" y="105085"/>
                      </a:lnTo>
                      <a:lnTo>
                        <a:pt x="351611" y="104903"/>
                      </a:lnTo>
                      <a:lnTo>
                        <a:pt x="355229" y="108327"/>
                      </a:lnTo>
                      <a:lnTo>
                        <a:pt x="356043" y="108655"/>
                      </a:lnTo>
                      <a:lnTo>
                        <a:pt x="355946" y="108898"/>
                      </a:lnTo>
                      <a:lnTo>
                        <a:pt x="359565" y="110367"/>
                      </a:lnTo>
                      <a:lnTo>
                        <a:pt x="361617" y="110537"/>
                      </a:lnTo>
                      <a:lnTo>
                        <a:pt x="361617" y="110258"/>
                      </a:lnTo>
                      <a:lnTo>
                        <a:pt x="362746" y="110367"/>
                      </a:lnTo>
                      <a:lnTo>
                        <a:pt x="365575" y="111970"/>
                      </a:lnTo>
                      <a:lnTo>
                        <a:pt x="366960" y="112541"/>
                      </a:lnTo>
                      <a:lnTo>
                        <a:pt x="366850" y="112808"/>
                      </a:lnTo>
                      <a:lnTo>
                        <a:pt x="369667" y="113925"/>
                      </a:lnTo>
                      <a:lnTo>
                        <a:pt x="372193" y="114010"/>
                      </a:lnTo>
                      <a:lnTo>
                        <a:pt x="372594" y="114107"/>
                      </a:lnTo>
                      <a:lnTo>
                        <a:pt x="372642" y="113828"/>
                      </a:lnTo>
                      <a:lnTo>
                        <a:pt x="375205" y="114435"/>
                      </a:lnTo>
                      <a:lnTo>
                        <a:pt x="375763" y="113549"/>
                      </a:lnTo>
                      <a:lnTo>
                        <a:pt x="376055" y="113694"/>
                      </a:lnTo>
                      <a:lnTo>
                        <a:pt x="377645" y="114678"/>
                      </a:lnTo>
                      <a:lnTo>
                        <a:pt x="377475" y="114933"/>
                      </a:lnTo>
                      <a:lnTo>
                        <a:pt x="380973" y="117058"/>
                      </a:lnTo>
                      <a:lnTo>
                        <a:pt x="382005" y="118406"/>
                      </a:lnTo>
                      <a:lnTo>
                        <a:pt x="382235" y="118236"/>
                      </a:lnTo>
                      <a:lnTo>
                        <a:pt x="385745" y="122874"/>
                      </a:lnTo>
                      <a:lnTo>
                        <a:pt x="385502" y="123057"/>
                      </a:lnTo>
                      <a:lnTo>
                        <a:pt x="387299" y="128606"/>
                      </a:lnTo>
                      <a:lnTo>
                        <a:pt x="387603" y="128509"/>
                      </a:lnTo>
                      <a:lnTo>
                        <a:pt x="388853" y="132358"/>
                      </a:lnTo>
                      <a:lnTo>
                        <a:pt x="389885" y="133876"/>
                      </a:lnTo>
                      <a:lnTo>
                        <a:pt x="389643" y="134058"/>
                      </a:lnTo>
                      <a:lnTo>
                        <a:pt x="392921" y="138940"/>
                      </a:lnTo>
                      <a:lnTo>
                        <a:pt x="393152" y="138757"/>
                      </a:lnTo>
                      <a:lnTo>
                        <a:pt x="393966" y="139972"/>
                      </a:lnTo>
                      <a:lnTo>
                        <a:pt x="397123" y="143044"/>
                      </a:lnTo>
                      <a:lnTo>
                        <a:pt x="396880" y="143275"/>
                      </a:lnTo>
                      <a:lnTo>
                        <a:pt x="398495" y="144792"/>
                      </a:lnTo>
                      <a:lnTo>
                        <a:pt x="400790" y="147634"/>
                      </a:lnTo>
                      <a:lnTo>
                        <a:pt x="401021" y="147464"/>
                      </a:lnTo>
                      <a:lnTo>
                        <a:pt x="403388" y="150415"/>
                      </a:lnTo>
                      <a:lnTo>
                        <a:pt x="404906" y="151823"/>
                      </a:lnTo>
                      <a:lnTo>
                        <a:pt x="404748" y="152030"/>
                      </a:lnTo>
                      <a:lnTo>
                        <a:pt x="408076" y="155162"/>
                      </a:lnTo>
                      <a:lnTo>
                        <a:pt x="409120" y="156025"/>
                      </a:lnTo>
                      <a:lnTo>
                        <a:pt x="409278" y="155794"/>
                      </a:lnTo>
                      <a:lnTo>
                        <a:pt x="413722" y="159583"/>
                      </a:lnTo>
                      <a:lnTo>
                        <a:pt x="413540" y="159838"/>
                      </a:lnTo>
                      <a:lnTo>
                        <a:pt x="418810" y="162655"/>
                      </a:lnTo>
                      <a:lnTo>
                        <a:pt x="418919" y="162400"/>
                      </a:lnTo>
                      <a:lnTo>
                        <a:pt x="419393" y="162643"/>
                      </a:lnTo>
                      <a:lnTo>
                        <a:pt x="424614" y="163578"/>
                      </a:lnTo>
                      <a:lnTo>
                        <a:pt x="424554" y="163881"/>
                      </a:lnTo>
                      <a:lnTo>
                        <a:pt x="425646" y="164051"/>
                      </a:lnTo>
                      <a:lnTo>
                        <a:pt x="430467" y="163857"/>
                      </a:lnTo>
                      <a:lnTo>
                        <a:pt x="430467" y="163578"/>
                      </a:lnTo>
                      <a:lnTo>
                        <a:pt x="431511" y="163529"/>
                      </a:lnTo>
                      <a:lnTo>
                        <a:pt x="436211" y="162266"/>
                      </a:lnTo>
                      <a:lnTo>
                        <a:pt x="436272" y="162558"/>
                      </a:lnTo>
                      <a:lnTo>
                        <a:pt x="437765" y="162133"/>
                      </a:lnTo>
                      <a:lnTo>
                        <a:pt x="441663" y="160153"/>
                      </a:lnTo>
                      <a:lnTo>
                        <a:pt x="441554" y="159910"/>
                      </a:lnTo>
                      <a:lnTo>
                        <a:pt x="444383" y="158478"/>
                      </a:lnTo>
                      <a:lnTo>
                        <a:pt x="446727" y="159838"/>
                      </a:lnTo>
                      <a:lnTo>
                        <a:pt x="446605" y="160129"/>
                      </a:lnTo>
                      <a:lnTo>
                        <a:pt x="451256" y="163626"/>
                      </a:lnTo>
                      <a:lnTo>
                        <a:pt x="451438" y="163383"/>
                      </a:lnTo>
                      <a:lnTo>
                        <a:pt x="451438" y="163395"/>
                      </a:lnTo>
                      <a:lnTo>
                        <a:pt x="455057" y="168046"/>
                      </a:lnTo>
                      <a:lnTo>
                        <a:pt x="454814" y="168216"/>
                      </a:lnTo>
                      <a:lnTo>
                        <a:pt x="458384" y="172903"/>
                      </a:lnTo>
                      <a:lnTo>
                        <a:pt x="458602" y="172733"/>
                      </a:lnTo>
                      <a:lnTo>
                        <a:pt x="460861" y="175818"/>
                      </a:lnTo>
                      <a:lnTo>
                        <a:pt x="461966" y="177530"/>
                      </a:lnTo>
                      <a:lnTo>
                        <a:pt x="461711" y="177724"/>
                      </a:lnTo>
                      <a:lnTo>
                        <a:pt x="464054" y="181306"/>
                      </a:lnTo>
                      <a:lnTo>
                        <a:pt x="465500" y="182253"/>
                      </a:lnTo>
                      <a:lnTo>
                        <a:pt x="465670" y="181998"/>
                      </a:lnTo>
                      <a:lnTo>
                        <a:pt x="470284" y="185095"/>
                      </a:lnTo>
                      <a:lnTo>
                        <a:pt x="470430" y="185386"/>
                      </a:lnTo>
                      <a:lnTo>
                        <a:pt x="470211" y="185532"/>
                      </a:lnTo>
                      <a:lnTo>
                        <a:pt x="472858" y="190268"/>
                      </a:lnTo>
                      <a:lnTo>
                        <a:pt x="473077" y="190644"/>
                      </a:lnTo>
                      <a:lnTo>
                        <a:pt x="473332" y="190486"/>
                      </a:lnTo>
                      <a:lnTo>
                        <a:pt x="476477" y="195453"/>
                      </a:lnTo>
                      <a:lnTo>
                        <a:pt x="476234" y="195647"/>
                      </a:lnTo>
                      <a:lnTo>
                        <a:pt x="479403" y="200577"/>
                      </a:lnTo>
                      <a:lnTo>
                        <a:pt x="479634" y="200395"/>
                      </a:lnTo>
                      <a:lnTo>
                        <a:pt x="479986" y="200953"/>
                      </a:lnTo>
                      <a:lnTo>
                        <a:pt x="482925" y="205289"/>
                      </a:lnTo>
                      <a:lnTo>
                        <a:pt x="482670" y="205495"/>
                      </a:lnTo>
                      <a:lnTo>
                        <a:pt x="484855" y="210316"/>
                      </a:lnTo>
                      <a:lnTo>
                        <a:pt x="485256" y="210741"/>
                      </a:lnTo>
                      <a:lnTo>
                        <a:pt x="485499" y="210534"/>
                      </a:lnTo>
                      <a:lnTo>
                        <a:pt x="489348" y="214590"/>
                      </a:lnTo>
                      <a:lnTo>
                        <a:pt x="489421" y="214869"/>
                      </a:lnTo>
                      <a:lnTo>
                        <a:pt x="489105" y="214954"/>
                      </a:lnTo>
                      <a:lnTo>
                        <a:pt x="490417" y="219933"/>
                      </a:lnTo>
                      <a:lnTo>
                        <a:pt x="490478" y="220613"/>
                      </a:lnTo>
                      <a:lnTo>
                        <a:pt x="490805" y="220576"/>
                      </a:lnTo>
                      <a:lnTo>
                        <a:pt x="491073" y="222689"/>
                      </a:lnTo>
                      <a:lnTo>
                        <a:pt x="490830" y="226442"/>
                      </a:lnTo>
                      <a:lnTo>
                        <a:pt x="490538" y="226417"/>
                      </a:lnTo>
                      <a:lnTo>
                        <a:pt x="489555" y="232185"/>
                      </a:lnTo>
                      <a:lnTo>
                        <a:pt x="489834" y="232246"/>
                      </a:lnTo>
                      <a:lnTo>
                        <a:pt x="489579" y="233642"/>
                      </a:lnTo>
                      <a:lnTo>
                        <a:pt x="488170" y="237868"/>
                      </a:lnTo>
                      <a:lnTo>
                        <a:pt x="487891" y="237783"/>
                      </a:lnTo>
                      <a:lnTo>
                        <a:pt x="487260" y="239653"/>
                      </a:lnTo>
                      <a:lnTo>
                        <a:pt x="486398" y="243502"/>
                      </a:lnTo>
                      <a:lnTo>
                        <a:pt x="486713" y="243563"/>
                      </a:lnTo>
                      <a:lnTo>
                        <a:pt x="486070" y="246514"/>
                      </a:lnTo>
                      <a:lnTo>
                        <a:pt x="485778" y="249355"/>
                      </a:lnTo>
                      <a:lnTo>
                        <a:pt x="485487" y="249331"/>
                      </a:lnTo>
                      <a:lnTo>
                        <a:pt x="485305" y="251031"/>
                      </a:lnTo>
                      <a:lnTo>
                        <a:pt x="485305" y="251225"/>
                      </a:lnTo>
                      <a:lnTo>
                        <a:pt x="488753" y="252597"/>
                      </a:lnTo>
                      <a:lnTo>
                        <a:pt x="489555" y="252233"/>
                      </a:lnTo>
                      <a:lnTo>
                        <a:pt x="489445" y="251978"/>
                      </a:lnTo>
                      <a:lnTo>
                        <a:pt x="492505" y="250557"/>
                      </a:lnTo>
                      <a:lnTo>
                        <a:pt x="494898" y="249853"/>
                      </a:lnTo>
                      <a:lnTo>
                        <a:pt x="494958" y="250132"/>
                      </a:lnTo>
                      <a:lnTo>
                        <a:pt x="497144" y="249501"/>
                      </a:lnTo>
                      <a:lnTo>
                        <a:pt x="500240" y="247437"/>
                      </a:lnTo>
                      <a:lnTo>
                        <a:pt x="500058" y="247157"/>
                      </a:lnTo>
                      <a:lnTo>
                        <a:pt x="500423" y="246914"/>
                      </a:lnTo>
                      <a:lnTo>
                        <a:pt x="503240" y="243818"/>
                      </a:lnTo>
                      <a:lnTo>
                        <a:pt x="504478" y="243964"/>
                      </a:lnTo>
                      <a:lnTo>
                        <a:pt x="504430" y="244243"/>
                      </a:lnTo>
                      <a:lnTo>
                        <a:pt x="507356" y="244559"/>
                      </a:lnTo>
                      <a:lnTo>
                        <a:pt x="509202" y="246574"/>
                      </a:lnTo>
                      <a:lnTo>
                        <a:pt x="509433" y="246356"/>
                      </a:lnTo>
                      <a:lnTo>
                        <a:pt x="512602" y="249805"/>
                      </a:lnTo>
                      <a:lnTo>
                        <a:pt x="513355" y="250788"/>
                      </a:lnTo>
                      <a:lnTo>
                        <a:pt x="513100" y="250970"/>
                      </a:lnTo>
                      <a:lnTo>
                        <a:pt x="515407" y="253921"/>
                      </a:lnTo>
                      <a:lnTo>
                        <a:pt x="516536" y="255706"/>
                      </a:lnTo>
                      <a:lnTo>
                        <a:pt x="516803" y="255512"/>
                      </a:lnTo>
                      <a:lnTo>
                        <a:pt x="517775" y="256993"/>
                      </a:lnTo>
                      <a:lnTo>
                        <a:pt x="521029" y="258790"/>
                      </a:lnTo>
                      <a:lnTo>
                        <a:pt x="521430" y="258730"/>
                      </a:lnTo>
                      <a:lnTo>
                        <a:pt x="521491" y="258997"/>
                      </a:lnTo>
                      <a:lnTo>
                        <a:pt x="524636" y="258402"/>
                      </a:lnTo>
                      <a:lnTo>
                        <a:pt x="527161" y="257685"/>
                      </a:lnTo>
                      <a:lnTo>
                        <a:pt x="527113" y="257406"/>
                      </a:lnTo>
                      <a:lnTo>
                        <a:pt x="529481" y="256762"/>
                      </a:lnTo>
                      <a:lnTo>
                        <a:pt x="529590" y="256932"/>
                      </a:lnTo>
                      <a:lnTo>
                        <a:pt x="531533" y="259555"/>
                      </a:lnTo>
                      <a:lnTo>
                        <a:pt x="531302" y="259713"/>
                      </a:lnTo>
                      <a:lnTo>
                        <a:pt x="533257" y="262421"/>
                      </a:lnTo>
                      <a:lnTo>
                        <a:pt x="534981" y="264340"/>
                      </a:lnTo>
                      <a:lnTo>
                        <a:pt x="535200" y="264145"/>
                      </a:lnTo>
                      <a:lnTo>
                        <a:pt x="538041" y="267363"/>
                      </a:lnTo>
                      <a:lnTo>
                        <a:pt x="539402" y="268128"/>
                      </a:lnTo>
                      <a:lnTo>
                        <a:pt x="539219" y="268395"/>
                      </a:lnTo>
                      <a:lnTo>
                        <a:pt x="542389" y="270168"/>
                      </a:lnTo>
                      <a:lnTo>
                        <a:pt x="544222" y="271492"/>
                      </a:lnTo>
                      <a:lnTo>
                        <a:pt x="544392" y="271261"/>
                      </a:lnTo>
                      <a:lnTo>
                        <a:pt x="546590" y="272840"/>
                      </a:lnTo>
                      <a:lnTo>
                        <a:pt x="548084" y="275620"/>
                      </a:lnTo>
                      <a:lnTo>
                        <a:pt x="547792" y="275778"/>
                      </a:lnTo>
                      <a:lnTo>
                        <a:pt x="549055" y="277915"/>
                      </a:lnTo>
                      <a:lnTo>
                        <a:pt x="552212" y="279591"/>
                      </a:lnTo>
                      <a:lnTo>
                        <a:pt x="552334" y="279324"/>
                      </a:lnTo>
                      <a:lnTo>
                        <a:pt x="553196" y="279785"/>
                      </a:lnTo>
                      <a:lnTo>
                        <a:pt x="556062" y="280247"/>
                      </a:lnTo>
                      <a:lnTo>
                        <a:pt x="557944" y="280903"/>
                      </a:lnTo>
                      <a:lnTo>
                        <a:pt x="557834" y="281194"/>
                      </a:lnTo>
                      <a:lnTo>
                        <a:pt x="559037" y="281570"/>
                      </a:lnTo>
                      <a:lnTo>
                        <a:pt x="562777" y="284181"/>
                      </a:lnTo>
                      <a:lnTo>
                        <a:pt x="562947" y="283963"/>
                      </a:lnTo>
                      <a:lnTo>
                        <a:pt x="563238" y="284181"/>
                      </a:lnTo>
                      <a:lnTo>
                        <a:pt x="563190" y="284351"/>
                      </a:lnTo>
                      <a:lnTo>
                        <a:pt x="562449" y="287593"/>
                      </a:lnTo>
                      <a:lnTo>
                        <a:pt x="562789" y="289548"/>
                      </a:lnTo>
                      <a:lnTo>
                        <a:pt x="562473" y="289609"/>
                      </a:lnTo>
                      <a:lnTo>
                        <a:pt x="562947" y="292196"/>
                      </a:lnTo>
                      <a:lnTo>
                        <a:pt x="564210" y="295231"/>
                      </a:lnTo>
                      <a:lnTo>
                        <a:pt x="564525" y="295098"/>
                      </a:lnTo>
                      <a:lnTo>
                        <a:pt x="564744" y="295608"/>
                      </a:lnTo>
                      <a:lnTo>
                        <a:pt x="567148" y="298048"/>
                      </a:lnTo>
                      <a:lnTo>
                        <a:pt x="569042" y="298291"/>
                      </a:lnTo>
                      <a:lnTo>
                        <a:pt x="568970" y="298595"/>
                      </a:lnTo>
                      <a:lnTo>
                        <a:pt x="571143" y="298801"/>
                      </a:lnTo>
                      <a:lnTo>
                        <a:pt x="573620" y="301291"/>
                      </a:lnTo>
                      <a:lnTo>
                        <a:pt x="573875" y="301072"/>
                      </a:lnTo>
                      <a:lnTo>
                        <a:pt x="575357" y="302553"/>
                      </a:lnTo>
                      <a:lnTo>
                        <a:pt x="576790" y="305249"/>
                      </a:lnTo>
                      <a:lnTo>
                        <a:pt x="576705" y="306002"/>
                      </a:lnTo>
                      <a:lnTo>
                        <a:pt x="576437" y="305978"/>
                      </a:lnTo>
                      <a:lnTo>
                        <a:pt x="575976" y="309791"/>
                      </a:lnTo>
                      <a:lnTo>
                        <a:pt x="575976" y="311867"/>
                      </a:lnTo>
                      <a:lnTo>
                        <a:pt x="576279" y="311867"/>
                      </a:lnTo>
                      <a:lnTo>
                        <a:pt x="576279" y="312377"/>
                      </a:lnTo>
                      <a:lnTo>
                        <a:pt x="578162" y="314757"/>
                      </a:lnTo>
                      <a:lnTo>
                        <a:pt x="579303" y="316773"/>
                      </a:lnTo>
                      <a:lnTo>
                        <a:pt x="579085" y="316906"/>
                      </a:lnTo>
                      <a:lnTo>
                        <a:pt x="580056" y="318691"/>
                      </a:lnTo>
                      <a:lnTo>
                        <a:pt x="582400" y="320124"/>
                      </a:lnTo>
                      <a:lnTo>
                        <a:pt x="582642" y="320416"/>
                      </a:lnTo>
                      <a:lnTo>
                        <a:pt x="582460" y="320877"/>
                      </a:lnTo>
                      <a:lnTo>
                        <a:pt x="582776" y="320999"/>
                      </a:lnTo>
                      <a:lnTo>
                        <a:pt x="582363" y="322249"/>
                      </a:lnTo>
                      <a:lnTo>
                        <a:pt x="581453" y="322140"/>
                      </a:lnTo>
                      <a:lnTo>
                        <a:pt x="580238" y="321108"/>
                      </a:lnTo>
                      <a:lnTo>
                        <a:pt x="578927" y="319541"/>
                      </a:lnTo>
                      <a:lnTo>
                        <a:pt x="579145" y="319359"/>
                      </a:lnTo>
                      <a:lnTo>
                        <a:pt x="577992" y="318096"/>
                      </a:lnTo>
                      <a:lnTo>
                        <a:pt x="576619" y="317720"/>
                      </a:lnTo>
                      <a:lnTo>
                        <a:pt x="573851" y="318036"/>
                      </a:lnTo>
                      <a:lnTo>
                        <a:pt x="573572" y="318181"/>
                      </a:lnTo>
                      <a:lnTo>
                        <a:pt x="573669" y="318424"/>
                      </a:lnTo>
                      <a:lnTo>
                        <a:pt x="573353" y="318570"/>
                      </a:lnTo>
                      <a:lnTo>
                        <a:pt x="572491" y="319323"/>
                      </a:lnTo>
                      <a:lnTo>
                        <a:pt x="573074" y="320294"/>
                      </a:lnTo>
                      <a:lnTo>
                        <a:pt x="573863" y="320986"/>
                      </a:lnTo>
                      <a:lnTo>
                        <a:pt x="573657" y="323148"/>
                      </a:lnTo>
                      <a:lnTo>
                        <a:pt x="573329" y="323124"/>
                      </a:lnTo>
                      <a:lnTo>
                        <a:pt x="573280" y="324326"/>
                      </a:lnTo>
                      <a:lnTo>
                        <a:pt x="572418" y="325528"/>
                      </a:lnTo>
                      <a:lnTo>
                        <a:pt x="571447" y="327592"/>
                      </a:lnTo>
                      <a:lnTo>
                        <a:pt x="570985" y="328199"/>
                      </a:lnTo>
                      <a:lnTo>
                        <a:pt x="571192" y="328357"/>
                      </a:lnTo>
                      <a:lnTo>
                        <a:pt x="570645" y="329025"/>
                      </a:lnTo>
                      <a:lnTo>
                        <a:pt x="570074" y="330458"/>
                      </a:lnTo>
                      <a:lnTo>
                        <a:pt x="568411" y="331551"/>
                      </a:lnTo>
                      <a:lnTo>
                        <a:pt x="567877" y="333020"/>
                      </a:lnTo>
                      <a:lnTo>
                        <a:pt x="567537" y="333020"/>
                      </a:lnTo>
                      <a:lnTo>
                        <a:pt x="567537" y="333299"/>
                      </a:lnTo>
                      <a:cubicBezTo>
                        <a:pt x="567889" y="334999"/>
                        <a:pt x="568047" y="336639"/>
                        <a:pt x="568107" y="338800"/>
                      </a:cubicBezTo>
                      <a:lnTo>
                        <a:pt x="568229" y="338800"/>
                      </a:lnTo>
                      <a:cubicBezTo>
                        <a:pt x="568253" y="339650"/>
                        <a:pt x="568423" y="340500"/>
                        <a:pt x="568423" y="341399"/>
                      </a:cubicBezTo>
                      <a:lnTo>
                        <a:pt x="568532" y="341472"/>
                      </a:lnTo>
                      <a:lnTo>
                        <a:pt x="570123" y="343269"/>
                      </a:lnTo>
                      <a:cubicBezTo>
                        <a:pt x="570111" y="343281"/>
                        <a:pt x="570087" y="343293"/>
                        <a:pt x="570062" y="343305"/>
                      </a:cubicBezTo>
                      <a:lnTo>
                        <a:pt x="567743" y="340682"/>
                      </a:lnTo>
                      <a:lnTo>
                        <a:pt x="565047" y="339055"/>
                      </a:lnTo>
                      <a:lnTo>
                        <a:pt x="562291" y="338436"/>
                      </a:lnTo>
                      <a:lnTo>
                        <a:pt x="540919" y="340172"/>
                      </a:lnTo>
                      <a:lnTo>
                        <a:pt x="538345" y="339189"/>
                      </a:lnTo>
                      <a:lnTo>
                        <a:pt x="528303" y="331320"/>
                      </a:lnTo>
                      <a:lnTo>
                        <a:pt x="525316" y="331004"/>
                      </a:lnTo>
                      <a:lnTo>
                        <a:pt x="519621" y="334307"/>
                      </a:lnTo>
                      <a:lnTo>
                        <a:pt x="497982" y="338387"/>
                      </a:lnTo>
                      <a:lnTo>
                        <a:pt x="489822" y="342091"/>
                      </a:lnTo>
                      <a:lnTo>
                        <a:pt x="478747" y="348842"/>
                      </a:lnTo>
                      <a:lnTo>
                        <a:pt x="476270" y="351222"/>
                      </a:lnTo>
                      <a:lnTo>
                        <a:pt x="475068" y="353262"/>
                      </a:lnTo>
                      <a:lnTo>
                        <a:pt x="475007" y="355387"/>
                      </a:lnTo>
                      <a:lnTo>
                        <a:pt x="474327" y="358144"/>
                      </a:lnTo>
                      <a:lnTo>
                        <a:pt x="472664" y="361690"/>
                      </a:lnTo>
                      <a:lnTo>
                        <a:pt x="468001" y="366522"/>
                      </a:lnTo>
                      <a:lnTo>
                        <a:pt x="464042" y="369109"/>
                      </a:lnTo>
                      <a:lnTo>
                        <a:pt x="460072" y="370736"/>
                      </a:lnTo>
                      <a:lnTo>
                        <a:pt x="452203" y="373043"/>
                      </a:lnTo>
                      <a:lnTo>
                        <a:pt x="442452" y="377087"/>
                      </a:lnTo>
                      <a:lnTo>
                        <a:pt x="438894" y="379649"/>
                      </a:lnTo>
                      <a:lnTo>
                        <a:pt x="437680" y="381228"/>
                      </a:lnTo>
                      <a:lnTo>
                        <a:pt x="433211" y="386218"/>
                      </a:lnTo>
                      <a:lnTo>
                        <a:pt x="418385" y="398446"/>
                      </a:lnTo>
                      <a:lnTo>
                        <a:pt x="415058" y="400462"/>
                      </a:lnTo>
                      <a:lnTo>
                        <a:pt x="412994" y="401142"/>
                      </a:lnTo>
                      <a:lnTo>
                        <a:pt x="411561" y="400061"/>
                      </a:lnTo>
                      <a:lnTo>
                        <a:pt x="408513" y="396503"/>
                      </a:lnTo>
                      <a:lnTo>
                        <a:pt x="406971" y="395325"/>
                      </a:lnTo>
                      <a:lnTo>
                        <a:pt x="405356" y="394694"/>
                      </a:lnTo>
                      <a:lnTo>
                        <a:pt x="403631" y="394318"/>
                      </a:lnTo>
                      <a:lnTo>
                        <a:pt x="399090" y="392363"/>
                      </a:lnTo>
                      <a:lnTo>
                        <a:pt x="397026" y="391938"/>
                      </a:lnTo>
                      <a:lnTo>
                        <a:pt x="394670" y="391913"/>
                      </a:lnTo>
                      <a:lnTo>
                        <a:pt x="390990" y="392763"/>
                      </a:lnTo>
                      <a:lnTo>
                        <a:pt x="388756" y="394087"/>
                      </a:lnTo>
                      <a:lnTo>
                        <a:pt x="387323" y="395811"/>
                      </a:lnTo>
                      <a:lnTo>
                        <a:pt x="386692" y="398252"/>
                      </a:lnTo>
                      <a:lnTo>
                        <a:pt x="386971" y="401045"/>
                      </a:lnTo>
                      <a:lnTo>
                        <a:pt x="388246" y="404020"/>
                      </a:lnTo>
                      <a:lnTo>
                        <a:pt x="390602" y="406922"/>
                      </a:lnTo>
                      <a:lnTo>
                        <a:pt x="397026" y="413382"/>
                      </a:lnTo>
                      <a:lnTo>
                        <a:pt x="399090" y="415944"/>
                      </a:lnTo>
                      <a:lnTo>
                        <a:pt x="400413" y="417972"/>
                      </a:lnTo>
                      <a:lnTo>
                        <a:pt x="401215" y="419806"/>
                      </a:lnTo>
                      <a:lnTo>
                        <a:pt x="402308" y="421736"/>
                      </a:lnTo>
                      <a:lnTo>
                        <a:pt x="405404" y="425501"/>
                      </a:lnTo>
                      <a:lnTo>
                        <a:pt x="406558" y="427359"/>
                      </a:lnTo>
                      <a:lnTo>
                        <a:pt x="407141" y="429629"/>
                      </a:lnTo>
                      <a:lnTo>
                        <a:pt x="407250" y="430929"/>
                      </a:lnTo>
                      <a:lnTo>
                        <a:pt x="405404" y="434972"/>
                      </a:lnTo>
                      <a:lnTo>
                        <a:pt x="405076" y="441979"/>
                      </a:lnTo>
                      <a:lnTo>
                        <a:pt x="405696" y="444395"/>
                      </a:lnTo>
                      <a:lnTo>
                        <a:pt x="409436" y="452592"/>
                      </a:lnTo>
                      <a:lnTo>
                        <a:pt x="409666" y="454874"/>
                      </a:lnTo>
                      <a:lnTo>
                        <a:pt x="409606" y="457084"/>
                      </a:lnTo>
                      <a:lnTo>
                        <a:pt x="409035" y="459841"/>
                      </a:lnTo>
                      <a:lnTo>
                        <a:pt x="408634" y="460436"/>
                      </a:lnTo>
                      <a:lnTo>
                        <a:pt x="407189" y="461274"/>
                      </a:lnTo>
                      <a:lnTo>
                        <a:pt x="403983" y="464103"/>
                      </a:lnTo>
                      <a:lnTo>
                        <a:pt x="398410" y="471692"/>
                      </a:lnTo>
                      <a:lnTo>
                        <a:pt x="398640" y="474425"/>
                      </a:lnTo>
                      <a:lnTo>
                        <a:pt x="396346" y="478845"/>
                      </a:lnTo>
                      <a:lnTo>
                        <a:pt x="394900" y="480848"/>
                      </a:lnTo>
                      <a:lnTo>
                        <a:pt x="393358" y="482973"/>
                      </a:lnTo>
                      <a:lnTo>
                        <a:pt x="391403" y="484795"/>
                      </a:lnTo>
                      <a:lnTo>
                        <a:pt x="389400" y="485414"/>
                      </a:lnTo>
                      <a:lnTo>
                        <a:pt x="385599" y="488268"/>
                      </a:lnTo>
                      <a:lnTo>
                        <a:pt x="375326" y="491765"/>
                      </a:lnTo>
                      <a:lnTo>
                        <a:pt x="374185" y="493538"/>
                      </a:lnTo>
                      <a:lnTo>
                        <a:pt x="373371" y="497448"/>
                      </a:lnTo>
                      <a:lnTo>
                        <a:pt x="372788" y="499026"/>
                      </a:lnTo>
                      <a:lnTo>
                        <a:pt x="371659" y="500143"/>
                      </a:lnTo>
                      <a:lnTo>
                        <a:pt x="368380" y="502523"/>
                      </a:lnTo>
                      <a:lnTo>
                        <a:pt x="366935" y="503932"/>
                      </a:lnTo>
                      <a:lnTo>
                        <a:pt x="364009" y="505231"/>
                      </a:lnTo>
                      <a:lnTo>
                        <a:pt x="350749" y="506142"/>
                      </a:lnTo>
                      <a:lnTo>
                        <a:pt x="343512" y="510477"/>
                      </a:lnTo>
                      <a:lnTo>
                        <a:pt x="336906" y="516621"/>
                      </a:lnTo>
                      <a:lnTo>
                        <a:pt x="330239" y="525923"/>
                      </a:lnTo>
                      <a:lnTo>
                        <a:pt x="326184" y="524502"/>
                      </a:lnTo>
                      <a:lnTo>
                        <a:pt x="324909" y="523518"/>
                      </a:lnTo>
                      <a:lnTo>
                        <a:pt x="323184" y="522341"/>
                      </a:lnTo>
                      <a:lnTo>
                        <a:pt x="320659" y="521041"/>
                      </a:lnTo>
                      <a:lnTo>
                        <a:pt x="319396" y="519718"/>
                      </a:lnTo>
                      <a:lnTo>
                        <a:pt x="318874" y="518491"/>
                      </a:lnTo>
                      <a:lnTo>
                        <a:pt x="319335" y="514958"/>
                      </a:lnTo>
                      <a:lnTo>
                        <a:pt x="318874" y="513586"/>
                      </a:lnTo>
                      <a:lnTo>
                        <a:pt x="317902" y="513501"/>
                      </a:lnTo>
                      <a:lnTo>
                        <a:pt x="315255" y="514788"/>
                      </a:lnTo>
                      <a:lnTo>
                        <a:pt x="313652" y="516451"/>
                      </a:lnTo>
                      <a:lnTo>
                        <a:pt x="309232" y="518637"/>
                      </a:lnTo>
                      <a:lnTo>
                        <a:pt x="297356" y="517714"/>
                      </a:lnTo>
                      <a:lnTo>
                        <a:pt x="291941" y="519293"/>
                      </a:lnTo>
                      <a:lnTo>
                        <a:pt x="279142" y="509336"/>
                      </a:lnTo>
                      <a:lnTo>
                        <a:pt x="272767" y="505778"/>
                      </a:lnTo>
                      <a:lnTo>
                        <a:pt x="259616" y="502754"/>
                      </a:lnTo>
                      <a:lnTo>
                        <a:pt x="253302" y="499075"/>
                      </a:lnTo>
                      <a:lnTo>
                        <a:pt x="246295" y="493598"/>
                      </a:lnTo>
                      <a:lnTo>
                        <a:pt x="240442" y="491364"/>
                      </a:lnTo>
                      <a:lnTo>
                        <a:pt x="234237" y="491983"/>
                      </a:lnTo>
                      <a:lnTo>
                        <a:pt x="226308" y="495031"/>
                      </a:lnTo>
                      <a:lnTo>
                        <a:pt x="218561" y="495784"/>
                      </a:lnTo>
                      <a:lnTo>
                        <a:pt x="205653" y="489579"/>
                      </a:lnTo>
                      <a:lnTo>
                        <a:pt x="198343" y="490040"/>
                      </a:lnTo>
                      <a:lnTo>
                        <a:pt x="191628" y="492141"/>
                      </a:lnTo>
                      <a:lnTo>
                        <a:pt x="184403" y="492505"/>
                      </a:lnTo>
                      <a:lnTo>
                        <a:pt x="177736" y="490320"/>
                      </a:lnTo>
                      <a:lnTo>
                        <a:pt x="172685" y="484673"/>
                      </a:lnTo>
                      <a:lnTo>
                        <a:pt x="167050" y="470114"/>
                      </a:lnTo>
                      <a:lnTo>
                        <a:pt x="166528" y="465949"/>
                      </a:lnTo>
                      <a:lnTo>
                        <a:pt x="167912" y="462160"/>
                      </a:lnTo>
                      <a:lnTo>
                        <a:pt x="169977" y="458505"/>
                      </a:lnTo>
                      <a:lnTo>
                        <a:pt x="171470" y="454959"/>
                      </a:lnTo>
                      <a:lnTo>
                        <a:pt x="171701" y="450819"/>
                      </a:lnTo>
                      <a:lnTo>
                        <a:pt x="170378" y="442319"/>
                      </a:lnTo>
                      <a:lnTo>
                        <a:pt x="170280" y="437729"/>
                      </a:lnTo>
                      <a:lnTo>
                        <a:pt x="171653" y="433114"/>
                      </a:lnTo>
                      <a:lnTo>
                        <a:pt x="176425" y="424323"/>
                      </a:lnTo>
                      <a:lnTo>
                        <a:pt x="177688" y="419806"/>
                      </a:lnTo>
                      <a:lnTo>
                        <a:pt x="176983" y="415131"/>
                      </a:lnTo>
                      <a:lnTo>
                        <a:pt x="174409" y="413176"/>
                      </a:lnTo>
                      <a:lnTo>
                        <a:pt x="171021" y="413843"/>
                      </a:lnTo>
                      <a:lnTo>
                        <a:pt x="167694" y="417049"/>
                      </a:lnTo>
                      <a:lnTo>
                        <a:pt x="165909" y="421105"/>
                      </a:lnTo>
                      <a:lnTo>
                        <a:pt x="165095" y="424724"/>
                      </a:lnTo>
                      <a:lnTo>
                        <a:pt x="163614" y="427844"/>
                      </a:lnTo>
                      <a:lnTo>
                        <a:pt x="159704" y="430455"/>
                      </a:lnTo>
                      <a:lnTo>
                        <a:pt x="156025" y="431584"/>
                      </a:lnTo>
                      <a:lnTo>
                        <a:pt x="146152" y="433114"/>
                      </a:lnTo>
                      <a:lnTo>
                        <a:pt x="142364" y="432956"/>
                      </a:lnTo>
                      <a:lnTo>
                        <a:pt x="139328" y="431390"/>
                      </a:lnTo>
                      <a:lnTo>
                        <a:pt x="133815" y="426120"/>
                      </a:lnTo>
                      <a:lnTo>
                        <a:pt x="130707" y="424602"/>
                      </a:lnTo>
                      <a:lnTo>
                        <a:pt x="127027" y="424894"/>
                      </a:lnTo>
                      <a:lnTo>
                        <a:pt x="120883" y="428391"/>
                      </a:lnTo>
                      <a:lnTo>
                        <a:pt x="117386" y="429289"/>
                      </a:lnTo>
                      <a:lnTo>
                        <a:pt x="113366" y="428597"/>
                      </a:lnTo>
                      <a:lnTo>
                        <a:pt x="110197" y="426594"/>
                      </a:lnTo>
                      <a:lnTo>
                        <a:pt x="107732" y="423546"/>
                      </a:lnTo>
                      <a:lnTo>
                        <a:pt x="105911" y="419587"/>
                      </a:lnTo>
                      <a:lnTo>
                        <a:pt x="107671" y="417110"/>
                      </a:lnTo>
                      <a:lnTo>
                        <a:pt x="107914" y="416855"/>
                      </a:lnTo>
                      <a:lnTo>
                        <a:pt x="108995" y="415276"/>
                      </a:lnTo>
                      <a:lnTo>
                        <a:pt x="111023" y="411366"/>
                      </a:lnTo>
                      <a:lnTo>
                        <a:pt x="111594" y="407007"/>
                      </a:lnTo>
                      <a:lnTo>
                        <a:pt x="109286" y="396261"/>
                      </a:lnTo>
                      <a:lnTo>
                        <a:pt x="108837" y="385672"/>
                      </a:lnTo>
                      <a:lnTo>
                        <a:pt x="106821" y="381021"/>
                      </a:lnTo>
                      <a:lnTo>
                        <a:pt x="101709" y="377985"/>
                      </a:lnTo>
                      <a:lnTo>
                        <a:pt x="84248" y="375193"/>
                      </a:lnTo>
                      <a:lnTo>
                        <a:pt x="77302" y="371404"/>
                      </a:lnTo>
                      <a:lnTo>
                        <a:pt x="66920" y="357852"/>
                      </a:lnTo>
                      <a:lnTo>
                        <a:pt x="60775" y="352024"/>
                      </a:lnTo>
                      <a:lnTo>
                        <a:pt x="53939" y="347519"/>
                      </a:lnTo>
                      <a:lnTo>
                        <a:pt x="48887" y="342577"/>
                      </a:lnTo>
                      <a:lnTo>
                        <a:pt x="46301" y="336092"/>
                      </a:lnTo>
                      <a:lnTo>
                        <a:pt x="46884" y="326876"/>
                      </a:lnTo>
                      <a:lnTo>
                        <a:pt x="48778" y="323197"/>
                      </a:lnTo>
                      <a:lnTo>
                        <a:pt x="51753" y="321217"/>
                      </a:lnTo>
                      <a:lnTo>
                        <a:pt x="58820" y="318606"/>
                      </a:lnTo>
                      <a:lnTo>
                        <a:pt x="61917" y="316457"/>
                      </a:lnTo>
                      <a:lnTo>
                        <a:pt x="64382" y="313919"/>
                      </a:lnTo>
                      <a:lnTo>
                        <a:pt x="66458" y="310944"/>
                      </a:lnTo>
                      <a:lnTo>
                        <a:pt x="68231" y="307447"/>
                      </a:lnTo>
                      <a:lnTo>
                        <a:pt x="73975" y="292159"/>
                      </a:lnTo>
                      <a:lnTo>
                        <a:pt x="78055" y="276143"/>
                      </a:lnTo>
                      <a:lnTo>
                        <a:pt x="74958" y="264546"/>
                      </a:lnTo>
                      <a:lnTo>
                        <a:pt x="64965" y="257017"/>
                      </a:lnTo>
                      <a:lnTo>
                        <a:pt x="52967" y="250910"/>
                      </a:lnTo>
                      <a:lnTo>
                        <a:pt x="44055" y="243733"/>
                      </a:lnTo>
                      <a:lnTo>
                        <a:pt x="42500" y="240855"/>
                      </a:lnTo>
                      <a:lnTo>
                        <a:pt x="41529" y="237783"/>
                      </a:lnTo>
                      <a:lnTo>
                        <a:pt x="41067" y="234517"/>
                      </a:lnTo>
                      <a:lnTo>
                        <a:pt x="41529" y="228336"/>
                      </a:lnTo>
                      <a:lnTo>
                        <a:pt x="42100" y="225616"/>
                      </a:lnTo>
                      <a:lnTo>
                        <a:pt x="42913" y="222969"/>
                      </a:lnTo>
                      <a:lnTo>
                        <a:pt x="44055" y="220479"/>
                      </a:lnTo>
                      <a:lnTo>
                        <a:pt x="50551" y="209624"/>
                      </a:lnTo>
                      <a:lnTo>
                        <a:pt x="54922" y="205799"/>
                      </a:lnTo>
                      <a:lnTo>
                        <a:pt x="75128" y="202532"/>
                      </a:lnTo>
                      <a:lnTo>
                        <a:pt x="81734" y="199715"/>
                      </a:lnTo>
                      <a:lnTo>
                        <a:pt x="88279" y="195319"/>
                      </a:lnTo>
                      <a:lnTo>
                        <a:pt x="93391" y="190559"/>
                      </a:lnTo>
                      <a:lnTo>
                        <a:pt x="97690" y="184439"/>
                      </a:lnTo>
                      <a:lnTo>
                        <a:pt x="99524" y="177663"/>
                      </a:lnTo>
                      <a:lnTo>
                        <a:pt x="97107" y="170863"/>
                      </a:lnTo>
                      <a:lnTo>
                        <a:pt x="91266" y="166953"/>
                      </a:lnTo>
                      <a:lnTo>
                        <a:pt x="84478" y="167184"/>
                      </a:lnTo>
                      <a:lnTo>
                        <a:pt x="77350" y="168823"/>
                      </a:lnTo>
                      <a:lnTo>
                        <a:pt x="70648" y="169163"/>
                      </a:lnTo>
                      <a:lnTo>
                        <a:pt x="60654" y="165812"/>
                      </a:lnTo>
                      <a:lnTo>
                        <a:pt x="56865" y="165581"/>
                      </a:lnTo>
                      <a:lnTo>
                        <a:pt x="44055" y="168714"/>
                      </a:lnTo>
                      <a:lnTo>
                        <a:pt x="38262" y="167609"/>
                      </a:lnTo>
                      <a:lnTo>
                        <a:pt x="32737" y="163796"/>
                      </a:lnTo>
                      <a:lnTo>
                        <a:pt x="28499" y="158235"/>
                      </a:lnTo>
                      <a:lnTo>
                        <a:pt x="26775" y="151932"/>
                      </a:lnTo>
                      <a:lnTo>
                        <a:pt x="28439" y="145485"/>
                      </a:lnTo>
                      <a:lnTo>
                        <a:pt x="32859" y="141150"/>
                      </a:lnTo>
                      <a:lnTo>
                        <a:pt x="44055" y="135600"/>
                      </a:lnTo>
                      <a:lnTo>
                        <a:pt x="47564" y="132443"/>
                      </a:lnTo>
                      <a:lnTo>
                        <a:pt x="48135" y="128169"/>
                      </a:lnTo>
                      <a:lnTo>
                        <a:pt x="46641" y="123567"/>
                      </a:lnTo>
                      <a:lnTo>
                        <a:pt x="44055" y="119547"/>
                      </a:lnTo>
                      <a:lnTo>
                        <a:pt x="39865" y="109044"/>
                      </a:lnTo>
                      <a:lnTo>
                        <a:pt x="36781" y="105461"/>
                      </a:lnTo>
                      <a:lnTo>
                        <a:pt x="31074" y="104915"/>
                      </a:lnTo>
                      <a:lnTo>
                        <a:pt x="25743" y="105461"/>
                      </a:lnTo>
                      <a:lnTo>
                        <a:pt x="20922" y="104806"/>
                      </a:lnTo>
                      <a:lnTo>
                        <a:pt x="16381" y="103106"/>
                      </a:lnTo>
                      <a:lnTo>
                        <a:pt x="11730" y="100544"/>
                      </a:lnTo>
                      <a:lnTo>
                        <a:pt x="7650" y="96476"/>
                      </a:lnTo>
                      <a:lnTo>
                        <a:pt x="6217" y="91363"/>
                      </a:lnTo>
                      <a:lnTo>
                        <a:pt x="7140" y="86045"/>
                      </a:lnTo>
                      <a:lnTo>
                        <a:pt x="10236" y="81285"/>
                      </a:lnTo>
                      <a:lnTo>
                        <a:pt x="12179" y="79876"/>
                      </a:lnTo>
                      <a:lnTo>
                        <a:pt x="16842" y="77521"/>
                      </a:lnTo>
                      <a:lnTo>
                        <a:pt x="18506" y="75833"/>
                      </a:lnTo>
                      <a:lnTo>
                        <a:pt x="19489" y="73270"/>
                      </a:lnTo>
                      <a:lnTo>
                        <a:pt x="19708" y="65293"/>
                      </a:lnTo>
                      <a:lnTo>
                        <a:pt x="19708" y="65256"/>
                      </a:lnTo>
                      <a:lnTo>
                        <a:pt x="22744" y="60435"/>
                      </a:lnTo>
                      <a:lnTo>
                        <a:pt x="31717" y="54522"/>
                      </a:lnTo>
                      <a:lnTo>
                        <a:pt x="34534" y="50296"/>
                      </a:lnTo>
                      <a:lnTo>
                        <a:pt x="34474" y="44273"/>
                      </a:lnTo>
                      <a:lnTo>
                        <a:pt x="32980" y="38785"/>
                      </a:lnTo>
                      <a:lnTo>
                        <a:pt x="33320" y="33879"/>
                      </a:lnTo>
                      <a:lnTo>
                        <a:pt x="38785" y="29604"/>
                      </a:lnTo>
                      <a:lnTo>
                        <a:pt x="41359" y="28451"/>
                      </a:lnTo>
                      <a:lnTo>
                        <a:pt x="71109" y="23630"/>
                      </a:lnTo>
                      <a:lnTo>
                        <a:pt x="75990" y="21311"/>
                      </a:lnTo>
                      <a:lnTo>
                        <a:pt x="89991" y="11572"/>
                      </a:lnTo>
                      <a:lnTo>
                        <a:pt x="102049" y="7091"/>
                      </a:lnTo>
                      <a:lnTo>
                        <a:pt x="113876" y="6120"/>
                      </a:lnTo>
                      <a:moveTo>
                        <a:pt x="114107" y="0"/>
                      </a:moveTo>
                      <a:lnTo>
                        <a:pt x="113379" y="61"/>
                      </a:lnTo>
                      <a:lnTo>
                        <a:pt x="101551" y="1032"/>
                      </a:lnTo>
                      <a:lnTo>
                        <a:pt x="100726" y="1105"/>
                      </a:lnTo>
                      <a:lnTo>
                        <a:pt x="99948" y="1396"/>
                      </a:lnTo>
                      <a:lnTo>
                        <a:pt x="87891" y="5877"/>
                      </a:lnTo>
                      <a:lnTo>
                        <a:pt x="87174" y="6144"/>
                      </a:lnTo>
                      <a:lnTo>
                        <a:pt x="86543" y="6581"/>
                      </a:lnTo>
                      <a:lnTo>
                        <a:pt x="72943" y="16041"/>
                      </a:lnTo>
                      <a:lnTo>
                        <a:pt x="69300" y="17777"/>
                      </a:lnTo>
                      <a:lnTo>
                        <a:pt x="40400" y="22452"/>
                      </a:lnTo>
                      <a:lnTo>
                        <a:pt x="39610" y="22586"/>
                      </a:lnTo>
                      <a:lnTo>
                        <a:pt x="38882" y="22914"/>
                      </a:lnTo>
                      <a:lnTo>
                        <a:pt x="36307" y="24067"/>
                      </a:lnTo>
                      <a:lnTo>
                        <a:pt x="35639" y="24371"/>
                      </a:lnTo>
                      <a:lnTo>
                        <a:pt x="35057" y="24832"/>
                      </a:lnTo>
                      <a:lnTo>
                        <a:pt x="29592" y="29107"/>
                      </a:lnTo>
                      <a:lnTo>
                        <a:pt x="27467" y="30770"/>
                      </a:lnTo>
                      <a:lnTo>
                        <a:pt x="27285" y="33466"/>
                      </a:lnTo>
                      <a:lnTo>
                        <a:pt x="26945" y="38372"/>
                      </a:lnTo>
                      <a:lnTo>
                        <a:pt x="26872" y="39392"/>
                      </a:lnTo>
                      <a:lnTo>
                        <a:pt x="27139" y="40387"/>
                      </a:lnTo>
                      <a:lnTo>
                        <a:pt x="28427" y="45123"/>
                      </a:lnTo>
                      <a:lnTo>
                        <a:pt x="28463" y="48487"/>
                      </a:lnTo>
                      <a:lnTo>
                        <a:pt x="27358" y="50126"/>
                      </a:lnTo>
                      <a:lnTo>
                        <a:pt x="19417" y="55372"/>
                      </a:lnTo>
                      <a:lnTo>
                        <a:pt x="18324" y="56100"/>
                      </a:lnTo>
                      <a:lnTo>
                        <a:pt x="17619" y="57205"/>
                      </a:lnTo>
                      <a:lnTo>
                        <a:pt x="14584" y="62026"/>
                      </a:lnTo>
                      <a:lnTo>
                        <a:pt x="13649" y="63508"/>
                      </a:lnTo>
                      <a:lnTo>
                        <a:pt x="13649" y="65268"/>
                      </a:lnTo>
                      <a:lnTo>
                        <a:pt x="13454" y="72068"/>
                      </a:lnTo>
                      <a:lnTo>
                        <a:pt x="13297" y="72481"/>
                      </a:lnTo>
                      <a:lnTo>
                        <a:pt x="13224" y="72554"/>
                      </a:lnTo>
                      <a:lnTo>
                        <a:pt x="9447" y="74460"/>
                      </a:lnTo>
                      <a:lnTo>
                        <a:pt x="9010" y="74679"/>
                      </a:lnTo>
                      <a:lnTo>
                        <a:pt x="8621" y="74958"/>
                      </a:lnTo>
                      <a:lnTo>
                        <a:pt x="6679" y="76367"/>
                      </a:lnTo>
                      <a:lnTo>
                        <a:pt x="5768" y="77035"/>
                      </a:lnTo>
                      <a:lnTo>
                        <a:pt x="5149" y="77982"/>
                      </a:lnTo>
                      <a:lnTo>
                        <a:pt x="2052" y="82742"/>
                      </a:lnTo>
                      <a:lnTo>
                        <a:pt x="1372" y="83786"/>
                      </a:lnTo>
                      <a:lnTo>
                        <a:pt x="1154" y="85025"/>
                      </a:lnTo>
                      <a:lnTo>
                        <a:pt x="231" y="90343"/>
                      </a:lnTo>
                      <a:lnTo>
                        <a:pt x="0" y="91691"/>
                      </a:lnTo>
                      <a:lnTo>
                        <a:pt x="364" y="93015"/>
                      </a:lnTo>
                      <a:lnTo>
                        <a:pt x="1797" y="98127"/>
                      </a:lnTo>
                      <a:lnTo>
                        <a:pt x="2222" y="99657"/>
                      </a:lnTo>
                      <a:lnTo>
                        <a:pt x="3351" y="100786"/>
                      </a:lnTo>
                      <a:lnTo>
                        <a:pt x="7431" y="104854"/>
                      </a:lnTo>
                      <a:lnTo>
                        <a:pt x="8039" y="105461"/>
                      </a:lnTo>
                      <a:lnTo>
                        <a:pt x="8791" y="105874"/>
                      </a:lnTo>
                      <a:lnTo>
                        <a:pt x="13442" y="108436"/>
                      </a:lnTo>
                      <a:lnTo>
                        <a:pt x="13831" y="108655"/>
                      </a:lnTo>
                      <a:lnTo>
                        <a:pt x="14244" y="108813"/>
                      </a:lnTo>
                      <a:lnTo>
                        <a:pt x="18785" y="110513"/>
                      </a:lnTo>
                      <a:lnTo>
                        <a:pt x="19417" y="110756"/>
                      </a:lnTo>
                      <a:lnTo>
                        <a:pt x="20097" y="110853"/>
                      </a:lnTo>
                      <a:lnTo>
                        <a:pt x="24905" y="111509"/>
                      </a:lnTo>
                      <a:lnTo>
                        <a:pt x="25634" y="111606"/>
                      </a:lnTo>
                      <a:lnTo>
                        <a:pt x="26362" y="111533"/>
                      </a:lnTo>
                      <a:lnTo>
                        <a:pt x="31098" y="111035"/>
                      </a:lnTo>
                      <a:lnTo>
                        <a:pt x="33769" y="111290"/>
                      </a:lnTo>
                      <a:lnTo>
                        <a:pt x="34595" y="112261"/>
                      </a:lnTo>
                      <a:lnTo>
                        <a:pt x="38408" y="121818"/>
                      </a:lnTo>
                      <a:lnTo>
                        <a:pt x="38627" y="122364"/>
                      </a:lnTo>
                      <a:lnTo>
                        <a:pt x="38942" y="122862"/>
                      </a:lnTo>
                      <a:lnTo>
                        <a:pt x="41104" y="126214"/>
                      </a:lnTo>
                      <a:lnTo>
                        <a:pt x="41930" y="128752"/>
                      </a:lnTo>
                      <a:lnTo>
                        <a:pt x="41845" y="129444"/>
                      </a:lnTo>
                      <a:lnTo>
                        <a:pt x="40606" y="130524"/>
                      </a:lnTo>
                      <a:lnTo>
                        <a:pt x="30163" y="135710"/>
                      </a:lnTo>
                      <a:lnTo>
                        <a:pt x="29301" y="136135"/>
                      </a:lnTo>
                      <a:lnTo>
                        <a:pt x="28609" y="136815"/>
                      </a:lnTo>
                      <a:lnTo>
                        <a:pt x="24189" y="141150"/>
                      </a:lnTo>
                      <a:lnTo>
                        <a:pt x="22987" y="142327"/>
                      </a:lnTo>
                      <a:lnTo>
                        <a:pt x="22562" y="143967"/>
                      </a:lnTo>
                      <a:lnTo>
                        <a:pt x="20898" y="150415"/>
                      </a:lnTo>
                      <a:lnTo>
                        <a:pt x="20497" y="151969"/>
                      </a:lnTo>
                      <a:lnTo>
                        <a:pt x="20922" y="153523"/>
                      </a:lnTo>
                      <a:lnTo>
                        <a:pt x="22647" y="159825"/>
                      </a:lnTo>
                      <a:lnTo>
                        <a:pt x="22962" y="160967"/>
                      </a:lnTo>
                      <a:lnTo>
                        <a:pt x="23679" y="161902"/>
                      </a:lnTo>
                      <a:lnTo>
                        <a:pt x="27917" y="167463"/>
                      </a:lnTo>
                      <a:lnTo>
                        <a:pt x="28499" y="168228"/>
                      </a:lnTo>
                      <a:lnTo>
                        <a:pt x="29289" y="168775"/>
                      </a:lnTo>
                      <a:lnTo>
                        <a:pt x="34814" y="172588"/>
                      </a:lnTo>
                      <a:lnTo>
                        <a:pt x="35870" y="173316"/>
                      </a:lnTo>
                      <a:lnTo>
                        <a:pt x="37133" y="173559"/>
                      </a:lnTo>
                      <a:lnTo>
                        <a:pt x="42925" y="174664"/>
                      </a:lnTo>
                      <a:lnTo>
                        <a:pt x="44225" y="174919"/>
                      </a:lnTo>
                      <a:lnTo>
                        <a:pt x="45500" y="174603"/>
                      </a:lnTo>
                      <a:lnTo>
                        <a:pt x="57424" y="171689"/>
                      </a:lnTo>
                      <a:lnTo>
                        <a:pt x="59488" y="171810"/>
                      </a:lnTo>
                      <a:lnTo>
                        <a:pt x="68717" y="174907"/>
                      </a:lnTo>
                      <a:lnTo>
                        <a:pt x="69810" y="175271"/>
                      </a:lnTo>
                      <a:lnTo>
                        <a:pt x="70963" y="175223"/>
                      </a:lnTo>
                      <a:lnTo>
                        <a:pt x="77666" y="174883"/>
                      </a:lnTo>
                      <a:lnTo>
                        <a:pt x="78188" y="174858"/>
                      </a:lnTo>
                      <a:lnTo>
                        <a:pt x="78710" y="174737"/>
                      </a:lnTo>
                      <a:lnTo>
                        <a:pt x="85268" y="173231"/>
                      </a:lnTo>
                      <a:lnTo>
                        <a:pt x="89518" y="173085"/>
                      </a:lnTo>
                      <a:lnTo>
                        <a:pt x="92056" y="174785"/>
                      </a:lnTo>
                      <a:lnTo>
                        <a:pt x="93161" y="177906"/>
                      </a:lnTo>
                      <a:lnTo>
                        <a:pt x="92104" y="181828"/>
                      </a:lnTo>
                      <a:lnTo>
                        <a:pt x="88789" y="186552"/>
                      </a:lnTo>
                      <a:lnTo>
                        <a:pt x="84491" y="190547"/>
                      </a:lnTo>
                      <a:lnTo>
                        <a:pt x="78820" y="194348"/>
                      </a:lnTo>
                      <a:lnTo>
                        <a:pt x="73416" y="196643"/>
                      </a:lnTo>
                      <a:lnTo>
                        <a:pt x="53939" y="199788"/>
                      </a:lnTo>
                      <a:lnTo>
                        <a:pt x="52215" y="200067"/>
                      </a:lnTo>
                      <a:lnTo>
                        <a:pt x="50903" y="201208"/>
                      </a:lnTo>
                      <a:lnTo>
                        <a:pt x="46532" y="205034"/>
                      </a:lnTo>
                      <a:lnTo>
                        <a:pt x="45803" y="205665"/>
                      </a:lnTo>
                      <a:lnTo>
                        <a:pt x="45305" y="206479"/>
                      </a:lnTo>
                      <a:lnTo>
                        <a:pt x="38809" y="217334"/>
                      </a:lnTo>
                      <a:lnTo>
                        <a:pt x="38639" y="217626"/>
                      </a:lnTo>
                      <a:lnTo>
                        <a:pt x="38505" y="217929"/>
                      </a:lnTo>
                      <a:lnTo>
                        <a:pt x="37364" y="220419"/>
                      </a:lnTo>
                      <a:lnTo>
                        <a:pt x="37194" y="220783"/>
                      </a:lnTo>
                      <a:lnTo>
                        <a:pt x="37085" y="221159"/>
                      </a:lnTo>
                      <a:lnTo>
                        <a:pt x="36271" y="223806"/>
                      </a:lnTo>
                      <a:lnTo>
                        <a:pt x="35555" y="227073"/>
                      </a:lnTo>
                      <a:lnTo>
                        <a:pt x="35469" y="227462"/>
                      </a:lnTo>
                      <a:lnTo>
                        <a:pt x="35445" y="227862"/>
                      </a:lnTo>
                      <a:lnTo>
                        <a:pt x="34984" y="234043"/>
                      </a:lnTo>
                      <a:lnTo>
                        <a:pt x="34935" y="234699"/>
                      </a:lnTo>
                      <a:lnTo>
                        <a:pt x="35020" y="235354"/>
                      </a:lnTo>
                      <a:lnTo>
                        <a:pt x="35482" y="238621"/>
                      </a:lnTo>
                      <a:lnTo>
                        <a:pt x="35555" y="239119"/>
                      </a:lnTo>
                      <a:lnTo>
                        <a:pt x="35712" y="239604"/>
                      </a:lnTo>
                      <a:lnTo>
                        <a:pt x="36684" y="242677"/>
                      </a:lnTo>
                      <a:lnTo>
                        <a:pt x="36854" y="243223"/>
                      </a:lnTo>
                      <a:lnTo>
                        <a:pt x="37121" y="243733"/>
                      </a:lnTo>
                      <a:lnTo>
                        <a:pt x="38675" y="246611"/>
                      </a:lnTo>
                      <a:lnTo>
                        <a:pt x="39258" y="247680"/>
                      </a:lnTo>
                      <a:lnTo>
                        <a:pt x="40217" y="248445"/>
                      </a:lnTo>
                      <a:lnTo>
                        <a:pt x="49130" y="255621"/>
                      </a:lnTo>
                      <a:lnTo>
                        <a:pt x="49628" y="256022"/>
                      </a:lnTo>
                      <a:lnTo>
                        <a:pt x="50187" y="256313"/>
                      </a:lnTo>
                      <a:lnTo>
                        <a:pt x="61710" y="262178"/>
                      </a:lnTo>
                      <a:lnTo>
                        <a:pt x="69603" y="268128"/>
                      </a:lnTo>
                      <a:lnTo>
                        <a:pt x="71753" y="276167"/>
                      </a:lnTo>
                      <a:lnTo>
                        <a:pt x="68146" y="290338"/>
                      </a:lnTo>
                      <a:lnTo>
                        <a:pt x="62633" y="304994"/>
                      </a:lnTo>
                      <a:lnTo>
                        <a:pt x="61200" y="307811"/>
                      </a:lnTo>
                      <a:lnTo>
                        <a:pt x="59658" y="310033"/>
                      </a:lnTo>
                      <a:lnTo>
                        <a:pt x="57946" y="311794"/>
                      </a:lnTo>
                      <a:lnTo>
                        <a:pt x="55967" y="313166"/>
                      </a:lnTo>
                      <a:lnTo>
                        <a:pt x="49628" y="315510"/>
                      </a:lnTo>
                      <a:lnTo>
                        <a:pt x="48960" y="315765"/>
                      </a:lnTo>
                      <a:lnTo>
                        <a:pt x="48365" y="316154"/>
                      </a:lnTo>
                      <a:lnTo>
                        <a:pt x="45390" y="318133"/>
                      </a:lnTo>
                      <a:lnTo>
                        <a:pt x="44079" y="319007"/>
                      </a:lnTo>
                      <a:lnTo>
                        <a:pt x="43350" y="320404"/>
                      </a:lnTo>
                      <a:lnTo>
                        <a:pt x="41456" y="324083"/>
                      </a:lnTo>
                      <a:lnTo>
                        <a:pt x="40873" y="325212"/>
                      </a:lnTo>
                      <a:lnTo>
                        <a:pt x="40788" y="326475"/>
                      </a:lnTo>
                      <a:lnTo>
                        <a:pt x="40205" y="335692"/>
                      </a:lnTo>
                      <a:lnTo>
                        <a:pt x="40120" y="337052"/>
                      </a:lnTo>
                      <a:lnTo>
                        <a:pt x="40630" y="338314"/>
                      </a:lnTo>
                      <a:lnTo>
                        <a:pt x="43217" y="344799"/>
                      </a:lnTo>
                      <a:lnTo>
                        <a:pt x="43690" y="346001"/>
                      </a:lnTo>
                      <a:lnTo>
                        <a:pt x="44613" y="346899"/>
                      </a:lnTo>
                      <a:lnTo>
                        <a:pt x="49665" y="351842"/>
                      </a:lnTo>
                      <a:lnTo>
                        <a:pt x="50077" y="352255"/>
                      </a:lnTo>
                      <a:lnTo>
                        <a:pt x="50563" y="352570"/>
                      </a:lnTo>
                      <a:lnTo>
                        <a:pt x="56950" y="356784"/>
                      </a:lnTo>
                      <a:lnTo>
                        <a:pt x="62354" y="361908"/>
                      </a:lnTo>
                      <a:lnTo>
                        <a:pt x="72445" y="375083"/>
                      </a:lnTo>
                      <a:lnTo>
                        <a:pt x="73222" y="376103"/>
                      </a:lnTo>
                      <a:lnTo>
                        <a:pt x="74351" y="376723"/>
                      </a:lnTo>
                      <a:lnTo>
                        <a:pt x="81297" y="380511"/>
                      </a:lnTo>
                      <a:lnTo>
                        <a:pt x="82208" y="381009"/>
                      </a:lnTo>
                      <a:lnTo>
                        <a:pt x="83240" y="381179"/>
                      </a:lnTo>
                      <a:lnTo>
                        <a:pt x="99560" y="383790"/>
                      </a:lnTo>
                      <a:lnTo>
                        <a:pt x="101988" y="385235"/>
                      </a:lnTo>
                      <a:lnTo>
                        <a:pt x="102778" y="387044"/>
                      </a:lnTo>
                      <a:lnTo>
                        <a:pt x="103178" y="396515"/>
                      </a:lnTo>
                      <a:lnTo>
                        <a:pt x="103203" y="397025"/>
                      </a:lnTo>
                      <a:lnTo>
                        <a:pt x="103312" y="397535"/>
                      </a:lnTo>
                      <a:lnTo>
                        <a:pt x="105401" y="407262"/>
                      </a:lnTo>
                      <a:lnTo>
                        <a:pt x="105109" y="409521"/>
                      </a:lnTo>
                      <a:lnTo>
                        <a:pt x="103737" y="412156"/>
                      </a:lnTo>
                      <a:lnTo>
                        <a:pt x="103130" y="413054"/>
                      </a:lnTo>
                      <a:lnTo>
                        <a:pt x="102681" y="413589"/>
                      </a:lnTo>
                      <a:lnTo>
                        <a:pt x="100920" y="416066"/>
                      </a:lnTo>
                      <a:lnTo>
                        <a:pt x="98892" y="418931"/>
                      </a:lnTo>
                      <a:lnTo>
                        <a:pt x="100361" y="422125"/>
                      </a:lnTo>
                      <a:lnTo>
                        <a:pt x="102183" y="426084"/>
                      </a:lnTo>
                      <a:lnTo>
                        <a:pt x="102498" y="426776"/>
                      </a:lnTo>
                      <a:lnTo>
                        <a:pt x="102984" y="427371"/>
                      </a:lnTo>
                      <a:lnTo>
                        <a:pt x="105449" y="430419"/>
                      </a:lnTo>
                      <a:lnTo>
                        <a:pt x="106081" y="431196"/>
                      </a:lnTo>
                      <a:lnTo>
                        <a:pt x="106919" y="431730"/>
                      </a:lnTo>
                      <a:lnTo>
                        <a:pt x="110088" y="433734"/>
                      </a:lnTo>
                      <a:lnTo>
                        <a:pt x="111108" y="434377"/>
                      </a:lnTo>
                      <a:lnTo>
                        <a:pt x="112334" y="434584"/>
                      </a:lnTo>
                      <a:lnTo>
                        <a:pt x="116354" y="435276"/>
                      </a:lnTo>
                      <a:lnTo>
                        <a:pt x="117641" y="435506"/>
                      </a:lnTo>
                      <a:lnTo>
                        <a:pt x="118904" y="435179"/>
                      </a:lnTo>
                      <a:lnTo>
                        <a:pt x="122401" y="434280"/>
                      </a:lnTo>
                      <a:lnTo>
                        <a:pt x="123190" y="434074"/>
                      </a:lnTo>
                      <a:lnTo>
                        <a:pt x="123894" y="433673"/>
                      </a:lnTo>
                      <a:lnTo>
                        <a:pt x="128861" y="430844"/>
                      </a:lnTo>
                      <a:lnTo>
                        <a:pt x="129541" y="430795"/>
                      </a:lnTo>
                      <a:lnTo>
                        <a:pt x="130306" y="431171"/>
                      </a:lnTo>
                      <a:lnTo>
                        <a:pt x="135127" y="435786"/>
                      </a:lnTo>
                      <a:lnTo>
                        <a:pt x="135758" y="436393"/>
                      </a:lnTo>
                      <a:lnTo>
                        <a:pt x="136535" y="436794"/>
                      </a:lnTo>
                      <a:lnTo>
                        <a:pt x="139571" y="438360"/>
                      </a:lnTo>
                      <a:lnTo>
                        <a:pt x="140761" y="438979"/>
                      </a:lnTo>
                      <a:lnTo>
                        <a:pt x="142097" y="439028"/>
                      </a:lnTo>
                      <a:lnTo>
                        <a:pt x="145885" y="439186"/>
                      </a:lnTo>
                      <a:lnTo>
                        <a:pt x="146480" y="439210"/>
                      </a:lnTo>
                      <a:lnTo>
                        <a:pt x="147075" y="439125"/>
                      </a:lnTo>
                      <a:lnTo>
                        <a:pt x="156947" y="437595"/>
                      </a:lnTo>
                      <a:lnTo>
                        <a:pt x="157385" y="437522"/>
                      </a:lnTo>
                      <a:lnTo>
                        <a:pt x="157810" y="437401"/>
                      </a:lnTo>
                      <a:lnTo>
                        <a:pt x="161477" y="436271"/>
                      </a:lnTo>
                      <a:lnTo>
                        <a:pt x="162327" y="436016"/>
                      </a:lnTo>
                      <a:lnTo>
                        <a:pt x="163068" y="435519"/>
                      </a:lnTo>
                      <a:lnTo>
                        <a:pt x="164986" y="434244"/>
                      </a:lnTo>
                      <a:lnTo>
                        <a:pt x="164464" y="436016"/>
                      </a:lnTo>
                      <a:lnTo>
                        <a:pt x="164197" y="436927"/>
                      </a:lnTo>
                      <a:lnTo>
                        <a:pt x="164209" y="437874"/>
                      </a:lnTo>
                      <a:lnTo>
                        <a:pt x="164306" y="442464"/>
                      </a:lnTo>
                      <a:lnTo>
                        <a:pt x="164318" y="442877"/>
                      </a:lnTo>
                      <a:lnTo>
                        <a:pt x="164379" y="443278"/>
                      </a:lnTo>
                      <a:lnTo>
                        <a:pt x="165618" y="451147"/>
                      </a:lnTo>
                      <a:lnTo>
                        <a:pt x="165472" y="453599"/>
                      </a:lnTo>
                      <a:lnTo>
                        <a:pt x="164525" y="455858"/>
                      </a:lnTo>
                      <a:lnTo>
                        <a:pt x="162630" y="459210"/>
                      </a:lnTo>
                      <a:lnTo>
                        <a:pt x="162388" y="459647"/>
                      </a:lnTo>
                      <a:lnTo>
                        <a:pt x="162218" y="460108"/>
                      </a:lnTo>
                      <a:lnTo>
                        <a:pt x="160833" y="463897"/>
                      </a:lnTo>
                      <a:lnTo>
                        <a:pt x="160323" y="465281"/>
                      </a:lnTo>
                      <a:lnTo>
                        <a:pt x="160505" y="466738"/>
                      </a:lnTo>
                      <a:lnTo>
                        <a:pt x="161028" y="470903"/>
                      </a:lnTo>
                      <a:lnTo>
                        <a:pt x="161125" y="471644"/>
                      </a:lnTo>
                      <a:lnTo>
                        <a:pt x="161392" y="472348"/>
                      </a:lnTo>
                      <a:lnTo>
                        <a:pt x="167026" y="486908"/>
                      </a:lnTo>
                      <a:lnTo>
                        <a:pt x="167427" y="487940"/>
                      </a:lnTo>
                      <a:lnTo>
                        <a:pt x="168168" y="488765"/>
                      </a:lnTo>
                      <a:lnTo>
                        <a:pt x="173219" y="494412"/>
                      </a:lnTo>
                      <a:lnTo>
                        <a:pt x="174300" y="495626"/>
                      </a:lnTo>
                      <a:lnTo>
                        <a:pt x="175842" y="496136"/>
                      </a:lnTo>
                      <a:lnTo>
                        <a:pt x="182508" y="498322"/>
                      </a:lnTo>
                      <a:lnTo>
                        <a:pt x="183577" y="498674"/>
                      </a:lnTo>
                      <a:lnTo>
                        <a:pt x="184694" y="498626"/>
                      </a:lnTo>
                      <a:lnTo>
                        <a:pt x="191919" y="498261"/>
                      </a:lnTo>
                      <a:lnTo>
                        <a:pt x="192684" y="498225"/>
                      </a:lnTo>
                      <a:lnTo>
                        <a:pt x="193425" y="497994"/>
                      </a:lnTo>
                      <a:lnTo>
                        <a:pt x="199448" y="496112"/>
                      </a:lnTo>
                      <a:lnTo>
                        <a:pt x="204438" y="495796"/>
                      </a:lnTo>
                      <a:lnTo>
                        <a:pt x="215914" y="501321"/>
                      </a:lnTo>
                      <a:lnTo>
                        <a:pt x="217444" y="502062"/>
                      </a:lnTo>
                      <a:lnTo>
                        <a:pt x="219131" y="501892"/>
                      </a:lnTo>
                      <a:lnTo>
                        <a:pt x="226879" y="501139"/>
                      </a:lnTo>
                      <a:lnTo>
                        <a:pt x="227692" y="501066"/>
                      </a:lnTo>
                      <a:lnTo>
                        <a:pt x="228457" y="500775"/>
                      </a:lnTo>
                      <a:lnTo>
                        <a:pt x="235622" y="498018"/>
                      </a:lnTo>
                      <a:lnTo>
                        <a:pt x="239580" y="497630"/>
                      </a:lnTo>
                      <a:lnTo>
                        <a:pt x="243247" y="499026"/>
                      </a:lnTo>
                      <a:lnTo>
                        <a:pt x="249525" y="503932"/>
                      </a:lnTo>
                      <a:lnTo>
                        <a:pt x="249853" y="504187"/>
                      </a:lnTo>
                      <a:lnTo>
                        <a:pt x="250205" y="504393"/>
                      </a:lnTo>
                      <a:lnTo>
                        <a:pt x="256520" y="508073"/>
                      </a:lnTo>
                      <a:lnTo>
                        <a:pt x="257321" y="508534"/>
                      </a:lnTo>
                      <a:lnTo>
                        <a:pt x="258220" y="508741"/>
                      </a:lnTo>
                      <a:lnTo>
                        <a:pt x="270520" y="511570"/>
                      </a:lnTo>
                      <a:lnTo>
                        <a:pt x="275742" y="514484"/>
                      </a:lnTo>
                      <a:lnTo>
                        <a:pt x="288176" y="524150"/>
                      </a:lnTo>
                      <a:lnTo>
                        <a:pt x="290629" y="526056"/>
                      </a:lnTo>
                      <a:lnTo>
                        <a:pt x="293604" y="525194"/>
                      </a:lnTo>
                      <a:lnTo>
                        <a:pt x="297951" y="523931"/>
                      </a:lnTo>
                      <a:lnTo>
                        <a:pt x="308722" y="524769"/>
                      </a:lnTo>
                      <a:lnTo>
                        <a:pt x="310386" y="524903"/>
                      </a:lnTo>
                      <a:lnTo>
                        <a:pt x="311891" y="524162"/>
                      </a:lnTo>
                      <a:lnTo>
                        <a:pt x="314150" y="523045"/>
                      </a:lnTo>
                      <a:lnTo>
                        <a:pt x="314211" y="523191"/>
                      </a:lnTo>
                      <a:lnTo>
                        <a:pt x="314963" y="523992"/>
                      </a:lnTo>
                      <a:lnTo>
                        <a:pt x="316226" y="525304"/>
                      </a:lnTo>
                      <a:lnTo>
                        <a:pt x="316931" y="526056"/>
                      </a:lnTo>
                      <a:lnTo>
                        <a:pt x="317853" y="526530"/>
                      </a:lnTo>
                      <a:lnTo>
                        <a:pt x="320039" y="527647"/>
                      </a:lnTo>
                      <a:lnTo>
                        <a:pt x="321448" y="528619"/>
                      </a:lnTo>
                      <a:lnTo>
                        <a:pt x="322444" y="529396"/>
                      </a:lnTo>
                      <a:lnTo>
                        <a:pt x="323221" y="529991"/>
                      </a:lnTo>
                      <a:lnTo>
                        <a:pt x="324144" y="530319"/>
                      </a:lnTo>
                      <a:lnTo>
                        <a:pt x="328199" y="531739"/>
                      </a:lnTo>
                      <a:lnTo>
                        <a:pt x="332498" y="533245"/>
                      </a:lnTo>
                      <a:lnTo>
                        <a:pt x="335145" y="529554"/>
                      </a:lnTo>
                      <a:lnTo>
                        <a:pt x="341459" y="520738"/>
                      </a:lnTo>
                      <a:lnTo>
                        <a:pt x="347154" y="515443"/>
                      </a:lnTo>
                      <a:lnTo>
                        <a:pt x="352594" y="512177"/>
                      </a:lnTo>
                      <a:lnTo>
                        <a:pt x="364397" y="511376"/>
                      </a:lnTo>
                      <a:lnTo>
                        <a:pt x="365466" y="511303"/>
                      </a:lnTo>
                      <a:lnTo>
                        <a:pt x="366450" y="510866"/>
                      </a:lnTo>
                      <a:lnTo>
                        <a:pt x="369376" y="509566"/>
                      </a:lnTo>
                      <a:lnTo>
                        <a:pt x="370372" y="509117"/>
                      </a:lnTo>
                      <a:lnTo>
                        <a:pt x="371149" y="508364"/>
                      </a:lnTo>
                      <a:lnTo>
                        <a:pt x="372278" y="507259"/>
                      </a:lnTo>
                      <a:lnTo>
                        <a:pt x="375192" y="505146"/>
                      </a:lnTo>
                      <a:lnTo>
                        <a:pt x="375569" y="504879"/>
                      </a:lnTo>
                      <a:lnTo>
                        <a:pt x="375897" y="504551"/>
                      </a:lnTo>
                      <a:lnTo>
                        <a:pt x="377026" y="503434"/>
                      </a:lnTo>
                      <a:lnTo>
                        <a:pt x="377985" y="502487"/>
                      </a:lnTo>
                      <a:lnTo>
                        <a:pt x="378459" y="501224"/>
                      </a:lnTo>
                      <a:lnTo>
                        <a:pt x="379042" y="499646"/>
                      </a:lnTo>
                      <a:lnTo>
                        <a:pt x="379200" y="499220"/>
                      </a:lnTo>
                      <a:lnTo>
                        <a:pt x="379297" y="498771"/>
                      </a:lnTo>
                      <a:lnTo>
                        <a:pt x="379710" y="496768"/>
                      </a:lnTo>
                      <a:lnTo>
                        <a:pt x="387530" y="494096"/>
                      </a:lnTo>
                      <a:lnTo>
                        <a:pt x="388453" y="493793"/>
                      </a:lnTo>
                      <a:lnTo>
                        <a:pt x="389218" y="493210"/>
                      </a:lnTo>
                      <a:lnTo>
                        <a:pt x="392168" y="490988"/>
                      </a:lnTo>
                      <a:lnTo>
                        <a:pt x="393164" y="490684"/>
                      </a:lnTo>
                      <a:lnTo>
                        <a:pt x="394500" y="490271"/>
                      </a:lnTo>
                      <a:lnTo>
                        <a:pt x="395508" y="489324"/>
                      </a:lnTo>
                      <a:lnTo>
                        <a:pt x="397463" y="487503"/>
                      </a:lnTo>
                      <a:lnTo>
                        <a:pt x="397900" y="487102"/>
                      </a:lnTo>
                      <a:lnTo>
                        <a:pt x="398240" y="486616"/>
                      </a:lnTo>
                      <a:lnTo>
                        <a:pt x="399782" y="484491"/>
                      </a:lnTo>
                      <a:lnTo>
                        <a:pt x="401239" y="482475"/>
                      </a:lnTo>
                      <a:lnTo>
                        <a:pt x="401494" y="482123"/>
                      </a:lnTo>
                      <a:lnTo>
                        <a:pt x="401701" y="481723"/>
                      </a:lnTo>
                      <a:lnTo>
                        <a:pt x="403996" y="477302"/>
                      </a:lnTo>
                      <a:lnTo>
                        <a:pt x="404797" y="475748"/>
                      </a:lnTo>
                      <a:lnTo>
                        <a:pt x="404651" y="474000"/>
                      </a:lnTo>
                      <a:lnTo>
                        <a:pt x="404651" y="473441"/>
                      </a:lnTo>
                      <a:lnTo>
                        <a:pt x="408488" y="468220"/>
                      </a:lnTo>
                      <a:lnTo>
                        <a:pt x="410759" y="466216"/>
                      </a:lnTo>
                      <a:lnTo>
                        <a:pt x="411682" y="465682"/>
                      </a:lnTo>
                      <a:lnTo>
                        <a:pt x="412896" y="464977"/>
                      </a:lnTo>
                      <a:lnTo>
                        <a:pt x="413674" y="463824"/>
                      </a:lnTo>
                      <a:lnTo>
                        <a:pt x="414074" y="463229"/>
                      </a:lnTo>
                      <a:lnTo>
                        <a:pt x="414742" y="462233"/>
                      </a:lnTo>
                      <a:lnTo>
                        <a:pt x="414985" y="461055"/>
                      </a:lnTo>
                      <a:lnTo>
                        <a:pt x="415556" y="458299"/>
                      </a:lnTo>
                      <a:lnTo>
                        <a:pt x="415665" y="457777"/>
                      </a:lnTo>
                      <a:lnTo>
                        <a:pt x="415677" y="457242"/>
                      </a:lnTo>
                      <a:lnTo>
                        <a:pt x="415738" y="455032"/>
                      </a:lnTo>
                      <a:lnTo>
                        <a:pt x="415738" y="454644"/>
                      </a:lnTo>
                      <a:lnTo>
                        <a:pt x="415701" y="454255"/>
                      </a:lnTo>
                      <a:lnTo>
                        <a:pt x="415471" y="451972"/>
                      </a:lnTo>
                      <a:lnTo>
                        <a:pt x="415374" y="450977"/>
                      </a:lnTo>
                      <a:lnTo>
                        <a:pt x="414961" y="450066"/>
                      </a:lnTo>
                      <a:lnTo>
                        <a:pt x="411439" y="442355"/>
                      </a:lnTo>
                      <a:lnTo>
                        <a:pt x="411184" y="441347"/>
                      </a:lnTo>
                      <a:lnTo>
                        <a:pt x="411427" y="436417"/>
                      </a:lnTo>
                      <a:lnTo>
                        <a:pt x="412787" y="433442"/>
                      </a:lnTo>
                      <a:lnTo>
                        <a:pt x="413443" y="431985"/>
                      </a:lnTo>
                      <a:lnTo>
                        <a:pt x="413309" y="430394"/>
                      </a:lnTo>
                      <a:lnTo>
                        <a:pt x="413200" y="429095"/>
                      </a:lnTo>
                      <a:lnTo>
                        <a:pt x="413164" y="428597"/>
                      </a:lnTo>
                      <a:lnTo>
                        <a:pt x="413042" y="428111"/>
                      </a:lnTo>
                      <a:lnTo>
                        <a:pt x="412459" y="425841"/>
                      </a:lnTo>
                      <a:lnTo>
                        <a:pt x="412228" y="424942"/>
                      </a:lnTo>
                      <a:lnTo>
                        <a:pt x="411731" y="424153"/>
                      </a:lnTo>
                      <a:lnTo>
                        <a:pt x="410577" y="422295"/>
                      </a:lnTo>
                      <a:lnTo>
                        <a:pt x="410358" y="421955"/>
                      </a:lnTo>
                      <a:lnTo>
                        <a:pt x="410103" y="421639"/>
                      </a:lnTo>
                      <a:lnTo>
                        <a:pt x="407347" y="418288"/>
                      </a:lnTo>
                      <a:lnTo>
                        <a:pt x="406667" y="417086"/>
                      </a:lnTo>
                      <a:lnTo>
                        <a:pt x="405987" y="415543"/>
                      </a:lnTo>
                      <a:lnTo>
                        <a:pt x="405781" y="415082"/>
                      </a:lnTo>
                      <a:lnTo>
                        <a:pt x="405513" y="414657"/>
                      </a:lnTo>
                      <a:lnTo>
                        <a:pt x="404190" y="412629"/>
                      </a:lnTo>
                      <a:lnTo>
                        <a:pt x="404020" y="412374"/>
                      </a:lnTo>
                      <a:lnTo>
                        <a:pt x="403826" y="412131"/>
                      </a:lnTo>
                      <a:lnTo>
                        <a:pt x="401761" y="409569"/>
                      </a:lnTo>
                      <a:lnTo>
                        <a:pt x="401567" y="409326"/>
                      </a:lnTo>
                      <a:lnTo>
                        <a:pt x="401336" y="409096"/>
                      </a:lnTo>
                      <a:lnTo>
                        <a:pt x="395131" y="402854"/>
                      </a:lnTo>
                      <a:lnTo>
                        <a:pt x="393504" y="400838"/>
                      </a:lnTo>
                      <a:lnTo>
                        <a:pt x="392933" y="399503"/>
                      </a:lnTo>
                      <a:lnTo>
                        <a:pt x="392860" y="398713"/>
                      </a:lnTo>
                      <a:lnTo>
                        <a:pt x="393298" y="398458"/>
                      </a:lnTo>
                      <a:lnTo>
                        <a:pt x="395350" y="397985"/>
                      </a:lnTo>
                      <a:lnTo>
                        <a:pt x="396382" y="397997"/>
                      </a:lnTo>
                      <a:lnTo>
                        <a:pt x="397268" y="398179"/>
                      </a:lnTo>
                      <a:lnTo>
                        <a:pt x="401239" y="399891"/>
                      </a:lnTo>
                      <a:lnTo>
                        <a:pt x="401773" y="400122"/>
                      </a:lnTo>
                      <a:lnTo>
                        <a:pt x="402332" y="400243"/>
                      </a:lnTo>
                      <a:lnTo>
                        <a:pt x="403595" y="400523"/>
                      </a:lnTo>
                      <a:lnTo>
                        <a:pt x="403971" y="400668"/>
                      </a:lnTo>
                      <a:lnTo>
                        <a:pt x="404323" y="400936"/>
                      </a:lnTo>
                      <a:lnTo>
                        <a:pt x="406958" y="404008"/>
                      </a:lnTo>
                      <a:lnTo>
                        <a:pt x="407396" y="404518"/>
                      </a:lnTo>
                      <a:lnTo>
                        <a:pt x="407918" y="404918"/>
                      </a:lnTo>
                      <a:lnTo>
                        <a:pt x="409351" y="405999"/>
                      </a:lnTo>
                      <a:lnTo>
                        <a:pt x="411876" y="407906"/>
                      </a:lnTo>
                      <a:lnTo>
                        <a:pt x="414888" y="406922"/>
                      </a:lnTo>
                      <a:lnTo>
                        <a:pt x="416952" y="406242"/>
                      </a:lnTo>
                      <a:lnTo>
                        <a:pt x="417608" y="406023"/>
                      </a:lnTo>
                      <a:lnTo>
                        <a:pt x="418203" y="405659"/>
                      </a:lnTo>
                      <a:lnTo>
                        <a:pt x="421530" y="403643"/>
                      </a:lnTo>
                      <a:lnTo>
                        <a:pt x="421906" y="403413"/>
                      </a:lnTo>
                      <a:lnTo>
                        <a:pt x="422246" y="403133"/>
                      </a:lnTo>
                      <a:lnTo>
                        <a:pt x="437073" y="390905"/>
                      </a:lnTo>
                      <a:lnTo>
                        <a:pt x="437425" y="390614"/>
                      </a:lnTo>
                      <a:lnTo>
                        <a:pt x="437729" y="390274"/>
                      </a:lnTo>
                      <a:lnTo>
                        <a:pt x="442197" y="385283"/>
                      </a:lnTo>
                      <a:lnTo>
                        <a:pt x="443144" y="384057"/>
                      </a:lnTo>
                      <a:lnTo>
                        <a:pt x="445427" y="382418"/>
                      </a:lnTo>
                      <a:lnTo>
                        <a:pt x="454219" y="378775"/>
                      </a:lnTo>
                      <a:lnTo>
                        <a:pt x="461784" y="376565"/>
                      </a:lnTo>
                      <a:lnTo>
                        <a:pt x="462087" y="376480"/>
                      </a:lnTo>
                      <a:lnTo>
                        <a:pt x="462379" y="376358"/>
                      </a:lnTo>
                      <a:lnTo>
                        <a:pt x="466350" y="374731"/>
                      </a:lnTo>
                      <a:lnTo>
                        <a:pt x="466884" y="374513"/>
                      </a:lnTo>
                      <a:lnTo>
                        <a:pt x="467370" y="374197"/>
                      </a:lnTo>
                      <a:lnTo>
                        <a:pt x="471328" y="371610"/>
                      </a:lnTo>
                      <a:lnTo>
                        <a:pt x="471899" y="371234"/>
                      </a:lnTo>
                      <a:lnTo>
                        <a:pt x="472372" y="370736"/>
                      </a:lnTo>
                      <a:lnTo>
                        <a:pt x="477035" y="365903"/>
                      </a:lnTo>
                      <a:lnTo>
                        <a:pt x="477740" y="365175"/>
                      </a:lnTo>
                      <a:lnTo>
                        <a:pt x="478165" y="364264"/>
                      </a:lnTo>
                      <a:lnTo>
                        <a:pt x="479828" y="360718"/>
                      </a:lnTo>
                      <a:lnTo>
                        <a:pt x="480083" y="360184"/>
                      </a:lnTo>
                      <a:lnTo>
                        <a:pt x="480229" y="359601"/>
                      </a:lnTo>
                      <a:lnTo>
                        <a:pt x="480909" y="356845"/>
                      </a:lnTo>
                      <a:lnTo>
                        <a:pt x="481067" y="356213"/>
                      </a:lnTo>
                      <a:lnTo>
                        <a:pt x="481079" y="355557"/>
                      </a:lnTo>
                      <a:lnTo>
                        <a:pt x="481091" y="355011"/>
                      </a:lnTo>
                      <a:lnTo>
                        <a:pt x="482475" y="353687"/>
                      </a:lnTo>
                      <a:lnTo>
                        <a:pt x="492663" y="347470"/>
                      </a:lnTo>
                      <a:lnTo>
                        <a:pt x="499828" y="344216"/>
                      </a:lnTo>
                      <a:lnTo>
                        <a:pt x="520750" y="340269"/>
                      </a:lnTo>
                      <a:lnTo>
                        <a:pt x="521770" y="340075"/>
                      </a:lnTo>
                      <a:lnTo>
                        <a:pt x="522668" y="339553"/>
                      </a:lnTo>
                      <a:lnTo>
                        <a:pt x="526299" y="337452"/>
                      </a:lnTo>
                      <a:lnTo>
                        <a:pt x="534617" y="343961"/>
                      </a:lnTo>
                      <a:lnTo>
                        <a:pt x="535334" y="344519"/>
                      </a:lnTo>
                      <a:lnTo>
                        <a:pt x="536183" y="344847"/>
                      </a:lnTo>
                      <a:lnTo>
                        <a:pt x="538758" y="345831"/>
                      </a:lnTo>
                      <a:lnTo>
                        <a:pt x="540045" y="346329"/>
                      </a:lnTo>
                      <a:lnTo>
                        <a:pt x="541417" y="346219"/>
                      </a:lnTo>
                      <a:lnTo>
                        <a:pt x="561878" y="344556"/>
                      </a:lnTo>
                      <a:lnTo>
                        <a:pt x="562777" y="344762"/>
                      </a:lnTo>
                      <a:lnTo>
                        <a:pt x="563821" y="345394"/>
                      </a:lnTo>
                      <a:lnTo>
                        <a:pt x="565521" y="347325"/>
                      </a:lnTo>
                      <a:lnTo>
                        <a:pt x="568605" y="350822"/>
                      </a:lnTo>
                      <a:lnTo>
                        <a:pt x="572782" y="348745"/>
                      </a:lnTo>
                      <a:lnTo>
                        <a:pt x="573669" y="348296"/>
                      </a:lnTo>
                      <a:lnTo>
                        <a:pt x="574434" y="347555"/>
                      </a:lnTo>
                      <a:lnTo>
                        <a:pt x="578477" y="343512"/>
                      </a:lnTo>
                      <a:lnTo>
                        <a:pt x="574689" y="339225"/>
                      </a:lnTo>
                      <a:lnTo>
                        <a:pt x="574337" y="338837"/>
                      </a:lnTo>
                      <a:lnTo>
                        <a:pt x="574325" y="338618"/>
                      </a:lnTo>
                      <a:lnTo>
                        <a:pt x="574227" y="334999"/>
                      </a:lnTo>
                      <a:lnTo>
                        <a:pt x="575029" y="334477"/>
                      </a:lnTo>
                      <a:lnTo>
                        <a:pt x="575733" y="332704"/>
                      </a:lnTo>
                      <a:lnTo>
                        <a:pt x="575964" y="332146"/>
                      </a:lnTo>
                      <a:lnTo>
                        <a:pt x="578101" y="329547"/>
                      </a:lnTo>
                      <a:lnTo>
                        <a:pt x="578854" y="329596"/>
                      </a:lnTo>
                      <a:lnTo>
                        <a:pt x="579036" y="328406"/>
                      </a:lnTo>
                      <a:lnTo>
                        <a:pt x="579376" y="327981"/>
                      </a:lnTo>
                      <a:lnTo>
                        <a:pt x="580736" y="328151"/>
                      </a:lnTo>
                      <a:lnTo>
                        <a:pt x="581647" y="328260"/>
                      </a:lnTo>
                      <a:lnTo>
                        <a:pt x="586589" y="328867"/>
                      </a:lnTo>
                      <a:lnTo>
                        <a:pt x="588155" y="324144"/>
                      </a:lnTo>
                      <a:lnTo>
                        <a:pt x="588568" y="322893"/>
                      </a:lnTo>
                      <a:lnTo>
                        <a:pt x="590378" y="317416"/>
                      </a:lnTo>
                      <a:lnTo>
                        <a:pt x="586978" y="316093"/>
                      </a:lnTo>
                      <a:lnTo>
                        <a:pt x="586686" y="315729"/>
                      </a:lnTo>
                      <a:lnTo>
                        <a:pt x="585593" y="314927"/>
                      </a:lnTo>
                      <a:lnTo>
                        <a:pt x="585035" y="314587"/>
                      </a:lnTo>
                      <a:lnTo>
                        <a:pt x="584610" y="313761"/>
                      </a:lnTo>
                      <a:lnTo>
                        <a:pt x="583456" y="311746"/>
                      </a:lnTo>
                      <a:lnTo>
                        <a:pt x="583225" y="311345"/>
                      </a:lnTo>
                      <a:lnTo>
                        <a:pt x="582946" y="310981"/>
                      </a:lnTo>
                      <a:lnTo>
                        <a:pt x="582375" y="310252"/>
                      </a:lnTo>
                      <a:lnTo>
                        <a:pt x="582375" y="309159"/>
                      </a:lnTo>
                      <a:lnTo>
                        <a:pt x="582764" y="306646"/>
                      </a:lnTo>
                      <a:lnTo>
                        <a:pt x="582849" y="305893"/>
                      </a:lnTo>
                      <a:lnTo>
                        <a:pt x="583055" y="304035"/>
                      </a:lnTo>
                      <a:lnTo>
                        <a:pt x="582169" y="302371"/>
                      </a:lnTo>
                      <a:lnTo>
                        <a:pt x="580736" y="299676"/>
                      </a:lnTo>
                      <a:lnTo>
                        <a:pt x="580311" y="298886"/>
                      </a:lnTo>
                      <a:lnTo>
                        <a:pt x="579680" y="298243"/>
                      </a:lnTo>
                      <a:lnTo>
                        <a:pt x="578210" y="296761"/>
                      </a:lnTo>
                      <a:lnTo>
                        <a:pt x="576146" y="294697"/>
                      </a:lnTo>
                      <a:lnTo>
                        <a:pt x="576450" y="293410"/>
                      </a:lnTo>
                      <a:lnTo>
                        <a:pt x="574531" y="293070"/>
                      </a:lnTo>
                      <a:lnTo>
                        <a:pt x="574276" y="292815"/>
                      </a:lnTo>
                      <a:lnTo>
                        <a:pt x="574070" y="292997"/>
                      </a:lnTo>
                      <a:lnTo>
                        <a:pt x="573972" y="292985"/>
                      </a:lnTo>
                      <a:lnTo>
                        <a:pt x="573948" y="292961"/>
                      </a:lnTo>
                      <a:lnTo>
                        <a:pt x="573669" y="292936"/>
                      </a:lnTo>
                      <a:lnTo>
                        <a:pt x="570062" y="292305"/>
                      </a:lnTo>
                      <a:lnTo>
                        <a:pt x="569917" y="292159"/>
                      </a:lnTo>
                      <a:lnTo>
                        <a:pt x="569006" y="290046"/>
                      </a:lnTo>
                      <a:lnTo>
                        <a:pt x="568824" y="288504"/>
                      </a:lnTo>
                      <a:lnTo>
                        <a:pt x="568690" y="287751"/>
                      </a:lnTo>
                      <a:lnTo>
                        <a:pt x="569164" y="285711"/>
                      </a:lnTo>
                      <a:lnTo>
                        <a:pt x="570038" y="281874"/>
                      </a:lnTo>
                      <a:lnTo>
                        <a:pt x="566954" y="279336"/>
                      </a:lnTo>
                      <a:lnTo>
                        <a:pt x="565460" y="278207"/>
                      </a:lnTo>
                      <a:lnTo>
                        <a:pt x="565727" y="277478"/>
                      </a:lnTo>
                      <a:lnTo>
                        <a:pt x="563092" y="276422"/>
                      </a:lnTo>
                      <a:lnTo>
                        <a:pt x="562109" y="275681"/>
                      </a:lnTo>
                      <a:lnTo>
                        <a:pt x="561890" y="275936"/>
                      </a:lnTo>
                      <a:lnTo>
                        <a:pt x="559984" y="275171"/>
                      </a:lnTo>
                      <a:lnTo>
                        <a:pt x="558102" y="274515"/>
                      </a:lnTo>
                      <a:lnTo>
                        <a:pt x="557591" y="274333"/>
                      </a:lnTo>
                      <a:lnTo>
                        <a:pt x="557069" y="274248"/>
                      </a:lnTo>
                      <a:lnTo>
                        <a:pt x="555211" y="273945"/>
                      </a:lnTo>
                      <a:lnTo>
                        <a:pt x="553657" y="273119"/>
                      </a:lnTo>
                      <a:lnTo>
                        <a:pt x="553475" y="272743"/>
                      </a:lnTo>
                      <a:lnTo>
                        <a:pt x="551982" y="269962"/>
                      </a:lnTo>
                      <a:lnTo>
                        <a:pt x="551314" y="268723"/>
                      </a:lnTo>
                      <a:lnTo>
                        <a:pt x="550172" y="267910"/>
                      </a:lnTo>
                      <a:lnTo>
                        <a:pt x="547974" y="266331"/>
                      </a:lnTo>
                      <a:lnTo>
                        <a:pt x="543129" y="262846"/>
                      </a:lnTo>
                      <a:lnTo>
                        <a:pt x="542911" y="263137"/>
                      </a:lnTo>
                      <a:lnTo>
                        <a:pt x="542425" y="262834"/>
                      </a:lnTo>
                      <a:lnTo>
                        <a:pt x="541951" y="262579"/>
                      </a:lnTo>
                      <a:lnTo>
                        <a:pt x="539790" y="260126"/>
                      </a:lnTo>
                      <a:lnTo>
                        <a:pt x="537580" y="257612"/>
                      </a:lnTo>
                      <a:lnTo>
                        <a:pt x="536451" y="255937"/>
                      </a:lnTo>
                      <a:lnTo>
                        <a:pt x="534508" y="253314"/>
                      </a:lnTo>
                      <a:lnTo>
                        <a:pt x="532043" y="249987"/>
                      </a:lnTo>
                      <a:lnTo>
                        <a:pt x="527939" y="250910"/>
                      </a:lnTo>
                      <a:lnTo>
                        <a:pt x="525583" y="251553"/>
                      </a:lnTo>
                      <a:lnTo>
                        <a:pt x="522183" y="252476"/>
                      </a:lnTo>
                      <a:lnTo>
                        <a:pt x="522086" y="252415"/>
                      </a:lnTo>
                      <a:lnTo>
                        <a:pt x="521940" y="252185"/>
                      </a:lnTo>
                      <a:lnTo>
                        <a:pt x="518479" y="246914"/>
                      </a:lnTo>
                      <a:lnTo>
                        <a:pt x="518224" y="247097"/>
                      </a:lnTo>
                      <a:lnTo>
                        <a:pt x="517471" y="246113"/>
                      </a:lnTo>
                      <a:lnTo>
                        <a:pt x="513950" y="242252"/>
                      </a:lnTo>
                      <a:lnTo>
                        <a:pt x="511436" y="239519"/>
                      </a:lnTo>
                      <a:lnTo>
                        <a:pt x="511533" y="238949"/>
                      </a:lnTo>
                      <a:lnTo>
                        <a:pt x="510793" y="238827"/>
                      </a:lnTo>
                      <a:lnTo>
                        <a:pt x="509821" y="237783"/>
                      </a:lnTo>
                      <a:lnTo>
                        <a:pt x="508995" y="238548"/>
                      </a:lnTo>
                      <a:lnTo>
                        <a:pt x="505207" y="237941"/>
                      </a:lnTo>
                      <a:lnTo>
                        <a:pt x="503968" y="237795"/>
                      </a:lnTo>
                      <a:lnTo>
                        <a:pt x="500884" y="237443"/>
                      </a:lnTo>
                      <a:lnTo>
                        <a:pt x="498795" y="239738"/>
                      </a:lnTo>
                      <a:lnTo>
                        <a:pt x="496476" y="242288"/>
                      </a:lnTo>
                      <a:lnTo>
                        <a:pt x="494266" y="243769"/>
                      </a:lnTo>
                      <a:lnTo>
                        <a:pt x="493222" y="244024"/>
                      </a:lnTo>
                      <a:lnTo>
                        <a:pt x="492845" y="244134"/>
                      </a:lnTo>
                      <a:lnTo>
                        <a:pt x="493574" y="240831"/>
                      </a:lnTo>
                      <a:lnTo>
                        <a:pt x="493987" y="239787"/>
                      </a:lnTo>
                      <a:lnTo>
                        <a:pt x="495395" y="235561"/>
                      </a:lnTo>
                      <a:lnTo>
                        <a:pt x="495529" y="235160"/>
                      </a:lnTo>
                      <a:lnTo>
                        <a:pt x="495602" y="234735"/>
                      </a:lnTo>
                      <a:lnTo>
                        <a:pt x="495857" y="233339"/>
                      </a:lnTo>
                      <a:lnTo>
                        <a:pt x="495930" y="232950"/>
                      </a:lnTo>
                      <a:lnTo>
                        <a:pt x="496258" y="232974"/>
                      </a:lnTo>
                      <a:lnTo>
                        <a:pt x="496768" y="228360"/>
                      </a:lnTo>
                      <a:lnTo>
                        <a:pt x="496913" y="227547"/>
                      </a:lnTo>
                      <a:lnTo>
                        <a:pt x="496865" y="227534"/>
                      </a:lnTo>
                      <a:lnTo>
                        <a:pt x="496938" y="226842"/>
                      </a:lnTo>
                      <a:lnTo>
                        <a:pt x="497180" y="223090"/>
                      </a:lnTo>
                      <a:lnTo>
                        <a:pt x="497217" y="222519"/>
                      </a:lnTo>
                      <a:lnTo>
                        <a:pt x="497144" y="221949"/>
                      </a:lnTo>
                      <a:lnTo>
                        <a:pt x="496877" y="219836"/>
                      </a:lnTo>
                      <a:lnTo>
                        <a:pt x="496124" y="213910"/>
                      </a:lnTo>
                      <a:lnTo>
                        <a:pt x="495480" y="213983"/>
                      </a:lnTo>
                      <a:lnTo>
                        <a:pt x="495323" y="213266"/>
                      </a:lnTo>
                      <a:lnTo>
                        <a:pt x="494922" y="211809"/>
                      </a:lnTo>
                      <a:lnTo>
                        <a:pt x="493805" y="210425"/>
                      </a:lnTo>
                      <a:lnTo>
                        <a:pt x="490526" y="206976"/>
                      </a:lnTo>
                      <a:lnTo>
                        <a:pt x="490866" y="206709"/>
                      </a:lnTo>
                      <a:lnTo>
                        <a:pt x="488000" y="201901"/>
                      </a:lnTo>
                      <a:lnTo>
                        <a:pt x="485062" y="197566"/>
                      </a:lnTo>
                      <a:lnTo>
                        <a:pt x="484831" y="197189"/>
                      </a:lnTo>
                      <a:lnTo>
                        <a:pt x="481225" y="191433"/>
                      </a:lnTo>
                      <a:lnTo>
                        <a:pt x="481188" y="191470"/>
                      </a:lnTo>
                      <a:lnTo>
                        <a:pt x="478517" y="187256"/>
                      </a:lnTo>
                      <a:lnTo>
                        <a:pt x="476647" y="184293"/>
                      </a:lnTo>
                      <a:lnTo>
                        <a:pt x="475894" y="182630"/>
                      </a:lnTo>
                      <a:lnTo>
                        <a:pt x="475177" y="181233"/>
                      </a:lnTo>
                      <a:lnTo>
                        <a:pt x="473720" y="180068"/>
                      </a:lnTo>
                      <a:lnTo>
                        <a:pt x="469106" y="176971"/>
                      </a:lnTo>
                      <a:lnTo>
                        <a:pt x="468390" y="176485"/>
                      </a:lnTo>
                      <a:lnTo>
                        <a:pt x="467114" y="174239"/>
                      </a:lnTo>
                      <a:lnTo>
                        <a:pt x="466010" y="172527"/>
                      </a:lnTo>
                      <a:lnTo>
                        <a:pt x="463557" y="169151"/>
                      </a:lnTo>
                      <a:lnTo>
                        <a:pt x="459853" y="164088"/>
                      </a:lnTo>
                      <a:lnTo>
                        <a:pt x="459768" y="164148"/>
                      </a:lnTo>
                      <a:lnTo>
                        <a:pt x="456283" y="159668"/>
                      </a:lnTo>
                      <a:lnTo>
                        <a:pt x="451608" y="153657"/>
                      </a:lnTo>
                      <a:lnTo>
                        <a:pt x="450491" y="155029"/>
                      </a:lnTo>
                      <a:lnTo>
                        <a:pt x="449835" y="154592"/>
                      </a:lnTo>
                      <a:lnTo>
                        <a:pt x="447492" y="153232"/>
                      </a:lnTo>
                      <a:lnTo>
                        <a:pt x="444638" y="151568"/>
                      </a:lnTo>
                      <a:lnTo>
                        <a:pt x="441699" y="153062"/>
                      </a:lnTo>
                      <a:lnTo>
                        <a:pt x="438870" y="154495"/>
                      </a:lnTo>
                      <a:lnTo>
                        <a:pt x="435409" y="156255"/>
                      </a:lnTo>
                      <a:lnTo>
                        <a:pt x="434681" y="156413"/>
                      </a:lnTo>
                      <a:lnTo>
                        <a:pt x="430625" y="157506"/>
                      </a:lnTo>
                      <a:lnTo>
                        <a:pt x="430249" y="157518"/>
                      </a:lnTo>
                      <a:lnTo>
                        <a:pt x="426156" y="157700"/>
                      </a:lnTo>
                      <a:lnTo>
                        <a:pt x="425731" y="157603"/>
                      </a:lnTo>
                      <a:lnTo>
                        <a:pt x="421408" y="156838"/>
                      </a:lnTo>
                      <a:lnTo>
                        <a:pt x="417632" y="154907"/>
                      </a:lnTo>
                      <a:lnTo>
                        <a:pt x="413273" y="151180"/>
                      </a:lnTo>
                      <a:lnTo>
                        <a:pt x="410528" y="148848"/>
                      </a:lnTo>
                      <a:lnTo>
                        <a:pt x="409096" y="147379"/>
                      </a:lnTo>
                      <a:lnTo>
                        <a:pt x="407893" y="146262"/>
                      </a:lnTo>
                      <a:lnTo>
                        <a:pt x="405805" y="143663"/>
                      </a:lnTo>
                      <a:lnTo>
                        <a:pt x="405598" y="143408"/>
                      </a:lnTo>
                      <a:lnTo>
                        <a:pt x="405683" y="143323"/>
                      </a:lnTo>
                      <a:lnTo>
                        <a:pt x="404421" y="141963"/>
                      </a:lnTo>
                      <a:lnTo>
                        <a:pt x="402186" y="139182"/>
                      </a:lnTo>
                      <a:lnTo>
                        <a:pt x="401980" y="139328"/>
                      </a:lnTo>
                      <a:lnTo>
                        <a:pt x="401397" y="138697"/>
                      </a:lnTo>
                      <a:lnTo>
                        <a:pt x="398689" y="136074"/>
                      </a:lnTo>
                      <a:lnTo>
                        <a:pt x="398228" y="135394"/>
                      </a:lnTo>
                      <a:lnTo>
                        <a:pt x="394573" y="129917"/>
                      </a:lnTo>
                      <a:lnTo>
                        <a:pt x="394560" y="129917"/>
                      </a:lnTo>
                      <a:lnTo>
                        <a:pt x="394390" y="129662"/>
                      </a:lnTo>
                      <a:lnTo>
                        <a:pt x="393407" y="126627"/>
                      </a:lnTo>
                      <a:lnTo>
                        <a:pt x="392897" y="125097"/>
                      </a:lnTo>
                      <a:lnTo>
                        <a:pt x="394038" y="124234"/>
                      </a:lnTo>
                      <a:lnTo>
                        <a:pt x="390614" y="119207"/>
                      </a:lnTo>
                      <a:lnTo>
                        <a:pt x="387105" y="114569"/>
                      </a:lnTo>
                      <a:lnTo>
                        <a:pt x="386036" y="113148"/>
                      </a:lnTo>
                      <a:lnTo>
                        <a:pt x="386073" y="113099"/>
                      </a:lnTo>
                      <a:lnTo>
                        <a:pt x="385915" y="112990"/>
                      </a:lnTo>
                      <a:lnTo>
                        <a:pt x="383486" y="109772"/>
                      </a:lnTo>
                      <a:lnTo>
                        <a:pt x="382418" y="110574"/>
                      </a:lnTo>
                      <a:lnTo>
                        <a:pt x="380888" y="109517"/>
                      </a:lnTo>
                      <a:lnTo>
                        <a:pt x="379297" y="108534"/>
                      </a:lnTo>
                      <a:lnTo>
                        <a:pt x="379030" y="108364"/>
                      </a:lnTo>
                      <a:lnTo>
                        <a:pt x="378738" y="108218"/>
                      </a:lnTo>
                      <a:lnTo>
                        <a:pt x="373869" y="105874"/>
                      </a:lnTo>
                      <a:lnTo>
                        <a:pt x="372642" y="107574"/>
                      </a:lnTo>
                      <a:lnTo>
                        <a:pt x="368587" y="106615"/>
                      </a:lnTo>
                      <a:lnTo>
                        <a:pt x="368307" y="106494"/>
                      </a:lnTo>
                      <a:lnTo>
                        <a:pt x="365794" y="105073"/>
                      </a:lnTo>
                      <a:lnTo>
                        <a:pt x="364665" y="104429"/>
                      </a:lnTo>
                      <a:lnTo>
                        <a:pt x="363377" y="104308"/>
                      </a:lnTo>
                      <a:lnTo>
                        <a:pt x="362248" y="104199"/>
                      </a:lnTo>
                      <a:lnTo>
                        <a:pt x="360682" y="104053"/>
                      </a:lnTo>
                      <a:lnTo>
                        <a:pt x="358654" y="103130"/>
                      </a:lnTo>
                      <a:lnTo>
                        <a:pt x="355849" y="100471"/>
                      </a:lnTo>
                      <a:lnTo>
                        <a:pt x="351077" y="95941"/>
                      </a:lnTo>
                      <a:lnTo>
                        <a:pt x="350919" y="96136"/>
                      </a:lnTo>
                      <a:lnTo>
                        <a:pt x="348575" y="94181"/>
                      </a:lnTo>
                      <a:lnTo>
                        <a:pt x="347592" y="93027"/>
                      </a:lnTo>
                      <a:lnTo>
                        <a:pt x="344228" y="89044"/>
                      </a:lnTo>
                      <a:lnTo>
                        <a:pt x="343779" y="88473"/>
                      </a:lnTo>
                      <a:lnTo>
                        <a:pt x="339784" y="84029"/>
                      </a:lnTo>
                      <a:lnTo>
                        <a:pt x="335837" y="79646"/>
                      </a:lnTo>
                      <a:lnTo>
                        <a:pt x="335704" y="79767"/>
                      </a:lnTo>
                      <a:lnTo>
                        <a:pt x="333481" y="76646"/>
                      </a:lnTo>
                      <a:lnTo>
                        <a:pt x="332996" y="75954"/>
                      </a:lnTo>
                      <a:lnTo>
                        <a:pt x="332328" y="75420"/>
                      </a:lnTo>
                      <a:lnTo>
                        <a:pt x="331648" y="74885"/>
                      </a:lnTo>
                      <a:lnTo>
                        <a:pt x="331721" y="74582"/>
                      </a:lnTo>
                      <a:lnTo>
                        <a:pt x="332364" y="71862"/>
                      </a:lnTo>
                      <a:lnTo>
                        <a:pt x="330725" y="69603"/>
                      </a:lnTo>
                      <a:lnTo>
                        <a:pt x="330434" y="69203"/>
                      </a:lnTo>
                      <a:lnTo>
                        <a:pt x="330373" y="68814"/>
                      </a:lnTo>
                      <a:lnTo>
                        <a:pt x="330264" y="68085"/>
                      </a:lnTo>
                      <a:lnTo>
                        <a:pt x="329972" y="67405"/>
                      </a:lnTo>
                      <a:lnTo>
                        <a:pt x="329365" y="65960"/>
                      </a:lnTo>
                      <a:lnTo>
                        <a:pt x="329499" y="65863"/>
                      </a:lnTo>
                      <a:lnTo>
                        <a:pt x="334259" y="67065"/>
                      </a:lnTo>
                      <a:lnTo>
                        <a:pt x="329839" y="56015"/>
                      </a:lnTo>
                      <a:lnTo>
                        <a:pt x="328782" y="52858"/>
                      </a:lnTo>
                      <a:lnTo>
                        <a:pt x="325467" y="51741"/>
                      </a:lnTo>
                      <a:lnTo>
                        <a:pt x="303367" y="46167"/>
                      </a:lnTo>
                      <a:lnTo>
                        <a:pt x="296615" y="43083"/>
                      </a:lnTo>
                      <a:lnTo>
                        <a:pt x="290168" y="38590"/>
                      </a:lnTo>
                      <a:lnTo>
                        <a:pt x="287921" y="36247"/>
                      </a:lnTo>
                      <a:lnTo>
                        <a:pt x="285432" y="32652"/>
                      </a:lnTo>
                      <a:lnTo>
                        <a:pt x="284703" y="31608"/>
                      </a:lnTo>
                      <a:lnTo>
                        <a:pt x="283623" y="30940"/>
                      </a:lnTo>
                      <a:lnTo>
                        <a:pt x="281340" y="29532"/>
                      </a:lnTo>
                      <a:lnTo>
                        <a:pt x="279166" y="28184"/>
                      </a:lnTo>
                      <a:lnTo>
                        <a:pt x="277733" y="27309"/>
                      </a:lnTo>
                      <a:lnTo>
                        <a:pt x="276058" y="27285"/>
                      </a:lnTo>
                      <a:lnTo>
                        <a:pt x="269160" y="27200"/>
                      </a:lnTo>
                      <a:lnTo>
                        <a:pt x="268517" y="27200"/>
                      </a:lnTo>
                      <a:lnTo>
                        <a:pt x="267885" y="27322"/>
                      </a:lnTo>
                      <a:lnTo>
                        <a:pt x="256107" y="29702"/>
                      </a:lnTo>
                      <a:lnTo>
                        <a:pt x="239811" y="30467"/>
                      </a:lnTo>
                      <a:lnTo>
                        <a:pt x="174737" y="18275"/>
                      </a:lnTo>
                      <a:lnTo>
                        <a:pt x="127719" y="2259"/>
                      </a:lnTo>
                      <a:lnTo>
                        <a:pt x="127234" y="2089"/>
                      </a:lnTo>
                      <a:lnTo>
                        <a:pt x="126724" y="2004"/>
                      </a:lnTo>
                      <a:lnTo>
                        <a:pt x="114872" y="109"/>
                      </a:lnTo>
                      <a:lnTo>
                        <a:pt x="114107" y="0"/>
                      </a:lnTo>
                      <a:lnTo>
                        <a:pt x="114107" y="0"/>
                      </a:lnTo>
                      <a:close/>
                    </a:path>
                  </a:pathLst>
                </a:custGeom>
                <a:solidFill>
                  <a:srgbClr val="FFFFFF"/>
                </a:solidFill>
                <a:ln w="12138" cap="flat">
                  <a:noFill/>
                  <a:prstDash val="solid"/>
                  <a:miter/>
                </a:ln>
              </p:spPr>
              <p:txBody>
                <a:bodyPr rtlCol="0" anchor="ctr"/>
                <a:lstStyle/>
                <a:p>
                  <a:endParaRPr lang="en-US"/>
                </a:p>
              </p:txBody>
            </p:sp>
          </p:grpSp>
          <p:grpSp>
            <p:nvGrpSpPr>
              <p:cNvPr id="274" name="Graphic 280">
                <a:extLst>
                  <a:ext uri="{FF2B5EF4-FFF2-40B4-BE49-F238E27FC236}">
                    <a16:creationId xmlns:a16="http://schemas.microsoft.com/office/drawing/2014/main" id="{4B101EDC-AA78-42C2-904C-0444FE33294F}"/>
                  </a:ext>
                </a:extLst>
              </p:cNvPr>
              <p:cNvGrpSpPr/>
              <p:nvPr/>
            </p:nvGrpSpPr>
            <p:grpSpPr>
              <a:xfrm>
                <a:off x="7746941" y="2264883"/>
                <a:ext cx="1098255" cy="514459"/>
                <a:chOff x="7746941" y="2264883"/>
                <a:chExt cx="1098255" cy="514459"/>
              </a:xfrm>
            </p:grpSpPr>
            <p:sp>
              <p:nvSpPr>
                <p:cNvPr id="302" name="Freeform: Shape 301">
                  <a:extLst>
                    <a:ext uri="{FF2B5EF4-FFF2-40B4-BE49-F238E27FC236}">
                      <a16:creationId xmlns:a16="http://schemas.microsoft.com/office/drawing/2014/main" id="{91E9786A-C2CF-4E2D-AD5F-4860EBB7D776}"/>
                    </a:ext>
                  </a:extLst>
                </p:cNvPr>
                <p:cNvSpPr/>
                <p:nvPr/>
              </p:nvSpPr>
              <p:spPr>
                <a:xfrm>
                  <a:off x="7749977" y="2267943"/>
                  <a:ext cx="1092038" cy="508351"/>
                </a:xfrm>
                <a:custGeom>
                  <a:avLst/>
                  <a:gdLst>
                    <a:gd name="connsiteX0" fmla="*/ 94010 w 1092038"/>
                    <a:gd name="connsiteY0" fmla="*/ 505450 h 508351"/>
                    <a:gd name="connsiteX1" fmla="*/ 95771 w 1092038"/>
                    <a:gd name="connsiteY1" fmla="*/ 496950 h 508351"/>
                    <a:gd name="connsiteX2" fmla="*/ 92796 w 1092038"/>
                    <a:gd name="connsiteY2" fmla="*/ 486058 h 508351"/>
                    <a:gd name="connsiteX3" fmla="*/ 89761 w 1092038"/>
                    <a:gd name="connsiteY3" fmla="*/ 480144 h 508351"/>
                    <a:gd name="connsiteX4" fmla="*/ 80520 w 1092038"/>
                    <a:gd name="connsiteY4" fmla="*/ 471450 h 508351"/>
                    <a:gd name="connsiteX5" fmla="*/ 77994 w 1092038"/>
                    <a:gd name="connsiteY5" fmla="*/ 464224 h 508351"/>
                    <a:gd name="connsiteX6" fmla="*/ 77897 w 1092038"/>
                    <a:gd name="connsiteY6" fmla="*/ 459477 h 508351"/>
                    <a:gd name="connsiteX7" fmla="*/ 78419 w 1092038"/>
                    <a:gd name="connsiteY7" fmla="*/ 455372 h 508351"/>
                    <a:gd name="connsiteX8" fmla="*/ 79500 w 1092038"/>
                    <a:gd name="connsiteY8" fmla="*/ 451474 h 508351"/>
                    <a:gd name="connsiteX9" fmla="*/ 81103 w 1092038"/>
                    <a:gd name="connsiteY9" fmla="*/ 447783 h 508351"/>
                    <a:gd name="connsiteX10" fmla="*/ 81856 w 1092038"/>
                    <a:gd name="connsiteY10" fmla="*/ 446824 h 508351"/>
                    <a:gd name="connsiteX11" fmla="*/ 84988 w 1092038"/>
                    <a:gd name="connsiteY11" fmla="*/ 443375 h 508351"/>
                    <a:gd name="connsiteX12" fmla="*/ 85765 w 1092038"/>
                    <a:gd name="connsiteY12" fmla="*/ 442161 h 508351"/>
                    <a:gd name="connsiteX13" fmla="*/ 86372 w 1092038"/>
                    <a:gd name="connsiteY13" fmla="*/ 437838 h 508351"/>
                    <a:gd name="connsiteX14" fmla="*/ 87210 w 1092038"/>
                    <a:gd name="connsiteY14" fmla="*/ 435397 h 508351"/>
                    <a:gd name="connsiteX15" fmla="*/ 90404 w 1092038"/>
                    <a:gd name="connsiteY15" fmla="*/ 431451 h 508351"/>
                    <a:gd name="connsiteX16" fmla="*/ 95990 w 1092038"/>
                    <a:gd name="connsiteY16" fmla="*/ 426848 h 508351"/>
                    <a:gd name="connsiteX17" fmla="*/ 96609 w 1092038"/>
                    <a:gd name="connsiteY17" fmla="*/ 425100 h 508351"/>
                    <a:gd name="connsiteX18" fmla="*/ 96160 w 1092038"/>
                    <a:gd name="connsiteY18" fmla="*/ 423667 h 508351"/>
                    <a:gd name="connsiteX19" fmla="*/ 79985 w 1092038"/>
                    <a:gd name="connsiteY19" fmla="*/ 395083 h 508351"/>
                    <a:gd name="connsiteX20" fmla="*/ 77520 w 1092038"/>
                    <a:gd name="connsiteY20" fmla="*/ 392278 h 508351"/>
                    <a:gd name="connsiteX21" fmla="*/ 77204 w 1092038"/>
                    <a:gd name="connsiteY21" fmla="*/ 392387 h 508351"/>
                    <a:gd name="connsiteX22" fmla="*/ 72542 w 1092038"/>
                    <a:gd name="connsiteY22" fmla="*/ 395933 h 508351"/>
                    <a:gd name="connsiteX23" fmla="*/ 69312 w 1092038"/>
                    <a:gd name="connsiteY23" fmla="*/ 397159 h 508351"/>
                    <a:gd name="connsiteX24" fmla="*/ 61273 w 1092038"/>
                    <a:gd name="connsiteY24" fmla="*/ 396916 h 508351"/>
                    <a:gd name="connsiteX25" fmla="*/ 56890 w 1092038"/>
                    <a:gd name="connsiteY25" fmla="*/ 397705 h 508351"/>
                    <a:gd name="connsiteX26" fmla="*/ 42792 w 1092038"/>
                    <a:gd name="connsiteY26" fmla="*/ 402502 h 508351"/>
                    <a:gd name="connsiteX27" fmla="*/ 34765 w 1092038"/>
                    <a:gd name="connsiteY27" fmla="*/ 403328 h 508351"/>
                    <a:gd name="connsiteX28" fmla="*/ 32373 w 1092038"/>
                    <a:gd name="connsiteY28" fmla="*/ 399624 h 508351"/>
                    <a:gd name="connsiteX29" fmla="*/ 32130 w 1092038"/>
                    <a:gd name="connsiteY29" fmla="*/ 396613 h 508351"/>
                    <a:gd name="connsiteX30" fmla="*/ 30042 w 1092038"/>
                    <a:gd name="connsiteY30" fmla="*/ 393771 h 508351"/>
                    <a:gd name="connsiteX31" fmla="*/ 26629 w 1092038"/>
                    <a:gd name="connsiteY31" fmla="*/ 392326 h 508351"/>
                    <a:gd name="connsiteX32" fmla="*/ 22671 w 1092038"/>
                    <a:gd name="connsiteY32" fmla="*/ 391683 h 508351"/>
                    <a:gd name="connsiteX33" fmla="*/ 17219 w 1092038"/>
                    <a:gd name="connsiteY33" fmla="*/ 390104 h 508351"/>
                    <a:gd name="connsiteX34" fmla="*/ 13721 w 1092038"/>
                    <a:gd name="connsiteY34" fmla="*/ 386255 h 508351"/>
                    <a:gd name="connsiteX35" fmla="*/ 11936 w 1092038"/>
                    <a:gd name="connsiteY35" fmla="*/ 382843 h 508351"/>
                    <a:gd name="connsiteX36" fmla="*/ 7104 w 1092038"/>
                    <a:gd name="connsiteY36" fmla="*/ 379090 h 508351"/>
                    <a:gd name="connsiteX37" fmla="*/ 4602 w 1092038"/>
                    <a:gd name="connsiteY37" fmla="*/ 375411 h 508351"/>
                    <a:gd name="connsiteX38" fmla="*/ 0 w 1092038"/>
                    <a:gd name="connsiteY38" fmla="*/ 359139 h 508351"/>
                    <a:gd name="connsiteX39" fmla="*/ 1506 w 1092038"/>
                    <a:gd name="connsiteY39" fmla="*/ 349996 h 508351"/>
                    <a:gd name="connsiteX40" fmla="*/ 10260 w 1092038"/>
                    <a:gd name="connsiteY40" fmla="*/ 338217 h 508351"/>
                    <a:gd name="connsiteX41" fmla="*/ 11633 w 1092038"/>
                    <a:gd name="connsiteY41" fmla="*/ 327750 h 508351"/>
                    <a:gd name="connsiteX42" fmla="*/ 40618 w 1092038"/>
                    <a:gd name="connsiteY42" fmla="*/ 326754 h 508351"/>
                    <a:gd name="connsiteX43" fmla="*/ 49142 w 1092038"/>
                    <a:gd name="connsiteY43" fmla="*/ 328721 h 508351"/>
                    <a:gd name="connsiteX44" fmla="*/ 56476 w 1092038"/>
                    <a:gd name="connsiteY44" fmla="*/ 332971 h 508351"/>
                    <a:gd name="connsiteX45" fmla="*/ 58869 w 1092038"/>
                    <a:gd name="connsiteY45" fmla="*/ 333785 h 508351"/>
                    <a:gd name="connsiteX46" fmla="*/ 65912 w 1092038"/>
                    <a:gd name="connsiteY46" fmla="*/ 333227 h 508351"/>
                    <a:gd name="connsiteX47" fmla="*/ 74740 w 1092038"/>
                    <a:gd name="connsiteY47" fmla="*/ 334720 h 508351"/>
                    <a:gd name="connsiteX48" fmla="*/ 78225 w 1092038"/>
                    <a:gd name="connsiteY48" fmla="*/ 334295 h 508351"/>
                    <a:gd name="connsiteX49" fmla="*/ 84260 w 1092038"/>
                    <a:gd name="connsiteY49" fmla="*/ 331551 h 508351"/>
                    <a:gd name="connsiteX50" fmla="*/ 94108 w 1092038"/>
                    <a:gd name="connsiteY50" fmla="*/ 321496 h 508351"/>
                    <a:gd name="connsiteX51" fmla="*/ 101806 w 1092038"/>
                    <a:gd name="connsiteY51" fmla="*/ 317538 h 508351"/>
                    <a:gd name="connsiteX52" fmla="*/ 106578 w 1092038"/>
                    <a:gd name="connsiteY52" fmla="*/ 316870 h 508351"/>
                    <a:gd name="connsiteX53" fmla="*/ 122801 w 1092038"/>
                    <a:gd name="connsiteY53" fmla="*/ 318157 h 508351"/>
                    <a:gd name="connsiteX54" fmla="*/ 123870 w 1092038"/>
                    <a:gd name="connsiteY54" fmla="*/ 318011 h 508351"/>
                    <a:gd name="connsiteX55" fmla="*/ 124028 w 1092038"/>
                    <a:gd name="connsiteY55" fmla="*/ 317696 h 508351"/>
                    <a:gd name="connsiteX56" fmla="*/ 123882 w 1092038"/>
                    <a:gd name="connsiteY56" fmla="*/ 316833 h 508351"/>
                    <a:gd name="connsiteX57" fmla="*/ 123336 w 1092038"/>
                    <a:gd name="connsiteY57" fmla="*/ 315559 h 508351"/>
                    <a:gd name="connsiteX58" fmla="*/ 123129 w 1092038"/>
                    <a:gd name="connsiteY58" fmla="*/ 312499 h 508351"/>
                    <a:gd name="connsiteX59" fmla="*/ 123129 w 1092038"/>
                    <a:gd name="connsiteY59" fmla="*/ 311661 h 508351"/>
                    <a:gd name="connsiteX60" fmla="*/ 126712 w 1092038"/>
                    <a:gd name="connsiteY60" fmla="*/ 305674 h 508351"/>
                    <a:gd name="connsiteX61" fmla="*/ 131908 w 1092038"/>
                    <a:gd name="connsiteY61" fmla="*/ 307180 h 508351"/>
                    <a:gd name="connsiteX62" fmla="*/ 134240 w 1092038"/>
                    <a:gd name="connsiteY62" fmla="*/ 311151 h 508351"/>
                    <a:gd name="connsiteX63" fmla="*/ 137579 w 1092038"/>
                    <a:gd name="connsiteY63" fmla="*/ 318898 h 508351"/>
                    <a:gd name="connsiteX64" fmla="*/ 139231 w 1092038"/>
                    <a:gd name="connsiteY64" fmla="*/ 321314 h 508351"/>
                    <a:gd name="connsiteX65" fmla="*/ 140141 w 1092038"/>
                    <a:gd name="connsiteY65" fmla="*/ 319979 h 508351"/>
                    <a:gd name="connsiteX66" fmla="*/ 143068 w 1092038"/>
                    <a:gd name="connsiteY66" fmla="*/ 312013 h 508351"/>
                    <a:gd name="connsiteX67" fmla="*/ 147318 w 1092038"/>
                    <a:gd name="connsiteY67" fmla="*/ 313397 h 508351"/>
                    <a:gd name="connsiteX68" fmla="*/ 148811 w 1092038"/>
                    <a:gd name="connsiteY68" fmla="*/ 315243 h 508351"/>
                    <a:gd name="connsiteX69" fmla="*/ 149783 w 1092038"/>
                    <a:gd name="connsiteY69" fmla="*/ 318400 h 508351"/>
                    <a:gd name="connsiteX70" fmla="*/ 150099 w 1092038"/>
                    <a:gd name="connsiteY70" fmla="*/ 318764 h 508351"/>
                    <a:gd name="connsiteX71" fmla="*/ 150803 w 1092038"/>
                    <a:gd name="connsiteY71" fmla="*/ 317028 h 508351"/>
                    <a:gd name="connsiteX72" fmla="*/ 151859 w 1092038"/>
                    <a:gd name="connsiteY72" fmla="*/ 312511 h 508351"/>
                    <a:gd name="connsiteX73" fmla="*/ 155611 w 1092038"/>
                    <a:gd name="connsiteY73" fmla="*/ 307787 h 508351"/>
                    <a:gd name="connsiteX74" fmla="*/ 161076 w 1092038"/>
                    <a:gd name="connsiteY74" fmla="*/ 308856 h 508351"/>
                    <a:gd name="connsiteX75" fmla="*/ 163881 w 1092038"/>
                    <a:gd name="connsiteY75" fmla="*/ 314672 h 508351"/>
                    <a:gd name="connsiteX76" fmla="*/ 164185 w 1092038"/>
                    <a:gd name="connsiteY76" fmla="*/ 314915 h 508351"/>
                    <a:gd name="connsiteX77" fmla="*/ 164294 w 1092038"/>
                    <a:gd name="connsiteY77" fmla="*/ 314903 h 508351"/>
                    <a:gd name="connsiteX78" fmla="*/ 170547 w 1092038"/>
                    <a:gd name="connsiteY78" fmla="*/ 310543 h 508351"/>
                    <a:gd name="connsiteX79" fmla="*/ 180468 w 1092038"/>
                    <a:gd name="connsiteY79" fmla="*/ 307399 h 508351"/>
                    <a:gd name="connsiteX80" fmla="*/ 182411 w 1092038"/>
                    <a:gd name="connsiteY80" fmla="*/ 305929 h 508351"/>
                    <a:gd name="connsiteX81" fmla="*/ 186831 w 1092038"/>
                    <a:gd name="connsiteY81" fmla="*/ 301084 h 508351"/>
                    <a:gd name="connsiteX82" fmla="*/ 189879 w 1092038"/>
                    <a:gd name="connsiteY82" fmla="*/ 299287 h 508351"/>
                    <a:gd name="connsiteX83" fmla="*/ 195307 w 1092038"/>
                    <a:gd name="connsiteY83" fmla="*/ 298206 h 508351"/>
                    <a:gd name="connsiteX84" fmla="*/ 199860 w 1092038"/>
                    <a:gd name="connsiteY84" fmla="*/ 296203 h 508351"/>
                    <a:gd name="connsiteX85" fmla="*/ 205604 w 1092038"/>
                    <a:gd name="connsiteY85" fmla="*/ 291819 h 508351"/>
                    <a:gd name="connsiteX86" fmla="*/ 209259 w 1092038"/>
                    <a:gd name="connsiteY86" fmla="*/ 287229 h 508351"/>
                    <a:gd name="connsiteX87" fmla="*/ 209405 w 1092038"/>
                    <a:gd name="connsiteY87" fmla="*/ 285978 h 508351"/>
                    <a:gd name="connsiteX88" fmla="*/ 208676 w 1092038"/>
                    <a:gd name="connsiteY88" fmla="*/ 285978 h 508351"/>
                    <a:gd name="connsiteX89" fmla="*/ 211809 w 1092038"/>
                    <a:gd name="connsiteY89" fmla="*/ 275888 h 508351"/>
                    <a:gd name="connsiteX90" fmla="*/ 211785 w 1092038"/>
                    <a:gd name="connsiteY90" fmla="*/ 275657 h 508351"/>
                    <a:gd name="connsiteX91" fmla="*/ 211117 w 1092038"/>
                    <a:gd name="connsiteY91" fmla="*/ 275013 h 508351"/>
                    <a:gd name="connsiteX92" fmla="*/ 205531 w 1092038"/>
                    <a:gd name="connsiteY92" fmla="*/ 274370 h 508351"/>
                    <a:gd name="connsiteX93" fmla="*/ 200140 w 1092038"/>
                    <a:gd name="connsiteY93" fmla="*/ 272415 h 508351"/>
                    <a:gd name="connsiteX94" fmla="*/ 199618 w 1092038"/>
                    <a:gd name="connsiteY94" fmla="*/ 266744 h 508351"/>
                    <a:gd name="connsiteX95" fmla="*/ 203248 w 1092038"/>
                    <a:gd name="connsiteY95" fmla="*/ 259130 h 508351"/>
                    <a:gd name="connsiteX96" fmla="*/ 208105 w 1092038"/>
                    <a:gd name="connsiteY96" fmla="*/ 253010 h 508351"/>
                    <a:gd name="connsiteX97" fmla="*/ 213983 w 1092038"/>
                    <a:gd name="connsiteY97" fmla="*/ 248020 h 508351"/>
                    <a:gd name="connsiteX98" fmla="*/ 225944 w 1092038"/>
                    <a:gd name="connsiteY98" fmla="*/ 240345 h 508351"/>
                    <a:gd name="connsiteX99" fmla="*/ 230351 w 1092038"/>
                    <a:gd name="connsiteY99" fmla="*/ 238366 h 508351"/>
                    <a:gd name="connsiteX100" fmla="*/ 232476 w 1092038"/>
                    <a:gd name="connsiteY100" fmla="*/ 241426 h 508351"/>
                    <a:gd name="connsiteX101" fmla="*/ 232926 w 1092038"/>
                    <a:gd name="connsiteY101" fmla="*/ 242664 h 508351"/>
                    <a:gd name="connsiteX102" fmla="*/ 234443 w 1092038"/>
                    <a:gd name="connsiteY102" fmla="*/ 242761 h 508351"/>
                    <a:gd name="connsiteX103" fmla="*/ 236654 w 1092038"/>
                    <a:gd name="connsiteY103" fmla="*/ 242507 h 508351"/>
                    <a:gd name="connsiteX104" fmla="*/ 238864 w 1092038"/>
                    <a:gd name="connsiteY104" fmla="*/ 241766 h 508351"/>
                    <a:gd name="connsiteX105" fmla="*/ 241061 w 1092038"/>
                    <a:gd name="connsiteY105" fmla="*/ 240345 h 508351"/>
                    <a:gd name="connsiteX106" fmla="*/ 243393 w 1092038"/>
                    <a:gd name="connsiteY106" fmla="*/ 238050 h 508351"/>
                    <a:gd name="connsiteX107" fmla="*/ 247558 w 1092038"/>
                    <a:gd name="connsiteY107" fmla="*/ 232258 h 508351"/>
                    <a:gd name="connsiteX108" fmla="*/ 250460 w 1092038"/>
                    <a:gd name="connsiteY108" fmla="*/ 229125 h 508351"/>
                    <a:gd name="connsiteX109" fmla="*/ 254674 w 1092038"/>
                    <a:gd name="connsiteY109" fmla="*/ 226721 h 508351"/>
                    <a:gd name="connsiteX110" fmla="*/ 261741 w 1092038"/>
                    <a:gd name="connsiteY110" fmla="*/ 224353 h 508351"/>
                    <a:gd name="connsiteX111" fmla="*/ 264048 w 1092038"/>
                    <a:gd name="connsiteY111" fmla="*/ 222337 h 508351"/>
                    <a:gd name="connsiteX112" fmla="*/ 268602 w 1092038"/>
                    <a:gd name="connsiteY112" fmla="*/ 217213 h 508351"/>
                    <a:gd name="connsiteX113" fmla="*/ 286500 w 1092038"/>
                    <a:gd name="connsiteY113" fmla="*/ 204961 h 508351"/>
                    <a:gd name="connsiteX114" fmla="*/ 290374 w 1092038"/>
                    <a:gd name="connsiteY114" fmla="*/ 200553 h 508351"/>
                    <a:gd name="connsiteX115" fmla="*/ 293628 w 1092038"/>
                    <a:gd name="connsiteY115" fmla="*/ 194263 h 508351"/>
                    <a:gd name="connsiteX116" fmla="*/ 295899 w 1092038"/>
                    <a:gd name="connsiteY116" fmla="*/ 187232 h 508351"/>
                    <a:gd name="connsiteX117" fmla="*/ 297065 w 1092038"/>
                    <a:gd name="connsiteY117" fmla="*/ 179716 h 508351"/>
                    <a:gd name="connsiteX118" fmla="*/ 310118 w 1092038"/>
                    <a:gd name="connsiteY118" fmla="*/ 169479 h 508351"/>
                    <a:gd name="connsiteX119" fmla="*/ 318886 w 1092038"/>
                    <a:gd name="connsiteY119" fmla="*/ 164974 h 508351"/>
                    <a:gd name="connsiteX120" fmla="*/ 328235 w 1092038"/>
                    <a:gd name="connsiteY120" fmla="*/ 156960 h 508351"/>
                    <a:gd name="connsiteX121" fmla="*/ 335849 w 1092038"/>
                    <a:gd name="connsiteY121" fmla="*/ 152455 h 508351"/>
                    <a:gd name="connsiteX122" fmla="*/ 353529 w 1092038"/>
                    <a:gd name="connsiteY122" fmla="*/ 142352 h 508351"/>
                    <a:gd name="connsiteX123" fmla="*/ 374015 w 1092038"/>
                    <a:gd name="connsiteY123" fmla="*/ 140870 h 508351"/>
                    <a:gd name="connsiteX124" fmla="*/ 385016 w 1092038"/>
                    <a:gd name="connsiteY124" fmla="*/ 142267 h 508351"/>
                    <a:gd name="connsiteX125" fmla="*/ 387360 w 1092038"/>
                    <a:gd name="connsiteY125" fmla="*/ 142230 h 508351"/>
                    <a:gd name="connsiteX126" fmla="*/ 390080 w 1092038"/>
                    <a:gd name="connsiteY126" fmla="*/ 140919 h 508351"/>
                    <a:gd name="connsiteX127" fmla="*/ 392435 w 1092038"/>
                    <a:gd name="connsiteY127" fmla="*/ 138684 h 508351"/>
                    <a:gd name="connsiteX128" fmla="*/ 396686 w 1092038"/>
                    <a:gd name="connsiteY128" fmla="*/ 135709 h 508351"/>
                    <a:gd name="connsiteX129" fmla="*/ 400826 w 1092038"/>
                    <a:gd name="connsiteY129" fmla="*/ 136875 h 508351"/>
                    <a:gd name="connsiteX130" fmla="*/ 403291 w 1092038"/>
                    <a:gd name="connsiteY130" fmla="*/ 138017 h 508351"/>
                    <a:gd name="connsiteX131" fmla="*/ 404748 w 1092038"/>
                    <a:gd name="connsiteY131" fmla="*/ 137592 h 508351"/>
                    <a:gd name="connsiteX132" fmla="*/ 417231 w 1092038"/>
                    <a:gd name="connsiteY132" fmla="*/ 126930 h 508351"/>
                    <a:gd name="connsiteX133" fmla="*/ 420607 w 1092038"/>
                    <a:gd name="connsiteY133" fmla="*/ 124926 h 508351"/>
                    <a:gd name="connsiteX134" fmla="*/ 431572 w 1092038"/>
                    <a:gd name="connsiteY134" fmla="*/ 121599 h 508351"/>
                    <a:gd name="connsiteX135" fmla="*/ 431924 w 1092038"/>
                    <a:gd name="connsiteY135" fmla="*/ 121272 h 508351"/>
                    <a:gd name="connsiteX136" fmla="*/ 432883 w 1092038"/>
                    <a:gd name="connsiteY136" fmla="*/ 118284 h 508351"/>
                    <a:gd name="connsiteX137" fmla="*/ 436405 w 1092038"/>
                    <a:gd name="connsiteY137" fmla="*/ 117313 h 508351"/>
                    <a:gd name="connsiteX138" fmla="*/ 438166 w 1092038"/>
                    <a:gd name="connsiteY138" fmla="*/ 117240 h 508351"/>
                    <a:gd name="connsiteX139" fmla="*/ 437680 w 1092038"/>
                    <a:gd name="connsiteY139" fmla="*/ 116329 h 508351"/>
                    <a:gd name="connsiteX140" fmla="*/ 437971 w 1092038"/>
                    <a:gd name="connsiteY140" fmla="*/ 112529 h 508351"/>
                    <a:gd name="connsiteX141" fmla="*/ 441760 w 1092038"/>
                    <a:gd name="connsiteY141" fmla="*/ 109614 h 508351"/>
                    <a:gd name="connsiteX142" fmla="*/ 446216 w 1092038"/>
                    <a:gd name="connsiteY142" fmla="*/ 108789 h 508351"/>
                    <a:gd name="connsiteX143" fmla="*/ 450673 w 1092038"/>
                    <a:gd name="connsiteY143" fmla="*/ 108667 h 508351"/>
                    <a:gd name="connsiteX144" fmla="*/ 452907 w 1092038"/>
                    <a:gd name="connsiteY144" fmla="*/ 108971 h 508351"/>
                    <a:gd name="connsiteX145" fmla="*/ 455202 w 1092038"/>
                    <a:gd name="connsiteY145" fmla="*/ 107550 h 508351"/>
                    <a:gd name="connsiteX146" fmla="*/ 459149 w 1092038"/>
                    <a:gd name="connsiteY146" fmla="*/ 105692 h 508351"/>
                    <a:gd name="connsiteX147" fmla="*/ 461407 w 1092038"/>
                    <a:gd name="connsiteY147" fmla="*/ 103786 h 508351"/>
                    <a:gd name="connsiteX148" fmla="*/ 472057 w 1092038"/>
                    <a:gd name="connsiteY148" fmla="*/ 99475 h 508351"/>
                    <a:gd name="connsiteX149" fmla="*/ 482159 w 1092038"/>
                    <a:gd name="connsiteY149" fmla="*/ 96585 h 508351"/>
                    <a:gd name="connsiteX150" fmla="*/ 489615 w 1092038"/>
                    <a:gd name="connsiteY150" fmla="*/ 89712 h 508351"/>
                    <a:gd name="connsiteX151" fmla="*/ 503774 w 1092038"/>
                    <a:gd name="connsiteY151" fmla="*/ 89141 h 508351"/>
                    <a:gd name="connsiteX152" fmla="*/ 510659 w 1092038"/>
                    <a:gd name="connsiteY152" fmla="*/ 81115 h 508351"/>
                    <a:gd name="connsiteX153" fmla="*/ 519025 w 1092038"/>
                    <a:gd name="connsiteY153" fmla="*/ 73392 h 508351"/>
                    <a:gd name="connsiteX154" fmla="*/ 514071 w 1092038"/>
                    <a:gd name="connsiteY154" fmla="*/ 68438 h 508351"/>
                    <a:gd name="connsiteX155" fmla="*/ 505644 w 1092038"/>
                    <a:gd name="connsiteY155" fmla="*/ 59233 h 508351"/>
                    <a:gd name="connsiteX156" fmla="*/ 509991 w 1092038"/>
                    <a:gd name="connsiteY156" fmla="*/ 45111 h 508351"/>
                    <a:gd name="connsiteX157" fmla="*/ 519159 w 1092038"/>
                    <a:gd name="connsiteY157" fmla="*/ 45609 h 508351"/>
                    <a:gd name="connsiteX158" fmla="*/ 519414 w 1092038"/>
                    <a:gd name="connsiteY158" fmla="*/ 45487 h 508351"/>
                    <a:gd name="connsiteX159" fmla="*/ 521090 w 1092038"/>
                    <a:gd name="connsiteY159" fmla="*/ 43824 h 508351"/>
                    <a:gd name="connsiteX160" fmla="*/ 523652 w 1092038"/>
                    <a:gd name="connsiteY160" fmla="*/ 39112 h 508351"/>
                    <a:gd name="connsiteX161" fmla="*/ 525959 w 1092038"/>
                    <a:gd name="connsiteY161" fmla="*/ 36392 h 508351"/>
                    <a:gd name="connsiteX162" fmla="*/ 531302 w 1092038"/>
                    <a:gd name="connsiteY162" fmla="*/ 33466 h 508351"/>
                    <a:gd name="connsiteX163" fmla="*/ 537033 w 1092038"/>
                    <a:gd name="connsiteY163" fmla="*/ 32482 h 508351"/>
                    <a:gd name="connsiteX164" fmla="*/ 547343 w 1092038"/>
                    <a:gd name="connsiteY164" fmla="*/ 32373 h 508351"/>
                    <a:gd name="connsiteX165" fmla="*/ 551119 w 1092038"/>
                    <a:gd name="connsiteY165" fmla="*/ 31535 h 508351"/>
                    <a:gd name="connsiteX166" fmla="*/ 553718 w 1092038"/>
                    <a:gd name="connsiteY166" fmla="*/ 30479 h 508351"/>
                    <a:gd name="connsiteX167" fmla="*/ 555515 w 1092038"/>
                    <a:gd name="connsiteY167" fmla="*/ 28876 h 508351"/>
                    <a:gd name="connsiteX168" fmla="*/ 565084 w 1092038"/>
                    <a:gd name="connsiteY168" fmla="*/ 14863 h 508351"/>
                    <a:gd name="connsiteX169" fmla="*/ 569516 w 1092038"/>
                    <a:gd name="connsiteY169" fmla="*/ 10856 h 508351"/>
                    <a:gd name="connsiteX170" fmla="*/ 576923 w 1092038"/>
                    <a:gd name="connsiteY170" fmla="*/ 10115 h 508351"/>
                    <a:gd name="connsiteX171" fmla="*/ 584694 w 1092038"/>
                    <a:gd name="connsiteY171" fmla="*/ 12969 h 508351"/>
                    <a:gd name="connsiteX172" fmla="*/ 592053 w 1092038"/>
                    <a:gd name="connsiteY172" fmla="*/ 17777 h 508351"/>
                    <a:gd name="connsiteX173" fmla="*/ 602460 w 1092038"/>
                    <a:gd name="connsiteY173" fmla="*/ 29374 h 508351"/>
                    <a:gd name="connsiteX174" fmla="*/ 605398 w 1092038"/>
                    <a:gd name="connsiteY174" fmla="*/ 34146 h 508351"/>
                    <a:gd name="connsiteX175" fmla="*/ 604402 w 1092038"/>
                    <a:gd name="connsiteY175" fmla="*/ 41177 h 508351"/>
                    <a:gd name="connsiteX176" fmla="*/ 604755 w 1092038"/>
                    <a:gd name="connsiteY176" fmla="*/ 41383 h 508351"/>
                    <a:gd name="connsiteX177" fmla="*/ 608155 w 1092038"/>
                    <a:gd name="connsiteY177" fmla="*/ 41444 h 508351"/>
                    <a:gd name="connsiteX178" fmla="*/ 610729 w 1092038"/>
                    <a:gd name="connsiteY178" fmla="*/ 40994 h 508351"/>
                    <a:gd name="connsiteX179" fmla="*/ 618343 w 1092038"/>
                    <a:gd name="connsiteY179" fmla="*/ 40727 h 508351"/>
                    <a:gd name="connsiteX180" fmla="*/ 626248 w 1092038"/>
                    <a:gd name="connsiteY180" fmla="*/ 42743 h 508351"/>
                    <a:gd name="connsiteX181" fmla="*/ 635404 w 1092038"/>
                    <a:gd name="connsiteY181" fmla="*/ 46774 h 508351"/>
                    <a:gd name="connsiteX182" fmla="*/ 634602 w 1092038"/>
                    <a:gd name="connsiteY182" fmla="*/ 45269 h 508351"/>
                    <a:gd name="connsiteX183" fmla="*/ 630267 w 1092038"/>
                    <a:gd name="connsiteY183" fmla="*/ 36441 h 508351"/>
                    <a:gd name="connsiteX184" fmla="*/ 642094 w 1092038"/>
                    <a:gd name="connsiteY184" fmla="*/ 43132 h 508351"/>
                    <a:gd name="connsiteX185" fmla="*/ 644899 w 1092038"/>
                    <a:gd name="connsiteY185" fmla="*/ 44212 h 508351"/>
                    <a:gd name="connsiteX186" fmla="*/ 655500 w 1092038"/>
                    <a:gd name="connsiteY186" fmla="*/ 46738 h 508351"/>
                    <a:gd name="connsiteX187" fmla="*/ 665943 w 1092038"/>
                    <a:gd name="connsiteY187" fmla="*/ 52615 h 508351"/>
                    <a:gd name="connsiteX188" fmla="*/ 668760 w 1092038"/>
                    <a:gd name="connsiteY188" fmla="*/ 53514 h 508351"/>
                    <a:gd name="connsiteX189" fmla="*/ 682287 w 1092038"/>
                    <a:gd name="connsiteY189" fmla="*/ 55700 h 508351"/>
                    <a:gd name="connsiteX190" fmla="*/ 684327 w 1092038"/>
                    <a:gd name="connsiteY190" fmla="*/ 56392 h 508351"/>
                    <a:gd name="connsiteX191" fmla="*/ 687071 w 1092038"/>
                    <a:gd name="connsiteY191" fmla="*/ 58007 h 508351"/>
                    <a:gd name="connsiteX192" fmla="*/ 688359 w 1092038"/>
                    <a:gd name="connsiteY192" fmla="*/ 60229 h 508351"/>
                    <a:gd name="connsiteX193" fmla="*/ 689051 w 1092038"/>
                    <a:gd name="connsiteY193" fmla="*/ 63337 h 508351"/>
                    <a:gd name="connsiteX194" fmla="*/ 689184 w 1092038"/>
                    <a:gd name="connsiteY194" fmla="*/ 63435 h 508351"/>
                    <a:gd name="connsiteX195" fmla="*/ 695232 w 1092038"/>
                    <a:gd name="connsiteY195" fmla="*/ 64200 h 508351"/>
                    <a:gd name="connsiteX196" fmla="*/ 694139 w 1092038"/>
                    <a:gd name="connsiteY196" fmla="*/ 54133 h 508351"/>
                    <a:gd name="connsiteX197" fmla="*/ 702238 w 1092038"/>
                    <a:gd name="connsiteY197" fmla="*/ 47673 h 508351"/>
                    <a:gd name="connsiteX198" fmla="*/ 715389 w 1092038"/>
                    <a:gd name="connsiteY198" fmla="*/ 47017 h 508351"/>
                    <a:gd name="connsiteX199" fmla="*/ 720598 w 1092038"/>
                    <a:gd name="connsiteY199" fmla="*/ 48244 h 508351"/>
                    <a:gd name="connsiteX200" fmla="*/ 722954 w 1092038"/>
                    <a:gd name="connsiteY200" fmla="*/ 40084 h 508351"/>
                    <a:gd name="connsiteX201" fmla="*/ 732037 w 1092038"/>
                    <a:gd name="connsiteY201" fmla="*/ 35809 h 508351"/>
                    <a:gd name="connsiteX202" fmla="*/ 732875 w 1092038"/>
                    <a:gd name="connsiteY202" fmla="*/ 47260 h 508351"/>
                    <a:gd name="connsiteX203" fmla="*/ 733093 w 1092038"/>
                    <a:gd name="connsiteY203" fmla="*/ 47576 h 508351"/>
                    <a:gd name="connsiteX204" fmla="*/ 733287 w 1092038"/>
                    <a:gd name="connsiteY204" fmla="*/ 47224 h 508351"/>
                    <a:gd name="connsiteX205" fmla="*/ 740683 w 1092038"/>
                    <a:gd name="connsiteY205" fmla="*/ 48317 h 508351"/>
                    <a:gd name="connsiteX206" fmla="*/ 740804 w 1092038"/>
                    <a:gd name="connsiteY206" fmla="*/ 45402 h 508351"/>
                    <a:gd name="connsiteX207" fmla="*/ 738691 w 1092038"/>
                    <a:gd name="connsiteY207" fmla="*/ 38153 h 508351"/>
                    <a:gd name="connsiteX208" fmla="*/ 740088 w 1092038"/>
                    <a:gd name="connsiteY208" fmla="*/ 32883 h 508351"/>
                    <a:gd name="connsiteX209" fmla="*/ 746268 w 1092038"/>
                    <a:gd name="connsiteY209" fmla="*/ 32276 h 508351"/>
                    <a:gd name="connsiteX210" fmla="*/ 746123 w 1092038"/>
                    <a:gd name="connsiteY210" fmla="*/ 31754 h 508351"/>
                    <a:gd name="connsiteX211" fmla="*/ 746062 w 1092038"/>
                    <a:gd name="connsiteY211" fmla="*/ 31122 h 508351"/>
                    <a:gd name="connsiteX212" fmla="*/ 747143 w 1092038"/>
                    <a:gd name="connsiteY212" fmla="*/ 27686 h 508351"/>
                    <a:gd name="connsiteX213" fmla="*/ 750069 w 1092038"/>
                    <a:gd name="connsiteY213" fmla="*/ 25779 h 508351"/>
                    <a:gd name="connsiteX214" fmla="*/ 752583 w 1092038"/>
                    <a:gd name="connsiteY214" fmla="*/ 25002 h 508351"/>
                    <a:gd name="connsiteX215" fmla="*/ 754878 w 1092038"/>
                    <a:gd name="connsiteY215" fmla="*/ 24893 h 508351"/>
                    <a:gd name="connsiteX216" fmla="*/ 757233 w 1092038"/>
                    <a:gd name="connsiteY216" fmla="*/ 24298 h 508351"/>
                    <a:gd name="connsiteX217" fmla="*/ 768308 w 1092038"/>
                    <a:gd name="connsiteY217" fmla="*/ 29058 h 508351"/>
                    <a:gd name="connsiteX218" fmla="*/ 778641 w 1092038"/>
                    <a:gd name="connsiteY218" fmla="*/ 30564 h 508351"/>
                    <a:gd name="connsiteX219" fmla="*/ 782952 w 1092038"/>
                    <a:gd name="connsiteY219" fmla="*/ 21906 h 508351"/>
                    <a:gd name="connsiteX220" fmla="*/ 782430 w 1092038"/>
                    <a:gd name="connsiteY220" fmla="*/ 6411 h 508351"/>
                    <a:gd name="connsiteX221" fmla="*/ 790894 w 1092038"/>
                    <a:gd name="connsiteY221" fmla="*/ 4881 h 508351"/>
                    <a:gd name="connsiteX222" fmla="*/ 795229 w 1092038"/>
                    <a:gd name="connsiteY222" fmla="*/ 3072 h 508351"/>
                    <a:gd name="connsiteX223" fmla="*/ 807760 w 1092038"/>
                    <a:gd name="connsiteY223" fmla="*/ 8949 h 508351"/>
                    <a:gd name="connsiteX224" fmla="*/ 823522 w 1092038"/>
                    <a:gd name="connsiteY224" fmla="*/ 2283 h 508351"/>
                    <a:gd name="connsiteX225" fmla="*/ 835811 w 1092038"/>
                    <a:gd name="connsiteY225" fmla="*/ 1032 h 508351"/>
                    <a:gd name="connsiteX226" fmla="*/ 847116 w 1092038"/>
                    <a:gd name="connsiteY226" fmla="*/ 0 h 508351"/>
                    <a:gd name="connsiteX227" fmla="*/ 861772 w 1092038"/>
                    <a:gd name="connsiteY227" fmla="*/ 170 h 508351"/>
                    <a:gd name="connsiteX228" fmla="*/ 864358 w 1092038"/>
                    <a:gd name="connsiteY228" fmla="*/ 4578 h 508351"/>
                    <a:gd name="connsiteX229" fmla="*/ 867491 w 1092038"/>
                    <a:gd name="connsiteY229" fmla="*/ 15737 h 508351"/>
                    <a:gd name="connsiteX230" fmla="*/ 869107 w 1092038"/>
                    <a:gd name="connsiteY230" fmla="*/ 18494 h 508351"/>
                    <a:gd name="connsiteX231" fmla="*/ 874146 w 1092038"/>
                    <a:gd name="connsiteY231" fmla="*/ 23946 h 508351"/>
                    <a:gd name="connsiteX232" fmla="*/ 878262 w 1092038"/>
                    <a:gd name="connsiteY232" fmla="*/ 26156 h 508351"/>
                    <a:gd name="connsiteX233" fmla="*/ 882779 w 1092038"/>
                    <a:gd name="connsiteY233" fmla="*/ 26071 h 508351"/>
                    <a:gd name="connsiteX234" fmla="*/ 888924 w 1092038"/>
                    <a:gd name="connsiteY234" fmla="*/ 22489 h 508351"/>
                    <a:gd name="connsiteX235" fmla="*/ 892129 w 1092038"/>
                    <a:gd name="connsiteY235" fmla="*/ 19914 h 508351"/>
                    <a:gd name="connsiteX236" fmla="*/ 895542 w 1092038"/>
                    <a:gd name="connsiteY236" fmla="*/ 18482 h 508351"/>
                    <a:gd name="connsiteX237" fmla="*/ 896744 w 1092038"/>
                    <a:gd name="connsiteY237" fmla="*/ 18044 h 508351"/>
                    <a:gd name="connsiteX238" fmla="*/ 900302 w 1092038"/>
                    <a:gd name="connsiteY238" fmla="*/ 19720 h 508351"/>
                    <a:gd name="connsiteX239" fmla="*/ 904382 w 1092038"/>
                    <a:gd name="connsiteY239" fmla="*/ 23897 h 508351"/>
                    <a:gd name="connsiteX240" fmla="*/ 905122 w 1092038"/>
                    <a:gd name="connsiteY240" fmla="*/ 24723 h 508351"/>
                    <a:gd name="connsiteX241" fmla="*/ 905280 w 1092038"/>
                    <a:gd name="connsiteY241" fmla="*/ 29471 h 508351"/>
                    <a:gd name="connsiteX242" fmla="*/ 900156 w 1092038"/>
                    <a:gd name="connsiteY242" fmla="*/ 37145 h 508351"/>
                    <a:gd name="connsiteX243" fmla="*/ 897302 w 1092038"/>
                    <a:gd name="connsiteY243" fmla="*/ 43484 h 508351"/>
                    <a:gd name="connsiteX244" fmla="*/ 894194 w 1092038"/>
                    <a:gd name="connsiteY244" fmla="*/ 46143 h 508351"/>
                    <a:gd name="connsiteX245" fmla="*/ 873612 w 1092038"/>
                    <a:gd name="connsiteY245" fmla="*/ 51632 h 508351"/>
                    <a:gd name="connsiteX246" fmla="*/ 871863 w 1092038"/>
                    <a:gd name="connsiteY246" fmla="*/ 52737 h 508351"/>
                    <a:gd name="connsiteX247" fmla="*/ 870296 w 1092038"/>
                    <a:gd name="connsiteY247" fmla="*/ 54947 h 508351"/>
                    <a:gd name="connsiteX248" fmla="*/ 869373 w 1092038"/>
                    <a:gd name="connsiteY248" fmla="*/ 56671 h 508351"/>
                    <a:gd name="connsiteX249" fmla="*/ 872057 w 1092038"/>
                    <a:gd name="connsiteY249" fmla="*/ 68085 h 508351"/>
                    <a:gd name="connsiteX250" fmla="*/ 884431 w 1092038"/>
                    <a:gd name="connsiteY250" fmla="*/ 60120 h 508351"/>
                    <a:gd name="connsiteX251" fmla="*/ 901516 w 1092038"/>
                    <a:gd name="connsiteY251" fmla="*/ 54680 h 508351"/>
                    <a:gd name="connsiteX252" fmla="*/ 904806 w 1092038"/>
                    <a:gd name="connsiteY252" fmla="*/ 68935 h 508351"/>
                    <a:gd name="connsiteX253" fmla="*/ 923191 w 1092038"/>
                    <a:gd name="connsiteY253" fmla="*/ 78140 h 508351"/>
                    <a:gd name="connsiteX254" fmla="*/ 921090 w 1092038"/>
                    <a:gd name="connsiteY254" fmla="*/ 82803 h 508351"/>
                    <a:gd name="connsiteX255" fmla="*/ 921115 w 1092038"/>
                    <a:gd name="connsiteY255" fmla="*/ 83021 h 508351"/>
                    <a:gd name="connsiteX256" fmla="*/ 923701 w 1092038"/>
                    <a:gd name="connsiteY256" fmla="*/ 83276 h 508351"/>
                    <a:gd name="connsiteX257" fmla="*/ 928243 w 1092038"/>
                    <a:gd name="connsiteY257" fmla="*/ 87259 h 508351"/>
                    <a:gd name="connsiteX258" fmla="*/ 930064 w 1092038"/>
                    <a:gd name="connsiteY258" fmla="*/ 91740 h 508351"/>
                    <a:gd name="connsiteX259" fmla="*/ 932177 w 1092038"/>
                    <a:gd name="connsiteY259" fmla="*/ 101163 h 508351"/>
                    <a:gd name="connsiteX260" fmla="*/ 934265 w 1092038"/>
                    <a:gd name="connsiteY260" fmla="*/ 104636 h 508351"/>
                    <a:gd name="connsiteX261" fmla="*/ 944283 w 1092038"/>
                    <a:gd name="connsiteY261" fmla="*/ 116026 h 508351"/>
                    <a:gd name="connsiteX262" fmla="*/ 947465 w 1092038"/>
                    <a:gd name="connsiteY262" fmla="*/ 126979 h 508351"/>
                    <a:gd name="connsiteX263" fmla="*/ 948776 w 1092038"/>
                    <a:gd name="connsiteY263" fmla="*/ 139012 h 508351"/>
                    <a:gd name="connsiteX264" fmla="*/ 929420 w 1092038"/>
                    <a:gd name="connsiteY264" fmla="*/ 153365 h 508351"/>
                    <a:gd name="connsiteX265" fmla="*/ 919317 w 1092038"/>
                    <a:gd name="connsiteY265" fmla="*/ 158842 h 508351"/>
                    <a:gd name="connsiteX266" fmla="*/ 924721 w 1092038"/>
                    <a:gd name="connsiteY266" fmla="*/ 167573 h 508351"/>
                    <a:gd name="connsiteX267" fmla="*/ 917630 w 1092038"/>
                    <a:gd name="connsiteY267" fmla="*/ 176255 h 508351"/>
                    <a:gd name="connsiteX268" fmla="*/ 922159 w 1092038"/>
                    <a:gd name="connsiteY268" fmla="*/ 180468 h 508351"/>
                    <a:gd name="connsiteX269" fmla="*/ 926822 w 1092038"/>
                    <a:gd name="connsiteY269" fmla="*/ 190328 h 508351"/>
                    <a:gd name="connsiteX270" fmla="*/ 927453 w 1092038"/>
                    <a:gd name="connsiteY270" fmla="*/ 182448 h 508351"/>
                    <a:gd name="connsiteX271" fmla="*/ 929396 w 1092038"/>
                    <a:gd name="connsiteY271" fmla="*/ 172867 h 508351"/>
                    <a:gd name="connsiteX272" fmla="*/ 935807 w 1092038"/>
                    <a:gd name="connsiteY272" fmla="*/ 160918 h 508351"/>
                    <a:gd name="connsiteX273" fmla="*/ 948072 w 1092038"/>
                    <a:gd name="connsiteY273" fmla="*/ 154895 h 508351"/>
                    <a:gd name="connsiteX274" fmla="*/ 966080 w 1092038"/>
                    <a:gd name="connsiteY274" fmla="*/ 159473 h 508351"/>
                    <a:gd name="connsiteX275" fmla="*/ 979899 w 1092038"/>
                    <a:gd name="connsiteY275" fmla="*/ 174482 h 508351"/>
                    <a:gd name="connsiteX276" fmla="*/ 992467 w 1092038"/>
                    <a:gd name="connsiteY276" fmla="*/ 182144 h 508351"/>
                    <a:gd name="connsiteX277" fmla="*/ 1002229 w 1092038"/>
                    <a:gd name="connsiteY277" fmla="*/ 193668 h 508351"/>
                    <a:gd name="connsiteX278" fmla="*/ 1004549 w 1092038"/>
                    <a:gd name="connsiteY278" fmla="*/ 207911 h 508351"/>
                    <a:gd name="connsiteX279" fmla="*/ 1010001 w 1092038"/>
                    <a:gd name="connsiteY279" fmla="*/ 210886 h 508351"/>
                    <a:gd name="connsiteX280" fmla="*/ 1014469 w 1092038"/>
                    <a:gd name="connsiteY280" fmla="*/ 211712 h 508351"/>
                    <a:gd name="connsiteX281" fmla="*/ 1019788 w 1092038"/>
                    <a:gd name="connsiteY281" fmla="*/ 210510 h 508351"/>
                    <a:gd name="connsiteX282" fmla="*/ 1025592 w 1092038"/>
                    <a:gd name="connsiteY282" fmla="*/ 206831 h 508351"/>
                    <a:gd name="connsiteX283" fmla="*/ 1035416 w 1092038"/>
                    <a:gd name="connsiteY283" fmla="*/ 202520 h 508351"/>
                    <a:gd name="connsiteX284" fmla="*/ 1044026 w 1092038"/>
                    <a:gd name="connsiteY284" fmla="*/ 204693 h 508351"/>
                    <a:gd name="connsiteX285" fmla="*/ 1057188 w 1092038"/>
                    <a:gd name="connsiteY285" fmla="*/ 215610 h 508351"/>
                    <a:gd name="connsiteX286" fmla="*/ 1058293 w 1092038"/>
                    <a:gd name="connsiteY286" fmla="*/ 215853 h 508351"/>
                    <a:gd name="connsiteX287" fmla="*/ 1058949 w 1092038"/>
                    <a:gd name="connsiteY287" fmla="*/ 215634 h 508351"/>
                    <a:gd name="connsiteX288" fmla="*/ 1059653 w 1092038"/>
                    <a:gd name="connsiteY288" fmla="*/ 215622 h 508351"/>
                    <a:gd name="connsiteX289" fmla="*/ 1062822 w 1092038"/>
                    <a:gd name="connsiteY289" fmla="*/ 217140 h 508351"/>
                    <a:gd name="connsiteX290" fmla="*/ 1065203 w 1092038"/>
                    <a:gd name="connsiteY290" fmla="*/ 223284 h 508351"/>
                    <a:gd name="connsiteX291" fmla="*/ 1076325 w 1092038"/>
                    <a:gd name="connsiteY291" fmla="*/ 231651 h 508351"/>
                    <a:gd name="connsiteX292" fmla="*/ 1084328 w 1092038"/>
                    <a:gd name="connsiteY292" fmla="*/ 235755 h 508351"/>
                    <a:gd name="connsiteX293" fmla="*/ 1085748 w 1092038"/>
                    <a:gd name="connsiteY293" fmla="*/ 243745 h 508351"/>
                    <a:gd name="connsiteX294" fmla="*/ 1079774 w 1092038"/>
                    <a:gd name="connsiteY294" fmla="*/ 256932 h 508351"/>
                    <a:gd name="connsiteX295" fmla="*/ 1079009 w 1092038"/>
                    <a:gd name="connsiteY295" fmla="*/ 262117 h 508351"/>
                    <a:gd name="connsiteX296" fmla="*/ 1081171 w 1092038"/>
                    <a:gd name="connsiteY296" fmla="*/ 266428 h 508351"/>
                    <a:gd name="connsiteX297" fmla="*/ 1090351 w 1092038"/>
                    <a:gd name="connsiteY297" fmla="*/ 275730 h 508351"/>
                    <a:gd name="connsiteX298" fmla="*/ 1092038 w 1092038"/>
                    <a:gd name="connsiteY298" fmla="*/ 283125 h 508351"/>
                    <a:gd name="connsiteX299" fmla="*/ 1090739 w 1092038"/>
                    <a:gd name="connsiteY299" fmla="*/ 286865 h 508351"/>
                    <a:gd name="connsiteX300" fmla="*/ 1087376 w 1092038"/>
                    <a:gd name="connsiteY300" fmla="*/ 293131 h 508351"/>
                    <a:gd name="connsiteX301" fmla="*/ 1086829 w 1092038"/>
                    <a:gd name="connsiteY301" fmla="*/ 295705 h 508351"/>
                    <a:gd name="connsiteX302" fmla="*/ 1087060 w 1092038"/>
                    <a:gd name="connsiteY302" fmla="*/ 299420 h 508351"/>
                    <a:gd name="connsiteX303" fmla="*/ 1087509 w 1092038"/>
                    <a:gd name="connsiteY303" fmla="*/ 302493 h 508351"/>
                    <a:gd name="connsiteX304" fmla="*/ 1085724 w 1092038"/>
                    <a:gd name="connsiteY304" fmla="*/ 305638 h 508351"/>
                    <a:gd name="connsiteX305" fmla="*/ 1081474 w 1092038"/>
                    <a:gd name="connsiteY305" fmla="*/ 307969 h 508351"/>
                    <a:gd name="connsiteX306" fmla="*/ 1074431 w 1092038"/>
                    <a:gd name="connsiteY306" fmla="*/ 310459 h 508351"/>
                    <a:gd name="connsiteX307" fmla="*/ 1072112 w 1092038"/>
                    <a:gd name="connsiteY307" fmla="*/ 306208 h 508351"/>
                    <a:gd name="connsiteX308" fmla="*/ 1072027 w 1092038"/>
                    <a:gd name="connsiteY308" fmla="*/ 303828 h 508351"/>
                    <a:gd name="connsiteX309" fmla="*/ 1071250 w 1092038"/>
                    <a:gd name="connsiteY309" fmla="*/ 302966 h 508351"/>
                    <a:gd name="connsiteX310" fmla="*/ 1069501 w 1092038"/>
                    <a:gd name="connsiteY310" fmla="*/ 302760 h 508351"/>
                    <a:gd name="connsiteX311" fmla="*/ 1066915 w 1092038"/>
                    <a:gd name="connsiteY311" fmla="*/ 303561 h 508351"/>
                    <a:gd name="connsiteX312" fmla="*/ 1064074 w 1092038"/>
                    <a:gd name="connsiteY312" fmla="*/ 304982 h 508351"/>
                    <a:gd name="connsiteX313" fmla="*/ 1062580 w 1092038"/>
                    <a:gd name="connsiteY313" fmla="*/ 306548 h 508351"/>
                    <a:gd name="connsiteX314" fmla="*/ 1060564 w 1092038"/>
                    <a:gd name="connsiteY314" fmla="*/ 309414 h 508351"/>
                    <a:gd name="connsiteX315" fmla="*/ 1057382 w 1092038"/>
                    <a:gd name="connsiteY315" fmla="*/ 312911 h 508351"/>
                    <a:gd name="connsiteX316" fmla="*/ 1051894 w 1092038"/>
                    <a:gd name="connsiteY316" fmla="*/ 317659 h 508351"/>
                    <a:gd name="connsiteX317" fmla="*/ 1033352 w 1092038"/>
                    <a:gd name="connsiteY317" fmla="*/ 325868 h 508351"/>
                    <a:gd name="connsiteX318" fmla="*/ 1033352 w 1092038"/>
                    <a:gd name="connsiteY318" fmla="*/ 318376 h 508351"/>
                    <a:gd name="connsiteX319" fmla="*/ 1018452 w 1092038"/>
                    <a:gd name="connsiteY319" fmla="*/ 310932 h 508351"/>
                    <a:gd name="connsiteX320" fmla="*/ 1002533 w 1092038"/>
                    <a:gd name="connsiteY320" fmla="*/ 308649 h 508351"/>
                    <a:gd name="connsiteX321" fmla="*/ 996996 w 1092038"/>
                    <a:gd name="connsiteY321" fmla="*/ 300185 h 508351"/>
                    <a:gd name="connsiteX322" fmla="*/ 989261 w 1092038"/>
                    <a:gd name="connsiteY322" fmla="*/ 298097 h 508351"/>
                    <a:gd name="connsiteX323" fmla="*/ 978599 w 1092038"/>
                    <a:gd name="connsiteY323" fmla="*/ 296871 h 508351"/>
                    <a:gd name="connsiteX324" fmla="*/ 971253 w 1092038"/>
                    <a:gd name="connsiteY324" fmla="*/ 288929 h 508351"/>
                    <a:gd name="connsiteX325" fmla="*/ 961805 w 1092038"/>
                    <a:gd name="connsiteY325" fmla="*/ 277660 h 508351"/>
                    <a:gd name="connsiteX326" fmla="*/ 954957 w 1092038"/>
                    <a:gd name="connsiteY326" fmla="*/ 275535 h 508351"/>
                    <a:gd name="connsiteX327" fmla="*/ 947465 w 1092038"/>
                    <a:gd name="connsiteY327" fmla="*/ 270350 h 508351"/>
                    <a:gd name="connsiteX328" fmla="*/ 937253 w 1092038"/>
                    <a:gd name="connsiteY328" fmla="*/ 260575 h 508351"/>
                    <a:gd name="connsiteX329" fmla="*/ 932140 w 1092038"/>
                    <a:gd name="connsiteY329" fmla="*/ 256009 h 508351"/>
                    <a:gd name="connsiteX330" fmla="*/ 929882 w 1092038"/>
                    <a:gd name="connsiteY330" fmla="*/ 256957 h 508351"/>
                    <a:gd name="connsiteX331" fmla="*/ 928704 w 1092038"/>
                    <a:gd name="connsiteY331" fmla="*/ 263380 h 508351"/>
                    <a:gd name="connsiteX332" fmla="*/ 919099 w 1092038"/>
                    <a:gd name="connsiteY332" fmla="*/ 265141 h 508351"/>
                    <a:gd name="connsiteX333" fmla="*/ 908365 w 1092038"/>
                    <a:gd name="connsiteY333" fmla="*/ 260454 h 508351"/>
                    <a:gd name="connsiteX334" fmla="*/ 906045 w 1092038"/>
                    <a:gd name="connsiteY334" fmla="*/ 261219 h 508351"/>
                    <a:gd name="connsiteX335" fmla="*/ 900035 w 1092038"/>
                    <a:gd name="connsiteY335" fmla="*/ 270532 h 508351"/>
                    <a:gd name="connsiteX336" fmla="*/ 891510 w 1092038"/>
                    <a:gd name="connsiteY336" fmla="*/ 269245 h 508351"/>
                    <a:gd name="connsiteX337" fmla="*/ 884006 w 1092038"/>
                    <a:gd name="connsiteY337" fmla="*/ 273848 h 508351"/>
                    <a:gd name="connsiteX338" fmla="*/ 868693 w 1092038"/>
                    <a:gd name="connsiteY338" fmla="*/ 273848 h 508351"/>
                    <a:gd name="connsiteX339" fmla="*/ 854316 w 1092038"/>
                    <a:gd name="connsiteY339" fmla="*/ 280077 h 508351"/>
                    <a:gd name="connsiteX340" fmla="*/ 843157 w 1092038"/>
                    <a:gd name="connsiteY340" fmla="*/ 274685 h 508351"/>
                    <a:gd name="connsiteX341" fmla="*/ 832228 w 1092038"/>
                    <a:gd name="connsiteY341" fmla="*/ 266950 h 508351"/>
                    <a:gd name="connsiteX342" fmla="*/ 828986 w 1092038"/>
                    <a:gd name="connsiteY342" fmla="*/ 261195 h 508351"/>
                    <a:gd name="connsiteX343" fmla="*/ 826242 w 1092038"/>
                    <a:gd name="connsiteY343" fmla="*/ 259677 h 508351"/>
                    <a:gd name="connsiteX344" fmla="*/ 817232 w 1092038"/>
                    <a:gd name="connsiteY344" fmla="*/ 260745 h 508351"/>
                    <a:gd name="connsiteX345" fmla="*/ 791610 w 1092038"/>
                    <a:gd name="connsiteY345" fmla="*/ 271249 h 508351"/>
                    <a:gd name="connsiteX346" fmla="*/ 760816 w 1092038"/>
                    <a:gd name="connsiteY346" fmla="*/ 284291 h 508351"/>
                    <a:gd name="connsiteX347" fmla="*/ 739529 w 1092038"/>
                    <a:gd name="connsiteY347" fmla="*/ 290313 h 508351"/>
                    <a:gd name="connsiteX348" fmla="*/ 724703 w 1092038"/>
                    <a:gd name="connsiteY348" fmla="*/ 296749 h 508351"/>
                    <a:gd name="connsiteX349" fmla="*/ 722869 w 1092038"/>
                    <a:gd name="connsiteY349" fmla="*/ 303646 h 508351"/>
                    <a:gd name="connsiteX350" fmla="*/ 722978 w 1092038"/>
                    <a:gd name="connsiteY350" fmla="*/ 312328 h 508351"/>
                    <a:gd name="connsiteX351" fmla="*/ 719505 w 1092038"/>
                    <a:gd name="connsiteY351" fmla="*/ 322832 h 508351"/>
                    <a:gd name="connsiteX352" fmla="*/ 712584 w 1092038"/>
                    <a:gd name="connsiteY352" fmla="*/ 333991 h 508351"/>
                    <a:gd name="connsiteX353" fmla="*/ 696094 w 1092038"/>
                    <a:gd name="connsiteY353" fmla="*/ 315571 h 508351"/>
                    <a:gd name="connsiteX354" fmla="*/ 684959 w 1092038"/>
                    <a:gd name="connsiteY354" fmla="*/ 321533 h 508351"/>
                    <a:gd name="connsiteX355" fmla="*/ 670606 w 1092038"/>
                    <a:gd name="connsiteY355" fmla="*/ 328721 h 508351"/>
                    <a:gd name="connsiteX356" fmla="*/ 659155 w 1092038"/>
                    <a:gd name="connsiteY356" fmla="*/ 332461 h 508351"/>
                    <a:gd name="connsiteX357" fmla="*/ 647947 w 1092038"/>
                    <a:gd name="connsiteY357" fmla="*/ 341423 h 508351"/>
                    <a:gd name="connsiteX358" fmla="*/ 627377 w 1092038"/>
                    <a:gd name="connsiteY358" fmla="*/ 350117 h 508351"/>
                    <a:gd name="connsiteX359" fmla="*/ 609867 w 1092038"/>
                    <a:gd name="connsiteY359" fmla="*/ 358350 h 508351"/>
                    <a:gd name="connsiteX360" fmla="*/ 575563 w 1092038"/>
                    <a:gd name="connsiteY360" fmla="*/ 369242 h 508351"/>
                    <a:gd name="connsiteX361" fmla="*/ 569528 w 1092038"/>
                    <a:gd name="connsiteY361" fmla="*/ 358702 h 508351"/>
                    <a:gd name="connsiteX362" fmla="*/ 559607 w 1092038"/>
                    <a:gd name="connsiteY362" fmla="*/ 360669 h 508351"/>
                    <a:gd name="connsiteX363" fmla="*/ 526505 w 1092038"/>
                    <a:gd name="connsiteY363" fmla="*/ 367737 h 508351"/>
                    <a:gd name="connsiteX364" fmla="*/ 518904 w 1092038"/>
                    <a:gd name="connsiteY364" fmla="*/ 368757 h 508351"/>
                    <a:gd name="connsiteX365" fmla="*/ 508643 w 1092038"/>
                    <a:gd name="connsiteY365" fmla="*/ 386388 h 508351"/>
                    <a:gd name="connsiteX366" fmla="*/ 499427 w 1092038"/>
                    <a:gd name="connsiteY366" fmla="*/ 396394 h 508351"/>
                    <a:gd name="connsiteX367" fmla="*/ 489178 w 1092038"/>
                    <a:gd name="connsiteY367" fmla="*/ 404931 h 508351"/>
                    <a:gd name="connsiteX368" fmla="*/ 477254 w 1092038"/>
                    <a:gd name="connsiteY368" fmla="*/ 411961 h 508351"/>
                    <a:gd name="connsiteX369" fmla="*/ 474728 w 1092038"/>
                    <a:gd name="connsiteY369" fmla="*/ 415531 h 508351"/>
                    <a:gd name="connsiteX370" fmla="*/ 469907 w 1092038"/>
                    <a:gd name="connsiteY370" fmla="*/ 422101 h 508351"/>
                    <a:gd name="connsiteX371" fmla="*/ 464079 w 1092038"/>
                    <a:gd name="connsiteY371" fmla="*/ 428306 h 508351"/>
                    <a:gd name="connsiteX372" fmla="*/ 452944 w 1092038"/>
                    <a:gd name="connsiteY372" fmla="*/ 437656 h 508351"/>
                    <a:gd name="connsiteX373" fmla="*/ 445536 w 1092038"/>
                    <a:gd name="connsiteY373" fmla="*/ 443533 h 508351"/>
                    <a:gd name="connsiteX374" fmla="*/ 440704 w 1092038"/>
                    <a:gd name="connsiteY374" fmla="*/ 453053 h 508351"/>
                    <a:gd name="connsiteX375" fmla="*/ 440109 w 1092038"/>
                    <a:gd name="connsiteY375" fmla="*/ 462622 h 508351"/>
                    <a:gd name="connsiteX376" fmla="*/ 439380 w 1092038"/>
                    <a:gd name="connsiteY376" fmla="*/ 471316 h 508351"/>
                    <a:gd name="connsiteX377" fmla="*/ 429799 w 1092038"/>
                    <a:gd name="connsiteY377" fmla="*/ 480411 h 508351"/>
                    <a:gd name="connsiteX378" fmla="*/ 416831 w 1092038"/>
                    <a:gd name="connsiteY378" fmla="*/ 485718 h 508351"/>
                    <a:gd name="connsiteX379" fmla="*/ 403704 w 1092038"/>
                    <a:gd name="connsiteY379" fmla="*/ 492651 h 508351"/>
                    <a:gd name="connsiteX380" fmla="*/ 390553 w 1092038"/>
                    <a:gd name="connsiteY380" fmla="*/ 494169 h 508351"/>
                    <a:gd name="connsiteX381" fmla="*/ 372411 w 1092038"/>
                    <a:gd name="connsiteY381" fmla="*/ 495286 h 508351"/>
                    <a:gd name="connsiteX382" fmla="*/ 362345 w 1092038"/>
                    <a:gd name="connsiteY382" fmla="*/ 501309 h 508351"/>
                    <a:gd name="connsiteX383" fmla="*/ 347033 w 1092038"/>
                    <a:gd name="connsiteY383" fmla="*/ 500046 h 508351"/>
                    <a:gd name="connsiteX384" fmla="*/ 329049 w 1092038"/>
                    <a:gd name="connsiteY384" fmla="*/ 503568 h 508351"/>
                    <a:gd name="connsiteX385" fmla="*/ 311284 w 1092038"/>
                    <a:gd name="connsiteY385" fmla="*/ 505935 h 508351"/>
                    <a:gd name="connsiteX386" fmla="*/ 281886 w 1092038"/>
                    <a:gd name="connsiteY386" fmla="*/ 503604 h 508351"/>
                    <a:gd name="connsiteX387" fmla="*/ 270557 w 1092038"/>
                    <a:gd name="connsiteY387" fmla="*/ 501163 h 508351"/>
                    <a:gd name="connsiteX388" fmla="*/ 260114 w 1092038"/>
                    <a:gd name="connsiteY388" fmla="*/ 501236 h 508351"/>
                    <a:gd name="connsiteX389" fmla="*/ 247230 w 1092038"/>
                    <a:gd name="connsiteY389" fmla="*/ 502535 h 508351"/>
                    <a:gd name="connsiteX390" fmla="*/ 234128 w 1092038"/>
                    <a:gd name="connsiteY390" fmla="*/ 493659 h 508351"/>
                    <a:gd name="connsiteX391" fmla="*/ 222713 w 1092038"/>
                    <a:gd name="connsiteY391" fmla="*/ 484758 h 508351"/>
                    <a:gd name="connsiteX392" fmla="*/ 213618 w 1092038"/>
                    <a:gd name="connsiteY392" fmla="*/ 484758 h 508351"/>
                    <a:gd name="connsiteX393" fmla="*/ 203406 w 1092038"/>
                    <a:gd name="connsiteY393" fmla="*/ 491340 h 508351"/>
                    <a:gd name="connsiteX394" fmla="*/ 190936 w 1092038"/>
                    <a:gd name="connsiteY394" fmla="*/ 497423 h 508351"/>
                    <a:gd name="connsiteX395" fmla="*/ 175987 w 1092038"/>
                    <a:gd name="connsiteY395" fmla="*/ 501151 h 508351"/>
                    <a:gd name="connsiteX396" fmla="*/ 152588 w 1092038"/>
                    <a:gd name="connsiteY396" fmla="*/ 504758 h 508351"/>
                    <a:gd name="connsiteX397" fmla="*/ 139170 w 1092038"/>
                    <a:gd name="connsiteY397" fmla="*/ 505948 h 508351"/>
                    <a:gd name="connsiteX398" fmla="*/ 127999 w 1092038"/>
                    <a:gd name="connsiteY398" fmla="*/ 508352 h 508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Lst>
                  <a:rect l="l" t="t" r="r" b="b"/>
                  <a:pathLst>
                    <a:path w="1092038" h="508351">
                      <a:moveTo>
                        <a:pt x="94010" y="505450"/>
                      </a:moveTo>
                      <a:lnTo>
                        <a:pt x="95771" y="496950"/>
                      </a:lnTo>
                      <a:lnTo>
                        <a:pt x="92796" y="486058"/>
                      </a:lnTo>
                      <a:lnTo>
                        <a:pt x="89761" y="480144"/>
                      </a:lnTo>
                      <a:lnTo>
                        <a:pt x="80520" y="471450"/>
                      </a:lnTo>
                      <a:lnTo>
                        <a:pt x="77994" y="464224"/>
                      </a:lnTo>
                      <a:lnTo>
                        <a:pt x="77897" y="459477"/>
                      </a:lnTo>
                      <a:lnTo>
                        <a:pt x="78419" y="455372"/>
                      </a:lnTo>
                      <a:lnTo>
                        <a:pt x="79500" y="451474"/>
                      </a:lnTo>
                      <a:lnTo>
                        <a:pt x="81103" y="447783"/>
                      </a:lnTo>
                      <a:lnTo>
                        <a:pt x="81856" y="446824"/>
                      </a:lnTo>
                      <a:lnTo>
                        <a:pt x="84988" y="443375"/>
                      </a:lnTo>
                      <a:lnTo>
                        <a:pt x="85765" y="442161"/>
                      </a:lnTo>
                      <a:lnTo>
                        <a:pt x="86372" y="437838"/>
                      </a:lnTo>
                      <a:lnTo>
                        <a:pt x="87210" y="435397"/>
                      </a:lnTo>
                      <a:lnTo>
                        <a:pt x="90404" y="431451"/>
                      </a:lnTo>
                      <a:lnTo>
                        <a:pt x="95990" y="426848"/>
                      </a:lnTo>
                      <a:lnTo>
                        <a:pt x="96609" y="425100"/>
                      </a:lnTo>
                      <a:lnTo>
                        <a:pt x="96160" y="423667"/>
                      </a:lnTo>
                      <a:lnTo>
                        <a:pt x="79985" y="395083"/>
                      </a:lnTo>
                      <a:lnTo>
                        <a:pt x="77520" y="392278"/>
                      </a:lnTo>
                      <a:lnTo>
                        <a:pt x="77204" y="392387"/>
                      </a:lnTo>
                      <a:lnTo>
                        <a:pt x="72542" y="395933"/>
                      </a:lnTo>
                      <a:lnTo>
                        <a:pt x="69312" y="397159"/>
                      </a:lnTo>
                      <a:lnTo>
                        <a:pt x="61273" y="396916"/>
                      </a:lnTo>
                      <a:lnTo>
                        <a:pt x="56890" y="397705"/>
                      </a:lnTo>
                      <a:lnTo>
                        <a:pt x="42792" y="402502"/>
                      </a:lnTo>
                      <a:lnTo>
                        <a:pt x="34765" y="403328"/>
                      </a:lnTo>
                      <a:lnTo>
                        <a:pt x="32373" y="399624"/>
                      </a:lnTo>
                      <a:lnTo>
                        <a:pt x="32130" y="396613"/>
                      </a:lnTo>
                      <a:lnTo>
                        <a:pt x="30042" y="393771"/>
                      </a:lnTo>
                      <a:lnTo>
                        <a:pt x="26629" y="392326"/>
                      </a:lnTo>
                      <a:lnTo>
                        <a:pt x="22671" y="391683"/>
                      </a:lnTo>
                      <a:lnTo>
                        <a:pt x="17219" y="390104"/>
                      </a:lnTo>
                      <a:lnTo>
                        <a:pt x="13721" y="386255"/>
                      </a:lnTo>
                      <a:lnTo>
                        <a:pt x="11936" y="382843"/>
                      </a:lnTo>
                      <a:lnTo>
                        <a:pt x="7104" y="379090"/>
                      </a:lnTo>
                      <a:lnTo>
                        <a:pt x="4602" y="375411"/>
                      </a:lnTo>
                      <a:lnTo>
                        <a:pt x="0" y="359139"/>
                      </a:lnTo>
                      <a:lnTo>
                        <a:pt x="1506" y="349996"/>
                      </a:lnTo>
                      <a:lnTo>
                        <a:pt x="10260" y="338217"/>
                      </a:lnTo>
                      <a:lnTo>
                        <a:pt x="11633" y="327750"/>
                      </a:lnTo>
                      <a:lnTo>
                        <a:pt x="40618" y="326754"/>
                      </a:lnTo>
                      <a:lnTo>
                        <a:pt x="49142" y="328721"/>
                      </a:lnTo>
                      <a:lnTo>
                        <a:pt x="56476" y="332971"/>
                      </a:lnTo>
                      <a:lnTo>
                        <a:pt x="58869" y="333785"/>
                      </a:lnTo>
                      <a:lnTo>
                        <a:pt x="65912" y="333227"/>
                      </a:lnTo>
                      <a:lnTo>
                        <a:pt x="74740" y="334720"/>
                      </a:lnTo>
                      <a:lnTo>
                        <a:pt x="78225" y="334295"/>
                      </a:lnTo>
                      <a:lnTo>
                        <a:pt x="84260" y="331551"/>
                      </a:lnTo>
                      <a:lnTo>
                        <a:pt x="94108" y="321496"/>
                      </a:lnTo>
                      <a:lnTo>
                        <a:pt x="101806" y="317538"/>
                      </a:lnTo>
                      <a:lnTo>
                        <a:pt x="106578" y="316870"/>
                      </a:lnTo>
                      <a:lnTo>
                        <a:pt x="122801" y="318157"/>
                      </a:lnTo>
                      <a:lnTo>
                        <a:pt x="123870" y="318011"/>
                      </a:lnTo>
                      <a:lnTo>
                        <a:pt x="124028" y="317696"/>
                      </a:lnTo>
                      <a:lnTo>
                        <a:pt x="123882" y="316833"/>
                      </a:lnTo>
                      <a:lnTo>
                        <a:pt x="123336" y="315559"/>
                      </a:lnTo>
                      <a:lnTo>
                        <a:pt x="123129" y="312499"/>
                      </a:lnTo>
                      <a:lnTo>
                        <a:pt x="123129" y="311661"/>
                      </a:lnTo>
                      <a:lnTo>
                        <a:pt x="126712" y="305674"/>
                      </a:lnTo>
                      <a:lnTo>
                        <a:pt x="131908" y="307180"/>
                      </a:lnTo>
                      <a:lnTo>
                        <a:pt x="134240" y="311151"/>
                      </a:lnTo>
                      <a:lnTo>
                        <a:pt x="137579" y="318898"/>
                      </a:lnTo>
                      <a:lnTo>
                        <a:pt x="139231" y="321314"/>
                      </a:lnTo>
                      <a:lnTo>
                        <a:pt x="140141" y="319979"/>
                      </a:lnTo>
                      <a:lnTo>
                        <a:pt x="143068" y="312013"/>
                      </a:lnTo>
                      <a:lnTo>
                        <a:pt x="147318" y="313397"/>
                      </a:lnTo>
                      <a:lnTo>
                        <a:pt x="148811" y="315243"/>
                      </a:lnTo>
                      <a:lnTo>
                        <a:pt x="149783" y="318400"/>
                      </a:lnTo>
                      <a:lnTo>
                        <a:pt x="150099" y="318764"/>
                      </a:lnTo>
                      <a:lnTo>
                        <a:pt x="150803" y="317028"/>
                      </a:lnTo>
                      <a:lnTo>
                        <a:pt x="151859" y="312511"/>
                      </a:lnTo>
                      <a:lnTo>
                        <a:pt x="155611" y="307787"/>
                      </a:lnTo>
                      <a:lnTo>
                        <a:pt x="161076" y="308856"/>
                      </a:lnTo>
                      <a:lnTo>
                        <a:pt x="163881" y="314672"/>
                      </a:lnTo>
                      <a:lnTo>
                        <a:pt x="164185" y="314915"/>
                      </a:lnTo>
                      <a:lnTo>
                        <a:pt x="164294" y="314903"/>
                      </a:lnTo>
                      <a:lnTo>
                        <a:pt x="170547" y="310543"/>
                      </a:lnTo>
                      <a:lnTo>
                        <a:pt x="180468" y="307399"/>
                      </a:lnTo>
                      <a:lnTo>
                        <a:pt x="182411" y="305929"/>
                      </a:lnTo>
                      <a:lnTo>
                        <a:pt x="186831" y="301084"/>
                      </a:lnTo>
                      <a:lnTo>
                        <a:pt x="189879" y="299287"/>
                      </a:lnTo>
                      <a:lnTo>
                        <a:pt x="195307" y="298206"/>
                      </a:lnTo>
                      <a:lnTo>
                        <a:pt x="199860" y="296203"/>
                      </a:lnTo>
                      <a:lnTo>
                        <a:pt x="205604" y="291819"/>
                      </a:lnTo>
                      <a:lnTo>
                        <a:pt x="209259" y="287229"/>
                      </a:lnTo>
                      <a:lnTo>
                        <a:pt x="209405" y="285978"/>
                      </a:lnTo>
                      <a:lnTo>
                        <a:pt x="208676" y="285978"/>
                      </a:lnTo>
                      <a:lnTo>
                        <a:pt x="211809" y="275888"/>
                      </a:lnTo>
                      <a:lnTo>
                        <a:pt x="211785" y="275657"/>
                      </a:lnTo>
                      <a:lnTo>
                        <a:pt x="211117" y="275013"/>
                      </a:lnTo>
                      <a:lnTo>
                        <a:pt x="205531" y="274370"/>
                      </a:lnTo>
                      <a:lnTo>
                        <a:pt x="200140" y="272415"/>
                      </a:lnTo>
                      <a:lnTo>
                        <a:pt x="199618" y="266744"/>
                      </a:lnTo>
                      <a:lnTo>
                        <a:pt x="203248" y="259130"/>
                      </a:lnTo>
                      <a:lnTo>
                        <a:pt x="208105" y="253010"/>
                      </a:lnTo>
                      <a:lnTo>
                        <a:pt x="213983" y="248020"/>
                      </a:lnTo>
                      <a:lnTo>
                        <a:pt x="225944" y="240345"/>
                      </a:lnTo>
                      <a:lnTo>
                        <a:pt x="230351" y="238366"/>
                      </a:lnTo>
                      <a:lnTo>
                        <a:pt x="232476" y="241426"/>
                      </a:lnTo>
                      <a:lnTo>
                        <a:pt x="232926" y="242664"/>
                      </a:lnTo>
                      <a:lnTo>
                        <a:pt x="234443" y="242761"/>
                      </a:lnTo>
                      <a:lnTo>
                        <a:pt x="236654" y="242507"/>
                      </a:lnTo>
                      <a:lnTo>
                        <a:pt x="238864" y="241766"/>
                      </a:lnTo>
                      <a:lnTo>
                        <a:pt x="241061" y="240345"/>
                      </a:lnTo>
                      <a:lnTo>
                        <a:pt x="243393" y="238050"/>
                      </a:lnTo>
                      <a:lnTo>
                        <a:pt x="247558" y="232258"/>
                      </a:lnTo>
                      <a:lnTo>
                        <a:pt x="250460" y="229125"/>
                      </a:lnTo>
                      <a:lnTo>
                        <a:pt x="254674" y="226721"/>
                      </a:lnTo>
                      <a:lnTo>
                        <a:pt x="261741" y="224353"/>
                      </a:lnTo>
                      <a:lnTo>
                        <a:pt x="264048" y="222337"/>
                      </a:lnTo>
                      <a:lnTo>
                        <a:pt x="268602" y="217213"/>
                      </a:lnTo>
                      <a:lnTo>
                        <a:pt x="286500" y="204961"/>
                      </a:lnTo>
                      <a:lnTo>
                        <a:pt x="290374" y="200553"/>
                      </a:lnTo>
                      <a:lnTo>
                        <a:pt x="293628" y="194263"/>
                      </a:lnTo>
                      <a:lnTo>
                        <a:pt x="295899" y="187232"/>
                      </a:lnTo>
                      <a:lnTo>
                        <a:pt x="297065" y="179716"/>
                      </a:lnTo>
                      <a:lnTo>
                        <a:pt x="310118" y="169479"/>
                      </a:lnTo>
                      <a:lnTo>
                        <a:pt x="318886" y="164974"/>
                      </a:lnTo>
                      <a:lnTo>
                        <a:pt x="328235" y="156960"/>
                      </a:lnTo>
                      <a:lnTo>
                        <a:pt x="335849" y="152455"/>
                      </a:lnTo>
                      <a:lnTo>
                        <a:pt x="353529" y="142352"/>
                      </a:lnTo>
                      <a:lnTo>
                        <a:pt x="374015" y="140870"/>
                      </a:lnTo>
                      <a:lnTo>
                        <a:pt x="385016" y="142267"/>
                      </a:lnTo>
                      <a:lnTo>
                        <a:pt x="387360" y="142230"/>
                      </a:lnTo>
                      <a:lnTo>
                        <a:pt x="390080" y="140919"/>
                      </a:lnTo>
                      <a:lnTo>
                        <a:pt x="392435" y="138684"/>
                      </a:lnTo>
                      <a:lnTo>
                        <a:pt x="396686" y="135709"/>
                      </a:lnTo>
                      <a:lnTo>
                        <a:pt x="400826" y="136875"/>
                      </a:lnTo>
                      <a:lnTo>
                        <a:pt x="403291" y="138017"/>
                      </a:lnTo>
                      <a:lnTo>
                        <a:pt x="404748" y="137592"/>
                      </a:lnTo>
                      <a:lnTo>
                        <a:pt x="417231" y="126930"/>
                      </a:lnTo>
                      <a:lnTo>
                        <a:pt x="420607" y="124926"/>
                      </a:lnTo>
                      <a:lnTo>
                        <a:pt x="431572" y="121599"/>
                      </a:lnTo>
                      <a:lnTo>
                        <a:pt x="431924" y="121272"/>
                      </a:lnTo>
                      <a:lnTo>
                        <a:pt x="432883" y="118284"/>
                      </a:lnTo>
                      <a:lnTo>
                        <a:pt x="436405" y="117313"/>
                      </a:lnTo>
                      <a:lnTo>
                        <a:pt x="438166" y="117240"/>
                      </a:lnTo>
                      <a:lnTo>
                        <a:pt x="437680" y="116329"/>
                      </a:lnTo>
                      <a:lnTo>
                        <a:pt x="437971" y="112529"/>
                      </a:lnTo>
                      <a:lnTo>
                        <a:pt x="441760" y="109614"/>
                      </a:lnTo>
                      <a:lnTo>
                        <a:pt x="446216" y="108789"/>
                      </a:lnTo>
                      <a:lnTo>
                        <a:pt x="450673" y="108667"/>
                      </a:lnTo>
                      <a:lnTo>
                        <a:pt x="452907" y="108971"/>
                      </a:lnTo>
                      <a:lnTo>
                        <a:pt x="455202" y="107550"/>
                      </a:lnTo>
                      <a:lnTo>
                        <a:pt x="459149" y="105692"/>
                      </a:lnTo>
                      <a:lnTo>
                        <a:pt x="461407" y="103786"/>
                      </a:lnTo>
                      <a:lnTo>
                        <a:pt x="472057" y="99475"/>
                      </a:lnTo>
                      <a:lnTo>
                        <a:pt x="482159" y="96585"/>
                      </a:lnTo>
                      <a:lnTo>
                        <a:pt x="489615" y="89712"/>
                      </a:lnTo>
                      <a:lnTo>
                        <a:pt x="503774" y="89141"/>
                      </a:lnTo>
                      <a:lnTo>
                        <a:pt x="510659" y="81115"/>
                      </a:lnTo>
                      <a:lnTo>
                        <a:pt x="519025" y="73392"/>
                      </a:lnTo>
                      <a:lnTo>
                        <a:pt x="514071" y="68438"/>
                      </a:lnTo>
                      <a:lnTo>
                        <a:pt x="505644" y="59233"/>
                      </a:lnTo>
                      <a:lnTo>
                        <a:pt x="509991" y="45111"/>
                      </a:lnTo>
                      <a:lnTo>
                        <a:pt x="519159" y="45609"/>
                      </a:lnTo>
                      <a:lnTo>
                        <a:pt x="519414" y="45487"/>
                      </a:lnTo>
                      <a:lnTo>
                        <a:pt x="521090" y="43824"/>
                      </a:lnTo>
                      <a:lnTo>
                        <a:pt x="523652" y="39112"/>
                      </a:lnTo>
                      <a:lnTo>
                        <a:pt x="525959" y="36392"/>
                      </a:lnTo>
                      <a:lnTo>
                        <a:pt x="531302" y="33466"/>
                      </a:lnTo>
                      <a:lnTo>
                        <a:pt x="537033" y="32482"/>
                      </a:lnTo>
                      <a:lnTo>
                        <a:pt x="547343" y="32373"/>
                      </a:lnTo>
                      <a:lnTo>
                        <a:pt x="551119" y="31535"/>
                      </a:lnTo>
                      <a:lnTo>
                        <a:pt x="553718" y="30479"/>
                      </a:lnTo>
                      <a:lnTo>
                        <a:pt x="555515" y="28876"/>
                      </a:lnTo>
                      <a:lnTo>
                        <a:pt x="565084" y="14863"/>
                      </a:lnTo>
                      <a:lnTo>
                        <a:pt x="569516" y="10856"/>
                      </a:lnTo>
                      <a:lnTo>
                        <a:pt x="576923" y="10115"/>
                      </a:lnTo>
                      <a:lnTo>
                        <a:pt x="584694" y="12969"/>
                      </a:lnTo>
                      <a:lnTo>
                        <a:pt x="592053" y="17777"/>
                      </a:lnTo>
                      <a:lnTo>
                        <a:pt x="602460" y="29374"/>
                      </a:lnTo>
                      <a:lnTo>
                        <a:pt x="605398" y="34146"/>
                      </a:lnTo>
                      <a:lnTo>
                        <a:pt x="604402" y="41177"/>
                      </a:lnTo>
                      <a:lnTo>
                        <a:pt x="604755" y="41383"/>
                      </a:lnTo>
                      <a:lnTo>
                        <a:pt x="608155" y="41444"/>
                      </a:lnTo>
                      <a:lnTo>
                        <a:pt x="610729" y="40994"/>
                      </a:lnTo>
                      <a:lnTo>
                        <a:pt x="618343" y="40727"/>
                      </a:lnTo>
                      <a:lnTo>
                        <a:pt x="626248" y="42743"/>
                      </a:lnTo>
                      <a:lnTo>
                        <a:pt x="635404" y="46774"/>
                      </a:lnTo>
                      <a:lnTo>
                        <a:pt x="634602" y="45269"/>
                      </a:lnTo>
                      <a:lnTo>
                        <a:pt x="630267" y="36441"/>
                      </a:lnTo>
                      <a:lnTo>
                        <a:pt x="642094" y="43132"/>
                      </a:lnTo>
                      <a:lnTo>
                        <a:pt x="644899" y="44212"/>
                      </a:lnTo>
                      <a:lnTo>
                        <a:pt x="655500" y="46738"/>
                      </a:lnTo>
                      <a:lnTo>
                        <a:pt x="665943" y="52615"/>
                      </a:lnTo>
                      <a:lnTo>
                        <a:pt x="668760" y="53514"/>
                      </a:lnTo>
                      <a:lnTo>
                        <a:pt x="682287" y="55700"/>
                      </a:lnTo>
                      <a:lnTo>
                        <a:pt x="684327" y="56392"/>
                      </a:lnTo>
                      <a:lnTo>
                        <a:pt x="687071" y="58007"/>
                      </a:lnTo>
                      <a:lnTo>
                        <a:pt x="688359" y="60229"/>
                      </a:lnTo>
                      <a:lnTo>
                        <a:pt x="689051" y="63337"/>
                      </a:lnTo>
                      <a:lnTo>
                        <a:pt x="689184" y="63435"/>
                      </a:lnTo>
                      <a:lnTo>
                        <a:pt x="695232" y="64200"/>
                      </a:lnTo>
                      <a:lnTo>
                        <a:pt x="694139" y="54133"/>
                      </a:lnTo>
                      <a:lnTo>
                        <a:pt x="702238" y="47673"/>
                      </a:lnTo>
                      <a:lnTo>
                        <a:pt x="715389" y="47017"/>
                      </a:lnTo>
                      <a:lnTo>
                        <a:pt x="720598" y="48244"/>
                      </a:lnTo>
                      <a:lnTo>
                        <a:pt x="722954" y="40084"/>
                      </a:lnTo>
                      <a:lnTo>
                        <a:pt x="732037" y="35809"/>
                      </a:lnTo>
                      <a:lnTo>
                        <a:pt x="732875" y="47260"/>
                      </a:lnTo>
                      <a:lnTo>
                        <a:pt x="733093" y="47576"/>
                      </a:lnTo>
                      <a:lnTo>
                        <a:pt x="733287" y="47224"/>
                      </a:lnTo>
                      <a:lnTo>
                        <a:pt x="740683" y="48317"/>
                      </a:lnTo>
                      <a:lnTo>
                        <a:pt x="740804" y="45402"/>
                      </a:lnTo>
                      <a:lnTo>
                        <a:pt x="738691" y="38153"/>
                      </a:lnTo>
                      <a:lnTo>
                        <a:pt x="740088" y="32883"/>
                      </a:lnTo>
                      <a:lnTo>
                        <a:pt x="746268" y="32276"/>
                      </a:lnTo>
                      <a:lnTo>
                        <a:pt x="746123" y="31754"/>
                      </a:lnTo>
                      <a:lnTo>
                        <a:pt x="746062" y="31122"/>
                      </a:lnTo>
                      <a:lnTo>
                        <a:pt x="747143" y="27686"/>
                      </a:lnTo>
                      <a:lnTo>
                        <a:pt x="750069" y="25779"/>
                      </a:lnTo>
                      <a:lnTo>
                        <a:pt x="752583" y="25002"/>
                      </a:lnTo>
                      <a:lnTo>
                        <a:pt x="754878" y="24893"/>
                      </a:lnTo>
                      <a:lnTo>
                        <a:pt x="757233" y="24298"/>
                      </a:lnTo>
                      <a:lnTo>
                        <a:pt x="768308" y="29058"/>
                      </a:lnTo>
                      <a:lnTo>
                        <a:pt x="778641" y="30564"/>
                      </a:lnTo>
                      <a:lnTo>
                        <a:pt x="782952" y="21906"/>
                      </a:lnTo>
                      <a:lnTo>
                        <a:pt x="782430" y="6411"/>
                      </a:lnTo>
                      <a:lnTo>
                        <a:pt x="790894" y="4881"/>
                      </a:lnTo>
                      <a:lnTo>
                        <a:pt x="795229" y="3072"/>
                      </a:lnTo>
                      <a:lnTo>
                        <a:pt x="807760" y="8949"/>
                      </a:lnTo>
                      <a:lnTo>
                        <a:pt x="823522" y="2283"/>
                      </a:lnTo>
                      <a:lnTo>
                        <a:pt x="835811" y="1032"/>
                      </a:lnTo>
                      <a:lnTo>
                        <a:pt x="847116" y="0"/>
                      </a:lnTo>
                      <a:lnTo>
                        <a:pt x="861772" y="170"/>
                      </a:lnTo>
                      <a:lnTo>
                        <a:pt x="864358" y="4578"/>
                      </a:lnTo>
                      <a:lnTo>
                        <a:pt x="867491" y="15737"/>
                      </a:lnTo>
                      <a:lnTo>
                        <a:pt x="869107" y="18494"/>
                      </a:lnTo>
                      <a:lnTo>
                        <a:pt x="874146" y="23946"/>
                      </a:lnTo>
                      <a:lnTo>
                        <a:pt x="878262" y="26156"/>
                      </a:lnTo>
                      <a:lnTo>
                        <a:pt x="882779" y="26071"/>
                      </a:lnTo>
                      <a:lnTo>
                        <a:pt x="888924" y="22489"/>
                      </a:lnTo>
                      <a:lnTo>
                        <a:pt x="892129" y="19914"/>
                      </a:lnTo>
                      <a:lnTo>
                        <a:pt x="895542" y="18482"/>
                      </a:lnTo>
                      <a:lnTo>
                        <a:pt x="896744" y="18044"/>
                      </a:lnTo>
                      <a:lnTo>
                        <a:pt x="900302" y="19720"/>
                      </a:lnTo>
                      <a:lnTo>
                        <a:pt x="904382" y="23897"/>
                      </a:lnTo>
                      <a:lnTo>
                        <a:pt x="905122" y="24723"/>
                      </a:lnTo>
                      <a:lnTo>
                        <a:pt x="905280" y="29471"/>
                      </a:lnTo>
                      <a:lnTo>
                        <a:pt x="900156" y="37145"/>
                      </a:lnTo>
                      <a:lnTo>
                        <a:pt x="897302" y="43484"/>
                      </a:lnTo>
                      <a:lnTo>
                        <a:pt x="894194" y="46143"/>
                      </a:lnTo>
                      <a:lnTo>
                        <a:pt x="873612" y="51632"/>
                      </a:lnTo>
                      <a:lnTo>
                        <a:pt x="871863" y="52737"/>
                      </a:lnTo>
                      <a:lnTo>
                        <a:pt x="870296" y="54947"/>
                      </a:lnTo>
                      <a:lnTo>
                        <a:pt x="869373" y="56671"/>
                      </a:lnTo>
                      <a:lnTo>
                        <a:pt x="872057" y="68085"/>
                      </a:lnTo>
                      <a:lnTo>
                        <a:pt x="884431" y="60120"/>
                      </a:lnTo>
                      <a:lnTo>
                        <a:pt x="901516" y="54680"/>
                      </a:lnTo>
                      <a:lnTo>
                        <a:pt x="904806" y="68935"/>
                      </a:lnTo>
                      <a:lnTo>
                        <a:pt x="923191" y="78140"/>
                      </a:lnTo>
                      <a:lnTo>
                        <a:pt x="921090" y="82803"/>
                      </a:lnTo>
                      <a:lnTo>
                        <a:pt x="921115" y="83021"/>
                      </a:lnTo>
                      <a:lnTo>
                        <a:pt x="923701" y="83276"/>
                      </a:lnTo>
                      <a:lnTo>
                        <a:pt x="928243" y="87259"/>
                      </a:lnTo>
                      <a:lnTo>
                        <a:pt x="930064" y="91740"/>
                      </a:lnTo>
                      <a:lnTo>
                        <a:pt x="932177" y="101163"/>
                      </a:lnTo>
                      <a:lnTo>
                        <a:pt x="934265" y="104636"/>
                      </a:lnTo>
                      <a:lnTo>
                        <a:pt x="944283" y="116026"/>
                      </a:lnTo>
                      <a:lnTo>
                        <a:pt x="947465" y="126979"/>
                      </a:lnTo>
                      <a:lnTo>
                        <a:pt x="948776" y="139012"/>
                      </a:lnTo>
                      <a:lnTo>
                        <a:pt x="929420" y="153365"/>
                      </a:lnTo>
                      <a:lnTo>
                        <a:pt x="919317" y="158842"/>
                      </a:lnTo>
                      <a:lnTo>
                        <a:pt x="924721" y="167573"/>
                      </a:lnTo>
                      <a:lnTo>
                        <a:pt x="917630" y="176255"/>
                      </a:lnTo>
                      <a:lnTo>
                        <a:pt x="922159" y="180468"/>
                      </a:lnTo>
                      <a:lnTo>
                        <a:pt x="926822" y="190328"/>
                      </a:lnTo>
                      <a:lnTo>
                        <a:pt x="927453" y="182448"/>
                      </a:lnTo>
                      <a:lnTo>
                        <a:pt x="929396" y="172867"/>
                      </a:lnTo>
                      <a:lnTo>
                        <a:pt x="935807" y="160918"/>
                      </a:lnTo>
                      <a:lnTo>
                        <a:pt x="948072" y="154895"/>
                      </a:lnTo>
                      <a:lnTo>
                        <a:pt x="966080" y="159473"/>
                      </a:lnTo>
                      <a:lnTo>
                        <a:pt x="979899" y="174482"/>
                      </a:lnTo>
                      <a:lnTo>
                        <a:pt x="992467" y="182144"/>
                      </a:lnTo>
                      <a:lnTo>
                        <a:pt x="1002229" y="193668"/>
                      </a:lnTo>
                      <a:lnTo>
                        <a:pt x="1004549" y="207911"/>
                      </a:lnTo>
                      <a:lnTo>
                        <a:pt x="1010001" y="210886"/>
                      </a:lnTo>
                      <a:lnTo>
                        <a:pt x="1014469" y="211712"/>
                      </a:lnTo>
                      <a:lnTo>
                        <a:pt x="1019788" y="210510"/>
                      </a:lnTo>
                      <a:lnTo>
                        <a:pt x="1025592" y="206831"/>
                      </a:lnTo>
                      <a:lnTo>
                        <a:pt x="1035416" y="202520"/>
                      </a:lnTo>
                      <a:lnTo>
                        <a:pt x="1044026" y="204693"/>
                      </a:lnTo>
                      <a:lnTo>
                        <a:pt x="1057188" y="215610"/>
                      </a:lnTo>
                      <a:lnTo>
                        <a:pt x="1058293" y="215853"/>
                      </a:lnTo>
                      <a:lnTo>
                        <a:pt x="1058949" y="215634"/>
                      </a:lnTo>
                      <a:lnTo>
                        <a:pt x="1059653" y="215622"/>
                      </a:lnTo>
                      <a:lnTo>
                        <a:pt x="1062822" y="217140"/>
                      </a:lnTo>
                      <a:lnTo>
                        <a:pt x="1065203" y="223284"/>
                      </a:lnTo>
                      <a:lnTo>
                        <a:pt x="1076325" y="231651"/>
                      </a:lnTo>
                      <a:lnTo>
                        <a:pt x="1084328" y="235755"/>
                      </a:lnTo>
                      <a:lnTo>
                        <a:pt x="1085748" y="243745"/>
                      </a:lnTo>
                      <a:lnTo>
                        <a:pt x="1079774" y="256932"/>
                      </a:lnTo>
                      <a:lnTo>
                        <a:pt x="1079009" y="262117"/>
                      </a:lnTo>
                      <a:lnTo>
                        <a:pt x="1081171" y="266428"/>
                      </a:lnTo>
                      <a:lnTo>
                        <a:pt x="1090351" y="275730"/>
                      </a:lnTo>
                      <a:lnTo>
                        <a:pt x="1092038" y="283125"/>
                      </a:lnTo>
                      <a:lnTo>
                        <a:pt x="1090739" y="286865"/>
                      </a:lnTo>
                      <a:lnTo>
                        <a:pt x="1087376" y="293131"/>
                      </a:lnTo>
                      <a:lnTo>
                        <a:pt x="1086829" y="295705"/>
                      </a:lnTo>
                      <a:lnTo>
                        <a:pt x="1087060" y="299420"/>
                      </a:lnTo>
                      <a:lnTo>
                        <a:pt x="1087509" y="302493"/>
                      </a:lnTo>
                      <a:lnTo>
                        <a:pt x="1085724" y="305638"/>
                      </a:lnTo>
                      <a:lnTo>
                        <a:pt x="1081474" y="307969"/>
                      </a:lnTo>
                      <a:lnTo>
                        <a:pt x="1074431" y="310459"/>
                      </a:lnTo>
                      <a:lnTo>
                        <a:pt x="1072112" y="306208"/>
                      </a:lnTo>
                      <a:lnTo>
                        <a:pt x="1072027" y="303828"/>
                      </a:lnTo>
                      <a:lnTo>
                        <a:pt x="1071250" y="302966"/>
                      </a:lnTo>
                      <a:lnTo>
                        <a:pt x="1069501" y="302760"/>
                      </a:lnTo>
                      <a:lnTo>
                        <a:pt x="1066915" y="303561"/>
                      </a:lnTo>
                      <a:lnTo>
                        <a:pt x="1064074" y="304982"/>
                      </a:lnTo>
                      <a:lnTo>
                        <a:pt x="1062580" y="306548"/>
                      </a:lnTo>
                      <a:lnTo>
                        <a:pt x="1060564" y="309414"/>
                      </a:lnTo>
                      <a:lnTo>
                        <a:pt x="1057382" y="312911"/>
                      </a:lnTo>
                      <a:lnTo>
                        <a:pt x="1051894" y="317659"/>
                      </a:lnTo>
                      <a:lnTo>
                        <a:pt x="1033352" y="325868"/>
                      </a:lnTo>
                      <a:lnTo>
                        <a:pt x="1033352" y="318376"/>
                      </a:lnTo>
                      <a:lnTo>
                        <a:pt x="1018452" y="310932"/>
                      </a:lnTo>
                      <a:lnTo>
                        <a:pt x="1002533" y="308649"/>
                      </a:lnTo>
                      <a:lnTo>
                        <a:pt x="996996" y="300185"/>
                      </a:lnTo>
                      <a:lnTo>
                        <a:pt x="989261" y="298097"/>
                      </a:lnTo>
                      <a:lnTo>
                        <a:pt x="978599" y="296871"/>
                      </a:lnTo>
                      <a:lnTo>
                        <a:pt x="971253" y="288929"/>
                      </a:lnTo>
                      <a:lnTo>
                        <a:pt x="961805" y="277660"/>
                      </a:lnTo>
                      <a:lnTo>
                        <a:pt x="954957" y="275535"/>
                      </a:lnTo>
                      <a:lnTo>
                        <a:pt x="947465" y="270350"/>
                      </a:lnTo>
                      <a:lnTo>
                        <a:pt x="937253" y="260575"/>
                      </a:lnTo>
                      <a:lnTo>
                        <a:pt x="932140" y="256009"/>
                      </a:lnTo>
                      <a:lnTo>
                        <a:pt x="929882" y="256957"/>
                      </a:lnTo>
                      <a:lnTo>
                        <a:pt x="928704" y="263380"/>
                      </a:lnTo>
                      <a:lnTo>
                        <a:pt x="919099" y="265141"/>
                      </a:lnTo>
                      <a:lnTo>
                        <a:pt x="908365" y="260454"/>
                      </a:lnTo>
                      <a:lnTo>
                        <a:pt x="906045" y="261219"/>
                      </a:lnTo>
                      <a:lnTo>
                        <a:pt x="900035" y="270532"/>
                      </a:lnTo>
                      <a:lnTo>
                        <a:pt x="891510" y="269245"/>
                      </a:lnTo>
                      <a:lnTo>
                        <a:pt x="884006" y="273848"/>
                      </a:lnTo>
                      <a:lnTo>
                        <a:pt x="868693" y="273848"/>
                      </a:lnTo>
                      <a:lnTo>
                        <a:pt x="854316" y="280077"/>
                      </a:lnTo>
                      <a:lnTo>
                        <a:pt x="843157" y="274685"/>
                      </a:lnTo>
                      <a:lnTo>
                        <a:pt x="832228" y="266950"/>
                      </a:lnTo>
                      <a:lnTo>
                        <a:pt x="828986" y="261195"/>
                      </a:lnTo>
                      <a:lnTo>
                        <a:pt x="826242" y="259677"/>
                      </a:lnTo>
                      <a:lnTo>
                        <a:pt x="817232" y="260745"/>
                      </a:lnTo>
                      <a:lnTo>
                        <a:pt x="791610" y="271249"/>
                      </a:lnTo>
                      <a:lnTo>
                        <a:pt x="760816" y="284291"/>
                      </a:lnTo>
                      <a:lnTo>
                        <a:pt x="739529" y="290313"/>
                      </a:lnTo>
                      <a:lnTo>
                        <a:pt x="724703" y="296749"/>
                      </a:lnTo>
                      <a:lnTo>
                        <a:pt x="722869" y="303646"/>
                      </a:lnTo>
                      <a:lnTo>
                        <a:pt x="722978" y="312328"/>
                      </a:lnTo>
                      <a:lnTo>
                        <a:pt x="719505" y="322832"/>
                      </a:lnTo>
                      <a:lnTo>
                        <a:pt x="712584" y="333991"/>
                      </a:lnTo>
                      <a:lnTo>
                        <a:pt x="696094" y="315571"/>
                      </a:lnTo>
                      <a:lnTo>
                        <a:pt x="684959" y="321533"/>
                      </a:lnTo>
                      <a:lnTo>
                        <a:pt x="670606" y="328721"/>
                      </a:lnTo>
                      <a:lnTo>
                        <a:pt x="659155" y="332461"/>
                      </a:lnTo>
                      <a:lnTo>
                        <a:pt x="647947" y="341423"/>
                      </a:lnTo>
                      <a:lnTo>
                        <a:pt x="627377" y="350117"/>
                      </a:lnTo>
                      <a:lnTo>
                        <a:pt x="609867" y="358350"/>
                      </a:lnTo>
                      <a:lnTo>
                        <a:pt x="575563" y="369242"/>
                      </a:lnTo>
                      <a:lnTo>
                        <a:pt x="569528" y="358702"/>
                      </a:lnTo>
                      <a:lnTo>
                        <a:pt x="559607" y="360669"/>
                      </a:lnTo>
                      <a:lnTo>
                        <a:pt x="526505" y="367737"/>
                      </a:lnTo>
                      <a:lnTo>
                        <a:pt x="518904" y="368757"/>
                      </a:lnTo>
                      <a:lnTo>
                        <a:pt x="508643" y="386388"/>
                      </a:lnTo>
                      <a:lnTo>
                        <a:pt x="499427" y="396394"/>
                      </a:lnTo>
                      <a:lnTo>
                        <a:pt x="489178" y="404931"/>
                      </a:lnTo>
                      <a:lnTo>
                        <a:pt x="477254" y="411961"/>
                      </a:lnTo>
                      <a:lnTo>
                        <a:pt x="474728" y="415531"/>
                      </a:lnTo>
                      <a:lnTo>
                        <a:pt x="469907" y="422101"/>
                      </a:lnTo>
                      <a:lnTo>
                        <a:pt x="464079" y="428306"/>
                      </a:lnTo>
                      <a:lnTo>
                        <a:pt x="452944" y="437656"/>
                      </a:lnTo>
                      <a:lnTo>
                        <a:pt x="445536" y="443533"/>
                      </a:lnTo>
                      <a:lnTo>
                        <a:pt x="440704" y="453053"/>
                      </a:lnTo>
                      <a:lnTo>
                        <a:pt x="440109" y="462622"/>
                      </a:lnTo>
                      <a:lnTo>
                        <a:pt x="439380" y="471316"/>
                      </a:lnTo>
                      <a:lnTo>
                        <a:pt x="429799" y="480411"/>
                      </a:lnTo>
                      <a:lnTo>
                        <a:pt x="416831" y="485718"/>
                      </a:lnTo>
                      <a:lnTo>
                        <a:pt x="403704" y="492651"/>
                      </a:lnTo>
                      <a:lnTo>
                        <a:pt x="390553" y="494169"/>
                      </a:lnTo>
                      <a:lnTo>
                        <a:pt x="372411" y="495286"/>
                      </a:lnTo>
                      <a:lnTo>
                        <a:pt x="362345" y="501309"/>
                      </a:lnTo>
                      <a:lnTo>
                        <a:pt x="347033" y="500046"/>
                      </a:lnTo>
                      <a:lnTo>
                        <a:pt x="329049" y="503568"/>
                      </a:lnTo>
                      <a:lnTo>
                        <a:pt x="311284" y="505935"/>
                      </a:lnTo>
                      <a:lnTo>
                        <a:pt x="281886" y="503604"/>
                      </a:lnTo>
                      <a:lnTo>
                        <a:pt x="270557" y="501163"/>
                      </a:lnTo>
                      <a:lnTo>
                        <a:pt x="260114" y="501236"/>
                      </a:lnTo>
                      <a:lnTo>
                        <a:pt x="247230" y="502535"/>
                      </a:lnTo>
                      <a:lnTo>
                        <a:pt x="234128" y="493659"/>
                      </a:lnTo>
                      <a:lnTo>
                        <a:pt x="222713" y="484758"/>
                      </a:lnTo>
                      <a:lnTo>
                        <a:pt x="213618" y="484758"/>
                      </a:lnTo>
                      <a:lnTo>
                        <a:pt x="203406" y="491340"/>
                      </a:lnTo>
                      <a:lnTo>
                        <a:pt x="190936" y="497423"/>
                      </a:lnTo>
                      <a:lnTo>
                        <a:pt x="175987" y="501151"/>
                      </a:lnTo>
                      <a:lnTo>
                        <a:pt x="152588" y="504758"/>
                      </a:lnTo>
                      <a:lnTo>
                        <a:pt x="139170" y="505948"/>
                      </a:lnTo>
                      <a:lnTo>
                        <a:pt x="127999" y="508352"/>
                      </a:lnTo>
                      <a:close/>
                    </a:path>
                  </a:pathLst>
                </a:custGeom>
                <a:solidFill>
                  <a:srgbClr val="D7D7D2"/>
                </a:solidFill>
                <a:ln w="12138" cap="flat">
                  <a:noFill/>
                  <a:prstDash val="solid"/>
                  <a:miter/>
                </a:ln>
              </p:spPr>
              <p:txBody>
                <a:bodyPr rtlCol="0" anchor="ctr"/>
                <a:lstStyle/>
                <a:p>
                  <a:endParaRPr lang="en-US"/>
                </a:p>
              </p:txBody>
            </p:sp>
            <p:sp>
              <p:nvSpPr>
                <p:cNvPr id="303" name="Freeform: Shape 302">
                  <a:extLst>
                    <a:ext uri="{FF2B5EF4-FFF2-40B4-BE49-F238E27FC236}">
                      <a16:creationId xmlns:a16="http://schemas.microsoft.com/office/drawing/2014/main" id="{7AB4C5F4-6051-426E-9806-AEC6356AAB75}"/>
                    </a:ext>
                  </a:extLst>
                </p:cNvPr>
                <p:cNvSpPr/>
                <p:nvPr/>
              </p:nvSpPr>
              <p:spPr>
                <a:xfrm>
                  <a:off x="7746941" y="2264883"/>
                  <a:ext cx="1098255" cy="514459"/>
                </a:xfrm>
                <a:custGeom>
                  <a:avLst/>
                  <a:gdLst>
                    <a:gd name="connsiteX0" fmla="*/ 850430 w 1098255"/>
                    <a:gd name="connsiteY0" fmla="*/ 6084 h 514459"/>
                    <a:gd name="connsiteX1" fmla="*/ 863059 w 1098255"/>
                    <a:gd name="connsiteY1" fmla="*/ 6254 h 514459"/>
                    <a:gd name="connsiteX2" fmla="*/ 864783 w 1098255"/>
                    <a:gd name="connsiteY2" fmla="*/ 9180 h 514459"/>
                    <a:gd name="connsiteX3" fmla="*/ 867601 w 1098255"/>
                    <a:gd name="connsiteY3" fmla="*/ 19599 h 514459"/>
                    <a:gd name="connsiteX4" fmla="*/ 869483 w 1098255"/>
                    <a:gd name="connsiteY4" fmla="*/ 23023 h 514459"/>
                    <a:gd name="connsiteX5" fmla="*/ 874923 w 1098255"/>
                    <a:gd name="connsiteY5" fmla="*/ 29046 h 514459"/>
                    <a:gd name="connsiteX6" fmla="*/ 880557 w 1098255"/>
                    <a:gd name="connsiteY6" fmla="*/ 32264 h 514459"/>
                    <a:gd name="connsiteX7" fmla="*/ 886653 w 1098255"/>
                    <a:gd name="connsiteY7" fmla="*/ 32154 h 514459"/>
                    <a:gd name="connsiteX8" fmla="*/ 893477 w 1098255"/>
                    <a:gd name="connsiteY8" fmla="*/ 28184 h 514459"/>
                    <a:gd name="connsiteX9" fmla="*/ 897047 w 1098255"/>
                    <a:gd name="connsiteY9" fmla="*/ 25354 h 514459"/>
                    <a:gd name="connsiteX10" fmla="*/ 899634 w 1098255"/>
                    <a:gd name="connsiteY10" fmla="*/ 24395 h 514459"/>
                    <a:gd name="connsiteX11" fmla="*/ 902038 w 1098255"/>
                    <a:gd name="connsiteY11" fmla="*/ 25524 h 514459"/>
                    <a:gd name="connsiteX12" fmla="*/ 905147 w 1098255"/>
                    <a:gd name="connsiteY12" fmla="*/ 28997 h 514459"/>
                    <a:gd name="connsiteX13" fmla="*/ 905244 w 1098255"/>
                    <a:gd name="connsiteY13" fmla="*/ 31669 h 514459"/>
                    <a:gd name="connsiteX14" fmla="*/ 900666 w 1098255"/>
                    <a:gd name="connsiteY14" fmla="*/ 38529 h 514459"/>
                    <a:gd name="connsiteX15" fmla="*/ 897861 w 1098255"/>
                    <a:gd name="connsiteY15" fmla="*/ 44674 h 514459"/>
                    <a:gd name="connsiteX16" fmla="*/ 895784 w 1098255"/>
                    <a:gd name="connsiteY16" fmla="*/ 46447 h 514459"/>
                    <a:gd name="connsiteX17" fmla="*/ 875858 w 1098255"/>
                    <a:gd name="connsiteY17" fmla="*/ 51765 h 514459"/>
                    <a:gd name="connsiteX18" fmla="*/ 872761 w 1098255"/>
                    <a:gd name="connsiteY18" fmla="*/ 53562 h 514459"/>
                    <a:gd name="connsiteX19" fmla="*/ 870855 w 1098255"/>
                    <a:gd name="connsiteY19" fmla="*/ 56258 h 514459"/>
                    <a:gd name="connsiteX20" fmla="*/ 869191 w 1098255"/>
                    <a:gd name="connsiteY20" fmla="*/ 59306 h 514459"/>
                    <a:gd name="connsiteX21" fmla="*/ 873101 w 1098255"/>
                    <a:gd name="connsiteY21" fmla="*/ 76027 h 514459"/>
                    <a:gd name="connsiteX22" fmla="*/ 889094 w 1098255"/>
                    <a:gd name="connsiteY22" fmla="*/ 65742 h 514459"/>
                    <a:gd name="connsiteX23" fmla="*/ 902317 w 1098255"/>
                    <a:gd name="connsiteY23" fmla="*/ 61613 h 514459"/>
                    <a:gd name="connsiteX24" fmla="*/ 905195 w 1098255"/>
                    <a:gd name="connsiteY24" fmla="*/ 74072 h 514459"/>
                    <a:gd name="connsiteX25" fmla="*/ 922244 w 1098255"/>
                    <a:gd name="connsiteY25" fmla="*/ 82621 h 514459"/>
                    <a:gd name="connsiteX26" fmla="*/ 921017 w 1098255"/>
                    <a:gd name="connsiteY26" fmla="*/ 85328 h 514459"/>
                    <a:gd name="connsiteX27" fmla="*/ 921199 w 1098255"/>
                    <a:gd name="connsiteY27" fmla="*/ 87563 h 514459"/>
                    <a:gd name="connsiteX28" fmla="*/ 922693 w 1098255"/>
                    <a:gd name="connsiteY28" fmla="*/ 88996 h 514459"/>
                    <a:gd name="connsiteX29" fmla="*/ 925450 w 1098255"/>
                    <a:gd name="connsiteY29" fmla="*/ 89263 h 514459"/>
                    <a:gd name="connsiteX30" fmla="*/ 928728 w 1098255"/>
                    <a:gd name="connsiteY30" fmla="*/ 92128 h 514459"/>
                    <a:gd name="connsiteX31" fmla="*/ 930283 w 1098255"/>
                    <a:gd name="connsiteY31" fmla="*/ 95953 h 514459"/>
                    <a:gd name="connsiteX32" fmla="*/ 932237 w 1098255"/>
                    <a:gd name="connsiteY32" fmla="*/ 104878 h 514459"/>
                    <a:gd name="connsiteX33" fmla="*/ 934630 w 1098255"/>
                    <a:gd name="connsiteY33" fmla="*/ 109177 h 514459"/>
                    <a:gd name="connsiteX34" fmla="*/ 944575 w 1098255"/>
                    <a:gd name="connsiteY34" fmla="*/ 120579 h 514459"/>
                    <a:gd name="connsiteX35" fmla="*/ 947562 w 1098255"/>
                    <a:gd name="connsiteY35" fmla="*/ 130889 h 514459"/>
                    <a:gd name="connsiteX36" fmla="*/ 948594 w 1098255"/>
                    <a:gd name="connsiteY36" fmla="*/ 140676 h 514459"/>
                    <a:gd name="connsiteX37" fmla="*/ 930635 w 1098255"/>
                    <a:gd name="connsiteY37" fmla="*/ 153997 h 514459"/>
                    <a:gd name="connsiteX38" fmla="*/ 918054 w 1098255"/>
                    <a:gd name="connsiteY38" fmla="*/ 160772 h 514459"/>
                    <a:gd name="connsiteX39" fmla="*/ 924017 w 1098255"/>
                    <a:gd name="connsiteY39" fmla="*/ 170390 h 514459"/>
                    <a:gd name="connsiteX40" fmla="*/ 916500 w 1098255"/>
                    <a:gd name="connsiteY40" fmla="*/ 179606 h 514459"/>
                    <a:gd name="connsiteX41" fmla="*/ 923106 w 1098255"/>
                    <a:gd name="connsiteY41" fmla="*/ 185763 h 514459"/>
                    <a:gd name="connsiteX42" fmla="*/ 929311 w 1098255"/>
                    <a:gd name="connsiteY42" fmla="*/ 199363 h 514459"/>
                    <a:gd name="connsiteX43" fmla="*/ 932529 w 1098255"/>
                    <a:gd name="connsiteY43" fmla="*/ 197869 h 514459"/>
                    <a:gd name="connsiteX44" fmla="*/ 933512 w 1098255"/>
                    <a:gd name="connsiteY44" fmla="*/ 185763 h 514459"/>
                    <a:gd name="connsiteX45" fmla="*/ 935395 w 1098255"/>
                    <a:gd name="connsiteY45" fmla="*/ 176534 h 514459"/>
                    <a:gd name="connsiteX46" fmla="*/ 941029 w 1098255"/>
                    <a:gd name="connsiteY46" fmla="*/ 166285 h 514459"/>
                    <a:gd name="connsiteX47" fmla="*/ 951423 w 1098255"/>
                    <a:gd name="connsiteY47" fmla="*/ 161173 h 514459"/>
                    <a:gd name="connsiteX48" fmla="*/ 967476 w 1098255"/>
                    <a:gd name="connsiteY48" fmla="*/ 165253 h 514459"/>
                    <a:gd name="connsiteX49" fmla="*/ 980688 w 1098255"/>
                    <a:gd name="connsiteY49" fmla="*/ 179606 h 514459"/>
                    <a:gd name="connsiteX50" fmla="*/ 993887 w 1098255"/>
                    <a:gd name="connsiteY50" fmla="*/ 187790 h 514459"/>
                    <a:gd name="connsiteX51" fmla="*/ 1002387 w 1098255"/>
                    <a:gd name="connsiteY51" fmla="*/ 198039 h 514459"/>
                    <a:gd name="connsiteX52" fmla="*/ 1004816 w 1098255"/>
                    <a:gd name="connsiteY52" fmla="*/ 212939 h 514459"/>
                    <a:gd name="connsiteX53" fmla="*/ 1011580 w 1098255"/>
                    <a:gd name="connsiteY53" fmla="*/ 216618 h 514459"/>
                    <a:gd name="connsiteX54" fmla="*/ 1017554 w 1098255"/>
                    <a:gd name="connsiteY54" fmla="*/ 217881 h 514459"/>
                    <a:gd name="connsiteX55" fmla="*/ 1023479 w 1098255"/>
                    <a:gd name="connsiteY55" fmla="*/ 216533 h 514459"/>
                    <a:gd name="connsiteX56" fmla="*/ 1030182 w 1098255"/>
                    <a:gd name="connsiteY56" fmla="*/ 212489 h 514459"/>
                    <a:gd name="connsiteX57" fmla="*/ 1038694 w 1098255"/>
                    <a:gd name="connsiteY57" fmla="*/ 208786 h 514459"/>
                    <a:gd name="connsiteX58" fmla="*/ 1045628 w 1098255"/>
                    <a:gd name="connsiteY58" fmla="*/ 210534 h 514459"/>
                    <a:gd name="connsiteX59" fmla="*/ 1058269 w 1098255"/>
                    <a:gd name="connsiteY59" fmla="*/ 221013 h 514459"/>
                    <a:gd name="connsiteX60" fmla="*/ 1060224 w 1098255"/>
                    <a:gd name="connsiteY60" fmla="*/ 221754 h 514459"/>
                    <a:gd name="connsiteX61" fmla="*/ 1061997 w 1098255"/>
                    <a:gd name="connsiteY61" fmla="*/ 221730 h 514459"/>
                    <a:gd name="connsiteX62" fmla="*/ 1063442 w 1098255"/>
                    <a:gd name="connsiteY62" fmla="*/ 222422 h 514459"/>
                    <a:gd name="connsiteX63" fmla="*/ 1065385 w 1098255"/>
                    <a:gd name="connsiteY63" fmla="*/ 227449 h 514459"/>
                    <a:gd name="connsiteX64" fmla="*/ 1067061 w 1098255"/>
                    <a:gd name="connsiteY64" fmla="*/ 229222 h 514459"/>
                    <a:gd name="connsiteX65" fmla="*/ 1077503 w 1098255"/>
                    <a:gd name="connsiteY65" fmla="*/ 237139 h 514459"/>
                    <a:gd name="connsiteX66" fmla="*/ 1084619 w 1098255"/>
                    <a:gd name="connsiteY66" fmla="*/ 240819 h 514459"/>
                    <a:gd name="connsiteX67" fmla="*/ 1085603 w 1098255"/>
                    <a:gd name="connsiteY67" fmla="*/ 246417 h 514459"/>
                    <a:gd name="connsiteX68" fmla="*/ 1080029 w 1098255"/>
                    <a:gd name="connsiteY68" fmla="*/ 258742 h 514459"/>
                    <a:gd name="connsiteX69" fmla="*/ 1078876 w 1098255"/>
                    <a:gd name="connsiteY69" fmla="*/ 265687 h 514459"/>
                    <a:gd name="connsiteX70" fmla="*/ 1081462 w 1098255"/>
                    <a:gd name="connsiteY70" fmla="*/ 270848 h 514459"/>
                    <a:gd name="connsiteX71" fmla="*/ 1090594 w 1098255"/>
                    <a:gd name="connsiteY71" fmla="*/ 280295 h 514459"/>
                    <a:gd name="connsiteX72" fmla="*/ 1091893 w 1098255"/>
                    <a:gd name="connsiteY72" fmla="*/ 286015 h 514459"/>
                    <a:gd name="connsiteX73" fmla="*/ 1090873 w 1098255"/>
                    <a:gd name="connsiteY73" fmla="*/ 288917 h 514459"/>
                    <a:gd name="connsiteX74" fmla="*/ 1087716 w 1098255"/>
                    <a:gd name="connsiteY74" fmla="*/ 294745 h 514459"/>
                    <a:gd name="connsiteX75" fmla="*/ 1086902 w 1098255"/>
                    <a:gd name="connsiteY75" fmla="*/ 298036 h 514459"/>
                    <a:gd name="connsiteX76" fmla="*/ 1087036 w 1098255"/>
                    <a:gd name="connsiteY76" fmla="*/ 302578 h 514459"/>
                    <a:gd name="connsiteX77" fmla="*/ 1087364 w 1098255"/>
                    <a:gd name="connsiteY77" fmla="*/ 304958 h 514459"/>
                    <a:gd name="connsiteX78" fmla="*/ 1086514 w 1098255"/>
                    <a:gd name="connsiteY78" fmla="*/ 306451 h 514459"/>
                    <a:gd name="connsiteX79" fmla="*/ 1083017 w 1098255"/>
                    <a:gd name="connsiteY79" fmla="*/ 308382 h 514459"/>
                    <a:gd name="connsiteX80" fmla="*/ 1078876 w 1098255"/>
                    <a:gd name="connsiteY80" fmla="*/ 309815 h 514459"/>
                    <a:gd name="connsiteX81" fmla="*/ 1078123 w 1098255"/>
                    <a:gd name="connsiteY81" fmla="*/ 308443 h 514459"/>
                    <a:gd name="connsiteX82" fmla="*/ 1078013 w 1098255"/>
                    <a:gd name="connsiteY82" fmla="*/ 305698 h 514459"/>
                    <a:gd name="connsiteX83" fmla="*/ 1075755 w 1098255"/>
                    <a:gd name="connsiteY83" fmla="*/ 303148 h 514459"/>
                    <a:gd name="connsiteX84" fmla="*/ 1072841 w 1098255"/>
                    <a:gd name="connsiteY84" fmla="*/ 302808 h 514459"/>
                    <a:gd name="connsiteX85" fmla="*/ 1069210 w 1098255"/>
                    <a:gd name="connsiteY85" fmla="*/ 303671 h 514459"/>
                    <a:gd name="connsiteX86" fmla="*/ 1065773 w 1098255"/>
                    <a:gd name="connsiteY86" fmla="*/ 305310 h 514459"/>
                    <a:gd name="connsiteX87" fmla="*/ 1063527 w 1098255"/>
                    <a:gd name="connsiteY87" fmla="*/ 307374 h 514459"/>
                    <a:gd name="connsiteX88" fmla="*/ 1061110 w 1098255"/>
                    <a:gd name="connsiteY88" fmla="*/ 310677 h 514459"/>
                    <a:gd name="connsiteX89" fmla="*/ 1058135 w 1098255"/>
                    <a:gd name="connsiteY89" fmla="*/ 313919 h 514459"/>
                    <a:gd name="connsiteX90" fmla="*/ 1052914 w 1098255"/>
                    <a:gd name="connsiteY90" fmla="*/ 318424 h 514459"/>
                    <a:gd name="connsiteX91" fmla="*/ 1039387 w 1098255"/>
                    <a:gd name="connsiteY91" fmla="*/ 324301 h 514459"/>
                    <a:gd name="connsiteX92" fmla="*/ 1039387 w 1098255"/>
                    <a:gd name="connsiteY92" fmla="*/ 319553 h 514459"/>
                    <a:gd name="connsiteX93" fmla="*/ 1022799 w 1098255"/>
                    <a:gd name="connsiteY93" fmla="*/ 311272 h 514459"/>
                    <a:gd name="connsiteX94" fmla="*/ 1007341 w 1098255"/>
                    <a:gd name="connsiteY94" fmla="*/ 308904 h 514459"/>
                    <a:gd name="connsiteX95" fmla="*/ 1001914 w 1098255"/>
                    <a:gd name="connsiteY95" fmla="*/ 300611 h 514459"/>
                    <a:gd name="connsiteX96" fmla="*/ 993061 w 1098255"/>
                    <a:gd name="connsiteY96" fmla="*/ 298231 h 514459"/>
                    <a:gd name="connsiteX97" fmla="*/ 983080 w 1098255"/>
                    <a:gd name="connsiteY97" fmla="*/ 297053 h 514459"/>
                    <a:gd name="connsiteX98" fmla="*/ 976486 w 1098255"/>
                    <a:gd name="connsiteY98" fmla="*/ 289937 h 514459"/>
                    <a:gd name="connsiteX99" fmla="*/ 966566 w 1098255"/>
                    <a:gd name="connsiteY99" fmla="*/ 278097 h 514459"/>
                    <a:gd name="connsiteX100" fmla="*/ 958867 w 1098255"/>
                    <a:gd name="connsiteY100" fmla="*/ 275705 h 514459"/>
                    <a:gd name="connsiteX101" fmla="*/ 952237 w 1098255"/>
                    <a:gd name="connsiteY101" fmla="*/ 270957 h 514459"/>
                    <a:gd name="connsiteX102" fmla="*/ 942377 w 1098255"/>
                    <a:gd name="connsiteY102" fmla="*/ 261449 h 514459"/>
                    <a:gd name="connsiteX103" fmla="*/ 935735 w 1098255"/>
                    <a:gd name="connsiteY103" fmla="*/ 255536 h 514459"/>
                    <a:gd name="connsiteX104" fmla="*/ 930197 w 1098255"/>
                    <a:gd name="connsiteY104" fmla="*/ 257867 h 514459"/>
                    <a:gd name="connsiteX105" fmla="*/ 929105 w 1098255"/>
                    <a:gd name="connsiteY105" fmla="*/ 263829 h 514459"/>
                    <a:gd name="connsiteX106" fmla="*/ 922475 w 1098255"/>
                    <a:gd name="connsiteY106" fmla="*/ 265044 h 514459"/>
                    <a:gd name="connsiteX107" fmla="*/ 911534 w 1098255"/>
                    <a:gd name="connsiteY107" fmla="*/ 260272 h 514459"/>
                    <a:gd name="connsiteX108" fmla="*/ 907090 w 1098255"/>
                    <a:gd name="connsiteY108" fmla="*/ 261729 h 514459"/>
                    <a:gd name="connsiteX109" fmla="*/ 901564 w 1098255"/>
                    <a:gd name="connsiteY109" fmla="*/ 270302 h 514459"/>
                    <a:gd name="connsiteX110" fmla="*/ 893890 w 1098255"/>
                    <a:gd name="connsiteY110" fmla="*/ 269136 h 514459"/>
                    <a:gd name="connsiteX111" fmla="*/ 886167 w 1098255"/>
                    <a:gd name="connsiteY111" fmla="*/ 273872 h 514459"/>
                    <a:gd name="connsiteX112" fmla="*/ 871705 w 1098255"/>
                    <a:gd name="connsiteY112" fmla="*/ 273872 h 514459"/>
                    <a:gd name="connsiteX113" fmla="*/ 857425 w 1098255"/>
                    <a:gd name="connsiteY113" fmla="*/ 279810 h 514459"/>
                    <a:gd name="connsiteX114" fmla="*/ 847492 w 1098255"/>
                    <a:gd name="connsiteY114" fmla="*/ 275013 h 514459"/>
                    <a:gd name="connsiteX115" fmla="*/ 837559 w 1098255"/>
                    <a:gd name="connsiteY115" fmla="*/ 267934 h 514459"/>
                    <a:gd name="connsiteX116" fmla="*/ 834232 w 1098255"/>
                    <a:gd name="connsiteY116" fmla="*/ 262020 h 514459"/>
                    <a:gd name="connsiteX117" fmla="*/ 829897 w 1098255"/>
                    <a:gd name="connsiteY117" fmla="*/ 259616 h 514459"/>
                    <a:gd name="connsiteX118" fmla="*/ 819915 w 1098255"/>
                    <a:gd name="connsiteY118" fmla="*/ 260806 h 514459"/>
                    <a:gd name="connsiteX119" fmla="*/ 793504 w 1098255"/>
                    <a:gd name="connsiteY119" fmla="*/ 271504 h 514459"/>
                    <a:gd name="connsiteX120" fmla="*/ 762661 w 1098255"/>
                    <a:gd name="connsiteY120" fmla="*/ 284558 h 514459"/>
                    <a:gd name="connsiteX121" fmla="*/ 741739 w 1098255"/>
                    <a:gd name="connsiteY121" fmla="*/ 290459 h 514459"/>
                    <a:gd name="connsiteX122" fmla="*/ 725188 w 1098255"/>
                    <a:gd name="connsiteY122" fmla="*/ 297611 h 514459"/>
                    <a:gd name="connsiteX123" fmla="*/ 722966 w 1098255"/>
                    <a:gd name="connsiteY123" fmla="*/ 305917 h 514459"/>
                    <a:gd name="connsiteX124" fmla="*/ 722966 w 1098255"/>
                    <a:gd name="connsiteY124" fmla="*/ 315388 h 514459"/>
                    <a:gd name="connsiteX125" fmla="*/ 719676 w 1098255"/>
                    <a:gd name="connsiteY125" fmla="*/ 324896 h 514459"/>
                    <a:gd name="connsiteX126" fmla="*/ 715195 w 1098255"/>
                    <a:gd name="connsiteY126" fmla="*/ 332024 h 514459"/>
                    <a:gd name="connsiteX127" fmla="*/ 699797 w 1098255"/>
                    <a:gd name="connsiteY127" fmla="*/ 314830 h 514459"/>
                    <a:gd name="connsiteX128" fmla="*/ 686549 w 1098255"/>
                    <a:gd name="connsiteY128" fmla="*/ 321909 h 514459"/>
                    <a:gd name="connsiteX129" fmla="*/ 672269 w 1098255"/>
                    <a:gd name="connsiteY129" fmla="*/ 329049 h 514459"/>
                    <a:gd name="connsiteX130" fmla="*/ 661244 w 1098255"/>
                    <a:gd name="connsiteY130" fmla="*/ 332619 h 514459"/>
                    <a:gd name="connsiteX131" fmla="*/ 651724 w 1098255"/>
                    <a:gd name="connsiteY131" fmla="*/ 340027 h 514459"/>
                    <a:gd name="connsiteX132" fmla="*/ 649101 w 1098255"/>
                    <a:gd name="connsiteY132" fmla="*/ 342091 h 514459"/>
                    <a:gd name="connsiteX133" fmla="*/ 638609 w 1098255"/>
                    <a:gd name="connsiteY133" fmla="*/ 346426 h 514459"/>
                    <a:gd name="connsiteX134" fmla="*/ 631505 w 1098255"/>
                    <a:gd name="connsiteY134" fmla="*/ 349401 h 514459"/>
                    <a:gd name="connsiteX135" fmla="*/ 629223 w 1098255"/>
                    <a:gd name="connsiteY135" fmla="*/ 350372 h 514459"/>
                    <a:gd name="connsiteX136" fmla="*/ 611603 w 1098255"/>
                    <a:gd name="connsiteY136" fmla="*/ 358654 h 514459"/>
                    <a:gd name="connsiteX137" fmla="*/ 588835 w 1098255"/>
                    <a:gd name="connsiteY137" fmla="*/ 365806 h 514459"/>
                    <a:gd name="connsiteX138" fmla="*/ 579995 w 1098255"/>
                    <a:gd name="connsiteY138" fmla="*/ 368647 h 514459"/>
                    <a:gd name="connsiteX139" fmla="*/ 574106 w 1098255"/>
                    <a:gd name="connsiteY139" fmla="*/ 358338 h 514459"/>
                    <a:gd name="connsiteX140" fmla="*/ 562048 w 1098255"/>
                    <a:gd name="connsiteY140" fmla="*/ 360730 h 514459"/>
                    <a:gd name="connsiteX141" fmla="*/ 545473 w 1098255"/>
                    <a:gd name="connsiteY141" fmla="*/ 364227 h 514459"/>
                    <a:gd name="connsiteX142" fmla="*/ 531047 w 1098255"/>
                    <a:gd name="connsiteY142" fmla="*/ 367336 h 514459"/>
                    <a:gd name="connsiteX143" fmla="*/ 528873 w 1098255"/>
                    <a:gd name="connsiteY143" fmla="*/ 367822 h 514459"/>
                    <a:gd name="connsiteX144" fmla="*/ 520046 w 1098255"/>
                    <a:gd name="connsiteY144" fmla="*/ 369000 h 514459"/>
                    <a:gd name="connsiteX145" fmla="*/ 509044 w 1098255"/>
                    <a:gd name="connsiteY145" fmla="*/ 387906 h 514459"/>
                    <a:gd name="connsiteX146" fmla="*/ 504017 w 1098255"/>
                    <a:gd name="connsiteY146" fmla="*/ 393285 h 514459"/>
                    <a:gd name="connsiteX147" fmla="*/ 500228 w 1098255"/>
                    <a:gd name="connsiteY147" fmla="*/ 397378 h 514459"/>
                    <a:gd name="connsiteX148" fmla="*/ 490271 w 1098255"/>
                    <a:gd name="connsiteY148" fmla="*/ 405647 h 514459"/>
                    <a:gd name="connsiteX149" fmla="*/ 481637 w 1098255"/>
                    <a:gd name="connsiteY149" fmla="*/ 410723 h 514459"/>
                    <a:gd name="connsiteX150" fmla="*/ 478189 w 1098255"/>
                    <a:gd name="connsiteY150" fmla="*/ 412714 h 514459"/>
                    <a:gd name="connsiteX151" fmla="*/ 475287 w 1098255"/>
                    <a:gd name="connsiteY151" fmla="*/ 416818 h 514459"/>
                    <a:gd name="connsiteX152" fmla="*/ 470490 w 1098255"/>
                    <a:gd name="connsiteY152" fmla="*/ 423339 h 514459"/>
                    <a:gd name="connsiteX153" fmla="*/ 464904 w 1098255"/>
                    <a:gd name="connsiteY153" fmla="*/ 429265 h 514459"/>
                    <a:gd name="connsiteX154" fmla="*/ 454984 w 1098255"/>
                    <a:gd name="connsiteY154" fmla="*/ 437522 h 514459"/>
                    <a:gd name="connsiteX155" fmla="*/ 453964 w 1098255"/>
                    <a:gd name="connsiteY155" fmla="*/ 438421 h 514459"/>
                    <a:gd name="connsiteX156" fmla="*/ 446156 w 1098255"/>
                    <a:gd name="connsiteY156" fmla="*/ 444602 h 514459"/>
                    <a:gd name="connsiteX157" fmla="*/ 440752 w 1098255"/>
                    <a:gd name="connsiteY157" fmla="*/ 455275 h 514459"/>
                    <a:gd name="connsiteX158" fmla="*/ 440109 w 1098255"/>
                    <a:gd name="connsiteY158" fmla="*/ 465463 h 514459"/>
                    <a:gd name="connsiteX159" fmla="*/ 439477 w 1098255"/>
                    <a:gd name="connsiteY159" fmla="*/ 472943 h 514459"/>
                    <a:gd name="connsiteX160" fmla="*/ 430734 w 1098255"/>
                    <a:gd name="connsiteY160" fmla="*/ 481237 h 514459"/>
                    <a:gd name="connsiteX161" fmla="*/ 418749 w 1098255"/>
                    <a:gd name="connsiteY161" fmla="*/ 485924 h 514459"/>
                    <a:gd name="connsiteX162" fmla="*/ 405319 w 1098255"/>
                    <a:gd name="connsiteY162" fmla="*/ 493003 h 514459"/>
                    <a:gd name="connsiteX163" fmla="*/ 393285 w 1098255"/>
                    <a:gd name="connsiteY163" fmla="*/ 494181 h 514459"/>
                    <a:gd name="connsiteX164" fmla="*/ 374524 w 1098255"/>
                    <a:gd name="connsiteY164" fmla="*/ 495347 h 514459"/>
                    <a:gd name="connsiteX165" fmla="*/ 364664 w 1098255"/>
                    <a:gd name="connsiteY165" fmla="*/ 501236 h 514459"/>
                    <a:gd name="connsiteX166" fmla="*/ 350312 w 1098255"/>
                    <a:gd name="connsiteY166" fmla="*/ 500058 h 514459"/>
                    <a:gd name="connsiteX167" fmla="*/ 331514 w 1098255"/>
                    <a:gd name="connsiteY167" fmla="*/ 503616 h 514459"/>
                    <a:gd name="connsiteX168" fmla="*/ 313919 w 1098255"/>
                    <a:gd name="connsiteY168" fmla="*/ 505948 h 514459"/>
                    <a:gd name="connsiteX169" fmla="*/ 285177 w 1098255"/>
                    <a:gd name="connsiteY169" fmla="*/ 503616 h 514459"/>
                    <a:gd name="connsiteX170" fmla="*/ 274236 w 1098255"/>
                    <a:gd name="connsiteY170" fmla="*/ 501236 h 514459"/>
                    <a:gd name="connsiteX171" fmla="*/ 263162 w 1098255"/>
                    <a:gd name="connsiteY171" fmla="*/ 501236 h 514459"/>
                    <a:gd name="connsiteX172" fmla="*/ 251067 w 1098255"/>
                    <a:gd name="connsiteY172" fmla="*/ 502438 h 514459"/>
                    <a:gd name="connsiteX173" fmla="*/ 238864 w 1098255"/>
                    <a:gd name="connsiteY173" fmla="*/ 494181 h 514459"/>
                    <a:gd name="connsiteX174" fmla="*/ 226806 w 1098255"/>
                    <a:gd name="connsiteY174" fmla="*/ 484758 h 514459"/>
                    <a:gd name="connsiteX175" fmla="*/ 215780 w 1098255"/>
                    <a:gd name="connsiteY175" fmla="*/ 484758 h 514459"/>
                    <a:gd name="connsiteX176" fmla="*/ 204815 w 1098255"/>
                    <a:gd name="connsiteY176" fmla="*/ 491825 h 514459"/>
                    <a:gd name="connsiteX177" fmla="*/ 192660 w 1098255"/>
                    <a:gd name="connsiteY177" fmla="*/ 497727 h 514459"/>
                    <a:gd name="connsiteX178" fmla="*/ 178307 w 1098255"/>
                    <a:gd name="connsiteY178" fmla="*/ 501248 h 514459"/>
                    <a:gd name="connsiteX179" fmla="*/ 155175 w 1098255"/>
                    <a:gd name="connsiteY179" fmla="*/ 504794 h 514459"/>
                    <a:gd name="connsiteX180" fmla="*/ 141951 w 1098255"/>
                    <a:gd name="connsiteY180" fmla="*/ 505960 h 514459"/>
                    <a:gd name="connsiteX181" fmla="*/ 130864 w 1098255"/>
                    <a:gd name="connsiteY181" fmla="*/ 508328 h 514459"/>
                    <a:gd name="connsiteX182" fmla="*/ 100738 w 1098255"/>
                    <a:gd name="connsiteY182" fmla="*/ 505766 h 514459"/>
                    <a:gd name="connsiteX183" fmla="*/ 101308 w 1098255"/>
                    <a:gd name="connsiteY183" fmla="*/ 503070 h 514459"/>
                    <a:gd name="connsiteX184" fmla="*/ 101952 w 1098255"/>
                    <a:gd name="connsiteY184" fmla="*/ 499888 h 514459"/>
                    <a:gd name="connsiteX185" fmla="*/ 98783 w 1098255"/>
                    <a:gd name="connsiteY185" fmla="*/ 488292 h 514459"/>
                    <a:gd name="connsiteX186" fmla="*/ 98783 w 1098255"/>
                    <a:gd name="connsiteY186" fmla="*/ 488255 h 514459"/>
                    <a:gd name="connsiteX187" fmla="*/ 95516 w 1098255"/>
                    <a:gd name="connsiteY187" fmla="*/ 481820 h 514459"/>
                    <a:gd name="connsiteX188" fmla="*/ 86203 w 1098255"/>
                    <a:gd name="connsiteY188" fmla="*/ 472810 h 514459"/>
                    <a:gd name="connsiteX189" fmla="*/ 83920 w 1098255"/>
                    <a:gd name="connsiteY189" fmla="*/ 466264 h 514459"/>
                    <a:gd name="connsiteX190" fmla="*/ 83980 w 1098255"/>
                    <a:gd name="connsiteY190" fmla="*/ 462561 h 514459"/>
                    <a:gd name="connsiteX191" fmla="*/ 84490 w 1098255"/>
                    <a:gd name="connsiteY191" fmla="*/ 458821 h 514459"/>
                    <a:gd name="connsiteX192" fmla="*/ 85474 w 1098255"/>
                    <a:gd name="connsiteY192" fmla="*/ 455348 h 514459"/>
                    <a:gd name="connsiteX193" fmla="*/ 86785 w 1098255"/>
                    <a:gd name="connsiteY193" fmla="*/ 452385 h 514459"/>
                    <a:gd name="connsiteX194" fmla="*/ 87307 w 1098255"/>
                    <a:gd name="connsiteY194" fmla="*/ 451705 h 514459"/>
                    <a:gd name="connsiteX195" fmla="*/ 87818 w 1098255"/>
                    <a:gd name="connsiteY195" fmla="*/ 451013 h 514459"/>
                    <a:gd name="connsiteX196" fmla="*/ 90222 w 1098255"/>
                    <a:gd name="connsiteY196" fmla="*/ 448524 h 514459"/>
                    <a:gd name="connsiteX197" fmla="*/ 91327 w 1098255"/>
                    <a:gd name="connsiteY197" fmla="*/ 446909 h 514459"/>
                    <a:gd name="connsiteX198" fmla="*/ 91837 w 1098255"/>
                    <a:gd name="connsiteY198" fmla="*/ 445160 h 514459"/>
                    <a:gd name="connsiteX199" fmla="*/ 92420 w 1098255"/>
                    <a:gd name="connsiteY199" fmla="*/ 441335 h 514459"/>
                    <a:gd name="connsiteX200" fmla="*/ 93112 w 1098255"/>
                    <a:gd name="connsiteY200" fmla="*/ 439502 h 514459"/>
                    <a:gd name="connsiteX201" fmla="*/ 95747 w 1098255"/>
                    <a:gd name="connsiteY201" fmla="*/ 436490 h 514459"/>
                    <a:gd name="connsiteX202" fmla="*/ 101612 w 1098255"/>
                    <a:gd name="connsiteY202" fmla="*/ 431694 h 514459"/>
                    <a:gd name="connsiteX203" fmla="*/ 102863 w 1098255"/>
                    <a:gd name="connsiteY203" fmla="*/ 428221 h 514459"/>
                    <a:gd name="connsiteX204" fmla="*/ 102122 w 1098255"/>
                    <a:gd name="connsiteY204" fmla="*/ 425816 h 514459"/>
                    <a:gd name="connsiteX205" fmla="*/ 85681 w 1098255"/>
                    <a:gd name="connsiteY205" fmla="*/ 396637 h 514459"/>
                    <a:gd name="connsiteX206" fmla="*/ 81540 w 1098255"/>
                    <a:gd name="connsiteY206" fmla="*/ 391816 h 514459"/>
                    <a:gd name="connsiteX207" fmla="*/ 79317 w 1098255"/>
                    <a:gd name="connsiteY207" fmla="*/ 392532 h 514459"/>
                    <a:gd name="connsiteX208" fmla="*/ 73804 w 1098255"/>
                    <a:gd name="connsiteY208" fmla="*/ 396515 h 514459"/>
                    <a:gd name="connsiteX209" fmla="*/ 71388 w 1098255"/>
                    <a:gd name="connsiteY209" fmla="*/ 397329 h 514459"/>
                    <a:gd name="connsiteX210" fmla="*/ 64503 w 1098255"/>
                    <a:gd name="connsiteY210" fmla="*/ 396928 h 514459"/>
                    <a:gd name="connsiteX211" fmla="*/ 59452 w 1098255"/>
                    <a:gd name="connsiteY211" fmla="*/ 397754 h 514459"/>
                    <a:gd name="connsiteX212" fmla="*/ 44868 w 1098255"/>
                    <a:gd name="connsiteY212" fmla="*/ 402672 h 514459"/>
                    <a:gd name="connsiteX213" fmla="*/ 39367 w 1098255"/>
                    <a:gd name="connsiteY213" fmla="*/ 403182 h 514459"/>
                    <a:gd name="connsiteX214" fmla="*/ 38384 w 1098255"/>
                    <a:gd name="connsiteY214" fmla="*/ 401664 h 514459"/>
                    <a:gd name="connsiteX215" fmla="*/ 38141 w 1098255"/>
                    <a:gd name="connsiteY215" fmla="*/ 398555 h 514459"/>
                    <a:gd name="connsiteX216" fmla="*/ 35032 w 1098255"/>
                    <a:gd name="connsiteY216" fmla="*/ 394342 h 514459"/>
                    <a:gd name="connsiteX217" fmla="*/ 30855 w 1098255"/>
                    <a:gd name="connsiteY217" fmla="*/ 392569 h 514459"/>
                    <a:gd name="connsiteX218" fmla="*/ 26253 w 1098255"/>
                    <a:gd name="connsiteY218" fmla="*/ 391731 h 514459"/>
                    <a:gd name="connsiteX219" fmla="*/ 21942 w 1098255"/>
                    <a:gd name="connsiteY219" fmla="*/ 390468 h 514459"/>
                    <a:gd name="connsiteX220" fmla="*/ 19028 w 1098255"/>
                    <a:gd name="connsiteY220" fmla="*/ 387250 h 514459"/>
                    <a:gd name="connsiteX221" fmla="*/ 17352 w 1098255"/>
                    <a:gd name="connsiteY221" fmla="*/ 383887 h 514459"/>
                    <a:gd name="connsiteX222" fmla="*/ 12021 w 1098255"/>
                    <a:gd name="connsiteY222" fmla="*/ 379734 h 514459"/>
                    <a:gd name="connsiteX223" fmla="*/ 10236 w 1098255"/>
                    <a:gd name="connsiteY223" fmla="*/ 376856 h 514459"/>
                    <a:gd name="connsiteX224" fmla="*/ 6169 w 1098255"/>
                    <a:gd name="connsiteY224" fmla="*/ 362017 h 514459"/>
                    <a:gd name="connsiteX225" fmla="*/ 7431 w 1098255"/>
                    <a:gd name="connsiteY225" fmla="*/ 354258 h 514459"/>
                    <a:gd name="connsiteX226" fmla="*/ 16223 w 1098255"/>
                    <a:gd name="connsiteY226" fmla="*/ 342431 h 514459"/>
                    <a:gd name="connsiteX227" fmla="*/ 17364 w 1098255"/>
                    <a:gd name="connsiteY227" fmla="*/ 333736 h 514459"/>
                    <a:gd name="connsiteX228" fmla="*/ 43787 w 1098255"/>
                    <a:gd name="connsiteY228" fmla="*/ 332838 h 514459"/>
                    <a:gd name="connsiteX229" fmla="*/ 51486 w 1098255"/>
                    <a:gd name="connsiteY229" fmla="*/ 334708 h 514459"/>
                    <a:gd name="connsiteX230" fmla="*/ 57970 w 1098255"/>
                    <a:gd name="connsiteY230" fmla="*/ 338618 h 514459"/>
                    <a:gd name="connsiteX231" fmla="*/ 60884 w 1098255"/>
                    <a:gd name="connsiteY231" fmla="*/ 339674 h 514459"/>
                    <a:gd name="connsiteX232" fmla="*/ 69117 w 1098255"/>
                    <a:gd name="connsiteY232" fmla="*/ 339298 h 514459"/>
                    <a:gd name="connsiteX233" fmla="*/ 77265 w 1098255"/>
                    <a:gd name="connsiteY233" fmla="*/ 340743 h 514459"/>
                    <a:gd name="connsiteX234" fmla="*/ 81564 w 1098255"/>
                    <a:gd name="connsiteY234" fmla="*/ 340367 h 514459"/>
                    <a:gd name="connsiteX235" fmla="*/ 88522 w 1098255"/>
                    <a:gd name="connsiteY235" fmla="*/ 337379 h 514459"/>
                    <a:gd name="connsiteX236" fmla="*/ 99317 w 1098255"/>
                    <a:gd name="connsiteY236" fmla="*/ 326694 h 514459"/>
                    <a:gd name="connsiteX237" fmla="*/ 106214 w 1098255"/>
                    <a:gd name="connsiteY237" fmla="*/ 323306 h 514459"/>
                    <a:gd name="connsiteX238" fmla="*/ 109942 w 1098255"/>
                    <a:gd name="connsiteY238" fmla="*/ 322941 h 514459"/>
                    <a:gd name="connsiteX239" fmla="*/ 125618 w 1098255"/>
                    <a:gd name="connsiteY239" fmla="*/ 324228 h 514459"/>
                    <a:gd name="connsiteX240" fmla="*/ 127756 w 1098255"/>
                    <a:gd name="connsiteY240" fmla="*/ 323998 h 514459"/>
                    <a:gd name="connsiteX241" fmla="*/ 129176 w 1098255"/>
                    <a:gd name="connsiteY241" fmla="*/ 323342 h 514459"/>
                    <a:gd name="connsiteX242" fmla="*/ 130269 w 1098255"/>
                    <a:gd name="connsiteY242" fmla="*/ 321217 h 514459"/>
                    <a:gd name="connsiteX243" fmla="*/ 129941 w 1098255"/>
                    <a:gd name="connsiteY243" fmla="*/ 319347 h 514459"/>
                    <a:gd name="connsiteX244" fmla="*/ 129237 w 1098255"/>
                    <a:gd name="connsiteY244" fmla="*/ 317513 h 514459"/>
                    <a:gd name="connsiteX245" fmla="*/ 129237 w 1098255"/>
                    <a:gd name="connsiteY245" fmla="*/ 315534 h 514459"/>
                    <a:gd name="connsiteX246" fmla="*/ 131180 w 1098255"/>
                    <a:gd name="connsiteY246" fmla="*/ 312280 h 514459"/>
                    <a:gd name="connsiteX247" fmla="*/ 132965 w 1098255"/>
                    <a:gd name="connsiteY247" fmla="*/ 312802 h 514459"/>
                    <a:gd name="connsiteX248" fmla="*/ 134689 w 1098255"/>
                    <a:gd name="connsiteY248" fmla="*/ 315728 h 514459"/>
                    <a:gd name="connsiteX249" fmla="*/ 137859 w 1098255"/>
                    <a:gd name="connsiteY249" fmla="*/ 323136 h 514459"/>
                    <a:gd name="connsiteX250" fmla="*/ 140372 w 1098255"/>
                    <a:gd name="connsiteY250" fmla="*/ 326912 h 514459"/>
                    <a:gd name="connsiteX251" fmla="*/ 143250 w 1098255"/>
                    <a:gd name="connsiteY251" fmla="*/ 328308 h 514459"/>
                    <a:gd name="connsiteX252" fmla="*/ 145715 w 1098255"/>
                    <a:gd name="connsiteY252" fmla="*/ 324751 h 514459"/>
                    <a:gd name="connsiteX253" fmla="*/ 147949 w 1098255"/>
                    <a:gd name="connsiteY253" fmla="*/ 318837 h 514459"/>
                    <a:gd name="connsiteX254" fmla="*/ 148981 w 1098255"/>
                    <a:gd name="connsiteY254" fmla="*/ 319177 h 514459"/>
                    <a:gd name="connsiteX255" fmla="*/ 149953 w 1098255"/>
                    <a:gd name="connsiteY255" fmla="*/ 322334 h 514459"/>
                    <a:gd name="connsiteX256" fmla="*/ 151908 w 1098255"/>
                    <a:gd name="connsiteY256" fmla="*/ 324969 h 514459"/>
                    <a:gd name="connsiteX257" fmla="*/ 155247 w 1098255"/>
                    <a:gd name="connsiteY257" fmla="*/ 324714 h 514459"/>
                    <a:gd name="connsiteX258" fmla="*/ 156680 w 1098255"/>
                    <a:gd name="connsiteY258" fmla="*/ 321217 h 514459"/>
                    <a:gd name="connsiteX259" fmla="*/ 157724 w 1098255"/>
                    <a:gd name="connsiteY259" fmla="*/ 316919 h 514459"/>
                    <a:gd name="connsiteX260" fmla="*/ 159910 w 1098255"/>
                    <a:gd name="connsiteY260" fmla="*/ 314174 h 514459"/>
                    <a:gd name="connsiteX261" fmla="*/ 162072 w 1098255"/>
                    <a:gd name="connsiteY261" fmla="*/ 314599 h 514459"/>
                    <a:gd name="connsiteX262" fmla="*/ 164500 w 1098255"/>
                    <a:gd name="connsiteY262" fmla="*/ 319651 h 514459"/>
                    <a:gd name="connsiteX263" fmla="*/ 166443 w 1098255"/>
                    <a:gd name="connsiteY263" fmla="*/ 321229 h 514459"/>
                    <a:gd name="connsiteX264" fmla="*/ 168568 w 1098255"/>
                    <a:gd name="connsiteY264" fmla="*/ 320804 h 514459"/>
                    <a:gd name="connsiteX265" fmla="*/ 175356 w 1098255"/>
                    <a:gd name="connsiteY265" fmla="*/ 316093 h 514459"/>
                    <a:gd name="connsiteX266" fmla="*/ 184415 w 1098255"/>
                    <a:gd name="connsiteY266" fmla="*/ 313361 h 514459"/>
                    <a:gd name="connsiteX267" fmla="*/ 187183 w 1098255"/>
                    <a:gd name="connsiteY267" fmla="*/ 311491 h 514459"/>
                    <a:gd name="connsiteX268" fmla="*/ 192125 w 1098255"/>
                    <a:gd name="connsiteY268" fmla="*/ 306208 h 514459"/>
                    <a:gd name="connsiteX269" fmla="*/ 194372 w 1098255"/>
                    <a:gd name="connsiteY269" fmla="*/ 305031 h 514459"/>
                    <a:gd name="connsiteX270" fmla="*/ 198901 w 1098255"/>
                    <a:gd name="connsiteY270" fmla="*/ 304253 h 514459"/>
                    <a:gd name="connsiteX271" fmla="*/ 204123 w 1098255"/>
                    <a:gd name="connsiteY271" fmla="*/ 302056 h 514459"/>
                    <a:gd name="connsiteX272" fmla="*/ 210498 w 1098255"/>
                    <a:gd name="connsiteY272" fmla="*/ 297308 h 514459"/>
                    <a:gd name="connsiteX273" fmla="*/ 215258 w 1098255"/>
                    <a:gd name="connsiteY273" fmla="*/ 291491 h 514459"/>
                    <a:gd name="connsiteX274" fmla="*/ 215901 w 1098255"/>
                    <a:gd name="connsiteY274" fmla="*/ 286003 h 514459"/>
                    <a:gd name="connsiteX275" fmla="*/ 215853 w 1098255"/>
                    <a:gd name="connsiteY275" fmla="*/ 286003 h 514459"/>
                    <a:gd name="connsiteX276" fmla="*/ 217784 w 1098255"/>
                    <a:gd name="connsiteY276" fmla="*/ 279858 h 514459"/>
                    <a:gd name="connsiteX277" fmla="*/ 217784 w 1098255"/>
                    <a:gd name="connsiteY277" fmla="*/ 277296 h 514459"/>
                    <a:gd name="connsiteX278" fmla="*/ 215561 w 1098255"/>
                    <a:gd name="connsiteY278" fmla="*/ 275171 h 514459"/>
                    <a:gd name="connsiteX279" fmla="*/ 208955 w 1098255"/>
                    <a:gd name="connsiteY279" fmla="*/ 274406 h 514459"/>
                    <a:gd name="connsiteX280" fmla="*/ 206065 w 1098255"/>
                    <a:gd name="connsiteY280" fmla="*/ 273301 h 514459"/>
                    <a:gd name="connsiteX281" fmla="*/ 205798 w 1098255"/>
                    <a:gd name="connsiteY281" fmla="*/ 270350 h 514459"/>
                    <a:gd name="connsiteX282" fmla="*/ 209077 w 1098255"/>
                    <a:gd name="connsiteY282" fmla="*/ 263489 h 514459"/>
                    <a:gd name="connsiteX283" fmla="*/ 213558 w 1098255"/>
                    <a:gd name="connsiteY283" fmla="*/ 257977 h 514459"/>
                    <a:gd name="connsiteX284" fmla="*/ 219010 w 1098255"/>
                    <a:gd name="connsiteY284" fmla="*/ 253411 h 514459"/>
                    <a:gd name="connsiteX285" fmla="*/ 230667 w 1098255"/>
                    <a:gd name="connsiteY285" fmla="*/ 245955 h 514459"/>
                    <a:gd name="connsiteX286" fmla="*/ 232379 w 1098255"/>
                    <a:gd name="connsiteY286" fmla="*/ 245202 h 514459"/>
                    <a:gd name="connsiteX287" fmla="*/ 233083 w 1098255"/>
                    <a:gd name="connsiteY287" fmla="*/ 246210 h 514459"/>
                    <a:gd name="connsiteX288" fmla="*/ 233545 w 1098255"/>
                    <a:gd name="connsiteY288" fmla="*/ 247752 h 514459"/>
                    <a:gd name="connsiteX289" fmla="*/ 234443 w 1098255"/>
                    <a:gd name="connsiteY289" fmla="*/ 248651 h 514459"/>
                    <a:gd name="connsiteX290" fmla="*/ 237334 w 1098255"/>
                    <a:gd name="connsiteY290" fmla="*/ 248845 h 514459"/>
                    <a:gd name="connsiteX291" fmla="*/ 240029 w 1098255"/>
                    <a:gd name="connsiteY291" fmla="*/ 248590 h 514459"/>
                    <a:gd name="connsiteX292" fmla="*/ 242847 w 1098255"/>
                    <a:gd name="connsiteY292" fmla="*/ 247728 h 514459"/>
                    <a:gd name="connsiteX293" fmla="*/ 245712 w 1098255"/>
                    <a:gd name="connsiteY293" fmla="*/ 246004 h 514459"/>
                    <a:gd name="connsiteX294" fmla="*/ 248566 w 1098255"/>
                    <a:gd name="connsiteY294" fmla="*/ 243308 h 514459"/>
                    <a:gd name="connsiteX295" fmla="*/ 253095 w 1098255"/>
                    <a:gd name="connsiteY295" fmla="*/ 237103 h 514459"/>
                    <a:gd name="connsiteX296" fmla="*/ 255767 w 1098255"/>
                    <a:gd name="connsiteY296" fmla="*/ 234261 h 514459"/>
                    <a:gd name="connsiteX297" fmla="*/ 259179 w 1098255"/>
                    <a:gd name="connsiteY297" fmla="*/ 232452 h 514459"/>
                    <a:gd name="connsiteX298" fmla="*/ 266367 w 1098255"/>
                    <a:gd name="connsiteY298" fmla="*/ 230096 h 514459"/>
                    <a:gd name="connsiteX299" fmla="*/ 269136 w 1098255"/>
                    <a:gd name="connsiteY299" fmla="*/ 227668 h 514459"/>
                    <a:gd name="connsiteX300" fmla="*/ 273945 w 1098255"/>
                    <a:gd name="connsiteY300" fmla="*/ 222289 h 514459"/>
                    <a:gd name="connsiteX301" fmla="*/ 291297 w 1098255"/>
                    <a:gd name="connsiteY301" fmla="*/ 210522 h 514459"/>
                    <a:gd name="connsiteX302" fmla="*/ 295705 w 1098255"/>
                    <a:gd name="connsiteY302" fmla="*/ 205641 h 514459"/>
                    <a:gd name="connsiteX303" fmla="*/ 299396 w 1098255"/>
                    <a:gd name="connsiteY303" fmla="*/ 198743 h 514459"/>
                    <a:gd name="connsiteX304" fmla="*/ 301861 w 1098255"/>
                    <a:gd name="connsiteY304" fmla="*/ 191227 h 514459"/>
                    <a:gd name="connsiteX305" fmla="*/ 302966 w 1098255"/>
                    <a:gd name="connsiteY305" fmla="*/ 184427 h 514459"/>
                    <a:gd name="connsiteX306" fmla="*/ 308989 w 1098255"/>
                    <a:gd name="connsiteY306" fmla="*/ 179703 h 514459"/>
                    <a:gd name="connsiteX307" fmla="*/ 315073 w 1098255"/>
                    <a:gd name="connsiteY307" fmla="*/ 174919 h 514459"/>
                    <a:gd name="connsiteX308" fmla="*/ 323354 w 1098255"/>
                    <a:gd name="connsiteY308" fmla="*/ 170730 h 514459"/>
                    <a:gd name="connsiteX309" fmla="*/ 333275 w 1098255"/>
                    <a:gd name="connsiteY309" fmla="*/ 162339 h 514459"/>
                    <a:gd name="connsiteX310" fmla="*/ 340464 w 1098255"/>
                    <a:gd name="connsiteY310" fmla="*/ 158125 h 514459"/>
                    <a:gd name="connsiteX311" fmla="*/ 357512 w 1098255"/>
                    <a:gd name="connsiteY311" fmla="*/ 148387 h 514459"/>
                    <a:gd name="connsiteX312" fmla="*/ 377318 w 1098255"/>
                    <a:gd name="connsiteY312" fmla="*/ 146954 h 514459"/>
                    <a:gd name="connsiteX313" fmla="*/ 387699 w 1098255"/>
                    <a:gd name="connsiteY313" fmla="*/ 148326 h 514459"/>
                    <a:gd name="connsiteX314" fmla="*/ 391148 w 1098255"/>
                    <a:gd name="connsiteY314" fmla="*/ 148314 h 514459"/>
                    <a:gd name="connsiteX315" fmla="*/ 394475 w 1098255"/>
                    <a:gd name="connsiteY315" fmla="*/ 146699 h 514459"/>
                    <a:gd name="connsiteX316" fmla="*/ 397523 w 1098255"/>
                    <a:gd name="connsiteY316" fmla="*/ 144003 h 514459"/>
                    <a:gd name="connsiteX317" fmla="*/ 400316 w 1098255"/>
                    <a:gd name="connsiteY317" fmla="*/ 142072 h 514459"/>
                    <a:gd name="connsiteX318" fmla="*/ 403085 w 1098255"/>
                    <a:gd name="connsiteY318" fmla="*/ 142849 h 514459"/>
                    <a:gd name="connsiteX319" fmla="*/ 406133 w 1098255"/>
                    <a:gd name="connsiteY319" fmla="*/ 144307 h 514459"/>
                    <a:gd name="connsiteX320" fmla="*/ 409302 w 1098255"/>
                    <a:gd name="connsiteY320" fmla="*/ 143372 h 514459"/>
                    <a:gd name="connsiteX321" fmla="*/ 422271 w 1098255"/>
                    <a:gd name="connsiteY321" fmla="*/ 132285 h 514459"/>
                    <a:gd name="connsiteX322" fmla="*/ 425185 w 1098255"/>
                    <a:gd name="connsiteY322" fmla="*/ 130621 h 514459"/>
                    <a:gd name="connsiteX323" fmla="*/ 436223 w 1098255"/>
                    <a:gd name="connsiteY323" fmla="*/ 127343 h 514459"/>
                    <a:gd name="connsiteX324" fmla="*/ 437643 w 1098255"/>
                    <a:gd name="connsiteY324" fmla="*/ 125971 h 514459"/>
                    <a:gd name="connsiteX325" fmla="*/ 438336 w 1098255"/>
                    <a:gd name="connsiteY325" fmla="*/ 123834 h 514459"/>
                    <a:gd name="connsiteX326" fmla="*/ 440279 w 1098255"/>
                    <a:gd name="connsiteY326" fmla="*/ 123299 h 514459"/>
                    <a:gd name="connsiteX327" fmla="*/ 442586 w 1098255"/>
                    <a:gd name="connsiteY327" fmla="*/ 123275 h 514459"/>
                    <a:gd name="connsiteX328" fmla="*/ 444201 w 1098255"/>
                    <a:gd name="connsiteY328" fmla="*/ 122668 h 514459"/>
                    <a:gd name="connsiteX329" fmla="*/ 444881 w 1098255"/>
                    <a:gd name="connsiteY329" fmla="*/ 121053 h 514459"/>
                    <a:gd name="connsiteX330" fmla="*/ 444492 w 1098255"/>
                    <a:gd name="connsiteY330" fmla="*/ 119912 h 514459"/>
                    <a:gd name="connsiteX331" fmla="*/ 443848 w 1098255"/>
                    <a:gd name="connsiteY331" fmla="*/ 118721 h 514459"/>
                    <a:gd name="connsiteX332" fmla="*/ 443970 w 1098255"/>
                    <a:gd name="connsiteY332" fmla="*/ 117155 h 514459"/>
                    <a:gd name="connsiteX333" fmla="*/ 446107 w 1098255"/>
                    <a:gd name="connsiteY333" fmla="*/ 115516 h 514459"/>
                    <a:gd name="connsiteX334" fmla="*/ 449835 w 1098255"/>
                    <a:gd name="connsiteY334" fmla="*/ 114824 h 514459"/>
                    <a:gd name="connsiteX335" fmla="*/ 453793 w 1098255"/>
                    <a:gd name="connsiteY335" fmla="*/ 114763 h 514459"/>
                    <a:gd name="connsiteX336" fmla="*/ 456659 w 1098255"/>
                    <a:gd name="connsiteY336" fmla="*/ 115176 h 514459"/>
                    <a:gd name="connsiteX337" fmla="*/ 459877 w 1098255"/>
                    <a:gd name="connsiteY337" fmla="*/ 113184 h 514459"/>
                    <a:gd name="connsiteX338" fmla="*/ 463508 w 1098255"/>
                    <a:gd name="connsiteY338" fmla="*/ 111496 h 514459"/>
                    <a:gd name="connsiteX339" fmla="*/ 466374 w 1098255"/>
                    <a:gd name="connsiteY339" fmla="*/ 109201 h 514459"/>
                    <a:gd name="connsiteX340" fmla="*/ 476234 w 1098255"/>
                    <a:gd name="connsiteY340" fmla="*/ 105352 h 514459"/>
                    <a:gd name="connsiteX341" fmla="*/ 486750 w 1098255"/>
                    <a:gd name="connsiteY341" fmla="*/ 102365 h 514459"/>
                    <a:gd name="connsiteX342" fmla="*/ 493914 w 1098255"/>
                    <a:gd name="connsiteY342" fmla="*/ 95759 h 514459"/>
                    <a:gd name="connsiteX343" fmla="*/ 508291 w 1098255"/>
                    <a:gd name="connsiteY343" fmla="*/ 95164 h 514459"/>
                    <a:gd name="connsiteX344" fmla="*/ 516038 w 1098255"/>
                    <a:gd name="connsiteY344" fmla="*/ 86142 h 514459"/>
                    <a:gd name="connsiteX345" fmla="*/ 526481 w 1098255"/>
                    <a:gd name="connsiteY345" fmla="*/ 76525 h 514459"/>
                    <a:gd name="connsiteX346" fmla="*/ 519293 w 1098255"/>
                    <a:gd name="connsiteY346" fmla="*/ 69348 h 514459"/>
                    <a:gd name="connsiteX347" fmla="*/ 512128 w 1098255"/>
                    <a:gd name="connsiteY347" fmla="*/ 61516 h 514459"/>
                    <a:gd name="connsiteX348" fmla="*/ 515273 w 1098255"/>
                    <a:gd name="connsiteY348" fmla="*/ 51316 h 514459"/>
                    <a:gd name="connsiteX349" fmla="*/ 522073 w 1098255"/>
                    <a:gd name="connsiteY349" fmla="*/ 51692 h 514459"/>
                    <a:gd name="connsiteX350" fmla="*/ 524356 w 1098255"/>
                    <a:gd name="connsiteY350" fmla="*/ 50976 h 514459"/>
                    <a:gd name="connsiteX351" fmla="*/ 526311 w 1098255"/>
                    <a:gd name="connsiteY351" fmla="*/ 49021 h 514459"/>
                    <a:gd name="connsiteX352" fmla="*/ 529359 w 1098255"/>
                    <a:gd name="connsiteY352" fmla="*/ 43678 h 514459"/>
                    <a:gd name="connsiteX353" fmla="*/ 531314 w 1098255"/>
                    <a:gd name="connsiteY353" fmla="*/ 41444 h 514459"/>
                    <a:gd name="connsiteX354" fmla="*/ 535734 w 1098255"/>
                    <a:gd name="connsiteY354" fmla="*/ 39234 h 514459"/>
                    <a:gd name="connsiteX355" fmla="*/ 540543 w 1098255"/>
                    <a:gd name="connsiteY355" fmla="*/ 38542 h 514459"/>
                    <a:gd name="connsiteX356" fmla="*/ 550427 w 1098255"/>
                    <a:gd name="connsiteY356" fmla="*/ 38457 h 514459"/>
                    <a:gd name="connsiteX357" fmla="*/ 554786 w 1098255"/>
                    <a:gd name="connsiteY357" fmla="*/ 37570 h 514459"/>
                    <a:gd name="connsiteX358" fmla="*/ 557883 w 1098255"/>
                    <a:gd name="connsiteY358" fmla="*/ 36368 h 514459"/>
                    <a:gd name="connsiteX359" fmla="*/ 560469 w 1098255"/>
                    <a:gd name="connsiteY359" fmla="*/ 34292 h 514459"/>
                    <a:gd name="connsiteX360" fmla="*/ 570633 w 1098255"/>
                    <a:gd name="connsiteY360" fmla="*/ 19647 h 514459"/>
                    <a:gd name="connsiteX361" fmla="*/ 573851 w 1098255"/>
                    <a:gd name="connsiteY361" fmla="*/ 16830 h 514459"/>
                    <a:gd name="connsiteX362" fmla="*/ 579607 w 1098255"/>
                    <a:gd name="connsiteY362" fmla="*/ 16259 h 514459"/>
                    <a:gd name="connsiteX363" fmla="*/ 586722 w 1098255"/>
                    <a:gd name="connsiteY363" fmla="*/ 18870 h 514459"/>
                    <a:gd name="connsiteX364" fmla="*/ 593449 w 1098255"/>
                    <a:gd name="connsiteY364" fmla="*/ 23351 h 514459"/>
                    <a:gd name="connsiteX365" fmla="*/ 603261 w 1098255"/>
                    <a:gd name="connsiteY365" fmla="*/ 34437 h 514459"/>
                    <a:gd name="connsiteX366" fmla="*/ 605325 w 1098255"/>
                    <a:gd name="connsiteY366" fmla="*/ 37849 h 514459"/>
                    <a:gd name="connsiteX367" fmla="*/ 604184 w 1098255"/>
                    <a:gd name="connsiteY367" fmla="*/ 45840 h 514459"/>
                    <a:gd name="connsiteX368" fmla="*/ 607001 w 1098255"/>
                    <a:gd name="connsiteY368" fmla="*/ 47467 h 514459"/>
                    <a:gd name="connsiteX369" fmla="*/ 611190 w 1098255"/>
                    <a:gd name="connsiteY369" fmla="*/ 47527 h 514459"/>
                    <a:gd name="connsiteX370" fmla="*/ 614287 w 1098255"/>
                    <a:gd name="connsiteY370" fmla="*/ 47042 h 514459"/>
                    <a:gd name="connsiteX371" fmla="*/ 621524 w 1098255"/>
                    <a:gd name="connsiteY371" fmla="*/ 46811 h 514459"/>
                    <a:gd name="connsiteX372" fmla="*/ 628518 w 1098255"/>
                    <a:gd name="connsiteY372" fmla="*/ 48730 h 514459"/>
                    <a:gd name="connsiteX373" fmla="*/ 642543 w 1098255"/>
                    <a:gd name="connsiteY373" fmla="*/ 54935 h 514459"/>
                    <a:gd name="connsiteX374" fmla="*/ 646733 w 1098255"/>
                    <a:gd name="connsiteY374" fmla="*/ 56149 h 514459"/>
                    <a:gd name="connsiteX375" fmla="*/ 645531 w 1098255"/>
                    <a:gd name="connsiteY375" fmla="*/ 54327 h 514459"/>
                    <a:gd name="connsiteX376" fmla="*/ 642313 w 1098255"/>
                    <a:gd name="connsiteY376" fmla="*/ 50854 h 514459"/>
                    <a:gd name="connsiteX377" fmla="*/ 640406 w 1098255"/>
                    <a:gd name="connsiteY377" fmla="*/ 46981 h 514459"/>
                    <a:gd name="connsiteX378" fmla="*/ 643685 w 1098255"/>
                    <a:gd name="connsiteY378" fmla="*/ 48827 h 514459"/>
                    <a:gd name="connsiteX379" fmla="*/ 646854 w 1098255"/>
                    <a:gd name="connsiteY379" fmla="*/ 50090 h 514459"/>
                    <a:gd name="connsiteX380" fmla="*/ 657868 w 1098255"/>
                    <a:gd name="connsiteY380" fmla="*/ 52749 h 514459"/>
                    <a:gd name="connsiteX381" fmla="*/ 667509 w 1098255"/>
                    <a:gd name="connsiteY381" fmla="*/ 58298 h 514459"/>
                    <a:gd name="connsiteX382" fmla="*/ 670848 w 1098255"/>
                    <a:gd name="connsiteY382" fmla="*/ 59440 h 514459"/>
                    <a:gd name="connsiteX383" fmla="*/ 684862 w 1098255"/>
                    <a:gd name="connsiteY383" fmla="*/ 61747 h 514459"/>
                    <a:gd name="connsiteX384" fmla="*/ 686355 w 1098255"/>
                    <a:gd name="connsiteY384" fmla="*/ 62293 h 514459"/>
                    <a:gd name="connsiteX385" fmla="*/ 687897 w 1098255"/>
                    <a:gd name="connsiteY385" fmla="*/ 63240 h 514459"/>
                    <a:gd name="connsiteX386" fmla="*/ 688808 w 1098255"/>
                    <a:gd name="connsiteY386" fmla="*/ 64807 h 514459"/>
                    <a:gd name="connsiteX387" fmla="*/ 689051 w 1098255"/>
                    <a:gd name="connsiteY387" fmla="*/ 66592 h 514459"/>
                    <a:gd name="connsiteX388" fmla="*/ 689512 w 1098255"/>
                    <a:gd name="connsiteY388" fmla="*/ 68255 h 514459"/>
                    <a:gd name="connsiteX389" fmla="*/ 691127 w 1098255"/>
                    <a:gd name="connsiteY389" fmla="*/ 69409 h 514459"/>
                    <a:gd name="connsiteX390" fmla="*/ 701740 w 1098255"/>
                    <a:gd name="connsiteY390" fmla="*/ 70757 h 514459"/>
                    <a:gd name="connsiteX391" fmla="*/ 700417 w 1098255"/>
                    <a:gd name="connsiteY391" fmla="*/ 58517 h 514459"/>
                    <a:gd name="connsiteX392" fmla="*/ 706439 w 1098255"/>
                    <a:gd name="connsiteY392" fmla="*/ 53708 h 514459"/>
                    <a:gd name="connsiteX393" fmla="*/ 718619 w 1098255"/>
                    <a:gd name="connsiteY393" fmla="*/ 53101 h 514459"/>
                    <a:gd name="connsiteX394" fmla="*/ 725807 w 1098255"/>
                    <a:gd name="connsiteY394" fmla="*/ 54910 h 514459"/>
                    <a:gd name="connsiteX395" fmla="*/ 728576 w 1098255"/>
                    <a:gd name="connsiteY395" fmla="*/ 45293 h 514459"/>
                    <a:gd name="connsiteX396" fmla="*/ 732413 w 1098255"/>
                    <a:gd name="connsiteY396" fmla="*/ 43484 h 514459"/>
                    <a:gd name="connsiteX397" fmla="*/ 732996 w 1098255"/>
                    <a:gd name="connsiteY397" fmla="*/ 51316 h 514459"/>
                    <a:gd name="connsiteX398" fmla="*/ 736360 w 1098255"/>
                    <a:gd name="connsiteY398" fmla="*/ 56453 h 514459"/>
                    <a:gd name="connsiteX399" fmla="*/ 737987 w 1098255"/>
                    <a:gd name="connsiteY399" fmla="*/ 53587 h 514459"/>
                    <a:gd name="connsiteX400" fmla="*/ 744811 w 1098255"/>
                    <a:gd name="connsiteY400" fmla="*/ 54594 h 514459"/>
                    <a:gd name="connsiteX401" fmla="*/ 746705 w 1098255"/>
                    <a:gd name="connsiteY401" fmla="*/ 53356 h 514459"/>
                    <a:gd name="connsiteX402" fmla="*/ 746924 w 1098255"/>
                    <a:gd name="connsiteY402" fmla="*/ 48596 h 514459"/>
                    <a:gd name="connsiteX403" fmla="*/ 744920 w 1098255"/>
                    <a:gd name="connsiteY403" fmla="*/ 41189 h 514459"/>
                    <a:gd name="connsiteX404" fmla="*/ 745564 w 1098255"/>
                    <a:gd name="connsiteY404" fmla="*/ 38748 h 514459"/>
                    <a:gd name="connsiteX405" fmla="*/ 752109 w 1098255"/>
                    <a:gd name="connsiteY405" fmla="*/ 38105 h 514459"/>
                    <a:gd name="connsiteX406" fmla="*/ 752449 w 1098255"/>
                    <a:gd name="connsiteY406" fmla="*/ 36562 h 514459"/>
                    <a:gd name="connsiteX407" fmla="*/ 752219 w 1098255"/>
                    <a:gd name="connsiteY407" fmla="*/ 34486 h 514459"/>
                    <a:gd name="connsiteX408" fmla="*/ 752789 w 1098255"/>
                    <a:gd name="connsiteY408" fmla="*/ 32689 h 514459"/>
                    <a:gd name="connsiteX409" fmla="*/ 754805 w 1098255"/>
                    <a:gd name="connsiteY409" fmla="*/ 31365 h 514459"/>
                    <a:gd name="connsiteX410" fmla="*/ 756347 w 1098255"/>
                    <a:gd name="connsiteY410" fmla="*/ 31013 h 514459"/>
                    <a:gd name="connsiteX411" fmla="*/ 758011 w 1098255"/>
                    <a:gd name="connsiteY411" fmla="*/ 30989 h 514459"/>
                    <a:gd name="connsiteX412" fmla="*/ 760026 w 1098255"/>
                    <a:gd name="connsiteY412" fmla="*/ 30527 h 514459"/>
                    <a:gd name="connsiteX413" fmla="*/ 770190 w 1098255"/>
                    <a:gd name="connsiteY413" fmla="*/ 34899 h 514459"/>
                    <a:gd name="connsiteX414" fmla="*/ 783462 w 1098255"/>
                    <a:gd name="connsiteY414" fmla="*/ 36939 h 514459"/>
                    <a:gd name="connsiteX415" fmla="*/ 789096 w 1098255"/>
                    <a:gd name="connsiteY415" fmla="*/ 25622 h 514459"/>
                    <a:gd name="connsiteX416" fmla="*/ 788635 w 1098255"/>
                    <a:gd name="connsiteY416" fmla="*/ 11985 h 514459"/>
                    <a:gd name="connsiteX417" fmla="*/ 794525 w 1098255"/>
                    <a:gd name="connsiteY417" fmla="*/ 10917 h 514459"/>
                    <a:gd name="connsiteX418" fmla="*/ 798216 w 1098255"/>
                    <a:gd name="connsiteY418" fmla="*/ 9435 h 514459"/>
                    <a:gd name="connsiteX419" fmla="*/ 810784 w 1098255"/>
                    <a:gd name="connsiteY419" fmla="*/ 15337 h 514459"/>
                    <a:gd name="connsiteX420" fmla="*/ 827784 w 1098255"/>
                    <a:gd name="connsiteY420" fmla="*/ 8136 h 514459"/>
                    <a:gd name="connsiteX421" fmla="*/ 839162 w 1098255"/>
                    <a:gd name="connsiteY421" fmla="*/ 7104 h 514459"/>
                    <a:gd name="connsiteX422" fmla="*/ 850430 w 1098255"/>
                    <a:gd name="connsiteY422" fmla="*/ 6084 h 514459"/>
                    <a:gd name="connsiteX423" fmla="*/ 850188 w 1098255"/>
                    <a:gd name="connsiteY423" fmla="*/ 0 h 514459"/>
                    <a:gd name="connsiteX424" fmla="*/ 849872 w 1098255"/>
                    <a:gd name="connsiteY424" fmla="*/ 24 h 514459"/>
                    <a:gd name="connsiteX425" fmla="*/ 838555 w 1098255"/>
                    <a:gd name="connsiteY425" fmla="*/ 1056 h 514459"/>
                    <a:gd name="connsiteX426" fmla="*/ 827189 w 1098255"/>
                    <a:gd name="connsiteY426" fmla="*/ 2089 h 514459"/>
                    <a:gd name="connsiteX427" fmla="*/ 826242 w 1098255"/>
                    <a:gd name="connsiteY427" fmla="*/ 2174 h 514459"/>
                    <a:gd name="connsiteX428" fmla="*/ 825367 w 1098255"/>
                    <a:gd name="connsiteY428" fmla="*/ 2538 h 514459"/>
                    <a:gd name="connsiteX429" fmla="*/ 810869 w 1098255"/>
                    <a:gd name="connsiteY429" fmla="*/ 8682 h 514459"/>
                    <a:gd name="connsiteX430" fmla="*/ 800754 w 1098255"/>
                    <a:gd name="connsiteY430" fmla="*/ 3934 h 514459"/>
                    <a:gd name="connsiteX431" fmla="*/ 798362 w 1098255"/>
                    <a:gd name="connsiteY431" fmla="*/ 2817 h 514459"/>
                    <a:gd name="connsiteX432" fmla="*/ 795909 w 1098255"/>
                    <a:gd name="connsiteY432" fmla="*/ 3801 h 514459"/>
                    <a:gd name="connsiteX433" fmla="*/ 792788 w 1098255"/>
                    <a:gd name="connsiteY433" fmla="*/ 5051 h 514459"/>
                    <a:gd name="connsiteX434" fmla="*/ 787506 w 1098255"/>
                    <a:gd name="connsiteY434" fmla="*/ 6011 h 514459"/>
                    <a:gd name="connsiteX435" fmla="*/ 782333 w 1098255"/>
                    <a:gd name="connsiteY435" fmla="*/ 6946 h 514459"/>
                    <a:gd name="connsiteX436" fmla="*/ 782515 w 1098255"/>
                    <a:gd name="connsiteY436" fmla="*/ 12191 h 514459"/>
                    <a:gd name="connsiteX437" fmla="*/ 782928 w 1098255"/>
                    <a:gd name="connsiteY437" fmla="*/ 24298 h 514459"/>
                    <a:gd name="connsiteX438" fmla="*/ 779953 w 1098255"/>
                    <a:gd name="connsiteY438" fmla="*/ 30272 h 514459"/>
                    <a:gd name="connsiteX439" fmla="*/ 771829 w 1098255"/>
                    <a:gd name="connsiteY439" fmla="*/ 29022 h 514459"/>
                    <a:gd name="connsiteX440" fmla="*/ 762382 w 1098255"/>
                    <a:gd name="connsiteY440" fmla="*/ 24954 h 514459"/>
                    <a:gd name="connsiteX441" fmla="*/ 760573 w 1098255"/>
                    <a:gd name="connsiteY441" fmla="*/ 24177 h 514459"/>
                    <a:gd name="connsiteX442" fmla="*/ 758642 w 1098255"/>
                    <a:gd name="connsiteY442" fmla="*/ 24626 h 514459"/>
                    <a:gd name="connsiteX443" fmla="*/ 757246 w 1098255"/>
                    <a:gd name="connsiteY443" fmla="*/ 24942 h 514459"/>
                    <a:gd name="connsiteX444" fmla="*/ 756238 w 1098255"/>
                    <a:gd name="connsiteY444" fmla="*/ 24954 h 514459"/>
                    <a:gd name="connsiteX445" fmla="*/ 755582 w 1098255"/>
                    <a:gd name="connsiteY445" fmla="*/ 24966 h 514459"/>
                    <a:gd name="connsiteX446" fmla="*/ 754951 w 1098255"/>
                    <a:gd name="connsiteY446" fmla="*/ 25112 h 514459"/>
                    <a:gd name="connsiteX447" fmla="*/ 753408 w 1098255"/>
                    <a:gd name="connsiteY447" fmla="*/ 25464 h 514459"/>
                    <a:gd name="connsiteX448" fmla="*/ 752352 w 1098255"/>
                    <a:gd name="connsiteY448" fmla="*/ 25706 h 514459"/>
                    <a:gd name="connsiteX449" fmla="*/ 751441 w 1098255"/>
                    <a:gd name="connsiteY449" fmla="*/ 26302 h 514459"/>
                    <a:gd name="connsiteX450" fmla="*/ 749425 w 1098255"/>
                    <a:gd name="connsiteY450" fmla="*/ 27625 h 514459"/>
                    <a:gd name="connsiteX451" fmla="*/ 747629 w 1098255"/>
                    <a:gd name="connsiteY451" fmla="*/ 28815 h 514459"/>
                    <a:gd name="connsiteX452" fmla="*/ 746973 w 1098255"/>
                    <a:gd name="connsiteY452" fmla="*/ 30867 h 514459"/>
                    <a:gd name="connsiteX453" fmla="*/ 746426 w 1098255"/>
                    <a:gd name="connsiteY453" fmla="*/ 32567 h 514459"/>
                    <a:gd name="connsiteX454" fmla="*/ 744933 w 1098255"/>
                    <a:gd name="connsiteY454" fmla="*/ 32713 h 514459"/>
                    <a:gd name="connsiteX455" fmla="*/ 740719 w 1098255"/>
                    <a:gd name="connsiteY455" fmla="*/ 33126 h 514459"/>
                    <a:gd name="connsiteX456" fmla="*/ 739651 w 1098255"/>
                    <a:gd name="connsiteY456" fmla="*/ 37206 h 514459"/>
                    <a:gd name="connsiteX457" fmla="*/ 739007 w 1098255"/>
                    <a:gd name="connsiteY457" fmla="*/ 39647 h 514459"/>
                    <a:gd name="connsiteX458" fmla="*/ 738594 w 1098255"/>
                    <a:gd name="connsiteY458" fmla="*/ 41213 h 514459"/>
                    <a:gd name="connsiteX459" fmla="*/ 739019 w 1098255"/>
                    <a:gd name="connsiteY459" fmla="*/ 42780 h 514459"/>
                    <a:gd name="connsiteX460" fmla="*/ 740379 w 1098255"/>
                    <a:gd name="connsiteY460" fmla="*/ 47819 h 514459"/>
                    <a:gd name="connsiteX461" fmla="*/ 738825 w 1098255"/>
                    <a:gd name="connsiteY461" fmla="*/ 47588 h 514459"/>
                    <a:gd name="connsiteX462" fmla="*/ 738752 w 1098255"/>
                    <a:gd name="connsiteY462" fmla="*/ 47576 h 514459"/>
                    <a:gd name="connsiteX463" fmla="*/ 738424 w 1098255"/>
                    <a:gd name="connsiteY463" fmla="*/ 43034 h 514459"/>
                    <a:gd name="connsiteX464" fmla="*/ 737768 w 1098255"/>
                    <a:gd name="connsiteY464" fmla="*/ 34231 h 514459"/>
                    <a:gd name="connsiteX465" fmla="*/ 729778 w 1098255"/>
                    <a:gd name="connsiteY465" fmla="*/ 37995 h 514459"/>
                    <a:gd name="connsiteX466" fmla="*/ 725941 w 1098255"/>
                    <a:gd name="connsiteY466" fmla="*/ 39805 h 514459"/>
                    <a:gd name="connsiteX467" fmla="*/ 723452 w 1098255"/>
                    <a:gd name="connsiteY467" fmla="*/ 40970 h 514459"/>
                    <a:gd name="connsiteX468" fmla="*/ 722699 w 1098255"/>
                    <a:gd name="connsiteY468" fmla="*/ 43617 h 514459"/>
                    <a:gd name="connsiteX469" fmla="*/ 721558 w 1098255"/>
                    <a:gd name="connsiteY469" fmla="*/ 47588 h 514459"/>
                    <a:gd name="connsiteX470" fmla="*/ 720064 w 1098255"/>
                    <a:gd name="connsiteY470" fmla="*/ 47212 h 514459"/>
                    <a:gd name="connsiteX471" fmla="*/ 719190 w 1098255"/>
                    <a:gd name="connsiteY471" fmla="*/ 46993 h 514459"/>
                    <a:gd name="connsiteX472" fmla="*/ 718291 w 1098255"/>
                    <a:gd name="connsiteY472" fmla="*/ 47030 h 514459"/>
                    <a:gd name="connsiteX473" fmla="*/ 706112 w 1098255"/>
                    <a:gd name="connsiteY473" fmla="*/ 47637 h 514459"/>
                    <a:gd name="connsiteX474" fmla="*/ 704157 w 1098255"/>
                    <a:gd name="connsiteY474" fmla="*/ 47734 h 514459"/>
                    <a:gd name="connsiteX475" fmla="*/ 702627 w 1098255"/>
                    <a:gd name="connsiteY475" fmla="*/ 48960 h 514459"/>
                    <a:gd name="connsiteX476" fmla="*/ 696604 w 1098255"/>
                    <a:gd name="connsiteY476" fmla="*/ 53769 h 514459"/>
                    <a:gd name="connsiteX477" fmla="*/ 693993 w 1098255"/>
                    <a:gd name="connsiteY477" fmla="*/ 55845 h 514459"/>
                    <a:gd name="connsiteX478" fmla="*/ 694345 w 1098255"/>
                    <a:gd name="connsiteY478" fmla="*/ 59160 h 514459"/>
                    <a:gd name="connsiteX479" fmla="*/ 694843 w 1098255"/>
                    <a:gd name="connsiteY479" fmla="*/ 63750 h 514459"/>
                    <a:gd name="connsiteX480" fmla="*/ 694770 w 1098255"/>
                    <a:gd name="connsiteY480" fmla="*/ 63738 h 514459"/>
                    <a:gd name="connsiteX481" fmla="*/ 694637 w 1098255"/>
                    <a:gd name="connsiteY481" fmla="*/ 62779 h 514459"/>
                    <a:gd name="connsiteX482" fmla="*/ 694017 w 1098255"/>
                    <a:gd name="connsiteY482" fmla="*/ 61735 h 514459"/>
                    <a:gd name="connsiteX483" fmla="*/ 693107 w 1098255"/>
                    <a:gd name="connsiteY483" fmla="*/ 60168 h 514459"/>
                    <a:gd name="connsiteX484" fmla="*/ 692354 w 1098255"/>
                    <a:gd name="connsiteY484" fmla="*/ 58857 h 514459"/>
                    <a:gd name="connsiteX485" fmla="*/ 691054 w 1098255"/>
                    <a:gd name="connsiteY485" fmla="*/ 58068 h 514459"/>
                    <a:gd name="connsiteX486" fmla="*/ 689512 w 1098255"/>
                    <a:gd name="connsiteY486" fmla="*/ 57120 h 514459"/>
                    <a:gd name="connsiteX487" fmla="*/ 688990 w 1098255"/>
                    <a:gd name="connsiteY487" fmla="*/ 56805 h 514459"/>
                    <a:gd name="connsiteX488" fmla="*/ 688420 w 1098255"/>
                    <a:gd name="connsiteY488" fmla="*/ 56586 h 514459"/>
                    <a:gd name="connsiteX489" fmla="*/ 686926 w 1098255"/>
                    <a:gd name="connsiteY489" fmla="*/ 56040 h 514459"/>
                    <a:gd name="connsiteX490" fmla="*/ 686380 w 1098255"/>
                    <a:gd name="connsiteY490" fmla="*/ 55845 h 514459"/>
                    <a:gd name="connsiteX491" fmla="*/ 685821 w 1098255"/>
                    <a:gd name="connsiteY491" fmla="*/ 55760 h 514459"/>
                    <a:gd name="connsiteX492" fmla="*/ 672306 w 1098255"/>
                    <a:gd name="connsiteY492" fmla="*/ 53538 h 514459"/>
                    <a:gd name="connsiteX493" fmla="*/ 669999 w 1098255"/>
                    <a:gd name="connsiteY493" fmla="*/ 52749 h 514459"/>
                    <a:gd name="connsiteX494" fmla="*/ 660867 w 1098255"/>
                    <a:gd name="connsiteY494" fmla="*/ 47491 h 514459"/>
                    <a:gd name="connsiteX495" fmla="*/ 660114 w 1098255"/>
                    <a:gd name="connsiteY495" fmla="*/ 47054 h 514459"/>
                    <a:gd name="connsiteX496" fmla="*/ 659264 w 1098255"/>
                    <a:gd name="connsiteY496" fmla="*/ 46847 h 514459"/>
                    <a:gd name="connsiteX497" fmla="*/ 648676 w 1098255"/>
                    <a:gd name="connsiteY497" fmla="*/ 44297 h 514459"/>
                    <a:gd name="connsiteX498" fmla="*/ 646296 w 1098255"/>
                    <a:gd name="connsiteY498" fmla="*/ 43338 h 514459"/>
                    <a:gd name="connsiteX499" fmla="*/ 643381 w 1098255"/>
                    <a:gd name="connsiteY499" fmla="*/ 41699 h 514459"/>
                    <a:gd name="connsiteX500" fmla="*/ 626260 w 1098255"/>
                    <a:gd name="connsiteY500" fmla="*/ 32021 h 514459"/>
                    <a:gd name="connsiteX501" fmla="*/ 631979 w 1098255"/>
                    <a:gd name="connsiteY501" fmla="*/ 43642 h 514459"/>
                    <a:gd name="connsiteX502" fmla="*/ 630959 w 1098255"/>
                    <a:gd name="connsiteY502" fmla="*/ 43192 h 514459"/>
                    <a:gd name="connsiteX503" fmla="*/ 630546 w 1098255"/>
                    <a:gd name="connsiteY503" fmla="*/ 43010 h 514459"/>
                    <a:gd name="connsiteX504" fmla="*/ 630109 w 1098255"/>
                    <a:gd name="connsiteY504" fmla="*/ 42889 h 514459"/>
                    <a:gd name="connsiteX505" fmla="*/ 623115 w 1098255"/>
                    <a:gd name="connsiteY505" fmla="*/ 40970 h 514459"/>
                    <a:gd name="connsiteX506" fmla="*/ 622240 w 1098255"/>
                    <a:gd name="connsiteY506" fmla="*/ 40727 h 514459"/>
                    <a:gd name="connsiteX507" fmla="*/ 621330 w 1098255"/>
                    <a:gd name="connsiteY507" fmla="*/ 40752 h 514459"/>
                    <a:gd name="connsiteX508" fmla="*/ 614093 w 1098255"/>
                    <a:gd name="connsiteY508" fmla="*/ 40994 h 514459"/>
                    <a:gd name="connsiteX509" fmla="*/ 613716 w 1098255"/>
                    <a:gd name="connsiteY509" fmla="*/ 41007 h 514459"/>
                    <a:gd name="connsiteX510" fmla="*/ 613352 w 1098255"/>
                    <a:gd name="connsiteY510" fmla="*/ 41055 h 514459"/>
                    <a:gd name="connsiteX511" fmla="*/ 610948 w 1098255"/>
                    <a:gd name="connsiteY511" fmla="*/ 41432 h 514459"/>
                    <a:gd name="connsiteX512" fmla="*/ 611336 w 1098255"/>
                    <a:gd name="connsiteY512" fmla="*/ 38712 h 514459"/>
                    <a:gd name="connsiteX513" fmla="*/ 611640 w 1098255"/>
                    <a:gd name="connsiteY513" fmla="*/ 36562 h 514459"/>
                    <a:gd name="connsiteX514" fmla="*/ 610510 w 1098255"/>
                    <a:gd name="connsiteY514" fmla="*/ 34717 h 514459"/>
                    <a:gd name="connsiteX515" fmla="*/ 608446 w 1098255"/>
                    <a:gd name="connsiteY515" fmla="*/ 31304 h 514459"/>
                    <a:gd name="connsiteX516" fmla="*/ 608167 w 1098255"/>
                    <a:gd name="connsiteY516" fmla="*/ 30831 h 514459"/>
                    <a:gd name="connsiteX517" fmla="*/ 607815 w 1098255"/>
                    <a:gd name="connsiteY517" fmla="*/ 30418 h 514459"/>
                    <a:gd name="connsiteX518" fmla="*/ 597991 w 1098255"/>
                    <a:gd name="connsiteY518" fmla="*/ 19331 h 514459"/>
                    <a:gd name="connsiteX519" fmla="*/ 597469 w 1098255"/>
                    <a:gd name="connsiteY519" fmla="*/ 18737 h 514459"/>
                    <a:gd name="connsiteX520" fmla="*/ 596813 w 1098255"/>
                    <a:gd name="connsiteY520" fmla="*/ 18299 h 514459"/>
                    <a:gd name="connsiteX521" fmla="*/ 590086 w 1098255"/>
                    <a:gd name="connsiteY521" fmla="*/ 13819 h 514459"/>
                    <a:gd name="connsiteX522" fmla="*/ 589479 w 1098255"/>
                    <a:gd name="connsiteY522" fmla="*/ 13418 h 514459"/>
                    <a:gd name="connsiteX523" fmla="*/ 588799 w 1098255"/>
                    <a:gd name="connsiteY523" fmla="*/ 13163 h 514459"/>
                    <a:gd name="connsiteX524" fmla="*/ 581683 w 1098255"/>
                    <a:gd name="connsiteY524" fmla="*/ 10552 h 514459"/>
                    <a:gd name="connsiteX525" fmla="*/ 580384 w 1098255"/>
                    <a:gd name="connsiteY525" fmla="*/ 10066 h 514459"/>
                    <a:gd name="connsiteX526" fmla="*/ 579012 w 1098255"/>
                    <a:gd name="connsiteY526" fmla="*/ 10200 h 514459"/>
                    <a:gd name="connsiteX527" fmla="*/ 573256 w 1098255"/>
                    <a:gd name="connsiteY527" fmla="*/ 10771 h 514459"/>
                    <a:gd name="connsiteX528" fmla="*/ 571313 w 1098255"/>
                    <a:gd name="connsiteY528" fmla="*/ 10965 h 514459"/>
                    <a:gd name="connsiteX529" fmla="*/ 569856 w 1098255"/>
                    <a:gd name="connsiteY529" fmla="*/ 12252 h 514459"/>
                    <a:gd name="connsiteX530" fmla="*/ 566638 w 1098255"/>
                    <a:gd name="connsiteY530" fmla="*/ 15069 h 514459"/>
                    <a:gd name="connsiteX531" fmla="*/ 566067 w 1098255"/>
                    <a:gd name="connsiteY531" fmla="*/ 15567 h 514459"/>
                    <a:gd name="connsiteX532" fmla="*/ 565642 w 1098255"/>
                    <a:gd name="connsiteY532" fmla="*/ 16174 h 514459"/>
                    <a:gd name="connsiteX533" fmla="*/ 555989 w 1098255"/>
                    <a:gd name="connsiteY533" fmla="*/ 30090 h 514459"/>
                    <a:gd name="connsiteX534" fmla="*/ 554811 w 1098255"/>
                    <a:gd name="connsiteY534" fmla="*/ 31037 h 514459"/>
                    <a:gd name="connsiteX535" fmla="*/ 553062 w 1098255"/>
                    <a:gd name="connsiteY535" fmla="*/ 31717 h 514459"/>
                    <a:gd name="connsiteX536" fmla="*/ 549771 w 1098255"/>
                    <a:gd name="connsiteY536" fmla="*/ 32385 h 514459"/>
                    <a:gd name="connsiteX537" fmla="*/ 540470 w 1098255"/>
                    <a:gd name="connsiteY537" fmla="*/ 32458 h 514459"/>
                    <a:gd name="connsiteX538" fmla="*/ 540057 w 1098255"/>
                    <a:gd name="connsiteY538" fmla="*/ 32458 h 514459"/>
                    <a:gd name="connsiteX539" fmla="*/ 539656 w 1098255"/>
                    <a:gd name="connsiteY539" fmla="*/ 32519 h 514459"/>
                    <a:gd name="connsiteX540" fmla="*/ 534848 w 1098255"/>
                    <a:gd name="connsiteY540" fmla="*/ 33211 h 514459"/>
                    <a:gd name="connsiteX541" fmla="*/ 533876 w 1098255"/>
                    <a:gd name="connsiteY541" fmla="*/ 33357 h 514459"/>
                    <a:gd name="connsiteX542" fmla="*/ 533002 w 1098255"/>
                    <a:gd name="connsiteY542" fmla="*/ 33794 h 514459"/>
                    <a:gd name="connsiteX543" fmla="*/ 528582 w 1098255"/>
                    <a:gd name="connsiteY543" fmla="*/ 36004 h 514459"/>
                    <a:gd name="connsiteX544" fmla="*/ 527513 w 1098255"/>
                    <a:gd name="connsiteY544" fmla="*/ 36538 h 514459"/>
                    <a:gd name="connsiteX545" fmla="*/ 526736 w 1098255"/>
                    <a:gd name="connsiteY545" fmla="*/ 37437 h 514459"/>
                    <a:gd name="connsiteX546" fmla="*/ 524781 w 1098255"/>
                    <a:gd name="connsiteY546" fmla="*/ 39671 h 514459"/>
                    <a:gd name="connsiteX547" fmla="*/ 524381 w 1098255"/>
                    <a:gd name="connsiteY547" fmla="*/ 40132 h 514459"/>
                    <a:gd name="connsiteX548" fmla="*/ 524077 w 1098255"/>
                    <a:gd name="connsiteY548" fmla="*/ 40667 h 514459"/>
                    <a:gd name="connsiteX549" fmla="*/ 521430 w 1098255"/>
                    <a:gd name="connsiteY549" fmla="*/ 45293 h 514459"/>
                    <a:gd name="connsiteX550" fmla="*/ 521175 w 1098255"/>
                    <a:gd name="connsiteY550" fmla="*/ 45548 h 514459"/>
                    <a:gd name="connsiteX551" fmla="*/ 515613 w 1098255"/>
                    <a:gd name="connsiteY551" fmla="*/ 45245 h 514459"/>
                    <a:gd name="connsiteX552" fmla="*/ 510878 w 1098255"/>
                    <a:gd name="connsiteY552" fmla="*/ 44990 h 514459"/>
                    <a:gd name="connsiteX553" fmla="*/ 509481 w 1098255"/>
                    <a:gd name="connsiteY553" fmla="*/ 49519 h 514459"/>
                    <a:gd name="connsiteX554" fmla="*/ 506336 w 1098255"/>
                    <a:gd name="connsiteY554" fmla="*/ 59719 h 514459"/>
                    <a:gd name="connsiteX555" fmla="*/ 505304 w 1098255"/>
                    <a:gd name="connsiteY555" fmla="*/ 63046 h 514459"/>
                    <a:gd name="connsiteX556" fmla="*/ 507648 w 1098255"/>
                    <a:gd name="connsiteY556" fmla="*/ 65608 h 514459"/>
                    <a:gd name="connsiteX557" fmla="*/ 514812 w 1098255"/>
                    <a:gd name="connsiteY557" fmla="*/ 73440 h 514459"/>
                    <a:gd name="connsiteX558" fmla="*/ 517714 w 1098255"/>
                    <a:gd name="connsiteY558" fmla="*/ 76342 h 514459"/>
                    <a:gd name="connsiteX559" fmla="*/ 511910 w 1098255"/>
                    <a:gd name="connsiteY559" fmla="*/ 81673 h 514459"/>
                    <a:gd name="connsiteX560" fmla="*/ 511655 w 1098255"/>
                    <a:gd name="connsiteY560" fmla="*/ 81916 h 514459"/>
                    <a:gd name="connsiteX561" fmla="*/ 511412 w 1098255"/>
                    <a:gd name="connsiteY561" fmla="*/ 82183 h 514459"/>
                    <a:gd name="connsiteX562" fmla="*/ 505389 w 1098255"/>
                    <a:gd name="connsiteY562" fmla="*/ 89202 h 514459"/>
                    <a:gd name="connsiteX563" fmla="*/ 493659 w 1098255"/>
                    <a:gd name="connsiteY563" fmla="*/ 89688 h 514459"/>
                    <a:gd name="connsiteX564" fmla="*/ 491424 w 1098255"/>
                    <a:gd name="connsiteY564" fmla="*/ 89773 h 514459"/>
                    <a:gd name="connsiteX565" fmla="*/ 489785 w 1098255"/>
                    <a:gd name="connsiteY565" fmla="*/ 91290 h 514459"/>
                    <a:gd name="connsiteX566" fmla="*/ 483689 w 1098255"/>
                    <a:gd name="connsiteY566" fmla="*/ 96913 h 514459"/>
                    <a:gd name="connsiteX567" fmla="*/ 474558 w 1098255"/>
                    <a:gd name="connsiteY567" fmla="*/ 99499 h 514459"/>
                    <a:gd name="connsiteX568" fmla="*/ 464152 w 1098255"/>
                    <a:gd name="connsiteY568" fmla="*/ 103531 h 514459"/>
                    <a:gd name="connsiteX569" fmla="*/ 463289 w 1098255"/>
                    <a:gd name="connsiteY569" fmla="*/ 103871 h 514459"/>
                    <a:gd name="connsiteX570" fmla="*/ 462561 w 1098255"/>
                    <a:gd name="connsiteY570" fmla="*/ 104453 h 514459"/>
                    <a:gd name="connsiteX571" fmla="*/ 460266 w 1098255"/>
                    <a:gd name="connsiteY571" fmla="*/ 106287 h 514459"/>
                    <a:gd name="connsiteX572" fmla="*/ 457315 w 1098255"/>
                    <a:gd name="connsiteY572" fmla="*/ 107659 h 514459"/>
                    <a:gd name="connsiteX573" fmla="*/ 456987 w 1098255"/>
                    <a:gd name="connsiteY573" fmla="*/ 107817 h 514459"/>
                    <a:gd name="connsiteX574" fmla="*/ 456671 w 1098255"/>
                    <a:gd name="connsiteY574" fmla="*/ 108011 h 514459"/>
                    <a:gd name="connsiteX575" fmla="*/ 455348 w 1098255"/>
                    <a:gd name="connsiteY575" fmla="*/ 108837 h 514459"/>
                    <a:gd name="connsiteX576" fmla="*/ 454656 w 1098255"/>
                    <a:gd name="connsiteY576" fmla="*/ 108740 h 514459"/>
                    <a:gd name="connsiteX577" fmla="*/ 454182 w 1098255"/>
                    <a:gd name="connsiteY577" fmla="*/ 108667 h 514459"/>
                    <a:gd name="connsiteX578" fmla="*/ 453696 w 1098255"/>
                    <a:gd name="connsiteY578" fmla="*/ 108667 h 514459"/>
                    <a:gd name="connsiteX579" fmla="*/ 449738 w 1098255"/>
                    <a:gd name="connsiteY579" fmla="*/ 108728 h 514459"/>
                    <a:gd name="connsiteX580" fmla="*/ 449228 w 1098255"/>
                    <a:gd name="connsiteY580" fmla="*/ 108740 h 514459"/>
                    <a:gd name="connsiteX581" fmla="*/ 448730 w 1098255"/>
                    <a:gd name="connsiteY581" fmla="*/ 108825 h 514459"/>
                    <a:gd name="connsiteX582" fmla="*/ 445002 w 1098255"/>
                    <a:gd name="connsiteY582" fmla="*/ 109517 h 514459"/>
                    <a:gd name="connsiteX583" fmla="*/ 443569 w 1098255"/>
                    <a:gd name="connsiteY583" fmla="*/ 109784 h 514459"/>
                    <a:gd name="connsiteX584" fmla="*/ 442403 w 1098255"/>
                    <a:gd name="connsiteY584" fmla="*/ 110671 h 514459"/>
                    <a:gd name="connsiteX585" fmla="*/ 440266 w 1098255"/>
                    <a:gd name="connsiteY585" fmla="*/ 112310 h 514459"/>
                    <a:gd name="connsiteX586" fmla="*/ 438117 w 1098255"/>
                    <a:gd name="connsiteY586" fmla="*/ 113961 h 514459"/>
                    <a:gd name="connsiteX587" fmla="*/ 437898 w 1098255"/>
                    <a:gd name="connsiteY587" fmla="*/ 116669 h 514459"/>
                    <a:gd name="connsiteX588" fmla="*/ 437826 w 1098255"/>
                    <a:gd name="connsiteY588" fmla="*/ 117641 h 514459"/>
                    <a:gd name="connsiteX589" fmla="*/ 436721 w 1098255"/>
                    <a:gd name="connsiteY589" fmla="*/ 117944 h 514459"/>
                    <a:gd name="connsiteX590" fmla="*/ 433539 w 1098255"/>
                    <a:gd name="connsiteY590" fmla="*/ 118819 h 514459"/>
                    <a:gd name="connsiteX591" fmla="*/ 432543 w 1098255"/>
                    <a:gd name="connsiteY591" fmla="*/ 121952 h 514459"/>
                    <a:gd name="connsiteX592" fmla="*/ 432495 w 1098255"/>
                    <a:gd name="connsiteY592" fmla="*/ 122085 h 514459"/>
                    <a:gd name="connsiteX593" fmla="*/ 423436 w 1098255"/>
                    <a:gd name="connsiteY593" fmla="*/ 124769 h 514459"/>
                    <a:gd name="connsiteX594" fmla="*/ 422768 w 1098255"/>
                    <a:gd name="connsiteY594" fmla="*/ 124975 h 514459"/>
                    <a:gd name="connsiteX595" fmla="*/ 422149 w 1098255"/>
                    <a:gd name="connsiteY595" fmla="*/ 125327 h 514459"/>
                    <a:gd name="connsiteX596" fmla="*/ 419235 w 1098255"/>
                    <a:gd name="connsiteY596" fmla="*/ 126991 h 514459"/>
                    <a:gd name="connsiteX597" fmla="*/ 418737 w 1098255"/>
                    <a:gd name="connsiteY597" fmla="*/ 127270 h 514459"/>
                    <a:gd name="connsiteX598" fmla="*/ 418300 w 1098255"/>
                    <a:gd name="connsiteY598" fmla="*/ 127646 h 514459"/>
                    <a:gd name="connsiteX599" fmla="*/ 406497 w 1098255"/>
                    <a:gd name="connsiteY599" fmla="*/ 137737 h 514459"/>
                    <a:gd name="connsiteX600" fmla="*/ 405683 w 1098255"/>
                    <a:gd name="connsiteY600" fmla="*/ 137349 h 514459"/>
                    <a:gd name="connsiteX601" fmla="*/ 405210 w 1098255"/>
                    <a:gd name="connsiteY601" fmla="*/ 137118 h 514459"/>
                    <a:gd name="connsiteX602" fmla="*/ 404712 w 1098255"/>
                    <a:gd name="connsiteY602" fmla="*/ 136972 h 514459"/>
                    <a:gd name="connsiteX603" fmla="*/ 401943 w 1098255"/>
                    <a:gd name="connsiteY603" fmla="*/ 136195 h 514459"/>
                    <a:gd name="connsiteX604" fmla="*/ 399187 w 1098255"/>
                    <a:gd name="connsiteY604" fmla="*/ 135430 h 514459"/>
                    <a:gd name="connsiteX605" fmla="*/ 396843 w 1098255"/>
                    <a:gd name="connsiteY605" fmla="*/ 137045 h 514459"/>
                    <a:gd name="connsiteX606" fmla="*/ 394050 w 1098255"/>
                    <a:gd name="connsiteY606" fmla="*/ 138976 h 514459"/>
                    <a:gd name="connsiteX607" fmla="*/ 393759 w 1098255"/>
                    <a:gd name="connsiteY607" fmla="*/ 139182 h 514459"/>
                    <a:gd name="connsiteX608" fmla="*/ 393492 w 1098255"/>
                    <a:gd name="connsiteY608" fmla="*/ 139425 h 514459"/>
                    <a:gd name="connsiteX609" fmla="*/ 391063 w 1098255"/>
                    <a:gd name="connsiteY609" fmla="*/ 141574 h 514459"/>
                    <a:gd name="connsiteX610" fmla="*/ 389739 w 1098255"/>
                    <a:gd name="connsiteY610" fmla="*/ 142218 h 514459"/>
                    <a:gd name="connsiteX611" fmla="*/ 388076 w 1098255"/>
                    <a:gd name="connsiteY611" fmla="*/ 142218 h 514459"/>
                    <a:gd name="connsiteX612" fmla="*/ 378095 w 1098255"/>
                    <a:gd name="connsiteY612" fmla="*/ 140907 h 514459"/>
                    <a:gd name="connsiteX613" fmla="*/ 377475 w 1098255"/>
                    <a:gd name="connsiteY613" fmla="*/ 140822 h 514459"/>
                    <a:gd name="connsiteX614" fmla="*/ 376856 w 1098255"/>
                    <a:gd name="connsiteY614" fmla="*/ 140870 h 514459"/>
                    <a:gd name="connsiteX615" fmla="*/ 357051 w 1098255"/>
                    <a:gd name="connsiteY615" fmla="*/ 142303 h 514459"/>
                    <a:gd name="connsiteX616" fmla="*/ 355679 w 1098255"/>
                    <a:gd name="connsiteY616" fmla="*/ 142400 h 514459"/>
                    <a:gd name="connsiteX617" fmla="*/ 354476 w 1098255"/>
                    <a:gd name="connsiteY617" fmla="*/ 143092 h 514459"/>
                    <a:gd name="connsiteX618" fmla="*/ 337428 w 1098255"/>
                    <a:gd name="connsiteY618" fmla="*/ 152831 h 514459"/>
                    <a:gd name="connsiteX619" fmla="*/ 330178 w 1098255"/>
                    <a:gd name="connsiteY619" fmla="*/ 157069 h 514459"/>
                    <a:gd name="connsiteX620" fmla="*/ 329729 w 1098255"/>
                    <a:gd name="connsiteY620" fmla="*/ 157336 h 514459"/>
                    <a:gd name="connsiteX621" fmla="*/ 329328 w 1098255"/>
                    <a:gd name="connsiteY621" fmla="*/ 157676 h 514459"/>
                    <a:gd name="connsiteX622" fmla="*/ 319954 w 1098255"/>
                    <a:gd name="connsiteY622" fmla="*/ 165605 h 514459"/>
                    <a:gd name="connsiteX623" fmla="*/ 312316 w 1098255"/>
                    <a:gd name="connsiteY623" fmla="*/ 169467 h 514459"/>
                    <a:gd name="connsiteX624" fmla="*/ 311770 w 1098255"/>
                    <a:gd name="connsiteY624" fmla="*/ 169734 h 514459"/>
                    <a:gd name="connsiteX625" fmla="*/ 311296 w 1098255"/>
                    <a:gd name="connsiteY625" fmla="*/ 170110 h 514459"/>
                    <a:gd name="connsiteX626" fmla="*/ 305213 w 1098255"/>
                    <a:gd name="connsiteY626" fmla="*/ 174895 h 514459"/>
                    <a:gd name="connsiteX627" fmla="*/ 299202 w 1098255"/>
                    <a:gd name="connsiteY627" fmla="*/ 179618 h 514459"/>
                    <a:gd name="connsiteX628" fmla="*/ 297344 w 1098255"/>
                    <a:gd name="connsiteY628" fmla="*/ 181088 h 514459"/>
                    <a:gd name="connsiteX629" fmla="*/ 296968 w 1098255"/>
                    <a:gd name="connsiteY629" fmla="*/ 183431 h 514459"/>
                    <a:gd name="connsiteX630" fmla="*/ 295935 w 1098255"/>
                    <a:gd name="connsiteY630" fmla="*/ 189758 h 514459"/>
                    <a:gd name="connsiteX631" fmla="*/ 293774 w 1098255"/>
                    <a:gd name="connsiteY631" fmla="*/ 196315 h 514459"/>
                    <a:gd name="connsiteX632" fmla="*/ 290690 w 1098255"/>
                    <a:gd name="connsiteY632" fmla="*/ 202095 h 514459"/>
                    <a:gd name="connsiteX633" fmla="*/ 287278 w 1098255"/>
                    <a:gd name="connsiteY633" fmla="*/ 205884 h 514459"/>
                    <a:gd name="connsiteX634" fmla="*/ 270532 w 1098255"/>
                    <a:gd name="connsiteY634" fmla="*/ 217237 h 514459"/>
                    <a:gd name="connsiteX635" fmla="*/ 269901 w 1098255"/>
                    <a:gd name="connsiteY635" fmla="*/ 217662 h 514459"/>
                    <a:gd name="connsiteX636" fmla="*/ 269403 w 1098255"/>
                    <a:gd name="connsiteY636" fmla="*/ 218221 h 514459"/>
                    <a:gd name="connsiteX637" fmla="*/ 264837 w 1098255"/>
                    <a:gd name="connsiteY637" fmla="*/ 223333 h 514459"/>
                    <a:gd name="connsiteX638" fmla="*/ 263283 w 1098255"/>
                    <a:gd name="connsiteY638" fmla="*/ 224693 h 514459"/>
                    <a:gd name="connsiteX639" fmla="*/ 257272 w 1098255"/>
                    <a:gd name="connsiteY639" fmla="*/ 226672 h 514459"/>
                    <a:gd name="connsiteX640" fmla="*/ 256786 w 1098255"/>
                    <a:gd name="connsiteY640" fmla="*/ 226830 h 514459"/>
                    <a:gd name="connsiteX641" fmla="*/ 256325 w 1098255"/>
                    <a:gd name="connsiteY641" fmla="*/ 227073 h 514459"/>
                    <a:gd name="connsiteX642" fmla="*/ 252913 w 1098255"/>
                    <a:gd name="connsiteY642" fmla="*/ 228882 h 514459"/>
                    <a:gd name="connsiteX643" fmla="*/ 252026 w 1098255"/>
                    <a:gd name="connsiteY643" fmla="*/ 229356 h 514459"/>
                    <a:gd name="connsiteX644" fmla="*/ 251335 w 1098255"/>
                    <a:gd name="connsiteY644" fmla="*/ 230096 h 514459"/>
                    <a:gd name="connsiteX645" fmla="*/ 248663 w 1098255"/>
                    <a:gd name="connsiteY645" fmla="*/ 232938 h 514459"/>
                    <a:gd name="connsiteX646" fmla="*/ 248408 w 1098255"/>
                    <a:gd name="connsiteY646" fmla="*/ 233205 h 514459"/>
                    <a:gd name="connsiteX647" fmla="*/ 248189 w 1098255"/>
                    <a:gd name="connsiteY647" fmla="*/ 233509 h 514459"/>
                    <a:gd name="connsiteX648" fmla="*/ 243976 w 1098255"/>
                    <a:gd name="connsiteY648" fmla="*/ 239264 h 514459"/>
                    <a:gd name="connsiteX649" fmla="*/ 242009 w 1098255"/>
                    <a:gd name="connsiteY649" fmla="*/ 241122 h 514459"/>
                    <a:gd name="connsiteX650" fmla="*/ 240333 w 1098255"/>
                    <a:gd name="connsiteY650" fmla="*/ 242130 h 514459"/>
                    <a:gd name="connsiteX651" fmla="*/ 238815 w 1098255"/>
                    <a:gd name="connsiteY651" fmla="*/ 242592 h 514459"/>
                    <a:gd name="connsiteX652" fmla="*/ 238001 w 1098255"/>
                    <a:gd name="connsiteY652" fmla="*/ 242664 h 514459"/>
                    <a:gd name="connsiteX653" fmla="*/ 237346 w 1098255"/>
                    <a:gd name="connsiteY653" fmla="*/ 241729 h 514459"/>
                    <a:gd name="connsiteX654" fmla="*/ 234492 w 1098255"/>
                    <a:gd name="connsiteY654" fmla="*/ 237613 h 514459"/>
                    <a:gd name="connsiteX655" fmla="*/ 229902 w 1098255"/>
                    <a:gd name="connsiteY655" fmla="*/ 239641 h 514459"/>
                    <a:gd name="connsiteX656" fmla="*/ 228190 w 1098255"/>
                    <a:gd name="connsiteY656" fmla="*/ 240394 h 514459"/>
                    <a:gd name="connsiteX657" fmla="*/ 227765 w 1098255"/>
                    <a:gd name="connsiteY657" fmla="*/ 240588 h 514459"/>
                    <a:gd name="connsiteX658" fmla="*/ 227376 w 1098255"/>
                    <a:gd name="connsiteY658" fmla="*/ 240843 h 514459"/>
                    <a:gd name="connsiteX659" fmla="*/ 215719 w 1098255"/>
                    <a:gd name="connsiteY659" fmla="*/ 248299 h 514459"/>
                    <a:gd name="connsiteX660" fmla="*/ 215403 w 1098255"/>
                    <a:gd name="connsiteY660" fmla="*/ 248517 h 514459"/>
                    <a:gd name="connsiteX661" fmla="*/ 215100 w 1098255"/>
                    <a:gd name="connsiteY661" fmla="*/ 248772 h 514459"/>
                    <a:gd name="connsiteX662" fmla="*/ 209648 w 1098255"/>
                    <a:gd name="connsiteY662" fmla="*/ 253338 h 514459"/>
                    <a:gd name="connsiteX663" fmla="*/ 209210 w 1098255"/>
                    <a:gd name="connsiteY663" fmla="*/ 253715 h 514459"/>
                    <a:gd name="connsiteX664" fmla="*/ 208846 w 1098255"/>
                    <a:gd name="connsiteY664" fmla="*/ 254164 h 514459"/>
                    <a:gd name="connsiteX665" fmla="*/ 204365 w 1098255"/>
                    <a:gd name="connsiteY665" fmla="*/ 259677 h 514459"/>
                    <a:gd name="connsiteX666" fmla="*/ 203904 w 1098255"/>
                    <a:gd name="connsiteY666" fmla="*/ 260235 h 514459"/>
                    <a:gd name="connsiteX667" fmla="*/ 203601 w 1098255"/>
                    <a:gd name="connsiteY667" fmla="*/ 260891 h 514459"/>
                    <a:gd name="connsiteX668" fmla="*/ 200322 w 1098255"/>
                    <a:gd name="connsiteY668" fmla="*/ 267752 h 514459"/>
                    <a:gd name="connsiteX669" fmla="*/ 199593 w 1098255"/>
                    <a:gd name="connsiteY669" fmla="*/ 269257 h 514459"/>
                    <a:gd name="connsiteX670" fmla="*/ 199751 w 1098255"/>
                    <a:gd name="connsiteY670" fmla="*/ 270921 h 514459"/>
                    <a:gd name="connsiteX671" fmla="*/ 200018 w 1098255"/>
                    <a:gd name="connsiteY671" fmla="*/ 273872 h 514459"/>
                    <a:gd name="connsiteX672" fmla="*/ 200358 w 1098255"/>
                    <a:gd name="connsiteY672" fmla="*/ 277648 h 514459"/>
                    <a:gd name="connsiteX673" fmla="*/ 203904 w 1098255"/>
                    <a:gd name="connsiteY673" fmla="*/ 278996 h 514459"/>
                    <a:gd name="connsiteX674" fmla="*/ 206794 w 1098255"/>
                    <a:gd name="connsiteY674" fmla="*/ 280101 h 514459"/>
                    <a:gd name="connsiteX675" fmla="*/ 207498 w 1098255"/>
                    <a:gd name="connsiteY675" fmla="*/ 280368 h 514459"/>
                    <a:gd name="connsiteX676" fmla="*/ 208251 w 1098255"/>
                    <a:gd name="connsiteY676" fmla="*/ 280453 h 514459"/>
                    <a:gd name="connsiteX677" fmla="*/ 211117 w 1098255"/>
                    <a:gd name="connsiteY677" fmla="*/ 280781 h 514459"/>
                    <a:gd name="connsiteX678" fmla="*/ 210048 w 1098255"/>
                    <a:gd name="connsiteY678" fmla="*/ 284193 h 514459"/>
                    <a:gd name="connsiteX679" fmla="*/ 207960 w 1098255"/>
                    <a:gd name="connsiteY679" fmla="*/ 290823 h 514459"/>
                    <a:gd name="connsiteX680" fmla="*/ 206260 w 1098255"/>
                    <a:gd name="connsiteY680" fmla="*/ 292900 h 514459"/>
                    <a:gd name="connsiteX681" fmla="*/ 201063 w 1098255"/>
                    <a:gd name="connsiteY681" fmla="*/ 296761 h 514459"/>
                    <a:gd name="connsiteX682" fmla="*/ 197177 w 1098255"/>
                    <a:gd name="connsiteY682" fmla="*/ 298400 h 514459"/>
                    <a:gd name="connsiteX683" fmla="*/ 193328 w 1098255"/>
                    <a:gd name="connsiteY683" fmla="*/ 299056 h 514459"/>
                    <a:gd name="connsiteX684" fmla="*/ 192380 w 1098255"/>
                    <a:gd name="connsiteY684" fmla="*/ 299214 h 514459"/>
                    <a:gd name="connsiteX685" fmla="*/ 191530 w 1098255"/>
                    <a:gd name="connsiteY685" fmla="*/ 299663 h 514459"/>
                    <a:gd name="connsiteX686" fmla="*/ 189296 w 1098255"/>
                    <a:gd name="connsiteY686" fmla="*/ 300841 h 514459"/>
                    <a:gd name="connsiteX687" fmla="*/ 188385 w 1098255"/>
                    <a:gd name="connsiteY687" fmla="*/ 301315 h 514459"/>
                    <a:gd name="connsiteX688" fmla="*/ 187681 w 1098255"/>
                    <a:gd name="connsiteY688" fmla="*/ 302068 h 514459"/>
                    <a:gd name="connsiteX689" fmla="*/ 183212 w 1098255"/>
                    <a:gd name="connsiteY689" fmla="*/ 306852 h 514459"/>
                    <a:gd name="connsiteX690" fmla="*/ 181779 w 1098255"/>
                    <a:gd name="connsiteY690" fmla="*/ 307823 h 514459"/>
                    <a:gd name="connsiteX691" fmla="*/ 173595 w 1098255"/>
                    <a:gd name="connsiteY691" fmla="*/ 310288 h 514459"/>
                    <a:gd name="connsiteX692" fmla="*/ 172672 w 1098255"/>
                    <a:gd name="connsiteY692" fmla="*/ 310556 h 514459"/>
                    <a:gd name="connsiteX693" fmla="*/ 171895 w 1098255"/>
                    <a:gd name="connsiteY693" fmla="*/ 311102 h 514459"/>
                    <a:gd name="connsiteX694" fmla="*/ 168325 w 1098255"/>
                    <a:gd name="connsiteY694" fmla="*/ 313579 h 514459"/>
                    <a:gd name="connsiteX695" fmla="*/ 167548 w 1098255"/>
                    <a:gd name="connsiteY695" fmla="*/ 311964 h 514459"/>
                    <a:gd name="connsiteX696" fmla="*/ 166236 w 1098255"/>
                    <a:gd name="connsiteY696" fmla="*/ 309220 h 514459"/>
                    <a:gd name="connsiteX697" fmla="*/ 163250 w 1098255"/>
                    <a:gd name="connsiteY697" fmla="*/ 308637 h 514459"/>
                    <a:gd name="connsiteX698" fmla="*/ 161088 w 1098255"/>
                    <a:gd name="connsiteY698" fmla="*/ 308212 h 514459"/>
                    <a:gd name="connsiteX699" fmla="*/ 157469 w 1098255"/>
                    <a:gd name="connsiteY699" fmla="*/ 307508 h 514459"/>
                    <a:gd name="connsiteX700" fmla="*/ 155175 w 1098255"/>
                    <a:gd name="connsiteY700" fmla="*/ 310398 h 514459"/>
                    <a:gd name="connsiteX701" fmla="*/ 152989 w 1098255"/>
                    <a:gd name="connsiteY701" fmla="*/ 313142 h 514459"/>
                    <a:gd name="connsiteX702" fmla="*/ 152382 w 1098255"/>
                    <a:gd name="connsiteY702" fmla="*/ 313907 h 514459"/>
                    <a:gd name="connsiteX703" fmla="*/ 150876 w 1098255"/>
                    <a:gd name="connsiteY703" fmla="*/ 313409 h 514459"/>
                    <a:gd name="connsiteX704" fmla="*/ 149844 w 1098255"/>
                    <a:gd name="connsiteY704" fmla="*/ 313069 h 514459"/>
                    <a:gd name="connsiteX705" fmla="*/ 144331 w 1098255"/>
                    <a:gd name="connsiteY705" fmla="*/ 311260 h 514459"/>
                    <a:gd name="connsiteX706" fmla="*/ 142279 w 1098255"/>
                    <a:gd name="connsiteY706" fmla="*/ 316700 h 514459"/>
                    <a:gd name="connsiteX707" fmla="*/ 142024 w 1098255"/>
                    <a:gd name="connsiteY707" fmla="*/ 317392 h 514459"/>
                    <a:gd name="connsiteX708" fmla="*/ 140287 w 1098255"/>
                    <a:gd name="connsiteY708" fmla="*/ 313348 h 514459"/>
                    <a:gd name="connsiteX709" fmla="*/ 140129 w 1098255"/>
                    <a:gd name="connsiteY709" fmla="*/ 312996 h 514459"/>
                    <a:gd name="connsiteX710" fmla="*/ 139935 w 1098255"/>
                    <a:gd name="connsiteY710" fmla="*/ 312668 h 514459"/>
                    <a:gd name="connsiteX711" fmla="*/ 138211 w 1098255"/>
                    <a:gd name="connsiteY711" fmla="*/ 309742 h 514459"/>
                    <a:gd name="connsiteX712" fmla="*/ 136984 w 1098255"/>
                    <a:gd name="connsiteY712" fmla="*/ 307666 h 514459"/>
                    <a:gd name="connsiteX713" fmla="*/ 134665 w 1098255"/>
                    <a:gd name="connsiteY713" fmla="*/ 306986 h 514459"/>
                    <a:gd name="connsiteX714" fmla="*/ 132880 w 1098255"/>
                    <a:gd name="connsiteY714" fmla="*/ 306463 h 514459"/>
                    <a:gd name="connsiteX715" fmla="*/ 128375 w 1098255"/>
                    <a:gd name="connsiteY715" fmla="*/ 305152 h 514459"/>
                    <a:gd name="connsiteX716" fmla="*/ 125971 w 1098255"/>
                    <a:gd name="connsiteY716" fmla="*/ 309183 h 514459"/>
                    <a:gd name="connsiteX717" fmla="*/ 124028 w 1098255"/>
                    <a:gd name="connsiteY717" fmla="*/ 312438 h 514459"/>
                    <a:gd name="connsiteX718" fmla="*/ 123178 w 1098255"/>
                    <a:gd name="connsiteY718" fmla="*/ 313871 h 514459"/>
                    <a:gd name="connsiteX719" fmla="*/ 123178 w 1098255"/>
                    <a:gd name="connsiteY719" fmla="*/ 315546 h 514459"/>
                    <a:gd name="connsiteX720" fmla="*/ 123178 w 1098255"/>
                    <a:gd name="connsiteY720" fmla="*/ 317526 h 514459"/>
                    <a:gd name="connsiteX721" fmla="*/ 123178 w 1098255"/>
                    <a:gd name="connsiteY721" fmla="*/ 317951 h 514459"/>
                    <a:gd name="connsiteX722" fmla="*/ 110452 w 1098255"/>
                    <a:gd name="connsiteY722" fmla="*/ 316906 h 514459"/>
                    <a:gd name="connsiteX723" fmla="*/ 109906 w 1098255"/>
                    <a:gd name="connsiteY723" fmla="*/ 316870 h 514459"/>
                    <a:gd name="connsiteX724" fmla="*/ 109359 w 1098255"/>
                    <a:gd name="connsiteY724" fmla="*/ 316919 h 514459"/>
                    <a:gd name="connsiteX725" fmla="*/ 105631 w 1098255"/>
                    <a:gd name="connsiteY725" fmla="*/ 317283 h 514459"/>
                    <a:gd name="connsiteX726" fmla="*/ 104538 w 1098255"/>
                    <a:gd name="connsiteY726" fmla="*/ 317392 h 514459"/>
                    <a:gd name="connsiteX727" fmla="*/ 103543 w 1098255"/>
                    <a:gd name="connsiteY727" fmla="*/ 317878 h 514459"/>
                    <a:gd name="connsiteX728" fmla="*/ 96645 w 1098255"/>
                    <a:gd name="connsiteY728" fmla="*/ 321266 h 514459"/>
                    <a:gd name="connsiteX729" fmla="*/ 95759 w 1098255"/>
                    <a:gd name="connsiteY729" fmla="*/ 321703 h 514459"/>
                    <a:gd name="connsiteX730" fmla="*/ 95055 w 1098255"/>
                    <a:gd name="connsiteY730" fmla="*/ 322407 h 514459"/>
                    <a:gd name="connsiteX731" fmla="*/ 85085 w 1098255"/>
                    <a:gd name="connsiteY731" fmla="*/ 332279 h 514459"/>
                    <a:gd name="connsiteX732" fmla="*/ 80070 w 1098255"/>
                    <a:gd name="connsiteY732" fmla="*/ 334429 h 514459"/>
                    <a:gd name="connsiteX733" fmla="*/ 77557 w 1098255"/>
                    <a:gd name="connsiteY733" fmla="*/ 334659 h 514459"/>
                    <a:gd name="connsiteX734" fmla="*/ 70210 w 1098255"/>
                    <a:gd name="connsiteY734" fmla="*/ 333360 h 514459"/>
                    <a:gd name="connsiteX735" fmla="*/ 69530 w 1098255"/>
                    <a:gd name="connsiteY735" fmla="*/ 333239 h 514459"/>
                    <a:gd name="connsiteX736" fmla="*/ 68850 w 1098255"/>
                    <a:gd name="connsiteY736" fmla="*/ 333263 h 514459"/>
                    <a:gd name="connsiteX737" fmla="*/ 61844 w 1098255"/>
                    <a:gd name="connsiteY737" fmla="*/ 333591 h 514459"/>
                    <a:gd name="connsiteX738" fmla="*/ 60617 w 1098255"/>
                    <a:gd name="connsiteY738" fmla="*/ 333141 h 514459"/>
                    <a:gd name="connsiteX739" fmla="*/ 54631 w 1098255"/>
                    <a:gd name="connsiteY739" fmla="*/ 329535 h 514459"/>
                    <a:gd name="connsiteX740" fmla="*/ 53842 w 1098255"/>
                    <a:gd name="connsiteY740" fmla="*/ 329049 h 514459"/>
                    <a:gd name="connsiteX741" fmla="*/ 52943 w 1098255"/>
                    <a:gd name="connsiteY741" fmla="*/ 328831 h 514459"/>
                    <a:gd name="connsiteX742" fmla="*/ 45244 w 1098255"/>
                    <a:gd name="connsiteY742" fmla="*/ 326961 h 514459"/>
                    <a:gd name="connsiteX743" fmla="*/ 44443 w 1098255"/>
                    <a:gd name="connsiteY743" fmla="*/ 326766 h 514459"/>
                    <a:gd name="connsiteX744" fmla="*/ 43617 w 1098255"/>
                    <a:gd name="connsiteY744" fmla="*/ 326791 h 514459"/>
                    <a:gd name="connsiteX745" fmla="*/ 17194 w 1098255"/>
                    <a:gd name="connsiteY745" fmla="*/ 327689 h 514459"/>
                    <a:gd name="connsiteX746" fmla="*/ 12045 w 1098255"/>
                    <a:gd name="connsiteY746" fmla="*/ 327859 h 514459"/>
                    <a:gd name="connsiteX747" fmla="*/ 11365 w 1098255"/>
                    <a:gd name="connsiteY747" fmla="*/ 332959 h 514459"/>
                    <a:gd name="connsiteX748" fmla="*/ 10443 w 1098255"/>
                    <a:gd name="connsiteY748" fmla="*/ 340087 h 514459"/>
                    <a:gd name="connsiteX749" fmla="*/ 2598 w 1098255"/>
                    <a:gd name="connsiteY749" fmla="*/ 350652 h 514459"/>
                    <a:gd name="connsiteX750" fmla="*/ 1724 w 1098255"/>
                    <a:gd name="connsiteY750" fmla="*/ 351842 h 514459"/>
                    <a:gd name="connsiteX751" fmla="*/ 1481 w 1098255"/>
                    <a:gd name="connsiteY751" fmla="*/ 353299 h 514459"/>
                    <a:gd name="connsiteX752" fmla="*/ 218 w 1098255"/>
                    <a:gd name="connsiteY752" fmla="*/ 361058 h 514459"/>
                    <a:gd name="connsiteX753" fmla="*/ 0 w 1098255"/>
                    <a:gd name="connsiteY753" fmla="*/ 362357 h 514459"/>
                    <a:gd name="connsiteX754" fmla="*/ 340 w 1098255"/>
                    <a:gd name="connsiteY754" fmla="*/ 363632 h 514459"/>
                    <a:gd name="connsiteX755" fmla="*/ 4408 w 1098255"/>
                    <a:gd name="connsiteY755" fmla="*/ 378471 h 514459"/>
                    <a:gd name="connsiteX756" fmla="*/ 4651 w 1098255"/>
                    <a:gd name="connsiteY756" fmla="*/ 379321 h 514459"/>
                    <a:gd name="connsiteX757" fmla="*/ 5112 w 1098255"/>
                    <a:gd name="connsiteY757" fmla="*/ 380074 h 514459"/>
                    <a:gd name="connsiteX758" fmla="*/ 6897 w 1098255"/>
                    <a:gd name="connsiteY758" fmla="*/ 382952 h 514459"/>
                    <a:gd name="connsiteX759" fmla="*/ 7468 w 1098255"/>
                    <a:gd name="connsiteY759" fmla="*/ 383875 h 514459"/>
                    <a:gd name="connsiteX760" fmla="*/ 8330 w 1098255"/>
                    <a:gd name="connsiteY760" fmla="*/ 384543 h 514459"/>
                    <a:gd name="connsiteX761" fmla="*/ 12568 w 1098255"/>
                    <a:gd name="connsiteY761" fmla="*/ 387845 h 514459"/>
                    <a:gd name="connsiteX762" fmla="*/ 13624 w 1098255"/>
                    <a:gd name="connsiteY762" fmla="*/ 389970 h 514459"/>
                    <a:gd name="connsiteX763" fmla="*/ 14001 w 1098255"/>
                    <a:gd name="connsiteY763" fmla="*/ 390723 h 514459"/>
                    <a:gd name="connsiteX764" fmla="*/ 14571 w 1098255"/>
                    <a:gd name="connsiteY764" fmla="*/ 391343 h 514459"/>
                    <a:gd name="connsiteX765" fmla="*/ 17485 w 1098255"/>
                    <a:gd name="connsiteY765" fmla="*/ 394560 h 514459"/>
                    <a:gd name="connsiteX766" fmla="*/ 18639 w 1098255"/>
                    <a:gd name="connsiteY766" fmla="*/ 395823 h 514459"/>
                    <a:gd name="connsiteX767" fmla="*/ 20279 w 1098255"/>
                    <a:gd name="connsiteY767" fmla="*/ 396309 h 514459"/>
                    <a:gd name="connsiteX768" fmla="*/ 24589 w 1098255"/>
                    <a:gd name="connsiteY768" fmla="*/ 397572 h 514459"/>
                    <a:gd name="connsiteX769" fmla="*/ 24893 w 1098255"/>
                    <a:gd name="connsiteY769" fmla="*/ 397657 h 514459"/>
                    <a:gd name="connsiteX770" fmla="*/ 25196 w 1098255"/>
                    <a:gd name="connsiteY770" fmla="*/ 397705 h 514459"/>
                    <a:gd name="connsiteX771" fmla="*/ 29131 w 1098255"/>
                    <a:gd name="connsiteY771" fmla="*/ 398434 h 514459"/>
                    <a:gd name="connsiteX772" fmla="*/ 31159 w 1098255"/>
                    <a:gd name="connsiteY772" fmla="*/ 399296 h 514459"/>
                    <a:gd name="connsiteX773" fmla="*/ 32251 w 1098255"/>
                    <a:gd name="connsiteY773" fmla="*/ 400766 h 514459"/>
                    <a:gd name="connsiteX774" fmla="*/ 32348 w 1098255"/>
                    <a:gd name="connsiteY774" fmla="*/ 402138 h 514459"/>
                    <a:gd name="connsiteX775" fmla="*/ 32470 w 1098255"/>
                    <a:gd name="connsiteY775" fmla="*/ 403680 h 514459"/>
                    <a:gd name="connsiteX776" fmla="*/ 33308 w 1098255"/>
                    <a:gd name="connsiteY776" fmla="*/ 404979 h 514459"/>
                    <a:gd name="connsiteX777" fmla="*/ 34291 w 1098255"/>
                    <a:gd name="connsiteY777" fmla="*/ 406497 h 514459"/>
                    <a:gd name="connsiteX778" fmla="*/ 36295 w 1098255"/>
                    <a:gd name="connsiteY778" fmla="*/ 409581 h 514459"/>
                    <a:gd name="connsiteX779" fmla="*/ 39950 w 1098255"/>
                    <a:gd name="connsiteY779" fmla="*/ 409241 h 514459"/>
                    <a:gd name="connsiteX780" fmla="*/ 45451 w 1098255"/>
                    <a:gd name="connsiteY780" fmla="*/ 408731 h 514459"/>
                    <a:gd name="connsiteX781" fmla="*/ 46167 w 1098255"/>
                    <a:gd name="connsiteY781" fmla="*/ 408671 h 514459"/>
                    <a:gd name="connsiteX782" fmla="*/ 46847 w 1098255"/>
                    <a:gd name="connsiteY782" fmla="*/ 408440 h 514459"/>
                    <a:gd name="connsiteX783" fmla="*/ 60957 w 1098255"/>
                    <a:gd name="connsiteY783" fmla="*/ 403680 h 514459"/>
                    <a:gd name="connsiteX784" fmla="*/ 64855 w 1098255"/>
                    <a:gd name="connsiteY784" fmla="*/ 403048 h 514459"/>
                    <a:gd name="connsiteX785" fmla="*/ 71084 w 1098255"/>
                    <a:gd name="connsiteY785" fmla="*/ 403400 h 514459"/>
                    <a:gd name="connsiteX786" fmla="*/ 72250 w 1098255"/>
                    <a:gd name="connsiteY786" fmla="*/ 403473 h 514459"/>
                    <a:gd name="connsiteX787" fmla="*/ 73368 w 1098255"/>
                    <a:gd name="connsiteY787" fmla="*/ 403097 h 514459"/>
                    <a:gd name="connsiteX788" fmla="*/ 75784 w 1098255"/>
                    <a:gd name="connsiteY788" fmla="*/ 402283 h 514459"/>
                    <a:gd name="connsiteX789" fmla="*/ 76658 w 1098255"/>
                    <a:gd name="connsiteY789" fmla="*/ 401992 h 514459"/>
                    <a:gd name="connsiteX790" fmla="*/ 77411 w 1098255"/>
                    <a:gd name="connsiteY790" fmla="*/ 401458 h 514459"/>
                    <a:gd name="connsiteX791" fmla="*/ 80143 w 1098255"/>
                    <a:gd name="connsiteY791" fmla="*/ 399478 h 514459"/>
                    <a:gd name="connsiteX792" fmla="*/ 80738 w 1098255"/>
                    <a:gd name="connsiteY792" fmla="*/ 400158 h 514459"/>
                    <a:gd name="connsiteX793" fmla="*/ 96475 w 1098255"/>
                    <a:gd name="connsiteY793" fmla="*/ 428099 h 514459"/>
                    <a:gd name="connsiteX794" fmla="*/ 91946 w 1098255"/>
                    <a:gd name="connsiteY794" fmla="*/ 431803 h 514459"/>
                    <a:gd name="connsiteX795" fmla="*/ 91557 w 1098255"/>
                    <a:gd name="connsiteY795" fmla="*/ 432119 h 514459"/>
                    <a:gd name="connsiteX796" fmla="*/ 91218 w 1098255"/>
                    <a:gd name="connsiteY796" fmla="*/ 432507 h 514459"/>
                    <a:gd name="connsiteX797" fmla="*/ 88583 w 1098255"/>
                    <a:gd name="connsiteY797" fmla="*/ 435519 h 514459"/>
                    <a:gd name="connsiteX798" fmla="*/ 87854 w 1098255"/>
                    <a:gd name="connsiteY798" fmla="*/ 436344 h 514459"/>
                    <a:gd name="connsiteX799" fmla="*/ 87477 w 1098255"/>
                    <a:gd name="connsiteY799" fmla="*/ 437376 h 514459"/>
                    <a:gd name="connsiteX800" fmla="*/ 86785 w 1098255"/>
                    <a:gd name="connsiteY800" fmla="*/ 439210 h 514459"/>
                    <a:gd name="connsiteX801" fmla="*/ 86555 w 1098255"/>
                    <a:gd name="connsiteY801" fmla="*/ 439805 h 514459"/>
                    <a:gd name="connsiteX802" fmla="*/ 86458 w 1098255"/>
                    <a:gd name="connsiteY802" fmla="*/ 440436 h 514459"/>
                    <a:gd name="connsiteX803" fmla="*/ 85936 w 1098255"/>
                    <a:gd name="connsiteY803" fmla="*/ 443861 h 514459"/>
                    <a:gd name="connsiteX804" fmla="*/ 85802 w 1098255"/>
                    <a:gd name="connsiteY804" fmla="*/ 444298 h 514459"/>
                    <a:gd name="connsiteX805" fmla="*/ 85535 w 1098255"/>
                    <a:gd name="connsiteY805" fmla="*/ 444686 h 514459"/>
                    <a:gd name="connsiteX806" fmla="*/ 83495 w 1098255"/>
                    <a:gd name="connsiteY806" fmla="*/ 446799 h 514459"/>
                    <a:gd name="connsiteX807" fmla="*/ 83227 w 1098255"/>
                    <a:gd name="connsiteY807" fmla="*/ 447079 h 514459"/>
                    <a:gd name="connsiteX808" fmla="*/ 82985 w 1098255"/>
                    <a:gd name="connsiteY808" fmla="*/ 447394 h 514459"/>
                    <a:gd name="connsiteX809" fmla="*/ 82475 w 1098255"/>
                    <a:gd name="connsiteY809" fmla="*/ 448087 h 514459"/>
                    <a:gd name="connsiteX810" fmla="*/ 82001 w 1098255"/>
                    <a:gd name="connsiteY810" fmla="*/ 448694 h 514459"/>
                    <a:gd name="connsiteX811" fmla="*/ 81576 w 1098255"/>
                    <a:gd name="connsiteY811" fmla="*/ 449264 h 514459"/>
                    <a:gd name="connsiteX812" fmla="*/ 81285 w 1098255"/>
                    <a:gd name="connsiteY812" fmla="*/ 449920 h 514459"/>
                    <a:gd name="connsiteX813" fmla="*/ 79973 w 1098255"/>
                    <a:gd name="connsiteY813" fmla="*/ 452883 h 514459"/>
                    <a:gd name="connsiteX814" fmla="*/ 79791 w 1098255"/>
                    <a:gd name="connsiteY814" fmla="*/ 453284 h 514459"/>
                    <a:gd name="connsiteX815" fmla="*/ 79670 w 1098255"/>
                    <a:gd name="connsiteY815" fmla="*/ 453696 h 514459"/>
                    <a:gd name="connsiteX816" fmla="*/ 78686 w 1098255"/>
                    <a:gd name="connsiteY816" fmla="*/ 457169 h 514459"/>
                    <a:gd name="connsiteX817" fmla="*/ 78577 w 1098255"/>
                    <a:gd name="connsiteY817" fmla="*/ 457582 h 514459"/>
                    <a:gd name="connsiteX818" fmla="*/ 78516 w 1098255"/>
                    <a:gd name="connsiteY818" fmla="*/ 458007 h 514459"/>
                    <a:gd name="connsiteX819" fmla="*/ 78006 w 1098255"/>
                    <a:gd name="connsiteY819" fmla="*/ 461747 h 514459"/>
                    <a:gd name="connsiteX820" fmla="*/ 77957 w 1098255"/>
                    <a:gd name="connsiteY820" fmla="*/ 462099 h 514459"/>
                    <a:gd name="connsiteX821" fmla="*/ 77945 w 1098255"/>
                    <a:gd name="connsiteY821" fmla="*/ 462464 h 514459"/>
                    <a:gd name="connsiteX822" fmla="*/ 77884 w 1098255"/>
                    <a:gd name="connsiteY822" fmla="*/ 466167 h 514459"/>
                    <a:gd name="connsiteX823" fmla="*/ 77873 w 1098255"/>
                    <a:gd name="connsiteY823" fmla="*/ 467248 h 514459"/>
                    <a:gd name="connsiteX824" fmla="*/ 78225 w 1098255"/>
                    <a:gd name="connsiteY824" fmla="*/ 468268 h 514459"/>
                    <a:gd name="connsiteX825" fmla="*/ 80507 w 1098255"/>
                    <a:gd name="connsiteY825" fmla="*/ 474813 h 514459"/>
                    <a:gd name="connsiteX826" fmla="*/ 80981 w 1098255"/>
                    <a:gd name="connsiteY826" fmla="*/ 476173 h 514459"/>
                    <a:gd name="connsiteX827" fmla="*/ 82013 w 1098255"/>
                    <a:gd name="connsiteY827" fmla="*/ 477181 h 514459"/>
                    <a:gd name="connsiteX828" fmla="*/ 90586 w 1098255"/>
                    <a:gd name="connsiteY828" fmla="*/ 485475 h 514459"/>
                    <a:gd name="connsiteX829" fmla="*/ 93088 w 1098255"/>
                    <a:gd name="connsiteY829" fmla="*/ 490417 h 514459"/>
                    <a:gd name="connsiteX830" fmla="*/ 95735 w 1098255"/>
                    <a:gd name="connsiteY830" fmla="*/ 500107 h 514459"/>
                    <a:gd name="connsiteX831" fmla="*/ 95383 w 1098255"/>
                    <a:gd name="connsiteY831" fmla="*/ 501880 h 514459"/>
                    <a:gd name="connsiteX832" fmla="*/ 94824 w 1098255"/>
                    <a:gd name="connsiteY832" fmla="*/ 504515 h 514459"/>
                    <a:gd name="connsiteX833" fmla="*/ 93403 w 1098255"/>
                    <a:gd name="connsiteY833" fmla="*/ 511242 h 514459"/>
                    <a:gd name="connsiteX834" fmla="*/ 100252 w 1098255"/>
                    <a:gd name="connsiteY834" fmla="*/ 511825 h 514459"/>
                    <a:gd name="connsiteX835" fmla="*/ 130379 w 1098255"/>
                    <a:gd name="connsiteY835" fmla="*/ 514387 h 514459"/>
                    <a:gd name="connsiteX836" fmla="*/ 131265 w 1098255"/>
                    <a:gd name="connsiteY836" fmla="*/ 514460 h 514459"/>
                    <a:gd name="connsiteX837" fmla="*/ 132152 w 1098255"/>
                    <a:gd name="connsiteY837" fmla="*/ 514266 h 514459"/>
                    <a:gd name="connsiteX838" fmla="*/ 142874 w 1098255"/>
                    <a:gd name="connsiteY838" fmla="*/ 511983 h 514459"/>
                    <a:gd name="connsiteX839" fmla="*/ 155733 w 1098255"/>
                    <a:gd name="connsiteY839" fmla="*/ 510841 h 514459"/>
                    <a:gd name="connsiteX840" fmla="*/ 179266 w 1098255"/>
                    <a:gd name="connsiteY840" fmla="*/ 507247 h 514459"/>
                    <a:gd name="connsiteX841" fmla="*/ 194141 w 1098255"/>
                    <a:gd name="connsiteY841" fmla="*/ 503628 h 514459"/>
                    <a:gd name="connsiteX842" fmla="*/ 194772 w 1098255"/>
                    <a:gd name="connsiteY842" fmla="*/ 503470 h 514459"/>
                    <a:gd name="connsiteX843" fmla="*/ 195355 w 1098255"/>
                    <a:gd name="connsiteY843" fmla="*/ 503191 h 514459"/>
                    <a:gd name="connsiteX844" fmla="*/ 207511 w 1098255"/>
                    <a:gd name="connsiteY844" fmla="*/ 497290 h 514459"/>
                    <a:gd name="connsiteX845" fmla="*/ 207826 w 1098255"/>
                    <a:gd name="connsiteY845" fmla="*/ 497132 h 514459"/>
                    <a:gd name="connsiteX846" fmla="*/ 208130 w 1098255"/>
                    <a:gd name="connsiteY846" fmla="*/ 496938 h 514459"/>
                    <a:gd name="connsiteX847" fmla="*/ 217601 w 1098255"/>
                    <a:gd name="connsiteY847" fmla="*/ 490842 h 514459"/>
                    <a:gd name="connsiteX848" fmla="*/ 224753 w 1098255"/>
                    <a:gd name="connsiteY848" fmla="*/ 490842 h 514459"/>
                    <a:gd name="connsiteX849" fmla="*/ 235160 w 1098255"/>
                    <a:gd name="connsiteY849" fmla="*/ 498978 h 514459"/>
                    <a:gd name="connsiteX850" fmla="*/ 247691 w 1098255"/>
                    <a:gd name="connsiteY850" fmla="*/ 507478 h 514459"/>
                    <a:gd name="connsiteX851" fmla="*/ 249501 w 1098255"/>
                    <a:gd name="connsiteY851" fmla="*/ 508716 h 514459"/>
                    <a:gd name="connsiteX852" fmla="*/ 251699 w 1098255"/>
                    <a:gd name="connsiteY852" fmla="*/ 508498 h 514459"/>
                    <a:gd name="connsiteX853" fmla="*/ 263793 w 1098255"/>
                    <a:gd name="connsiteY853" fmla="*/ 507295 h 514459"/>
                    <a:gd name="connsiteX854" fmla="*/ 273604 w 1098255"/>
                    <a:gd name="connsiteY854" fmla="*/ 507320 h 514459"/>
                    <a:gd name="connsiteX855" fmla="*/ 283926 w 1098255"/>
                    <a:gd name="connsiteY855" fmla="*/ 509566 h 514459"/>
                    <a:gd name="connsiteX856" fmla="*/ 284314 w 1098255"/>
                    <a:gd name="connsiteY856" fmla="*/ 509651 h 514459"/>
                    <a:gd name="connsiteX857" fmla="*/ 284728 w 1098255"/>
                    <a:gd name="connsiteY857" fmla="*/ 509688 h 514459"/>
                    <a:gd name="connsiteX858" fmla="*/ 313470 w 1098255"/>
                    <a:gd name="connsiteY858" fmla="*/ 512019 h 514459"/>
                    <a:gd name="connsiteX859" fmla="*/ 314113 w 1098255"/>
                    <a:gd name="connsiteY859" fmla="*/ 512068 h 514459"/>
                    <a:gd name="connsiteX860" fmla="*/ 314757 w 1098255"/>
                    <a:gd name="connsiteY860" fmla="*/ 511983 h 514459"/>
                    <a:gd name="connsiteX861" fmla="*/ 332352 w 1098255"/>
                    <a:gd name="connsiteY861" fmla="*/ 509651 h 514459"/>
                    <a:gd name="connsiteX862" fmla="*/ 350676 w 1098255"/>
                    <a:gd name="connsiteY862" fmla="*/ 506190 h 514459"/>
                    <a:gd name="connsiteX863" fmla="*/ 364203 w 1098255"/>
                    <a:gd name="connsiteY863" fmla="*/ 507308 h 514459"/>
                    <a:gd name="connsiteX864" fmla="*/ 366146 w 1098255"/>
                    <a:gd name="connsiteY864" fmla="*/ 507466 h 514459"/>
                    <a:gd name="connsiteX865" fmla="*/ 367822 w 1098255"/>
                    <a:gd name="connsiteY865" fmla="*/ 506470 h 514459"/>
                    <a:gd name="connsiteX866" fmla="*/ 376419 w 1098255"/>
                    <a:gd name="connsiteY866" fmla="*/ 501333 h 514459"/>
                    <a:gd name="connsiteX867" fmla="*/ 393710 w 1098255"/>
                    <a:gd name="connsiteY867" fmla="*/ 500265 h 514459"/>
                    <a:gd name="connsiteX868" fmla="*/ 405962 w 1098255"/>
                    <a:gd name="connsiteY868" fmla="*/ 499075 h 514459"/>
                    <a:gd name="connsiteX869" fmla="*/ 407153 w 1098255"/>
                    <a:gd name="connsiteY869" fmla="*/ 498965 h 514459"/>
                    <a:gd name="connsiteX870" fmla="*/ 408209 w 1098255"/>
                    <a:gd name="connsiteY870" fmla="*/ 498407 h 514459"/>
                    <a:gd name="connsiteX871" fmla="*/ 421336 w 1098255"/>
                    <a:gd name="connsiteY871" fmla="*/ 491485 h 514459"/>
                    <a:gd name="connsiteX872" fmla="*/ 433005 w 1098255"/>
                    <a:gd name="connsiteY872" fmla="*/ 486932 h 514459"/>
                    <a:gd name="connsiteX873" fmla="*/ 434122 w 1098255"/>
                    <a:gd name="connsiteY873" fmla="*/ 486495 h 514459"/>
                    <a:gd name="connsiteX874" fmla="*/ 434972 w 1098255"/>
                    <a:gd name="connsiteY874" fmla="*/ 485681 h 514459"/>
                    <a:gd name="connsiteX875" fmla="*/ 443715 w 1098255"/>
                    <a:gd name="connsiteY875" fmla="*/ 477387 h 514459"/>
                    <a:gd name="connsiteX876" fmla="*/ 445403 w 1098255"/>
                    <a:gd name="connsiteY876" fmla="*/ 475797 h 514459"/>
                    <a:gd name="connsiteX877" fmla="*/ 445597 w 1098255"/>
                    <a:gd name="connsiteY877" fmla="*/ 473502 h 514459"/>
                    <a:gd name="connsiteX878" fmla="*/ 446229 w 1098255"/>
                    <a:gd name="connsiteY878" fmla="*/ 466022 h 514459"/>
                    <a:gd name="connsiteX879" fmla="*/ 446799 w 1098255"/>
                    <a:gd name="connsiteY879" fmla="*/ 456951 h 514459"/>
                    <a:gd name="connsiteX880" fmla="*/ 451049 w 1098255"/>
                    <a:gd name="connsiteY880" fmla="*/ 448584 h 514459"/>
                    <a:gd name="connsiteX881" fmla="*/ 457813 w 1098255"/>
                    <a:gd name="connsiteY881" fmla="*/ 443229 h 514459"/>
                    <a:gd name="connsiteX882" fmla="*/ 459076 w 1098255"/>
                    <a:gd name="connsiteY882" fmla="*/ 442124 h 514459"/>
                    <a:gd name="connsiteX883" fmla="*/ 468863 w 1098255"/>
                    <a:gd name="connsiteY883" fmla="*/ 433988 h 514459"/>
                    <a:gd name="connsiteX884" fmla="*/ 469142 w 1098255"/>
                    <a:gd name="connsiteY884" fmla="*/ 433758 h 514459"/>
                    <a:gd name="connsiteX885" fmla="*/ 469397 w 1098255"/>
                    <a:gd name="connsiteY885" fmla="*/ 433491 h 514459"/>
                    <a:gd name="connsiteX886" fmla="*/ 474971 w 1098255"/>
                    <a:gd name="connsiteY886" fmla="*/ 427577 h 514459"/>
                    <a:gd name="connsiteX887" fmla="*/ 475226 w 1098255"/>
                    <a:gd name="connsiteY887" fmla="*/ 427310 h 514459"/>
                    <a:gd name="connsiteX888" fmla="*/ 475457 w 1098255"/>
                    <a:gd name="connsiteY888" fmla="*/ 427006 h 514459"/>
                    <a:gd name="connsiteX889" fmla="*/ 480253 w 1098255"/>
                    <a:gd name="connsiteY889" fmla="*/ 420486 h 514459"/>
                    <a:gd name="connsiteX890" fmla="*/ 482451 w 1098255"/>
                    <a:gd name="connsiteY890" fmla="*/ 417377 h 514459"/>
                    <a:gd name="connsiteX891" fmla="*/ 484746 w 1098255"/>
                    <a:gd name="connsiteY891" fmla="*/ 416053 h 514459"/>
                    <a:gd name="connsiteX892" fmla="*/ 493428 w 1098255"/>
                    <a:gd name="connsiteY892" fmla="*/ 410953 h 514459"/>
                    <a:gd name="connsiteX893" fmla="*/ 493841 w 1098255"/>
                    <a:gd name="connsiteY893" fmla="*/ 410698 h 514459"/>
                    <a:gd name="connsiteX894" fmla="*/ 494217 w 1098255"/>
                    <a:gd name="connsiteY894" fmla="*/ 410383 h 514459"/>
                    <a:gd name="connsiteX895" fmla="*/ 504175 w 1098255"/>
                    <a:gd name="connsiteY895" fmla="*/ 402113 h 514459"/>
                    <a:gd name="connsiteX896" fmla="*/ 504478 w 1098255"/>
                    <a:gd name="connsiteY896" fmla="*/ 401858 h 514459"/>
                    <a:gd name="connsiteX897" fmla="*/ 504733 w 1098255"/>
                    <a:gd name="connsiteY897" fmla="*/ 401567 h 514459"/>
                    <a:gd name="connsiteX898" fmla="*/ 508522 w 1098255"/>
                    <a:gd name="connsiteY898" fmla="*/ 397475 h 514459"/>
                    <a:gd name="connsiteX899" fmla="*/ 513537 w 1098255"/>
                    <a:gd name="connsiteY899" fmla="*/ 392108 h 514459"/>
                    <a:gd name="connsiteX900" fmla="*/ 514010 w 1098255"/>
                    <a:gd name="connsiteY900" fmla="*/ 391610 h 514459"/>
                    <a:gd name="connsiteX901" fmla="*/ 514338 w 1098255"/>
                    <a:gd name="connsiteY901" fmla="*/ 391015 h 514459"/>
                    <a:gd name="connsiteX902" fmla="*/ 523846 w 1098255"/>
                    <a:gd name="connsiteY902" fmla="*/ 374682 h 514459"/>
                    <a:gd name="connsiteX903" fmla="*/ 529723 w 1098255"/>
                    <a:gd name="connsiteY903" fmla="*/ 373905 h 514459"/>
                    <a:gd name="connsiteX904" fmla="*/ 532407 w 1098255"/>
                    <a:gd name="connsiteY904" fmla="*/ 373335 h 514459"/>
                    <a:gd name="connsiteX905" fmla="*/ 546797 w 1098255"/>
                    <a:gd name="connsiteY905" fmla="*/ 370226 h 514459"/>
                    <a:gd name="connsiteX906" fmla="*/ 563347 w 1098255"/>
                    <a:gd name="connsiteY906" fmla="*/ 366741 h 514459"/>
                    <a:gd name="connsiteX907" fmla="*/ 571046 w 1098255"/>
                    <a:gd name="connsiteY907" fmla="*/ 365211 h 514459"/>
                    <a:gd name="connsiteX908" fmla="*/ 574786 w 1098255"/>
                    <a:gd name="connsiteY908" fmla="*/ 371720 h 514459"/>
                    <a:gd name="connsiteX909" fmla="*/ 577226 w 1098255"/>
                    <a:gd name="connsiteY909" fmla="*/ 375994 h 514459"/>
                    <a:gd name="connsiteX910" fmla="*/ 581914 w 1098255"/>
                    <a:gd name="connsiteY910" fmla="*/ 374488 h 514459"/>
                    <a:gd name="connsiteX911" fmla="*/ 590754 w 1098255"/>
                    <a:gd name="connsiteY911" fmla="*/ 371647 h 514459"/>
                    <a:gd name="connsiteX912" fmla="*/ 613473 w 1098255"/>
                    <a:gd name="connsiteY912" fmla="*/ 364507 h 514459"/>
                    <a:gd name="connsiteX913" fmla="*/ 613862 w 1098255"/>
                    <a:gd name="connsiteY913" fmla="*/ 364385 h 514459"/>
                    <a:gd name="connsiteX914" fmla="*/ 614238 w 1098255"/>
                    <a:gd name="connsiteY914" fmla="*/ 364215 h 514459"/>
                    <a:gd name="connsiteX915" fmla="*/ 631857 w 1098255"/>
                    <a:gd name="connsiteY915" fmla="*/ 355934 h 514459"/>
                    <a:gd name="connsiteX916" fmla="*/ 633922 w 1098255"/>
                    <a:gd name="connsiteY916" fmla="*/ 355059 h 514459"/>
                    <a:gd name="connsiteX917" fmla="*/ 641001 w 1098255"/>
                    <a:gd name="connsiteY917" fmla="*/ 352084 h 514459"/>
                    <a:gd name="connsiteX918" fmla="*/ 651469 w 1098255"/>
                    <a:gd name="connsiteY918" fmla="*/ 347762 h 514459"/>
                    <a:gd name="connsiteX919" fmla="*/ 652233 w 1098255"/>
                    <a:gd name="connsiteY919" fmla="*/ 347446 h 514459"/>
                    <a:gd name="connsiteX920" fmla="*/ 652901 w 1098255"/>
                    <a:gd name="connsiteY920" fmla="*/ 346936 h 514459"/>
                    <a:gd name="connsiteX921" fmla="*/ 655524 w 1098255"/>
                    <a:gd name="connsiteY921" fmla="*/ 344872 h 514459"/>
                    <a:gd name="connsiteX922" fmla="*/ 664170 w 1098255"/>
                    <a:gd name="connsiteY922" fmla="*/ 338132 h 514459"/>
                    <a:gd name="connsiteX923" fmla="*/ 674188 w 1098255"/>
                    <a:gd name="connsiteY923" fmla="*/ 334890 h 514459"/>
                    <a:gd name="connsiteX924" fmla="*/ 674613 w 1098255"/>
                    <a:gd name="connsiteY924" fmla="*/ 334744 h 514459"/>
                    <a:gd name="connsiteX925" fmla="*/ 675026 w 1098255"/>
                    <a:gd name="connsiteY925" fmla="*/ 334538 h 514459"/>
                    <a:gd name="connsiteX926" fmla="*/ 689306 w 1098255"/>
                    <a:gd name="connsiteY926" fmla="*/ 327398 h 514459"/>
                    <a:gd name="connsiteX927" fmla="*/ 698498 w 1098255"/>
                    <a:gd name="connsiteY927" fmla="*/ 322480 h 514459"/>
                    <a:gd name="connsiteX928" fmla="*/ 710714 w 1098255"/>
                    <a:gd name="connsiteY928" fmla="*/ 336129 h 514459"/>
                    <a:gd name="connsiteX929" fmla="*/ 716081 w 1098255"/>
                    <a:gd name="connsiteY929" fmla="*/ 342127 h 514459"/>
                    <a:gd name="connsiteX930" fmla="*/ 720367 w 1098255"/>
                    <a:gd name="connsiteY930" fmla="*/ 335303 h 514459"/>
                    <a:gd name="connsiteX931" fmla="*/ 724848 w 1098255"/>
                    <a:gd name="connsiteY931" fmla="*/ 328175 h 514459"/>
                    <a:gd name="connsiteX932" fmla="*/ 725225 w 1098255"/>
                    <a:gd name="connsiteY932" fmla="*/ 327592 h 514459"/>
                    <a:gd name="connsiteX933" fmla="*/ 725455 w 1098255"/>
                    <a:gd name="connsiteY933" fmla="*/ 326936 h 514459"/>
                    <a:gd name="connsiteX934" fmla="*/ 728746 w 1098255"/>
                    <a:gd name="connsiteY934" fmla="*/ 317428 h 514459"/>
                    <a:gd name="connsiteX935" fmla="*/ 729074 w 1098255"/>
                    <a:gd name="connsiteY935" fmla="*/ 316457 h 514459"/>
                    <a:gd name="connsiteX936" fmla="*/ 729074 w 1098255"/>
                    <a:gd name="connsiteY936" fmla="*/ 315437 h 514459"/>
                    <a:gd name="connsiteX937" fmla="*/ 729074 w 1098255"/>
                    <a:gd name="connsiteY937" fmla="*/ 306755 h 514459"/>
                    <a:gd name="connsiteX938" fmla="*/ 730337 w 1098255"/>
                    <a:gd name="connsiteY938" fmla="*/ 302056 h 514459"/>
                    <a:gd name="connsiteX939" fmla="*/ 743815 w 1098255"/>
                    <a:gd name="connsiteY939" fmla="*/ 296227 h 514459"/>
                    <a:gd name="connsiteX940" fmla="*/ 764337 w 1098255"/>
                    <a:gd name="connsiteY940" fmla="*/ 290435 h 514459"/>
                    <a:gd name="connsiteX941" fmla="*/ 764701 w 1098255"/>
                    <a:gd name="connsiteY941" fmla="*/ 290325 h 514459"/>
                    <a:gd name="connsiteX942" fmla="*/ 765054 w 1098255"/>
                    <a:gd name="connsiteY942" fmla="*/ 290180 h 514459"/>
                    <a:gd name="connsiteX943" fmla="*/ 795896 w 1098255"/>
                    <a:gd name="connsiteY943" fmla="*/ 277126 h 514459"/>
                    <a:gd name="connsiteX944" fmla="*/ 821457 w 1098255"/>
                    <a:gd name="connsiteY944" fmla="*/ 266768 h 514459"/>
                    <a:gd name="connsiteX945" fmla="*/ 828683 w 1098255"/>
                    <a:gd name="connsiteY945" fmla="*/ 265906 h 514459"/>
                    <a:gd name="connsiteX946" fmla="*/ 829812 w 1098255"/>
                    <a:gd name="connsiteY946" fmla="*/ 266525 h 514459"/>
                    <a:gd name="connsiteX947" fmla="*/ 832301 w 1098255"/>
                    <a:gd name="connsiteY947" fmla="*/ 270945 h 514459"/>
                    <a:gd name="connsiteX948" fmla="*/ 832969 w 1098255"/>
                    <a:gd name="connsiteY948" fmla="*/ 272123 h 514459"/>
                    <a:gd name="connsiteX949" fmla="*/ 834074 w 1098255"/>
                    <a:gd name="connsiteY949" fmla="*/ 272912 h 514459"/>
                    <a:gd name="connsiteX950" fmla="*/ 844007 w 1098255"/>
                    <a:gd name="connsiteY950" fmla="*/ 279992 h 514459"/>
                    <a:gd name="connsiteX951" fmla="*/ 844420 w 1098255"/>
                    <a:gd name="connsiteY951" fmla="*/ 280283 h 514459"/>
                    <a:gd name="connsiteX952" fmla="*/ 844881 w 1098255"/>
                    <a:gd name="connsiteY952" fmla="*/ 280514 h 514459"/>
                    <a:gd name="connsiteX953" fmla="*/ 854814 w 1098255"/>
                    <a:gd name="connsiteY953" fmla="*/ 285310 h 514459"/>
                    <a:gd name="connsiteX954" fmla="*/ 857267 w 1098255"/>
                    <a:gd name="connsiteY954" fmla="*/ 286500 h 514459"/>
                    <a:gd name="connsiteX955" fmla="*/ 859793 w 1098255"/>
                    <a:gd name="connsiteY955" fmla="*/ 285456 h 514459"/>
                    <a:gd name="connsiteX956" fmla="*/ 872943 w 1098255"/>
                    <a:gd name="connsiteY956" fmla="*/ 279980 h 514459"/>
                    <a:gd name="connsiteX957" fmla="*/ 886204 w 1098255"/>
                    <a:gd name="connsiteY957" fmla="*/ 279980 h 514459"/>
                    <a:gd name="connsiteX958" fmla="*/ 887928 w 1098255"/>
                    <a:gd name="connsiteY958" fmla="*/ 279980 h 514459"/>
                    <a:gd name="connsiteX959" fmla="*/ 889385 w 1098255"/>
                    <a:gd name="connsiteY959" fmla="*/ 279081 h 514459"/>
                    <a:gd name="connsiteX960" fmla="*/ 895202 w 1098255"/>
                    <a:gd name="connsiteY960" fmla="*/ 275511 h 514459"/>
                    <a:gd name="connsiteX961" fmla="*/ 900678 w 1098255"/>
                    <a:gd name="connsiteY961" fmla="*/ 276337 h 514459"/>
                    <a:gd name="connsiteX962" fmla="*/ 904564 w 1098255"/>
                    <a:gd name="connsiteY962" fmla="*/ 276932 h 514459"/>
                    <a:gd name="connsiteX963" fmla="*/ 906689 w 1098255"/>
                    <a:gd name="connsiteY963" fmla="*/ 273629 h 514459"/>
                    <a:gd name="connsiteX964" fmla="*/ 911048 w 1098255"/>
                    <a:gd name="connsiteY964" fmla="*/ 266865 h 514459"/>
                    <a:gd name="connsiteX965" fmla="*/ 911254 w 1098255"/>
                    <a:gd name="connsiteY965" fmla="*/ 266805 h 514459"/>
                    <a:gd name="connsiteX966" fmla="*/ 920083 w 1098255"/>
                    <a:gd name="connsiteY966" fmla="*/ 270654 h 514459"/>
                    <a:gd name="connsiteX967" fmla="*/ 921795 w 1098255"/>
                    <a:gd name="connsiteY967" fmla="*/ 271395 h 514459"/>
                    <a:gd name="connsiteX968" fmla="*/ 923604 w 1098255"/>
                    <a:gd name="connsiteY968" fmla="*/ 271055 h 514459"/>
                    <a:gd name="connsiteX969" fmla="*/ 930234 w 1098255"/>
                    <a:gd name="connsiteY969" fmla="*/ 269840 h 514459"/>
                    <a:gd name="connsiteX970" fmla="*/ 934363 w 1098255"/>
                    <a:gd name="connsiteY970" fmla="*/ 269087 h 514459"/>
                    <a:gd name="connsiteX971" fmla="*/ 935115 w 1098255"/>
                    <a:gd name="connsiteY971" fmla="*/ 264959 h 514459"/>
                    <a:gd name="connsiteX972" fmla="*/ 935395 w 1098255"/>
                    <a:gd name="connsiteY972" fmla="*/ 263368 h 514459"/>
                    <a:gd name="connsiteX973" fmla="*/ 938357 w 1098255"/>
                    <a:gd name="connsiteY973" fmla="*/ 266015 h 514459"/>
                    <a:gd name="connsiteX974" fmla="*/ 948060 w 1098255"/>
                    <a:gd name="connsiteY974" fmla="*/ 275365 h 514459"/>
                    <a:gd name="connsiteX975" fmla="*/ 948375 w 1098255"/>
                    <a:gd name="connsiteY975" fmla="*/ 275669 h 514459"/>
                    <a:gd name="connsiteX976" fmla="*/ 948727 w 1098255"/>
                    <a:gd name="connsiteY976" fmla="*/ 275924 h 514459"/>
                    <a:gd name="connsiteX977" fmla="*/ 955358 w 1098255"/>
                    <a:gd name="connsiteY977" fmla="*/ 280672 h 514459"/>
                    <a:gd name="connsiteX978" fmla="*/ 956147 w 1098255"/>
                    <a:gd name="connsiteY978" fmla="*/ 281243 h 514459"/>
                    <a:gd name="connsiteX979" fmla="*/ 957082 w 1098255"/>
                    <a:gd name="connsiteY979" fmla="*/ 281534 h 514459"/>
                    <a:gd name="connsiteX980" fmla="*/ 963068 w 1098255"/>
                    <a:gd name="connsiteY980" fmla="*/ 283392 h 514459"/>
                    <a:gd name="connsiteX981" fmla="*/ 971860 w 1098255"/>
                    <a:gd name="connsiteY981" fmla="*/ 293871 h 514459"/>
                    <a:gd name="connsiteX982" fmla="*/ 978648 w 1098255"/>
                    <a:gd name="connsiteY982" fmla="*/ 301218 h 514459"/>
                    <a:gd name="connsiteX983" fmla="*/ 980166 w 1098255"/>
                    <a:gd name="connsiteY983" fmla="*/ 302857 h 514459"/>
                    <a:gd name="connsiteX984" fmla="*/ 982400 w 1098255"/>
                    <a:gd name="connsiteY984" fmla="*/ 303112 h 514459"/>
                    <a:gd name="connsiteX985" fmla="*/ 991944 w 1098255"/>
                    <a:gd name="connsiteY985" fmla="*/ 304241 h 514459"/>
                    <a:gd name="connsiteX986" fmla="*/ 998125 w 1098255"/>
                    <a:gd name="connsiteY986" fmla="*/ 305905 h 514459"/>
                    <a:gd name="connsiteX987" fmla="*/ 1002302 w 1098255"/>
                    <a:gd name="connsiteY987" fmla="*/ 312268 h 514459"/>
                    <a:gd name="connsiteX988" fmla="*/ 1003784 w 1098255"/>
                    <a:gd name="connsiteY988" fmla="*/ 314539 h 514459"/>
                    <a:gd name="connsiteX989" fmla="*/ 1006467 w 1098255"/>
                    <a:gd name="connsiteY989" fmla="*/ 314951 h 514459"/>
                    <a:gd name="connsiteX990" fmla="*/ 1020978 w 1098255"/>
                    <a:gd name="connsiteY990" fmla="*/ 317173 h 514459"/>
                    <a:gd name="connsiteX991" fmla="*/ 1033364 w 1098255"/>
                    <a:gd name="connsiteY991" fmla="*/ 323354 h 514459"/>
                    <a:gd name="connsiteX992" fmla="*/ 1033364 w 1098255"/>
                    <a:gd name="connsiteY992" fmla="*/ 324350 h 514459"/>
                    <a:gd name="connsiteX993" fmla="*/ 1033364 w 1098255"/>
                    <a:gd name="connsiteY993" fmla="*/ 333603 h 514459"/>
                    <a:gd name="connsiteX994" fmla="*/ 1041852 w 1098255"/>
                    <a:gd name="connsiteY994" fmla="*/ 329911 h 514459"/>
                    <a:gd name="connsiteX995" fmla="*/ 1055379 w 1098255"/>
                    <a:gd name="connsiteY995" fmla="*/ 324034 h 514459"/>
                    <a:gd name="connsiteX996" fmla="*/ 1056229 w 1098255"/>
                    <a:gd name="connsiteY996" fmla="*/ 323670 h 514459"/>
                    <a:gd name="connsiteX997" fmla="*/ 1056933 w 1098255"/>
                    <a:gd name="connsiteY997" fmla="*/ 323063 h 514459"/>
                    <a:gd name="connsiteX998" fmla="*/ 1062155 w 1098255"/>
                    <a:gd name="connsiteY998" fmla="*/ 318558 h 514459"/>
                    <a:gd name="connsiteX999" fmla="*/ 1062410 w 1098255"/>
                    <a:gd name="connsiteY999" fmla="*/ 318327 h 514459"/>
                    <a:gd name="connsiteX1000" fmla="*/ 1062653 w 1098255"/>
                    <a:gd name="connsiteY1000" fmla="*/ 318072 h 514459"/>
                    <a:gd name="connsiteX1001" fmla="*/ 1065628 w 1098255"/>
                    <a:gd name="connsiteY1001" fmla="*/ 314830 h 514459"/>
                    <a:gd name="connsiteX1002" fmla="*/ 1065858 w 1098255"/>
                    <a:gd name="connsiteY1002" fmla="*/ 314587 h 514459"/>
                    <a:gd name="connsiteX1003" fmla="*/ 1066065 w 1098255"/>
                    <a:gd name="connsiteY1003" fmla="*/ 314320 h 514459"/>
                    <a:gd name="connsiteX1004" fmla="*/ 1068141 w 1098255"/>
                    <a:gd name="connsiteY1004" fmla="*/ 311503 h 514459"/>
                    <a:gd name="connsiteX1005" fmla="*/ 1069270 w 1098255"/>
                    <a:gd name="connsiteY1005" fmla="*/ 310459 h 514459"/>
                    <a:gd name="connsiteX1006" fmla="*/ 1071299 w 1098255"/>
                    <a:gd name="connsiteY1006" fmla="*/ 309487 h 514459"/>
                    <a:gd name="connsiteX1007" fmla="*/ 1072124 w 1098255"/>
                    <a:gd name="connsiteY1007" fmla="*/ 309293 h 514459"/>
                    <a:gd name="connsiteX1008" fmla="*/ 1072161 w 1098255"/>
                    <a:gd name="connsiteY1008" fmla="*/ 310167 h 514459"/>
                    <a:gd name="connsiteX1009" fmla="*/ 1072853 w 1098255"/>
                    <a:gd name="connsiteY1009" fmla="*/ 311418 h 514459"/>
                    <a:gd name="connsiteX1010" fmla="*/ 1073594 w 1098255"/>
                    <a:gd name="connsiteY1010" fmla="*/ 312790 h 514459"/>
                    <a:gd name="connsiteX1011" fmla="*/ 1076059 w 1098255"/>
                    <a:gd name="connsiteY1011" fmla="*/ 317307 h 514459"/>
                    <a:gd name="connsiteX1012" fmla="*/ 1080904 w 1098255"/>
                    <a:gd name="connsiteY1012" fmla="*/ 315631 h 514459"/>
                    <a:gd name="connsiteX1013" fmla="*/ 1085044 w 1098255"/>
                    <a:gd name="connsiteY1013" fmla="*/ 314199 h 514459"/>
                    <a:gd name="connsiteX1014" fmla="*/ 1085542 w 1098255"/>
                    <a:gd name="connsiteY1014" fmla="*/ 314028 h 514459"/>
                    <a:gd name="connsiteX1015" fmla="*/ 1086004 w 1098255"/>
                    <a:gd name="connsiteY1015" fmla="*/ 313773 h 514459"/>
                    <a:gd name="connsiteX1016" fmla="*/ 1089501 w 1098255"/>
                    <a:gd name="connsiteY1016" fmla="*/ 311843 h 514459"/>
                    <a:gd name="connsiteX1017" fmla="*/ 1090982 w 1098255"/>
                    <a:gd name="connsiteY1017" fmla="*/ 311017 h 514459"/>
                    <a:gd name="connsiteX1018" fmla="*/ 1091832 w 1098255"/>
                    <a:gd name="connsiteY1018" fmla="*/ 309536 h 514459"/>
                    <a:gd name="connsiteX1019" fmla="*/ 1092682 w 1098255"/>
                    <a:gd name="connsiteY1019" fmla="*/ 308042 h 514459"/>
                    <a:gd name="connsiteX1020" fmla="*/ 1093702 w 1098255"/>
                    <a:gd name="connsiteY1020" fmla="*/ 306245 h 514459"/>
                    <a:gd name="connsiteX1021" fmla="*/ 1093423 w 1098255"/>
                    <a:gd name="connsiteY1021" fmla="*/ 304193 h 514459"/>
                    <a:gd name="connsiteX1022" fmla="*/ 1093144 w 1098255"/>
                    <a:gd name="connsiteY1022" fmla="*/ 302153 h 514459"/>
                    <a:gd name="connsiteX1023" fmla="*/ 1093046 w 1098255"/>
                    <a:gd name="connsiteY1023" fmla="*/ 298777 h 514459"/>
                    <a:gd name="connsiteX1024" fmla="*/ 1093471 w 1098255"/>
                    <a:gd name="connsiteY1024" fmla="*/ 297040 h 514459"/>
                    <a:gd name="connsiteX1025" fmla="*/ 1096252 w 1098255"/>
                    <a:gd name="connsiteY1025" fmla="*/ 291892 h 514459"/>
                    <a:gd name="connsiteX1026" fmla="*/ 1096495 w 1098255"/>
                    <a:gd name="connsiteY1026" fmla="*/ 291467 h 514459"/>
                    <a:gd name="connsiteX1027" fmla="*/ 1096653 w 1098255"/>
                    <a:gd name="connsiteY1027" fmla="*/ 291005 h 514459"/>
                    <a:gd name="connsiteX1028" fmla="*/ 1097673 w 1098255"/>
                    <a:gd name="connsiteY1028" fmla="*/ 288103 h 514459"/>
                    <a:gd name="connsiteX1029" fmla="*/ 1098256 w 1098255"/>
                    <a:gd name="connsiteY1029" fmla="*/ 286452 h 514459"/>
                    <a:gd name="connsiteX1030" fmla="*/ 1097867 w 1098255"/>
                    <a:gd name="connsiteY1030" fmla="*/ 284740 h 514459"/>
                    <a:gd name="connsiteX1031" fmla="*/ 1096568 w 1098255"/>
                    <a:gd name="connsiteY1031" fmla="*/ 279020 h 514459"/>
                    <a:gd name="connsiteX1032" fmla="*/ 1096191 w 1098255"/>
                    <a:gd name="connsiteY1032" fmla="*/ 277369 h 514459"/>
                    <a:gd name="connsiteX1033" fmla="*/ 1095013 w 1098255"/>
                    <a:gd name="connsiteY1033" fmla="*/ 276155 h 514459"/>
                    <a:gd name="connsiteX1034" fmla="*/ 1086538 w 1098255"/>
                    <a:gd name="connsiteY1034" fmla="*/ 267363 h 514459"/>
                    <a:gd name="connsiteX1035" fmla="*/ 1085251 w 1098255"/>
                    <a:gd name="connsiteY1035" fmla="*/ 264801 h 514459"/>
                    <a:gd name="connsiteX1036" fmla="*/ 1085955 w 1098255"/>
                    <a:gd name="connsiteY1036" fmla="*/ 260587 h 514459"/>
                    <a:gd name="connsiteX1037" fmla="*/ 1091213 w 1098255"/>
                    <a:gd name="connsiteY1037" fmla="*/ 248979 h 514459"/>
                    <a:gd name="connsiteX1038" fmla="*/ 1091978 w 1098255"/>
                    <a:gd name="connsiteY1038" fmla="*/ 247267 h 514459"/>
                    <a:gd name="connsiteX1039" fmla="*/ 1091650 w 1098255"/>
                    <a:gd name="connsiteY1039" fmla="*/ 245421 h 514459"/>
                    <a:gd name="connsiteX1040" fmla="*/ 1090667 w 1098255"/>
                    <a:gd name="connsiteY1040" fmla="*/ 239823 h 514459"/>
                    <a:gd name="connsiteX1041" fmla="*/ 1090144 w 1098255"/>
                    <a:gd name="connsiteY1041" fmla="*/ 236860 h 514459"/>
                    <a:gd name="connsiteX1042" fmla="*/ 1087473 w 1098255"/>
                    <a:gd name="connsiteY1042" fmla="*/ 235488 h 514459"/>
                    <a:gd name="connsiteX1043" fmla="*/ 1080819 w 1098255"/>
                    <a:gd name="connsiteY1043" fmla="*/ 232039 h 514459"/>
                    <a:gd name="connsiteX1044" fmla="*/ 1071189 w 1098255"/>
                    <a:gd name="connsiteY1044" fmla="*/ 224741 h 514459"/>
                    <a:gd name="connsiteX1045" fmla="*/ 1070679 w 1098255"/>
                    <a:gd name="connsiteY1045" fmla="*/ 224207 h 514459"/>
                    <a:gd name="connsiteX1046" fmla="*/ 1069173 w 1098255"/>
                    <a:gd name="connsiteY1046" fmla="*/ 220297 h 514459"/>
                    <a:gd name="connsiteX1047" fmla="*/ 1068299 w 1098255"/>
                    <a:gd name="connsiteY1047" fmla="*/ 218051 h 514459"/>
                    <a:gd name="connsiteX1048" fmla="*/ 1066125 w 1098255"/>
                    <a:gd name="connsiteY1048" fmla="*/ 217019 h 514459"/>
                    <a:gd name="connsiteX1049" fmla="*/ 1064681 w 1098255"/>
                    <a:gd name="connsiteY1049" fmla="*/ 216326 h 514459"/>
                    <a:gd name="connsiteX1050" fmla="*/ 1063405 w 1098255"/>
                    <a:gd name="connsiteY1050" fmla="*/ 215707 h 514459"/>
                    <a:gd name="connsiteX1051" fmla="*/ 1061985 w 1098255"/>
                    <a:gd name="connsiteY1051" fmla="*/ 215719 h 514459"/>
                    <a:gd name="connsiteX1052" fmla="*/ 1061402 w 1098255"/>
                    <a:gd name="connsiteY1052" fmla="*/ 215719 h 514459"/>
                    <a:gd name="connsiteX1053" fmla="*/ 1049575 w 1098255"/>
                    <a:gd name="connsiteY1053" fmla="*/ 205920 h 514459"/>
                    <a:gd name="connsiteX1054" fmla="*/ 1048518 w 1098255"/>
                    <a:gd name="connsiteY1054" fmla="*/ 205046 h 514459"/>
                    <a:gd name="connsiteX1055" fmla="*/ 1047182 w 1098255"/>
                    <a:gd name="connsiteY1055" fmla="*/ 204706 h 514459"/>
                    <a:gd name="connsiteX1056" fmla="*/ 1040249 w 1098255"/>
                    <a:gd name="connsiteY1056" fmla="*/ 202957 h 514459"/>
                    <a:gd name="connsiteX1057" fmla="*/ 1038245 w 1098255"/>
                    <a:gd name="connsiteY1057" fmla="*/ 202447 h 514459"/>
                    <a:gd name="connsiteX1058" fmla="*/ 1036290 w 1098255"/>
                    <a:gd name="connsiteY1058" fmla="*/ 203212 h 514459"/>
                    <a:gd name="connsiteX1059" fmla="*/ 1027778 w 1098255"/>
                    <a:gd name="connsiteY1059" fmla="*/ 206916 h 514459"/>
                    <a:gd name="connsiteX1060" fmla="*/ 1027414 w 1098255"/>
                    <a:gd name="connsiteY1060" fmla="*/ 207073 h 514459"/>
                    <a:gd name="connsiteX1061" fmla="*/ 1027062 w 1098255"/>
                    <a:gd name="connsiteY1061" fmla="*/ 207280 h 514459"/>
                    <a:gd name="connsiteX1062" fmla="*/ 1021209 w 1098255"/>
                    <a:gd name="connsiteY1062" fmla="*/ 210826 h 514459"/>
                    <a:gd name="connsiteX1063" fmla="*/ 1017530 w 1098255"/>
                    <a:gd name="connsiteY1063" fmla="*/ 211664 h 514459"/>
                    <a:gd name="connsiteX1064" fmla="*/ 1013729 w 1098255"/>
                    <a:gd name="connsiteY1064" fmla="*/ 210862 h 514459"/>
                    <a:gd name="connsiteX1065" fmla="*/ 1010365 w 1098255"/>
                    <a:gd name="connsiteY1065" fmla="*/ 209028 h 514459"/>
                    <a:gd name="connsiteX1066" fmla="*/ 1008410 w 1098255"/>
                    <a:gd name="connsiteY1066" fmla="*/ 197068 h 514459"/>
                    <a:gd name="connsiteX1067" fmla="*/ 1008155 w 1098255"/>
                    <a:gd name="connsiteY1067" fmla="*/ 195441 h 514459"/>
                    <a:gd name="connsiteX1068" fmla="*/ 1007099 w 1098255"/>
                    <a:gd name="connsiteY1068" fmla="*/ 194178 h 514459"/>
                    <a:gd name="connsiteX1069" fmla="*/ 998599 w 1098255"/>
                    <a:gd name="connsiteY1069" fmla="*/ 183929 h 514459"/>
                    <a:gd name="connsiteX1070" fmla="*/ 997967 w 1098255"/>
                    <a:gd name="connsiteY1070" fmla="*/ 183176 h 514459"/>
                    <a:gd name="connsiteX1071" fmla="*/ 997129 w 1098255"/>
                    <a:gd name="connsiteY1071" fmla="*/ 182654 h 514459"/>
                    <a:gd name="connsiteX1072" fmla="*/ 984634 w 1098255"/>
                    <a:gd name="connsiteY1072" fmla="*/ 174907 h 514459"/>
                    <a:gd name="connsiteX1073" fmla="*/ 971994 w 1098255"/>
                    <a:gd name="connsiteY1073" fmla="*/ 161173 h 514459"/>
                    <a:gd name="connsiteX1074" fmla="*/ 970767 w 1098255"/>
                    <a:gd name="connsiteY1074" fmla="*/ 159837 h 514459"/>
                    <a:gd name="connsiteX1075" fmla="*/ 969006 w 1098255"/>
                    <a:gd name="connsiteY1075" fmla="*/ 159400 h 514459"/>
                    <a:gd name="connsiteX1076" fmla="*/ 952953 w 1098255"/>
                    <a:gd name="connsiteY1076" fmla="*/ 155320 h 514459"/>
                    <a:gd name="connsiteX1077" fmla="*/ 950780 w 1098255"/>
                    <a:gd name="connsiteY1077" fmla="*/ 154774 h 514459"/>
                    <a:gd name="connsiteX1078" fmla="*/ 948776 w 1098255"/>
                    <a:gd name="connsiteY1078" fmla="*/ 155757 h 514459"/>
                    <a:gd name="connsiteX1079" fmla="*/ 938382 w 1098255"/>
                    <a:gd name="connsiteY1079" fmla="*/ 160870 h 514459"/>
                    <a:gd name="connsiteX1080" fmla="*/ 936658 w 1098255"/>
                    <a:gd name="connsiteY1080" fmla="*/ 161720 h 514459"/>
                    <a:gd name="connsiteX1081" fmla="*/ 935735 w 1098255"/>
                    <a:gd name="connsiteY1081" fmla="*/ 163395 h 514459"/>
                    <a:gd name="connsiteX1082" fmla="*/ 930100 w 1098255"/>
                    <a:gd name="connsiteY1082" fmla="*/ 173644 h 514459"/>
                    <a:gd name="connsiteX1083" fmla="*/ 929663 w 1098255"/>
                    <a:gd name="connsiteY1083" fmla="*/ 174445 h 514459"/>
                    <a:gd name="connsiteX1084" fmla="*/ 929469 w 1098255"/>
                    <a:gd name="connsiteY1084" fmla="*/ 175344 h 514459"/>
                    <a:gd name="connsiteX1085" fmla="*/ 928097 w 1098255"/>
                    <a:gd name="connsiteY1085" fmla="*/ 182108 h 514459"/>
                    <a:gd name="connsiteX1086" fmla="*/ 927283 w 1098255"/>
                    <a:gd name="connsiteY1086" fmla="*/ 181355 h 514459"/>
                    <a:gd name="connsiteX1087" fmla="*/ 924843 w 1098255"/>
                    <a:gd name="connsiteY1087" fmla="*/ 179072 h 514459"/>
                    <a:gd name="connsiteX1088" fmla="*/ 928765 w 1098255"/>
                    <a:gd name="connsiteY1088" fmla="*/ 174263 h 514459"/>
                    <a:gd name="connsiteX1089" fmla="*/ 931509 w 1098255"/>
                    <a:gd name="connsiteY1089" fmla="*/ 170912 h 514459"/>
                    <a:gd name="connsiteX1090" fmla="*/ 929226 w 1098255"/>
                    <a:gd name="connsiteY1090" fmla="*/ 167232 h 514459"/>
                    <a:gd name="connsiteX1091" fmla="*/ 926664 w 1098255"/>
                    <a:gd name="connsiteY1091" fmla="*/ 163104 h 514459"/>
                    <a:gd name="connsiteX1092" fmla="*/ 933561 w 1098255"/>
                    <a:gd name="connsiteY1092" fmla="*/ 159388 h 514459"/>
                    <a:gd name="connsiteX1093" fmla="*/ 933938 w 1098255"/>
                    <a:gd name="connsiteY1093" fmla="*/ 159182 h 514459"/>
                    <a:gd name="connsiteX1094" fmla="*/ 934290 w 1098255"/>
                    <a:gd name="connsiteY1094" fmla="*/ 158927 h 514459"/>
                    <a:gd name="connsiteX1095" fmla="*/ 952249 w 1098255"/>
                    <a:gd name="connsiteY1095" fmla="*/ 145606 h 514459"/>
                    <a:gd name="connsiteX1096" fmla="*/ 955030 w 1098255"/>
                    <a:gd name="connsiteY1096" fmla="*/ 143542 h 514459"/>
                    <a:gd name="connsiteX1097" fmla="*/ 954666 w 1098255"/>
                    <a:gd name="connsiteY1097" fmla="*/ 140093 h 514459"/>
                    <a:gd name="connsiteX1098" fmla="*/ 953633 w 1098255"/>
                    <a:gd name="connsiteY1098" fmla="*/ 130306 h 514459"/>
                    <a:gd name="connsiteX1099" fmla="*/ 953573 w 1098255"/>
                    <a:gd name="connsiteY1099" fmla="*/ 129772 h 514459"/>
                    <a:gd name="connsiteX1100" fmla="*/ 953427 w 1098255"/>
                    <a:gd name="connsiteY1100" fmla="*/ 129261 h 514459"/>
                    <a:gd name="connsiteX1101" fmla="*/ 950440 w 1098255"/>
                    <a:gd name="connsiteY1101" fmla="*/ 118952 h 514459"/>
                    <a:gd name="connsiteX1102" fmla="*/ 950063 w 1098255"/>
                    <a:gd name="connsiteY1102" fmla="*/ 117665 h 514459"/>
                    <a:gd name="connsiteX1103" fmla="*/ 949189 w 1098255"/>
                    <a:gd name="connsiteY1103" fmla="*/ 116657 h 514459"/>
                    <a:gd name="connsiteX1104" fmla="*/ 939657 w 1098255"/>
                    <a:gd name="connsiteY1104" fmla="*/ 105741 h 514459"/>
                    <a:gd name="connsiteX1105" fmla="*/ 938005 w 1098255"/>
                    <a:gd name="connsiteY1105" fmla="*/ 102778 h 514459"/>
                    <a:gd name="connsiteX1106" fmla="*/ 936232 w 1098255"/>
                    <a:gd name="connsiteY1106" fmla="*/ 94727 h 514459"/>
                    <a:gd name="connsiteX1107" fmla="*/ 936123 w 1098255"/>
                    <a:gd name="connsiteY1107" fmla="*/ 94217 h 514459"/>
                    <a:gd name="connsiteX1108" fmla="*/ 935917 w 1098255"/>
                    <a:gd name="connsiteY1108" fmla="*/ 93731 h 514459"/>
                    <a:gd name="connsiteX1109" fmla="*/ 934363 w 1098255"/>
                    <a:gd name="connsiteY1109" fmla="*/ 89906 h 514459"/>
                    <a:gd name="connsiteX1110" fmla="*/ 933828 w 1098255"/>
                    <a:gd name="connsiteY1110" fmla="*/ 88570 h 514459"/>
                    <a:gd name="connsiteX1111" fmla="*/ 932735 w 1098255"/>
                    <a:gd name="connsiteY1111" fmla="*/ 87623 h 514459"/>
                    <a:gd name="connsiteX1112" fmla="*/ 929457 w 1098255"/>
                    <a:gd name="connsiteY1112" fmla="*/ 84758 h 514459"/>
                    <a:gd name="connsiteX1113" fmla="*/ 928400 w 1098255"/>
                    <a:gd name="connsiteY1113" fmla="*/ 83835 h 514459"/>
                    <a:gd name="connsiteX1114" fmla="*/ 930185 w 1098255"/>
                    <a:gd name="connsiteY1114" fmla="*/ 79864 h 514459"/>
                    <a:gd name="connsiteX1115" fmla="*/ 924964 w 1098255"/>
                    <a:gd name="connsiteY1115" fmla="*/ 77253 h 514459"/>
                    <a:gd name="connsiteX1116" fmla="*/ 910477 w 1098255"/>
                    <a:gd name="connsiteY1116" fmla="*/ 69980 h 514459"/>
                    <a:gd name="connsiteX1117" fmla="*/ 908231 w 1098255"/>
                    <a:gd name="connsiteY1117" fmla="*/ 60302 h 514459"/>
                    <a:gd name="connsiteX1118" fmla="*/ 906749 w 1098255"/>
                    <a:gd name="connsiteY1118" fmla="*/ 53927 h 514459"/>
                    <a:gd name="connsiteX1119" fmla="*/ 900496 w 1098255"/>
                    <a:gd name="connsiteY1119" fmla="*/ 55882 h 514459"/>
                    <a:gd name="connsiteX1120" fmla="*/ 887272 w 1098255"/>
                    <a:gd name="connsiteY1120" fmla="*/ 60010 h 514459"/>
                    <a:gd name="connsiteX1121" fmla="*/ 886495 w 1098255"/>
                    <a:gd name="connsiteY1121" fmla="*/ 60253 h 514459"/>
                    <a:gd name="connsiteX1122" fmla="*/ 885803 w 1098255"/>
                    <a:gd name="connsiteY1122" fmla="*/ 60702 h 514459"/>
                    <a:gd name="connsiteX1123" fmla="*/ 877036 w 1098255"/>
                    <a:gd name="connsiteY1123" fmla="*/ 66325 h 514459"/>
                    <a:gd name="connsiteX1124" fmla="*/ 875615 w 1098255"/>
                    <a:gd name="connsiteY1124" fmla="*/ 60241 h 514459"/>
                    <a:gd name="connsiteX1125" fmla="*/ 875991 w 1098255"/>
                    <a:gd name="connsiteY1125" fmla="*/ 59537 h 514459"/>
                    <a:gd name="connsiteX1126" fmla="*/ 876926 w 1098255"/>
                    <a:gd name="connsiteY1126" fmla="*/ 58213 h 514459"/>
                    <a:gd name="connsiteX1127" fmla="*/ 878189 w 1098255"/>
                    <a:gd name="connsiteY1127" fmla="*/ 57485 h 514459"/>
                    <a:gd name="connsiteX1128" fmla="*/ 897326 w 1098255"/>
                    <a:gd name="connsiteY1128" fmla="*/ 52372 h 514459"/>
                    <a:gd name="connsiteX1129" fmla="*/ 898650 w 1098255"/>
                    <a:gd name="connsiteY1129" fmla="*/ 52020 h 514459"/>
                    <a:gd name="connsiteX1130" fmla="*/ 899707 w 1098255"/>
                    <a:gd name="connsiteY1130" fmla="*/ 51134 h 514459"/>
                    <a:gd name="connsiteX1131" fmla="*/ 901783 w 1098255"/>
                    <a:gd name="connsiteY1131" fmla="*/ 49361 h 514459"/>
                    <a:gd name="connsiteX1132" fmla="*/ 902803 w 1098255"/>
                    <a:gd name="connsiteY1132" fmla="*/ 48487 h 514459"/>
                    <a:gd name="connsiteX1133" fmla="*/ 903362 w 1098255"/>
                    <a:gd name="connsiteY1133" fmla="*/ 47260 h 514459"/>
                    <a:gd name="connsiteX1134" fmla="*/ 905972 w 1098255"/>
                    <a:gd name="connsiteY1134" fmla="*/ 41553 h 514459"/>
                    <a:gd name="connsiteX1135" fmla="*/ 910271 w 1098255"/>
                    <a:gd name="connsiteY1135" fmla="*/ 35093 h 514459"/>
                    <a:gd name="connsiteX1136" fmla="*/ 911364 w 1098255"/>
                    <a:gd name="connsiteY1136" fmla="*/ 33466 h 514459"/>
                    <a:gd name="connsiteX1137" fmla="*/ 911291 w 1098255"/>
                    <a:gd name="connsiteY1137" fmla="*/ 31511 h 514459"/>
                    <a:gd name="connsiteX1138" fmla="*/ 911194 w 1098255"/>
                    <a:gd name="connsiteY1138" fmla="*/ 28839 h 514459"/>
                    <a:gd name="connsiteX1139" fmla="*/ 911109 w 1098255"/>
                    <a:gd name="connsiteY1139" fmla="*/ 26642 h 514459"/>
                    <a:gd name="connsiteX1140" fmla="*/ 909639 w 1098255"/>
                    <a:gd name="connsiteY1140" fmla="*/ 25002 h 514459"/>
                    <a:gd name="connsiteX1141" fmla="*/ 906531 w 1098255"/>
                    <a:gd name="connsiteY1141" fmla="*/ 21529 h 514459"/>
                    <a:gd name="connsiteX1142" fmla="*/ 905717 w 1098255"/>
                    <a:gd name="connsiteY1142" fmla="*/ 20606 h 514459"/>
                    <a:gd name="connsiteX1143" fmla="*/ 904600 w 1098255"/>
                    <a:gd name="connsiteY1143" fmla="*/ 20084 h 514459"/>
                    <a:gd name="connsiteX1144" fmla="*/ 902196 w 1098255"/>
                    <a:gd name="connsiteY1144" fmla="*/ 18955 h 514459"/>
                    <a:gd name="connsiteX1145" fmla="*/ 899889 w 1098255"/>
                    <a:gd name="connsiteY1145" fmla="*/ 17874 h 514459"/>
                    <a:gd name="connsiteX1146" fmla="*/ 897509 w 1098255"/>
                    <a:gd name="connsiteY1146" fmla="*/ 18761 h 514459"/>
                    <a:gd name="connsiteX1147" fmla="*/ 894922 w 1098255"/>
                    <a:gd name="connsiteY1147" fmla="*/ 19720 h 514459"/>
                    <a:gd name="connsiteX1148" fmla="*/ 894024 w 1098255"/>
                    <a:gd name="connsiteY1148" fmla="*/ 20060 h 514459"/>
                    <a:gd name="connsiteX1149" fmla="*/ 893271 w 1098255"/>
                    <a:gd name="connsiteY1149" fmla="*/ 20655 h 514459"/>
                    <a:gd name="connsiteX1150" fmla="*/ 890041 w 1098255"/>
                    <a:gd name="connsiteY1150" fmla="*/ 23217 h 514459"/>
                    <a:gd name="connsiteX1151" fmla="*/ 884953 w 1098255"/>
                    <a:gd name="connsiteY1151" fmla="*/ 26180 h 514459"/>
                    <a:gd name="connsiteX1152" fmla="*/ 882111 w 1098255"/>
                    <a:gd name="connsiteY1152" fmla="*/ 26229 h 514459"/>
                    <a:gd name="connsiteX1153" fmla="*/ 878772 w 1098255"/>
                    <a:gd name="connsiteY1153" fmla="*/ 24322 h 514459"/>
                    <a:gd name="connsiteX1154" fmla="*/ 874461 w 1098255"/>
                    <a:gd name="connsiteY1154" fmla="*/ 19538 h 514459"/>
                    <a:gd name="connsiteX1155" fmla="*/ 873259 w 1098255"/>
                    <a:gd name="connsiteY1155" fmla="*/ 17364 h 514459"/>
                    <a:gd name="connsiteX1156" fmla="*/ 870624 w 1098255"/>
                    <a:gd name="connsiteY1156" fmla="*/ 7650 h 514459"/>
                    <a:gd name="connsiteX1157" fmla="*/ 870406 w 1098255"/>
                    <a:gd name="connsiteY1157" fmla="*/ 6873 h 514459"/>
                    <a:gd name="connsiteX1158" fmla="*/ 870005 w 1098255"/>
                    <a:gd name="connsiteY1158" fmla="*/ 6169 h 514459"/>
                    <a:gd name="connsiteX1159" fmla="*/ 868281 w 1098255"/>
                    <a:gd name="connsiteY1159" fmla="*/ 3242 h 514459"/>
                    <a:gd name="connsiteX1160" fmla="*/ 866532 w 1098255"/>
                    <a:gd name="connsiteY1160" fmla="*/ 291 h 514459"/>
                    <a:gd name="connsiteX1161" fmla="*/ 863120 w 1098255"/>
                    <a:gd name="connsiteY1161" fmla="*/ 243 h 514459"/>
                    <a:gd name="connsiteX1162" fmla="*/ 850491 w 1098255"/>
                    <a:gd name="connsiteY1162" fmla="*/ 73 h 514459"/>
                    <a:gd name="connsiteX1163" fmla="*/ 850188 w 1098255"/>
                    <a:gd name="connsiteY1163" fmla="*/ 0 h 514459"/>
                    <a:gd name="connsiteX1164" fmla="*/ 850188 w 1098255"/>
                    <a:gd name="connsiteY1164" fmla="*/ 0 h 514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Lst>
                  <a:rect l="l" t="t" r="r" b="b"/>
                  <a:pathLst>
                    <a:path w="1098255" h="514459">
                      <a:moveTo>
                        <a:pt x="850430" y="6084"/>
                      </a:moveTo>
                      <a:lnTo>
                        <a:pt x="863059" y="6254"/>
                      </a:lnTo>
                      <a:lnTo>
                        <a:pt x="864783" y="9180"/>
                      </a:lnTo>
                      <a:lnTo>
                        <a:pt x="867601" y="19599"/>
                      </a:lnTo>
                      <a:lnTo>
                        <a:pt x="869483" y="23023"/>
                      </a:lnTo>
                      <a:lnTo>
                        <a:pt x="874923" y="29046"/>
                      </a:lnTo>
                      <a:lnTo>
                        <a:pt x="880557" y="32264"/>
                      </a:lnTo>
                      <a:lnTo>
                        <a:pt x="886653" y="32154"/>
                      </a:lnTo>
                      <a:lnTo>
                        <a:pt x="893477" y="28184"/>
                      </a:lnTo>
                      <a:lnTo>
                        <a:pt x="897047" y="25354"/>
                      </a:lnTo>
                      <a:lnTo>
                        <a:pt x="899634" y="24395"/>
                      </a:lnTo>
                      <a:lnTo>
                        <a:pt x="902038" y="25524"/>
                      </a:lnTo>
                      <a:lnTo>
                        <a:pt x="905147" y="28997"/>
                      </a:lnTo>
                      <a:lnTo>
                        <a:pt x="905244" y="31669"/>
                      </a:lnTo>
                      <a:lnTo>
                        <a:pt x="900666" y="38529"/>
                      </a:lnTo>
                      <a:lnTo>
                        <a:pt x="897861" y="44674"/>
                      </a:lnTo>
                      <a:lnTo>
                        <a:pt x="895784" y="46447"/>
                      </a:lnTo>
                      <a:lnTo>
                        <a:pt x="875858" y="51765"/>
                      </a:lnTo>
                      <a:lnTo>
                        <a:pt x="872761" y="53562"/>
                      </a:lnTo>
                      <a:lnTo>
                        <a:pt x="870855" y="56258"/>
                      </a:lnTo>
                      <a:lnTo>
                        <a:pt x="869191" y="59306"/>
                      </a:lnTo>
                      <a:lnTo>
                        <a:pt x="873101" y="76027"/>
                      </a:lnTo>
                      <a:lnTo>
                        <a:pt x="889094" y="65742"/>
                      </a:lnTo>
                      <a:lnTo>
                        <a:pt x="902317" y="61613"/>
                      </a:lnTo>
                      <a:lnTo>
                        <a:pt x="905195" y="74072"/>
                      </a:lnTo>
                      <a:lnTo>
                        <a:pt x="922244" y="82621"/>
                      </a:lnTo>
                      <a:lnTo>
                        <a:pt x="921017" y="85328"/>
                      </a:lnTo>
                      <a:lnTo>
                        <a:pt x="921199" y="87563"/>
                      </a:lnTo>
                      <a:lnTo>
                        <a:pt x="922693" y="88996"/>
                      </a:lnTo>
                      <a:lnTo>
                        <a:pt x="925450" y="89263"/>
                      </a:lnTo>
                      <a:lnTo>
                        <a:pt x="928728" y="92128"/>
                      </a:lnTo>
                      <a:lnTo>
                        <a:pt x="930283" y="95953"/>
                      </a:lnTo>
                      <a:lnTo>
                        <a:pt x="932237" y="104878"/>
                      </a:lnTo>
                      <a:lnTo>
                        <a:pt x="934630" y="109177"/>
                      </a:lnTo>
                      <a:lnTo>
                        <a:pt x="944575" y="120579"/>
                      </a:lnTo>
                      <a:lnTo>
                        <a:pt x="947562" y="130889"/>
                      </a:lnTo>
                      <a:lnTo>
                        <a:pt x="948594" y="140676"/>
                      </a:lnTo>
                      <a:lnTo>
                        <a:pt x="930635" y="153997"/>
                      </a:lnTo>
                      <a:lnTo>
                        <a:pt x="918054" y="160772"/>
                      </a:lnTo>
                      <a:lnTo>
                        <a:pt x="924017" y="170390"/>
                      </a:lnTo>
                      <a:lnTo>
                        <a:pt x="916500" y="179606"/>
                      </a:lnTo>
                      <a:lnTo>
                        <a:pt x="923106" y="185763"/>
                      </a:lnTo>
                      <a:lnTo>
                        <a:pt x="929311" y="199363"/>
                      </a:lnTo>
                      <a:lnTo>
                        <a:pt x="932529" y="197869"/>
                      </a:lnTo>
                      <a:lnTo>
                        <a:pt x="933512" y="185763"/>
                      </a:lnTo>
                      <a:lnTo>
                        <a:pt x="935395" y="176534"/>
                      </a:lnTo>
                      <a:lnTo>
                        <a:pt x="941029" y="166285"/>
                      </a:lnTo>
                      <a:lnTo>
                        <a:pt x="951423" y="161173"/>
                      </a:lnTo>
                      <a:lnTo>
                        <a:pt x="967476" y="165253"/>
                      </a:lnTo>
                      <a:lnTo>
                        <a:pt x="980688" y="179606"/>
                      </a:lnTo>
                      <a:lnTo>
                        <a:pt x="993887" y="187790"/>
                      </a:lnTo>
                      <a:lnTo>
                        <a:pt x="1002387" y="198039"/>
                      </a:lnTo>
                      <a:lnTo>
                        <a:pt x="1004816" y="212939"/>
                      </a:lnTo>
                      <a:lnTo>
                        <a:pt x="1011580" y="216618"/>
                      </a:lnTo>
                      <a:lnTo>
                        <a:pt x="1017554" y="217881"/>
                      </a:lnTo>
                      <a:lnTo>
                        <a:pt x="1023479" y="216533"/>
                      </a:lnTo>
                      <a:lnTo>
                        <a:pt x="1030182" y="212489"/>
                      </a:lnTo>
                      <a:lnTo>
                        <a:pt x="1038694" y="208786"/>
                      </a:lnTo>
                      <a:lnTo>
                        <a:pt x="1045628" y="210534"/>
                      </a:lnTo>
                      <a:lnTo>
                        <a:pt x="1058269" y="221013"/>
                      </a:lnTo>
                      <a:lnTo>
                        <a:pt x="1060224" y="221754"/>
                      </a:lnTo>
                      <a:lnTo>
                        <a:pt x="1061997" y="221730"/>
                      </a:lnTo>
                      <a:lnTo>
                        <a:pt x="1063442" y="222422"/>
                      </a:lnTo>
                      <a:lnTo>
                        <a:pt x="1065385" y="227449"/>
                      </a:lnTo>
                      <a:lnTo>
                        <a:pt x="1067061" y="229222"/>
                      </a:lnTo>
                      <a:lnTo>
                        <a:pt x="1077503" y="237139"/>
                      </a:lnTo>
                      <a:lnTo>
                        <a:pt x="1084619" y="240819"/>
                      </a:lnTo>
                      <a:lnTo>
                        <a:pt x="1085603" y="246417"/>
                      </a:lnTo>
                      <a:lnTo>
                        <a:pt x="1080029" y="258742"/>
                      </a:lnTo>
                      <a:lnTo>
                        <a:pt x="1078876" y="265687"/>
                      </a:lnTo>
                      <a:lnTo>
                        <a:pt x="1081462" y="270848"/>
                      </a:lnTo>
                      <a:lnTo>
                        <a:pt x="1090594" y="280295"/>
                      </a:lnTo>
                      <a:lnTo>
                        <a:pt x="1091893" y="286015"/>
                      </a:lnTo>
                      <a:lnTo>
                        <a:pt x="1090873" y="288917"/>
                      </a:lnTo>
                      <a:lnTo>
                        <a:pt x="1087716" y="294745"/>
                      </a:lnTo>
                      <a:lnTo>
                        <a:pt x="1086902" y="298036"/>
                      </a:lnTo>
                      <a:lnTo>
                        <a:pt x="1087036" y="302578"/>
                      </a:lnTo>
                      <a:lnTo>
                        <a:pt x="1087364" y="304958"/>
                      </a:lnTo>
                      <a:lnTo>
                        <a:pt x="1086514" y="306451"/>
                      </a:lnTo>
                      <a:lnTo>
                        <a:pt x="1083017" y="308382"/>
                      </a:lnTo>
                      <a:lnTo>
                        <a:pt x="1078876" y="309815"/>
                      </a:lnTo>
                      <a:lnTo>
                        <a:pt x="1078123" y="308443"/>
                      </a:lnTo>
                      <a:lnTo>
                        <a:pt x="1078013" y="305698"/>
                      </a:lnTo>
                      <a:lnTo>
                        <a:pt x="1075755" y="303148"/>
                      </a:lnTo>
                      <a:lnTo>
                        <a:pt x="1072841" y="302808"/>
                      </a:lnTo>
                      <a:lnTo>
                        <a:pt x="1069210" y="303671"/>
                      </a:lnTo>
                      <a:lnTo>
                        <a:pt x="1065773" y="305310"/>
                      </a:lnTo>
                      <a:lnTo>
                        <a:pt x="1063527" y="307374"/>
                      </a:lnTo>
                      <a:lnTo>
                        <a:pt x="1061110" y="310677"/>
                      </a:lnTo>
                      <a:lnTo>
                        <a:pt x="1058135" y="313919"/>
                      </a:lnTo>
                      <a:lnTo>
                        <a:pt x="1052914" y="318424"/>
                      </a:lnTo>
                      <a:lnTo>
                        <a:pt x="1039387" y="324301"/>
                      </a:lnTo>
                      <a:lnTo>
                        <a:pt x="1039387" y="319553"/>
                      </a:lnTo>
                      <a:lnTo>
                        <a:pt x="1022799" y="311272"/>
                      </a:lnTo>
                      <a:lnTo>
                        <a:pt x="1007341" y="308904"/>
                      </a:lnTo>
                      <a:lnTo>
                        <a:pt x="1001914" y="300611"/>
                      </a:lnTo>
                      <a:lnTo>
                        <a:pt x="993061" y="298231"/>
                      </a:lnTo>
                      <a:lnTo>
                        <a:pt x="983080" y="297053"/>
                      </a:lnTo>
                      <a:lnTo>
                        <a:pt x="976486" y="289937"/>
                      </a:lnTo>
                      <a:lnTo>
                        <a:pt x="966566" y="278097"/>
                      </a:lnTo>
                      <a:lnTo>
                        <a:pt x="958867" y="275705"/>
                      </a:lnTo>
                      <a:lnTo>
                        <a:pt x="952237" y="270957"/>
                      </a:lnTo>
                      <a:lnTo>
                        <a:pt x="942377" y="261449"/>
                      </a:lnTo>
                      <a:lnTo>
                        <a:pt x="935735" y="255536"/>
                      </a:lnTo>
                      <a:lnTo>
                        <a:pt x="930197" y="257867"/>
                      </a:lnTo>
                      <a:lnTo>
                        <a:pt x="929105" y="263829"/>
                      </a:lnTo>
                      <a:lnTo>
                        <a:pt x="922475" y="265044"/>
                      </a:lnTo>
                      <a:lnTo>
                        <a:pt x="911534" y="260272"/>
                      </a:lnTo>
                      <a:lnTo>
                        <a:pt x="907090" y="261729"/>
                      </a:lnTo>
                      <a:lnTo>
                        <a:pt x="901564" y="270302"/>
                      </a:lnTo>
                      <a:lnTo>
                        <a:pt x="893890" y="269136"/>
                      </a:lnTo>
                      <a:lnTo>
                        <a:pt x="886167" y="273872"/>
                      </a:lnTo>
                      <a:lnTo>
                        <a:pt x="871705" y="273872"/>
                      </a:lnTo>
                      <a:lnTo>
                        <a:pt x="857425" y="279810"/>
                      </a:lnTo>
                      <a:lnTo>
                        <a:pt x="847492" y="275013"/>
                      </a:lnTo>
                      <a:lnTo>
                        <a:pt x="837559" y="267934"/>
                      </a:lnTo>
                      <a:lnTo>
                        <a:pt x="834232" y="262020"/>
                      </a:lnTo>
                      <a:lnTo>
                        <a:pt x="829897" y="259616"/>
                      </a:lnTo>
                      <a:lnTo>
                        <a:pt x="819915" y="260806"/>
                      </a:lnTo>
                      <a:lnTo>
                        <a:pt x="793504" y="271504"/>
                      </a:lnTo>
                      <a:lnTo>
                        <a:pt x="762661" y="284558"/>
                      </a:lnTo>
                      <a:lnTo>
                        <a:pt x="741739" y="290459"/>
                      </a:lnTo>
                      <a:lnTo>
                        <a:pt x="725188" y="297611"/>
                      </a:lnTo>
                      <a:lnTo>
                        <a:pt x="722966" y="305917"/>
                      </a:lnTo>
                      <a:lnTo>
                        <a:pt x="722966" y="315388"/>
                      </a:lnTo>
                      <a:lnTo>
                        <a:pt x="719676" y="324896"/>
                      </a:lnTo>
                      <a:lnTo>
                        <a:pt x="715195" y="332024"/>
                      </a:lnTo>
                      <a:lnTo>
                        <a:pt x="699797" y="314830"/>
                      </a:lnTo>
                      <a:lnTo>
                        <a:pt x="686549" y="321909"/>
                      </a:lnTo>
                      <a:lnTo>
                        <a:pt x="672269" y="329049"/>
                      </a:lnTo>
                      <a:lnTo>
                        <a:pt x="661244" y="332619"/>
                      </a:lnTo>
                      <a:lnTo>
                        <a:pt x="651724" y="340027"/>
                      </a:lnTo>
                      <a:lnTo>
                        <a:pt x="649101" y="342091"/>
                      </a:lnTo>
                      <a:lnTo>
                        <a:pt x="638609" y="346426"/>
                      </a:lnTo>
                      <a:lnTo>
                        <a:pt x="631505" y="349401"/>
                      </a:lnTo>
                      <a:lnTo>
                        <a:pt x="629223" y="350372"/>
                      </a:lnTo>
                      <a:lnTo>
                        <a:pt x="611603" y="358654"/>
                      </a:lnTo>
                      <a:lnTo>
                        <a:pt x="588835" y="365806"/>
                      </a:lnTo>
                      <a:lnTo>
                        <a:pt x="579995" y="368647"/>
                      </a:lnTo>
                      <a:lnTo>
                        <a:pt x="574106" y="358338"/>
                      </a:lnTo>
                      <a:lnTo>
                        <a:pt x="562048" y="360730"/>
                      </a:lnTo>
                      <a:lnTo>
                        <a:pt x="545473" y="364227"/>
                      </a:lnTo>
                      <a:lnTo>
                        <a:pt x="531047" y="367336"/>
                      </a:lnTo>
                      <a:lnTo>
                        <a:pt x="528873" y="367822"/>
                      </a:lnTo>
                      <a:lnTo>
                        <a:pt x="520046" y="369000"/>
                      </a:lnTo>
                      <a:lnTo>
                        <a:pt x="509044" y="387906"/>
                      </a:lnTo>
                      <a:lnTo>
                        <a:pt x="504017" y="393285"/>
                      </a:lnTo>
                      <a:lnTo>
                        <a:pt x="500228" y="397378"/>
                      </a:lnTo>
                      <a:lnTo>
                        <a:pt x="490271" y="405647"/>
                      </a:lnTo>
                      <a:lnTo>
                        <a:pt x="481637" y="410723"/>
                      </a:lnTo>
                      <a:lnTo>
                        <a:pt x="478189" y="412714"/>
                      </a:lnTo>
                      <a:lnTo>
                        <a:pt x="475287" y="416818"/>
                      </a:lnTo>
                      <a:lnTo>
                        <a:pt x="470490" y="423339"/>
                      </a:lnTo>
                      <a:lnTo>
                        <a:pt x="464904" y="429265"/>
                      </a:lnTo>
                      <a:lnTo>
                        <a:pt x="454984" y="437522"/>
                      </a:lnTo>
                      <a:lnTo>
                        <a:pt x="453964" y="438421"/>
                      </a:lnTo>
                      <a:lnTo>
                        <a:pt x="446156" y="444602"/>
                      </a:lnTo>
                      <a:lnTo>
                        <a:pt x="440752" y="455275"/>
                      </a:lnTo>
                      <a:lnTo>
                        <a:pt x="440109" y="465463"/>
                      </a:lnTo>
                      <a:lnTo>
                        <a:pt x="439477" y="472943"/>
                      </a:lnTo>
                      <a:lnTo>
                        <a:pt x="430734" y="481237"/>
                      </a:lnTo>
                      <a:lnTo>
                        <a:pt x="418749" y="485924"/>
                      </a:lnTo>
                      <a:lnTo>
                        <a:pt x="405319" y="493003"/>
                      </a:lnTo>
                      <a:lnTo>
                        <a:pt x="393285" y="494181"/>
                      </a:lnTo>
                      <a:lnTo>
                        <a:pt x="374524" y="495347"/>
                      </a:lnTo>
                      <a:lnTo>
                        <a:pt x="364664" y="501236"/>
                      </a:lnTo>
                      <a:lnTo>
                        <a:pt x="350312" y="500058"/>
                      </a:lnTo>
                      <a:lnTo>
                        <a:pt x="331514" y="503616"/>
                      </a:lnTo>
                      <a:lnTo>
                        <a:pt x="313919" y="505948"/>
                      </a:lnTo>
                      <a:lnTo>
                        <a:pt x="285177" y="503616"/>
                      </a:lnTo>
                      <a:lnTo>
                        <a:pt x="274236" y="501236"/>
                      </a:lnTo>
                      <a:lnTo>
                        <a:pt x="263162" y="501236"/>
                      </a:lnTo>
                      <a:lnTo>
                        <a:pt x="251067" y="502438"/>
                      </a:lnTo>
                      <a:lnTo>
                        <a:pt x="238864" y="494181"/>
                      </a:lnTo>
                      <a:lnTo>
                        <a:pt x="226806" y="484758"/>
                      </a:lnTo>
                      <a:lnTo>
                        <a:pt x="215780" y="484758"/>
                      </a:lnTo>
                      <a:lnTo>
                        <a:pt x="204815" y="491825"/>
                      </a:lnTo>
                      <a:lnTo>
                        <a:pt x="192660" y="497727"/>
                      </a:lnTo>
                      <a:lnTo>
                        <a:pt x="178307" y="501248"/>
                      </a:lnTo>
                      <a:lnTo>
                        <a:pt x="155175" y="504794"/>
                      </a:lnTo>
                      <a:lnTo>
                        <a:pt x="141951" y="505960"/>
                      </a:lnTo>
                      <a:lnTo>
                        <a:pt x="130864" y="508328"/>
                      </a:lnTo>
                      <a:lnTo>
                        <a:pt x="100738" y="505766"/>
                      </a:lnTo>
                      <a:lnTo>
                        <a:pt x="101308" y="503070"/>
                      </a:lnTo>
                      <a:lnTo>
                        <a:pt x="101952" y="499888"/>
                      </a:lnTo>
                      <a:lnTo>
                        <a:pt x="98783" y="488292"/>
                      </a:lnTo>
                      <a:lnTo>
                        <a:pt x="98783" y="488255"/>
                      </a:lnTo>
                      <a:lnTo>
                        <a:pt x="95516" y="481820"/>
                      </a:lnTo>
                      <a:lnTo>
                        <a:pt x="86203" y="472810"/>
                      </a:lnTo>
                      <a:lnTo>
                        <a:pt x="83920" y="466264"/>
                      </a:lnTo>
                      <a:lnTo>
                        <a:pt x="83980" y="462561"/>
                      </a:lnTo>
                      <a:lnTo>
                        <a:pt x="84490" y="458821"/>
                      </a:lnTo>
                      <a:lnTo>
                        <a:pt x="85474" y="455348"/>
                      </a:lnTo>
                      <a:lnTo>
                        <a:pt x="86785" y="452385"/>
                      </a:lnTo>
                      <a:lnTo>
                        <a:pt x="87307" y="451705"/>
                      </a:lnTo>
                      <a:lnTo>
                        <a:pt x="87818" y="451013"/>
                      </a:lnTo>
                      <a:lnTo>
                        <a:pt x="90222" y="448524"/>
                      </a:lnTo>
                      <a:lnTo>
                        <a:pt x="91327" y="446909"/>
                      </a:lnTo>
                      <a:lnTo>
                        <a:pt x="91837" y="445160"/>
                      </a:lnTo>
                      <a:lnTo>
                        <a:pt x="92420" y="441335"/>
                      </a:lnTo>
                      <a:lnTo>
                        <a:pt x="93112" y="439502"/>
                      </a:lnTo>
                      <a:lnTo>
                        <a:pt x="95747" y="436490"/>
                      </a:lnTo>
                      <a:lnTo>
                        <a:pt x="101612" y="431694"/>
                      </a:lnTo>
                      <a:lnTo>
                        <a:pt x="102863" y="428221"/>
                      </a:lnTo>
                      <a:lnTo>
                        <a:pt x="102122" y="425816"/>
                      </a:lnTo>
                      <a:lnTo>
                        <a:pt x="85681" y="396637"/>
                      </a:lnTo>
                      <a:lnTo>
                        <a:pt x="81540" y="391816"/>
                      </a:lnTo>
                      <a:lnTo>
                        <a:pt x="79317" y="392532"/>
                      </a:lnTo>
                      <a:lnTo>
                        <a:pt x="73804" y="396515"/>
                      </a:lnTo>
                      <a:lnTo>
                        <a:pt x="71388" y="397329"/>
                      </a:lnTo>
                      <a:lnTo>
                        <a:pt x="64503" y="396928"/>
                      </a:lnTo>
                      <a:lnTo>
                        <a:pt x="59452" y="397754"/>
                      </a:lnTo>
                      <a:lnTo>
                        <a:pt x="44868" y="402672"/>
                      </a:lnTo>
                      <a:lnTo>
                        <a:pt x="39367" y="403182"/>
                      </a:lnTo>
                      <a:lnTo>
                        <a:pt x="38384" y="401664"/>
                      </a:lnTo>
                      <a:lnTo>
                        <a:pt x="38141" y="398555"/>
                      </a:lnTo>
                      <a:lnTo>
                        <a:pt x="35032" y="394342"/>
                      </a:lnTo>
                      <a:lnTo>
                        <a:pt x="30855" y="392569"/>
                      </a:lnTo>
                      <a:lnTo>
                        <a:pt x="26253" y="391731"/>
                      </a:lnTo>
                      <a:lnTo>
                        <a:pt x="21942" y="390468"/>
                      </a:lnTo>
                      <a:lnTo>
                        <a:pt x="19028" y="387250"/>
                      </a:lnTo>
                      <a:lnTo>
                        <a:pt x="17352" y="383887"/>
                      </a:lnTo>
                      <a:lnTo>
                        <a:pt x="12021" y="379734"/>
                      </a:lnTo>
                      <a:lnTo>
                        <a:pt x="10236" y="376856"/>
                      </a:lnTo>
                      <a:lnTo>
                        <a:pt x="6169" y="362017"/>
                      </a:lnTo>
                      <a:lnTo>
                        <a:pt x="7431" y="354258"/>
                      </a:lnTo>
                      <a:lnTo>
                        <a:pt x="16223" y="342431"/>
                      </a:lnTo>
                      <a:lnTo>
                        <a:pt x="17364" y="333736"/>
                      </a:lnTo>
                      <a:lnTo>
                        <a:pt x="43787" y="332838"/>
                      </a:lnTo>
                      <a:lnTo>
                        <a:pt x="51486" y="334708"/>
                      </a:lnTo>
                      <a:lnTo>
                        <a:pt x="57970" y="338618"/>
                      </a:lnTo>
                      <a:lnTo>
                        <a:pt x="60884" y="339674"/>
                      </a:lnTo>
                      <a:lnTo>
                        <a:pt x="69117" y="339298"/>
                      </a:lnTo>
                      <a:lnTo>
                        <a:pt x="77265" y="340743"/>
                      </a:lnTo>
                      <a:lnTo>
                        <a:pt x="81564" y="340367"/>
                      </a:lnTo>
                      <a:lnTo>
                        <a:pt x="88522" y="337379"/>
                      </a:lnTo>
                      <a:lnTo>
                        <a:pt x="99317" y="326694"/>
                      </a:lnTo>
                      <a:lnTo>
                        <a:pt x="106214" y="323306"/>
                      </a:lnTo>
                      <a:lnTo>
                        <a:pt x="109942" y="322941"/>
                      </a:lnTo>
                      <a:lnTo>
                        <a:pt x="125618" y="324228"/>
                      </a:lnTo>
                      <a:lnTo>
                        <a:pt x="127756" y="323998"/>
                      </a:lnTo>
                      <a:lnTo>
                        <a:pt x="129176" y="323342"/>
                      </a:lnTo>
                      <a:lnTo>
                        <a:pt x="130269" y="321217"/>
                      </a:lnTo>
                      <a:lnTo>
                        <a:pt x="129941" y="319347"/>
                      </a:lnTo>
                      <a:lnTo>
                        <a:pt x="129237" y="317513"/>
                      </a:lnTo>
                      <a:lnTo>
                        <a:pt x="129237" y="315534"/>
                      </a:lnTo>
                      <a:lnTo>
                        <a:pt x="131180" y="312280"/>
                      </a:lnTo>
                      <a:lnTo>
                        <a:pt x="132965" y="312802"/>
                      </a:lnTo>
                      <a:lnTo>
                        <a:pt x="134689" y="315728"/>
                      </a:lnTo>
                      <a:lnTo>
                        <a:pt x="137859" y="323136"/>
                      </a:lnTo>
                      <a:lnTo>
                        <a:pt x="140372" y="326912"/>
                      </a:lnTo>
                      <a:lnTo>
                        <a:pt x="143250" y="328308"/>
                      </a:lnTo>
                      <a:lnTo>
                        <a:pt x="145715" y="324751"/>
                      </a:lnTo>
                      <a:lnTo>
                        <a:pt x="147949" y="318837"/>
                      </a:lnTo>
                      <a:lnTo>
                        <a:pt x="148981" y="319177"/>
                      </a:lnTo>
                      <a:lnTo>
                        <a:pt x="149953" y="322334"/>
                      </a:lnTo>
                      <a:lnTo>
                        <a:pt x="151908" y="324969"/>
                      </a:lnTo>
                      <a:lnTo>
                        <a:pt x="155247" y="324714"/>
                      </a:lnTo>
                      <a:lnTo>
                        <a:pt x="156680" y="321217"/>
                      </a:lnTo>
                      <a:lnTo>
                        <a:pt x="157724" y="316919"/>
                      </a:lnTo>
                      <a:lnTo>
                        <a:pt x="159910" y="314174"/>
                      </a:lnTo>
                      <a:lnTo>
                        <a:pt x="162072" y="314599"/>
                      </a:lnTo>
                      <a:lnTo>
                        <a:pt x="164500" y="319651"/>
                      </a:lnTo>
                      <a:lnTo>
                        <a:pt x="166443" y="321229"/>
                      </a:lnTo>
                      <a:lnTo>
                        <a:pt x="168568" y="320804"/>
                      </a:lnTo>
                      <a:lnTo>
                        <a:pt x="175356" y="316093"/>
                      </a:lnTo>
                      <a:lnTo>
                        <a:pt x="184415" y="313361"/>
                      </a:lnTo>
                      <a:lnTo>
                        <a:pt x="187183" y="311491"/>
                      </a:lnTo>
                      <a:lnTo>
                        <a:pt x="192125" y="306208"/>
                      </a:lnTo>
                      <a:lnTo>
                        <a:pt x="194372" y="305031"/>
                      </a:lnTo>
                      <a:lnTo>
                        <a:pt x="198901" y="304253"/>
                      </a:lnTo>
                      <a:lnTo>
                        <a:pt x="204123" y="302056"/>
                      </a:lnTo>
                      <a:lnTo>
                        <a:pt x="210498" y="297308"/>
                      </a:lnTo>
                      <a:lnTo>
                        <a:pt x="215258" y="291491"/>
                      </a:lnTo>
                      <a:lnTo>
                        <a:pt x="215901" y="286003"/>
                      </a:lnTo>
                      <a:lnTo>
                        <a:pt x="215853" y="286003"/>
                      </a:lnTo>
                      <a:lnTo>
                        <a:pt x="217784" y="279858"/>
                      </a:lnTo>
                      <a:lnTo>
                        <a:pt x="217784" y="277296"/>
                      </a:lnTo>
                      <a:lnTo>
                        <a:pt x="215561" y="275171"/>
                      </a:lnTo>
                      <a:lnTo>
                        <a:pt x="208955" y="274406"/>
                      </a:lnTo>
                      <a:lnTo>
                        <a:pt x="206065" y="273301"/>
                      </a:lnTo>
                      <a:lnTo>
                        <a:pt x="205798" y="270350"/>
                      </a:lnTo>
                      <a:lnTo>
                        <a:pt x="209077" y="263489"/>
                      </a:lnTo>
                      <a:lnTo>
                        <a:pt x="213558" y="257977"/>
                      </a:lnTo>
                      <a:lnTo>
                        <a:pt x="219010" y="253411"/>
                      </a:lnTo>
                      <a:lnTo>
                        <a:pt x="230667" y="245955"/>
                      </a:lnTo>
                      <a:lnTo>
                        <a:pt x="232379" y="245202"/>
                      </a:lnTo>
                      <a:lnTo>
                        <a:pt x="233083" y="246210"/>
                      </a:lnTo>
                      <a:lnTo>
                        <a:pt x="233545" y="247752"/>
                      </a:lnTo>
                      <a:lnTo>
                        <a:pt x="234443" y="248651"/>
                      </a:lnTo>
                      <a:lnTo>
                        <a:pt x="237334" y="248845"/>
                      </a:lnTo>
                      <a:lnTo>
                        <a:pt x="240029" y="248590"/>
                      </a:lnTo>
                      <a:lnTo>
                        <a:pt x="242847" y="247728"/>
                      </a:lnTo>
                      <a:lnTo>
                        <a:pt x="245712" y="246004"/>
                      </a:lnTo>
                      <a:lnTo>
                        <a:pt x="248566" y="243308"/>
                      </a:lnTo>
                      <a:lnTo>
                        <a:pt x="253095" y="237103"/>
                      </a:lnTo>
                      <a:lnTo>
                        <a:pt x="255767" y="234261"/>
                      </a:lnTo>
                      <a:lnTo>
                        <a:pt x="259179" y="232452"/>
                      </a:lnTo>
                      <a:lnTo>
                        <a:pt x="266367" y="230096"/>
                      </a:lnTo>
                      <a:lnTo>
                        <a:pt x="269136" y="227668"/>
                      </a:lnTo>
                      <a:lnTo>
                        <a:pt x="273945" y="222289"/>
                      </a:lnTo>
                      <a:lnTo>
                        <a:pt x="291297" y="210522"/>
                      </a:lnTo>
                      <a:lnTo>
                        <a:pt x="295705" y="205641"/>
                      </a:lnTo>
                      <a:lnTo>
                        <a:pt x="299396" y="198743"/>
                      </a:lnTo>
                      <a:lnTo>
                        <a:pt x="301861" y="191227"/>
                      </a:lnTo>
                      <a:lnTo>
                        <a:pt x="302966" y="184427"/>
                      </a:lnTo>
                      <a:lnTo>
                        <a:pt x="308989" y="179703"/>
                      </a:lnTo>
                      <a:lnTo>
                        <a:pt x="315073" y="174919"/>
                      </a:lnTo>
                      <a:lnTo>
                        <a:pt x="323354" y="170730"/>
                      </a:lnTo>
                      <a:lnTo>
                        <a:pt x="333275" y="162339"/>
                      </a:lnTo>
                      <a:lnTo>
                        <a:pt x="340464" y="158125"/>
                      </a:lnTo>
                      <a:lnTo>
                        <a:pt x="357512" y="148387"/>
                      </a:lnTo>
                      <a:lnTo>
                        <a:pt x="377318" y="146954"/>
                      </a:lnTo>
                      <a:lnTo>
                        <a:pt x="387699" y="148326"/>
                      </a:lnTo>
                      <a:lnTo>
                        <a:pt x="391148" y="148314"/>
                      </a:lnTo>
                      <a:lnTo>
                        <a:pt x="394475" y="146699"/>
                      </a:lnTo>
                      <a:lnTo>
                        <a:pt x="397523" y="144003"/>
                      </a:lnTo>
                      <a:lnTo>
                        <a:pt x="400316" y="142072"/>
                      </a:lnTo>
                      <a:lnTo>
                        <a:pt x="403085" y="142849"/>
                      </a:lnTo>
                      <a:lnTo>
                        <a:pt x="406133" y="144307"/>
                      </a:lnTo>
                      <a:lnTo>
                        <a:pt x="409302" y="143372"/>
                      </a:lnTo>
                      <a:lnTo>
                        <a:pt x="422271" y="132285"/>
                      </a:lnTo>
                      <a:lnTo>
                        <a:pt x="425185" y="130621"/>
                      </a:lnTo>
                      <a:lnTo>
                        <a:pt x="436223" y="127343"/>
                      </a:lnTo>
                      <a:lnTo>
                        <a:pt x="437643" y="125971"/>
                      </a:lnTo>
                      <a:lnTo>
                        <a:pt x="438336" y="123834"/>
                      </a:lnTo>
                      <a:lnTo>
                        <a:pt x="440279" y="123299"/>
                      </a:lnTo>
                      <a:lnTo>
                        <a:pt x="442586" y="123275"/>
                      </a:lnTo>
                      <a:lnTo>
                        <a:pt x="444201" y="122668"/>
                      </a:lnTo>
                      <a:lnTo>
                        <a:pt x="444881" y="121053"/>
                      </a:lnTo>
                      <a:lnTo>
                        <a:pt x="444492" y="119912"/>
                      </a:lnTo>
                      <a:lnTo>
                        <a:pt x="443848" y="118721"/>
                      </a:lnTo>
                      <a:lnTo>
                        <a:pt x="443970" y="117155"/>
                      </a:lnTo>
                      <a:lnTo>
                        <a:pt x="446107" y="115516"/>
                      </a:lnTo>
                      <a:lnTo>
                        <a:pt x="449835" y="114824"/>
                      </a:lnTo>
                      <a:lnTo>
                        <a:pt x="453793" y="114763"/>
                      </a:lnTo>
                      <a:lnTo>
                        <a:pt x="456659" y="115176"/>
                      </a:lnTo>
                      <a:lnTo>
                        <a:pt x="459877" y="113184"/>
                      </a:lnTo>
                      <a:lnTo>
                        <a:pt x="463508" y="111496"/>
                      </a:lnTo>
                      <a:lnTo>
                        <a:pt x="466374" y="109201"/>
                      </a:lnTo>
                      <a:lnTo>
                        <a:pt x="476234" y="105352"/>
                      </a:lnTo>
                      <a:lnTo>
                        <a:pt x="486750" y="102365"/>
                      </a:lnTo>
                      <a:lnTo>
                        <a:pt x="493914" y="95759"/>
                      </a:lnTo>
                      <a:lnTo>
                        <a:pt x="508291" y="95164"/>
                      </a:lnTo>
                      <a:lnTo>
                        <a:pt x="516038" y="86142"/>
                      </a:lnTo>
                      <a:lnTo>
                        <a:pt x="526481" y="76525"/>
                      </a:lnTo>
                      <a:lnTo>
                        <a:pt x="519293" y="69348"/>
                      </a:lnTo>
                      <a:lnTo>
                        <a:pt x="512128" y="61516"/>
                      </a:lnTo>
                      <a:lnTo>
                        <a:pt x="515273" y="51316"/>
                      </a:lnTo>
                      <a:lnTo>
                        <a:pt x="522073" y="51692"/>
                      </a:lnTo>
                      <a:lnTo>
                        <a:pt x="524356" y="50976"/>
                      </a:lnTo>
                      <a:lnTo>
                        <a:pt x="526311" y="49021"/>
                      </a:lnTo>
                      <a:lnTo>
                        <a:pt x="529359" y="43678"/>
                      </a:lnTo>
                      <a:lnTo>
                        <a:pt x="531314" y="41444"/>
                      </a:lnTo>
                      <a:lnTo>
                        <a:pt x="535734" y="39234"/>
                      </a:lnTo>
                      <a:lnTo>
                        <a:pt x="540543" y="38542"/>
                      </a:lnTo>
                      <a:lnTo>
                        <a:pt x="550427" y="38457"/>
                      </a:lnTo>
                      <a:lnTo>
                        <a:pt x="554786" y="37570"/>
                      </a:lnTo>
                      <a:lnTo>
                        <a:pt x="557883" y="36368"/>
                      </a:lnTo>
                      <a:lnTo>
                        <a:pt x="560469" y="34292"/>
                      </a:lnTo>
                      <a:lnTo>
                        <a:pt x="570633" y="19647"/>
                      </a:lnTo>
                      <a:lnTo>
                        <a:pt x="573851" y="16830"/>
                      </a:lnTo>
                      <a:lnTo>
                        <a:pt x="579607" y="16259"/>
                      </a:lnTo>
                      <a:lnTo>
                        <a:pt x="586722" y="18870"/>
                      </a:lnTo>
                      <a:lnTo>
                        <a:pt x="593449" y="23351"/>
                      </a:lnTo>
                      <a:lnTo>
                        <a:pt x="603261" y="34437"/>
                      </a:lnTo>
                      <a:lnTo>
                        <a:pt x="605325" y="37849"/>
                      </a:lnTo>
                      <a:lnTo>
                        <a:pt x="604184" y="45840"/>
                      </a:lnTo>
                      <a:lnTo>
                        <a:pt x="607001" y="47467"/>
                      </a:lnTo>
                      <a:lnTo>
                        <a:pt x="611190" y="47527"/>
                      </a:lnTo>
                      <a:lnTo>
                        <a:pt x="614287" y="47042"/>
                      </a:lnTo>
                      <a:lnTo>
                        <a:pt x="621524" y="46811"/>
                      </a:lnTo>
                      <a:lnTo>
                        <a:pt x="628518" y="48730"/>
                      </a:lnTo>
                      <a:lnTo>
                        <a:pt x="642543" y="54935"/>
                      </a:lnTo>
                      <a:lnTo>
                        <a:pt x="646733" y="56149"/>
                      </a:lnTo>
                      <a:lnTo>
                        <a:pt x="645531" y="54327"/>
                      </a:lnTo>
                      <a:lnTo>
                        <a:pt x="642313" y="50854"/>
                      </a:lnTo>
                      <a:lnTo>
                        <a:pt x="640406" y="46981"/>
                      </a:lnTo>
                      <a:lnTo>
                        <a:pt x="643685" y="48827"/>
                      </a:lnTo>
                      <a:lnTo>
                        <a:pt x="646854" y="50090"/>
                      </a:lnTo>
                      <a:lnTo>
                        <a:pt x="657868" y="52749"/>
                      </a:lnTo>
                      <a:lnTo>
                        <a:pt x="667509" y="58298"/>
                      </a:lnTo>
                      <a:lnTo>
                        <a:pt x="670848" y="59440"/>
                      </a:lnTo>
                      <a:lnTo>
                        <a:pt x="684862" y="61747"/>
                      </a:lnTo>
                      <a:lnTo>
                        <a:pt x="686355" y="62293"/>
                      </a:lnTo>
                      <a:lnTo>
                        <a:pt x="687897" y="63240"/>
                      </a:lnTo>
                      <a:lnTo>
                        <a:pt x="688808" y="64807"/>
                      </a:lnTo>
                      <a:lnTo>
                        <a:pt x="689051" y="66592"/>
                      </a:lnTo>
                      <a:lnTo>
                        <a:pt x="689512" y="68255"/>
                      </a:lnTo>
                      <a:lnTo>
                        <a:pt x="691127" y="69409"/>
                      </a:lnTo>
                      <a:lnTo>
                        <a:pt x="701740" y="70757"/>
                      </a:lnTo>
                      <a:lnTo>
                        <a:pt x="700417" y="58517"/>
                      </a:lnTo>
                      <a:lnTo>
                        <a:pt x="706439" y="53708"/>
                      </a:lnTo>
                      <a:lnTo>
                        <a:pt x="718619" y="53101"/>
                      </a:lnTo>
                      <a:lnTo>
                        <a:pt x="725807" y="54910"/>
                      </a:lnTo>
                      <a:lnTo>
                        <a:pt x="728576" y="45293"/>
                      </a:lnTo>
                      <a:lnTo>
                        <a:pt x="732413" y="43484"/>
                      </a:lnTo>
                      <a:lnTo>
                        <a:pt x="732996" y="51316"/>
                      </a:lnTo>
                      <a:lnTo>
                        <a:pt x="736360" y="56453"/>
                      </a:lnTo>
                      <a:lnTo>
                        <a:pt x="737987" y="53587"/>
                      </a:lnTo>
                      <a:lnTo>
                        <a:pt x="744811" y="54594"/>
                      </a:lnTo>
                      <a:lnTo>
                        <a:pt x="746705" y="53356"/>
                      </a:lnTo>
                      <a:lnTo>
                        <a:pt x="746924" y="48596"/>
                      </a:lnTo>
                      <a:lnTo>
                        <a:pt x="744920" y="41189"/>
                      </a:lnTo>
                      <a:lnTo>
                        <a:pt x="745564" y="38748"/>
                      </a:lnTo>
                      <a:lnTo>
                        <a:pt x="752109" y="38105"/>
                      </a:lnTo>
                      <a:lnTo>
                        <a:pt x="752449" y="36562"/>
                      </a:lnTo>
                      <a:lnTo>
                        <a:pt x="752219" y="34486"/>
                      </a:lnTo>
                      <a:lnTo>
                        <a:pt x="752789" y="32689"/>
                      </a:lnTo>
                      <a:lnTo>
                        <a:pt x="754805" y="31365"/>
                      </a:lnTo>
                      <a:lnTo>
                        <a:pt x="756347" y="31013"/>
                      </a:lnTo>
                      <a:lnTo>
                        <a:pt x="758011" y="30989"/>
                      </a:lnTo>
                      <a:lnTo>
                        <a:pt x="760026" y="30527"/>
                      </a:lnTo>
                      <a:lnTo>
                        <a:pt x="770190" y="34899"/>
                      </a:lnTo>
                      <a:lnTo>
                        <a:pt x="783462" y="36939"/>
                      </a:lnTo>
                      <a:lnTo>
                        <a:pt x="789096" y="25622"/>
                      </a:lnTo>
                      <a:lnTo>
                        <a:pt x="788635" y="11985"/>
                      </a:lnTo>
                      <a:lnTo>
                        <a:pt x="794525" y="10917"/>
                      </a:lnTo>
                      <a:lnTo>
                        <a:pt x="798216" y="9435"/>
                      </a:lnTo>
                      <a:lnTo>
                        <a:pt x="810784" y="15337"/>
                      </a:lnTo>
                      <a:lnTo>
                        <a:pt x="827784" y="8136"/>
                      </a:lnTo>
                      <a:lnTo>
                        <a:pt x="839162" y="7104"/>
                      </a:lnTo>
                      <a:lnTo>
                        <a:pt x="850430" y="6084"/>
                      </a:lnTo>
                      <a:moveTo>
                        <a:pt x="850188" y="0"/>
                      </a:moveTo>
                      <a:lnTo>
                        <a:pt x="849872" y="24"/>
                      </a:lnTo>
                      <a:lnTo>
                        <a:pt x="838555" y="1056"/>
                      </a:lnTo>
                      <a:lnTo>
                        <a:pt x="827189" y="2089"/>
                      </a:lnTo>
                      <a:lnTo>
                        <a:pt x="826242" y="2174"/>
                      </a:lnTo>
                      <a:lnTo>
                        <a:pt x="825367" y="2538"/>
                      </a:lnTo>
                      <a:lnTo>
                        <a:pt x="810869" y="8682"/>
                      </a:lnTo>
                      <a:lnTo>
                        <a:pt x="800754" y="3934"/>
                      </a:lnTo>
                      <a:lnTo>
                        <a:pt x="798362" y="2817"/>
                      </a:lnTo>
                      <a:lnTo>
                        <a:pt x="795909" y="3801"/>
                      </a:lnTo>
                      <a:lnTo>
                        <a:pt x="792788" y="5051"/>
                      </a:lnTo>
                      <a:lnTo>
                        <a:pt x="787506" y="6011"/>
                      </a:lnTo>
                      <a:lnTo>
                        <a:pt x="782333" y="6946"/>
                      </a:lnTo>
                      <a:lnTo>
                        <a:pt x="782515" y="12191"/>
                      </a:lnTo>
                      <a:lnTo>
                        <a:pt x="782928" y="24298"/>
                      </a:lnTo>
                      <a:lnTo>
                        <a:pt x="779953" y="30272"/>
                      </a:lnTo>
                      <a:lnTo>
                        <a:pt x="771829" y="29022"/>
                      </a:lnTo>
                      <a:lnTo>
                        <a:pt x="762382" y="24954"/>
                      </a:lnTo>
                      <a:lnTo>
                        <a:pt x="760573" y="24177"/>
                      </a:lnTo>
                      <a:lnTo>
                        <a:pt x="758642" y="24626"/>
                      </a:lnTo>
                      <a:lnTo>
                        <a:pt x="757246" y="24942"/>
                      </a:lnTo>
                      <a:lnTo>
                        <a:pt x="756238" y="24954"/>
                      </a:lnTo>
                      <a:lnTo>
                        <a:pt x="755582" y="24966"/>
                      </a:lnTo>
                      <a:lnTo>
                        <a:pt x="754951" y="25112"/>
                      </a:lnTo>
                      <a:lnTo>
                        <a:pt x="753408" y="25464"/>
                      </a:lnTo>
                      <a:lnTo>
                        <a:pt x="752352" y="25706"/>
                      </a:lnTo>
                      <a:lnTo>
                        <a:pt x="751441" y="26302"/>
                      </a:lnTo>
                      <a:lnTo>
                        <a:pt x="749425" y="27625"/>
                      </a:lnTo>
                      <a:lnTo>
                        <a:pt x="747629" y="28815"/>
                      </a:lnTo>
                      <a:lnTo>
                        <a:pt x="746973" y="30867"/>
                      </a:lnTo>
                      <a:lnTo>
                        <a:pt x="746426" y="32567"/>
                      </a:lnTo>
                      <a:lnTo>
                        <a:pt x="744933" y="32713"/>
                      </a:lnTo>
                      <a:lnTo>
                        <a:pt x="740719" y="33126"/>
                      </a:lnTo>
                      <a:lnTo>
                        <a:pt x="739651" y="37206"/>
                      </a:lnTo>
                      <a:lnTo>
                        <a:pt x="739007" y="39647"/>
                      </a:lnTo>
                      <a:lnTo>
                        <a:pt x="738594" y="41213"/>
                      </a:lnTo>
                      <a:lnTo>
                        <a:pt x="739019" y="42780"/>
                      </a:lnTo>
                      <a:lnTo>
                        <a:pt x="740379" y="47819"/>
                      </a:lnTo>
                      <a:lnTo>
                        <a:pt x="738825" y="47588"/>
                      </a:lnTo>
                      <a:lnTo>
                        <a:pt x="738752" y="47576"/>
                      </a:lnTo>
                      <a:lnTo>
                        <a:pt x="738424" y="43034"/>
                      </a:lnTo>
                      <a:lnTo>
                        <a:pt x="737768" y="34231"/>
                      </a:lnTo>
                      <a:lnTo>
                        <a:pt x="729778" y="37995"/>
                      </a:lnTo>
                      <a:lnTo>
                        <a:pt x="725941" y="39805"/>
                      </a:lnTo>
                      <a:lnTo>
                        <a:pt x="723452" y="40970"/>
                      </a:lnTo>
                      <a:lnTo>
                        <a:pt x="722699" y="43617"/>
                      </a:lnTo>
                      <a:lnTo>
                        <a:pt x="721558" y="47588"/>
                      </a:lnTo>
                      <a:lnTo>
                        <a:pt x="720064" y="47212"/>
                      </a:lnTo>
                      <a:lnTo>
                        <a:pt x="719190" y="46993"/>
                      </a:lnTo>
                      <a:lnTo>
                        <a:pt x="718291" y="47030"/>
                      </a:lnTo>
                      <a:lnTo>
                        <a:pt x="706112" y="47637"/>
                      </a:lnTo>
                      <a:lnTo>
                        <a:pt x="704157" y="47734"/>
                      </a:lnTo>
                      <a:lnTo>
                        <a:pt x="702627" y="48960"/>
                      </a:lnTo>
                      <a:lnTo>
                        <a:pt x="696604" y="53769"/>
                      </a:lnTo>
                      <a:lnTo>
                        <a:pt x="693993" y="55845"/>
                      </a:lnTo>
                      <a:lnTo>
                        <a:pt x="694345" y="59160"/>
                      </a:lnTo>
                      <a:lnTo>
                        <a:pt x="694843" y="63750"/>
                      </a:lnTo>
                      <a:lnTo>
                        <a:pt x="694770" y="63738"/>
                      </a:lnTo>
                      <a:lnTo>
                        <a:pt x="694637" y="62779"/>
                      </a:lnTo>
                      <a:lnTo>
                        <a:pt x="694017" y="61735"/>
                      </a:lnTo>
                      <a:lnTo>
                        <a:pt x="693107" y="60168"/>
                      </a:lnTo>
                      <a:lnTo>
                        <a:pt x="692354" y="58857"/>
                      </a:lnTo>
                      <a:lnTo>
                        <a:pt x="691054" y="58068"/>
                      </a:lnTo>
                      <a:lnTo>
                        <a:pt x="689512" y="57120"/>
                      </a:lnTo>
                      <a:lnTo>
                        <a:pt x="688990" y="56805"/>
                      </a:lnTo>
                      <a:lnTo>
                        <a:pt x="688420" y="56586"/>
                      </a:lnTo>
                      <a:lnTo>
                        <a:pt x="686926" y="56040"/>
                      </a:lnTo>
                      <a:lnTo>
                        <a:pt x="686380" y="55845"/>
                      </a:lnTo>
                      <a:lnTo>
                        <a:pt x="685821" y="55760"/>
                      </a:lnTo>
                      <a:lnTo>
                        <a:pt x="672306" y="53538"/>
                      </a:lnTo>
                      <a:lnTo>
                        <a:pt x="669999" y="52749"/>
                      </a:lnTo>
                      <a:lnTo>
                        <a:pt x="660867" y="47491"/>
                      </a:lnTo>
                      <a:lnTo>
                        <a:pt x="660114" y="47054"/>
                      </a:lnTo>
                      <a:lnTo>
                        <a:pt x="659264" y="46847"/>
                      </a:lnTo>
                      <a:lnTo>
                        <a:pt x="648676" y="44297"/>
                      </a:lnTo>
                      <a:lnTo>
                        <a:pt x="646296" y="43338"/>
                      </a:lnTo>
                      <a:lnTo>
                        <a:pt x="643381" y="41699"/>
                      </a:lnTo>
                      <a:lnTo>
                        <a:pt x="626260" y="32021"/>
                      </a:lnTo>
                      <a:lnTo>
                        <a:pt x="631979" y="43642"/>
                      </a:lnTo>
                      <a:lnTo>
                        <a:pt x="630959" y="43192"/>
                      </a:lnTo>
                      <a:lnTo>
                        <a:pt x="630546" y="43010"/>
                      </a:lnTo>
                      <a:lnTo>
                        <a:pt x="630109" y="42889"/>
                      </a:lnTo>
                      <a:lnTo>
                        <a:pt x="623115" y="40970"/>
                      </a:lnTo>
                      <a:lnTo>
                        <a:pt x="622240" y="40727"/>
                      </a:lnTo>
                      <a:lnTo>
                        <a:pt x="621330" y="40752"/>
                      </a:lnTo>
                      <a:lnTo>
                        <a:pt x="614093" y="40994"/>
                      </a:lnTo>
                      <a:lnTo>
                        <a:pt x="613716" y="41007"/>
                      </a:lnTo>
                      <a:lnTo>
                        <a:pt x="613352" y="41055"/>
                      </a:lnTo>
                      <a:lnTo>
                        <a:pt x="610948" y="41432"/>
                      </a:lnTo>
                      <a:lnTo>
                        <a:pt x="611336" y="38712"/>
                      </a:lnTo>
                      <a:lnTo>
                        <a:pt x="611640" y="36562"/>
                      </a:lnTo>
                      <a:lnTo>
                        <a:pt x="610510" y="34717"/>
                      </a:lnTo>
                      <a:lnTo>
                        <a:pt x="608446" y="31304"/>
                      </a:lnTo>
                      <a:lnTo>
                        <a:pt x="608167" y="30831"/>
                      </a:lnTo>
                      <a:lnTo>
                        <a:pt x="607815" y="30418"/>
                      </a:lnTo>
                      <a:lnTo>
                        <a:pt x="597991" y="19331"/>
                      </a:lnTo>
                      <a:lnTo>
                        <a:pt x="597469" y="18737"/>
                      </a:lnTo>
                      <a:lnTo>
                        <a:pt x="596813" y="18299"/>
                      </a:lnTo>
                      <a:lnTo>
                        <a:pt x="590086" y="13819"/>
                      </a:lnTo>
                      <a:lnTo>
                        <a:pt x="589479" y="13418"/>
                      </a:lnTo>
                      <a:lnTo>
                        <a:pt x="588799" y="13163"/>
                      </a:lnTo>
                      <a:lnTo>
                        <a:pt x="581683" y="10552"/>
                      </a:lnTo>
                      <a:lnTo>
                        <a:pt x="580384" y="10066"/>
                      </a:lnTo>
                      <a:lnTo>
                        <a:pt x="579012" y="10200"/>
                      </a:lnTo>
                      <a:lnTo>
                        <a:pt x="573256" y="10771"/>
                      </a:lnTo>
                      <a:lnTo>
                        <a:pt x="571313" y="10965"/>
                      </a:lnTo>
                      <a:lnTo>
                        <a:pt x="569856" y="12252"/>
                      </a:lnTo>
                      <a:lnTo>
                        <a:pt x="566638" y="15069"/>
                      </a:lnTo>
                      <a:lnTo>
                        <a:pt x="566067" y="15567"/>
                      </a:lnTo>
                      <a:lnTo>
                        <a:pt x="565642" y="16174"/>
                      </a:lnTo>
                      <a:lnTo>
                        <a:pt x="555989" y="30090"/>
                      </a:lnTo>
                      <a:lnTo>
                        <a:pt x="554811" y="31037"/>
                      </a:lnTo>
                      <a:lnTo>
                        <a:pt x="553062" y="31717"/>
                      </a:lnTo>
                      <a:lnTo>
                        <a:pt x="549771" y="32385"/>
                      </a:lnTo>
                      <a:lnTo>
                        <a:pt x="540470" y="32458"/>
                      </a:lnTo>
                      <a:lnTo>
                        <a:pt x="540057" y="32458"/>
                      </a:lnTo>
                      <a:lnTo>
                        <a:pt x="539656" y="32519"/>
                      </a:lnTo>
                      <a:lnTo>
                        <a:pt x="534848" y="33211"/>
                      </a:lnTo>
                      <a:lnTo>
                        <a:pt x="533876" y="33357"/>
                      </a:lnTo>
                      <a:lnTo>
                        <a:pt x="533002" y="33794"/>
                      </a:lnTo>
                      <a:lnTo>
                        <a:pt x="528582" y="36004"/>
                      </a:lnTo>
                      <a:lnTo>
                        <a:pt x="527513" y="36538"/>
                      </a:lnTo>
                      <a:lnTo>
                        <a:pt x="526736" y="37437"/>
                      </a:lnTo>
                      <a:lnTo>
                        <a:pt x="524781" y="39671"/>
                      </a:lnTo>
                      <a:lnTo>
                        <a:pt x="524381" y="40132"/>
                      </a:lnTo>
                      <a:lnTo>
                        <a:pt x="524077" y="40667"/>
                      </a:lnTo>
                      <a:lnTo>
                        <a:pt x="521430" y="45293"/>
                      </a:lnTo>
                      <a:lnTo>
                        <a:pt x="521175" y="45548"/>
                      </a:lnTo>
                      <a:lnTo>
                        <a:pt x="515613" y="45245"/>
                      </a:lnTo>
                      <a:lnTo>
                        <a:pt x="510878" y="44990"/>
                      </a:lnTo>
                      <a:lnTo>
                        <a:pt x="509481" y="49519"/>
                      </a:lnTo>
                      <a:lnTo>
                        <a:pt x="506336" y="59719"/>
                      </a:lnTo>
                      <a:lnTo>
                        <a:pt x="505304" y="63046"/>
                      </a:lnTo>
                      <a:lnTo>
                        <a:pt x="507648" y="65608"/>
                      </a:lnTo>
                      <a:lnTo>
                        <a:pt x="514812" y="73440"/>
                      </a:lnTo>
                      <a:lnTo>
                        <a:pt x="517714" y="76342"/>
                      </a:lnTo>
                      <a:lnTo>
                        <a:pt x="511910" y="81673"/>
                      </a:lnTo>
                      <a:lnTo>
                        <a:pt x="511655" y="81916"/>
                      </a:lnTo>
                      <a:lnTo>
                        <a:pt x="511412" y="82183"/>
                      </a:lnTo>
                      <a:lnTo>
                        <a:pt x="505389" y="89202"/>
                      </a:lnTo>
                      <a:lnTo>
                        <a:pt x="493659" y="89688"/>
                      </a:lnTo>
                      <a:lnTo>
                        <a:pt x="491424" y="89773"/>
                      </a:lnTo>
                      <a:lnTo>
                        <a:pt x="489785" y="91290"/>
                      </a:lnTo>
                      <a:lnTo>
                        <a:pt x="483689" y="96913"/>
                      </a:lnTo>
                      <a:lnTo>
                        <a:pt x="474558" y="99499"/>
                      </a:lnTo>
                      <a:lnTo>
                        <a:pt x="464152" y="103531"/>
                      </a:lnTo>
                      <a:lnTo>
                        <a:pt x="463289" y="103871"/>
                      </a:lnTo>
                      <a:lnTo>
                        <a:pt x="462561" y="104453"/>
                      </a:lnTo>
                      <a:lnTo>
                        <a:pt x="460266" y="106287"/>
                      </a:lnTo>
                      <a:lnTo>
                        <a:pt x="457315" y="107659"/>
                      </a:lnTo>
                      <a:lnTo>
                        <a:pt x="456987" y="107817"/>
                      </a:lnTo>
                      <a:lnTo>
                        <a:pt x="456671" y="108011"/>
                      </a:lnTo>
                      <a:lnTo>
                        <a:pt x="455348" y="108837"/>
                      </a:lnTo>
                      <a:lnTo>
                        <a:pt x="454656" y="108740"/>
                      </a:lnTo>
                      <a:lnTo>
                        <a:pt x="454182" y="108667"/>
                      </a:lnTo>
                      <a:lnTo>
                        <a:pt x="453696" y="108667"/>
                      </a:lnTo>
                      <a:lnTo>
                        <a:pt x="449738" y="108728"/>
                      </a:lnTo>
                      <a:lnTo>
                        <a:pt x="449228" y="108740"/>
                      </a:lnTo>
                      <a:lnTo>
                        <a:pt x="448730" y="108825"/>
                      </a:lnTo>
                      <a:lnTo>
                        <a:pt x="445002" y="109517"/>
                      </a:lnTo>
                      <a:lnTo>
                        <a:pt x="443569" y="109784"/>
                      </a:lnTo>
                      <a:lnTo>
                        <a:pt x="442403" y="110671"/>
                      </a:lnTo>
                      <a:lnTo>
                        <a:pt x="440266" y="112310"/>
                      </a:lnTo>
                      <a:lnTo>
                        <a:pt x="438117" y="113961"/>
                      </a:lnTo>
                      <a:lnTo>
                        <a:pt x="437898" y="116669"/>
                      </a:lnTo>
                      <a:lnTo>
                        <a:pt x="437826" y="117641"/>
                      </a:lnTo>
                      <a:lnTo>
                        <a:pt x="436721" y="117944"/>
                      </a:lnTo>
                      <a:lnTo>
                        <a:pt x="433539" y="118819"/>
                      </a:lnTo>
                      <a:lnTo>
                        <a:pt x="432543" y="121952"/>
                      </a:lnTo>
                      <a:lnTo>
                        <a:pt x="432495" y="122085"/>
                      </a:lnTo>
                      <a:lnTo>
                        <a:pt x="423436" y="124769"/>
                      </a:lnTo>
                      <a:lnTo>
                        <a:pt x="422768" y="124975"/>
                      </a:lnTo>
                      <a:lnTo>
                        <a:pt x="422149" y="125327"/>
                      </a:lnTo>
                      <a:lnTo>
                        <a:pt x="419235" y="126991"/>
                      </a:lnTo>
                      <a:lnTo>
                        <a:pt x="418737" y="127270"/>
                      </a:lnTo>
                      <a:lnTo>
                        <a:pt x="418300" y="127646"/>
                      </a:lnTo>
                      <a:lnTo>
                        <a:pt x="406497" y="137737"/>
                      </a:lnTo>
                      <a:lnTo>
                        <a:pt x="405683" y="137349"/>
                      </a:lnTo>
                      <a:lnTo>
                        <a:pt x="405210" y="137118"/>
                      </a:lnTo>
                      <a:lnTo>
                        <a:pt x="404712" y="136972"/>
                      </a:lnTo>
                      <a:lnTo>
                        <a:pt x="401943" y="136195"/>
                      </a:lnTo>
                      <a:lnTo>
                        <a:pt x="399187" y="135430"/>
                      </a:lnTo>
                      <a:lnTo>
                        <a:pt x="396843" y="137045"/>
                      </a:lnTo>
                      <a:lnTo>
                        <a:pt x="394050" y="138976"/>
                      </a:lnTo>
                      <a:lnTo>
                        <a:pt x="393759" y="139182"/>
                      </a:lnTo>
                      <a:lnTo>
                        <a:pt x="393492" y="139425"/>
                      </a:lnTo>
                      <a:lnTo>
                        <a:pt x="391063" y="141574"/>
                      </a:lnTo>
                      <a:lnTo>
                        <a:pt x="389739" y="142218"/>
                      </a:lnTo>
                      <a:lnTo>
                        <a:pt x="388076" y="142218"/>
                      </a:lnTo>
                      <a:lnTo>
                        <a:pt x="378095" y="140907"/>
                      </a:lnTo>
                      <a:lnTo>
                        <a:pt x="377475" y="140822"/>
                      </a:lnTo>
                      <a:lnTo>
                        <a:pt x="376856" y="140870"/>
                      </a:lnTo>
                      <a:lnTo>
                        <a:pt x="357051" y="142303"/>
                      </a:lnTo>
                      <a:lnTo>
                        <a:pt x="355679" y="142400"/>
                      </a:lnTo>
                      <a:lnTo>
                        <a:pt x="354476" y="143092"/>
                      </a:lnTo>
                      <a:lnTo>
                        <a:pt x="337428" y="152831"/>
                      </a:lnTo>
                      <a:lnTo>
                        <a:pt x="330178" y="157069"/>
                      </a:lnTo>
                      <a:lnTo>
                        <a:pt x="329729" y="157336"/>
                      </a:lnTo>
                      <a:lnTo>
                        <a:pt x="329328" y="157676"/>
                      </a:lnTo>
                      <a:lnTo>
                        <a:pt x="319954" y="165605"/>
                      </a:lnTo>
                      <a:lnTo>
                        <a:pt x="312316" y="169467"/>
                      </a:lnTo>
                      <a:lnTo>
                        <a:pt x="311770" y="169734"/>
                      </a:lnTo>
                      <a:lnTo>
                        <a:pt x="311296" y="170110"/>
                      </a:lnTo>
                      <a:lnTo>
                        <a:pt x="305213" y="174895"/>
                      </a:lnTo>
                      <a:lnTo>
                        <a:pt x="299202" y="179618"/>
                      </a:lnTo>
                      <a:lnTo>
                        <a:pt x="297344" y="181088"/>
                      </a:lnTo>
                      <a:lnTo>
                        <a:pt x="296968" y="183431"/>
                      </a:lnTo>
                      <a:lnTo>
                        <a:pt x="295935" y="189758"/>
                      </a:lnTo>
                      <a:lnTo>
                        <a:pt x="293774" y="196315"/>
                      </a:lnTo>
                      <a:lnTo>
                        <a:pt x="290690" y="202095"/>
                      </a:lnTo>
                      <a:lnTo>
                        <a:pt x="287278" y="205884"/>
                      </a:lnTo>
                      <a:lnTo>
                        <a:pt x="270532" y="217237"/>
                      </a:lnTo>
                      <a:lnTo>
                        <a:pt x="269901" y="217662"/>
                      </a:lnTo>
                      <a:lnTo>
                        <a:pt x="269403" y="218221"/>
                      </a:lnTo>
                      <a:lnTo>
                        <a:pt x="264837" y="223333"/>
                      </a:lnTo>
                      <a:lnTo>
                        <a:pt x="263283" y="224693"/>
                      </a:lnTo>
                      <a:lnTo>
                        <a:pt x="257272" y="226672"/>
                      </a:lnTo>
                      <a:lnTo>
                        <a:pt x="256786" y="226830"/>
                      </a:lnTo>
                      <a:lnTo>
                        <a:pt x="256325" y="227073"/>
                      </a:lnTo>
                      <a:lnTo>
                        <a:pt x="252913" y="228882"/>
                      </a:lnTo>
                      <a:lnTo>
                        <a:pt x="252026" y="229356"/>
                      </a:lnTo>
                      <a:lnTo>
                        <a:pt x="251335" y="230096"/>
                      </a:lnTo>
                      <a:lnTo>
                        <a:pt x="248663" y="232938"/>
                      </a:lnTo>
                      <a:lnTo>
                        <a:pt x="248408" y="233205"/>
                      </a:lnTo>
                      <a:lnTo>
                        <a:pt x="248189" y="233509"/>
                      </a:lnTo>
                      <a:lnTo>
                        <a:pt x="243976" y="239264"/>
                      </a:lnTo>
                      <a:lnTo>
                        <a:pt x="242009" y="241122"/>
                      </a:lnTo>
                      <a:lnTo>
                        <a:pt x="240333" y="242130"/>
                      </a:lnTo>
                      <a:lnTo>
                        <a:pt x="238815" y="242592"/>
                      </a:lnTo>
                      <a:lnTo>
                        <a:pt x="238001" y="242664"/>
                      </a:lnTo>
                      <a:lnTo>
                        <a:pt x="237346" y="241729"/>
                      </a:lnTo>
                      <a:lnTo>
                        <a:pt x="234492" y="237613"/>
                      </a:lnTo>
                      <a:lnTo>
                        <a:pt x="229902" y="239641"/>
                      </a:lnTo>
                      <a:lnTo>
                        <a:pt x="228190" y="240394"/>
                      </a:lnTo>
                      <a:lnTo>
                        <a:pt x="227765" y="240588"/>
                      </a:lnTo>
                      <a:lnTo>
                        <a:pt x="227376" y="240843"/>
                      </a:lnTo>
                      <a:lnTo>
                        <a:pt x="215719" y="248299"/>
                      </a:lnTo>
                      <a:lnTo>
                        <a:pt x="215403" y="248517"/>
                      </a:lnTo>
                      <a:lnTo>
                        <a:pt x="215100" y="248772"/>
                      </a:lnTo>
                      <a:lnTo>
                        <a:pt x="209648" y="253338"/>
                      </a:lnTo>
                      <a:lnTo>
                        <a:pt x="209210" y="253715"/>
                      </a:lnTo>
                      <a:lnTo>
                        <a:pt x="208846" y="254164"/>
                      </a:lnTo>
                      <a:lnTo>
                        <a:pt x="204365" y="259677"/>
                      </a:lnTo>
                      <a:lnTo>
                        <a:pt x="203904" y="260235"/>
                      </a:lnTo>
                      <a:lnTo>
                        <a:pt x="203601" y="260891"/>
                      </a:lnTo>
                      <a:lnTo>
                        <a:pt x="200322" y="267752"/>
                      </a:lnTo>
                      <a:lnTo>
                        <a:pt x="199593" y="269257"/>
                      </a:lnTo>
                      <a:lnTo>
                        <a:pt x="199751" y="270921"/>
                      </a:lnTo>
                      <a:lnTo>
                        <a:pt x="200018" y="273872"/>
                      </a:lnTo>
                      <a:lnTo>
                        <a:pt x="200358" y="277648"/>
                      </a:lnTo>
                      <a:lnTo>
                        <a:pt x="203904" y="278996"/>
                      </a:lnTo>
                      <a:lnTo>
                        <a:pt x="206794" y="280101"/>
                      </a:lnTo>
                      <a:lnTo>
                        <a:pt x="207498" y="280368"/>
                      </a:lnTo>
                      <a:lnTo>
                        <a:pt x="208251" y="280453"/>
                      </a:lnTo>
                      <a:lnTo>
                        <a:pt x="211117" y="280781"/>
                      </a:lnTo>
                      <a:lnTo>
                        <a:pt x="210048" y="284193"/>
                      </a:lnTo>
                      <a:lnTo>
                        <a:pt x="207960" y="290823"/>
                      </a:lnTo>
                      <a:lnTo>
                        <a:pt x="206260" y="292900"/>
                      </a:lnTo>
                      <a:lnTo>
                        <a:pt x="201063" y="296761"/>
                      </a:lnTo>
                      <a:lnTo>
                        <a:pt x="197177" y="298400"/>
                      </a:lnTo>
                      <a:lnTo>
                        <a:pt x="193328" y="299056"/>
                      </a:lnTo>
                      <a:lnTo>
                        <a:pt x="192380" y="299214"/>
                      </a:lnTo>
                      <a:lnTo>
                        <a:pt x="191530" y="299663"/>
                      </a:lnTo>
                      <a:lnTo>
                        <a:pt x="189296" y="300841"/>
                      </a:lnTo>
                      <a:lnTo>
                        <a:pt x="188385" y="301315"/>
                      </a:lnTo>
                      <a:lnTo>
                        <a:pt x="187681" y="302068"/>
                      </a:lnTo>
                      <a:lnTo>
                        <a:pt x="183212" y="306852"/>
                      </a:lnTo>
                      <a:lnTo>
                        <a:pt x="181779" y="307823"/>
                      </a:lnTo>
                      <a:lnTo>
                        <a:pt x="173595" y="310288"/>
                      </a:lnTo>
                      <a:lnTo>
                        <a:pt x="172672" y="310556"/>
                      </a:lnTo>
                      <a:lnTo>
                        <a:pt x="171895" y="311102"/>
                      </a:lnTo>
                      <a:lnTo>
                        <a:pt x="168325" y="313579"/>
                      </a:lnTo>
                      <a:lnTo>
                        <a:pt x="167548" y="311964"/>
                      </a:lnTo>
                      <a:lnTo>
                        <a:pt x="166236" y="309220"/>
                      </a:lnTo>
                      <a:lnTo>
                        <a:pt x="163250" y="308637"/>
                      </a:lnTo>
                      <a:lnTo>
                        <a:pt x="161088" y="308212"/>
                      </a:lnTo>
                      <a:lnTo>
                        <a:pt x="157469" y="307508"/>
                      </a:lnTo>
                      <a:lnTo>
                        <a:pt x="155175" y="310398"/>
                      </a:lnTo>
                      <a:lnTo>
                        <a:pt x="152989" y="313142"/>
                      </a:lnTo>
                      <a:lnTo>
                        <a:pt x="152382" y="313907"/>
                      </a:lnTo>
                      <a:lnTo>
                        <a:pt x="150876" y="313409"/>
                      </a:lnTo>
                      <a:lnTo>
                        <a:pt x="149844" y="313069"/>
                      </a:lnTo>
                      <a:lnTo>
                        <a:pt x="144331" y="311260"/>
                      </a:lnTo>
                      <a:lnTo>
                        <a:pt x="142279" y="316700"/>
                      </a:lnTo>
                      <a:lnTo>
                        <a:pt x="142024" y="317392"/>
                      </a:lnTo>
                      <a:lnTo>
                        <a:pt x="140287" y="313348"/>
                      </a:lnTo>
                      <a:lnTo>
                        <a:pt x="140129" y="312996"/>
                      </a:lnTo>
                      <a:lnTo>
                        <a:pt x="139935" y="312668"/>
                      </a:lnTo>
                      <a:lnTo>
                        <a:pt x="138211" y="309742"/>
                      </a:lnTo>
                      <a:lnTo>
                        <a:pt x="136984" y="307666"/>
                      </a:lnTo>
                      <a:lnTo>
                        <a:pt x="134665" y="306986"/>
                      </a:lnTo>
                      <a:lnTo>
                        <a:pt x="132880" y="306463"/>
                      </a:lnTo>
                      <a:lnTo>
                        <a:pt x="128375" y="305152"/>
                      </a:lnTo>
                      <a:lnTo>
                        <a:pt x="125971" y="309183"/>
                      </a:lnTo>
                      <a:lnTo>
                        <a:pt x="124028" y="312438"/>
                      </a:lnTo>
                      <a:lnTo>
                        <a:pt x="123178" y="313871"/>
                      </a:lnTo>
                      <a:lnTo>
                        <a:pt x="123178" y="315546"/>
                      </a:lnTo>
                      <a:lnTo>
                        <a:pt x="123178" y="317526"/>
                      </a:lnTo>
                      <a:lnTo>
                        <a:pt x="123178" y="317951"/>
                      </a:lnTo>
                      <a:lnTo>
                        <a:pt x="110452" y="316906"/>
                      </a:lnTo>
                      <a:lnTo>
                        <a:pt x="109906" y="316870"/>
                      </a:lnTo>
                      <a:lnTo>
                        <a:pt x="109359" y="316919"/>
                      </a:lnTo>
                      <a:lnTo>
                        <a:pt x="105631" y="317283"/>
                      </a:lnTo>
                      <a:lnTo>
                        <a:pt x="104538" y="317392"/>
                      </a:lnTo>
                      <a:lnTo>
                        <a:pt x="103543" y="317878"/>
                      </a:lnTo>
                      <a:lnTo>
                        <a:pt x="96645" y="321266"/>
                      </a:lnTo>
                      <a:lnTo>
                        <a:pt x="95759" y="321703"/>
                      </a:lnTo>
                      <a:lnTo>
                        <a:pt x="95055" y="322407"/>
                      </a:lnTo>
                      <a:lnTo>
                        <a:pt x="85085" y="332279"/>
                      </a:lnTo>
                      <a:lnTo>
                        <a:pt x="80070" y="334429"/>
                      </a:lnTo>
                      <a:lnTo>
                        <a:pt x="77557" y="334659"/>
                      </a:lnTo>
                      <a:lnTo>
                        <a:pt x="70210" y="333360"/>
                      </a:lnTo>
                      <a:lnTo>
                        <a:pt x="69530" y="333239"/>
                      </a:lnTo>
                      <a:lnTo>
                        <a:pt x="68850" y="333263"/>
                      </a:lnTo>
                      <a:lnTo>
                        <a:pt x="61844" y="333591"/>
                      </a:lnTo>
                      <a:lnTo>
                        <a:pt x="60617" y="333141"/>
                      </a:lnTo>
                      <a:lnTo>
                        <a:pt x="54631" y="329535"/>
                      </a:lnTo>
                      <a:lnTo>
                        <a:pt x="53842" y="329049"/>
                      </a:lnTo>
                      <a:lnTo>
                        <a:pt x="52943" y="328831"/>
                      </a:lnTo>
                      <a:lnTo>
                        <a:pt x="45244" y="326961"/>
                      </a:lnTo>
                      <a:lnTo>
                        <a:pt x="44443" y="326766"/>
                      </a:lnTo>
                      <a:lnTo>
                        <a:pt x="43617" y="326791"/>
                      </a:lnTo>
                      <a:lnTo>
                        <a:pt x="17194" y="327689"/>
                      </a:lnTo>
                      <a:lnTo>
                        <a:pt x="12045" y="327859"/>
                      </a:lnTo>
                      <a:lnTo>
                        <a:pt x="11365" y="332959"/>
                      </a:lnTo>
                      <a:lnTo>
                        <a:pt x="10443" y="340087"/>
                      </a:lnTo>
                      <a:lnTo>
                        <a:pt x="2598" y="350652"/>
                      </a:lnTo>
                      <a:lnTo>
                        <a:pt x="1724" y="351842"/>
                      </a:lnTo>
                      <a:lnTo>
                        <a:pt x="1481" y="353299"/>
                      </a:lnTo>
                      <a:lnTo>
                        <a:pt x="218" y="361058"/>
                      </a:lnTo>
                      <a:lnTo>
                        <a:pt x="0" y="362357"/>
                      </a:lnTo>
                      <a:lnTo>
                        <a:pt x="340" y="363632"/>
                      </a:lnTo>
                      <a:lnTo>
                        <a:pt x="4408" y="378471"/>
                      </a:lnTo>
                      <a:lnTo>
                        <a:pt x="4651" y="379321"/>
                      </a:lnTo>
                      <a:lnTo>
                        <a:pt x="5112" y="380074"/>
                      </a:lnTo>
                      <a:lnTo>
                        <a:pt x="6897" y="382952"/>
                      </a:lnTo>
                      <a:lnTo>
                        <a:pt x="7468" y="383875"/>
                      </a:lnTo>
                      <a:lnTo>
                        <a:pt x="8330" y="384543"/>
                      </a:lnTo>
                      <a:lnTo>
                        <a:pt x="12568" y="387845"/>
                      </a:lnTo>
                      <a:lnTo>
                        <a:pt x="13624" y="389970"/>
                      </a:lnTo>
                      <a:lnTo>
                        <a:pt x="14001" y="390723"/>
                      </a:lnTo>
                      <a:lnTo>
                        <a:pt x="14571" y="391343"/>
                      </a:lnTo>
                      <a:lnTo>
                        <a:pt x="17485" y="394560"/>
                      </a:lnTo>
                      <a:lnTo>
                        <a:pt x="18639" y="395823"/>
                      </a:lnTo>
                      <a:lnTo>
                        <a:pt x="20279" y="396309"/>
                      </a:lnTo>
                      <a:lnTo>
                        <a:pt x="24589" y="397572"/>
                      </a:lnTo>
                      <a:lnTo>
                        <a:pt x="24893" y="397657"/>
                      </a:lnTo>
                      <a:lnTo>
                        <a:pt x="25196" y="397705"/>
                      </a:lnTo>
                      <a:lnTo>
                        <a:pt x="29131" y="398434"/>
                      </a:lnTo>
                      <a:lnTo>
                        <a:pt x="31159" y="399296"/>
                      </a:lnTo>
                      <a:lnTo>
                        <a:pt x="32251" y="400766"/>
                      </a:lnTo>
                      <a:lnTo>
                        <a:pt x="32348" y="402138"/>
                      </a:lnTo>
                      <a:lnTo>
                        <a:pt x="32470" y="403680"/>
                      </a:lnTo>
                      <a:lnTo>
                        <a:pt x="33308" y="404979"/>
                      </a:lnTo>
                      <a:lnTo>
                        <a:pt x="34291" y="406497"/>
                      </a:lnTo>
                      <a:lnTo>
                        <a:pt x="36295" y="409581"/>
                      </a:lnTo>
                      <a:lnTo>
                        <a:pt x="39950" y="409241"/>
                      </a:lnTo>
                      <a:lnTo>
                        <a:pt x="45451" y="408731"/>
                      </a:lnTo>
                      <a:lnTo>
                        <a:pt x="46167" y="408671"/>
                      </a:lnTo>
                      <a:lnTo>
                        <a:pt x="46847" y="408440"/>
                      </a:lnTo>
                      <a:lnTo>
                        <a:pt x="60957" y="403680"/>
                      </a:lnTo>
                      <a:lnTo>
                        <a:pt x="64855" y="403048"/>
                      </a:lnTo>
                      <a:lnTo>
                        <a:pt x="71084" y="403400"/>
                      </a:lnTo>
                      <a:lnTo>
                        <a:pt x="72250" y="403473"/>
                      </a:lnTo>
                      <a:lnTo>
                        <a:pt x="73368" y="403097"/>
                      </a:lnTo>
                      <a:lnTo>
                        <a:pt x="75784" y="402283"/>
                      </a:lnTo>
                      <a:lnTo>
                        <a:pt x="76658" y="401992"/>
                      </a:lnTo>
                      <a:lnTo>
                        <a:pt x="77411" y="401458"/>
                      </a:lnTo>
                      <a:lnTo>
                        <a:pt x="80143" y="399478"/>
                      </a:lnTo>
                      <a:lnTo>
                        <a:pt x="80738" y="400158"/>
                      </a:lnTo>
                      <a:lnTo>
                        <a:pt x="96475" y="428099"/>
                      </a:lnTo>
                      <a:lnTo>
                        <a:pt x="91946" y="431803"/>
                      </a:lnTo>
                      <a:lnTo>
                        <a:pt x="91557" y="432119"/>
                      </a:lnTo>
                      <a:lnTo>
                        <a:pt x="91218" y="432507"/>
                      </a:lnTo>
                      <a:lnTo>
                        <a:pt x="88583" y="435519"/>
                      </a:lnTo>
                      <a:lnTo>
                        <a:pt x="87854" y="436344"/>
                      </a:lnTo>
                      <a:lnTo>
                        <a:pt x="87477" y="437376"/>
                      </a:lnTo>
                      <a:lnTo>
                        <a:pt x="86785" y="439210"/>
                      </a:lnTo>
                      <a:lnTo>
                        <a:pt x="86555" y="439805"/>
                      </a:lnTo>
                      <a:lnTo>
                        <a:pt x="86458" y="440436"/>
                      </a:lnTo>
                      <a:lnTo>
                        <a:pt x="85936" y="443861"/>
                      </a:lnTo>
                      <a:lnTo>
                        <a:pt x="85802" y="444298"/>
                      </a:lnTo>
                      <a:lnTo>
                        <a:pt x="85535" y="444686"/>
                      </a:lnTo>
                      <a:lnTo>
                        <a:pt x="83495" y="446799"/>
                      </a:lnTo>
                      <a:lnTo>
                        <a:pt x="83227" y="447079"/>
                      </a:lnTo>
                      <a:lnTo>
                        <a:pt x="82985" y="447394"/>
                      </a:lnTo>
                      <a:lnTo>
                        <a:pt x="82475" y="448087"/>
                      </a:lnTo>
                      <a:lnTo>
                        <a:pt x="82001" y="448694"/>
                      </a:lnTo>
                      <a:lnTo>
                        <a:pt x="81576" y="449264"/>
                      </a:lnTo>
                      <a:lnTo>
                        <a:pt x="81285" y="449920"/>
                      </a:lnTo>
                      <a:lnTo>
                        <a:pt x="79973" y="452883"/>
                      </a:lnTo>
                      <a:lnTo>
                        <a:pt x="79791" y="453284"/>
                      </a:lnTo>
                      <a:lnTo>
                        <a:pt x="79670" y="453696"/>
                      </a:lnTo>
                      <a:lnTo>
                        <a:pt x="78686" y="457169"/>
                      </a:lnTo>
                      <a:lnTo>
                        <a:pt x="78577" y="457582"/>
                      </a:lnTo>
                      <a:lnTo>
                        <a:pt x="78516" y="458007"/>
                      </a:lnTo>
                      <a:lnTo>
                        <a:pt x="78006" y="461747"/>
                      </a:lnTo>
                      <a:lnTo>
                        <a:pt x="77957" y="462099"/>
                      </a:lnTo>
                      <a:lnTo>
                        <a:pt x="77945" y="462464"/>
                      </a:lnTo>
                      <a:lnTo>
                        <a:pt x="77884" y="466167"/>
                      </a:lnTo>
                      <a:lnTo>
                        <a:pt x="77873" y="467248"/>
                      </a:lnTo>
                      <a:lnTo>
                        <a:pt x="78225" y="468268"/>
                      </a:lnTo>
                      <a:lnTo>
                        <a:pt x="80507" y="474813"/>
                      </a:lnTo>
                      <a:lnTo>
                        <a:pt x="80981" y="476173"/>
                      </a:lnTo>
                      <a:lnTo>
                        <a:pt x="82013" y="477181"/>
                      </a:lnTo>
                      <a:lnTo>
                        <a:pt x="90586" y="485475"/>
                      </a:lnTo>
                      <a:lnTo>
                        <a:pt x="93088" y="490417"/>
                      </a:lnTo>
                      <a:lnTo>
                        <a:pt x="95735" y="500107"/>
                      </a:lnTo>
                      <a:lnTo>
                        <a:pt x="95383" y="501880"/>
                      </a:lnTo>
                      <a:lnTo>
                        <a:pt x="94824" y="504515"/>
                      </a:lnTo>
                      <a:lnTo>
                        <a:pt x="93403" y="511242"/>
                      </a:lnTo>
                      <a:lnTo>
                        <a:pt x="100252" y="511825"/>
                      </a:lnTo>
                      <a:lnTo>
                        <a:pt x="130379" y="514387"/>
                      </a:lnTo>
                      <a:lnTo>
                        <a:pt x="131265" y="514460"/>
                      </a:lnTo>
                      <a:lnTo>
                        <a:pt x="132152" y="514266"/>
                      </a:lnTo>
                      <a:lnTo>
                        <a:pt x="142874" y="511983"/>
                      </a:lnTo>
                      <a:lnTo>
                        <a:pt x="155733" y="510841"/>
                      </a:lnTo>
                      <a:lnTo>
                        <a:pt x="179266" y="507247"/>
                      </a:lnTo>
                      <a:lnTo>
                        <a:pt x="194141" y="503628"/>
                      </a:lnTo>
                      <a:lnTo>
                        <a:pt x="194772" y="503470"/>
                      </a:lnTo>
                      <a:lnTo>
                        <a:pt x="195355" y="503191"/>
                      </a:lnTo>
                      <a:lnTo>
                        <a:pt x="207511" y="497290"/>
                      </a:lnTo>
                      <a:lnTo>
                        <a:pt x="207826" y="497132"/>
                      </a:lnTo>
                      <a:lnTo>
                        <a:pt x="208130" y="496938"/>
                      </a:lnTo>
                      <a:lnTo>
                        <a:pt x="217601" y="490842"/>
                      </a:lnTo>
                      <a:lnTo>
                        <a:pt x="224753" y="490842"/>
                      </a:lnTo>
                      <a:lnTo>
                        <a:pt x="235160" y="498978"/>
                      </a:lnTo>
                      <a:lnTo>
                        <a:pt x="247691" y="507478"/>
                      </a:lnTo>
                      <a:lnTo>
                        <a:pt x="249501" y="508716"/>
                      </a:lnTo>
                      <a:lnTo>
                        <a:pt x="251699" y="508498"/>
                      </a:lnTo>
                      <a:lnTo>
                        <a:pt x="263793" y="507295"/>
                      </a:lnTo>
                      <a:lnTo>
                        <a:pt x="273604" y="507320"/>
                      </a:lnTo>
                      <a:lnTo>
                        <a:pt x="283926" y="509566"/>
                      </a:lnTo>
                      <a:lnTo>
                        <a:pt x="284314" y="509651"/>
                      </a:lnTo>
                      <a:lnTo>
                        <a:pt x="284728" y="509688"/>
                      </a:lnTo>
                      <a:lnTo>
                        <a:pt x="313470" y="512019"/>
                      </a:lnTo>
                      <a:lnTo>
                        <a:pt x="314113" y="512068"/>
                      </a:lnTo>
                      <a:lnTo>
                        <a:pt x="314757" y="511983"/>
                      </a:lnTo>
                      <a:lnTo>
                        <a:pt x="332352" y="509651"/>
                      </a:lnTo>
                      <a:lnTo>
                        <a:pt x="350676" y="506190"/>
                      </a:lnTo>
                      <a:lnTo>
                        <a:pt x="364203" y="507308"/>
                      </a:lnTo>
                      <a:lnTo>
                        <a:pt x="366146" y="507466"/>
                      </a:lnTo>
                      <a:lnTo>
                        <a:pt x="367822" y="506470"/>
                      </a:lnTo>
                      <a:lnTo>
                        <a:pt x="376419" y="501333"/>
                      </a:lnTo>
                      <a:lnTo>
                        <a:pt x="393710" y="500265"/>
                      </a:lnTo>
                      <a:lnTo>
                        <a:pt x="405962" y="499075"/>
                      </a:lnTo>
                      <a:lnTo>
                        <a:pt x="407153" y="498965"/>
                      </a:lnTo>
                      <a:lnTo>
                        <a:pt x="408209" y="498407"/>
                      </a:lnTo>
                      <a:lnTo>
                        <a:pt x="421336" y="491485"/>
                      </a:lnTo>
                      <a:lnTo>
                        <a:pt x="433005" y="486932"/>
                      </a:lnTo>
                      <a:lnTo>
                        <a:pt x="434122" y="486495"/>
                      </a:lnTo>
                      <a:lnTo>
                        <a:pt x="434972" y="485681"/>
                      </a:lnTo>
                      <a:lnTo>
                        <a:pt x="443715" y="477387"/>
                      </a:lnTo>
                      <a:lnTo>
                        <a:pt x="445403" y="475797"/>
                      </a:lnTo>
                      <a:lnTo>
                        <a:pt x="445597" y="473502"/>
                      </a:lnTo>
                      <a:lnTo>
                        <a:pt x="446229" y="466022"/>
                      </a:lnTo>
                      <a:lnTo>
                        <a:pt x="446799" y="456951"/>
                      </a:lnTo>
                      <a:lnTo>
                        <a:pt x="451049" y="448584"/>
                      </a:lnTo>
                      <a:lnTo>
                        <a:pt x="457813" y="443229"/>
                      </a:lnTo>
                      <a:lnTo>
                        <a:pt x="459076" y="442124"/>
                      </a:lnTo>
                      <a:lnTo>
                        <a:pt x="468863" y="433988"/>
                      </a:lnTo>
                      <a:lnTo>
                        <a:pt x="469142" y="433758"/>
                      </a:lnTo>
                      <a:lnTo>
                        <a:pt x="469397" y="433491"/>
                      </a:lnTo>
                      <a:lnTo>
                        <a:pt x="474971" y="427577"/>
                      </a:lnTo>
                      <a:lnTo>
                        <a:pt x="475226" y="427310"/>
                      </a:lnTo>
                      <a:lnTo>
                        <a:pt x="475457" y="427006"/>
                      </a:lnTo>
                      <a:lnTo>
                        <a:pt x="480253" y="420486"/>
                      </a:lnTo>
                      <a:lnTo>
                        <a:pt x="482451" y="417377"/>
                      </a:lnTo>
                      <a:lnTo>
                        <a:pt x="484746" y="416053"/>
                      </a:lnTo>
                      <a:lnTo>
                        <a:pt x="493428" y="410953"/>
                      </a:lnTo>
                      <a:lnTo>
                        <a:pt x="493841" y="410698"/>
                      </a:lnTo>
                      <a:lnTo>
                        <a:pt x="494217" y="410383"/>
                      </a:lnTo>
                      <a:lnTo>
                        <a:pt x="504175" y="402113"/>
                      </a:lnTo>
                      <a:lnTo>
                        <a:pt x="504478" y="401858"/>
                      </a:lnTo>
                      <a:lnTo>
                        <a:pt x="504733" y="401567"/>
                      </a:lnTo>
                      <a:lnTo>
                        <a:pt x="508522" y="397475"/>
                      </a:lnTo>
                      <a:lnTo>
                        <a:pt x="513537" y="392108"/>
                      </a:lnTo>
                      <a:lnTo>
                        <a:pt x="514010" y="391610"/>
                      </a:lnTo>
                      <a:lnTo>
                        <a:pt x="514338" y="391015"/>
                      </a:lnTo>
                      <a:lnTo>
                        <a:pt x="523846" y="374682"/>
                      </a:lnTo>
                      <a:lnTo>
                        <a:pt x="529723" y="373905"/>
                      </a:lnTo>
                      <a:lnTo>
                        <a:pt x="532407" y="373335"/>
                      </a:lnTo>
                      <a:lnTo>
                        <a:pt x="546797" y="370226"/>
                      </a:lnTo>
                      <a:lnTo>
                        <a:pt x="563347" y="366741"/>
                      </a:lnTo>
                      <a:lnTo>
                        <a:pt x="571046" y="365211"/>
                      </a:lnTo>
                      <a:lnTo>
                        <a:pt x="574786" y="371720"/>
                      </a:lnTo>
                      <a:lnTo>
                        <a:pt x="577226" y="375994"/>
                      </a:lnTo>
                      <a:lnTo>
                        <a:pt x="581914" y="374488"/>
                      </a:lnTo>
                      <a:lnTo>
                        <a:pt x="590754" y="371647"/>
                      </a:lnTo>
                      <a:lnTo>
                        <a:pt x="613473" y="364507"/>
                      </a:lnTo>
                      <a:lnTo>
                        <a:pt x="613862" y="364385"/>
                      </a:lnTo>
                      <a:lnTo>
                        <a:pt x="614238" y="364215"/>
                      </a:lnTo>
                      <a:lnTo>
                        <a:pt x="631857" y="355934"/>
                      </a:lnTo>
                      <a:lnTo>
                        <a:pt x="633922" y="355059"/>
                      </a:lnTo>
                      <a:lnTo>
                        <a:pt x="641001" y="352084"/>
                      </a:lnTo>
                      <a:lnTo>
                        <a:pt x="651469" y="347762"/>
                      </a:lnTo>
                      <a:lnTo>
                        <a:pt x="652233" y="347446"/>
                      </a:lnTo>
                      <a:lnTo>
                        <a:pt x="652901" y="346936"/>
                      </a:lnTo>
                      <a:lnTo>
                        <a:pt x="655524" y="344872"/>
                      </a:lnTo>
                      <a:lnTo>
                        <a:pt x="664170" y="338132"/>
                      </a:lnTo>
                      <a:lnTo>
                        <a:pt x="674188" y="334890"/>
                      </a:lnTo>
                      <a:lnTo>
                        <a:pt x="674613" y="334744"/>
                      </a:lnTo>
                      <a:lnTo>
                        <a:pt x="675026" y="334538"/>
                      </a:lnTo>
                      <a:lnTo>
                        <a:pt x="689306" y="327398"/>
                      </a:lnTo>
                      <a:lnTo>
                        <a:pt x="698498" y="322480"/>
                      </a:lnTo>
                      <a:lnTo>
                        <a:pt x="710714" y="336129"/>
                      </a:lnTo>
                      <a:lnTo>
                        <a:pt x="716081" y="342127"/>
                      </a:lnTo>
                      <a:lnTo>
                        <a:pt x="720367" y="335303"/>
                      </a:lnTo>
                      <a:lnTo>
                        <a:pt x="724848" y="328175"/>
                      </a:lnTo>
                      <a:lnTo>
                        <a:pt x="725225" y="327592"/>
                      </a:lnTo>
                      <a:lnTo>
                        <a:pt x="725455" y="326936"/>
                      </a:lnTo>
                      <a:lnTo>
                        <a:pt x="728746" y="317428"/>
                      </a:lnTo>
                      <a:lnTo>
                        <a:pt x="729074" y="316457"/>
                      </a:lnTo>
                      <a:lnTo>
                        <a:pt x="729074" y="315437"/>
                      </a:lnTo>
                      <a:lnTo>
                        <a:pt x="729074" y="306755"/>
                      </a:lnTo>
                      <a:lnTo>
                        <a:pt x="730337" y="302056"/>
                      </a:lnTo>
                      <a:lnTo>
                        <a:pt x="743815" y="296227"/>
                      </a:lnTo>
                      <a:lnTo>
                        <a:pt x="764337" y="290435"/>
                      </a:lnTo>
                      <a:lnTo>
                        <a:pt x="764701" y="290325"/>
                      </a:lnTo>
                      <a:lnTo>
                        <a:pt x="765054" y="290180"/>
                      </a:lnTo>
                      <a:lnTo>
                        <a:pt x="795896" y="277126"/>
                      </a:lnTo>
                      <a:lnTo>
                        <a:pt x="821457" y="266768"/>
                      </a:lnTo>
                      <a:lnTo>
                        <a:pt x="828683" y="265906"/>
                      </a:lnTo>
                      <a:lnTo>
                        <a:pt x="829812" y="266525"/>
                      </a:lnTo>
                      <a:lnTo>
                        <a:pt x="832301" y="270945"/>
                      </a:lnTo>
                      <a:lnTo>
                        <a:pt x="832969" y="272123"/>
                      </a:lnTo>
                      <a:lnTo>
                        <a:pt x="834074" y="272912"/>
                      </a:lnTo>
                      <a:lnTo>
                        <a:pt x="844007" y="279992"/>
                      </a:lnTo>
                      <a:lnTo>
                        <a:pt x="844420" y="280283"/>
                      </a:lnTo>
                      <a:lnTo>
                        <a:pt x="844881" y="280514"/>
                      </a:lnTo>
                      <a:lnTo>
                        <a:pt x="854814" y="285310"/>
                      </a:lnTo>
                      <a:lnTo>
                        <a:pt x="857267" y="286500"/>
                      </a:lnTo>
                      <a:lnTo>
                        <a:pt x="859793" y="285456"/>
                      </a:lnTo>
                      <a:lnTo>
                        <a:pt x="872943" y="279980"/>
                      </a:lnTo>
                      <a:lnTo>
                        <a:pt x="886204" y="279980"/>
                      </a:lnTo>
                      <a:lnTo>
                        <a:pt x="887928" y="279980"/>
                      </a:lnTo>
                      <a:lnTo>
                        <a:pt x="889385" y="279081"/>
                      </a:lnTo>
                      <a:lnTo>
                        <a:pt x="895202" y="275511"/>
                      </a:lnTo>
                      <a:lnTo>
                        <a:pt x="900678" y="276337"/>
                      </a:lnTo>
                      <a:lnTo>
                        <a:pt x="904564" y="276932"/>
                      </a:lnTo>
                      <a:lnTo>
                        <a:pt x="906689" y="273629"/>
                      </a:lnTo>
                      <a:lnTo>
                        <a:pt x="911048" y="266865"/>
                      </a:lnTo>
                      <a:lnTo>
                        <a:pt x="911254" y="266805"/>
                      </a:lnTo>
                      <a:lnTo>
                        <a:pt x="920083" y="270654"/>
                      </a:lnTo>
                      <a:lnTo>
                        <a:pt x="921795" y="271395"/>
                      </a:lnTo>
                      <a:lnTo>
                        <a:pt x="923604" y="271055"/>
                      </a:lnTo>
                      <a:lnTo>
                        <a:pt x="930234" y="269840"/>
                      </a:lnTo>
                      <a:lnTo>
                        <a:pt x="934363" y="269087"/>
                      </a:lnTo>
                      <a:lnTo>
                        <a:pt x="935115" y="264959"/>
                      </a:lnTo>
                      <a:lnTo>
                        <a:pt x="935395" y="263368"/>
                      </a:lnTo>
                      <a:lnTo>
                        <a:pt x="938357" y="266015"/>
                      </a:lnTo>
                      <a:lnTo>
                        <a:pt x="948060" y="275365"/>
                      </a:lnTo>
                      <a:lnTo>
                        <a:pt x="948375" y="275669"/>
                      </a:lnTo>
                      <a:lnTo>
                        <a:pt x="948727" y="275924"/>
                      </a:lnTo>
                      <a:lnTo>
                        <a:pt x="955358" y="280672"/>
                      </a:lnTo>
                      <a:lnTo>
                        <a:pt x="956147" y="281243"/>
                      </a:lnTo>
                      <a:lnTo>
                        <a:pt x="957082" y="281534"/>
                      </a:lnTo>
                      <a:lnTo>
                        <a:pt x="963068" y="283392"/>
                      </a:lnTo>
                      <a:lnTo>
                        <a:pt x="971860" y="293871"/>
                      </a:lnTo>
                      <a:lnTo>
                        <a:pt x="978648" y="301218"/>
                      </a:lnTo>
                      <a:lnTo>
                        <a:pt x="980166" y="302857"/>
                      </a:lnTo>
                      <a:lnTo>
                        <a:pt x="982400" y="303112"/>
                      </a:lnTo>
                      <a:lnTo>
                        <a:pt x="991944" y="304241"/>
                      </a:lnTo>
                      <a:lnTo>
                        <a:pt x="998125" y="305905"/>
                      </a:lnTo>
                      <a:lnTo>
                        <a:pt x="1002302" y="312268"/>
                      </a:lnTo>
                      <a:lnTo>
                        <a:pt x="1003784" y="314539"/>
                      </a:lnTo>
                      <a:lnTo>
                        <a:pt x="1006467" y="314951"/>
                      </a:lnTo>
                      <a:lnTo>
                        <a:pt x="1020978" y="317173"/>
                      </a:lnTo>
                      <a:lnTo>
                        <a:pt x="1033364" y="323354"/>
                      </a:lnTo>
                      <a:lnTo>
                        <a:pt x="1033364" y="324350"/>
                      </a:lnTo>
                      <a:lnTo>
                        <a:pt x="1033364" y="333603"/>
                      </a:lnTo>
                      <a:lnTo>
                        <a:pt x="1041852" y="329911"/>
                      </a:lnTo>
                      <a:lnTo>
                        <a:pt x="1055379" y="324034"/>
                      </a:lnTo>
                      <a:lnTo>
                        <a:pt x="1056229" y="323670"/>
                      </a:lnTo>
                      <a:lnTo>
                        <a:pt x="1056933" y="323063"/>
                      </a:lnTo>
                      <a:lnTo>
                        <a:pt x="1062155" y="318558"/>
                      </a:lnTo>
                      <a:lnTo>
                        <a:pt x="1062410" y="318327"/>
                      </a:lnTo>
                      <a:lnTo>
                        <a:pt x="1062653" y="318072"/>
                      </a:lnTo>
                      <a:lnTo>
                        <a:pt x="1065628" y="314830"/>
                      </a:lnTo>
                      <a:lnTo>
                        <a:pt x="1065858" y="314587"/>
                      </a:lnTo>
                      <a:lnTo>
                        <a:pt x="1066065" y="314320"/>
                      </a:lnTo>
                      <a:lnTo>
                        <a:pt x="1068141" y="311503"/>
                      </a:lnTo>
                      <a:lnTo>
                        <a:pt x="1069270" y="310459"/>
                      </a:lnTo>
                      <a:lnTo>
                        <a:pt x="1071299" y="309487"/>
                      </a:lnTo>
                      <a:lnTo>
                        <a:pt x="1072124" y="309293"/>
                      </a:lnTo>
                      <a:lnTo>
                        <a:pt x="1072161" y="310167"/>
                      </a:lnTo>
                      <a:lnTo>
                        <a:pt x="1072853" y="311418"/>
                      </a:lnTo>
                      <a:lnTo>
                        <a:pt x="1073594" y="312790"/>
                      </a:lnTo>
                      <a:lnTo>
                        <a:pt x="1076059" y="317307"/>
                      </a:lnTo>
                      <a:lnTo>
                        <a:pt x="1080904" y="315631"/>
                      </a:lnTo>
                      <a:lnTo>
                        <a:pt x="1085044" y="314199"/>
                      </a:lnTo>
                      <a:lnTo>
                        <a:pt x="1085542" y="314028"/>
                      </a:lnTo>
                      <a:lnTo>
                        <a:pt x="1086004" y="313773"/>
                      </a:lnTo>
                      <a:lnTo>
                        <a:pt x="1089501" y="311843"/>
                      </a:lnTo>
                      <a:lnTo>
                        <a:pt x="1090982" y="311017"/>
                      </a:lnTo>
                      <a:lnTo>
                        <a:pt x="1091832" y="309536"/>
                      </a:lnTo>
                      <a:lnTo>
                        <a:pt x="1092682" y="308042"/>
                      </a:lnTo>
                      <a:lnTo>
                        <a:pt x="1093702" y="306245"/>
                      </a:lnTo>
                      <a:lnTo>
                        <a:pt x="1093423" y="304193"/>
                      </a:lnTo>
                      <a:lnTo>
                        <a:pt x="1093144" y="302153"/>
                      </a:lnTo>
                      <a:lnTo>
                        <a:pt x="1093046" y="298777"/>
                      </a:lnTo>
                      <a:lnTo>
                        <a:pt x="1093471" y="297040"/>
                      </a:lnTo>
                      <a:lnTo>
                        <a:pt x="1096252" y="291892"/>
                      </a:lnTo>
                      <a:lnTo>
                        <a:pt x="1096495" y="291467"/>
                      </a:lnTo>
                      <a:lnTo>
                        <a:pt x="1096653" y="291005"/>
                      </a:lnTo>
                      <a:lnTo>
                        <a:pt x="1097673" y="288103"/>
                      </a:lnTo>
                      <a:lnTo>
                        <a:pt x="1098256" y="286452"/>
                      </a:lnTo>
                      <a:lnTo>
                        <a:pt x="1097867" y="284740"/>
                      </a:lnTo>
                      <a:lnTo>
                        <a:pt x="1096568" y="279020"/>
                      </a:lnTo>
                      <a:lnTo>
                        <a:pt x="1096191" y="277369"/>
                      </a:lnTo>
                      <a:lnTo>
                        <a:pt x="1095013" y="276155"/>
                      </a:lnTo>
                      <a:lnTo>
                        <a:pt x="1086538" y="267363"/>
                      </a:lnTo>
                      <a:lnTo>
                        <a:pt x="1085251" y="264801"/>
                      </a:lnTo>
                      <a:lnTo>
                        <a:pt x="1085955" y="260587"/>
                      </a:lnTo>
                      <a:lnTo>
                        <a:pt x="1091213" y="248979"/>
                      </a:lnTo>
                      <a:lnTo>
                        <a:pt x="1091978" y="247267"/>
                      </a:lnTo>
                      <a:lnTo>
                        <a:pt x="1091650" y="245421"/>
                      </a:lnTo>
                      <a:lnTo>
                        <a:pt x="1090667" y="239823"/>
                      </a:lnTo>
                      <a:lnTo>
                        <a:pt x="1090144" y="236860"/>
                      </a:lnTo>
                      <a:lnTo>
                        <a:pt x="1087473" y="235488"/>
                      </a:lnTo>
                      <a:lnTo>
                        <a:pt x="1080819" y="232039"/>
                      </a:lnTo>
                      <a:lnTo>
                        <a:pt x="1071189" y="224741"/>
                      </a:lnTo>
                      <a:lnTo>
                        <a:pt x="1070679" y="224207"/>
                      </a:lnTo>
                      <a:lnTo>
                        <a:pt x="1069173" y="220297"/>
                      </a:lnTo>
                      <a:lnTo>
                        <a:pt x="1068299" y="218051"/>
                      </a:lnTo>
                      <a:lnTo>
                        <a:pt x="1066125" y="217019"/>
                      </a:lnTo>
                      <a:lnTo>
                        <a:pt x="1064681" y="216326"/>
                      </a:lnTo>
                      <a:lnTo>
                        <a:pt x="1063405" y="215707"/>
                      </a:lnTo>
                      <a:lnTo>
                        <a:pt x="1061985" y="215719"/>
                      </a:lnTo>
                      <a:lnTo>
                        <a:pt x="1061402" y="215719"/>
                      </a:lnTo>
                      <a:lnTo>
                        <a:pt x="1049575" y="205920"/>
                      </a:lnTo>
                      <a:lnTo>
                        <a:pt x="1048518" y="205046"/>
                      </a:lnTo>
                      <a:lnTo>
                        <a:pt x="1047182" y="204706"/>
                      </a:lnTo>
                      <a:lnTo>
                        <a:pt x="1040249" y="202957"/>
                      </a:lnTo>
                      <a:lnTo>
                        <a:pt x="1038245" y="202447"/>
                      </a:lnTo>
                      <a:lnTo>
                        <a:pt x="1036290" y="203212"/>
                      </a:lnTo>
                      <a:lnTo>
                        <a:pt x="1027778" y="206916"/>
                      </a:lnTo>
                      <a:lnTo>
                        <a:pt x="1027414" y="207073"/>
                      </a:lnTo>
                      <a:lnTo>
                        <a:pt x="1027062" y="207280"/>
                      </a:lnTo>
                      <a:lnTo>
                        <a:pt x="1021209" y="210826"/>
                      </a:lnTo>
                      <a:lnTo>
                        <a:pt x="1017530" y="211664"/>
                      </a:lnTo>
                      <a:lnTo>
                        <a:pt x="1013729" y="210862"/>
                      </a:lnTo>
                      <a:lnTo>
                        <a:pt x="1010365" y="209028"/>
                      </a:lnTo>
                      <a:lnTo>
                        <a:pt x="1008410" y="197068"/>
                      </a:lnTo>
                      <a:lnTo>
                        <a:pt x="1008155" y="195441"/>
                      </a:lnTo>
                      <a:lnTo>
                        <a:pt x="1007099" y="194178"/>
                      </a:lnTo>
                      <a:lnTo>
                        <a:pt x="998599" y="183929"/>
                      </a:lnTo>
                      <a:lnTo>
                        <a:pt x="997967" y="183176"/>
                      </a:lnTo>
                      <a:lnTo>
                        <a:pt x="997129" y="182654"/>
                      </a:lnTo>
                      <a:lnTo>
                        <a:pt x="984634" y="174907"/>
                      </a:lnTo>
                      <a:lnTo>
                        <a:pt x="971994" y="161173"/>
                      </a:lnTo>
                      <a:lnTo>
                        <a:pt x="970767" y="159837"/>
                      </a:lnTo>
                      <a:lnTo>
                        <a:pt x="969006" y="159400"/>
                      </a:lnTo>
                      <a:lnTo>
                        <a:pt x="952953" y="155320"/>
                      </a:lnTo>
                      <a:lnTo>
                        <a:pt x="950780" y="154774"/>
                      </a:lnTo>
                      <a:lnTo>
                        <a:pt x="948776" y="155757"/>
                      </a:lnTo>
                      <a:lnTo>
                        <a:pt x="938382" y="160870"/>
                      </a:lnTo>
                      <a:lnTo>
                        <a:pt x="936658" y="161720"/>
                      </a:lnTo>
                      <a:lnTo>
                        <a:pt x="935735" y="163395"/>
                      </a:lnTo>
                      <a:lnTo>
                        <a:pt x="930100" y="173644"/>
                      </a:lnTo>
                      <a:lnTo>
                        <a:pt x="929663" y="174445"/>
                      </a:lnTo>
                      <a:lnTo>
                        <a:pt x="929469" y="175344"/>
                      </a:lnTo>
                      <a:lnTo>
                        <a:pt x="928097" y="182108"/>
                      </a:lnTo>
                      <a:lnTo>
                        <a:pt x="927283" y="181355"/>
                      </a:lnTo>
                      <a:lnTo>
                        <a:pt x="924843" y="179072"/>
                      </a:lnTo>
                      <a:lnTo>
                        <a:pt x="928765" y="174263"/>
                      </a:lnTo>
                      <a:lnTo>
                        <a:pt x="931509" y="170912"/>
                      </a:lnTo>
                      <a:lnTo>
                        <a:pt x="929226" y="167232"/>
                      </a:lnTo>
                      <a:lnTo>
                        <a:pt x="926664" y="163104"/>
                      </a:lnTo>
                      <a:lnTo>
                        <a:pt x="933561" y="159388"/>
                      </a:lnTo>
                      <a:lnTo>
                        <a:pt x="933938" y="159182"/>
                      </a:lnTo>
                      <a:lnTo>
                        <a:pt x="934290" y="158927"/>
                      </a:lnTo>
                      <a:lnTo>
                        <a:pt x="952249" y="145606"/>
                      </a:lnTo>
                      <a:lnTo>
                        <a:pt x="955030" y="143542"/>
                      </a:lnTo>
                      <a:lnTo>
                        <a:pt x="954666" y="140093"/>
                      </a:lnTo>
                      <a:lnTo>
                        <a:pt x="953633" y="130306"/>
                      </a:lnTo>
                      <a:lnTo>
                        <a:pt x="953573" y="129772"/>
                      </a:lnTo>
                      <a:lnTo>
                        <a:pt x="953427" y="129261"/>
                      </a:lnTo>
                      <a:lnTo>
                        <a:pt x="950440" y="118952"/>
                      </a:lnTo>
                      <a:lnTo>
                        <a:pt x="950063" y="117665"/>
                      </a:lnTo>
                      <a:lnTo>
                        <a:pt x="949189" y="116657"/>
                      </a:lnTo>
                      <a:lnTo>
                        <a:pt x="939657" y="105741"/>
                      </a:lnTo>
                      <a:lnTo>
                        <a:pt x="938005" y="102778"/>
                      </a:lnTo>
                      <a:lnTo>
                        <a:pt x="936232" y="94727"/>
                      </a:lnTo>
                      <a:lnTo>
                        <a:pt x="936123" y="94217"/>
                      </a:lnTo>
                      <a:lnTo>
                        <a:pt x="935917" y="93731"/>
                      </a:lnTo>
                      <a:lnTo>
                        <a:pt x="934363" y="89906"/>
                      </a:lnTo>
                      <a:lnTo>
                        <a:pt x="933828" y="88570"/>
                      </a:lnTo>
                      <a:lnTo>
                        <a:pt x="932735" y="87623"/>
                      </a:lnTo>
                      <a:lnTo>
                        <a:pt x="929457" y="84758"/>
                      </a:lnTo>
                      <a:lnTo>
                        <a:pt x="928400" y="83835"/>
                      </a:lnTo>
                      <a:lnTo>
                        <a:pt x="930185" y="79864"/>
                      </a:lnTo>
                      <a:lnTo>
                        <a:pt x="924964" y="77253"/>
                      </a:lnTo>
                      <a:lnTo>
                        <a:pt x="910477" y="69980"/>
                      </a:lnTo>
                      <a:lnTo>
                        <a:pt x="908231" y="60302"/>
                      </a:lnTo>
                      <a:lnTo>
                        <a:pt x="906749" y="53927"/>
                      </a:lnTo>
                      <a:lnTo>
                        <a:pt x="900496" y="55882"/>
                      </a:lnTo>
                      <a:lnTo>
                        <a:pt x="887272" y="60010"/>
                      </a:lnTo>
                      <a:lnTo>
                        <a:pt x="886495" y="60253"/>
                      </a:lnTo>
                      <a:lnTo>
                        <a:pt x="885803" y="60702"/>
                      </a:lnTo>
                      <a:lnTo>
                        <a:pt x="877036" y="66325"/>
                      </a:lnTo>
                      <a:lnTo>
                        <a:pt x="875615" y="60241"/>
                      </a:lnTo>
                      <a:lnTo>
                        <a:pt x="875991" y="59537"/>
                      </a:lnTo>
                      <a:lnTo>
                        <a:pt x="876926" y="58213"/>
                      </a:lnTo>
                      <a:lnTo>
                        <a:pt x="878189" y="57485"/>
                      </a:lnTo>
                      <a:lnTo>
                        <a:pt x="897326" y="52372"/>
                      </a:lnTo>
                      <a:lnTo>
                        <a:pt x="898650" y="52020"/>
                      </a:lnTo>
                      <a:lnTo>
                        <a:pt x="899707" y="51134"/>
                      </a:lnTo>
                      <a:lnTo>
                        <a:pt x="901783" y="49361"/>
                      </a:lnTo>
                      <a:lnTo>
                        <a:pt x="902803" y="48487"/>
                      </a:lnTo>
                      <a:lnTo>
                        <a:pt x="903362" y="47260"/>
                      </a:lnTo>
                      <a:lnTo>
                        <a:pt x="905972" y="41553"/>
                      </a:lnTo>
                      <a:lnTo>
                        <a:pt x="910271" y="35093"/>
                      </a:lnTo>
                      <a:lnTo>
                        <a:pt x="911364" y="33466"/>
                      </a:lnTo>
                      <a:lnTo>
                        <a:pt x="911291" y="31511"/>
                      </a:lnTo>
                      <a:lnTo>
                        <a:pt x="911194" y="28839"/>
                      </a:lnTo>
                      <a:lnTo>
                        <a:pt x="911109" y="26642"/>
                      </a:lnTo>
                      <a:lnTo>
                        <a:pt x="909639" y="25002"/>
                      </a:lnTo>
                      <a:lnTo>
                        <a:pt x="906531" y="21529"/>
                      </a:lnTo>
                      <a:lnTo>
                        <a:pt x="905717" y="20606"/>
                      </a:lnTo>
                      <a:lnTo>
                        <a:pt x="904600" y="20084"/>
                      </a:lnTo>
                      <a:lnTo>
                        <a:pt x="902196" y="18955"/>
                      </a:lnTo>
                      <a:lnTo>
                        <a:pt x="899889" y="17874"/>
                      </a:lnTo>
                      <a:lnTo>
                        <a:pt x="897509" y="18761"/>
                      </a:lnTo>
                      <a:lnTo>
                        <a:pt x="894922" y="19720"/>
                      </a:lnTo>
                      <a:lnTo>
                        <a:pt x="894024" y="20060"/>
                      </a:lnTo>
                      <a:lnTo>
                        <a:pt x="893271" y="20655"/>
                      </a:lnTo>
                      <a:lnTo>
                        <a:pt x="890041" y="23217"/>
                      </a:lnTo>
                      <a:lnTo>
                        <a:pt x="884953" y="26180"/>
                      </a:lnTo>
                      <a:lnTo>
                        <a:pt x="882111" y="26229"/>
                      </a:lnTo>
                      <a:lnTo>
                        <a:pt x="878772" y="24322"/>
                      </a:lnTo>
                      <a:lnTo>
                        <a:pt x="874461" y="19538"/>
                      </a:lnTo>
                      <a:lnTo>
                        <a:pt x="873259" y="17364"/>
                      </a:lnTo>
                      <a:lnTo>
                        <a:pt x="870624" y="7650"/>
                      </a:lnTo>
                      <a:lnTo>
                        <a:pt x="870406" y="6873"/>
                      </a:lnTo>
                      <a:lnTo>
                        <a:pt x="870005" y="6169"/>
                      </a:lnTo>
                      <a:lnTo>
                        <a:pt x="868281" y="3242"/>
                      </a:lnTo>
                      <a:lnTo>
                        <a:pt x="866532" y="291"/>
                      </a:lnTo>
                      <a:lnTo>
                        <a:pt x="863120" y="243"/>
                      </a:lnTo>
                      <a:lnTo>
                        <a:pt x="850491" y="73"/>
                      </a:lnTo>
                      <a:lnTo>
                        <a:pt x="850188" y="0"/>
                      </a:lnTo>
                      <a:lnTo>
                        <a:pt x="850188" y="0"/>
                      </a:lnTo>
                      <a:close/>
                    </a:path>
                  </a:pathLst>
                </a:custGeom>
                <a:solidFill>
                  <a:srgbClr val="FFFFFF"/>
                </a:solidFill>
                <a:ln w="12138" cap="flat">
                  <a:noFill/>
                  <a:prstDash val="solid"/>
                  <a:miter/>
                </a:ln>
              </p:spPr>
              <p:txBody>
                <a:bodyPr rtlCol="0" anchor="ctr"/>
                <a:lstStyle/>
                <a:p>
                  <a:endParaRPr lang="en-US"/>
                </a:p>
              </p:txBody>
            </p:sp>
          </p:grpSp>
          <p:grpSp>
            <p:nvGrpSpPr>
              <p:cNvPr id="275" name="Graphic 280">
                <a:extLst>
                  <a:ext uri="{FF2B5EF4-FFF2-40B4-BE49-F238E27FC236}">
                    <a16:creationId xmlns:a16="http://schemas.microsoft.com/office/drawing/2014/main" id="{CF727ACF-5514-4E1B-ACA0-745F16DF6B44}"/>
                  </a:ext>
                </a:extLst>
              </p:cNvPr>
              <p:cNvGrpSpPr/>
              <p:nvPr/>
            </p:nvGrpSpPr>
            <p:grpSpPr>
              <a:xfrm>
                <a:off x="4718869" y="953567"/>
                <a:ext cx="775982" cy="709256"/>
                <a:chOff x="4718869" y="953567"/>
                <a:chExt cx="775982" cy="709256"/>
              </a:xfrm>
            </p:grpSpPr>
            <p:sp>
              <p:nvSpPr>
                <p:cNvPr id="300" name="Freeform: Shape 299">
                  <a:extLst>
                    <a:ext uri="{FF2B5EF4-FFF2-40B4-BE49-F238E27FC236}">
                      <a16:creationId xmlns:a16="http://schemas.microsoft.com/office/drawing/2014/main" id="{7F766F93-978D-4D4D-8DFB-999224C67D7C}"/>
                    </a:ext>
                  </a:extLst>
                </p:cNvPr>
                <p:cNvSpPr/>
                <p:nvPr/>
              </p:nvSpPr>
              <p:spPr>
                <a:xfrm>
                  <a:off x="4722427" y="957004"/>
                  <a:ext cx="769145" cy="702663"/>
                </a:xfrm>
                <a:custGeom>
                  <a:avLst/>
                  <a:gdLst>
                    <a:gd name="connsiteX0" fmla="*/ 654771 w 769145"/>
                    <a:gd name="connsiteY0" fmla="*/ 700514 h 702663"/>
                    <a:gd name="connsiteX1" fmla="*/ 648154 w 769145"/>
                    <a:gd name="connsiteY1" fmla="*/ 695475 h 702663"/>
                    <a:gd name="connsiteX2" fmla="*/ 643005 w 769145"/>
                    <a:gd name="connsiteY2" fmla="*/ 690192 h 702663"/>
                    <a:gd name="connsiteX3" fmla="*/ 626916 w 769145"/>
                    <a:gd name="connsiteY3" fmla="*/ 677224 h 702663"/>
                    <a:gd name="connsiteX4" fmla="*/ 623528 w 769145"/>
                    <a:gd name="connsiteY4" fmla="*/ 669853 h 702663"/>
                    <a:gd name="connsiteX5" fmla="*/ 620055 w 769145"/>
                    <a:gd name="connsiteY5" fmla="*/ 658633 h 702663"/>
                    <a:gd name="connsiteX6" fmla="*/ 619460 w 769145"/>
                    <a:gd name="connsiteY6" fmla="*/ 654407 h 702663"/>
                    <a:gd name="connsiteX7" fmla="*/ 620711 w 769145"/>
                    <a:gd name="connsiteY7" fmla="*/ 650048 h 702663"/>
                    <a:gd name="connsiteX8" fmla="*/ 622399 w 769145"/>
                    <a:gd name="connsiteY8" fmla="*/ 646077 h 702663"/>
                    <a:gd name="connsiteX9" fmla="*/ 622459 w 769145"/>
                    <a:gd name="connsiteY9" fmla="*/ 644705 h 702663"/>
                    <a:gd name="connsiteX10" fmla="*/ 621002 w 769145"/>
                    <a:gd name="connsiteY10" fmla="*/ 642738 h 702663"/>
                    <a:gd name="connsiteX11" fmla="*/ 618610 w 769145"/>
                    <a:gd name="connsiteY11" fmla="*/ 641876 h 702663"/>
                    <a:gd name="connsiteX12" fmla="*/ 616837 w 769145"/>
                    <a:gd name="connsiteY12" fmla="*/ 642701 h 702663"/>
                    <a:gd name="connsiteX13" fmla="*/ 611688 w 769145"/>
                    <a:gd name="connsiteY13" fmla="*/ 648627 h 702663"/>
                    <a:gd name="connsiteX14" fmla="*/ 608143 w 769145"/>
                    <a:gd name="connsiteY14" fmla="*/ 651663 h 702663"/>
                    <a:gd name="connsiteX15" fmla="*/ 604293 w 769145"/>
                    <a:gd name="connsiteY15" fmla="*/ 653727 h 702663"/>
                    <a:gd name="connsiteX16" fmla="*/ 595988 w 769145"/>
                    <a:gd name="connsiteY16" fmla="*/ 655682 h 702663"/>
                    <a:gd name="connsiteX17" fmla="*/ 568715 w 769145"/>
                    <a:gd name="connsiteY17" fmla="*/ 656532 h 702663"/>
                    <a:gd name="connsiteX18" fmla="*/ 561939 w 769145"/>
                    <a:gd name="connsiteY18" fmla="*/ 658086 h 702663"/>
                    <a:gd name="connsiteX19" fmla="*/ 559619 w 769145"/>
                    <a:gd name="connsiteY19" fmla="*/ 659349 h 702663"/>
                    <a:gd name="connsiteX20" fmla="*/ 558952 w 769145"/>
                    <a:gd name="connsiteY20" fmla="*/ 663320 h 702663"/>
                    <a:gd name="connsiteX21" fmla="*/ 553645 w 769145"/>
                    <a:gd name="connsiteY21" fmla="*/ 666623 h 702663"/>
                    <a:gd name="connsiteX22" fmla="*/ 544939 w 769145"/>
                    <a:gd name="connsiteY22" fmla="*/ 676094 h 702663"/>
                    <a:gd name="connsiteX23" fmla="*/ 541223 w 769145"/>
                    <a:gd name="connsiteY23" fmla="*/ 676532 h 702663"/>
                    <a:gd name="connsiteX24" fmla="*/ 538867 w 769145"/>
                    <a:gd name="connsiteY24" fmla="*/ 675779 h 702663"/>
                    <a:gd name="connsiteX25" fmla="*/ 535844 w 769145"/>
                    <a:gd name="connsiteY25" fmla="*/ 673800 h 702663"/>
                    <a:gd name="connsiteX26" fmla="*/ 533585 w 769145"/>
                    <a:gd name="connsiteY26" fmla="*/ 670909 h 702663"/>
                    <a:gd name="connsiteX27" fmla="*/ 532322 w 769145"/>
                    <a:gd name="connsiteY27" fmla="*/ 666465 h 702663"/>
                    <a:gd name="connsiteX28" fmla="*/ 533099 w 769145"/>
                    <a:gd name="connsiteY28" fmla="*/ 662749 h 702663"/>
                    <a:gd name="connsiteX29" fmla="*/ 534872 w 769145"/>
                    <a:gd name="connsiteY29" fmla="*/ 659119 h 702663"/>
                    <a:gd name="connsiteX30" fmla="*/ 535540 w 769145"/>
                    <a:gd name="connsiteY30" fmla="*/ 656957 h 702663"/>
                    <a:gd name="connsiteX31" fmla="*/ 536633 w 769145"/>
                    <a:gd name="connsiteY31" fmla="*/ 650995 h 702663"/>
                    <a:gd name="connsiteX32" fmla="*/ 538126 w 769145"/>
                    <a:gd name="connsiteY32" fmla="*/ 647534 h 702663"/>
                    <a:gd name="connsiteX33" fmla="*/ 539061 w 769145"/>
                    <a:gd name="connsiteY33" fmla="*/ 645786 h 702663"/>
                    <a:gd name="connsiteX34" fmla="*/ 541247 w 769145"/>
                    <a:gd name="connsiteY34" fmla="*/ 643309 h 702663"/>
                    <a:gd name="connsiteX35" fmla="*/ 545339 w 769145"/>
                    <a:gd name="connsiteY35" fmla="*/ 640249 h 702663"/>
                    <a:gd name="connsiteX36" fmla="*/ 550403 w 769145"/>
                    <a:gd name="connsiteY36" fmla="*/ 637225 h 702663"/>
                    <a:gd name="connsiteX37" fmla="*/ 551714 w 769145"/>
                    <a:gd name="connsiteY37" fmla="*/ 635914 h 702663"/>
                    <a:gd name="connsiteX38" fmla="*/ 552346 w 769145"/>
                    <a:gd name="connsiteY38" fmla="*/ 634663 h 702663"/>
                    <a:gd name="connsiteX39" fmla="*/ 553135 w 769145"/>
                    <a:gd name="connsiteY39" fmla="*/ 631299 h 702663"/>
                    <a:gd name="connsiteX40" fmla="*/ 553767 w 769145"/>
                    <a:gd name="connsiteY40" fmla="*/ 625349 h 702663"/>
                    <a:gd name="connsiteX41" fmla="*/ 553572 w 769145"/>
                    <a:gd name="connsiteY41" fmla="*/ 622714 h 702663"/>
                    <a:gd name="connsiteX42" fmla="*/ 553147 w 769145"/>
                    <a:gd name="connsiteY42" fmla="*/ 619873 h 702663"/>
                    <a:gd name="connsiteX43" fmla="*/ 551787 w 769145"/>
                    <a:gd name="connsiteY43" fmla="*/ 615101 h 702663"/>
                    <a:gd name="connsiteX44" fmla="*/ 551508 w 769145"/>
                    <a:gd name="connsiteY44" fmla="*/ 614384 h 702663"/>
                    <a:gd name="connsiteX45" fmla="*/ 551071 w 769145"/>
                    <a:gd name="connsiteY45" fmla="*/ 614190 h 702663"/>
                    <a:gd name="connsiteX46" fmla="*/ 547112 w 769145"/>
                    <a:gd name="connsiteY46" fmla="*/ 614457 h 702663"/>
                    <a:gd name="connsiteX47" fmla="*/ 547355 w 769145"/>
                    <a:gd name="connsiteY47" fmla="*/ 616801 h 702663"/>
                    <a:gd name="connsiteX48" fmla="*/ 546141 w 769145"/>
                    <a:gd name="connsiteY48" fmla="*/ 620079 h 702663"/>
                    <a:gd name="connsiteX49" fmla="*/ 543664 w 769145"/>
                    <a:gd name="connsiteY49" fmla="*/ 621852 h 702663"/>
                    <a:gd name="connsiteX50" fmla="*/ 538053 w 769145"/>
                    <a:gd name="connsiteY50" fmla="*/ 623916 h 702663"/>
                    <a:gd name="connsiteX51" fmla="*/ 536621 w 769145"/>
                    <a:gd name="connsiteY51" fmla="*/ 624851 h 702663"/>
                    <a:gd name="connsiteX52" fmla="*/ 534350 w 769145"/>
                    <a:gd name="connsiteY52" fmla="*/ 628336 h 702663"/>
                    <a:gd name="connsiteX53" fmla="*/ 531861 w 769145"/>
                    <a:gd name="connsiteY53" fmla="*/ 629696 h 702663"/>
                    <a:gd name="connsiteX54" fmla="*/ 527987 w 769145"/>
                    <a:gd name="connsiteY54" fmla="*/ 630583 h 702663"/>
                    <a:gd name="connsiteX55" fmla="*/ 523373 w 769145"/>
                    <a:gd name="connsiteY55" fmla="*/ 630218 h 702663"/>
                    <a:gd name="connsiteX56" fmla="*/ 520604 w 769145"/>
                    <a:gd name="connsiteY56" fmla="*/ 630255 h 702663"/>
                    <a:gd name="connsiteX57" fmla="*/ 518977 w 769145"/>
                    <a:gd name="connsiteY57" fmla="*/ 630801 h 702663"/>
                    <a:gd name="connsiteX58" fmla="*/ 514763 w 769145"/>
                    <a:gd name="connsiteY58" fmla="*/ 633910 h 702663"/>
                    <a:gd name="connsiteX59" fmla="*/ 509761 w 769145"/>
                    <a:gd name="connsiteY59" fmla="*/ 634517 h 702663"/>
                    <a:gd name="connsiteX60" fmla="*/ 506919 w 769145"/>
                    <a:gd name="connsiteY60" fmla="*/ 635258 h 702663"/>
                    <a:gd name="connsiteX61" fmla="*/ 506530 w 769145"/>
                    <a:gd name="connsiteY61" fmla="*/ 635549 h 702663"/>
                    <a:gd name="connsiteX62" fmla="*/ 505778 w 769145"/>
                    <a:gd name="connsiteY62" fmla="*/ 636800 h 702663"/>
                    <a:gd name="connsiteX63" fmla="*/ 504163 w 769145"/>
                    <a:gd name="connsiteY63" fmla="*/ 638439 h 702663"/>
                    <a:gd name="connsiteX64" fmla="*/ 501783 w 769145"/>
                    <a:gd name="connsiteY64" fmla="*/ 639751 h 702663"/>
                    <a:gd name="connsiteX65" fmla="*/ 500896 w 769145"/>
                    <a:gd name="connsiteY65" fmla="*/ 640455 h 702663"/>
                    <a:gd name="connsiteX66" fmla="*/ 500338 w 769145"/>
                    <a:gd name="connsiteY66" fmla="*/ 641730 h 702663"/>
                    <a:gd name="connsiteX67" fmla="*/ 497642 w 769145"/>
                    <a:gd name="connsiteY67" fmla="*/ 645069 h 702663"/>
                    <a:gd name="connsiteX68" fmla="*/ 493537 w 769145"/>
                    <a:gd name="connsiteY68" fmla="*/ 647073 h 702663"/>
                    <a:gd name="connsiteX69" fmla="*/ 485377 w 769145"/>
                    <a:gd name="connsiteY69" fmla="*/ 647364 h 702663"/>
                    <a:gd name="connsiteX70" fmla="*/ 481176 w 769145"/>
                    <a:gd name="connsiteY70" fmla="*/ 644110 h 702663"/>
                    <a:gd name="connsiteX71" fmla="*/ 479670 w 769145"/>
                    <a:gd name="connsiteY71" fmla="*/ 640613 h 702663"/>
                    <a:gd name="connsiteX72" fmla="*/ 478638 w 769145"/>
                    <a:gd name="connsiteY72" fmla="*/ 637310 h 702663"/>
                    <a:gd name="connsiteX73" fmla="*/ 477266 w 769145"/>
                    <a:gd name="connsiteY73" fmla="*/ 635561 h 702663"/>
                    <a:gd name="connsiteX74" fmla="*/ 473004 w 769145"/>
                    <a:gd name="connsiteY74" fmla="*/ 631287 h 702663"/>
                    <a:gd name="connsiteX75" fmla="*/ 470757 w 769145"/>
                    <a:gd name="connsiteY75" fmla="*/ 628409 h 702663"/>
                    <a:gd name="connsiteX76" fmla="*/ 469094 w 769145"/>
                    <a:gd name="connsiteY76" fmla="*/ 624366 h 702663"/>
                    <a:gd name="connsiteX77" fmla="*/ 468292 w 769145"/>
                    <a:gd name="connsiteY77" fmla="*/ 612684 h 702663"/>
                    <a:gd name="connsiteX78" fmla="*/ 467382 w 769145"/>
                    <a:gd name="connsiteY78" fmla="*/ 611057 h 702663"/>
                    <a:gd name="connsiteX79" fmla="*/ 465390 w 769145"/>
                    <a:gd name="connsiteY79" fmla="*/ 608361 h 702663"/>
                    <a:gd name="connsiteX80" fmla="*/ 462245 w 769145"/>
                    <a:gd name="connsiteY80" fmla="*/ 605969 h 702663"/>
                    <a:gd name="connsiteX81" fmla="*/ 455239 w 769145"/>
                    <a:gd name="connsiteY81" fmla="*/ 590669 h 702663"/>
                    <a:gd name="connsiteX82" fmla="*/ 449264 w 769145"/>
                    <a:gd name="connsiteY82" fmla="*/ 583517 h 702663"/>
                    <a:gd name="connsiteX83" fmla="*/ 438506 w 769145"/>
                    <a:gd name="connsiteY83" fmla="*/ 572807 h 702663"/>
                    <a:gd name="connsiteX84" fmla="*/ 433976 w 769145"/>
                    <a:gd name="connsiteY84" fmla="*/ 567512 h 702663"/>
                    <a:gd name="connsiteX85" fmla="*/ 431888 w 769145"/>
                    <a:gd name="connsiteY85" fmla="*/ 564027 h 702663"/>
                    <a:gd name="connsiteX86" fmla="*/ 430771 w 769145"/>
                    <a:gd name="connsiteY86" fmla="*/ 562910 h 702663"/>
                    <a:gd name="connsiteX87" fmla="*/ 430297 w 769145"/>
                    <a:gd name="connsiteY87" fmla="*/ 562789 h 702663"/>
                    <a:gd name="connsiteX88" fmla="*/ 428974 w 769145"/>
                    <a:gd name="connsiteY88" fmla="*/ 563651 h 702663"/>
                    <a:gd name="connsiteX89" fmla="*/ 425003 w 769145"/>
                    <a:gd name="connsiteY89" fmla="*/ 565484 h 702663"/>
                    <a:gd name="connsiteX90" fmla="*/ 423109 w 769145"/>
                    <a:gd name="connsiteY90" fmla="*/ 567707 h 702663"/>
                    <a:gd name="connsiteX91" fmla="*/ 421311 w 769145"/>
                    <a:gd name="connsiteY91" fmla="*/ 569225 h 702663"/>
                    <a:gd name="connsiteX92" fmla="*/ 419320 w 769145"/>
                    <a:gd name="connsiteY92" fmla="*/ 570451 h 702663"/>
                    <a:gd name="connsiteX93" fmla="*/ 415058 w 769145"/>
                    <a:gd name="connsiteY93" fmla="*/ 571714 h 702663"/>
                    <a:gd name="connsiteX94" fmla="*/ 413625 w 769145"/>
                    <a:gd name="connsiteY94" fmla="*/ 572272 h 702663"/>
                    <a:gd name="connsiteX95" fmla="*/ 408185 w 769145"/>
                    <a:gd name="connsiteY95" fmla="*/ 577700 h 702663"/>
                    <a:gd name="connsiteX96" fmla="*/ 405210 w 769145"/>
                    <a:gd name="connsiteY96" fmla="*/ 579922 h 702663"/>
                    <a:gd name="connsiteX97" fmla="*/ 402320 w 769145"/>
                    <a:gd name="connsiteY97" fmla="*/ 581501 h 702663"/>
                    <a:gd name="connsiteX98" fmla="*/ 399296 w 769145"/>
                    <a:gd name="connsiteY98" fmla="*/ 582715 h 702663"/>
                    <a:gd name="connsiteX99" fmla="*/ 391160 w 769145"/>
                    <a:gd name="connsiteY99" fmla="*/ 584743 h 702663"/>
                    <a:gd name="connsiteX100" fmla="*/ 387882 w 769145"/>
                    <a:gd name="connsiteY100" fmla="*/ 586261 h 702663"/>
                    <a:gd name="connsiteX101" fmla="*/ 380985 w 769145"/>
                    <a:gd name="connsiteY101" fmla="*/ 587852 h 702663"/>
                    <a:gd name="connsiteX102" fmla="*/ 371270 w 769145"/>
                    <a:gd name="connsiteY102" fmla="*/ 588860 h 702663"/>
                    <a:gd name="connsiteX103" fmla="*/ 370566 w 769145"/>
                    <a:gd name="connsiteY103" fmla="*/ 591045 h 702663"/>
                    <a:gd name="connsiteX104" fmla="*/ 368708 w 769145"/>
                    <a:gd name="connsiteY104" fmla="*/ 592915 h 702663"/>
                    <a:gd name="connsiteX105" fmla="*/ 367834 w 769145"/>
                    <a:gd name="connsiteY105" fmla="*/ 593668 h 702663"/>
                    <a:gd name="connsiteX106" fmla="*/ 362442 w 769145"/>
                    <a:gd name="connsiteY106" fmla="*/ 593644 h 702663"/>
                    <a:gd name="connsiteX107" fmla="*/ 337440 w 769145"/>
                    <a:gd name="connsiteY107" fmla="*/ 586237 h 702663"/>
                    <a:gd name="connsiteX108" fmla="*/ 321581 w 769145"/>
                    <a:gd name="connsiteY108" fmla="*/ 581027 h 702663"/>
                    <a:gd name="connsiteX109" fmla="*/ 312158 w 769145"/>
                    <a:gd name="connsiteY109" fmla="*/ 575879 h 702663"/>
                    <a:gd name="connsiteX110" fmla="*/ 295268 w 769145"/>
                    <a:gd name="connsiteY110" fmla="*/ 563736 h 702663"/>
                    <a:gd name="connsiteX111" fmla="*/ 287569 w 769145"/>
                    <a:gd name="connsiteY111" fmla="*/ 560312 h 702663"/>
                    <a:gd name="connsiteX112" fmla="*/ 284205 w 769145"/>
                    <a:gd name="connsiteY112" fmla="*/ 558187 h 702663"/>
                    <a:gd name="connsiteX113" fmla="*/ 281267 w 769145"/>
                    <a:gd name="connsiteY113" fmla="*/ 555309 h 702663"/>
                    <a:gd name="connsiteX114" fmla="*/ 276458 w 769145"/>
                    <a:gd name="connsiteY114" fmla="*/ 549237 h 702663"/>
                    <a:gd name="connsiteX115" fmla="*/ 266659 w 769145"/>
                    <a:gd name="connsiteY115" fmla="*/ 541077 h 702663"/>
                    <a:gd name="connsiteX116" fmla="*/ 263429 w 769145"/>
                    <a:gd name="connsiteY116" fmla="*/ 539086 h 702663"/>
                    <a:gd name="connsiteX117" fmla="*/ 251395 w 769145"/>
                    <a:gd name="connsiteY117" fmla="*/ 525680 h 702663"/>
                    <a:gd name="connsiteX118" fmla="*/ 250169 w 769145"/>
                    <a:gd name="connsiteY118" fmla="*/ 524757 h 702663"/>
                    <a:gd name="connsiteX119" fmla="*/ 250533 w 769145"/>
                    <a:gd name="connsiteY119" fmla="*/ 523567 h 702663"/>
                    <a:gd name="connsiteX120" fmla="*/ 249999 w 769145"/>
                    <a:gd name="connsiteY120" fmla="*/ 515990 h 702663"/>
                    <a:gd name="connsiteX121" fmla="*/ 250145 w 769145"/>
                    <a:gd name="connsiteY121" fmla="*/ 514241 h 702663"/>
                    <a:gd name="connsiteX122" fmla="*/ 251055 w 769145"/>
                    <a:gd name="connsiteY122" fmla="*/ 511764 h 702663"/>
                    <a:gd name="connsiteX123" fmla="*/ 252755 w 769145"/>
                    <a:gd name="connsiteY123" fmla="*/ 510647 h 702663"/>
                    <a:gd name="connsiteX124" fmla="*/ 252986 w 769145"/>
                    <a:gd name="connsiteY124" fmla="*/ 510076 h 702663"/>
                    <a:gd name="connsiteX125" fmla="*/ 254479 w 769145"/>
                    <a:gd name="connsiteY125" fmla="*/ 508024 h 702663"/>
                    <a:gd name="connsiteX126" fmla="*/ 255159 w 769145"/>
                    <a:gd name="connsiteY126" fmla="*/ 506506 h 702663"/>
                    <a:gd name="connsiteX127" fmla="*/ 255730 w 769145"/>
                    <a:gd name="connsiteY127" fmla="*/ 505644 h 702663"/>
                    <a:gd name="connsiteX128" fmla="*/ 255864 w 769145"/>
                    <a:gd name="connsiteY128" fmla="*/ 504308 h 702663"/>
                    <a:gd name="connsiteX129" fmla="*/ 255597 w 769145"/>
                    <a:gd name="connsiteY129" fmla="*/ 504029 h 702663"/>
                    <a:gd name="connsiteX130" fmla="*/ 254322 w 769145"/>
                    <a:gd name="connsiteY130" fmla="*/ 501831 h 702663"/>
                    <a:gd name="connsiteX131" fmla="*/ 255682 w 769145"/>
                    <a:gd name="connsiteY131" fmla="*/ 499208 h 702663"/>
                    <a:gd name="connsiteX132" fmla="*/ 257248 w 769145"/>
                    <a:gd name="connsiteY132" fmla="*/ 498018 h 702663"/>
                    <a:gd name="connsiteX133" fmla="*/ 257710 w 769145"/>
                    <a:gd name="connsiteY133" fmla="*/ 497800 h 702663"/>
                    <a:gd name="connsiteX134" fmla="*/ 258839 w 769145"/>
                    <a:gd name="connsiteY134" fmla="*/ 497460 h 702663"/>
                    <a:gd name="connsiteX135" fmla="*/ 259810 w 769145"/>
                    <a:gd name="connsiteY135" fmla="*/ 497363 h 702663"/>
                    <a:gd name="connsiteX136" fmla="*/ 258414 w 769145"/>
                    <a:gd name="connsiteY136" fmla="*/ 495614 h 702663"/>
                    <a:gd name="connsiteX137" fmla="*/ 258414 w 769145"/>
                    <a:gd name="connsiteY137" fmla="*/ 491971 h 702663"/>
                    <a:gd name="connsiteX138" fmla="*/ 258839 w 769145"/>
                    <a:gd name="connsiteY138" fmla="*/ 488037 h 702663"/>
                    <a:gd name="connsiteX139" fmla="*/ 257843 w 769145"/>
                    <a:gd name="connsiteY139" fmla="*/ 486167 h 702663"/>
                    <a:gd name="connsiteX140" fmla="*/ 255196 w 769145"/>
                    <a:gd name="connsiteY140" fmla="*/ 483653 h 702663"/>
                    <a:gd name="connsiteX141" fmla="*/ 250897 w 769145"/>
                    <a:gd name="connsiteY141" fmla="*/ 483095 h 702663"/>
                    <a:gd name="connsiteX142" fmla="*/ 247752 w 769145"/>
                    <a:gd name="connsiteY142" fmla="*/ 479913 h 702663"/>
                    <a:gd name="connsiteX143" fmla="*/ 245615 w 769145"/>
                    <a:gd name="connsiteY143" fmla="*/ 475420 h 702663"/>
                    <a:gd name="connsiteX144" fmla="*/ 244510 w 769145"/>
                    <a:gd name="connsiteY144" fmla="*/ 469689 h 702663"/>
                    <a:gd name="connsiteX145" fmla="*/ 244996 w 769145"/>
                    <a:gd name="connsiteY145" fmla="*/ 467637 h 702663"/>
                    <a:gd name="connsiteX146" fmla="*/ 242664 w 769145"/>
                    <a:gd name="connsiteY146" fmla="*/ 465985 h 702663"/>
                    <a:gd name="connsiteX147" fmla="*/ 240260 w 769145"/>
                    <a:gd name="connsiteY147" fmla="*/ 465281 h 702663"/>
                    <a:gd name="connsiteX148" fmla="*/ 237917 w 769145"/>
                    <a:gd name="connsiteY148" fmla="*/ 464965 h 702663"/>
                    <a:gd name="connsiteX149" fmla="*/ 232124 w 769145"/>
                    <a:gd name="connsiteY149" fmla="*/ 462087 h 702663"/>
                    <a:gd name="connsiteX150" fmla="*/ 229441 w 769145"/>
                    <a:gd name="connsiteY150" fmla="*/ 457060 h 702663"/>
                    <a:gd name="connsiteX151" fmla="*/ 225992 w 769145"/>
                    <a:gd name="connsiteY151" fmla="*/ 454583 h 702663"/>
                    <a:gd name="connsiteX152" fmla="*/ 221730 w 769145"/>
                    <a:gd name="connsiteY152" fmla="*/ 452154 h 702663"/>
                    <a:gd name="connsiteX153" fmla="*/ 216411 w 769145"/>
                    <a:gd name="connsiteY153" fmla="*/ 446387 h 702663"/>
                    <a:gd name="connsiteX154" fmla="*/ 213461 w 769145"/>
                    <a:gd name="connsiteY154" fmla="*/ 442404 h 702663"/>
                    <a:gd name="connsiteX155" fmla="*/ 210595 w 769145"/>
                    <a:gd name="connsiteY155" fmla="*/ 443193 h 702663"/>
                    <a:gd name="connsiteX156" fmla="*/ 205714 w 769145"/>
                    <a:gd name="connsiteY156" fmla="*/ 444152 h 702663"/>
                    <a:gd name="connsiteX157" fmla="*/ 200820 w 769145"/>
                    <a:gd name="connsiteY157" fmla="*/ 441432 h 702663"/>
                    <a:gd name="connsiteX158" fmla="*/ 198294 w 769145"/>
                    <a:gd name="connsiteY158" fmla="*/ 437571 h 702663"/>
                    <a:gd name="connsiteX159" fmla="*/ 195380 w 769145"/>
                    <a:gd name="connsiteY159" fmla="*/ 433831 h 702663"/>
                    <a:gd name="connsiteX160" fmla="*/ 191312 w 769145"/>
                    <a:gd name="connsiteY160" fmla="*/ 429386 h 702663"/>
                    <a:gd name="connsiteX161" fmla="*/ 189612 w 769145"/>
                    <a:gd name="connsiteY161" fmla="*/ 429168 h 702663"/>
                    <a:gd name="connsiteX162" fmla="*/ 187851 w 769145"/>
                    <a:gd name="connsiteY162" fmla="*/ 431099 h 702663"/>
                    <a:gd name="connsiteX163" fmla="*/ 183880 w 769145"/>
                    <a:gd name="connsiteY163" fmla="*/ 433904 h 702663"/>
                    <a:gd name="connsiteX164" fmla="*/ 178550 w 769145"/>
                    <a:gd name="connsiteY164" fmla="*/ 435616 h 702663"/>
                    <a:gd name="connsiteX165" fmla="*/ 173887 w 769145"/>
                    <a:gd name="connsiteY165" fmla="*/ 437814 h 702663"/>
                    <a:gd name="connsiteX166" fmla="*/ 167560 w 769145"/>
                    <a:gd name="connsiteY166" fmla="*/ 435130 h 702663"/>
                    <a:gd name="connsiteX167" fmla="*/ 168240 w 769145"/>
                    <a:gd name="connsiteY167" fmla="*/ 428366 h 702663"/>
                    <a:gd name="connsiteX168" fmla="*/ 169783 w 769145"/>
                    <a:gd name="connsiteY168" fmla="*/ 421214 h 702663"/>
                    <a:gd name="connsiteX169" fmla="*/ 171895 w 769145"/>
                    <a:gd name="connsiteY169" fmla="*/ 414851 h 702663"/>
                    <a:gd name="connsiteX170" fmla="*/ 172976 w 769145"/>
                    <a:gd name="connsiteY170" fmla="*/ 408913 h 702663"/>
                    <a:gd name="connsiteX171" fmla="*/ 173231 w 769145"/>
                    <a:gd name="connsiteY171" fmla="*/ 404651 h 702663"/>
                    <a:gd name="connsiteX172" fmla="*/ 172891 w 769145"/>
                    <a:gd name="connsiteY172" fmla="*/ 402453 h 702663"/>
                    <a:gd name="connsiteX173" fmla="*/ 171798 w 769145"/>
                    <a:gd name="connsiteY173" fmla="*/ 398276 h 702663"/>
                    <a:gd name="connsiteX174" fmla="*/ 168082 w 769145"/>
                    <a:gd name="connsiteY174" fmla="*/ 394354 h 702663"/>
                    <a:gd name="connsiteX175" fmla="*/ 165399 w 769145"/>
                    <a:gd name="connsiteY175" fmla="*/ 388768 h 702663"/>
                    <a:gd name="connsiteX176" fmla="*/ 162655 w 769145"/>
                    <a:gd name="connsiteY176" fmla="*/ 384822 h 702663"/>
                    <a:gd name="connsiteX177" fmla="*/ 155721 w 769145"/>
                    <a:gd name="connsiteY177" fmla="*/ 373917 h 702663"/>
                    <a:gd name="connsiteX178" fmla="*/ 153183 w 769145"/>
                    <a:gd name="connsiteY178" fmla="*/ 369376 h 702663"/>
                    <a:gd name="connsiteX179" fmla="*/ 147233 w 769145"/>
                    <a:gd name="connsiteY179" fmla="*/ 365393 h 702663"/>
                    <a:gd name="connsiteX180" fmla="*/ 143505 w 769145"/>
                    <a:gd name="connsiteY180" fmla="*/ 359650 h 702663"/>
                    <a:gd name="connsiteX181" fmla="*/ 139874 w 769145"/>
                    <a:gd name="connsiteY181" fmla="*/ 354671 h 702663"/>
                    <a:gd name="connsiteX182" fmla="*/ 134252 w 769145"/>
                    <a:gd name="connsiteY182" fmla="*/ 347422 h 702663"/>
                    <a:gd name="connsiteX183" fmla="*/ 130379 w 769145"/>
                    <a:gd name="connsiteY183" fmla="*/ 344580 h 702663"/>
                    <a:gd name="connsiteX184" fmla="*/ 129504 w 769145"/>
                    <a:gd name="connsiteY184" fmla="*/ 344094 h 702663"/>
                    <a:gd name="connsiteX185" fmla="*/ 124210 w 769145"/>
                    <a:gd name="connsiteY185" fmla="*/ 346754 h 702663"/>
                    <a:gd name="connsiteX186" fmla="*/ 117495 w 769145"/>
                    <a:gd name="connsiteY186" fmla="*/ 348636 h 702663"/>
                    <a:gd name="connsiteX187" fmla="*/ 110962 w 769145"/>
                    <a:gd name="connsiteY187" fmla="*/ 348976 h 702663"/>
                    <a:gd name="connsiteX188" fmla="*/ 104041 w 769145"/>
                    <a:gd name="connsiteY188" fmla="*/ 347810 h 702663"/>
                    <a:gd name="connsiteX189" fmla="*/ 97714 w 769145"/>
                    <a:gd name="connsiteY189" fmla="*/ 344617 h 702663"/>
                    <a:gd name="connsiteX190" fmla="*/ 91473 w 769145"/>
                    <a:gd name="connsiteY190" fmla="*/ 339395 h 702663"/>
                    <a:gd name="connsiteX191" fmla="*/ 86506 w 769145"/>
                    <a:gd name="connsiteY191" fmla="*/ 334805 h 702663"/>
                    <a:gd name="connsiteX192" fmla="*/ 81540 w 769145"/>
                    <a:gd name="connsiteY192" fmla="*/ 328685 h 702663"/>
                    <a:gd name="connsiteX193" fmla="*/ 77010 w 769145"/>
                    <a:gd name="connsiteY193" fmla="*/ 324314 h 702663"/>
                    <a:gd name="connsiteX194" fmla="*/ 71510 w 769145"/>
                    <a:gd name="connsiteY194" fmla="*/ 316226 h 702663"/>
                    <a:gd name="connsiteX195" fmla="*/ 68110 w 769145"/>
                    <a:gd name="connsiteY195" fmla="*/ 306075 h 702663"/>
                    <a:gd name="connsiteX196" fmla="*/ 63981 w 769145"/>
                    <a:gd name="connsiteY196" fmla="*/ 300890 h 702663"/>
                    <a:gd name="connsiteX197" fmla="*/ 61225 w 769145"/>
                    <a:gd name="connsiteY197" fmla="*/ 299348 h 702663"/>
                    <a:gd name="connsiteX198" fmla="*/ 59670 w 769145"/>
                    <a:gd name="connsiteY198" fmla="*/ 299578 h 702663"/>
                    <a:gd name="connsiteX199" fmla="*/ 56683 w 769145"/>
                    <a:gd name="connsiteY199" fmla="*/ 298862 h 702663"/>
                    <a:gd name="connsiteX200" fmla="*/ 54716 w 769145"/>
                    <a:gd name="connsiteY200" fmla="*/ 298850 h 702663"/>
                    <a:gd name="connsiteX201" fmla="*/ 49616 w 769145"/>
                    <a:gd name="connsiteY201" fmla="*/ 296968 h 702663"/>
                    <a:gd name="connsiteX202" fmla="*/ 47005 w 769145"/>
                    <a:gd name="connsiteY202" fmla="*/ 295511 h 702663"/>
                    <a:gd name="connsiteX203" fmla="*/ 44443 w 769145"/>
                    <a:gd name="connsiteY203" fmla="*/ 295280 h 702663"/>
                    <a:gd name="connsiteX204" fmla="*/ 39270 w 769145"/>
                    <a:gd name="connsiteY204" fmla="*/ 293337 h 702663"/>
                    <a:gd name="connsiteX205" fmla="*/ 32980 w 769145"/>
                    <a:gd name="connsiteY205" fmla="*/ 287654 h 702663"/>
                    <a:gd name="connsiteX206" fmla="*/ 27431 w 769145"/>
                    <a:gd name="connsiteY206" fmla="*/ 283052 h 702663"/>
                    <a:gd name="connsiteX207" fmla="*/ 22112 w 769145"/>
                    <a:gd name="connsiteY207" fmla="*/ 276786 h 702663"/>
                    <a:gd name="connsiteX208" fmla="*/ 17680 w 769145"/>
                    <a:gd name="connsiteY208" fmla="*/ 271844 h 702663"/>
                    <a:gd name="connsiteX209" fmla="*/ 14766 w 769145"/>
                    <a:gd name="connsiteY209" fmla="*/ 269100 h 702663"/>
                    <a:gd name="connsiteX210" fmla="*/ 11159 w 769145"/>
                    <a:gd name="connsiteY210" fmla="*/ 264109 h 702663"/>
                    <a:gd name="connsiteX211" fmla="*/ 6557 w 769145"/>
                    <a:gd name="connsiteY211" fmla="*/ 260587 h 702663"/>
                    <a:gd name="connsiteX212" fmla="*/ 7650 w 769145"/>
                    <a:gd name="connsiteY212" fmla="*/ 256022 h 702663"/>
                    <a:gd name="connsiteX213" fmla="*/ 6897 w 769145"/>
                    <a:gd name="connsiteY213" fmla="*/ 255002 h 702663"/>
                    <a:gd name="connsiteX214" fmla="*/ 6484 w 769145"/>
                    <a:gd name="connsiteY214" fmla="*/ 252464 h 702663"/>
                    <a:gd name="connsiteX215" fmla="*/ 5355 w 769145"/>
                    <a:gd name="connsiteY215" fmla="*/ 249962 h 702663"/>
                    <a:gd name="connsiteX216" fmla="*/ 3910 w 769145"/>
                    <a:gd name="connsiteY216" fmla="*/ 247886 h 702663"/>
                    <a:gd name="connsiteX217" fmla="*/ 2307 w 769145"/>
                    <a:gd name="connsiteY217" fmla="*/ 244814 h 702663"/>
                    <a:gd name="connsiteX218" fmla="*/ 886 w 769145"/>
                    <a:gd name="connsiteY218" fmla="*/ 240649 h 702663"/>
                    <a:gd name="connsiteX219" fmla="*/ 0 w 769145"/>
                    <a:gd name="connsiteY219" fmla="*/ 234990 h 702663"/>
                    <a:gd name="connsiteX220" fmla="*/ 37352 w 769145"/>
                    <a:gd name="connsiteY220" fmla="*/ 244437 h 702663"/>
                    <a:gd name="connsiteX221" fmla="*/ 44990 w 769145"/>
                    <a:gd name="connsiteY221" fmla="*/ 244619 h 702663"/>
                    <a:gd name="connsiteX222" fmla="*/ 55129 w 769145"/>
                    <a:gd name="connsiteY222" fmla="*/ 242252 h 702663"/>
                    <a:gd name="connsiteX223" fmla="*/ 59755 w 769145"/>
                    <a:gd name="connsiteY223" fmla="*/ 242179 h 702663"/>
                    <a:gd name="connsiteX224" fmla="*/ 68073 w 769145"/>
                    <a:gd name="connsiteY224" fmla="*/ 243211 h 702663"/>
                    <a:gd name="connsiteX225" fmla="*/ 69713 w 769145"/>
                    <a:gd name="connsiteY225" fmla="*/ 242664 h 702663"/>
                    <a:gd name="connsiteX226" fmla="*/ 73137 w 769145"/>
                    <a:gd name="connsiteY226" fmla="*/ 240029 h 702663"/>
                    <a:gd name="connsiteX227" fmla="*/ 83726 w 769145"/>
                    <a:gd name="connsiteY227" fmla="*/ 229732 h 702663"/>
                    <a:gd name="connsiteX228" fmla="*/ 96330 w 769145"/>
                    <a:gd name="connsiteY228" fmla="*/ 220819 h 702663"/>
                    <a:gd name="connsiteX229" fmla="*/ 102328 w 769145"/>
                    <a:gd name="connsiteY229" fmla="*/ 218901 h 702663"/>
                    <a:gd name="connsiteX230" fmla="*/ 103118 w 769145"/>
                    <a:gd name="connsiteY230" fmla="*/ 218427 h 702663"/>
                    <a:gd name="connsiteX231" fmla="*/ 104648 w 769145"/>
                    <a:gd name="connsiteY231" fmla="*/ 216254 h 702663"/>
                    <a:gd name="connsiteX232" fmla="*/ 108315 w 769145"/>
                    <a:gd name="connsiteY232" fmla="*/ 210425 h 702663"/>
                    <a:gd name="connsiteX233" fmla="*/ 112492 w 769145"/>
                    <a:gd name="connsiteY233" fmla="*/ 206685 h 702663"/>
                    <a:gd name="connsiteX234" fmla="*/ 120701 w 769145"/>
                    <a:gd name="connsiteY234" fmla="*/ 205021 h 702663"/>
                    <a:gd name="connsiteX235" fmla="*/ 133487 w 769145"/>
                    <a:gd name="connsiteY235" fmla="*/ 210109 h 702663"/>
                    <a:gd name="connsiteX236" fmla="*/ 138490 w 769145"/>
                    <a:gd name="connsiteY236" fmla="*/ 209769 h 702663"/>
                    <a:gd name="connsiteX237" fmla="*/ 157943 w 769145"/>
                    <a:gd name="connsiteY237" fmla="*/ 204961 h 702663"/>
                    <a:gd name="connsiteX238" fmla="*/ 183055 w 769145"/>
                    <a:gd name="connsiteY238" fmla="*/ 191239 h 702663"/>
                    <a:gd name="connsiteX239" fmla="*/ 191385 w 769145"/>
                    <a:gd name="connsiteY239" fmla="*/ 188203 h 702663"/>
                    <a:gd name="connsiteX240" fmla="*/ 200018 w 769145"/>
                    <a:gd name="connsiteY240" fmla="*/ 189515 h 702663"/>
                    <a:gd name="connsiteX241" fmla="*/ 208749 w 769145"/>
                    <a:gd name="connsiteY241" fmla="*/ 195574 h 702663"/>
                    <a:gd name="connsiteX242" fmla="*/ 210996 w 769145"/>
                    <a:gd name="connsiteY242" fmla="*/ 196230 h 702663"/>
                    <a:gd name="connsiteX243" fmla="*/ 213351 w 769145"/>
                    <a:gd name="connsiteY243" fmla="*/ 196157 h 702663"/>
                    <a:gd name="connsiteX244" fmla="*/ 228870 w 769145"/>
                    <a:gd name="connsiteY244" fmla="*/ 192963 h 702663"/>
                    <a:gd name="connsiteX245" fmla="*/ 230509 w 769145"/>
                    <a:gd name="connsiteY245" fmla="*/ 192004 h 702663"/>
                    <a:gd name="connsiteX246" fmla="*/ 246526 w 769145"/>
                    <a:gd name="connsiteY246" fmla="*/ 177566 h 702663"/>
                    <a:gd name="connsiteX247" fmla="*/ 247704 w 769145"/>
                    <a:gd name="connsiteY247" fmla="*/ 174798 h 702663"/>
                    <a:gd name="connsiteX248" fmla="*/ 247060 w 769145"/>
                    <a:gd name="connsiteY248" fmla="*/ 164112 h 702663"/>
                    <a:gd name="connsiteX249" fmla="*/ 249052 w 769145"/>
                    <a:gd name="connsiteY249" fmla="*/ 157166 h 702663"/>
                    <a:gd name="connsiteX250" fmla="*/ 254382 w 769145"/>
                    <a:gd name="connsiteY250" fmla="*/ 153256 h 702663"/>
                    <a:gd name="connsiteX251" fmla="*/ 261862 w 769145"/>
                    <a:gd name="connsiteY251" fmla="*/ 150718 h 702663"/>
                    <a:gd name="connsiteX252" fmla="*/ 269197 w 769145"/>
                    <a:gd name="connsiteY252" fmla="*/ 150050 h 702663"/>
                    <a:gd name="connsiteX253" fmla="*/ 275256 w 769145"/>
                    <a:gd name="connsiteY253" fmla="*/ 151459 h 702663"/>
                    <a:gd name="connsiteX254" fmla="*/ 280988 w 769145"/>
                    <a:gd name="connsiteY254" fmla="*/ 154750 h 702663"/>
                    <a:gd name="connsiteX255" fmla="*/ 281364 w 769145"/>
                    <a:gd name="connsiteY255" fmla="*/ 154774 h 702663"/>
                    <a:gd name="connsiteX256" fmla="*/ 282845 w 769145"/>
                    <a:gd name="connsiteY256" fmla="*/ 153681 h 702663"/>
                    <a:gd name="connsiteX257" fmla="*/ 286100 w 769145"/>
                    <a:gd name="connsiteY257" fmla="*/ 150281 h 702663"/>
                    <a:gd name="connsiteX258" fmla="*/ 297708 w 769145"/>
                    <a:gd name="connsiteY258" fmla="*/ 141490 h 702663"/>
                    <a:gd name="connsiteX259" fmla="*/ 299603 w 769145"/>
                    <a:gd name="connsiteY259" fmla="*/ 139037 h 702663"/>
                    <a:gd name="connsiteX260" fmla="*/ 300562 w 769145"/>
                    <a:gd name="connsiteY260" fmla="*/ 133815 h 702663"/>
                    <a:gd name="connsiteX261" fmla="*/ 299238 w 769145"/>
                    <a:gd name="connsiteY261" fmla="*/ 128594 h 702663"/>
                    <a:gd name="connsiteX262" fmla="*/ 298230 w 769145"/>
                    <a:gd name="connsiteY262" fmla="*/ 121818 h 702663"/>
                    <a:gd name="connsiteX263" fmla="*/ 302493 w 769145"/>
                    <a:gd name="connsiteY263" fmla="*/ 116609 h 702663"/>
                    <a:gd name="connsiteX264" fmla="*/ 250460 w 769145"/>
                    <a:gd name="connsiteY264" fmla="*/ 0 h 702663"/>
                    <a:gd name="connsiteX265" fmla="*/ 255560 w 769145"/>
                    <a:gd name="connsiteY265" fmla="*/ 413 h 702663"/>
                    <a:gd name="connsiteX266" fmla="*/ 264667 w 769145"/>
                    <a:gd name="connsiteY266" fmla="*/ 36 h 702663"/>
                    <a:gd name="connsiteX267" fmla="*/ 269342 w 769145"/>
                    <a:gd name="connsiteY267" fmla="*/ 1894 h 702663"/>
                    <a:gd name="connsiteX268" fmla="*/ 272427 w 769145"/>
                    <a:gd name="connsiteY268" fmla="*/ 5100 h 702663"/>
                    <a:gd name="connsiteX269" fmla="*/ 277102 w 769145"/>
                    <a:gd name="connsiteY269" fmla="*/ 11341 h 702663"/>
                    <a:gd name="connsiteX270" fmla="*/ 279543 w 769145"/>
                    <a:gd name="connsiteY270" fmla="*/ 13127 h 702663"/>
                    <a:gd name="connsiteX271" fmla="*/ 282275 w 769145"/>
                    <a:gd name="connsiteY271" fmla="*/ 14049 h 702663"/>
                    <a:gd name="connsiteX272" fmla="*/ 285614 w 769145"/>
                    <a:gd name="connsiteY272" fmla="*/ 14681 h 702663"/>
                    <a:gd name="connsiteX273" fmla="*/ 292730 w 769145"/>
                    <a:gd name="connsiteY273" fmla="*/ 14827 h 702663"/>
                    <a:gd name="connsiteX274" fmla="*/ 299846 w 769145"/>
                    <a:gd name="connsiteY274" fmla="*/ 13600 h 702663"/>
                    <a:gd name="connsiteX275" fmla="*/ 304363 w 769145"/>
                    <a:gd name="connsiteY275" fmla="*/ 13479 h 702663"/>
                    <a:gd name="connsiteX276" fmla="*/ 308831 w 769145"/>
                    <a:gd name="connsiteY276" fmla="*/ 14632 h 702663"/>
                    <a:gd name="connsiteX277" fmla="*/ 312316 w 769145"/>
                    <a:gd name="connsiteY277" fmla="*/ 17146 h 702663"/>
                    <a:gd name="connsiteX278" fmla="*/ 316773 w 769145"/>
                    <a:gd name="connsiteY278" fmla="*/ 22525 h 702663"/>
                    <a:gd name="connsiteX279" fmla="*/ 318813 w 769145"/>
                    <a:gd name="connsiteY279" fmla="*/ 24237 h 702663"/>
                    <a:gd name="connsiteX280" fmla="*/ 324726 w 769145"/>
                    <a:gd name="connsiteY280" fmla="*/ 26423 h 702663"/>
                    <a:gd name="connsiteX281" fmla="*/ 330567 w 769145"/>
                    <a:gd name="connsiteY281" fmla="*/ 26666 h 702663"/>
                    <a:gd name="connsiteX282" fmla="*/ 343742 w 769145"/>
                    <a:gd name="connsiteY282" fmla="*/ 25075 h 702663"/>
                    <a:gd name="connsiteX283" fmla="*/ 350081 w 769145"/>
                    <a:gd name="connsiteY283" fmla="*/ 25646 h 702663"/>
                    <a:gd name="connsiteX284" fmla="*/ 355654 w 769145"/>
                    <a:gd name="connsiteY284" fmla="*/ 28087 h 702663"/>
                    <a:gd name="connsiteX285" fmla="*/ 364956 w 769145"/>
                    <a:gd name="connsiteY285" fmla="*/ 35227 h 702663"/>
                    <a:gd name="connsiteX286" fmla="*/ 370433 w 769145"/>
                    <a:gd name="connsiteY286" fmla="*/ 37898 h 702663"/>
                    <a:gd name="connsiteX287" fmla="*/ 374755 w 769145"/>
                    <a:gd name="connsiteY287" fmla="*/ 38129 h 702663"/>
                    <a:gd name="connsiteX288" fmla="*/ 386012 w 769145"/>
                    <a:gd name="connsiteY288" fmla="*/ 36526 h 702663"/>
                    <a:gd name="connsiteX289" fmla="*/ 392994 w 769145"/>
                    <a:gd name="connsiteY289" fmla="*/ 36198 h 702663"/>
                    <a:gd name="connsiteX290" fmla="*/ 421445 w 769145"/>
                    <a:gd name="connsiteY290" fmla="*/ 40570 h 702663"/>
                    <a:gd name="connsiteX291" fmla="*/ 425913 w 769145"/>
                    <a:gd name="connsiteY291" fmla="*/ 39610 h 702663"/>
                    <a:gd name="connsiteX292" fmla="*/ 430066 w 769145"/>
                    <a:gd name="connsiteY292" fmla="*/ 37218 h 702663"/>
                    <a:gd name="connsiteX293" fmla="*/ 435470 w 769145"/>
                    <a:gd name="connsiteY293" fmla="*/ 33369 h 702663"/>
                    <a:gd name="connsiteX294" fmla="*/ 438761 w 769145"/>
                    <a:gd name="connsiteY294" fmla="*/ 32154 h 702663"/>
                    <a:gd name="connsiteX295" fmla="*/ 441942 w 769145"/>
                    <a:gd name="connsiteY295" fmla="*/ 31839 h 702663"/>
                    <a:gd name="connsiteX296" fmla="*/ 449021 w 769145"/>
                    <a:gd name="connsiteY296" fmla="*/ 32822 h 702663"/>
                    <a:gd name="connsiteX297" fmla="*/ 452580 w 769145"/>
                    <a:gd name="connsiteY297" fmla="*/ 38772 h 702663"/>
                    <a:gd name="connsiteX298" fmla="*/ 455919 w 769145"/>
                    <a:gd name="connsiteY298" fmla="*/ 42998 h 702663"/>
                    <a:gd name="connsiteX299" fmla="*/ 459124 w 769145"/>
                    <a:gd name="connsiteY299" fmla="*/ 45366 h 702663"/>
                    <a:gd name="connsiteX300" fmla="*/ 462500 w 769145"/>
                    <a:gd name="connsiteY300" fmla="*/ 46167 h 702663"/>
                    <a:gd name="connsiteX301" fmla="*/ 466507 w 769145"/>
                    <a:gd name="connsiteY301" fmla="*/ 44637 h 702663"/>
                    <a:gd name="connsiteX302" fmla="*/ 474558 w 769145"/>
                    <a:gd name="connsiteY302" fmla="*/ 36344 h 702663"/>
                    <a:gd name="connsiteX303" fmla="*/ 481310 w 769145"/>
                    <a:gd name="connsiteY303" fmla="*/ 32834 h 702663"/>
                    <a:gd name="connsiteX304" fmla="*/ 495310 w 769145"/>
                    <a:gd name="connsiteY304" fmla="*/ 33490 h 702663"/>
                    <a:gd name="connsiteX305" fmla="*/ 498176 w 769145"/>
                    <a:gd name="connsiteY305" fmla="*/ 44735 h 702663"/>
                    <a:gd name="connsiteX306" fmla="*/ 494691 w 769145"/>
                    <a:gd name="connsiteY306" fmla="*/ 57181 h 702663"/>
                    <a:gd name="connsiteX307" fmla="*/ 489215 w 769145"/>
                    <a:gd name="connsiteY307" fmla="*/ 68474 h 702663"/>
                    <a:gd name="connsiteX308" fmla="*/ 487915 w 769145"/>
                    <a:gd name="connsiteY308" fmla="*/ 83398 h 702663"/>
                    <a:gd name="connsiteX309" fmla="*/ 494242 w 769145"/>
                    <a:gd name="connsiteY309" fmla="*/ 98576 h 702663"/>
                    <a:gd name="connsiteX310" fmla="*/ 511618 w 769145"/>
                    <a:gd name="connsiteY310" fmla="*/ 127707 h 702663"/>
                    <a:gd name="connsiteX311" fmla="*/ 513683 w 769145"/>
                    <a:gd name="connsiteY311" fmla="*/ 136353 h 702663"/>
                    <a:gd name="connsiteX312" fmla="*/ 515419 w 769145"/>
                    <a:gd name="connsiteY312" fmla="*/ 152807 h 702663"/>
                    <a:gd name="connsiteX313" fmla="*/ 517896 w 769145"/>
                    <a:gd name="connsiteY313" fmla="*/ 159376 h 702663"/>
                    <a:gd name="connsiteX314" fmla="*/ 524964 w 769145"/>
                    <a:gd name="connsiteY314" fmla="*/ 167609 h 702663"/>
                    <a:gd name="connsiteX315" fmla="*/ 527064 w 769145"/>
                    <a:gd name="connsiteY315" fmla="*/ 171993 h 702663"/>
                    <a:gd name="connsiteX316" fmla="*/ 538806 w 769145"/>
                    <a:gd name="connsiteY316" fmla="*/ 212574 h 702663"/>
                    <a:gd name="connsiteX317" fmla="*/ 542753 w 769145"/>
                    <a:gd name="connsiteY317" fmla="*/ 219156 h 702663"/>
                    <a:gd name="connsiteX318" fmla="*/ 549541 w 769145"/>
                    <a:gd name="connsiteY318" fmla="*/ 224802 h 702663"/>
                    <a:gd name="connsiteX319" fmla="*/ 556948 w 769145"/>
                    <a:gd name="connsiteY319" fmla="*/ 227607 h 702663"/>
                    <a:gd name="connsiteX320" fmla="*/ 599023 w 769145"/>
                    <a:gd name="connsiteY320" fmla="*/ 234225 h 702663"/>
                    <a:gd name="connsiteX321" fmla="*/ 610413 w 769145"/>
                    <a:gd name="connsiteY321" fmla="*/ 238657 h 702663"/>
                    <a:gd name="connsiteX322" fmla="*/ 627207 w 769145"/>
                    <a:gd name="connsiteY322" fmla="*/ 250703 h 702663"/>
                    <a:gd name="connsiteX323" fmla="*/ 637383 w 769145"/>
                    <a:gd name="connsiteY323" fmla="*/ 263162 h 702663"/>
                    <a:gd name="connsiteX324" fmla="*/ 643527 w 769145"/>
                    <a:gd name="connsiteY324" fmla="*/ 266234 h 702663"/>
                    <a:gd name="connsiteX325" fmla="*/ 651602 w 769145"/>
                    <a:gd name="connsiteY325" fmla="*/ 268335 h 702663"/>
                    <a:gd name="connsiteX326" fmla="*/ 658803 w 769145"/>
                    <a:gd name="connsiteY326" fmla="*/ 271298 h 702663"/>
                    <a:gd name="connsiteX327" fmla="*/ 665081 w 769145"/>
                    <a:gd name="connsiteY327" fmla="*/ 276725 h 702663"/>
                    <a:gd name="connsiteX328" fmla="*/ 666781 w 769145"/>
                    <a:gd name="connsiteY328" fmla="*/ 279482 h 702663"/>
                    <a:gd name="connsiteX329" fmla="*/ 670399 w 769145"/>
                    <a:gd name="connsiteY329" fmla="*/ 285966 h 702663"/>
                    <a:gd name="connsiteX330" fmla="*/ 672342 w 769145"/>
                    <a:gd name="connsiteY330" fmla="*/ 291261 h 702663"/>
                    <a:gd name="connsiteX331" fmla="*/ 673071 w 769145"/>
                    <a:gd name="connsiteY331" fmla="*/ 296834 h 702663"/>
                    <a:gd name="connsiteX332" fmla="*/ 672500 w 769145"/>
                    <a:gd name="connsiteY332" fmla="*/ 302408 h 702663"/>
                    <a:gd name="connsiteX333" fmla="*/ 670351 w 769145"/>
                    <a:gd name="connsiteY333" fmla="*/ 308613 h 702663"/>
                    <a:gd name="connsiteX334" fmla="*/ 656119 w 769145"/>
                    <a:gd name="connsiteY334" fmla="*/ 321581 h 702663"/>
                    <a:gd name="connsiteX335" fmla="*/ 636958 w 769145"/>
                    <a:gd name="connsiteY335" fmla="*/ 329571 h 702663"/>
                    <a:gd name="connsiteX336" fmla="*/ 624451 w 769145"/>
                    <a:gd name="connsiteY336" fmla="*/ 337732 h 702663"/>
                    <a:gd name="connsiteX337" fmla="*/ 622993 w 769145"/>
                    <a:gd name="connsiteY337" fmla="*/ 353481 h 702663"/>
                    <a:gd name="connsiteX338" fmla="*/ 632003 w 769145"/>
                    <a:gd name="connsiteY338" fmla="*/ 378580 h 702663"/>
                    <a:gd name="connsiteX339" fmla="*/ 635258 w 769145"/>
                    <a:gd name="connsiteY339" fmla="*/ 392375 h 702663"/>
                    <a:gd name="connsiteX340" fmla="*/ 636594 w 769145"/>
                    <a:gd name="connsiteY340" fmla="*/ 406376 h 702663"/>
                    <a:gd name="connsiteX341" fmla="*/ 634262 w 769145"/>
                    <a:gd name="connsiteY341" fmla="*/ 447054 h 702663"/>
                    <a:gd name="connsiteX342" fmla="*/ 637808 w 769145"/>
                    <a:gd name="connsiteY342" fmla="*/ 458299 h 702663"/>
                    <a:gd name="connsiteX343" fmla="*/ 641827 w 769145"/>
                    <a:gd name="connsiteY343" fmla="*/ 464540 h 702663"/>
                    <a:gd name="connsiteX344" fmla="*/ 658767 w 769145"/>
                    <a:gd name="connsiteY344" fmla="*/ 479561 h 702663"/>
                    <a:gd name="connsiteX345" fmla="*/ 659325 w 769145"/>
                    <a:gd name="connsiteY345" fmla="*/ 480193 h 702663"/>
                    <a:gd name="connsiteX346" fmla="*/ 669343 w 769145"/>
                    <a:gd name="connsiteY346" fmla="*/ 495650 h 702663"/>
                    <a:gd name="connsiteX347" fmla="*/ 671589 w 769145"/>
                    <a:gd name="connsiteY347" fmla="*/ 496877 h 702663"/>
                    <a:gd name="connsiteX348" fmla="*/ 677916 w 769145"/>
                    <a:gd name="connsiteY348" fmla="*/ 498565 h 702663"/>
                    <a:gd name="connsiteX349" fmla="*/ 681535 w 769145"/>
                    <a:gd name="connsiteY349" fmla="*/ 500143 h 702663"/>
                    <a:gd name="connsiteX350" fmla="*/ 685032 w 769145"/>
                    <a:gd name="connsiteY350" fmla="*/ 502208 h 702663"/>
                    <a:gd name="connsiteX351" fmla="*/ 688711 w 769145"/>
                    <a:gd name="connsiteY351" fmla="*/ 506178 h 702663"/>
                    <a:gd name="connsiteX352" fmla="*/ 689670 w 769145"/>
                    <a:gd name="connsiteY352" fmla="*/ 510963 h 702663"/>
                    <a:gd name="connsiteX353" fmla="*/ 689877 w 769145"/>
                    <a:gd name="connsiteY353" fmla="*/ 513804 h 702663"/>
                    <a:gd name="connsiteX354" fmla="*/ 691055 w 769145"/>
                    <a:gd name="connsiteY354" fmla="*/ 513294 h 702663"/>
                    <a:gd name="connsiteX355" fmla="*/ 690703 w 769145"/>
                    <a:gd name="connsiteY355" fmla="*/ 511764 h 702663"/>
                    <a:gd name="connsiteX356" fmla="*/ 694576 w 769145"/>
                    <a:gd name="connsiteY356" fmla="*/ 511048 h 702663"/>
                    <a:gd name="connsiteX357" fmla="*/ 700478 w 769145"/>
                    <a:gd name="connsiteY357" fmla="*/ 511485 h 702663"/>
                    <a:gd name="connsiteX358" fmla="*/ 715875 w 769145"/>
                    <a:gd name="connsiteY358" fmla="*/ 519074 h 702663"/>
                    <a:gd name="connsiteX359" fmla="*/ 721983 w 769145"/>
                    <a:gd name="connsiteY359" fmla="*/ 521041 h 702663"/>
                    <a:gd name="connsiteX360" fmla="*/ 736846 w 769145"/>
                    <a:gd name="connsiteY360" fmla="*/ 521466 h 702663"/>
                    <a:gd name="connsiteX361" fmla="*/ 745370 w 769145"/>
                    <a:gd name="connsiteY361" fmla="*/ 525692 h 702663"/>
                    <a:gd name="connsiteX362" fmla="*/ 746123 w 769145"/>
                    <a:gd name="connsiteY362" fmla="*/ 535989 h 702663"/>
                    <a:gd name="connsiteX363" fmla="*/ 744131 w 769145"/>
                    <a:gd name="connsiteY363" fmla="*/ 539948 h 702663"/>
                    <a:gd name="connsiteX364" fmla="*/ 739808 w 769145"/>
                    <a:gd name="connsiteY364" fmla="*/ 546056 h 702663"/>
                    <a:gd name="connsiteX365" fmla="*/ 738837 w 769145"/>
                    <a:gd name="connsiteY365" fmla="*/ 549249 h 702663"/>
                    <a:gd name="connsiteX366" fmla="*/ 738181 w 769145"/>
                    <a:gd name="connsiteY366" fmla="*/ 559510 h 702663"/>
                    <a:gd name="connsiteX367" fmla="*/ 736870 w 769145"/>
                    <a:gd name="connsiteY367" fmla="*/ 564149 h 702663"/>
                    <a:gd name="connsiteX368" fmla="*/ 737076 w 769145"/>
                    <a:gd name="connsiteY368" fmla="*/ 570111 h 702663"/>
                    <a:gd name="connsiteX369" fmla="*/ 740367 w 769145"/>
                    <a:gd name="connsiteY369" fmla="*/ 574871 h 702663"/>
                    <a:gd name="connsiteX370" fmla="*/ 750786 w 769145"/>
                    <a:gd name="connsiteY370" fmla="*/ 583492 h 702663"/>
                    <a:gd name="connsiteX371" fmla="*/ 755096 w 769145"/>
                    <a:gd name="connsiteY371" fmla="*/ 590863 h 702663"/>
                    <a:gd name="connsiteX372" fmla="*/ 756687 w 769145"/>
                    <a:gd name="connsiteY372" fmla="*/ 598173 h 702663"/>
                    <a:gd name="connsiteX373" fmla="*/ 758278 w 769145"/>
                    <a:gd name="connsiteY373" fmla="*/ 603237 h 702663"/>
                    <a:gd name="connsiteX374" fmla="*/ 762953 w 769145"/>
                    <a:gd name="connsiteY374" fmla="*/ 608130 h 702663"/>
                    <a:gd name="connsiteX375" fmla="*/ 768053 w 769145"/>
                    <a:gd name="connsiteY375" fmla="*/ 613692 h 702663"/>
                    <a:gd name="connsiteX376" fmla="*/ 769146 w 769145"/>
                    <a:gd name="connsiteY376" fmla="*/ 621451 h 702663"/>
                    <a:gd name="connsiteX377" fmla="*/ 767324 w 769145"/>
                    <a:gd name="connsiteY377" fmla="*/ 630085 h 702663"/>
                    <a:gd name="connsiteX378" fmla="*/ 763439 w 769145"/>
                    <a:gd name="connsiteY378" fmla="*/ 637662 h 702663"/>
                    <a:gd name="connsiteX379" fmla="*/ 755230 w 769145"/>
                    <a:gd name="connsiteY379" fmla="*/ 647219 h 702663"/>
                    <a:gd name="connsiteX380" fmla="*/ 736396 w 769145"/>
                    <a:gd name="connsiteY380" fmla="*/ 661559 h 702663"/>
                    <a:gd name="connsiteX381" fmla="*/ 728212 w 769145"/>
                    <a:gd name="connsiteY381" fmla="*/ 670424 h 702663"/>
                    <a:gd name="connsiteX382" fmla="*/ 723039 w 769145"/>
                    <a:gd name="connsiteY382" fmla="*/ 671808 h 702663"/>
                    <a:gd name="connsiteX383" fmla="*/ 718510 w 769145"/>
                    <a:gd name="connsiteY383" fmla="*/ 670314 h 702663"/>
                    <a:gd name="connsiteX384" fmla="*/ 714296 w 769145"/>
                    <a:gd name="connsiteY384" fmla="*/ 668444 h 702663"/>
                    <a:gd name="connsiteX385" fmla="*/ 713859 w 769145"/>
                    <a:gd name="connsiteY385" fmla="*/ 668372 h 702663"/>
                    <a:gd name="connsiteX386" fmla="*/ 713046 w 769145"/>
                    <a:gd name="connsiteY386" fmla="*/ 668712 h 702663"/>
                    <a:gd name="connsiteX387" fmla="*/ 708504 w 769145"/>
                    <a:gd name="connsiteY387" fmla="*/ 669464 h 702663"/>
                    <a:gd name="connsiteX388" fmla="*/ 703307 w 769145"/>
                    <a:gd name="connsiteY388" fmla="*/ 671019 h 702663"/>
                    <a:gd name="connsiteX389" fmla="*/ 698304 w 769145"/>
                    <a:gd name="connsiteY389" fmla="*/ 673192 h 702663"/>
                    <a:gd name="connsiteX390" fmla="*/ 695863 w 769145"/>
                    <a:gd name="connsiteY390" fmla="*/ 675038 h 702663"/>
                    <a:gd name="connsiteX391" fmla="*/ 694297 w 769145"/>
                    <a:gd name="connsiteY391" fmla="*/ 678972 h 702663"/>
                    <a:gd name="connsiteX392" fmla="*/ 692269 w 769145"/>
                    <a:gd name="connsiteY392" fmla="*/ 691419 h 702663"/>
                    <a:gd name="connsiteX393" fmla="*/ 687910 w 769145"/>
                    <a:gd name="connsiteY393" fmla="*/ 697260 h 702663"/>
                    <a:gd name="connsiteX394" fmla="*/ 684825 w 769145"/>
                    <a:gd name="connsiteY394" fmla="*/ 697502 h 702663"/>
                    <a:gd name="connsiteX395" fmla="*/ 678863 w 769145"/>
                    <a:gd name="connsiteY395" fmla="*/ 696179 h 702663"/>
                    <a:gd name="connsiteX396" fmla="*/ 677163 w 769145"/>
                    <a:gd name="connsiteY396" fmla="*/ 696033 h 702663"/>
                    <a:gd name="connsiteX397" fmla="*/ 675694 w 769145"/>
                    <a:gd name="connsiteY397" fmla="*/ 696604 h 702663"/>
                    <a:gd name="connsiteX398" fmla="*/ 671504 w 769145"/>
                    <a:gd name="connsiteY398" fmla="*/ 698498 h 702663"/>
                    <a:gd name="connsiteX399" fmla="*/ 668287 w 769145"/>
                    <a:gd name="connsiteY399" fmla="*/ 699227 h 702663"/>
                    <a:gd name="connsiteX400" fmla="*/ 661863 w 769145"/>
                    <a:gd name="connsiteY400" fmla="*/ 702663 h 702663"/>
                    <a:gd name="connsiteX401" fmla="*/ 654771 w 769145"/>
                    <a:gd name="connsiteY401" fmla="*/ 700514 h 702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Lst>
                  <a:rect l="l" t="t" r="r" b="b"/>
                  <a:pathLst>
                    <a:path w="769145" h="702663">
                      <a:moveTo>
                        <a:pt x="654771" y="700514"/>
                      </a:moveTo>
                      <a:lnTo>
                        <a:pt x="648154" y="695475"/>
                      </a:lnTo>
                      <a:lnTo>
                        <a:pt x="643005" y="690192"/>
                      </a:lnTo>
                      <a:lnTo>
                        <a:pt x="626916" y="677224"/>
                      </a:lnTo>
                      <a:lnTo>
                        <a:pt x="623528" y="669853"/>
                      </a:lnTo>
                      <a:lnTo>
                        <a:pt x="620055" y="658633"/>
                      </a:lnTo>
                      <a:lnTo>
                        <a:pt x="619460" y="654407"/>
                      </a:lnTo>
                      <a:lnTo>
                        <a:pt x="620711" y="650048"/>
                      </a:lnTo>
                      <a:lnTo>
                        <a:pt x="622399" y="646077"/>
                      </a:lnTo>
                      <a:lnTo>
                        <a:pt x="622459" y="644705"/>
                      </a:lnTo>
                      <a:lnTo>
                        <a:pt x="621002" y="642738"/>
                      </a:lnTo>
                      <a:lnTo>
                        <a:pt x="618610" y="641876"/>
                      </a:lnTo>
                      <a:lnTo>
                        <a:pt x="616837" y="642701"/>
                      </a:lnTo>
                      <a:lnTo>
                        <a:pt x="611688" y="648627"/>
                      </a:lnTo>
                      <a:lnTo>
                        <a:pt x="608143" y="651663"/>
                      </a:lnTo>
                      <a:lnTo>
                        <a:pt x="604293" y="653727"/>
                      </a:lnTo>
                      <a:lnTo>
                        <a:pt x="595988" y="655682"/>
                      </a:lnTo>
                      <a:lnTo>
                        <a:pt x="568715" y="656532"/>
                      </a:lnTo>
                      <a:lnTo>
                        <a:pt x="561939" y="658086"/>
                      </a:lnTo>
                      <a:lnTo>
                        <a:pt x="559619" y="659349"/>
                      </a:lnTo>
                      <a:lnTo>
                        <a:pt x="558952" y="663320"/>
                      </a:lnTo>
                      <a:lnTo>
                        <a:pt x="553645" y="666623"/>
                      </a:lnTo>
                      <a:lnTo>
                        <a:pt x="544939" y="676094"/>
                      </a:lnTo>
                      <a:lnTo>
                        <a:pt x="541223" y="676532"/>
                      </a:lnTo>
                      <a:lnTo>
                        <a:pt x="538867" y="675779"/>
                      </a:lnTo>
                      <a:lnTo>
                        <a:pt x="535844" y="673800"/>
                      </a:lnTo>
                      <a:lnTo>
                        <a:pt x="533585" y="670909"/>
                      </a:lnTo>
                      <a:lnTo>
                        <a:pt x="532322" y="666465"/>
                      </a:lnTo>
                      <a:lnTo>
                        <a:pt x="533099" y="662749"/>
                      </a:lnTo>
                      <a:lnTo>
                        <a:pt x="534872" y="659119"/>
                      </a:lnTo>
                      <a:lnTo>
                        <a:pt x="535540" y="656957"/>
                      </a:lnTo>
                      <a:lnTo>
                        <a:pt x="536633" y="650995"/>
                      </a:lnTo>
                      <a:lnTo>
                        <a:pt x="538126" y="647534"/>
                      </a:lnTo>
                      <a:lnTo>
                        <a:pt x="539061" y="645786"/>
                      </a:lnTo>
                      <a:lnTo>
                        <a:pt x="541247" y="643309"/>
                      </a:lnTo>
                      <a:lnTo>
                        <a:pt x="545339" y="640249"/>
                      </a:lnTo>
                      <a:lnTo>
                        <a:pt x="550403" y="637225"/>
                      </a:lnTo>
                      <a:lnTo>
                        <a:pt x="551714" y="635914"/>
                      </a:lnTo>
                      <a:lnTo>
                        <a:pt x="552346" y="634663"/>
                      </a:lnTo>
                      <a:lnTo>
                        <a:pt x="553135" y="631299"/>
                      </a:lnTo>
                      <a:lnTo>
                        <a:pt x="553767" y="625349"/>
                      </a:lnTo>
                      <a:lnTo>
                        <a:pt x="553572" y="622714"/>
                      </a:lnTo>
                      <a:lnTo>
                        <a:pt x="553147" y="619873"/>
                      </a:lnTo>
                      <a:lnTo>
                        <a:pt x="551787" y="615101"/>
                      </a:lnTo>
                      <a:lnTo>
                        <a:pt x="551508" y="614384"/>
                      </a:lnTo>
                      <a:lnTo>
                        <a:pt x="551071" y="614190"/>
                      </a:lnTo>
                      <a:lnTo>
                        <a:pt x="547112" y="614457"/>
                      </a:lnTo>
                      <a:lnTo>
                        <a:pt x="547355" y="616801"/>
                      </a:lnTo>
                      <a:lnTo>
                        <a:pt x="546141" y="620079"/>
                      </a:lnTo>
                      <a:lnTo>
                        <a:pt x="543664" y="621852"/>
                      </a:lnTo>
                      <a:lnTo>
                        <a:pt x="538053" y="623916"/>
                      </a:lnTo>
                      <a:lnTo>
                        <a:pt x="536621" y="624851"/>
                      </a:lnTo>
                      <a:lnTo>
                        <a:pt x="534350" y="628336"/>
                      </a:lnTo>
                      <a:lnTo>
                        <a:pt x="531861" y="629696"/>
                      </a:lnTo>
                      <a:lnTo>
                        <a:pt x="527987" y="630583"/>
                      </a:lnTo>
                      <a:lnTo>
                        <a:pt x="523373" y="630218"/>
                      </a:lnTo>
                      <a:lnTo>
                        <a:pt x="520604" y="630255"/>
                      </a:lnTo>
                      <a:lnTo>
                        <a:pt x="518977" y="630801"/>
                      </a:lnTo>
                      <a:lnTo>
                        <a:pt x="514763" y="633910"/>
                      </a:lnTo>
                      <a:lnTo>
                        <a:pt x="509761" y="634517"/>
                      </a:lnTo>
                      <a:lnTo>
                        <a:pt x="506919" y="635258"/>
                      </a:lnTo>
                      <a:lnTo>
                        <a:pt x="506530" y="635549"/>
                      </a:lnTo>
                      <a:lnTo>
                        <a:pt x="505778" y="636800"/>
                      </a:lnTo>
                      <a:lnTo>
                        <a:pt x="504163" y="638439"/>
                      </a:lnTo>
                      <a:lnTo>
                        <a:pt x="501783" y="639751"/>
                      </a:lnTo>
                      <a:lnTo>
                        <a:pt x="500896" y="640455"/>
                      </a:lnTo>
                      <a:lnTo>
                        <a:pt x="500338" y="641730"/>
                      </a:lnTo>
                      <a:lnTo>
                        <a:pt x="497642" y="645069"/>
                      </a:lnTo>
                      <a:lnTo>
                        <a:pt x="493537" y="647073"/>
                      </a:lnTo>
                      <a:lnTo>
                        <a:pt x="485377" y="647364"/>
                      </a:lnTo>
                      <a:lnTo>
                        <a:pt x="481176" y="644110"/>
                      </a:lnTo>
                      <a:lnTo>
                        <a:pt x="479670" y="640613"/>
                      </a:lnTo>
                      <a:lnTo>
                        <a:pt x="478638" y="637310"/>
                      </a:lnTo>
                      <a:lnTo>
                        <a:pt x="477266" y="635561"/>
                      </a:lnTo>
                      <a:lnTo>
                        <a:pt x="473004" y="631287"/>
                      </a:lnTo>
                      <a:lnTo>
                        <a:pt x="470757" y="628409"/>
                      </a:lnTo>
                      <a:lnTo>
                        <a:pt x="469094" y="624366"/>
                      </a:lnTo>
                      <a:lnTo>
                        <a:pt x="468292" y="612684"/>
                      </a:lnTo>
                      <a:lnTo>
                        <a:pt x="467382" y="611057"/>
                      </a:lnTo>
                      <a:lnTo>
                        <a:pt x="465390" y="608361"/>
                      </a:lnTo>
                      <a:lnTo>
                        <a:pt x="462245" y="605969"/>
                      </a:lnTo>
                      <a:lnTo>
                        <a:pt x="455239" y="590669"/>
                      </a:lnTo>
                      <a:lnTo>
                        <a:pt x="449264" y="583517"/>
                      </a:lnTo>
                      <a:lnTo>
                        <a:pt x="438506" y="572807"/>
                      </a:lnTo>
                      <a:lnTo>
                        <a:pt x="433976" y="567512"/>
                      </a:lnTo>
                      <a:lnTo>
                        <a:pt x="431888" y="564027"/>
                      </a:lnTo>
                      <a:lnTo>
                        <a:pt x="430771" y="562910"/>
                      </a:lnTo>
                      <a:lnTo>
                        <a:pt x="430297" y="562789"/>
                      </a:lnTo>
                      <a:lnTo>
                        <a:pt x="428974" y="563651"/>
                      </a:lnTo>
                      <a:lnTo>
                        <a:pt x="425003" y="565484"/>
                      </a:lnTo>
                      <a:lnTo>
                        <a:pt x="423109" y="567707"/>
                      </a:lnTo>
                      <a:lnTo>
                        <a:pt x="421311" y="569225"/>
                      </a:lnTo>
                      <a:lnTo>
                        <a:pt x="419320" y="570451"/>
                      </a:lnTo>
                      <a:lnTo>
                        <a:pt x="415058" y="571714"/>
                      </a:lnTo>
                      <a:lnTo>
                        <a:pt x="413625" y="572272"/>
                      </a:lnTo>
                      <a:lnTo>
                        <a:pt x="408185" y="577700"/>
                      </a:lnTo>
                      <a:lnTo>
                        <a:pt x="405210" y="579922"/>
                      </a:lnTo>
                      <a:lnTo>
                        <a:pt x="402320" y="581501"/>
                      </a:lnTo>
                      <a:lnTo>
                        <a:pt x="399296" y="582715"/>
                      </a:lnTo>
                      <a:lnTo>
                        <a:pt x="391160" y="584743"/>
                      </a:lnTo>
                      <a:lnTo>
                        <a:pt x="387882" y="586261"/>
                      </a:lnTo>
                      <a:lnTo>
                        <a:pt x="380985" y="587852"/>
                      </a:lnTo>
                      <a:lnTo>
                        <a:pt x="371270" y="588860"/>
                      </a:lnTo>
                      <a:lnTo>
                        <a:pt x="370566" y="591045"/>
                      </a:lnTo>
                      <a:lnTo>
                        <a:pt x="368708" y="592915"/>
                      </a:lnTo>
                      <a:lnTo>
                        <a:pt x="367834" y="593668"/>
                      </a:lnTo>
                      <a:lnTo>
                        <a:pt x="362442" y="593644"/>
                      </a:lnTo>
                      <a:lnTo>
                        <a:pt x="337440" y="586237"/>
                      </a:lnTo>
                      <a:lnTo>
                        <a:pt x="321581" y="581027"/>
                      </a:lnTo>
                      <a:lnTo>
                        <a:pt x="312158" y="575879"/>
                      </a:lnTo>
                      <a:lnTo>
                        <a:pt x="295268" y="563736"/>
                      </a:lnTo>
                      <a:lnTo>
                        <a:pt x="287569" y="560312"/>
                      </a:lnTo>
                      <a:lnTo>
                        <a:pt x="284205" y="558187"/>
                      </a:lnTo>
                      <a:lnTo>
                        <a:pt x="281267" y="555309"/>
                      </a:lnTo>
                      <a:lnTo>
                        <a:pt x="276458" y="549237"/>
                      </a:lnTo>
                      <a:lnTo>
                        <a:pt x="266659" y="541077"/>
                      </a:lnTo>
                      <a:lnTo>
                        <a:pt x="263429" y="539086"/>
                      </a:lnTo>
                      <a:lnTo>
                        <a:pt x="251395" y="525680"/>
                      </a:lnTo>
                      <a:lnTo>
                        <a:pt x="250169" y="524757"/>
                      </a:lnTo>
                      <a:lnTo>
                        <a:pt x="250533" y="523567"/>
                      </a:lnTo>
                      <a:cubicBezTo>
                        <a:pt x="250557" y="520981"/>
                        <a:pt x="250472" y="518564"/>
                        <a:pt x="249999" y="515990"/>
                      </a:cubicBezTo>
                      <a:lnTo>
                        <a:pt x="250145" y="514241"/>
                      </a:lnTo>
                      <a:lnTo>
                        <a:pt x="251055" y="511764"/>
                      </a:lnTo>
                      <a:lnTo>
                        <a:pt x="252755" y="510647"/>
                      </a:lnTo>
                      <a:lnTo>
                        <a:pt x="252986" y="510076"/>
                      </a:lnTo>
                      <a:lnTo>
                        <a:pt x="254479" y="508024"/>
                      </a:lnTo>
                      <a:lnTo>
                        <a:pt x="255159" y="506506"/>
                      </a:lnTo>
                      <a:lnTo>
                        <a:pt x="255730" y="505644"/>
                      </a:lnTo>
                      <a:lnTo>
                        <a:pt x="255864" y="504308"/>
                      </a:lnTo>
                      <a:lnTo>
                        <a:pt x="255597" y="504029"/>
                      </a:lnTo>
                      <a:lnTo>
                        <a:pt x="254322" y="501831"/>
                      </a:lnTo>
                      <a:lnTo>
                        <a:pt x="255682" y="499208"/>
                      </a:lnTo>
                      <a:lnTo>
                        <a:pt x="257248" y="498018"/>
                      </a:lnTo>
                      <a:lnTo>
                        <a:pt x="257710" y="497800"/>
                      </a:lnTo>
                      <a:lnTo>
                        <a:pt x="258839" y="497460"/>
                      </a:lnTo>
                      <a:lnTo>
                        <a:pt x="259810" y="497363"/>
                      </a:lnTo>
                      <a:lnTo>
                        <a:pt x="258414" y="495614"/>
                      </a:lnTo>
                      <a:lnTo>
                        <a:pt x="258414" y="491971"/>
                      </a:lnTo>
                      <a:lnTo>
                        <a:pt x="258839" y="488037"/>
                      </a:lnTo>
                      <a:lnTo>
                        <a:pt x="257843" y="486167"/>
                      </a:lnTo>
                      <a:lnTo>
                        <a:pt x="255196" y="483653"/>
                      </a:lnTo>
                      <a:lnTo>
                        <a:pt x="250897" y="483095"/>
                      </a:lnTo>
                      <a:lnTo>
                        <a:pt x="247752" y="479913"/>
                      </a:lnTo>
                      <a:lnTo>
                        <a:pt x="245615" y="475420"/>
                      </a:lnTo>
                      <a:lnTo>
                        <a:pt x="244510" y="469689"/>
                      </a:lnTo>
                      <a:lnTo>
                        <a:pt x="244996" y="467637"/>
                      </a:lnTo>
                      <a:lnTo>
                        <a:pt x="242664" y="465985"/>
                      </a:lnTo>
                      <a:lnTo>
                        <a:pt x="240260" y="465281"/>
                      </a:lnTo>
                      <a:lnTo>
                        <a:pt x="237917" y="464965"/>
                      </a:lnTo>
                      <a:lnTo>
                        <a:pt x="232124" y="462087"/>
                      </a:lnTo>
                      <a:lnTo>
                        <a:pt x="229441" y="457060"/>
                      </a:lnTo>
                      <a:lnTo>
                        <a:pt x="225992" y="454583"/>
                      </a:lnTo>
                      <a:lnTo>
                        <a:pt x="221730" y="452154"/>
                      </a:lnTo>
                      <a:lnTo>
                        <a:pt x="216411" y="446387"/>
                      </a:lnTo>
                      <a:lnTo>
                        <a:pt x="213461" y="442404"/>
                      </a:lnTo>
                      <a:lnTo>
                        <a:pt x="210595" y="443193"/>
                      </a:lnTo>
                      <a:lnTo>
                        <a:pt x="205714" y="444152"/>
                      </a:lnTo>
                      <a:lnTo>
                        <a:pt x="200820" y="441432"/>
                      </a:lnTo>
                      <a:lnTo>
                        <a:pt x="198294" y="437571"/>
                      </a:lnTo>
                      <a:lnTo>
                        <a:pt x="195380" y="433831"/>
                      </a:lnTo>
                      <a:lnTo>
                        <a:pt x="191312" y="429386"/>
                      </a:lnTo>
                      <a:lnTo>
                        <a:pt x="189612" y="429168"/>
                      </a:lnTo>
                      <a:lnTo>
                        <a:pt x="187851" y="431099"/>
                      </a:lnTo>
                      <a:lnTo>
                        <a:pt x="183880" y="433904"/>
                      </a:lnTo>
                      <a:lnTo>
                        <a:pt x="178550" y="435616"/>
                      </a:lnTo>
                      <a:lnTo>
                        <a:pt x="173887" y="437814"/>
                      </a:lnTo>
                      <a:lnTo>
                        <a:pt x="167560" y="435130"/>
                      </a:lnTo>
                      <a:lnTo>
                        <a:pt x="168240" y="428366"/>
                      </a:lnTo>
                      <a:lnTo>
                        <a:pt x="169783" y="421214"/>
                      </a:lnTo>
                      <a:lnTo>
                        <a:pt x="171895" y="414851"/>
                      </a:lnTo>
                      <a:lnTo>
                        <a:pt x="172976" y="408913"/>
                      </a:lnTo>
                      <a:lnTo>
                        <a:pt x="173231" y="404651"/>
                      </a:lnTo>
                      <a:lnTo>
                        <a:pt x="172891" y="402453"/>
                      </a:lnTo>
                      <a:lnTo>
                        <a:pt x="171798" y="398276"/>
                      </a:lnTo>
                      <a:lnTo>
                        <a:pt x="168082" y="394354"/>
                      </a:lnTo>
                      <a:lnTo>
                        <a:pt x="165399" y="388768"/>
                      </a:lnTo>
                      <a:lnTo>
                        <a:pt x="162655" y="384822"/>
                      </a:lnTo>
                      <a:lnTo>
                        <a:pt x="155721" y="373917"/>
                      </a:lnTo>
                      <a:lnTo>
                        <a:pt x="153183" y="369376"/>
                      </a:lnTo>
                      <a:lnTo>
                        <a:pt x="147233" y="365393"/>
                      </a:lnTo>
                      <a:lnTo>
                        <a:pt x="143505" y="359650"/>
                      </a:lnTo>
                      <a:lnTo>
                        <a:pt x="139874" y="354671"/>
                      </a:lnTo>
                      <a:lnTo>
                        <a:pt x="134252" y="347422"/>
                      </a:lnTo>
                      <a:lnTo>
                        <a:pt x="130379" y="344580"/>
                      </a:lnTo>
                      <a:lnTo>
                        <a:pt x="129504" y="344094"/>
                      </a:lnTo>
                      <a:lnTo>
                        <a:pt x="124210" y="346754"/>
                      </a:lnTo>
                      <a:lnTo>
                        <a:pt x="117495" y="348636"/>
                      </a:lnTo>
                      <a:lnTo>
                        <a:pt x="110962" y="348976"/>
                      </a:lnTo>
                      <a:lnTo>
                        <a:pt x="104041" y="347810"/>
                      </a:lnTo>
                      <a:lnTo>
                        <a:pt x="97714" y="344617"/>
                      </a:lnTo>
                      <a:lnTo>
                        <a:pt x="91473" y="339395"/>
                      </a:lnTo>
                      <a:lnTo>
                        <a:pt x="86506" y="334805"/>
                      </a:lnTo>
                      <a:lnTo>
                        <a:pt x="81540" y="328685"/>
                      </a:lnTo>
                      <a:lnTo>
                        <a:pt x="77010" y="324314"/>
                      </a:lnTo>
                      <a:lnTo>
                        <a:pt x="71510" y="316226"/>
                      </a:lnTo>
                      <a:lnTo>
                        <a:pt x="68110" y="306075"/>
                      </a:lnTo>
                      <a:lnTo>
                        <a:pt x="63981" y="300890"/>
                      </a:lnTo>
                      <a:lnTo>
                        <a:pt x="61225" y="299348"/>
                      </a:lnTo>
                      <a:lnTo>
                        <a:pt x="59670" y="299578"/>
                      </a:lnTo>
                      <a:lnTo>
                        <a:pt x="56683" y="298862"/>
                      </a:lnTo>
                      <a:lnTo>
                        <a:pt x="54716" y="298850"/>
                      </a:lnTo>
                      <a:lnTo>
                        <a:pt x="49616" y="296968"/>
                      </a:lnTo>
                      <a:lnTo>
                        <a:pt x="47005" y="295511"/>
                      </a:lnTo>
                      <a:lnTo>
                        <a:pt x="44443" y="295280"/>
                      </a:lnTo>
                      <a:lnTo>
                        <a:pt x="39270" y="293337"/>
                      </a:lnTo>
                      <a:lnTo>
                        <a:pt x="32980" y="287654"/>
                      </a:lnTo>
                      <a:lnTo>
                        <a:pt x="27431" y="283052"/>
                      </a:lnTo>
                      <a:lnTo>
                        <a:pt x="22112" y="276786"/>
                      </a:lnTo>
                      <a:lnTo>
                        <a:pt x="17680" y="271844"/>
                      </a:lnTo>
                      <a:lnTo>
                        <a:pt x="14766" y="269100"/>
                      </a:lnTo>
                      <a:lnTo>
                        <a:pt x="11159" y="264109"/>
                      </a:lnTo>
                      <a:lnTo>
                        <a:pt x="6557" y="260587"/>
                      </a:lnTo>
                      <a:lnTo>
                        <a:pt x="7650" y="256022"/>
                      </a:lnTo>
                      <a:lnTo>
                        <a:pt x="6897" y="255002"/>
                      </a:lnTo>
                      <a:lnTo>
                        <a:pt x="6484" y="252464"/>
                      </a:lnTo>
                      <a:lnTo>
                        <a:pt x="5355" y="249962"/>
                      </a:lnTo>
                      <a:lnTo>
                        <a:pt x="3910" y="247886"/>
                      </a:lnTo>
                      <a:lnTo>
                        <a:pt x="2307" y="244814"/>
                      </a:lnTo>
                      <a:lnTo>
                        <a:pt x="886" y="240649"/>
                      </a:lnTo>
                      <a:lnTo>
                        <a:pt x="0" y="234990"/>
                      </a:lnTo>
                      <a:lnTo>
                        <a:pt x="37352" y="244437"/>
                      </a:lnTo>
                      <a:lnTo>
                        <a:pt x="44990" y="244619"/>
                      </a:lnTo>
                      <a:lnTo>
                        <a:pt x="55129" y="242252"/>
                      </a:lnTo>
                      <a:lnTo>
                        <a:pt x="59755" y="242179"/>
                      </a:lnTo>
                      <a:lnTo>
                        <a:pt x="68073" y="243211"/>
                      </a:lnTo>
                      <a:lnTo>
                        <a:pt x="69713" y="242664"/>
                      </a:lnTo>
                      <a:lnTo>
                        <a:pt x="73137" y="240029"/>
                      </a:lnTo>
                      <a:lnTo>
                        <a:pt x="83726" y="229732"/>
                      </a:lnTo>
                      <a:lnTo>
                        <a:pt x="96330" y="220819"/>
                      </a:lnTo>
                      <a:lnTo>
                        <a:pt x="102328" y="218901"/>
                      </a:lnTo>
                      <a:lnTo>
                        <a:pt x="103118" y="218427"/>
                      </a:lnTo>
                      <a:lnTo>
                        <a:pt x="104648" y="216254"/>
                      </a:lnTo>
                      <a:lnTo>
                        <a:pt x="108315" y="210425"/>
                      </a:lnTo>
                      <a:lnTo>
                        <a:pt x="112492" y="206685"/>
                      </a:lnTo>
                      <a:lnTo>
                        <a:pt x="120701" y="205021"/>
                      </a:lnTo>
                      <a:lnTo>
                        <a:pt x="133487" y="210109"/>
                      </a:lnTo>
                      <a:lnTo>
                        <a:pt x="138490" y="209769"/>
                      </a:lnTo>
                      <a:lnTo>
                        <a:pt x="157943" y="204961"/>
                      </a:lnTo>
                      <a:lnTo>
                        <a:pt x="183055" y="191239"/>
                      </a:lnTo>
                      <a:lnTo>
                        <a:pt x="191385" y="188203"/>
                      </a:lnTo>
                      <a:lnTo>
                        <a:pt x="200018" y="189515"/>
                      </a:lnTo>
                      <a:lnTo>
                        <a:pt x="208749" y="195574"/>
                      </a:lnTo>
                      <a:lnTo>
                        <a:pt x="210996" y="196230"/>
                      </a:lnTo>
                      <a:lnTo>
                        <a:pt x="213351" y="196157"/>
                      </a:lnTo>
                      <a:lnTo>
                        <a:pt x="228870" y="192963"/>
                      </a:lnTo>
                      <a:lnTo>
                        <a:pt x="230509" y="192004"/>
                      </a:lnTo>
                      <a:lnTo>
                        <a:pt x="246526" y="177566"/>
                      </a:lnTo>
                      <a:lnTo>
                        <a:pt x="247704" y="174798"/>
                      </a:lnTo>
                      <a:lnTo>
                        <a:pt x="247060" y="164112"/>
                      </a:lnTo>
                      <a:lnTo>
                        <a:pt x="249052" y="157166"/>
                      </a:lnTo>
                      <a:lnTo>
                        <a:pt x="254382" y="153256"/>
                      </a:lnTo>
                      <a:lnTo>
                        <a:pt x="261862" y="150718"/>
                      </a:lnTo>
                      <a:lnTo>
                        <a:pt x="269197" y="150050"/>
                      </a:lnTo>
                      <a:lnTo>
                        <a:pt x="275256" y="151459"/>
                      </a:lnTo>
                      <a:lnTo>
                        <a:pt x="280988" y="154750"/>
                      </a:lnTo>
                      <a:lnTo>
                        <a:pt x="281364" y="154774"/>
                      </a:lnTo>
                      <a:lnTo>
                        <a:pt x="282845" y="153681"/>
                      </a:lnTo>
                      <a:lnTo>
                        <a:pt x="286100" y="150281"/>
                      </a:lnTo>
                      <a:lnTo>
                        <a:pt x="297708" y="141490"/>
                      </a:lnTo>
                      <a:lnTo>
                        <a:pt x="299603" y="139037"/>
                      </a:lnTo>
                      <a:lnTo>
                        <a:pt x="300562" y="133815"/>
                      </a:lnTo>
                      <a:lnTo>
                        <a:pt x="299238" y="128594"/>
                      </a:lnTo>
                      <a:lnTo>
                        <a:pt x="298230" y="121818"/>
                      </a:lnTo>
                      <a:lnTo>
                        <a:pt x="302493" y="116609"/>
                      </a:lnTo>
                      <a:lnTo>
                        <a:pt x="250460" y="0"/>
                      </a:lnTo>
                      <a:lnTo>
                        <a:pt x="255560" y="413"/>
                      </a:lnTo>
                      <a:lnTo>
                        <a:pt x="264667" y="36"/>
                      </a:lnTo>
                      <a:lnTo>
                        <a:pt x="269342" y="1894"/>
                      </a:lnTo>
                      <a:lnTo>
                        <a:pt x="272427" y="5100"/>
                      </a:lnTo>
                      <a:lnTo>
                        <a:pt x="277102" y="11341"/>
                      </a:lnTo>
                      <a:lnTo>
                        <a:pt x="279543" y="13127"/>
                      </a:lnTo>
                      <a:lnTo>
                        <a:pt x="282275" y="14049"/>
                      </a:lnTo>
                      <a:lnTo>
                        <a:pt x="285614" y="14681"/>
                      </a:lnTo>
                      <a:lnTo>
                        <a:pt x="292730" y="14827"/>
                      </a:lnTo>
                      <a:lnTo>
                        <a:pt x="299846" y="13600"/>
                      </a:lnTo>
                      <a:lnTo>
                        <a:pt x="304363" y="13479"/>
                      </a:lnTo>
                      <a:lnTo>
                        <a:pt x="308831" y="14632"/>
                      </a:lnTo>
                      <a:lnTo>
                        <a:pt x="312316" y="17146"/>
                      </a:lnTo>
                      <a:lnTo>
                        <a:pt x="316773" y="22525"/>
                      </a:lnTo>
                      <a:lnTo>
                        <a:pt x="318813" y="24237"/>
                      </a:lnTo>
                      <a:lnTo>
                        <a:pt x="324726" y="26423"/>
                      </a:lnTo>
                      <a:lnTo>
                        <a:pt x="330567" y="26666"/>
                      </a:lnTo>
                      <a:lnTo>
                        <a:pt x="343742" y="25075"/>
                      </a:lnTo>
                      <a:lnTo>
                        <a:pt x="350081" y="25646"/>
                      </a:lnTo>
                      <a:lnTo>
                        <a:pt x="355654" y="28087"/>
                      </a:lnTo>
                      <a:lnTo>
                        <a:pt x="364956" y="35227"/>
                      </a:lnTo>
                      <a:lnTo>
                        <a:pt x="370433" y="37898"/>
                      </a:lnTo>
                      <a:lnTo>
                        <a:pt x="374755" y="38129"/>
                      </a:lnTo>
                      <a:lnTo>
                        <a:pt x="386012" y="36526"/>
                      </a:lnTo>
                      <a:lnTo>
                        <a:pt x="392994" y="36198"/>
                      </a:lnTo>
                      <a:lnTo>
                        <a:pt x="421445" y="40570"/>
                      </a:lnTo>
                      <a:lnTo>
                        <a:pt x="425913" y="39610"/>
                      </a:lnTo>
                      <a:lnTo>
                        <a:pt x="430066" y="37218"/>
                      </a:lnTo>
                      <a:lnTo>
                        <a:pt x="435470" y="33369"/>
                      </a:lnTo>
                      <a:lnTo>
                        <a:pt x="438761" y="32154"/>
                      </a:lnTo>
                      <a:lnTo>
                        <a:pt x="441942" y="31839"/>
                      </a:lnTo>
                      <a:lnTo>
                        <a:pt x="449021" y="32822"/>
                      </a:lnTo>
                      <a:lnTo>
                        <a:pt x="452580" y="38772"/>
                      </a:lnTo>
                      <a:lnTo>
                        <a:pt x="455919" y="42998"/>
                      </a:lnTo>
                      <a:lnTo>
                        <a:pt x="459124" y="45366"/>
                      </a:lnTo>
                      <a:lnTo>
                        <a:pt x="462500" y="46167"/>
                      </a:lnTo>
                      <a:lnTo>
                        <a:pt x="466507" y="44637"/>
                      </a:lnTo>
                      <a:lnTo>
                        <a:pt x="474558" y="36344"/>
                      </a:lnTo>
                      <a:lnTo>
                        <a:pt x="481310" y="32834"/>
                      </a:lnTo>
                      <a:lnTo>
                        <a:pt x="495310" y="33490"/>
                      </a:lnTo>
                      <a:lnTo>
                        <a:pt x="498176" y="44735"/>
                      </a:lnTo>
                      <a:lnTo>
                        <a:pt x="494691" y="57181"/>
                      </a:lnTo>
                      <a:lnTo>
                        <a:pt x="489215" y="68474"/>
                      </a:lnTo>
                      <a:lnTo>
                        <a:pt x="487915" y="83398"/>
                      </a:lnTo>
                      <a:lnTo>
                        <a:pt x="494242" y="98576"/>
                      </a:lnTo>
                      <a:lnTo>
                        <a:pt x="511618" y="127707"/>
                      </a:lnTo>
                      <a:lnTo>
                        <a:pt x="513683" y="136353"/>
                      </a:lnTo>
                      <a:lnTo>
                        <a:pt x="515419" y="152807"/>
                      </a:lnTo>
                      <a:lnTo>
                        <a:pt x="517896" y="159376"/>
                      </a:lnTo>
                      <a:lnTo>
                        <a:pt x="524964" y="167609"/>
                      </a:lnTo>
                      <a:lnTo>
                        <a:pt x="527064" y="171993"/>
                      </a:lnTo>
                      <a:lnTo>
                        <a:pt x="538806" y="212574"/>
                      </a:lnTo>
                      <a:lnTo>
                        <a:pt x="542753" y="219156"/>
                      </a:lnTo>
                      <a:lnTo>
                        <a:pt x="549541" y="224802"/>
                      </a:lnTo>
                      <a:lnTo>
                        <a:pt x="556948" y="227607"/>
                      </a:lnTo>
                      <a:lnTo>
                        <a:pt x="599023" y="234225"/>
                      </a:lnTo>
                      <a:lnTo>
                        <a:pt x="610413" y="238657"/>
                      </a:lnTo>
                      <a:lnTo>
                        <a:pt x="627207" y="250703"/>
                      </a:lnTo>
                      <a:lnTo>
                        <a:pt x="637383" y="263162"/>
                      </a:lnTo>
                      <a:lnTo>
                        <a:pt x="643527" y="266234"/>
                      </a:lnTo>
                      <a:lnTo>
                        <a:pt x="651602" y="268335"/>
                      </a:lnTo>
                      <a:lnTo>
                        <a:pt x="658803" y="271298"/>
                      </a:lnTo>
                      <a:lnTo>
                        <a:pt x="665081" y="276725"/>
                      </a:lnTo>
                      <a:lnTo>
                        <a:pt x="666781" y="279482"/>
                      </a:lnTo>
                      <a:lnTo>
                        <a:pt x="670399" y="285966"/>
                      </a:lnTo>
                      <a:lnTo>
                        <a:pt x="672342" y="291261"/>
                      </a:lnTo>
                      <a:lnTo>
                        <a:pt x="673071" y="296834"/>
                      </a:lnTo>
                      <a:lnTo>
                        <a:pt x="672500" y="302408"/>
                      </a:lnTo>
                      <a:lnTo>
                        <a:pt x="670351" y="308613"/>
                      </a:lnTo>
                      <a:lnTo>
                        <a:pt x="656119" y="321581"/>
                      </a:lnTo>
                      <a:lnTo>
                        <a:pt x="636958" y="329571"/>
                      </a:lnTo>
                      <a:lnTo>
                        <a:pt x="624451" y="337732"/>
                      </a:lnTo>
                      <a:lnTo>
                        <a:pt x="622993" y="353481"/>
                      </a:lnTo>
                      <a:lnTo>
                        <a:pt x="632003" y="378580"/>
                      </a:lnTo>
                      <a:lnTo>
                        <a:pt x="635258" y="392375"/>
                      </a:lnTo>
                      <a:lnTo>
                        <a:pt x="636594" y="406376"/>
                      </a:lnTo>
                      <a:lnTo>
                        <a:pt x="634262" y="447054"/>
                      </a:lnTo>
                      <a:lnTo>
                        <a:pt x="637808" y="458299"/>
                      </a:lnTo>
                      <a:lnTo>
                        <a:pt x="641827" y="464540"/>
                      </a:lnTo>
                      <a:lnTo>
                        <a:pt x="658767" y="479561"/>
                      </a:lnTo>
                      <a:lnTo>
                        <a:pt x="659325" y="480193"/>
                      </a:lnTo>
                      <a:lnTo>
                        <a:pt x="669343" y="495650"/>
                      </a:lnTo>
                      <a:lnTo>
                        <a:pt x="671589" y="496877"/>
                      </a:lnTo>
                      <a:lnTo>
                        <a:pt x="677916" y="498565"/>
                      </a:lnTo>
                      <a:lnTo>
                        <a:pt x="681535" y="500143"/>
                      </a:lnTo>
                      <a:lnTo>
                        <a:pt x="685032" y="502208"/>
                      </a:lnTo>
                      <a:lnTo>
                        <a:pt x="688711" y="506178"/>
                      </a:lnTo>
                      <a:lnTo>
                        <a:pt x="689670" y="510963"/>
                      </a:lnTo>
                      <a:lnTo>
                        <a:pt x="689877" y="513804"/>
                      </a:lnTo>
                      <a:lnTo>
                        <a:pt x="691055" y="513294"/>
                      </a:lnTo>
                      <a:lnTo>
                        <a:pt x="690703" y="511764"/>
                      </a:lnTo>
                      <a:lnTo>
                        <a:pt x="694576" y="511048"/>
                      </a:lnTo>
                      <a:lnTo>
                        <a:pt x="700478" y="511485"/>
                      </a:lnTo>
                      <a:lnTo>
                        <a:pt x="715875" y="519074"/>
                      </a:lnTo>
                      <a:lnTo>
                        <a:pt x="721983" y="521041"/>
                      </a:lnTo>
                      <a:lnTo>
                        <a:pt x="736846" y="521466"/>
                      </a:lnTo>
                      <a:lnTo>
                        <a:pt x="745370" y="525692"/>
                      </a:lnTo>
                      <a:lnTo>
                        <a:pt x="746123" y="535989"/>
                      </a:lnTo>
                      <a:lnTo>
                        <a:pt x="744131" y="539948"/>
                      </a:lnTo>
                      <a:lnTo>
                        <a:pt x="739808" y="546056"/>
                      </a:lnTo>
                      <a:lnTo>
                        <a:pt x="738837" y="549249"/>
                      </a:lnTo>
                      <a:lnTo>
                        <a:pt x="738181" y="559510"/>
                      </a:lnTo>
                      <a:lnTo>
                        <a:pt x="736870" y="564149"/>
                      </a:lnTo>
                      <a:lnTo>
                        <a:pt x="737076" y="570111"/>
                      </a:lnTo>
                      <a:lnTo>
                        <a:pt x="740367" y="574871"/>
                      </a:lnTo>
                      <a:lnTo>
                        <a:pt x="750786" y="583492"/>
                      </a:lnTo>
                      <a:lnTo>
                        <a:pt x="755096" y="590863"/>
                      </a:lnTo>
                      <a:lnTo>
                        <a:pt x="756687" y="598173"/>
                      </a:lnTo>
                      <a:lnTo>
                        <a:pt x="758278" y="603237"/>
                      </a:lnTo>
                      <a:lnTo>
                        <a:pt x="762953" y="608130"/>
                      </a:lnTo>
                      <a:lnTo>
                        <a:pt x="768053" y="613692"/>
                      </a:lnTo>
                      <a:lnTo>
                        <a:pt x="769146" y="621451"/>
                      </a:lnTo>
                      <a:lnTo>
                        <a:pt x="767324" y="630085"/>
                      </a:lnTo>
                      <a:lnTo>
                        <a:pt x="763439" y="637662"/>
                      </a:lnTo>
                      <a:lnTo>
                        <a:pt x="755230" y="647219"/>
                      </a:lnTo>
                      <a:lnTo>
                        <a:pt x="736396" y="661559"/>
                      </a:lnTo>
                      <a:lnTo>
                        <a:pt x="728212" y="670424"/>
                      </a:lnTo>
                      <a:lnTo>
                        <a:pt x="723039" y="671808"/>
                      </a:lnTo>
                      <a:lnTo>
                        <a:pt x="718510" y="670314"/>
                      </a:lnTo>
                      <a:lnTo>
                        <a:pt x="714296" y="668444"/>
                      </a:lnTo>
                      <a:lnTo>
                        <a:pt x="713859" y="668372"/>
                      </a:lnTo>
                      <a:lnTo>
                        <a:pt x="713046" y="668712"/>
                      </a:lnTo>
                      <a:lnTo>
                        <a:pt x="708504" y="669464"/>
                      </a:lnTo>
                      <a:lnTo>
                        <a:pt x="703307" y="671019"/>
                      </a:lnTo>
                      <a:lnTo>
                        <a:pt x="698304" y="673192"/>
                      </a:lnTo>
                      <a:lnTo>
                        <a:pt x="695863" y="675038"/>
                      </a:lnTo>
                      <a:lnTo>
                        <a:pt x="694297" y="678972"/>
                      </a:lnTo>
                      <a:lnTo>
                        <a:pt x="692269" y="691419"/>
                      </a:lnTo>
                      <a:lnTo>
                        <a:pt x="687910" y="697260"/>
                      </a:lnTo>
                      <a:lnTo>
                        <a:pt x="684825" y="697502"/>
                      </a:lnTo>
                      <a:lnTo>
                        <a:pt x="678863" y="696179"/>
                      </a:lnTo>
                      <a:lnTo>
                        <a:pt x="677163" y="696033"/>
                      </a:lnTo>
                      <a:lnTo>
                        <a:pt x="675694" y="696604"/>
                      </a:lnTo>
                      <a:lnTo>
                        <a:pt x="671504" y="698498"/>
                      </a:lnTo>
                      <a:lnTo>
                        <a:pt x="668287" y="699227"/>
                      </a:lnTo>
                      <a:lnTo>
                        <a:pt x="661863" y="702663"/>
                      </a:lnTo>
                      <a:lnTo>
                        <a:pt x="654771" y="700514"/>
                      </a:lnTo>
                      <a:close/>
                    </a:path>
                  </a:pathLst>
                </a:custGeom>
                <a:solidFill>
                  <a:srgbClr val="D7D7D2"/>
                </a:solidFill>
                <a:ln w="12138" cap="flat">
                  <a:noFill/>
                  <a:prstDash val="solid"/>
                  <a:miter/>
                </a:ln>
              </p:spPr>
              <p:txBody>
                <a:bodyPr rtlCol="0" anchor="ctr"/>
                <a:lstStyle/>
                <a:p>
                  <a:endParaRPr lang="en-US"/>
                </a:p>
              </p:txBody>
            </p:sp>
            <p:sp>
              <p:nvSpPr>
                <p:cNvPr id="301" name="Freeform: Shape 300">
                  <a:extLst>
                    <a:ext uri="{FF2B5EF4-FFF2-40B4-BE49-F238E27FC236}">
                      <a16:creationId xmlns:a16="http://schemas.microsoft.com/office/drawing/2014/main" id="{9B97F62C-215C-4ED9-8BCD-EBE7B7112224}"/>
                    </a:ext>
                  </a:extLst>
                </p:cNvPr>
                <p:cNvSpPr/>
                <p:nvPr/>
              </p:nvSpPr>
              <p:spPr>
                <a:xfrm>
                  <a:off x="4718869" y="953567"/>
                  <a:ext cx="775982" cy="709256"/>
                </a:xfrm>
                <a:custGeom>
                  <a:avLst/>
                  <a:gdLst>
                    <a:gd name="connsiteX0" fmla="*/ 267800 w 775982"/>
                    <a:gd name="connsiteY0" fmla="*/ 6521 h 709256"/>
                    <a:gd name="connsiteX1" fmla="*/ 271249 w 775982"/>
                    <a:gd name="connsiteY1" fmla="*/ 7893 h 709256"/>
                    <a:gd name="connsiteX2" fmla="*/ 273884 w 775982"/>
                    <a:gd name="connsiteY2" fmla="*/ 10625 h 709256"/>
                    <a:gd name="connsiteX3" fmla="*/ 278316 w 775982"/>
                    <a:gd name="connsiteY3" fmla="*/ 16563 h 709256"/>
                    <a:gd name="connsiteX4" fmla="*/ 281303 w 775982"/>
                    <a:gd name="connsiteY4" fmla="*/ 18919 h 709256"/>
                    <a:gd name="connsiteX5" fmla="*/ 284813 w 775982"/>
                    <a:gd name="connsiteY5" fmla="*/ 20291 h 709256"/>
                    <a:gd name="connsiteX6" fmla="*/ 288650 w 775982"/>
                    <a:gd name="connsiteY6" fmla="*/ 21068 h 709256"/>
                    <a:gd name="connsiteX7" fmla="*/ 296288 w 775982"/>
                    <a:gd name="connsiteY7" fmla="*/ 21274 h 709256"/>
                    <a:gd name="connsiteX8" fmla="*/ 303986 w 775982"/>
                    <a:gd name="connsiteY8" fmla="*/ 20012 h 709256"/>
                    <a:gd name="connsiteX9" fmla="*/ 308066 w 775982"/>
                    <a:gd name="connsiteY9" fmla="*/ 19927 h 709256"/>
                    <a:gd name="connsiteX10" fmla="*/ 311624 w 775982"/>
                    <a:gd name="connsiteY10" fmla="*/ 20959 h 709256"/>
                    <a:gd name="connsiteX11" fmla="*/ 314041 w 775982"/>
                    <a:gd name="connsiteY11" fmla="*/ 22914 h 709256"/>
                    <a:gd name="connsiteX12" fmla="*/ 318048 w 775982"/>
                    <a:gd name="connsiteY12" fmla="*/ 27856 h 709256"/>
                    <a:gd name="connsiteX13" fmla="*/ 320464 w 775982"/>
                    <a:gd name="connsiteY13" fmla="*/ 29944 h 709256"/>
                    <a:gd name="connsiteX14" fmla="*/ 327240 w 775982"/>
                    <a:gd name="connsiteY14" fmla="*/ 32652 h 709256"/>
                    <a:gd name="connsiteX15" fmla="*/ 334004 w 775982"/>
                    <a:gd name="connsiteY15" fmla="*/ 33102 h 709256"/>
                    <a:gd name="connsiteX16" fmla="*/ 347737 w 775982"/>
                    <a:gd name="connsiteY16" fmla="*/ 31499 h 709256"/>
                    <a:gd name="connsiteX17" fmla="*/ 353420 w 775982"/>
                    <a:gd name="connsiteY17" fmla="*/ 32070 h 709256"/>
                    <a:gd name="connsiteX18" fmla="*/ 358010 w 775982"/>
                    <a:gd name="connsiteY18" fmla="*/ 34243 h 709256"/>
                    <a:gd name="connsiteX19" fmla="*/ 366741 w 775982"/>
                    <a:gd name="connsiteY19" fmla="*/ 41031 h 709256"/>
                    <a:gd name="connsiteX20" fmla="*/ 372715 w 775982"/>
                    <a:gd name="connsiteY20" fmla="*/ 44018 h 709256"/>
                    <a:gd name="connsiteX21" fmla="*/ 378107 w 775982"/>
                    <a:gd name="connsiteY21" fmla="*/ 44552 h 709256"/>
                    <a:gd name="connsiteX22" fmla="*/ 390068 w 775982"/>
                    <a:gd name="connsiteY22" fmla="*/ 42925 h 709256"/>
                    <a:gd name="connsiteX23" fmla="*/ 396771 w 775982"/>
                    <a:gd name="connsiteY23" fmla="*/ 42634 h 709256"/>
                    <a:gd name="connsiteX24" fmla="*/ 398155 w 775982"/>
                    <a:gd name="connsiteY24" fmla="*/ 42865 h 709256"/>
                    <a:gd name="connsiteX25" fmla="*/ 424614 w 775982"/>
                    <a:gd name="connsiteY25" fmla="*/ 46969 h 709256"/>
                    <a:gd name="connsiteX26" fmla="*/ 430091 w 775982"/>
                    <a:gd name="connsiteY26" fmla="*/ 45997 h 709256"/>
                    <a:gd name="connsiteX27" fmla="*/ 435142 w 775982"/>
                    <a:gd name="connsiteY27" fmla="*/ 43302 h 709256"/>
                    <a:gd name="connsiteX28" fmla="*/ 440874 w 775982"/>
                    <a:gd name="connsiteY28" fmla="*/ 39246 h 709256"/>
                    <a:gd name="connsiteX29" fmla="*/ 443339 w 775982"/>
                    <a:gd name="connsiteY29" fmla="*/ 38445 h 709256"/>
                    <a:gd name="connsiteX30" fmla="*/ 445804 w 775982"/>
                    <a:gd name="connsiteY30" fmla="*/ 38275 h 709256"/>
                    <a:gd name="connsiteX31" fmla="*/ 450807 w 775982"/>
                    <a:gd name="connsiteY31" fmla="*/ 39015 h 709256"/>
                    <a:gd name="connsiteX32" fmla="*/ 450807 w 775982"/>
                    <a:gd name="connsiteY32" fmla="*/ 39015 h 709256"/>
                    <a:gd name="connsiteX33" fmla="*/ 453636 w 775982"/>
                    <a:gd name="connsiteY33" fmla="*/ 43727 h 709256"/>
                    <a:gd name="connsiteX34" fmla="*/ 457194 w 775982"/>
                    <a:gd name="connsiteY34" fmla="*/ 48268 h 709256"/>
                    <a:gd name="connsiteX35" fmla="*/ 461492 w 775982"/>
                    <a:gd name="connsiteY35" fmla="*/ 51571 h 709256"/>
                    <a:gd name="connsiteX36" fmla="*/ 466374 w 775982"/>
                    <a:gd name="connsiteY36" fmla="*/ 52737 h 709256"/>
                    <a:gd name="connsiteX37" fmla="*/ 471887 w 775982"/>
                    <a:gd name="connsiteY37" fmla="*/ 50624 h 709256"/>
                    <a:gd name="connsiteX38" fmla="*/ 480399 w 775982"/>
                    <a:gd name="connsiteY38" fmla="*/ 41857 h 709256"/>
                    <a:gd name="connsiteX39" fmla="*/ 485608 w 775982"/>
                    <a:gd name="connsiteY39" fmla="*/ 39307 h 709256"/>
                    <a:gd name="connsiteX40" fmla="*/ 496586 w 775982"/>
                    <a:gd name="connsiteY40" fmla="*/ 39817 h 709256"/>
                    <a:gd name="connsiteX41" fmla="*/ 498698 w 775982"/>
                    <a:gd name="connsiteY41" fmla="*/ 48098 h 709256"/>
                    <a:gd name="connsiteX42" fmla="*/ 495432 w 775982"/>
                    <a:gd name="connsiteY42" fmla="*/ 59768 h 709256"/>
                    <a:gd name="connsiteX43" fmla="*/ 490150 w 775982"/>
                    <a:gd name="connsiteY43" fmla="*/ 70538 h 709256"/>
                    <a:gd name="connsiteX44" fmla="*/ 488486 w 775982"/>
                    <a:gd name="connsiteY44" fmla="*/ 87283 h 709256"/>
                    <a:gd name="connsiteX45" fmla="*/ 495092 w 775982"/>
                    <a:gd name="connsiteY45" fmla="*/ 103154 h 709256"/>
                    <a:gd name="connsiteX46" fmla="*/ 512663 w 775982"/>
                    <a:gd name="connsiteY46" fmla="*/ 132674 h 709256"/>
                    <a:gd name="connsiteX47" fmla="*/ 514375 w 775982"/>
                    <a:gd name="connsiteY47" fmla="*/ 140421 h 709256"/>
                    <a:gd name="connsiteX48" fmla="*/ 516051 w 775982"/>
                    <a:gd name="connsiteY48" fmla="*/ 156535 h 709256"/>
                    <a:gd name="connsiteX49" fmla="*/ 518686 w 775982"/>
                    <a:gd name="connsiteY49" fmla="*/ 163820 h 709256"/>
                    <a:gd name="connsiteX50" fmla="*/ 526263 w 775982"/>
                    <a:gd name="connsiteY50" fmla="*/ 172952 h 709256"/>
                    <a:gd name="connsiteX51" fmla="*/ 527939 w 775982"/>
                    <a:gd name="connsiteY51" fmla="*/ 176655 h 709256"/>
                    <a:gd name="connsiteX52" fmla="*/ 539535 w 775982"/>
                    <a:gd name="connsiteY52" fmla="*/ 216824 h 709256"/>
                    <a:gd name="connsiteX53" fmla="*/ 543773 w 775982"/>
                    <a:gd name="connsiteY53" fmla="*/ 224086 h 709256"/>
                    <a:gd name="connsiteX54" fmla="*/ 551192 w 775982"/>
                    <a:gd name="connsiteY54" fmla="*/ 230497 h 709256"/>
                    <a:gd name="connsiteX55" fmla="*/ 559450 w 775982"/>
                    <a:gd name="connsiteY55" fmla="*/ 233824 h 709256"/>
                    <a:gd name="connsiteX56" fmla="*/ 602181 w 775982"/>
                    <a:gd name="connsiteY56" fmla="*/ 240624 h 709256"/>
                    <a:gd name="connsiteX57" fmla="*/ 612927 w 775982"/>
                    <a:gd name="connsiteY57" fmla="*/ 244874 h 709256"/>
                    <a:gd name="connsiteX58" fmla="*/ 629053 w 775982"/>
                    <a:gd name="connsiteY58" fmla="*/ 256556 h 709256"/>
                    <a:gd name="connsiteX59" fmla="*/ 638646 w 775982"/>
                    <a:gd name="connsiteY59" fmla="*/ 268456 h 709256"/>
                    <a:gd name="connsiteX60" fmla="*/ 645701 w 775982"/>
                    <a:gd name="connsiteY60" fmla="*/ 272293 h 709256"/>
                    <a:gd name="connsiteX61" fmla="*/ 654432 w 775982"/>
                    <a:gd name="connsiteY61" fmla="*/ 274649 h 709256"/>
                    <a:gd name="connsiteX62" fmla="*/ 661268 w 775982"/>
                    <a:gd name="connsiteY62" fmla="*/ 277490 h 709256"/>
                    <a:gd name="connsiteX63" fmla="*/ 666672 w 775982"/>
                    <a:gd name="connsiteY63" fmla="*/ 282372 h 709256"/>
                    <a:gd name="connsiteX64" fmla="*/ 667740 w 775982"/>
                    <a:gd name="connsiteY64" fmla="*/ 284327 h 709256"/>
                    <a:gd name="connsiteX65" fmla="*/ 671371 w 775982"/>
                    <a:gd name="connsiteY65" fmla="*/ 290836 h 709256"/>
                    <a:gd name="connsiteX66" fmla="*/ 673107 w 775982"/>
                    <a:gd name="connsiteY66" fmla="*/ 295668 h 709256"/>
                    <a:gd name="connsiteX67" fmla="*/ 673678 w 775982"/>
                    <a:gd name="connsiteY67" fmla="*/ 300574 h 709256"/>
                    <a:gd name="connsiteX68" fmla="*/ 673107 w 775982"/>
                    <a:gd name="connsiteY68" fmla="*/ 305456 h 709256"/>
                    <a:gd name="connsiteX69" fmla="*/ 671371 w 775982"/>
                    <a:gd name="connsiteY69" fmla="*/ 310276 h 709256"/>
                    <a:gd name="connsiteX70" fmla="*/ 657698 w 775982"/>
                    <a:gd name="connsiteY70" fmla="*/ 322735 h 709256"/>
                    <a:gd name="connsiteX71" fmla="*/ 639435 w 775982"/>
                    <a:gd name="connsiteY71" fmla="*/ 330154 h 709256"/>
                    <a:gd name="connsiteX72" fmla="*/ 625191 w 775982"/>
                    <a:gd name="connsiteY72" fmla="*/ 339395 h 709256"/>
                    <a:gd name="connsiteX73" fmla="*/ 623540 w 775982"/>
                    <a:gd name="connsiteY73" fmla="*/ 357270 h 709256"/>
                    <a:gd name="connsiteX74" fmla="*/ 632781 w 775982"/>
                    <a:gd name="connsiteY74" fmla="*/ 383000 h 709256"/>
                    <a:gd name="connsiteX75" fmla="*/ 635938 w 775982"/>
                    <a:gd name="connsiteY75" fmla="*/ 396467 h 709256"/>
                    <a:gd name="connsiteX76" fmla="*/ 637201 w 775982"/>
                    <a:gd name="connsiteY76" fmla="*/ 410055 h 709256"/>
                    <a:gd name="connsiteX77" fmla="*/ 634857 w 775982"/>
                    <a:gd name="connsiteY77" fmla="*/ 450272 h 709256"/>
                    <a:gd name="connsiteX78" fmla="*/ 638524 w 775982"/>
                    <a:gd name="connsiteY78" fmla="*/ 462561 h 709256"/>
                    <a:gd name="connsiteX79" fmla="*/ 642884 w 775982"/>
                    <a:gd name="connsiteY79" fmla="*/ 469543 h 709256"/>
                    <a:gd name="connsiteX80" fmla="*/ 660066 w 775982"/>
                    <a:gd name="connsiteY80" fmla="*/ 484952 h 709256"/>
                    <a:gd name="connsiteX81" fmla="*/ 660406 w 775982"/>
                    <a:gd name="connsiteY81" fmla="*/ 485244 h 709256"/>
                    <a:gd name="connsiteX82" fmla="*/ 670849 w 775982"/>
                    <a:gd name="connsiteY82" fmla="*/ 501346 h 709256"/>
                    <a:gd name="connsiteX83" fmla="*/ 673775 w 775982"/>
                    <a:gd name="connsiteY83" fmla="*/ 502936 h 709256"/>
                    <a:gd name="connsiteX84" fmla="*/ 680733 w 775982"/>
                    <a:gd name="connsiteY84" fmla="*/ 504879 h 709256"/>
                    <a:gd name="connsiteX85" fmla="*/ 683939 w 775982"/>
                    <a:gd name="connsiteY85" fmla="*/ 506312 h 709256"/>
                    <a:gd name="connsiteX86" fmla="*/ 687108 w 775982"/>
                    <a:gd name="connsiteY86" fmla="*/ 508206 h 709256"/>
                    <a:gd name="connsiteX87" fmla="*/ 689525 w 775982"/>
                    <a:gd name="connsiteY87" fmla="*/ 510963 h 709256"/>
                    <a:gd name="connsiteX88" fmla="*/ 690326 w 775982"/>
                    <a:gd name="connsiteY88" fmla="*/ 514958 h 709256"/>
                    <a:gd name="connsiteX89" fmla="*/ 690666 w 775982"/>
                    <a:gd name="connsiteY89" fmla="*/ 519900 h 709256"/>
                    <a:gd name="connsiteX90" fmla="*/ 692220 w 775982"/>
                    <a:gd name="connsiteY90" fmla="*/ 521041 h 709256"/>
                    <a:gd name="connsiteX91" fmla="*/ 698219 w 775982"/>
                    <a:gd name="connsiteY91" fmla="*/ 518491 h 709256"/>
                    <a:gd name="connsiteX92" fmla="*/ 697976 w 775982"/>
                    <a:gd name="connsiteY92" fmla="*/ 517471 h 709256"/>
                    <a:gd name="connsiteX93" fmla="*/ 703878 w 775982"/>
                    <a:gd name="connsiteY93" fmla="*/ 517908 h 709256"/>
                    <a:gd name="connsiteX94" fmla="*/ 718121 w 775982"/>
                    <a:gd name="connsiteY94" fmla="*/ 525170 h 709256"/>
                    <a:gd name="connsiteX95" fmla="*/ 724666 w 775982"/>
                    <a:gd name="connsiteY95" fmla="*/ 527319 h 709256"/>
                    <a:gd name="connsiteX96" fmla="*/ 739711 w 775982"/>
                    <a:gd name="connsiteY96" fmla="*/ 527878 h 709256"/>
                    <a:gd name="connsiteX97" fmla="*/ 746099 w 775982"/>
                    <a:gd name="connsiteY97" fmla="*/ 531035 h 709256"/>
                    <a:gd name="connsiteX98" fmla="*/ 746669 w 775982"/>
                    <a:gd name="connsiteY98" fmla="*/ 538770 h 709256"/>
                    <a:gd name="connsiteX99" fmla="*/ 745054 w 775982"/>
                    <a:gd name="connsiteY99" fmla="*/ 541976 h 709256"/>
                    <a:gd name="connsiteX100" fmla="*/ 740974 w 775982"/>
                    <a:gd name="connsiteY100" fmla="*/ 547683 h 709256"/>
                    <a:gd name="connsiteX101" fmla="*/ 739602 w 775982"/>
                    <a:gd name="connsiteY101" fmla="*/ 551642 h 709256"/>
                    <a:gd name="connsiteX102" fmla="*/ 738789 w 775982"/>
                    <a:gd name="connsiteY102" fmla="*/ 562667 h 709256"/>
                    <a:gd name="connsiteX103" fmla="*/ 737598 w 775982"/>
                    <a:gd name="connsiteY103" fmla="*/ 566662 h 709256"/>
                    <a:gd name="connsiteX104" fmla="*/ 737708 w 775982"/>
                    <a:gd name="connsiteY104" fmla="*/ 574495 h 709256"/>
                    <a:gd name="connsiteX105" fmla="*/ 741497 w 775982"/>
                    <a:gd name="connsiteY105" fmla="*/ 579983 h 709256"/>
                    <a:gd name="connsiteX106" fmla="*/ 752462 w 775982"/>
                    <a:gd name="connsiteY106" fmla="*/ 589200 h 709256"/>
                    <a:gd name="connsiteX107" fmla="*/ 756080 w 775982"/>
                    <a:gd name="connsiteY107" fmla="*/ 595720 h 709256"/>
                    <a:gd name="connsiteX108" fmla="*/ 757355 w 775982"/>
                    <a:gd name="connsiteY108" fmla="*/ 602144 h 709256"/>
                    <a:gd name="connsiteX109" fmla="*/ 759237 w 775982"/>
                    <a:gd name="connsiteY109" fmla="*/ 608203 h 709256"/>
                    <a:gd name="connsiteX110" fmla="*/ 764410 w 775982"/>
                    <a:gd name="connsiteY110" fmla="*/ 613607 h 709256"/>
                    <a:gd name="connsiteX111" fmla="*/ 768830 w 775982"/>
                    <a:gd name="connsiteY111" fmla="*/ 618428 h 709256"/>
                    <a:gd name="connsiteX112" fmla="*/ 769802 w 775982"/>
                    <a:gd name="connsiteY112" fmla="*/ 625252 h 709256"/>
                    <a:gd name="connsiteX113" fmla="*/ 768029 w 775982"/>
                    <a:gd name="connsiteY113" fmla="*/ 632756 h 709256"/>
                    <a:gd name="connsiteX114" fmla="*/ 764410 w 775982"/>
                    <a:gd name="connsiteY114" fmla="*/ 639617 h 709256"/>
                    <a:gd name="connsiteX115" fmla="*/ 756602 w 775982"/>
                    <a:gd name="connsiteY115" fmla="*/ 648603 h 709256"/>
                    <a:gd name="connsiteX116" fmla="*/ 738218 w 775982"/>
                    <a:gd name="connsiteY116" fmla="*/ 662519 h 709256"/>
                    <a:gd name="connsiteX117" fmla="*/ 730240 w 775982"/>
                    <a:gd name="connsiteY117" fmla="*/ 671104 h 709256"/>
                    <a:gd name="connsiteX118" fmla="*/ 726791 w 775982"/>
                    <a:gd name="connsiteY118" fmla="*/ 672027 h 709256"/>
                    <a:gd name="connsiteX119" fmla="*/ 723124 w 775982"/>
                    <a:gd name="connsiteY119" fmla="*/ 670825 h 709256"/>
                    <a:gd name="connsiteX120" fmla="*/ 719214 w 775982"/>
                    <a:gd name="connsiteY120" fmla="*/ 669064 h 709256"/>
                    <a:gd name="connsiteX121" fmla="*/ 716215 w 775982"/>
                    <a:gd name="connsiteY121" fmla="*/ 668481 h 709256"/>
                    <a:gd name="connsiteX122" fmla="*/ 716215 w 775982"/>
                    <a:gd name="connsiteY122" fmla="*/ 669112 h 709256"/>
                    <a:gd name="connsiteX123" fmla="*/ 711673 w 775982"/>
                    <a:gd name="connsiteY123" fmla="*/ 669865 h 709256"/>
                    <a:gd name="connsiteX124" fmla="*/ 706112 w 775982"/>
                    <a:gd name="connsiteY124" fmla="*/ 671505 h 709256"/>
                    <a:gd name="connsiteX125" fmla="*/ 700769 w 775982"/>
                    <a:gd name="connsiteY125" fmla="*/ 673799 h 709256"/>
                    <a:gd name="connsiteX126" fmla="*/ 697017 w 775982"/>
                    <a:gd name="connsiteY126" fmla="*/ 676519 h 709256"/>
                    <a:gd name="connsiteX127" fmla="*/ 695135 w 775982"/>
                    <a:gd name="connsiteY127" fmla="*/ 681231 h 709256"/>
                    <a:gd name="connsiteX128" fmla="*/ 693058 w 775982"/>
                    <a:gd name="connsiteY128" fmla="*/ 693580 h 709256"/>
                    <a:gd name="connsiteX129" fmla="*/ 689962 w 775982"/>
                    <a:gd name="connsiteY129" fmla="*/ 697721 h 709256"/>
                    <a:gd name="connsiteX130" fmla="*/ 688250 w 775982"/>
                    <a:gd name="connsiteY130" fmla="*/ 697855 h 709256"/>
                    <a:gd name="connsiteX131" fmla="*/ 683247 w 775982"/>
                    <a:gd name="connsiteY131" fmla="*/ 696616 h 709256"/>
                    <a:gd name="connsiteX132" fmla="*/ 681122 w 775982"/>
                    <a:gd name="connsiteY132" fmla="*/ 696397 h 709256"/>
                    <a:gd name="connsiteX133" fmla="*/ 678596 w 775982"/>
                    <a:gd name="connsiteY133" fmla="*/ 697053 h 709256"/>
                    <a:gd name="connsiteX134" fmla="*/ 673945 w 775982"/>
                    <a:gd name="connsiteY134" fmla="*/ 699117 h 709256"/>
                    <a:gd name="connsiteX135" fmla="*/ 671359 w 775982"/>
                    <a:gd name="connsiteY135" fmla="*/ 699640 h 709256"/>
                    <a:gd name="connsiteX136" fmla="*/ 665214 w 775982"/>
                    <a:gd name="connsiteY136" fmla="*/ 702797 h 709256"/>
                    <a:gd name="connsiteX137" fmla="*/ 659179 w 775982"/>
                    <a:gd name="connsiteY137" fmla="*/ 701048 h 709256"/>
                    <a:gd name="connsiteX138" fmla="*/ 653618 w 775982"/>
                    <a:gd name="connsiteY138" fmla="*/ 696567 h 709256"/>
                    <a:gd name="connsiteX139" fmla="*/ 648737 w 775982"/>
                    <a:gd name="connsiteY139" fmla="*/ 691540 h 709256"/>
                    <a:gd name="connsiteX140" fmla="*/ 632939 w 775982"/>
                    <a:gd name="connsiteY140" fmla="*/ 678766 h 709256"/>
                    <a:gd name="connsiteX141" fmla="*/ 629842 w 775982"/>
                    <a:gd name="connsiteY141" fmla="*/ 672039 h 709256"/>
                    <a:gd name="connsiteX142" fmla="*/ 626515 w 775982"/>
                    <a:gd name="connsiteY142" fmla="*/ 661195 h 709256"/>
                    <a:gd name="connsiteX143" fmla="*/ 626114 w 775982"/>
                    <a:gd name="connsiteY143" fmla="*/ 658087 h 709256"/>
                    <a:gd name="connsiteX144" fmla="*/ 627195 w 775982"/>
                    <a:gd name="connsiteY144" fmla="*/ 654334 h 709256"/>
                    <a:gd name="connsiteX145" fmla="*/ 628749 w 775982"/>
                    <a:gd name="connsiteY145" fmla="*/ 650740 h 709256"/>
                    <a:gd name="connsiteX146" fmla="*/ 629101 w 775982"/>
                    <a:gd name="connsiteY146" fmla="*/ 647207 h 709256"/>
                    <a:gd name="connsiteX147" fmla="*/ 626454 w 775982"/>
                    <a:gd name="connsiteY147" fmla="*/ 643649 h 709256"/>
                    <a:gd name="connsiteX148" fmla="*/ 622034 w 775982"/>
                    <a:gd name="connsiteY148" fmla="*/ 642046 h 709256"/>
                    <a:gd name="connsiteX149" fmla="*/ 618537 w 775982"/>
                    <a:gd name="connsiteY149" fmla="*/ 643673 h 709256"/>
                    <a:gd name="connsiteX150" fmla="*/ 612963 w 775982"/>
                    <a:gd name="connsiteY150" fmla="*/ 650084 h 709256"/>
                    <a:gd name="connsiteX151" fmla="*/ 609746 w 775982"/>
                    <a:gd name="connsiteY151" fmla="*/ 652804 h 709256"/>
                    <a:gd name="connsiteX152" fmla="*/ 606467 w 775982"/>
                    <a:gd name="connsiteY152" fmla="*/ 654480 h 709256"/>
                    <a:gd name="connsiteX153" fmla="*/ 598890 w 775982"/>
                    <a:gd name="connsiteY153" fmla="*/ 656168 h 709256"/>
                    <a:gd name="connsiteX154" fmla="*/ 572187 w 775982"/>
                    <a:gd name="connsiteY154" fmla="*/ 656945 h 709256"/>
                    <a:gd name="connsiteX155" fmla="*/ 564841 w 775982"/>
                    <a:gd name="connsiteY155" fmla="*/ 658572 h 709256"/>
                    <a:gd name="connsiteX156" fmla="*/ 560421 w 775982"/>
                    <a:gd name="connsiteY156" fmla="*/ 660843 h 709256"/>
                    <a:gd name="connsiteX157" fmla="*/ 559741 w 775982"/>
                    <a:gd name="connsiteY157" fmla="*/ 664923 h 709256"/>
                    <a:gd name="connsiteX158" fmla="*/ 555600 w 775982"/>
                    <a:gd name="connsiteY158" fmla="*/ 667509 h 709256"/>
                    <a:gd name="connsiteX159" fmla="*/ 547039 w 775982"/>
                    <a:gd name="connsiteY159" fmla="*/ 676665 h 709256"/>
                    <a:gd name="connsiteX160" fmla="*/ 545084 w 775982"/>
                    <a:gd name="connsiteY160" fmla="*/ 676896 h 709256"/>
                    <a:gd name="connsiteX161" fmla="*/ 543360 w 775982"/>
                    <a:gd name="connsiteY161" fmla="*/ 676349 h 709256"/>
                    <a:gd name="connsiteX162" fmla="*/ 541174 w 775982"/>
                    <a:gd name="connsiteY162" fmla="*/ 674795 h 709256"/>
                    <a:gd name="connsiteX163" fmla="*/ 539644 w 775982"/>
                    <a:gd name="connsiteY163" fmla="*/ 672622 h 709256"/>
                    <a:gd name="connsiteX164" fmla="*/ 539001 w 775982"/>
                    <a:gd name="connsiteY164" fmla="*/ 669889 h 709256"/>
                    <a:gd name="connsiteX165" fmla="*/ 539644 w 775982"/>
                    <a:gd name="connsiteY165" fmla="*/ 666829 h 709256"/>
                    <a:gd name="connsiteX166" fmla="*/ 541138 w 775982"/>
                    <a:gd name="connsiteY166" fmla="*/ 664000 h 709256"/>
                    <a:gd name="connsiteX167" fmla="*/ 542000 w 775982"/>
                    <a:gd name="connsiteY167" fmla="*/ 661365 h 709256"/>
                    <a:gd name="connsiteX168" fmla="*/ 543202 w 775982"/>
                    <a:gd name="connsiteY168" fmla="*/ 655014 h 709256"/>
                    <a:gd name="connsiteX169" fmla="*/ 544465 w 775982"/>
                    <a:gd name="connsiteY169" fmla="*/ 652258 h 709256"/>
                    <a:gd name="connsiteX170" fmla="*/ 545315 w 775982"/>
                    <a:gd name="connsiteY170" fmla="*/ 650679 h 709256"/>
                    <a:gd name="connsiteX171" fmla="*/ 547039 w 775982"/>
                    <a:gd name="connsiteY171" fmla="*/ 648846 h 709256"/>
                    <a:gd name="connsiteX172" fmla="*/ 550719 w 775982"/>
                    <a:gd name="connsiteY172" fmla="*/ 646150 h 709256"/>
                    <a:gd name="connsiteX173" fmla="*/ 555539 w 775982"/>
                    <a:gd name="connsiteY173" fmla="*/ 643284 h 709256"/>
                    <a:gd name="connsiteX174" fmla="*/ 557373 w 775982"/>
                    <a:gd name="connsiteY174" fmla="*/ 641584 h 709256"/>
                    <a:gd name="connsiteX175" fmla="*/ 558527 w 775982"/>
                    <a:gd name="connsiteY175" fmla="*/ 639690 h 709256"/>
                    <a:gd name="connsiteX176" fmla="*/ 559110 w 775982"/>
                    <a:gd name="connsiteY176" fmla="*/ 637905 h 709256"/>
                    <a:gd name="connsiteX177" fmla="*/ 559680 w 775982"/>
                    <a:gd name="connsiteY177" fmla="*/ 635440 h 709256"/>
                    <a:gd name="connsiteX178" fmla="*/ 560372 w 775982"/>
                    <a:gd name="connsiteY178" fmla="*/ 629126 h 709256"/>
                    <a:gd name="connsiteX179" fmla="*/ 560190 w 775982"/>
                    <a:gd name="connsiteY179" fmla="*/ 625993 h 709256"/>
                    <a:gd name="connsiteX180" fmla="*/ 559741 w 775982"/>
                    <a:gd name="connsiteY180" fmla="*/ 622884 h 709256"/>
                    <a:gd name="connsiteX181" fmla="*/ 558296 w 775982"/>
                    <a:gd name="connsiteY181" fmla="*/ 617723 h 709256"/>
                    <a:gd name="connsiteX182" fmla="*/ 557725 w 775982"/>
                    <a:gd name="connsiteY182" fmla="*/ 616230 h 709256"/>
                    <a:gd name="connsiteX183" fmla="*/ 557033 w 775982"/>
                    <a:gd name="connsiteY183" fmla="*/ 615368 h 709256"/>
                    <a:gd name="connsiteX184" fmla="*/ 555879 w 775982"/>
                    <a:gd name="connsiteY184" fmla="*/ 614858 h 709256"/>
                    <a:gd name="connsiteX185" fmla="*/ 554507 w 775982"/>
                    <a:gd name="connsiteY185" fmla="*/ 614651 h 709256"/>
                    <a:gd name="connsiteX186" fmla="*/ 550877 w 775982"/>
                    <a:gd name="connsiteY186" fmla="*/ 614821 h 709256"/>
                    <a:gd name="connsiteX187" fmla="*/ 549286 w 775982"/>
                    <a:gd name="connsiteY187" fmla="*/ 615052 h 709256"/>
                    <a:gd name="connsiteX188" fmla="*/ 547841 w 775982"/>
                    <a:gd name="connsiteY188" fmla="*/ 615489 h 709256"/>
                    <a:gd name="connsiteX189" fmla="*/ 547440 w 775982"/>
                    <a:gd name="connsiteY189" fmla="*/ 616351 h 709256"/>
                    <a:gd name="connsiteX190" fmla="*/ 547841 w 775982"/>
                    <a:gd name="connsiteY190" fmla="*/ 619873 h 709256"/>
                    <a:gd name="connsiteX191" fmla="*/ 547210 w 775982"/>
                    <a:gd name="connsiteY191" fmla="*/ 621597 h 709256"/>
                    <a:gd name="connsiteX192" fmla="*/ 545485 w 775982"/>
                    <a:gd name="connsiteY192" fmla="*/ 622836 h 709256"/>
                    <a:gd name="connsiteX193" fmla="*/ 540664 w 775982"/>
                    <a:gd name="connsiteY193" fmla="*/ 624499 h 709256"/>
                    <a:gd name="connsiteX194" fmla="*/ 538661 w 775982"/>
                    <a:gd name="connsiteY194" fmla="*/ 625701 h 709256"/>
                    <a:gd name="connsiteX195" fmla="*/ 535904 w 775982"/>
                    <a:gd name="connsiteY195" fmla="*/ 629441 h 709256"/>
                    <a:gd name="connsiteX196" fmla="*/ 534010 w 775982"/>
                    <a:gd name="connsiteY196" fmla="*/ 630473 h 709256"/>
                    <a:gd name="connsiteX197" fmla="*/ 531023 w 775982"/>
                    <a:gd name="connsiteY197" fmla="*/ 631044 h 709256"/>
                    <a:gd name="connsiteX198" fmla="*/ 527295 w 775982"/>
                    <a:gd name="connsiteY198" fmla="*/ 630643 h 709256"/>
                    <a:gd name="connsiteX199" fmla="*/ 524186 w 775982"/>
                    <a:gd name="connsiteY199" fmla="*/ 630668 h 709256"/>
                    <a:gd name="connsiteX200" fmla="*/ 521782 w 775982"/>
                    <a:gd name="connsiteY200" fmla="*/ 631323 h 709256"/>
                    <a:gd name="connsiteX201" fmla="*/ 517253 w 775982"/>
                    <a:gd name="connsiteY201" fmla="*/ 634432 h 709256"/>
                    <a:gd name="connsiteX202" fmla="*/ 512991 w 775982"/>
                    <a:gd name="connsiteY202" fmla="*/ 634954 h 709256"/>
                    <a:gd name="connsiteX203" fmla="*/ 509785 w 775982"/>
                    <a:gd name="connsiteY203" fmla="*/ 635756 h 709256"/>
                    <a:gd name="connsiteX204" fmla="*/ 507818 w 775982"/>
                    <a:gd name="connsiteY204" fmla="*/ 636958 h 709256"/>
                    <a:gd name="connsiteX205" fmla="*/ 506786 w 775982"/>
                    <a:gd name="connsiteY205" fmla="*/ 638658 h 709256"/>
                    <a:gd name="connsiteX206" fmla="*/ 505705 w 775982"/>
                    <a:gd name="connsiteY206" fmla="*/ 639654 h 709256"/>
                    <a:gd name="connsiteX207" fmla="*/ 504041 w 775982"/>
                    <a:gd name="connsiteY207" fmla="*/ 640467 h 709256"/>
                    <a:gd name="connsiteX208" fmla="*/ 502718 w 775982"/>
                    <a:gd name="connsiteY208" fmla="*/ 641439 h 709256"/>
                    <a:gd name="connsiteX209" fmla="*/ 501382 w 775982"/>
                    <a:gd name="connsiteY209" fmla="*/ 643539 h 709256"/>
                    <a:gd name="connsiteX210" fmla="*/ 499318 w 775982"/>
                    <a:gd name="connsiteY210" fmla="*/ 646065 h 709256"/>
                    <a:gd name="connsiteX211" fmla="*/ 496391 w 775982"/>
                    <a:gd name="connsiteY211" fmla="*/ 647498 h 709256"/>
                    <a:gd name="connsiteX212" fmla="*/ 489968 w 775982"/>
                    <a:gd name="connsiteY212" fmla="*/ 647729 h 709256"/>
                    <a:gd name="connsiteX213" fmla="*/ 487260 w 775982"/>
                    <a:gd name="connsiteY213" fmla="*/ 645628 h 709256"/>
                    <a:gd name="connsiteX214" fmla="*/ 486058 w 775982"/>
                    <a:gd name="connsiteY214" fmla="*/ 642847 h 709256"/>
                    <a:gd name="connsiteX215" fmla="*/ 485147 w 775982"/>
                    <a:gd name="connsiteY215" fmla="*/ 639860 h 709256"/>
                    <a:gd name="connsiteX216" fmla="*/ 483362 w 775982"/>
                    <a:gd name="connsiteY216" fmla="*/ 637274 h 709256"/>
                    <a:gd name="connsiteX217" fmla="*/ 478772 w 775982"/>
                    <a:gd name="connsiteY217" fmla="*/ 632599 h 709256"/>
                    <a:gd name="connsiteX218" fmla="*/ 476756 w 775982"/>
                    <a:gd name="connsiteY218" fmla="*/ 629988 h 709256"/>
                    <a:gd name="connsiteX219" fmla="*/ 475542 w 775982"/>
                    <a:gd name="connsiteY219" fmla="*/ 626733 h 709256"/>
                    <a:gd name="connsiteX220" fmla="*/ 474923 w 775982"/>
                    <a:gd name="connsiteY220" fmla="*/ 615938 h 709256"/>
                    <a:gd name="connsiteX221" fmla="*/ 473769 w 775982"/>
                    <a:gd name="connsiteY221" fmla="*/ 613267 h 709256"/>
                    <a:gd name="connsiteX222" fmla="*/ 471474 w 775982"/>
                    <a:gd name="connsiteY222" fmla="*/ 610025 h 709256"/>
                    <a:gd name="connsiteX223" fmla="*/ 468317 w 775982"/>
                    <a:gd name="connsiteY223" fmla="*/ 607475 h 709256"/>
                    <a:gd name="connsiteX224" fmla="*/ 461602 w 775982"/>
                    <a:gd name="connsiteY224" fmla="*/ 592830 h 709256"/>
                    <a:gd name="connsiteX225" fmla="*/ 455227 w 775982"/>
                    <a:gd name="connsiteY225" fmla="*/ 585022 h 709256"/>
                    <a:gd name="connsiteX226" fmla="*/ 444262 w 775982"/>
                    <a:gd name="connsiteY226" fmla="*/ 574082 h 709256"/>
                    <a:gd name="connsiteX227" fmla="*/ 439890 w 775982"/>
                    <a:gd name="connsiteY227" fmla="*/ 568970 h 709256"/>
                    <a:gd name="connsiteX228" fmla="*/ 438117 w 775982"/>
                    <a:gd name="connsiteY228" fmla="*/ 565934 h 709256"/>
                    <a:gd name="connsiteX229" fmla="*/ 435944 w 775982"/>
                    <a:gd name="connsiteY229" fmla="*/ 563602 h 709256"/>
                    <a:gd name="connsiteX230" fmla="*/ 434329 w 775982"/>
                    <a:gd name="connsiteY230" fmla="*/ 563202 h 709256"/>
                    <a:gd name="connsiteX231" fmla="*/ 432604 w 775982"/>
                    <a:gd name="connsiteY231" fmla="*/ 563457 h 709256"/>
                    <a:gd name="connsiteX232" fmla="*/ 430929 w 775982"/>
                    <a:gd name="connsiteY232" fmla="*/ 564549 h 709256"/>
                    <a:gd name="connsiteX233" fmla="*/ 427371 w 775982"/>
                    <a:gd name="connsiteY233" fmla="*/ 566152 h 709256"/>
                    <a:gd name="connsiteX234" fmla="*/ 427031 w 775982"/>
                    <a:gd name="connsiteY234" fmla="*/ 566359 h 709256"/>
                    <a:gd name="connsiteX235" fmla="*/ 424505 w 775982"/>
                    <a:gd name="connsiteY235" fmla="*/ 569091 h 709256"/>
                    <a:gd name="connsiteX236" fmla="*/ 423011 w 775982"/>
                    <a:gd name="connsiteY236" fmla="*/ 570317 h 709256"/>
                    <a:gd name="connsiteX237" fmla="*/ 421396 w 775982"/>
                    <a:gd name="connsiteY237" fmla="*/ 571277 h 709256"/>
                    <a:gd name="connsiteX238" fmla="*/ 417899 w 775982"/>
                    <a:gd name="connsiteY238" fmla="*/ 572224 h 709256"/>
                    <a:gd name="connsiteX239" fmla="*/ 416187 w 775982"/>
                    <a:gd name="connsiteY239" fmla="*/ 572880 h 709256"/>
                    <a:gd name="connsiteX240" fmla="*/ 414633 w 775982"/>
                    <a:gd name="connsiteY240" fmla="*/ 574106 h 709256"/>
                    <a:gd name="connsiteX241" fmla="*/ 409691 w 775982"/>
                    <a:gd name="connsiteY241" fmla="*/ 578987 h 709256"/>
                    <a:gd name="connsiteX242" fmla="*/ 407056 w 775982"/>
                    <a:gd name="connsiteY242" fmla="*/ 580918 h 709256"/>
                    <a:gd name="connsiteX243" fmla="*/ 404530 w 775982"/>
                    <a:gd name="connsiteY243" fmla="*/ 582266 h 709256"/>
                    <a:gd name="connsiteX244" fmla="*/ 401822 w 775982"/>
                    <a:gd name="connsiteY244" fmla="*/ 583322 h 709256"/>
                    <a:gd name="connsiteX245" fmla="*/ 394075 w 775982"/>
                    <a:gd name="connsiteY245" fmla="*/ 585229 h 709256"/>
                    <a:gd name="connsiteX246" fmla="*/ 390286 w 775982"/>
                    <a:gd name="connsiteY246" fmla="*/ 586917 h 709256"/>
                    <a:gd name="connsiteX247" fmla="*/ 383972 w 775982"/>
                    <a:gd name="connsiteY247" fmla="*/ 588325 h 709256"/>
                    <a:gd name="connsiteX248" fmla="*/ 374610 w 775982"/>
                    <a:gd name="connsiteY248" fmla="*/ 589273 h 709256"/>
                    <a:gd name="connsiteX249" fmla="*/ 373699 w 775982"/>
                    <a:gd name="connsiteY249" fmla="*/ 589758 h 709256"/>
                    <a:gd name="connsiteX250" fmla="*/ 372946 w 775982"/>
                    <a:gd name="connsiteY250" fmla="*/ 590499 h 709256"/>
                    <a:gd name="connsiteX251" fmla="*/ 371562 w 775982"/>
                    <a:gd name="connsiteY251" fmla="*/ 593013 h 709256"/>
                    <a:gd name="connsiteX252" fmla="*/ 370360 w 775982"/>
                    <a:gd name="connsiteY252" fmla="*/ 594069 h 709256"/>
                    <a:gd name="connsiteX253" fmla="*/ 366122 w 775982"/>
                    <a:gd name="connsiteY253" fmla="*/ 594045 h 709256"/>
                    <a:gd name="connsiteX254" fmla="*/ 341982 w 775982"/>
                    <a:gd name="connsiteY254" fmla="*/ 586771 h 709256"/>
                    <a:gd name="connsiteX255" fmla="*/ 326196 w 775982"/>
                    <a:gd name="connsiteY255" fmla="*/ 581586 h 709256"/>
                    <a:gd name="connsiteX256" fmla="*/ 317295 w 775982"/>
                    <a:gd name="connsiteY256" fmla="*/ 576668 h 709256"/>
                    <a:gd name="connsiteX257" fmla="*/ 300708 w 775982"/>
                    <a:gd name="connsiteY257" fmla="*/ 564719 h 709256"/>
                    <a:gd name="connsiteX258" fmla="*/ 292487 w 775982"/>
                    <a:gd name="connsiteY258" fmla="*/ 560992 h 709256"/>
                    <a:gd name="connsiteX259" fmla="*/ 289512 w 775982"/>
                    <a:gd name="connsiteY259" fmla="*/ 559073 h 709256"/>
                    <a:gd name="connsiteX260" fmla="*/ 287096 w 775982"/>
                    <a:gd name="connsiteY260" fmla="*/ 556620 h 709256"/>
                    <a:gd name="connsiteX261" fmla="*/ 282505 w 775982"/>
                    <a:gd name="connsiteY261" fmla="*/ 550792 h 709256"/>
                    <a:gd name="connsiteX262" fmla="*/ 272281 w 775982"/>
                    <a:gd name="connsiteY262" fmla="*/ 542182 h 709256"/>
                    <a:gd name="connsiteX263" fmla="*/ 268711 w 775982"/>
                    <a:gd name="connsiteY263" fmla="*/ 539948 h 709256"/>
                    <a:gd name="connsiteX264" fmla="*/ 257345 w 775982"/>
                    <a:gd name="connsiteY264" fmla="*/ 527113 h 709256"/>
                    <a:gd name="connsiteX265" fmla="*/ 257248 w 775982"/>
                    <a:gd name="connsiteY265" fmla="*/ 527040 h 709256"/>
                    <a:gd name="connsiteX266" fmla="*/ 256653 w 775982"/>
                    <a:gd name="connsiteY266" fmla="*/ 518880 h 709256"/>
                    <a:gd name="connsiteX267" fmla="*/ 256665 w 775982"/>
                    <a:gd name="connsiteY267" fmla="*/ 518746 h 709256"/>
                    <a:gd name="connsiteX268" fmla="*/ 257236 w 775982"/>
                    <a:gd name="connsiteY268" fmla="*/ 517204 h 709256"/>
                    <a:gd name="connsiteX269" fmla="*/ 258888 w 775982"/>
                    <a:gd name="connsiteY269" fmla="*/ 516111 h 709256"/>
                    <a:gd name="connsiteX270" fmla="*/ 259470 w 775982"/>
                    <a:gd name="connsiteY270" fmla="*/ 514666 h 709256"/>
                    <a:gd name="connsiteX271" fmla="*/ 260502 w 775982"/>
                    <a:gd name="connsiteY271" fmla="*/ 513403 h 709256"/>
                    <a:gd name="connsiteX272" fmla="*/ 261547 w 775982"/>
                    <a:gd name="connsiteY272" fmla="*/ 511315 h 709256"/>
                    <a:gd name="connsiteX273" fmla="*/ 262348 w 775982"/>
                    <a:gd name="connsiteY273" fmla="*/ 510137 h 709256"/>
                    <a:gd name="connsiteX274" fmla="*/ 262688 w 775982"/>
                    <a:gd name="connsiteY274" fmla="*/ 506640 h 709256"/>
                    <a:gd name="connsiteX275" fmla="*/ 261887 w 775982"/>
                    <a:gd name="connsiteY275" fmla="*/ 505936 h 709256"/>
                    <a:gd name="connsiteX276" fmla="*/ 261316 w 775982"/>
                    <a:gd name="connsiteY276" fmla="*/ 504964 h 709256"/>
                    <a:gd name="connsiteX277" fmla="*/ 262178 w 775982"/>
                    <a:gd name="connsiteY277" fmla="*/ 504223 h 709256"/>
                    <a:gd name="connsiteX278" fmla="*/ 262810 w 775982"/>
                    <a:gd name="connsiteY278" fmla="*/ 503932 h 709256"/>
                    <a:gd name="connsiteX279" fmla="*/ 265505 w 775982"/>
                    <a:gd name="connsiteY279" fmla="*/ 503653 h 709256"/>
                    <a:gd name="connsiteX280" fmla="*/ 266768 w 775982"/>
                    <a:gd name="connsiteY280" fmla="*/ 504017 h 709256"/>
                    <a:gd name="connsiteX281" fmla="*/ 269063 w 775982"/>
                    <a:gd name="connsiteY281" fmla="*/ 506749 h 709256"/>
                    <a:gd name="connsiteX282" fmla="*/ 270265 w 775982"/>
                    <a:gd name="connsiteY282" fmla="*/ 507781 h 709256"/>
                    <a:gd name="connsiteX283" fmla="*/ 271188 w 775982"/>
                    <a:gd name="connsiteY283" fmla="*/ 507903 h 709256"/>
                    <a:gd name="connsiteX284" fmla="*/ 271759 w 775982"/>
                    <a:gd name="connsiteY284" fmla="*/ 506178 h 709256"/>
                    <a:gd name="connsiteX285" fmla="*/ 271528 w 775982"/>
                    <a:gd name="connsiteY285" fmla="*/ 505656 h 709256"/>
                    <a:gd name="connsiteX286" fmla="*/ 269063 w 775982"/>
                    <a:gd name="connsiteY286" fmla="*/ 504078 h 709256"/>
                    <a:gd name="connsiteX287" fmla="*/ 266987 w 775982"/>
                    <a:gd name="connsiteY287" fmla="*/ 500398 h 709256"/>
                    <a:gd name="connsiteX288" fmla="*/ 265105 w 775982"/>
                    <a:gd name="connsiteY288" fmla="*/ 498018 h 709256"/>
                    <a:gd name="connsiteX289" fmla="*/ 265105 w 775982"/>
                    <a:gd name="connsiteY289" fmla="*/ 495432 h 709256"/>
                    <a:gd name="connsiteX290" fmla="*/ 265615 w 775982"/>
                    <a:gd name="connsiteY290" fmla="*/ 490903 h 709256"/>
                    <a:gd name="connsiteX291" fmla="*/ 264182 w 775982"/>
                    <a:gd name="connsiteY291" fmla="*/ 488207 h 709256"/>
                    <a:gd name="connsiteX292" fmla="*/ 260223 w 775982"/>
                    <a:gd name="connsiteY292" fmla="*/ 484236 h 709256"/>
                    <a:gd name="connsiteX293" fmla="*/ 255973 w 775982"/>
                    <a:gd name="connsiteY293" fmla="*/ 483690 h 709256"/>
                    <a:gd name="connsiteX294" fmla="*/ 253557 w 775982"/>
                    <a:gd name="connsiteY294" fmla="*/ 481249 h 709256"/>
                    <a:gd name="connsiteX295" fmla="*/ 252063 w 775982"/>
                    <a:gd name="connsiteY295" fmla="*/ 477715 h 709256"/>
                    <a:gd name="connsiteX296" fmla="*/ 251262 w 775982"/>
                    <a:gd name="connsiteY296" fmla="*/ 473247 h 709256"/>
                    <a:gd name="connsiteX297" fmla="*/ 252015 w 775982"/>
                    <a:gd name="connsiteY297" fmla="*/ 469992 h 709256"/>
                    <a:gd name="connsiteX298" fmla="*/ 252063 w 775982"/>
                    <a:gd name="connsiteY298" fmla="*/ 469822 h 709256"/>
                    <a:gd name="connsiteX299" fmla="*/ 248056 w 775982"/>
                    <a:gd name="connsiteY299" fmla="*/ 466981 h 709256"/>
                    <a:gd name="connsiteX300" fmla="*/ 244887 w 775982"/>
                    <a:gd name="connsiteY300" fmla="*/ 465888 h 709256"/>
                    <a:gd name="connsiteX301" fmla="*/ 242021 w 775982"/>
                    <a:gd name="connsiteY301" fmla="*/ 465439 h 709256"/>
                    <a:gd name="connsiteX302" fmla="*/ 238002 w 775982"/>
                    <a:gd name="connsiteY302" fmla="*/ 463314 h 709256"/>
                    <a:gd name="connsiteX303" fmla="*/ 235415 w 775982"/>
                    <a:gd name="connsiteY303" fmla="*/ 458481 h 709256"/>
                    <a:gd name="connsiteX304" fmla="*/ 231396 w 775982"/>
                    <a:gd name="connsiteY304" fmla="*/ 455591 h 709256"/>
                    <a:gd name="connsiteX305" fmla="*/ 226867 w 775982"/>
                    <a:gd name="connsiteY305" fmla="*/ 453004 h 709256"/>
                    <a:gd name="connsiteX306" fmla="*/ 222325 w 775982"/>
                    <a:gd name="connsiteY306" fmla="*/ 447856 h 709256"/>
                    <a:gd name="connsiteX307" fmla="*/ 218415 w 775982"/>
                    <a:gd name="connsiteY307" fmla="*/ 442574 h 709256"/>
                    <a:gd name="connsiteX308" fmla="*/ 218306 w 775982"/>
                    <a:gd name="connsiteY308" fmla="*/ 442404 h 709256"/>
                    <a:gd name="connsiteX309" fmla="*/ 213424 w 775982"/>
                    <a:gd name="connsiteY309" fmla="*/ 443752 h 709256"/>
                    <a:gd name="connsiteX310" fmla="*/ 209854 w 775982"/>
                    <a:gd name="connsiteY310" fmla="*/ 444444 h 709256"/>
                    <a:gd name="connsiteX311" fmla="*/ 206588 w 775982"/>
                    <a:gd name="connsiteY311" fmla="*/ 442634 h 709256"/>
                    <a:gd name="connsiteX312" fmla="*/ 204463 w 775982"/>
                    <a:gd name="connsiteY312" fmla="*/ 439392 h 709256"/>
                    <a:gd name="connsiteX313" fmla="*/ 201415 w 775982"/>
                    <a:gd name="connsiteY313" fmla="*/ 435458 h 709256"/>
                    <a:gd name="connsiteX314" fmla="*/ 196424 w 775982"/>
                    <a:gd name="connsiteY314" fmla="*/ 430006 h 709256"/>
                    <a:gd name="connsiteX315" fmla="*/ 192065 w 775982"/>
                    <a:gd name="connsiteY315" fmla="*/ 429459 h 709256"/>
                    <a:gd name="connsiteX316" fmla="*/ 189248 w 775982"/>
                    <a:gd name="connsiteY316" fmla="*/ 432556 h 709256"/>
                    <a:gd name="connsiteX317" fmla="*/ 185811 w 775982"/>
                    <a:gd name="connsiteY317" fmla="*/ 434887 h 709256"/>
                    <a:gd name="connsiteX318" fmla="*/ 181331 w 775982"/>
                    <a:gd name="connsiteY318" fmla="*/ 436199 h 709256"/>
                    <a:gd name="connsiteX319" fmla="*/ 177469 w 775982"/>
                    <a:gd name="connsiteY319" fmla="*/ 437984 h 709256"/>
                    <a:gd name="connsiteX320" fmla="*/ 174433 w 775982"/>
                    <a:gd name="connsiteY320" fmla="*/ 436696 h 709256"/>
                    <a:gd name="connsiteX321" fmla="*/ 174883 w 775982"/>
                    <a:gd name="connsiteY321" fmla="*/ 432155 h 709256"/>
                    <a:gd name="connsiteX322" fmla="*/ 176376 w 775982"/>
                    <a:gd name="connsiteY322" fmla="*/ 425343 h 709256"/>
                    <a:gd name="connsiteX323" fmla="*/ 178404 w 775982"/>
                    <a:gd name="connsiteY323" fmla="*/ 419296 h 709256"/>
                    <a:gd name="connsiteX324" fmla="*/ 179594 w 775982"/>
                    <a:gd name="connsiteY324" fmla="*/ 412945 h 709256"/>
                    <a:gd name="connsiteX325" fmla="*/ 179898 w 775982"/>
                    <a:gd name="connsiteY325" fmla="*/ 408331 h 709256"/>
                    <a:gd name="connsiteX326" fmla="*/ 179533 w 775982"/>
                    <a:gd name="connsiteY326" fmla="*/ 405538 h 709256"/>
                    <a:gd name="connsiteX327" fmla="*/ 178161 w 775982"/>
                    <a:gd name="connsiteY327" fmla="*/ 400231 h 709256"/>
                    <a:gd name="connsiteX328" fmla="*/ 173911 w 775982"/>
                    <a:gd name="connsiteY328" fmla="*/ 395750 h 709256"/>
                    <a:gd name="connsiteX329" fmla="*/ 171798 w 775982"/>
                    <a:gd name="connsiteY329" fmla="*/ 391015 h 709256"/>
                    <a:gd name="connsiteX330" fmla="*/ 168799 w 775982"/>
                    <a:gd name="connsiteY330" fmla="*/ 386595 h 709256"/>
                    <a:gd name="connsiteX331" fmla="*/ 161914 w 775982"/>
                    <a:gd name="connsiteY331" fmla="*/ 375763 h 709256"/>
                    <a:gd name="connsiteX332" fmla="*/ 159109 w 775982"/>
                    <a:gd name="connsiteY332" fmla="*/ 370736 h 709256"/>
                    <a:gd name="connsiteX333" fmla="*/ 153074 w 775982"/>
                    <a:gd name="connsiteY333" fmla="*/ 366692 h 709256"/>
                    <a:gd name="connsiteX334" fmla="*/ 149686 w 775982"/>
                    <a:gd name="connsiteY334" fmla="*/ 361471 h 709256"/>
                    <a:gd name="connsiteX335" fmla="*/ 145958 w 775982"/>
                    <a:gd name="connsiteY335" fmla="*/ 356359 h 709256"/>
                    <a:gd name="connsiteX336" fmla="*/ 140275 w 775982"/>
                    <a:gd name="connsiteY336" fmla="*/ 349037 h 709256"/>
                    <a:gd name="connsiteX337" fmla="*/ 135855 w 775982"/>
                    <a:gd name="connsiteY337" fmla="*/ 345649 h 709256"/>
                    <a:gd name="connsiteX338" fmla="*/ 133208 w 775982"/>
                    <a:gd name="connsiteY338" fmla="*/ 344131 h 709256"/>
                    <a:gd name="connsiteX339" fmla="*/ 126481 w 775982"/>
                    <a:gd name="connsiteY339" fmla="*/ 347519 h 709256"/>
                    <a:gd name="connsiteX340" fmla="*/ 120337 w 775982"/>
                    <a:gd name="connsiteY340" fmla="*/ 349170 h 709256"/>
                    <a:gd name="connsiteX341" fmla="*/ 114484 w 775982"/>
                    <a:gd name="connsiteY341" fmla="*/ 349401 h 709256"/>
                    <a:gd name="connsiteX342" fmla="*/ 108218 w 775982"/>
                    <a:gd name="connsiteY342" fmla="*/ 348284 h 709256"/>
                    <a:gd name="connsiteX343" fmla="*/ 102778 w 775982"/>
                    <a:gd name="connsiteY343" fmla="*/ 345406 h 709256"/>
                    <a:gd name="connsiteX344" fmla="*/ 97083 w 775982"/>
                    <a:gd name="connsiteY344" fmla="*/ 340549 h 709256"/>
                    <a:gd name="connsiteX345" fmla="*/ 92213 w 775982"/>
                    <a:gd name="connsiteY345" fmla="*/ 336044 h 709256"/>
                    <a:gd name="connsiteX346" fmla="*/ 87551 w 775982"/>
                    <a:gd name="connsiteY346" fmla="*/ 330251 h 709256"/>
                    <a:gd name="connsiteX347" fmla="*/ 82778 w 775982"/>
                    <a:gd name="connsiteY347" fmla="*/ 325601 h 709256"/>
                    <a:gd name="connsiteX348" fmla="*/ 77678 w 775982"/>
                    <a:gd name="connsiteY348" fmla="*/ 317999 h 709256"/>
                    <a:gd name="connsiteX349" fmla="*/ 74643 w 775982"/>
                    <a:gd name="connsiteY349" fmla="*/ 308601 h 709256"/>
                    <a:gd name="connsiteX350" fmla="*/ 70041 w 775982"/>
                    <a:gd name="connsiteY350" fmla="*/ 302517 h 709256"/>
                    <a:gd name="connsiteX351" fmla="*/ 64868 w 775982"/>
                    <a:gd name="connsiteY351" fmla="*/ 299323 h 709256"/>
                    <a:gd name="connsiteX352" fmla="*/ 64588 w 775982"/>
                    <a:gd name="connsiteY352" fmla="*/ 299178 h 709256"/>
                    <a:gd name="connsiteX353" fmla="*/ 64030 w 775982"/>
                    <a:gd name="connsiteY353" fmla="*/ 300076 h 709256"/>
                    <a:gd name="connsiteX354" fmla="*/ 61043 w 775982"/>
                    <a:gd name="connsiteY354" fmla="*/ 299360 h 709256"/>
                    <a:gd name="connsiteX355" fmla="*/ 58480 w 775982"/>
                    <a:gd name="connsiteY355" fmla="*/ 299263 h 709256"/>
                    <a:gd name="connsiteX356" fmla="*/ 54400 w 775982"/>
                    <a:gd name="connsiteY356" fmla="*/ 297611 h 709256"/>
                    <a:gd name="connsiteX357" fmla="*/ 51571 w 775982"/>
                    <a:gd name="connsiteY357" fmla="*/ 295996 h 709256"/>
                    <a:gd name="connsiteX358" fmla="*/ 48365 w 775982"/>
                    <a:gd name="connsiteY358" fmla="*/ 295705 h 709256"/>
                    <a:gd name="connsiteX359" fmla="*/ 44055 w 775982"/>
                    <a:gd name="connsiteY359" fmla="*/ 293968 h 709256"/>
                    <a:gd name="connsiteX360" fmla="*/ 38724 w 775982"/>
                    <a:gd name="connsiteY360" fmla="*/ 288905 h 709256"/>
                    <a:gd name="connsiteX361" fmla="*/ 33029 w 775982"/>
                    <a:gd name="connsiteY361" fmla="*/ 284169 h 709256"/>
                    <a:gd name="connsiteX362" fmla="*/ 28099 w 775982"/>
                    <a:gd name="connsiteY362" fmla="*/ 278292 h 709256"/>
                    <a:gd name="connsiteX363" fmla="*/ 23606 w 775982"/>
                    <a:gd name="connsiteY363" fmla="*/ 273277 h 709256"/>
                    <a:gd name="connsiteX364" fmla="*/ 20522 w 775982"/>
                    <a:gd name="connsiteY364" fmla="*/ 270350 h 709256"/>
                    <a:gd name="connsiteX365" fmla="*/ 17304 w 775982"/>
                    <a:gd name="connsiteY365" fmla="*/ 265809 h 709256"/>
                    <a:gd name="connsiteX366" fmla="*/ 13624 w 775982"/>
                    <a:gd name="connsiteY366" fmla="*/ 262870 h 709256"/>
                    <a:gd name="connsiteX367" fmla="*/ 14596 w 775982"/>
                    <a:gd name="connsiteY367" fmla="*/ 258815 h 709256"/>
                    <a:gd name="connsiteX368" fmla="*/ 13454 w 775982"/>
                    <a:gd name="connsiteY368" fmla="*/ 257248 h 709256"/>
                    <a:gd name="connsiteX369" fmla="*/ 13163 w 775982"/>
                    <a:gd name="connsiteY369" fmla="*/ 255427 h 709256"/>
                    <a:gd name="connsiteX370" fmla="*/ 11839 w 775982"/>
                    <a:gd name="connsiteY370" fmla="*/ 252245 h 709256"/>
                    <a:gd name="connsiteX371" fmla="*/ 10115 w 775982"/>
                    <a:gd name="connsiteY371" fmla="*/ 249647 h 709256"/>
                    <a:gd name="connsiteX372" fmla="*/ 8682 w 775982"/>
                    <a:gd name="connsiteY372" fmla="*/ 246866 h 709256"/>
                    <a:gd name="connsiteX373" fmla="*/ 7529 w 775982"/>
                    <a:gd name="connsiteY373" fmla="*/ 243369 h 709256"/>
                    <a:gd name="connsiteX374" fmla="*/ 7395 w 775982"/>
                    <a:gd name="connsiteY374" fmla="*/ 242507 h 709256"/>
                    <a:gd name="connsiteX375" fmla="*/ 40290 w 775982"/>
                    <a:gd name="connsiteY375" fmla="*/ 250825 h 709256"/>
                    <a:gd name="connsiteX376" fmla="*/ 48572 w 775982"/>
                    <a:gd name="connsiteY376" fmla="*/ 251104 h 709256"/>
                    <a:gd name="connsiteX377" fmla="*/ 59476 w 775982"/>
                    <a:gd name="connsiteY377" fmla="*/ 248663 h 709256"/>
                    <a:gd name="connsiteX378" fmla="*/ 63435 w 775982"/>
                    <a:gd name="connsiteY378" fmla="*/ 248663 h 709256"/>
                    <a:gd name="connsiteX379" fmla="*/ 71364 w 775982"/>
                    <a:gd name="connsiteY379" fmla="*/ 249671 h 709256"/>
                    <a:gd name="connsiteX380" fmla="*/ 74861 w 775982"/>
                    <a:gd name="connsiteY380" fmla="*/ 248809 h 709256"/>
                    <a:gd name="connsiteX381" fmla="*/ 78662 w 775982"/>
                    <a:gd name="connsiteY381" fmla="*/ 245882 h 709256"/>
                    <a:gd name="connsiteX382" fmla="*/ 89506 w 775982"/>
                    <a:gd name="connsiteY382" fmla="*/ 235367 h 709256"/>
                    <a:gd name="connsiteX383" fmla="*/ 101746 w 775982"/>
                    <a:gd name="connsiteY383" fmla="*/ 226757 h 709256"/>
                    <a:gd name="connsiteX384" fmla="*/ 106846 w 775982"/>
                    <a:gd name="connsiteY384" fmla="*/ 225264 h 709256"/>
                    <a:gd name="connsiteX385" fmla="*/ 108169 w 775982"/>
                    <a:gd name="connsiteY385" fmla="*/ 224584 h 709256"/>
                    <a:gd name="connsiteX386" fmla="*/ 110634 w 775982"/>
                    <a:gd name="connsiteY386" fmla="*/ 221669 h 709256"/>
                    <a:gd name="connsiteX387" fmla="*/ 114544 w 775982"/>
                    <a:gd name="connsiteY387" fmla="*/ 215501 h 709256"/>
                    <a:gd name="connsiteX388" fmla="*/ 117532 w 775982"/>
                    <a:gd name="connsiteY388" fmla="*/ 212951 h 709256"/>
                    <a:gd name="connsiteX389" fmla="*/ 124077 w 775982"/>
                    <a:gd name="connsiteY389" fmla="*/ 211627 h 709256"/>
                    <a:gd name="connsiteX390" fmla="*/ 136025 w 775982"/>
                    <a:gd name="connsiteY390" fmla="*/ 216387 h 709256"/>
                    <a:gd name="connsiteX391" fmla="*/ 142218 w 775982"/>
                    <a:gd name="connsiteY391" fmla="*/ 216254 h 709256"/>
                    <a:gd name="connsiteX392" fmla="*/ 162315 w 775982"/>
                    <a:gd name="connsiteY392" fmla="*/ 211372 h 709256"/>
                    <a:gd name="connsiteX393" fmla="*/ 188155 w 775982"/>
                    <a:gd name="connsiteY393" fmla="*/ 197359 h 709256"/>
                    <a:gd name="connsiteX394" fmla="*/ 195344 w 775982"/>
                    <a:gd name="connsiteY394" fmla="*/ 194773 h 709256"/>
                    <a:gd name="connsiteX395" fmla="*/ 202520 w 775982"/>
                    <a:gd name="connsiteY395" fmla="*/ 195866 h 709256"/>
                    <a:gd name="connsiteX396" fmla="*/ 210668 w 775982"/>
                    <a:gd name="connsiteY396" fmla="*/ 201524 h 709256"/>
                    <a:gd name="connsiteX397" fmla="*/ 213655 w 775982"/>
                    <a:gd name="connsiteY397" fmla="*/ 202556 h 709256"/>
                    <a:gd name="connsiteX398" fmla="*/ 216921 w 775982"/>
                    <a:gd name="connsiteY398" fmla="*/ 202641 h 709256"/>
                    <a:gd name="connsiteX399" fmla="*/ 233120 w 775982"/>
                    <a:gd name="connsiteY399" fmla="*/ 199387 h 709256"/>
                    <a:gd name="connsiteX400" fmla="*/ 235537 w 775982"/>
                    <a:gd name="connsiteY400" fmla="*/ 198161 h 709256"/>
                    <a:gd name="connsiteX401" fmla="*/ 252707 w 775982"/>
                    <a:gd name="connsiteY401" fmla="*/ 182824 h 709256"/>
                    <a:gd name="connsiteX402" fmla="*/ 254419 w 775982"/>
                    <a:gd name="connsiteY402" fmla="*/ 178780 h 709256"/>
                    <a:gd name="connsiteX403" fmla="*/ 253739 w 775982"/>
                    <a:gd name="connsiteY403" fmla="*/ 167378 h 709256"/>
                    <a:gd name="connsiteX404" fmla="*/ 255293 w 775982"/>
                    <a:gd name="connsiteY404" fmla="*/ 162473 h 709256"/>
                    <a:gd name="connsiteX405" fmla="*/ 259822 w 775982"/>
                    <a:gd name="connsiteY405" fmla="*/ 159145 h 709256"/>
                    <a:gd name="connsiteX406" fmla="*/ 266428 w 775982"/>
                    <a:gd name="connsiteY406" fmla="*/ 157045 h 709256"/>
                    <a:gd name="connsiteX407" fmla="*/ 273083 w 775982"/>
                    <a:gd name="connsiteY407" fmla="*/ 156510 h 709256"/>
                    <a:gd name="connsiteX408" fmla="*/ 278134 w 775982"/>
                    <a:gd name="connsiteY408" fmla="*/ 157822 h 709256"/>
                    <a:gd name="connsiteX409" fmla="*/ 283076 w 775982"/>
                    <a:gd name="connsiteY409" fmla="*/ 160785 h 709256"/>
                    <a:gd name="connsiteX410" fmla="*/ 285942 w 775982"/>
                    <a:gd name="connsiteY410" fmla="*/ 161295 h 709256"/>
                    <a:gd name="connsiteX411" fmla="*/ 288298 w 775982"/>
                    <a:gd name="connsiteY411" fmla="*/ 159546 h 709256"/>
                    <a:gd name="connsiteX412" fmla="*/ 291916 w 775982"/>
                    <a:gd name="connsiteY412" fmla="*/ 155818 h 709256"/>
                    <a:gd name="connsiteX413" fmla="*/ 303173 w 775982"/>
                    <a:gd name="connsiteY413" fmla="*/ 147342 h 709256"/>
                    <a:gd name="connsiteX414" fmla="*/ 306099 w 775982"/>
                    <a:gd name="connsiteY414" fmla="*/ 143736 h 709256"/>
                    <a:gd name="connsiteX415" fmla="*/ 307313 w 775982"/>
                    <a:gd name="connsiteY415" fmla="*/ 137130 h 709256"/>
                    <a:gd name="connsiteX416" fmla="*/ 305820 w 775982"/>
                    <a:gd name="connsiteY416" fmla="*/ 131265 h 709256"/>
                    <a:gd name="connsiteX417" fmla="*/ 305067 w 775982"/>
                    <a:gd name="connsiteY417" fmla="*/ 126129 h 709256"/>
                    <a:gd name="connsiteX418" fmla="*/ 308686 w 775982"/>
                    <a:gd name="connsiteY418" fmla="*/ 121709 h 709256"/>
                    <a:gd name="connsiteX419" fmla="*/ 309888 w 775982"/>
                    <a:gd name="connsiteY419" fmla="*/ 120980 h 709256"/>
                    <a:gd name="connsiteX420" fmla="*/ 327507 w 775982"/>
                    <a:gd name="connsiteY420" fmla="*/ 110744 h 709256"/>
                    <a:gd name="connsiteX421" fmla="*/ 309888 w 775982"/>
                    <a:gd name="connsiteY421" fmla="*/ 120980 h 709256"/>
                    <a:gd name="connsiteX422" fmla="*/ 284448 w 775982"/>
                    <a:gd name="connsiteY422" fmla="*/ 63993 h 709256"/>
                    <a:gd name="connsiteX423" fmla="*/ 258960 w 775982"/>
                    <a:gd name="connsiteY423" fmla="*/ 6861 h 709256"/>
                    <a:gd name="connsiteX424" fmla="*/ 260005 w 775982"/>
                    <a:gd name="connsiteY424" fmla="*/ 6946 h 709256"/>
                    <a:gd name="connsiteX425" fmla="*/ 267800 w 775982"/>
                    <a:gd name="connsiteY425" fmla="*/ 6521 h 709256"/>
                    <a:gd name="connsiteX426" fmla="*/ 249246 w 775982"/>
                    <a:gd name="connsiteY426" fmla="*/ 0 h 709256"/>
                    <a:gd name="connsiteX427" fmla="*/ 253411 w 775982"/>
                    <a:gd name="connsiteY427" fmla="*/ 9338 h 709256"/>
                    <a:gd name="connsiteX428" fmla="*/ 278899 w 775982"/>
                    <a:gd name="connsiteY428" fmla="*/ 66470 h 709256"/>
                    <a:gd name="connsiteX429" fmla="*/ 302602 w 775982"/>
                    <a:gd name="connsiteY429" fmla="*/ 119559 h 709256"/>
                    <a:gd name="connsiteX430" fmla="*/ 300368 w 775982"/>
                    <a:gd name="connsiteY430" fmla="*/ 122279 h 709256"/>
                    <a:gd name="connsiteX431" fmla="*/ 298668 w 775982"/>
                    <a:gd name="connsiteY431" fmla="*/ 124356 h 709256"/>
                    <a:gd name="connsiteX432" fmla="*/ 299056 w 775982"/>
                    <a:gd name="connsiteY432" fmla="*/ 127003 h 709256"/>
                    <a:gd name="connsiteX433" fmla="*/ 299809 w 775982"/>
                    <a:gd name="connsiteY433" fmla="*/ 132139 h 709256"/>
                    <a:gd name="connsiteX434" fmla="*/ 299858 w 775982"/>
                    <a:gd name="connsiteY434" fmla="*/ 132455 h 709256"/>
                    <a:gd name="connsiteX435" fmla="*/ 299931 w 775982"/>
                    <a:gd name="connsiteY435" fmla="*/ 132759 h 709256"/>
                    <a:gd name="connsiteX436" fmla="*/ 301096 w 775982"/>
                    <a:gd name="connsiteY436" fmla="*/ 137324 h 709256"/>
                    <a:gd name="connsiteX437" fmla="*/ 300404 w 775982"/>
                    <a:gd name="connsiteY437" fmla="*/ 141101 h 709256"/>
                    <a:gd name="connsiteX438" fmla="*/ 298923 w 775982"/>
                    <a:gd name="connsiteY438" fmla="*/ 142922 h 709256"/>
                    <a:gd name="connsiteX439" fmla="*/ 288261 w 775982"/>
                    <a:gd name="connsiteY439" fmla="*/ 150949 h 709256"/>
                    <a:gd name="connsiteX440" fmla="*/ 287885 w 775982"/>
                    <a:gd name="connsiteY440" fmla="*/ 151228 h 709256"/>
                    <a:gd name="connsiteX441" fmla="*/ 287557 w 775982"/>
                    <a:gd name="connsiteY441" fmla="*/ 151556 h 709256"/>
                    <a:gd name="connsiteX442" fmla="*/ 284606 w 775982"/>
                    <a:gd name="connsiteY442" fmla="*/ 154592 h 709256"/>
                    <a:gd name="connsiteX443" fmla="*/ 281255 w 775982"/>
                    <a:gd name="connsiteY443" fmla="*/ 152576 h 709256"/>
                    <a:gd name="connsiteX444" fmla="*/ 280502 w 775982"/>
                    <a:gd name="connsiteY444" fmla="*/ 152127 h 709256"/>
                    <a:gd name="connsiteX445" fmla="*/ 279664 w 775982"/>
                    <a:gd name="connsiteY445" fmla="*/ 151908 h 709256"/>
                    <a:gd name="connsiteX446" fmla="*/ 274613 w 775982"/>
                    <a:gd name="connsiteY446" fmla="*/ 150597 h 709256"/>
                    <a:gd name="connsiteX447" fmla="*/ 273617 w 775982"/>
                    <a:gd name="connsiteY447" fmla="*/ 150342 h 709256"/>
                    <a:gd name="connsiteX448" fmla="*/ 272597 w 775982"/>
                    <a:gd name="connsiteY448" fmla="*/ 150427 h 709256"/>
                    <a:gd name="connsiteX449" fmla="*/ 265943 w 775982"/>
                    <a:gd name="connsiteY449" fmla="*/ 150961 h 709256"/>
                    <a:gd name="connsiteX450" fmla="*/ 265250 w 775982"/>
                    <a:gd name="connsiteY450" fmla="*/ 151022 h 709256"/>
                    <a:gd name="connsiteX451" fmla="*/ 264595 w 775982"/>
                    <a:gd name="connsiteY451" fmla="*/ 151228 h 709256"/>
                    <a:gd name="connsiteX452" fmla="*/ 257989 w 775982"/>
                    <a:gd name="connsiteY452" fmla="*/ 153329 h 709256"/>
                    <a:gd name="connsiteX453" fmla="*/ 257042 w 775982"/>
                    <a:gd name="connsiteY453" fmla="*/ 153632 h 709256"/>
                    <a:gd name="connsiteX454" fmla="*/ 256240 w 775982"/>
                    <a:gd name="connsiteY454" fmla="*/ 154227 h 709256"/>
                    <a:gd name="connsiteX455" fmla="*/ 251711 w 775982"/>
                    <a:gd name="connsiteY455" fmla="*/ 157555 h 709256"/>
                    <a:gd name="connsiteX456" fmla="*/ 250120 w 775982"/>
                    <a:gd name="connsiteY456" fmla="*/ 158720 h 709256"/>
                    <a:gd name="connsiteX457" fmla="*/ 249525 w 775982"/>
                    <a:gd name="connsiteY457" fmla="*/ 160615 h 709256"/>
                    <a:gd name="connsiteX458" fmla="*/ 247971 w 775982"/>
                    <a:gd name="connsiteY458" fmla="*/ 165520 h 709256"/>
                    <a:gd name="connsiteX459" fmla="*/ 247631 w 775982"/>
                    <a:gd name="connsiteY459" fmla="*/ 166589 h 709256"/>
                    <a:gd name="connsiteX460" fmla="*/ 247704 w 775982"/>
                    <a:gd name="connsiteY460" fmla="*/ 167706 h 709256"/>
                    <a:gd name="connsiteX461" fmla="*/ 248299 w 775982"/>
                    <a:gd name="connsiteY461" fmla="*/ 177688 h 709256"/>
                    <a:gd name="connsiteX462" fmla="*/ 247680 w 775982"/>
                    <a:gd name="connsiteY462" fmla="*/ 179169 h 709256"/>
                    <a:gd name="connsiteX463" fmla="*/ 232112 w 775982"/>
                    <a:gd name="connsiteY463" fmla="*/ 193085 h 709256"/>
                    <a:gd name="connsiteX464" fmla="*/ 231141 w 775982"/>
                    <a:gd name="connsiteY464" fmla="*/ 193583 h 709256"/>
                    <a:gd name="connsiteX465" fmla="*/ 216436 w 775982"/>
                    <a:gd name="connsiteY465" fmla="*/ 196533 h 709256"/>
                    <a:gd name="connsiteX466" fmla="*/ 214784 w 775982"/>
                    <a:gd name="connsiteY466" fmla="*/ 196497 h 709256"/>
                    <a:gd name="connsiteX467" fmla="*/ 213473 w 775982"/>
                    <a:gd name="connsiteY467" fmla="*/ 196036 h 709256"/>
                    <a:gd name="connsiteX468" fmla="*/ 206017 w 775982"/>
                    <a:gd name="connsiteY468" fmla="*/ 190863 h 709256"/>
                    <a:gd name="connsiteX469" fmla="*/ 204864 w 775982"/>
                    <a:gd name="connsiteY469" fmla="*/ 190061 h 709256"/>
                    <a:gd name="connsiteX470" fmla="*/ 203467 w 775982"/>
                    <a:gd name="connsiteY470" fmla="*/ 189855 h 709256"/>
                    <a:gd name="connsiteX471" fmla="*/ 196291 w 775982"/>
                    <a:gd name="connsiteY471" fmla="*/ 188762 h 709256"/>
                    <a:gd name="connsiteX472" fmla="*/ 194773 w 775982"/>
                    <a:gd name="connsiteY472" fmla="*/ 188531 h 709256"/>
                    <a:gd name="connsiteX473" fmla="*/ 193328 w 775982"/>
                    <a:gd name="connsiteY473" fmla="*/ 189041 h 709256"/>
                    <a:gd name="connsiteX474" fmla="*/ 186139 w 775982"/>
                    <a:gd name="connsiteY474" fmla="*/ 191628 h 709256"/>
                    <a:gd name="connsiteX475" fmla="*/ 185702 w 775982"/>
                    <a:gd name="connsiteY475" fmla="*/ 191786 h 709256"/>
                    <a:gd name="connsiteX476" fmla="*/ 185301 w 775982"/>
                    <a:gd name="connsiteY476" fmla="*/ 192004 h 709256"/>
                    <a:gd name="connsiteX477" fmla="*/ 160153 w 775982"/>
                    <a:gd name="connsiteY477" fmla="*/ 205641 h 709256"/>
                    <a:gd name="connsiteX478" fmla="*/ 141465 w 775982"/>
                    <a:gd name="connsiteY478" fmla="*/ 210194 h 709256"/>
                    <a:gd name="connsiteX479" fmla="*/ 137167 w 775982"/>
                    <a:gd name="connsiteY479" fmla="*/ 210279 h 709256"/>
                    <a:gd name="connsiteX480" fmla="*/ 126359 w 775982"/>
                    <a:gd name="connsiteY480" fmla="*/ 205981 h 709256"/>
                    <a:gd name="connsiteX481" fmla="*/ 124684 w 775982"/>
                    <a:gd name="connsiteY481" fmla="*/ 205313 h 709256"/>
                    <a:gd name="connsiteX482" fmla="*/ 122911 w 775982"/>
                    <a:gd name="connsiteY482" fmla="*/ 205665 h 709256"/>
                    <a:gd name="connsiteX483" fmla="*/ 116366 w 775982"/>
                    <a:gd name="connsiteY483" fmla="*/ 206989 h 709256"/>
                    <a:gd name="connsiteX484" fmla="*/ 114836 w 775982"/>
                    <a:gd name="connsiteY484" fmla="*/ 207304 h 709256"/>
                    <a:gd name="connsiteX485" fmla="*/ 113634 w 775982"/>
                    <a:gd name="connsiteY485" fmla="*/ 208324 h 709256"/>
                    <a:gd name="connsiteX486" fmla="*/ 110647 w 775982"/>
                    <a:gd name="connsiteY486" fmla="*/ 210874 h 709256"/>
                    <a:gd name="connsiteX487" fmla="*/ 109954 w 775982"/>
                    <a:gd name="connsiteY487" fmla="*/ 211469 h 709256"/>
                    <a:gd name="connsiteX488" fmla="*/ 109456 w 775982"/>
                    <a:gd name="connsiteY488" fmla="*/ 212246 h 709256"/>
                    <a:gd name="connsiteX489" fmla="*/ 105777 w 775982"/>
                    <a:gd name="connsiteY489" fmla="*/ 218063 h 709256"/>
                    <a:gd name="connsiteX490" fmla="*/ 104429 w 775982"/>
                    <a:gd name="connsiteY490" fmla="*/ 219641 h 709256"/>
                    <a:gd name="connsiteX491" fmla="*/ 100082 w 775982"/>
                    <a:gd name="connsiteY491" fmla="*/ 220916 h 709256"/>
                    <a:gd name="connsiteX492" fmla="*/ 99123 w 775982"/>
                    <a:gd name="connsiteY492" fmla="*/ 221196 h 709256"/>
                    <a:gd name="connsiteX493" fmla="*/ 98297 w 775982"/>
                    <a:gd name="connsiteY493" fmla="*/ 221766 h 709256"/>
                    <a:gd name="connsiteX494" fmla="*/ 86057 w 775982"/>
                    <a:gd name="connsiteY494" fmla="*/ 230376 h 709256"/>
                    <a:gd name="connsiteX495" fmla="*/ 85668 w 775982"/>
                    <a:gd name="connsiteY495" fmla="*/ 230655 h 709256"/>
                    <a:gd name="connsiteX496" fmla="*/ 85328 w 775982"/>
                    <a:gd name="connsiteY496" fmla="*/ 230983 h 709256"/>
                    <a:gd name="connsiteX497" fmla="*/ 74728 w 775982"/>
                    <a:gd name="connsiteY497" fmla="*/ 241256 h 709256"/>
                    <a:gd name="connsiteX498" fmla="*/ 72214 w 775982"/>
                    <a:gd name="connsiteY498" fmla="*/ 243187 h 709256"/>
                    <a:gd name="connsiteX499" fmla="*/ 71048 w 775982"/>
                    <a:gd name="connsiteY499" fmla="*/ 243478 h 709256"/>
                    <a:gd name="connsiteX500" fmla="*/ 64236 w 775982"/>
                    <a:gd name="connsiteY500" fmla="*/ 242616 h 709256"/>
                    <a:gd name="connsiteX501" fmla="*/ 63860 w 775982"/>
                    <a:gd name="connsiteY501" fmla="*/ 242567 h 709256"/>
                    <a:gd name="connsiteX502" fmla="*/ 63471 w 775982"/>
                    <a:gd name="connsiteY502" fmla="*/ 242567 h 709256"/>
                    <a:gd name="connsiteX503" fmla="*/ 59513 w 775982"/>
                    <a:gd name="connsiteY503" fmla="*/ 242567 h 709256"/>
                    <a:gd name="connsiteX504" fmla="*/ 58845 w 775982"/>
                    <a:gd name="connsiteY504" fmla="*/ 242567 h 709256"/>
                    <a:gd name="connsiteX505" fmla="*/ 58189 w 775982"/>
                    <a:gd name="connsiteY505" fmla="*/ 242713 h 709256"/>
                    <a:gd name="connsiteX506" fmla="*/ 48037 w 775982"/>
                    <a:gd name="connsiteY506" fmla="*/ 244984 h 709256"/>
                    <a:gd name="connsiteX507" fmla="*/ 41177 w 775982"/>
                    <a:gd name="connsiteY507" fmla="*/ 244753 h 709256"/>
                    <a:gd name="connsiteX508" fmla="*/ 8913 w 775982"/>
                    <a:gd name="connsiteY508" fmla="*/ 236593 h 709256"/>
                    <a:gd name="connsiteX509" fmla="*/ 0 w 775982"/>
                    <a:gd name="connsiteY509" fmla="*/ 234334 h 709256"/>
                    <a:gd name="connsiteX510" fmla="*/ 1433 w 775982"/>
                    <a:gd name="connsiteY510" fmla="*/ 243417 h 709256"/>
                    <a:gd name="connsiteX511" fmla="*/ 1579 w 775982"/>
                    <a:gd name="connsiteY511" fmla="*/ 244279 h 709256"/>
                    <a:gd name="connsiteX512" fmla="*/ 1651 w 775982"/>
                    <a:gd name="connsiteY512" fmla="*/ 244777 h 709256"/>
                    <a:gd name="connsiteX513" fmla="*/ 1809 w 775982"/>
                    <a:gd name="connsiteY513" fmla="*/ 245251 h 709256"/>
                    <a:gd name="connsiteX514" fmla="*/ 2963 w 775982"/>
                    <a:gd name="connsiteY514" fmla="*/ 248748 h 709256"/>
                    <a:gd name="connsiteX515" fmla="*/ 3109 w 775982"/>
                    <a:gd name="connsiteY515" fmla="*/ 249197 h 709256"/>
                    <a:gd name="connsiteX516" fmla="*/ 3327 w 775982"/>
                    <a:gd name="connsiteY516" fmla="*/ 249622 h 709256"/>
                    <a:gd name="connsiteX517" fmla="*/ 4760 w 775982"/>
                    <a:gd name="connsiteY517" fmla="*/ 252403 h 709256"/>
                    <a:gd name="connsiteX518" fmla="*/ 4918 w 775982"/>
                    <a:gd name="connsiteY518" fmla="*/ 252707 h 709256"/>
                    <a:gd name="connsiteX519" fmla="*/ 5112 w 775982"/>
                    <a:gd name="connsiteY519" fmla="*/ 252986 h 709256"/>
                    <a:gd name="connsiteX520" fmla="*/ 6509 w 775982"/>
                    <a:gd name="connsiteY520" fmla="*/ 255087 h 709256"/>
                    <a:gd name="connsiteX521" fmla="*/ 7334 w 775982"/>
                    <a:gd name="connsiteY521" fmla="*/ 257066 h 709256"/>
                    <a:gd name="connsiteX522" fmla="*/ 7517 w 775982"/>
                    <a:gd name="connsiteY522" fmla="*/ 258171 h 709256"/>
                    <a:gd name="connsiteX523" fmla="*/ 7747 w 775982"/>
                    <a:gd name="connsiteY523" fmla="*/ 259616 h 709256"/>
                    <a:gd name="connsiteX524" fmla="*/ 8099 w 775982"/>
                    <a:gd name="connsiteY524" fmla="*/ 260102 h 709256"/>
                    <a:gd name="connsiteX525" fmla="*/ 7784 w 775982"/>
                    <a:gd name="connsiteY525" fmla="*/ 261425 h 709256"/>
                    <a:gd name="connsiteX526" fmla="*/ 6885 w 775982"/>
                    <a:gd name="connsiteY526" fmla="*/ 265190 h 709256"/>
                    <a:gd name="connsiteX527" fmla="*/ 9909 w 775982"/>
                    <a:gd name="connsiteY527" fmla="*/ 267594 h 709256"/>
                    <a:gd name="connsiteX528" fmla="*/ 12920 w 775982"/>
                    <a:gd name="connsiteY528" fmla="*/ 269986 h 709256"/>
                    <a:gd name="connsiteX529" fmla="*/ 15640 w 775982"/>
                    <a:gd name="connsiteY529" fmla="*/ 273823 h 709256"/>
                    <a:gd name="connsiteX530" fmla="*/ 15980 w 775982"/>
                    <a:gd name="connsiteY530" fmla="*/ 274321 h 709256"/>
                    <a:gd name="connsiteX531" fmla="*/ 16417 w 775982"/>
                    <a:gd name="connsiteY531" fmla="*/ 274734 h 709256"/>
                    <a:gd name="connsiteX532" fmla="*/ 19502 w 775982"/>
                    <a:gd name="connsiteY532" fmla="*/ 277660 h 709256"/>
                    <a:gd name="connsiteX533" fmla="*/ 23642 w 775982"/>
                    <a:gd name="connsiteY533" fmla="*/ 282323 h 709256"/>
                    <a:gd name="connsiteX534" fmla="*/ 28451 w 775982"/>
                    <a:gd name="connsiteY534" fmla="*/ 288055 h 709256"/>
                    <a:gd name="connsiteX535" fmla="*/ 28803 w 775982"/>
                    <a:gd name="connsiteY535" fmla="*/ 288480 h 709256"/>
                    <a:gd name="connsiteX536" fmla="*/ 29216 w 775982"/>
                    <a:gd name="connsiteY536" fmla="*/ 288820 h 709256"/>
                    <a:gd name="connsiteX537" fmla="*/ 34911 w 775982"/>
                    <a:gd name="connsiteY537" fmla="*/ 293556 h 709256"/>
                    <a:gd name="connsiteX538" fmla="*/ 39950 w 775982"/>
                    <a:gd name="connsiteY538" fmla="*/ 298352 h 709256"/>
                    <a:gd name="connsiteX539" fmla="*/ 40788 w 775982"/>
                    <a:gd name="connsiteY539" fmla="*/ 299153 h 709256"/>
                    <a:gd name="connsiteX540" fmla="*/ 41857 w 775982"/>
                    <a:gd name="connsiteY540" fmla="*/ 299591 h 709256"/>
                    <a:gd name="connsiteX541" fmla="*/ 46167 w 775982"/>
                    <a:gd name="connsiteY541" fmla="*/ 301327 h 709256"/>
                    <a:gd name="connsiteX542" fmla="*/ 46993 w 775982"/>
                    <a:gd name="connsiteY542" fmla="*/ 301655 h 709256"/>
                    <a:gd name="connsiteX543" fmla="*/ 47892 w 775982"/>
                    <a:gd name="connsiteY543" fmla="*/ 301740 h 709256"/>
                    <a:gd name="connsiteX544" fmla="*/ 49786 w 775982"/>
                    <a:gd name="connsiteY544" fmla="*/ 301910 h 709256"/>
                    <a:gd name="connsiteX545" fmla="*/ 51474 w 775982"/>
                    <a:gd name="connsiteY545" fmla="*/ 302869 h 709256"/>
                    <a:gd name="connsiteX546" fmla="*/ 51826 w 775982"/>
                    <a:gd name="connsiteY546" fmla="*/ 303063 h 709256"/>
                    <a:gd name="connsiteX547" fmla="*/ 52203 w 775982"/>
                    <a:gd name="connsiteY547" fmla="*/ 303221 h 709256"/>
                    <a:gd name="connsiteX548" fmla="*/ 56283 w 775982"/>
                    <a:gd name="connsiteY548" fmla="*/ 304873 h 709256"/>
                    <a:gd name="connsiteX549" fmla="*/ 57278 w 775982"/>
                    <a:gd name="connsiteY549" fmla="*/ 305273 h 709256"/>
                    <a:gd name="connsiteX550" fmla="*/ 58347 w 775982"/>
                    <a:gd name="connsiteY550" fmla="*/ 305310 h 709256"/>
                    <a:gd name="connsiteX551" fmla="*/ 60314 w 775982"/>
                    <a:gd name="connsiteY551" fmla="*/ 305383 h 709256"/>
                    <a:gd name="connsiteX552" fmla="*/ 62706 w 775982"/>
                    <a:gd name="connsiteY552" fmla="*/ 305966 h 709256"/>
                    <a:gd name="connsiteX553" fmla="*/ 65123 w 775982"/>
                    <a:gd name="connsiteY553" fmla="*/ 306548 h 709256"/>
                    <a:gd name="connsiteX554" fmla="*/ 65985 w 775982"/>
                    <a:gd name="connsiteY554" fmla="*/ 307071 h 709256"/>
                    <a:gd name="connsiteX555" fmla="*/ 69275 w 775982"/>
                    <a:gd name="connsiteY555" fmla="*/ 311430 h 709256"/>
                    <a:gd name="connsiteX556" fmla="*/ 71995 w 775982"/>
                    <a:gd name="connsiteY556" fmla="*/ 319845 h 709256"/>
                    <a:gd name="connsiteX557" fmla="*/ 72251 w 775982"/>
                    <a:gd name="connsiteY557" fmla="*/ 320646 h 709256"/>
                    <a:gd name="connsiteX558" fmla="*/ 72724 w 775982"/>
                    <a:gd name="connsiteY558" fmla="*/ 321363 h 709256"/>
                    <a:gd name="connsiteX559" fmla="*/ 77824 w 775982"/>
                    <a:gd name="connsiteY559" fmla="*/ 328952 h 709256"/>
                    <a:gd name="connsiteX560" fmla="*/ 78176 w 775982"/>
                    <a:gd name="connsiteY560" fmla="*/ 329474 h 709256"/>
                    <a:gd name="connsiteX561" fmla="*/ 78638 w 775982"/>
                    <a:gd name="connsiteY561" fmla="*/ 329924 h 709256"/>
                    <a:gd name="connsiteX562" fmla="*/ 83143 w 775982"/>
                    <a:gd name="connsiteY562" fmla="*/ 334307 h 709256"/>
                    <a:gd name="connsiteX563" fmla="*/ 87587 w 775982"/>
                    <a:gd name="connsiteY563" fmla="*/ 339820 h 709256"/>
                    <a:gd name="connsiteX564" fmla="*/ 87866 w 775982"/>
                    <a:gd name="connsiteY564" fmla="*/ 340172 h 709256"/>
                    <a:gd name="connsiteX565" fmla="*/ 88182 w 775982"/>
                    <a:gd name="connsiteY565" fmla="*/ 340464 h 709256"/>
                    <a:gd name="connsiteX566" fmla="*/ 93051 w 775982"/>
                    <a:gd name="connsiteY566" fmla="*/ 344969 h 709256"/>
                    <a:gd name="connsiteX567" fmla="*/ 98941 w 775982"/>
                    <a:gd name="connsiteY567" fmla="*/ 349996 h 709256"/>
                    <a:gd name="connsiteX568" fmla="*/ 99451 w 775982"/>
                    <a:gd name="connsiteY568" fmla="*/ 350433 h 709256"/>
                    <a:gd name="connsiteX569" fmla="*/ 100034 w 775982"/>
                    <a:gd name="connsiteY569" fmla="*/ 350749 h 709256"/>
                    <a:gd name="connsiteX570" fmla="*/ 105474 w 775982"/>
                    <a:gd name="connsiteY570" fmla="*/ 353627 h 709256"/>
                    <a:gd name="connsiteX571" fmla="*/ 106311 w 775982"/>
                    <a:gd name="connsiteY571" fmla="*/ 354076 h 709256"/>
                    <a:gd name="connsiteX572" fmla="*/ 107259 w 775982"/>
                    <a:gd name="connsiteY572" fmla="*/ 354246 h 709256"/>
                    <a:gd name="connsiteX573" fmla="*/ 113524 w 775982"/>
                    <a:gd name="connsiteY573" fmla="*/ 355363 h 709256"/>
                    <a:gd name="connsiteX574" fmla="*/ 114168 w 775982"/>
                    <a:gd name="connsiteY574" fmla="*/ 355485 h 709256"/>
                    <a:gd name="connsiteX575" fmla="*/ 114824 w 775982"/>
                    <a:gd name="connsiteY575" fmla="*/ 355460 h 709256"/>
                    <a:gd name="connsiteX576" fmla="*/ 120677 w 775982"/>
                    <a:gd name="connsiteY576" fmla="*/ 355230 h 709256"/>
                    <a:gd name="connsiteX577" fmla="*/ 121369 w 775982"/>
                    <a:gd name="connsiteY577" fmla="*/ 355205 h 709256"/>
                    <a:gd name="connsiteX578" fmla="*/ 122024 w 775982"/>
                    <a:gd name="connsiteY578" fmla="*/ 355023 h 709256"/>
                    <a:gd name="connsiteX579" fmla="*/ 128169 w 775982"/>
                    <a:gd name="connsiteY579" fmla="*/ 353359 h 709256"/>
                    <a:gd name="connsiteX580" fmla="*/ 128764 w 775982"/>
                    <a:gd name="connsiteY580" fmla="*/ 353202 h 709256"/>
                    <a:gd name="connsiteX581" fmla="*/ 129310 w 775982"/>
                    <a:gd name="connsiteY581" fmla="*/ 352922 h 709256"/>
                    <a:gd name="connsiteX582" fmla="*/ 133038 w 775982"/>
                    <a:gd name="connsiteY582" fmla="*/ 351052 h 709256"/>
                    <a:gd name="connsiteX583" fmla="*/ 136062 w 775982"/>
                    <a:gd name="connsiteY583" fmla="*/ 353359 h 709256"/>
                    <a:gd name="connsiteX584" fmla="*/ 141259 w 775982"/>
                    <a:gd name="connsiteY584" fmla="*/ 360062 h 709256"/>
                    <a:gd name="connsiteX585" fmla="*/ 144877 w 775982"/>
                    <a:gd name="connsiteY585" fmla="*/ 365029 h 709256"/>
                    <a:gd name="connsiteX586" fmla="*/ 148071 w 775982"/>
                    <a:gd name="connsiteY586" fmla="*/ 369971 h 709256"/>
                    <a:gd name="connsiteX587" fmla="*/ 148751 w 775982"/>
                    <a:gd name="connsiteY587" fmla="*/ 371015 h 709256"/>
                    <a:gd name="connsiteX588" fmla="*/ 149783 w 775982"/>
                    <a:gd name="connsiteY588" fmla="*/ 371707 h 709256"/>
                    <a:gd name="connsiteX589" fmla="*/ 154604 w 775982"/>
                    <a:gd name="connsiteY589" fmla="*/ 374937 h 709256"/>
                    <a:gd name="connsiteX590" fmla="*/ 156693 w 775982"/>
                    <a:gd name="connsiteY590" fmla="*/ 378690 h 709256"/>
                    <a:gd name="connsiteX591" fmla="*/ 163760 w 775982"/>
                    <a:gd name="connsiteY591" fmla="*/ 389825 h 709256"/>
                    <a:gd name="connsiteX592" fmla="*/ 166553 w 775982"/>
                    <a:gd name="connsiteY592" fmla="*/ 393953 h 709256"/>
                    <a:gd name="connsiteX593" fmla="*/ 168447 w 775982"/>
                    <a:gd name="connsiteY593" fmla="*/ 398203 h 709256"/>
                    <a:gd name="connsiteX594" fmla="*/ 168872 w 775982"/>
                    <a:gd name="connsiteY594" fmla="*/ 399150 h 709256"/>
                    <a:gd name="connsiteX595" fmla="*/ 169588 w 775982"/>
                    <a:gd name="connsiteY595" fmla="*/ 399903 h 709256"/>
                    <a:gd name="connsiteX596" fmla="*/ 172758 w 775982"/>
                    <a:gd name="connsiteY596" fmla="*/ 403243 h 709256"/>
                    <a:gd name="connsiteX597" fmla="*/ 173644 w 775982"/>
                    <a:gd name="connsiteY597" fmla="*/ 406667 h 709256"/>
                    <a:gd name="connsiteX598" fmla="*/ 173887 w 775982"/>
                    <a:gd name="connsiteY598" fmla="*/ 408501 h 709256"/>
                    <a:gd name="connsiteX599" fmla="*/ 173644 w 775982"/>
                    <a:gd name="connsiteY599" fmla="*/ 412156 h 709256"/>
                    <a:gd name="connsiteX600" fmla="*/ 172600 w 775982"/>
                    <a:gd name="connsiteY600" fmla="*/ 417729 h 709256"/>
                    <a:gd name="connsiteX601" fmla="*/ 170706 w 775982"/>
                    <a:gd name="connsiteY601" fmla="*/ 423376 h 709256"/>
                    <a:gd name="connsiteX602" fmla="*/ 170596 w 775982"/>
                    <a:gd name="connsiteY602" fmla="*/ 423691 h 709256"/>
                    <a:gd name="connsiteX603" fmla="*/ 170536 w 775982"/>
                    <a:gd name="connsiteY603" fmla="*/ 424007 h 709256"/>
                    <a:gd name="connsiteX604" fmla="*/ 169042 w 775982"/>
                    <a:gd name="connsiteY604" fmla="*/ 430819 h 709256"/>
                    <a:gd name="connsiteX605" fmla="*/ 168969 w 775982"/>
                    <a:gd name="connsiteY605" fmla="*/ 431171 h 709256"/>
                    <a:gd name="connsiteX606" fmla="*/ 168933 w 775982"/>
                    <a:gd name="connsiteY606" fmla="*/ 431524 h 709256"/>
                    <a:gd name="connsiteX607" fmla="*/ 168483 w 775982"/>
                    <a:gd name="connsiteY607" fmla="*/ 436065 h 709256"/>
                    <a:gd name="connsiteX608" fmla="*/ 168046 w 775982"/>
                    <a:gd name="connsiteY608" fmla="*/ 440509 h 709256"/>
                    <a:gd name="connsiteX609" fmla="*/ 172150 w 775982"/>
                    <a:gd name="connsiteY609" fmla="*/ 442258 h 709256"/>
                    <a:gd name="connsiteX610" fmla="*/ 175186 w 775982"/>
                    <a:gd name="connsiteY610" fmla="*/ 443545 h 709256"/>
                    <a:gd name="connsiteX611" fmla="*/ 177663 w 775982"/>
                    <a:gd name="connsiteY611" fmla="*/ 444589 h 709256"/>
                    <a:gd name="connsiteX612" fmla="*/ 180104 w 775982"/>
                    <a:gd name="connsiteY612" fmla="*/ 443460 h 709256"/>
                    <a:gd name="connsiteX613" fmla="*/ 183553 w 775982"/>
                    <a:gd name="connsiteY613" fmla="*/ 441869 h 709256"/>
                    <a:gd name="connsiteX614" fmla="*/ 187596 w 775982"/>
                    <a:gd name="connsiteY614" fmla="*/ 440692 h 709256"/>
                    <a:gd name="connsiteX615" fmla="*/ 188519 w 775982"/>
                    <a:gd name="connsiteY615" fmla="*/ 440424 h 709256"/>
                    <a:gd name="connsiteX616" fmla="*/ 189308 w 775982"/>
                    <a:gd name="connsiteY616" fmla="*/ 439890 h 709256"/>
                    <a:gd name="connsiteX617" fmla="*/ 192745 w 775982"/>
                    <a:gd name="connsiteY617" fmla="*/ 437559 h 709256"/>
                    <a:gd name="connsiteX618" fmla="*/ 193340 w 775982"/>
                    <a:gd name="connsiteY618" fmla="*/ 437158 h 709256"/>
                    <a:gd name="connsiteX619" fmla="*/ 193826 w 775982"/>
                    <a:gd name="connsiteY619" fmla="*/ 436624 h 709256"/>
                    <a:gd name="connsiteX620" fmla="*/ 194081 w 775982"/>
                    <a:gd name="connsiteY620" fmla="*/ 436344 h 709256"/>
                    <a:gd name="connsiteX621" fmla="*/ 197019 w 775982"/>
                    <a:gd name="connsiteY621" fmla="*/ 439550 h 709256"/>
                    <a:gd name="connsiteX622" fmla="*/ 199751 w 775982"/>
                    <a:gd name="connsiteY622" fmla="*/ 443108 h 709256"/>
                    <a:gd name="connsiteX623" fmla="*/ 201597 w 775982"/>
                    <a:gd name="connsiteY623" fmla="*/ 445949 h 709256"/>
                    <a:gd name="connsiteX624" fmla="*/ 202411 w 775982"/>
                    <a:gd name="connsiteY624" fmla="*/ 447212 h 709256"/>
                    <a:gd name="connsiteX625" fmla="*/ 203722 w 775982"/>
                    <a:gd name="connsiteY625" fmla="*/ 447941 h 709256"/>
                    <a:gd name="connsiteX626" fmla="*/ 206989 w 775982"/>
                    <a:gd name="connsiteY626" fmla="*/ 449750 h 709256"/>
                    <a:gd name="connsiteX627" fmla="*/ 208846 w 775982"/>
                    <a:gd name="connsiteY627" fmla="*/ 450807 h 709256"/>
                    <a:gd name="connsiteX628" fmla="*/ 211020 w 775982"/>
                    <a:gd name="connsiteY628" fmla="*/ 450382 h 709256"/>
                    <a:gd name="connsiteX629" fmla="*/ 214590 w 775982"/>
                    <a:gd name="connsiteY629" fmla="*/ 449689 h 709256"/>
                    <a:gd name="connsiteX630" fmla="*/ 215901 w 775982"/>
                    <a:gd name="connsiteY630" fmla="*/ 449337 h 709256"/>
                    <a:gd name="connsiteX631" fmla="*/ 217456 w 775982"/>
                    <a:gd name="connsiteY631" fmla="*/ 451450 h 709256"/>
                    <a:gd name="connsiteX632" fmla="*/ 222325 w 775982"/>
                    <a:gd name="connsiteY632" fmla="*/ 457012 h 709256"/>
                    <a:gd name="connsiteX633" fmla="*/ 222993 w 775982"/>
                    <a:gd name="connsiteY633" fmla="*/ 457765 h 709256"/>
                    <a:gd name="connsiteX634" fmla="*/ 223867 w 775982"/>
                    <a:gd name="connsiteY634" fmla="*/ 458262 h 709256"/>
                    <a:gd name="connsiteX635" fmla="*/ 228129 w 775982"/>
                    <a:gd name="connsiteY635" fmla="*/ 460703 h 709256"/>
                    <a:gd name="connsiteX636" fmla="*/ 230740 w 775982"/>
                    <a:gd name="connsiteY636" fmla="*/ 462585 h 709256"/>
                    <a:gd name="connsiteX637" fmla="*/ 232659 w 775982"/>
                    <a:gd name="connsiteY637" fmla="*/ 466167 h 709256"/>
                    <a:gd name="connsiteX638" fmla="*/ 233533 w 775982"/>
                    <a:gd name="connsiteY638" fmla="*/ 467807 h 709256"/>
                    <a:gd name="connsiteX639" fmla="*/ 235172 w 775982"/>
                    <a:gd name="connsiteY639" fmla="*/ 468669 h 709256"/>
                    <a:gd name="connsiteX640" fmla="*/ 239192 w 775982"/>
                    <a:gd name="connsiteY640" fmla="*/ 470794 h 709256"/>
                    <a:gd name="connsiteX641" fmla="*/ 240090 w 775982"/>
                    <a:gd name="connsiteY641" fmla="*/ 471280 h 709256"/>
                    <a:gd name="connsiteX642" fmla="*/ 241098 w 775982"/>
                    <a:gd name="connsiteY642" fmla="*/ 471437 h 709256"/>
                    <a:gd name="connsiteX643" fmla="*/ 243417 w 775982"/>
                    <a:gd name="connsiteY643" fmla="*/ 471802 h 709256"/>
                    <a:gd name="connsiteX644" fmla="*/ 245215 w 775982"/>
                    <a:gd name="connsiteY644" fmla="*/ 472421 h 709256"/>
                    <a:gd name="connsiteX645" fmla="*/ 245057 w 775982"/>
                    <a:gd name="connsiteY645" fmla="*/ 473089 h 709256"/>
                    <a:gd name="connsiteX646" fmla="*/ 245275 w 775982"/>
                    <a:gd name="connsiteY646" fmla="*/ 474327 h 709256"/>
                    <a:gd name="connsiteX647" fmla="*/ 246077 w 775982"/>
                    <a:gd name="connsiteY647" fmla="*/ 478796 h 709256"/>
                    <a:gd name="connsiteX648" fmla="*/ 246198 w 775982"/>
                    <a:gd name="connsiteY648" fmla="*/ 479464 h 709256"/>
                    <a:gd name="connsiteX649" fmla="*/ 246465 w 775982"/>
                    <a:gd name="connsiteY649" fmla="*/ 480083 h 709256"/>
                    <a:gd name="connsiteX650" fmla="*/ 247959 w 775982"/>
                    <a:gd name="connsiteY650" fmla="*/ 483617 h 709256"/>
                    <a:gd name="connsiteX651" fmla="*/ 248408 w 775982"/>
                    <a:gd name="connsiteY651" fmla="*/ 484685 h 709256"/>
                    <a:gd name="connsiteX652" fmla="*/ 249234 w 775982"/>
                    <a:gd name="connsiteY652" fmla="*/ 485511 h 709256"/>
                    <a:gd name="connsiteX653" fmla="*/ 251638 w 775982"/>
                    <a:gd name="connsiteY653" fmla="*/ 487952 h 709256"/>
                    <a:gd name="connsiteX654" fmla="*/ 253120 w 775982"/>
                    <a:gd name="connsiteY654" fmla="*/ 489445 h 709256"/>
                    <a:gd name="connsiteX655" fmla="*/ 255196 w 775982"/>
                    <a:gd name="connsiteY655" fmla="*/ 489713 h 709256"/>
                    <a:gd name="connsiteX656" fmla="*/ 257382 w 775982"/>
                    <a:gd name="connsiteY656" fmla="*/ 489992 h 709256"/>
                    <a:gd name="connsiteX657" fmla="*/ 259240 w 775982"/>
                    <a:gd name="connsiteY657" fmla="*/ 491850 h 709256"/>
                    <a:gd name="connsiteX658" fmla="*/ 259361 w 775982"/>
                    <a:gd name="connsiteY658" fmla="*/ 492080 h 709256"/>
                    <a:gd name="connsiteX659" fmla="*/ 259057 w 775982"/>
                    <a:gd name="connsiteY659" fmla="*/ 494740 h 709256"/>
                    <a:gd name="connsiteX660" fmla="*/ 259021 w 775982"/>
                    <a:gd name="connsiteY660" fmla="*/ 495080 h 709256"/>
                    <a:gd name="connsiteX661" fmla="*/ 259021 w 775982"/>
                    <a:gd name="connsiteY661" fmla="*/ 495420 h 709256"/>
                    <a:gd name="connsiteX662" fmla="*/ 259021 w 775982"/>
                    <a:gd name="connsiteY662" fmla="*/ 498006 h 709256"/>
                    <a:gd name="connsiteX663" fmla="*/ 259021 w 775982"/>
                    <a:gd name="connsiteY663" fmla="*/ 498978 h 709256"/>
                    <a:gd name="connsiteX664" fmla="*/ 258863 w 775982"/>
                    <a:gd name="connsiteY664" fmla="*/ 499050 h 709256"/>
                    <a:gd name="connsiteX665" fmla="*/ 258220 w 775982"/>
                    <a:gd name="connsiteY665" fmla="*/ 499597 h 709256"/>
                    <a:gd name="connsiteX666" fmla="*/ 257357 w 775982"/>
                    <a:gd name="connsiteY666" fmla="*/ 500338 h 709256"/>
                    <a:gd name="connsiteX667" fmla="*/ 253508 w 775982"/>
                    <a:gd name="connsiteY667" fmla="*/ 503640 h 709256"/>
                    <a:gd name="connsiteX668" fmla="*/ 256070 w 775982"/>
                    <a:gd name="connsiteY668" fmla="*/ 508012 h 709256"/>
                    <a:gd name="connsiteX669" fmla="*/ 256252 w 775982"/>
                    <a:gd name="connsiteY669" fmla="*/ 508316 h 709256"/>
                    <a:gd name="connsiteX670" fmla="*/ 256119 w 775982"/>
                    <a:gd name="connsiteY670" fmla="*/ 508583 h 709256"/>
                    <a:gd name="connsiteX671" fmla="*/ 255378 w 775982"/>
                    <a:gd name="connsiteY671" fmla="*/ 510064 h 709256"/>
                    <a:gd name="connsiteX672" fmla="*/ 254771 w 775982"/>
                    <a:gd name="connsiteY672" fmla="*/ 510805 h 709256"/>
                    <a:gd name="connsiteX673" fmla="*/ 254176 w 775982"/>
                    <a:gd name="connsiteY673" fmla="*/ 511521 h 709256"/>
                    <a:gd name="connsiteX674" fmla="*/ 253957 w 775982"/>
                    <a:gd name="connsiteY674" fmla="*/ 512068 h 709256"/>
                    <a:gd name="connsiteX675" fmla="*/ 253885 w 775982"/>
                    <a:gd name="connsiteY675" fmla="*/ 512116 h 709256"/>
                    <a:gd name="connsiteX676" fmla="*/ 252221 w 775982"/>
                    <a:gd name="connsiteY676" fmla="*/ 513209 h 709256"/>
                    <a:gd name="connsiteX677" fmla="*/ 251529 w 775982"/>
                    <a:gd name="connsiteY677" fmla="*/ 515079 h 709256"/>
                    <a:gd name="connsiteX678" fmla="*/ 250958 w 775982"/>
                    <a:gd name="connsiteY678" fmla="*/ 516621 h 709256"/>
                    <a:gd name="connsiteX679" fmla="*/ 250679 w 775982"/>
                    <a:gd name="connsiteY679" fmla="*/ 517386 h 709256"/>
                    <a:gd name="connsiteX680" fmla="*/ 250606 w 775982"/>
                    <a:gd name="connsiteY680" fmla="*/ 518200 h 709256"/>
                    <a:gd name="connsiteX681" fmla="*/ 250533 w 775982"/>
                    <a:gd name="connsiteY681" fmla="*/ 519026 h 709256"/>
                    <a:gd name="connsiteX682" fmla="*/ 250679 w 775982"/>
                    <a:gd name="connsiteY682" fmla="*/ 519985 h 709256"/>
                    <a:gd name="connsiteX683" fmla="*/ 251165 w 775982"/>
                    <a:gd name="connsiteY683" fmla="*/ 526967 h 709256"/>
                    <a:gd name="connsiteX684" fmla="*/ 251140 w 775982"/>
                    <a:gd name="connsiteY684" fmla="*/ 530039 h 709256"/>
                    <a:gd name="connsiteX685" fmla="*/ 253192 w 775982"/>
                    <a:gd name="connsiteY685" fmla="*/ 531581 h 709256"/>
                    <a:gd name="connsiteX686" fmla="*/ 264145 w 775982"/>
                    <a:gd name="connsiteY686" fmla="*/ 543955 h 709256"/>
                    <a:gd name="connsiteX687" fmla="*/ 264728 w 775982"/>
                    <a:gd name="connsiteY687" fmla="*/ 544611 h 709256"/>
                    <a:gd name="connsiteX688" fmla="*/ 265469 w 775982"/>
                    <a:gd name="connsiteY688" fmla="*/ 545072 h 709256"/>
                    <a:gd name="connsiteX689" fmla="*/ 268687 w 775982"/>
                    <a:gd name="connsiteY689" fmla="*/ 547088 h 709256"/>
                    <a:gd name="connsiteX690" fmla="*/ 278098 w 775982"/>
                    <a:gd name="connsiteY690" fmla="*/ 555017 h 709256"/>
                    <a:gd name="connsiteX691" fmla="*/ 282311 w 775982"/>
                    <a:gd name="connsiteY691" fmla="*/ 560360 h 709256"/>
                    <a:gd name="connsiteX692" fmla="*/ 282518 w 775982"/>
                    <a:gd name="connsiteY692" fmla="*/ 560615 h 709256"/>
                    <a:gd name="connsiteX693" fmla="*/ 282761 w 775982"/>
                    <a:gd name="connsiteY693" fmla="*/ 560858 h 709256"/>
                    <a:gd name="connsiteX694" fmla="*/ 285177 w 775982"/>
                    <a:gd name="connsiteY694" fmla="*/ 563311 h 709256"/>
                    <a:gd name="connsiteX695" fmla="*/ 285651 w 775982"/>
                    <a:gd name="connsiteY695" fmla="*/ 563784 h 709256"/>
                    <a:gd name="connsiteX696" fmla="*/ 286209 w 775982"/>
                    <a:gd name="connsiteY696" fmla="*/ 564149 h 709256"/>
                    <a:gd name="connsiteX697" fmla="*/ 289184 w 775982"/>
                    <a:gd name="connsiteY697" fmla="*/ 566067 h 709256"/>
                    <a:gd name="connsiteX698" fmla="*/ 289561 w 775982"/>
                    <a:gd name="connsiteY698" fmla="*/ 566310 h 709256"/>
                    <a:gd name="connsiteX699" fmla="*/ 289961 w 775982"/>
                    <a:gd name="connsiteY699" fmla="*/ 566504 h 709256"/>
                    <a:gd name="connsiteX700" fmla="*/ 297636 w 775982"/>
                    <a:gd name="connsiteY700" fmla="*/ 569977 h 709256"/>
                    <a:gd name="connsiteX701" fmla="*/ 313737 w 775982"/>
                    <a:gd name="connsiteY701" fmla="*/ 581574 h 709256"/>
                    <a:gd name="connsiteX702" fmla="*/ 314029 w 775982"/>
                    <a:gd name="connsiteY702" fmla="*/ 581792 h 709256"/>
                    <a:gd name="connsiteX703" fmla="*/ 314344 w 775982"/>
                    <a:gd name="connsiteY703" fmla="*/ 581962 h 709256"/>
                    <a:gd name="connsiteX704" fmla="*/ 323245 w 775982"/>
                    <a:gd name="connsiteY704" fmla="*/ 586880 h 709256"/>
                    <a:gd name="connsiteX705" fmla="*/ 323743 w 775982"/>
                    <a:gd name="connsiteY705" fmla="*/ 587160 h 709256"/>
                    <a:gd name="connsiteX706" fmla="*/ 324289 w 775982"/>
                    <a:gd name="connsiteY706" fmla="*/ 587342 h 709256"/>
                    <a:gd name="connsiteX707" fmla="*/ 340075 w 775982"/>
                    <a:gd name="connsiteY707" fmla="*/ 592527 h 709256"/>
                    <a:gd name="connsiteX708" fmla="*/ 364349 w 775982"/>
                    <a:gd name="connsiteY708" fmla="*/ 599849 h 709256"/>
                    <a:gd name="connsiteX709" fmla="*/ 365187 w 775982"/>
                    <a:gd name="connsiteY709" fmla="*/ 600104 h 709256"/>
                    <a:gd name="connsiteX710" fmla="*/ 366061 w 775982"/>
                    <a:gd name="connsiteY710" fmla="*/ 600104 h 709256"/>
                    <a:gd name="connsiteX711" fmla="*/ 370299 w 775982"/>
                    <a:gd name="connsiteY711" fmla="*/ 600128 h 709256"/>
                    <a:gd name="connsiteX712" fmla="*/ 372606 w 775982"/>
                    <a:gd name="connsiteY712" fmla="*/ 600140 h 709256"/>
                    <a:gd name="connsiteX713" fmla="*/ 374343 w 775982"/>
                    <a:gd name="connsiteY713" fmla="*/ 598623 h 709256"/>
                    <a:gd name="connsiteX714" fmla="*/ 375545 w 775982"/>
                    <a:gd name="connsiteY714" fmla="*/ 597566 h 709256"/>
                    <a:gd name="connsiteX715" fmla="*/ 376346 w 775982"/>
                    <a:gd name="connsiteY715" fmla="*/ 596862 h 709256"/>
                    <a:gd name="connsiteX716" fmla="*/ 376856 w 775982"/>
                    <a:gd name="connsiteY716" fmla="*/ 595927 h 709256"/>
                    <a:gd name="connsiteX717" fmla="*/ 377330 w 775982"/>
                    <a:gd name="connsiteY717" fmla="*/ 595077 h 709256"/>
                    <a:gd name="connsiteX718" fmla="*/ 384567 w 775982"/>
                    <a:gd name="connsiteY718" fmla="*/ 594348 h 709256"/>
                    <a:gd name="connsiteX719" fmla="*/ 384919 w 775982"/>
                    <a:gd name="connsiteY719" fmla="*/ 594312 h 709256"/>
                    <a:gd name="connsiteX720" fmla="*/ 385271 w 775982"/>
                    <a:gd name="connsiteY720" fmla="*/ 594239 h 709256"/>
                    <a:gd name="connsiteX721" fmla="*/ 391585 w 775982"/>
                    <a:gd name="connsiteY721" fmla="*/ 592830 h 709256"/>
                    <a:gd name="connsiteX722" fmla="*/ 392180 w 775982"/>
                    <a:gd name="connsiteY722" fmla="*/ 592697 h 709256"/>
                    <a:gd name="connsiteX723" fmla="*/ 392739 w 775982"/>
                    <a:gd name="connsiteY723" fmla="*/ 592442 h 709256"/>
                    <a:gd name="connsiteX724" fmla="*/ 396030 w 775982"/>
                    <a:gd name="connsiteY724" fmla="*/ 590973 h 709256"/>
                    <a:gd name="connsiteX725" fmla="*/ 403255 w 775982"/>
                    <a:gd name="connsiteY725" fmla="*/ 589200 h 709256"/>
                    <a:gd name="connsiteX726" fmla="*/ 403656 w 775982"/>
                    <a:gd name="connsiteY726" fmla="*/ 589103 h 709256"/>
                    <a:gd name="connsiteX727" fmla="*/ 404032 w 775982"/>
                    <a:gd name="connsiteY727" fmla="*/ 588957 h 709256"/>
                    <a:gd name="connsiteX728" fmla="*/ 406740 w 775982"/>
                    <a:gd name="connsiteY728" fmla="*/ 587900 h 709256"/>
                    <a:gd name="connsiteX729" fmla="*/ 407068 w 775982"/>
                    <a:gd name="connsiteY729" fmla="*/ 587779 h 709256"/>
                    <a:gd name="connsiteX730" fmla="*/ 407384 w 775982"/>
                    <a:gd name="connsiteY730" fmla="*/ 587609 h 709256"/>
                    <a:gd name="connsiteX731" fmla="*/ 409909 w 775982"/>
                    <a:gd name="connsiteY731" fmla="*/ 586261 h 709256"/>
                    <a:gd name="connsiteX732" fmla="*/ 410286 w 775982"/>
                    <a:gd name="connsiteY732" fmla="*/ 586055 h 709256"/>
                    <a:gd name="connsiteX733" fmla="*/ 410638 w 775982"/>
                    <a:gd name="connsiteY733" fmla="*/ 585800 h 709256"/>
                    <a:gd name="connsiteX734" fmla="*/ 413273 w 775982"/>
                    <a:gd name="connsiteY734" fmla="*/ 583869 h 709256"/>
                    <a:gd name="connsiteX735" fmla="*/ 413637 w 775982"/>
                    <a:gd name="connsiteY735" fmla="*/ 583602 h 709256"/>
                    <a:gd name="connsiteX736" fmla="*/ 413953 w 775982"/>
                    <a:gd name="connsiteY736" fmla="*/ 583286 h 709256"/>
                    <a:gd name="connsiteX737" fmla="*/ 418652 w 775982"/>
                    <a:gd name="connsiteY737" fmla="*/ 578647 h 709256"/>
                    <a:gd name="connsiteX738" fmla="*/ 419211 w 775982"/>
                    <a:gd name="connsiteY738" fmla="*/ 578210 h 709256"/>
                    <a:gd name="connsiteX739" fmla="*/ 420049 w 775982"/>
                    <a:gd name="connsiteY739" fmla="*/ 577895 h 709256"/>
                    <a:gd name="connsiteX740" fmla="*/ 422975 w 775982"/>
                    <a:gd name="connsiteY740" fmla="*/ 577130 h 709256"/>
                    <a:gd name="connsiteX741" fmla="*/ 423776 w 775982"/>
                    <a:gd name="connsiteY741" fmla="*/ 576911 h 709256"/>
                    <a:gd name="connsiteX742" fmla="*/ 424493 w 775982"/>
                    <a:gd name="connsiteY742" fmla="*/ 576486 h 709256"/>
                    <a:gd name="connsiteX743" fmla="*/ 426108 w 775982"/>
                    <a:gd name="connsiteY743" fmla="*/ 575527 h 709256"/>
                    <a:gd name="connsiteX744" fmla="*/ 426496 w 775982"/>
                    <a:gd name="connsiteY744" fmla="*/ 575284 h 709256"/>
                    <a:gd name="connsiteX745" fmla="*/ 426849 w 775982"/>
                    <a:gd name="connsiteY745" fmla="*/ 574992 h 709256"/>
                    <a:gd name="connsiteX746" fmla="*/ 428342 w 775982"/>
                    <a:gd name="connsiteY746" fmla="*/ 573766 h 709256"/>
                    <a:gd name="connsiteX747" fmla="*/ 428658 w 775982"/>
                    <a:gd name="connsiteY747" fmla="*/ 573511 h 709256"/>
                    <a:gd name="connsiteX748" fmla="*/ 428937 w 775982"/>
                    <a:gd name="connsiteY748" fmla="*/ 573207 h 709256"/>
                    <a:gd name="connsiteX749" fmla="*/ 430686 w 775982"/>
                    <a:gd name="connsiteY749" fmla="*/ 571313 h 709256"/>
                    <a:gd name="connsiteX750" fmla="*/ 433406 w 775982"/>
                    <a:gd name="connsiteY750" fmla="*/ 570075 h 709256"/>
                    <a:gd name="connsiteX751" fmla="*/ 433467 w 775982"/>
                    <a:gd name="connsiteY751" fmla="*/ 570050 h 709256"/>
                    <a:gd name="connsiteX752" fmla="*/ 434620 w 775982"/>
                    <a:gd name="connsiteY752" fmla="*/ 572030 h 709256"/>
                    <a:gd name="connsiteX753" fmla="*/ 434887 w 775982"/>
                    <a:gd name="connsiteY753" fmla="*/ 572503 h 709256"/>
                    <a:gd name="connsiteX754" fmla="*/ 435239 w 775982"/>
                    <a:gd name="connsiteY754" fmla="*/ 572916 h 709256"/>
                    <a:gd name="connsiteX755" fmla="*/ 439611 w 775982"/>
                    <a:gd name="connsiteY755" fmla="*/ 578028 h 709256"/>
                    <a:gd name="connsiteX756" fmla="*/ 450685 w 775982"/>
                    <a:gd name="connsiteY756" fmla="*/ 589103 h 709256"/>
                    <a:gd name="connsiteX757" fmla="*/ 456380 w 775982"/>
                    <a:gd name="connsiteY757" fmla="*/ 596073 h 709256"/>
                    <a:gd name="connsiteX758" fmla="*/ 462767 w 775982"/>
                    <a:gd name="connsiteY758" fmla="*/ 610013 h 709256"/>
                    <a:gd name="connsiteX759" fmla="*/ 463362 w 775982"/>
                    <a:gd name="connsiteY759" fmla="*/ 611312 h 709256"/>
                    <a:gd name="connsiteX760" fmla="*/ 464467 w 775982"/>
                    <a:gd name="connsiteY760" fmla="*/ 612211 h 709256"/>
                    <a:gd name="connsiteX761" fmla="*/ 466969 w 775982"/>
                    <a:gd name="connsiteY761" fmla="*/ 614238 h 709256"/>
                    <a:gd name="connsiteX762" fmla="*/ 468414 w 775982"/>
                    <a:gd name="connsiteY762" fmla="*/ 616278 h 709256"/>
                    <a:gd name="connsiteX763" fmla="*/ 468887 w 775982"/>
                    <a:gd name="connsiteY763" fmla="*/ 617371 h 709256"/>
                    <a:gd name="connsiteX764" fmla="*/ 469446 w 775982"/>
                    <a:gd name="connsiteY764" fmla="*/ 627086 h 709256"/>
                    <a:gd name="connsiteX765" fmla="*/ 469495 w 775982"/>
                    <a:gd name="connsiteY765" fmla="*/ 628009 h 709256"/>
                    <a:gd name="connsiteX766" fmla="*/ 469810 w 775982"/>
                    <a:gd name="connsiteY766" fmla="*/ 628871 h 709256"/>
                    <a:gd name="connsiteX767" fmla="*/ 471025 w 775982"/>
                    <a:gd name="connsiteY767" fmla="*/ 632125 h 709256"/>
                    <a:gd name="connsiteX768" fmla="*/ 471389 w 775982"/>
                    <a:gd name="connsiteY768" fmla="*/ 632951 h 709256"/>
                    <a:gd name="connsiteX769" fmla="*/ 471947 w 775982"/>
                    <a:gd name="connsiteY769" fmla="*/ 633679 h 709256"/>
                    <a:gd name="connsiteX770" fmla="*/ 473963 w 775982"/>
                    <a:gd name="connsiteY770" fmla="*/ 636290 h 709256"/>
                    <a:gd name="connsiteX771" fmla="*/ 474182 w 775982"/>
                    <a:gd name="connsiteY771" fmla="*/ 636569 h 709256"/>
                    <a:gd name="connsiteX772" fmla="*/ 474437 w 775982"/>
                    <a:gd name="connsiteY772" fmla="*/ 636824 h 709256"/>
                    <a:gd name="connsiteX773" fmla="*/ 478663 w 775982"/>
                    <a:gd name="connsiteY773" fmla="*/ 641123 h 709256"/>
                    <a:gd name="connsiteX774" fmla="*/ 479622 w 775982"/>
                    <a:gd name="connsiteY774" fmla="*/ 642507 h 709256"/>
                    <a:gd name="connsiteX775" fmla="*/ 480265 w 775982"/>
                    <a:gd name="connsiteY775" fmla="*/ 644596 h 709256"/>
                    <a:gd name="connsiteX776" fmla="*/ 480363 w 775982"/>
                    <a:gd name="connsiteY776" fmla="*/ 644911 h 709256"/>
                    <a:gd name="connsiteX777" fmla="*/ 480496 w 775982"/>
                    <a:gd name="connsiteY777" fmla="*/ 645215 h 709256"/>
                    <a:gd name="connsiteX778" fmla="*/ 481698 w 775982"/>
                    <a:gd name="connsiteY778" fmla="*/ 647996 h 709256"/>
                    <a:gd name="connsiteX779" fmla="*/ 482318 w 775982"/>
                    <a:gd name="connsiteY779" fmla="*/ 649441 h 709256"/>
                    <a:gd name="connsiteX780" fmla="*/ 483556 w 775982"/>
                    <a:gd name="connsiteY780" fmla="*/ 650400 h 709256"/>
                    <a:gd name="connsiteX781" fmla="*/ 486264 w 775982"/>
                    <a:gd name="connsiteY781" fmla="*/ 652501 h 709256"/>
                    <a:gd name="connsiteX782" fmla="*/ 488000 w 775982"/>
                    <a:gd name="connsiteY782" fmla="*/ 653849 h 709256"/>
                    <a:gd name="connsiteX783" fmla="*/ 490198 w 775982"/>
                    <a:gd name="connsiteY783" fmla="*/ 653764 h 709256"/>
                    <a:gd name="connsiteX784" fmla="*/ 496622 w 775982"/>
                    <a:gd name="connsiteY784" fmla="*/ 653533 h 709256"/>
                    <a:gd name="connsiteX785" fmla="*/ 497909 w 775982"/>
                    <a:gd name="connsiteY785" fmla="*/ 653484 h 709256"/>
                    <a:gd name="connsiteX786" fmla="*/ 499063 w 775982"/>
                    <a:gd name="connsiteY786" fmla="*/ 652926 h 709256"/>
                    <a:gd name="connsiteX787" fmla="*/ 501989 w 775982"/>
                    <a:gd name="connsiteY787" fmla="*/ 651493 h 709256"/>
                    <a:gd name="connsiteX788" fmla="*/ 503191 w 775982"/>
                    <a:gd name="connsiteY788" fmla="*/ 650910 h 709256"/>
                    <a:gd name="connsiteX789" fmla="*/ 504029 w 775982"/>
                    <a:gd name="connsiteY789" fmla="*/ 649878 h 709256"/>
                    <a:gd name="connsiteX790" fmla="*/ 506093 w 775982"/>
                    <a:gd name="connsiteY790" fmla="*/ 647352 h 709256"/>
                    <a:gd name="connsiteX791" fmla="*/ 506324 w 775982"/>
                    <a:gd name="connsiteY791" fmla="*/ 647073 h 709256"/>
                    <a:gd name="connsiteX792" fmla="*/ 506518 w 775982"/>
                    <a:gd name="connsiteY792" fmla="*/ 646769 h 709256"/>
                    <a:gd name="connsiteX793" fmla="*/ 507223 w 775982"/>
                    <a:gd name="connsiteY793" fmla="*/ 645652 h 709256"/>
                    <a:gd name="connsiteX794" fmla="*/ 508401 w 775982"/>
                    <a:gd name="connsiteY794" fmla="*/ 645069 h 709256"/>
                    <a:gd name="connsiteX795" fmla="*/ 509190 w 775982"/>
                    <a:gd name="connsiteY795" fmla="*/ 644681 h 709256"/>
                    <a:gd name="connsiteX796" fmla="*/ 509834 w 775982"/>
                    <a:gd name="connsiteY796" fmla="*/ 644086 h 709256"/>
                    <a:gd name="connsiteX797" fmla="*/ 510914 w 775982"/>
                    <a:gd name="connsiteY797" fmla="*/ 643090 h 709256"/>
                    <a:gd name="connsiteX798" fmla="*/ 511534 w 775982"/>
                    <a:gd name="connsiteY798" fmla="*/ 642519 h 709256"/>
                    <a:gd name="connsiteX799" fmla="*/ 511971 w 775982"/>
                    <a:gd name="connsiteY799" fmla="*/ 641791 h 709256"/>
                    <a:gd name="connsiteX800" fmla="*/ 512226 w 775982"/>
                    <a:gd name="connsiteY800" fmla="*/ 641378 h 709256"/>
                    <a:gd name="connsiteX801" fmla="*/ 514108 w 775982"/>
                    <a:gd name="connsiteY801" fmla="*/ 640904 h 709256"/>
                    <a:gd name="connsiteX802" fmla="*/ 517994 w 775982"/>
                    <a:gd name="connsiteY802" fmla="*/ 640419 h 709256"/>
                    <a:gd name="connsiteX803" fmla="*/ 519475 w 775982"/>
                    <a:gd name="connsiteY803" fmla="*/ 640236 h 709256"/>
                    <a:gd name="connsiteX804" fmla="*/ 520701 w 775982"/>
                    <a:gd name="connsiteY804" fmla="*/ 639399 h 709256"/>
                    <a:gd name="connsiteX805" fmla="*/ 524381 w 775982"/>
                    <a:gd name="connsiteY805" fmla="*/ 636873 h 709256"/>
                    <a:gd name="connsiteX806" fmla="*/ 525024 w 775982"/>
                    <a:gd name="connsiteY806" fmla="*/ 636691 h 709256"/>
                    <a:gd name="connsiteX807" fmla="*/ 527016 w 775982"/>
                    <a:gd name="connsiteY807" fmla="*/ 636679 h 709256"/>
                    <a:gd name="connsiteX808" fmla="*/ 530391 w 775982"/>
                    <a:gd name="connsiteY808" fmla="*/ 637043 h 709256"/>
                    <a:gd name="connsiteX809" fmla="*/ 531290 w 775982"/>
                    <a:gd name="connsiteY809" fmla="*/ 637140 h 709256"/>
                    <a:gd name="connsiteX810" fmla="*/ 532176 w 775982"/>
                    <a:gd name="connsiteY810" fmla="*/ 636970 h 709256"/>
                    <a:gd name="connsiteX811" fmla="*/ 535164 w 775982"/>
                    <a:gd name="connsiteY811" fmla="*/ 636399 h 709256"/>
                    <a:gd name="connsiteX812" fmla="*/ 536099 w 775982"/>
                    <a:gd name="connsiteY812" fmla="*/ 636217 h 709256"/>
                    <a:gd name="connsiteX813" fmla="*/ 536924 w 775982"/>
                    <a:gd name="connsiteY813" fmla="*/ 635768 h 709256"/>
                    <a:gd name="connsiteX814" fmla="*/ 538819 w 775982"/>
                    <a:gd name="connsiteY814" fmla="*/ 634736 h 709256"/>
                    <a:gd name="connsiteX815" fmla="*/ 540009 w 775982"/>
                    <a:gd name="connsiteY815" fmla="*/ 634092 h 709256"/>
                    <a:gd name="connsiteX816" fmla="*/ 540810 w 775982"/>
                    <a:gd name="connsiteY816" fmla="*/ 632999 h 709256"/>
                    <a:gd name="connsiteX817" fmla="*/ 542838 w 775982"/>
                    <a:gd name="connsiteY817" fmla="*/ 630231 h 709256"/>
                    <a:gd name="connsiteX818" fmla="*/ 543251 w 775982"/>
                    <a:gd name="connsiteY818" fmla="*/ 629976 h 709256"/>
                    <a:gd name="connsiteX819" fmla="*/ 547477 w 775982"/>
                    <a:gd name="connsiteY819" fmla="*/ 628519 h 709256"/>
                    <a:gd name="connsiteX820" fmla="*/ 548327 w 775982"/>
                    <a:gd name="connsiteY820" fmla="*/ 628227 h 709256"/>
                    <a:gd name="connsiteX821" fmla="*/ 549055 w 775982"/>
                    <a:gd name="connsiteY821" fmla="*/ 627705 h 709256"/>
                    <a:gd name="connsiteX822" fmla="*/ 550779 w 775982"/>
                    <a:gd name="connsiteY822" fmla="*/ 626466 h 709256"/>
                    <a:gd name="connsiteX823" fmla="*/ 552285 w 775982"/>
                    <a:gd name="connsiteY823" fmla="*/ 625373 h 709256"/>
                    <a:gd name="connsiteX824" fmla="*/ 552929 w 775982"/>
                    <a:gd name="connsiteY824" fmla="*/ 623625 h 709256"/>
                    <a:gd name="connsiteX825" fmla="*/ 553366 w 775982"/>
                    <a:gd name="connsiteY825" fmla="*/ 622447 h 709256"/>
                    <a:gd name="connsiteX826" fmla="*/ 553815 w 775982"/>
                    <a:gd name="connsiteY826" fmla="*/ 624062 h 709256"/>
                    <a:gd name="connsiteX827" fmla="*/ 554216 w 775982"/>
                    <a:gd name="connsiteY827" fmla="*/ 626794 h 709256"/>
                    <a:gd name="connsiteX828" fmla="*/ 554313 w 775982"/>
                    <a:gd name="connsiteY828" fmla="*/ 628871 h 709256"/>
                    <a:gd name="connsiteX829" fmla="*/ 553718 w 775982"/>
                    <a:gd name="connsiteY829" fmla="*/ 634347 h 709256"/>
                    <a:gd name="connsiteX830" fmla="*/ 553220 w 775982"/>
                    <a:gd name="connsiteY830" fmla="*/ 636448 h 709256"/>
                    <a:gd name="connsiteX831" fmla="*/ 553026 w 775982"/>
                    <a:gd name="connsiteY831" fmla="*/ 637019 h 709256"/>
                    <a:gd name="connsiteX832" fmla="*/ 552650 w 775982"/>
                    <a:gd name="connsiteY832" fmla="*/ 637638 h 709256"/>
                    <a:gd name="connsiteX833" fmla="*/ 551909 w 775982"/>
                    <a:gd name="connsiteY833" fmla="*/ 638330 h 709256"/>
                    <a:gd name="connsiteX834" fmla="*/ 547647 w 775982"/>
                    <a:gd name="connsiteY834" fmla="*/ 640868 h 709256"/>
                    <a:gd name="connsiteX835" fmla="*/ 543482 w 775982"/>
                    <a:gd name="connsiteY835" fmla="*/ 643891 h 709256"/>
                    <a:gd name="connsiteX836" fmla="*/ 543032 w 775982"/>
                    <a:gd name="connsiteY836" fmla="*/ 644219 h 709256"/>
                    <a:gd name="connsiteX837" fmla="*/ 542644 w 775982"/>
                    <a:gd name="connsiteY837" fmla="*/ 644620 h 709256"/>
                    <a:gd name="connsiteX838" fmla="*/ 540919 w 775982"/>
                    <a:gd name="connsiteY838" fmla="*/ 646454 h 709256"/>
                    <a:gd name="connsiteX839" fmla="*/ 540373 w 775982"/>
                    <a:gd name="connsiteY839" fmla="*/ 647037 h 709256"/>
                    <a:gd name="connsiteX840" fmla="*/ 539997 w 775982"/>
                    <a:gd name="connsiteY840" fmla="*/ 647741 h 709256"/>
                    <a:gd name="connsiteX841" fmla="*/ 539147 w 775982"/>
                    <a:gd name="connsiteY841" fmla="*/ 649319 h 709256"/>
                    <a:gd name="connsiteX842" fmla="*/ 537714 w 775982"/>
                    <a:gd name="connsiteY842" fmla="*/ 652416 h 709256"/>
                    <a:gd name="connsiteX843" fmla="*/ 537398 w 775982"/>
                    <a:gd name="connsiteY843" fmla="*/ 653096 h 709256"/>
                    <a:gd name="connsiteX844" fmla="*/ 537264 w 775982"/>
                    <a:gd name="connsiteY844" fmla="*/ 653837 h 709256"/>
                    <a:gd name="connsiteX845" fmla="*/ 536135 w 775982"/>
                    <a:gd name="connsiteY845" fmla="*/ 659799 h 709256"/>
                    <a:gd name="connsiteX846" fmla="*/ 535552 w 775982"/>
                    <a:gd name="connsiteY846" fmla="*/ 661572 h 709256"/>
                    <a:gd name="connsiteX847" fmla="*/ 534289 w 775982"/>
                    <a:gd name="connsiteY847" fmla="*/ 663952 h 709256"/>
                    <a:gd name="connsiteX848" fmla="*/ 533889 w 775982"/>
                    <a:gd name="connsiteY848" fmla="*/ 664704 h 709256"/>
                    <a:gd name="connsiteX849" fmla="*/ 533719 w 775982"/>
                    <a:gd name="connsiteY849" fmla="*/ 665530 h 709256"/>
                    <a:gd name="connsiteX850" fmla="*/ 533075 w 775982"/>
                    <a:gd name="connsiteY850" fmla="*/ 668590 h 709256"/>
                    <a:gd name="connsiteX851" fmla="*/ 532796 w 775982"/>
                    <a:gd name="connsiteY851" fmla="*/ 669902 h 709256"/>
                    <a:gd name="connsiteX852" fmla="*/ 533099 w 775982"/>
                    <a:gd name="connsiteY852" fmla="*/ 671213 h 709256"/>
                    <a:gd name="connsiteX853" fmla="*/ 533743 w 775982"/>
                    <a:gd name="connsiteY853" fmla="*/ 673945 h 709256"/>
                    <a:gd name="connsiteX854" fmla="*/ 534010 w 775982"/>
                    <a:gd name="connsiteY854" fmla="*/ 675087 h 709256"/>
                    <a:gd name="connsiteX855" fmla="*/ 534690 w 775982"/>
                    <a:gd name="connsiteY855" fmla="*/ 676058 h 709256"/>
                    <a:gd name="connsiteX856" fmla="*/ 536220 w 775982"/>
                    <a:gd name="connsiteY856" fmla="*/ 678232 h 709256"/>
                    <a:gd name="connsiteX857" fmla="*/ 536815 w 775982"/>
                    <a:gd name="connsiteY857" fmla="*/ 679082 h 709256"/>
                    <a:gd name="connsiteX858" fmla="*/ 537665 w 775982"/>
                    <a:gd name="connsiteY858" fmla="*/ 679689 h 709256"/>
                    <a:gd name="connsiteX859" fmla="*/ 539851 w 775982"/>
                    <a:gd name="connsiteY859" fmla="*/ 681243 h 709256"/>
                    <a:gd name="connsiteX860" fmla="*/ 540616 w 775982"/>
                    <a:gd name="connsiteY860" fmla="*/ 681790 h 709256"/>
                    <a:gd name="connsiteX861" fmla="*/ 541514 w 775982"/>
                    <a:gd name="connsiteY861" fmla="*/ 682069 h 709256"/>
                    <a:gd name="connsiteX862" fmla="*/ 543239 w 775982"/>
                    <a:gd name="connsiteY862" fmla="*/ 682615 h 709256"/>
                    <a:gd name="connsiteX863" fmla="*/ 544502 w 775982"/>
                    <a:gd name="connsiteY863" fmla="*/ 683016 h 709256"/>
                    <a:gd name="connsiteX864" fmla="*/ 545801 w 775982"/>
                    <a:gd name="connsiteY864" fmla="*/ 682858 h 709256"/>
                    <a:gd name="connsiteX865" fmla="*/ 547756 w 775982"/>
                    <a:gd name="connsiteY865" fmla="*/ 682627 h 709256"/>
                    <a:gd name="connsiteX866" fmla="*/ 549966 w 775982"/>
                    <a:gd name="connsiteY866" fmla="*/ 682372 h 709256"/>
                    <a:gd name="connsiteX867" fmla="*/ 551484 w 775982"/>
                    <a:gd name="connsiteY867" fmla="*/ 680745 h 709256"/>
                    <a:gd name="connsiteX868" fmla="*/ 559498 w 775982"/>
                    <a:gd name="connsiteY868" fmla="*/ 672160 h 709256"/>
                    <a:gd name="connsiteX869" fmla="*/ 562959 w 775982"/>
                    <a:gd name="connsiteY869" fmla="*/ 669999 h 709256"/>
                    <a:gd name="connsiteX870" fmla="*/ 565278 w 775982"/>
                    <a:gd name="connsiteY870" fmla="*/ 668554 h 709256"/>
                    <a:gd name="connsiteX871" fmla="*/ 565727 w 775982"/>
                    <a:gd name="connsiteY871" fmla="*/ 665858 h 709256"/>
                    <a:gd name="connsiteX872" fmla="*/ 565910 w 775982"/>
                    <a:gd name="connsiteY872" fmla="*/ 664789 h 709256"/>
                    <a:gd name="connsiteX873" fmla="*/ 566917 w 775982"/>
                    <a:gd name="connsiteY873" fmla="*/ 664267 h 709256"/>
                    <a:gd name="connsiteX874" fmla="*/ 572940 w 775982"/>
                    <a:gd name="connsiteY874" fmla="*/ 662944 h 709256"/>
                    <a:gd name="connsiteX875" fmla="*/ 599072 w 775982"/>
                    <a:gd name="connsiteY875" fmla="*/ 662191 h 709256"/>
                    <a:gd name="connsiteX876" fmla="*/ 599643 w 775982"/>
                    <a:gd name="connsiteY876" fmla="*/ 662179 h 709256"/>
                    <a:gd name="connsiteX877" fmla="*/ 600213 w 775982"/>
                    <a:gd name="connsiteY877" fmla="*/ 662045 h 709256"/>
                    <a:gd name="connsiteX878" fmla="*/ 607791 w 775982"/>
                    <a:gd name="connsiteY878" fmla="*/ 660357 h 709256"/>
                    <a:gd name="connsiteX879" fmla="*/ 608543 w 775982"/>
                    <a:gd name="connsiteY879" fmla="*/ 660187 h 709256"/>
                    <a:gd name="connsiteX880" fmla="*/ 609235 w 775982"/>
                    <a:gd name="connsiteY880" fmla="*/ 659835 h 709256"/>
                    <a:gd name="connsiteX881" fmla="*/ 612514 w 775982"/>
                    <a:gd name="connsiteY881" fmla="*/ 658159 h 709256"/>
                    <a:gd name="connsiteX882" fmla="*/ 613133 w 775982"/>
                    <a:gd name="connsiteY882" fmla="*/ 657844 h 709256"/>
                    <a:gd name="connsiteX883" fmla="*/ 613668 w 775982"/>
                    <a:gd name="connsiteY883" fmla="*/ 657394 h 709256"/>
                    <a:gd name="connsiteX884" fmla="*/ 616886 w 775982"/>
                    <a:gd name="connsiteY884" fmla="*/ 654674 h 709256"/>
                    <a:gd name="connsiteX885" fmla="*/ 617238 w 775982"/>
                    <a:gd name="connsiteY885" fmla="*/ 654371 h 709256"/>
                    <a:gd name="connsiteX886" fmla="*/ 617541 w 775982"/>
                    <a:gd name="connsiteY886" fmla="*/ 654019 h 709256"/>
                    <a:gd name="connsiteX887" fmla="*/ 622265 w 775982"/>
                    <a:gd name="connsiteY887" fmla="*/ 648579 h 709256"/>
                    <a:gd name="connsiteX888" fmla="*/ 622314 w 775982"/>
                    <a:gd name="connsiteY888" fmla="*/ 648554 h 709256"/>
                    <a:gd name="connsiteX889" fmla="*/ 622666 w 775982"/>
                    <a:gd name="connsiteY889" fmla="*/ 648688 h 709256"/>
                    <a:gd name="connsiteX890" fmla="*/ 622823 w 775982"/>
                    <a:gd name="connsiteY890" fmla="*/ 648894 h 709256"/>
                    <a:gd name="connsiteX891" fmla="*/ 622799 w 775982"/>
                    <a:gd name="connsiteY891" fmla="*/ 649149 h 709256"/>
                    <a:gd name="connsiteX892" fmla="*/ 621621 w 775982"/>
                    <a:gd name="connsiteY892" fmla="*/ 651869 h 709256"/>
                    <a:gd name="connsiteX893" fmla="*/ 621463 w 775982"/>
                    <a:gd name="connsiteY893" fmla="*/ 652234 h 709256"/>
                    <a:gd name="connsiteX894" fmla="*/ 621354 w 775982"/>
                    <a:gd name="connsiteY894" fmla="*/ 652610 h 709256"/>
                    <a:gd name="connsiteX895" fmla="*/ 620274 w 775982"/>
                    <a:gd name="connsiteY895" fmla="*/ 656362 h 709256"/>
                    <a:gd name="connsiteX896" fmla="*/ 619921 w 775982"/>
                    <a:gd name="connsiteY896" fmla="*/ 657577 h 709256"/>
                    <a:gd name="connsiteX897" fmla="*/ 620079 w 775982"/>
                    <a:gd name="connsiteY897" fmla="*/ 658827 h 709256"/>
                    <a:gd name="connsiteX898" fmla="*/ 620480 w 775982"/>
                    <a:gd name="connsiteY898" fmla="*/ 661936 h 709256"/>
                    <a:gd name="connsiteX899" fmla="*/ 620553 w 775982"/>
                    <a:gd name="connsiteY899" fmla="*/ 662446 h 709256"/>
                    <a:gd name="connsiteX900" fmla="*/ 620698 w 775982"/>
                    <a:gd name="connsiteY900" fmla="*/ 662932 h 709256"/>
                    <a:gd name="connsiteX901" fmla="*/ 624026 w 775982"/>
                    <a:gd name="connsiteY901" fmla="*/ 673775 h 709256"/>
                    <a:gd name="connsiteX902" fmla="*/ 624147 w 775982"/>
                    <a:gd name="connsiteY902" fmla="*/ 674164 h 709256"/>
                    <a:gd name="connsiteX903" fmla="*/ 624317 w 775982"/>
                    <a:gd name="connsiteY903" fmla="*/ 674528 h 709256"/>
                    <a:gd name="connsiteX904" fmla="*/ 627414 w 775982"/>
                    <a:gd name="connsiteY904" fmla="*/ 681255 h 709256"/>
                    <a:gd name="connsiteX905" fmla="*/ 628009 w 775982"/>
                    <a:gd name="connsiteY905" fmla="*/ 682542 h 709256"/>
                    <a:gd name="connsiteX906" fmla="*/ 629114 w 775982"/>
                    <a:gd name="connsiteY906" fmla="*/ 683429 h 709256"/>
                    <a:gd name="connsiteX907" fmla="*/ 644632 w 775982"/>
                    <a:gd name="connsiteY907" fmla="*/ 695973 h 709256"/>
                    <a:gd name="connsiteX908" fmla="*/ 649259 w 775982"/>
                    <a:gd name="connsiteY908" fmla="*/ 700745 h 709256"/>
                    <a:gd name="connsiteX909" fmla="*/ 649514 w 775982"/>
                    <a:gd name="connsiteY909" fmla="*/ 701012 h 709256"/>
                    <a:gd name="connsiteX910" fmla="*/ 649793 w 775982"/>
                    <a:gd name="connsiteY910" fmla="*/ 701243 h 709256"/>
                    <a:gd name="connsiteX911" fmla="*/ 655354 w 775982"/>
                    <a:gd name="connsiteY911" fmla="*/ 705723 h 709256"/>
                    <a:gd name="connsiteX912" fmla="*/ 656302 w 775982"/>
                    <a:gd name="connsiteY912" fmla="*/ 706488 h 709256"/>
                    <a:gd name="connsiteX913" fmla="*/ 657479 w 775982"/>
                    <a:gd name="connsiteY913" fmla="*/ 706828 h 709256"/>
                    <a:gd name="connsiteX914" fmla="*/ 663514 w 775982"/>
                    <a:gd name="connsiteY914" fmla="*/ 708589 h 709256"/>
                    <a:gd name="connsiteX915" fmla="*/ 665834 w 775982"/>
                    <a:gd name="connsiteY915" fmla="*/ 709257 h 709256"/>
                    <a:gd name="connsiteX916" fmla="*/ 667983 w 775982"/>
                    <a:gd name="connsiteY916" fmla="*/ 708152 h 709256"/>
                    <a:gd name="connsiteX917" fmla="*/ 673375 w 775982"/>
                    <a:gd name="connsiteY917" fmla="*/ 705371 h 709256"/>
                    <a:gd name="connsiteX918" fmla="*/ 675135 w 775982"/>
                    <a:gd name="connsiteY918" fmla="*/ 705019 h 709256"/>
                    <a:gd name="connsiteX919" fmla="*/ 675791 w 775982"/>
                    <a:gd name="connsiteY919" fmla="*/ 704885 h 709256"/>
                    <a:gd name="connsiteX920" fmla="*/ 676398 w 775982"/>
                    <a:gd name="connsiteY920" fmla="*/ 704618 h 709256"/>
                    <a:gd name="connsiteX921" fmla="*/ 680600 w 775982"/>
                    <a:gd name="connsiteY921" fmla="*/ 702760 h 709256"/>
                    <a:gd name="connsiteX922" fmla="*/ 681595 w 775982"/>
                    <a:gd name="connsiteY922" fmla="*/ 702505 h 709256"/>
                    <a:gd name="connsiteX923" fmla="*/ 682215 w 775982"/>
                    <a:gd name="connsiteY923" fmla="*/ 702566 h 709256"/>
                    <a:gd name="connsiteX924" fmla="*/ 686793 w 775982"/>
                    <a:gd name="connsiteY924" fmla="*/ 703695 h 709256"/>
                    <a:gd name="connsiteX925" fmla="*/ 687740 w 775982"/>
                    <a:gd name="connsiteY925" fmla="*/ 703938 h 709256"/>
                    <a:gd name="connsiteX926" fmla="*/ 688711 w 775982"/>
                    <a:gd name="connsiteY926" fmla="*/ 703865 h 709256"/>
                    <a:gd name="connsiteX927" fmla="*/ 690423 w 775982"/>
                    <a:gd name="connsiteY927" fmla="*/ 703732 h 709256"/>
                    <a:gd name="connsiteX928" fmla="*/ 693180 w 775982"/>
                    <a:gd name="connsiteY928" fmla="*/ 703525 h 709256"/>
                    <a:gd name="connsiteX929" fmla="*/ 694831 w 775982"/>
                    <a:gd name="connsiteY929" fmla="*/ 701315 h 709256"/>
                    <a:gd name="connsiteX930" fmla="*/ 697928 w 775982"/>
                    <a:gd name="connsiteY930" fmla="*/ 697175 h 709256"/>
                    <a:gd name="connsiteX931" fmla="*/ 698814 w 775982"/>
                    <a:gd name="connsiteY931" fmla="*/ 695997 h 709256"/>
                    <a:gd name="connsiteX932" fmla="*/ 699057 w 775982"/>
                    <a:gd name="connsiteY932" fmla="*/ 694552 h 709256"/>
                    <a:gd name="connsiteX933" fmla="*/ 701024 w 775982"/>
                    <a:gd name="connsiteY933" fmla="*/ 682846 h 709256"/>
                    <a:gd name="connsiteX934" fmla="*/ 702008 w 775982"/>
                    <a:gd name="connsiteY934" fmla="*/ 680369 h 709256"/>
                    <a:gd name="connsiteX935" fmla="*/ 703793 w 775982"/>
                    <a:gd name="connsiteY935" fmla="*/ 679082 h 709256"/>
                    <a:gd name="connsiteX936" fmla="*/ 708176 w 775982"/>
                    <a:gd name="connsiteY936" fmla="*/ 677199 h 709256"/>
                    <a:gd name="connsiteX937" fmla="*/ 713033 w 775982"/>
                    <a:gd name="connsiteY937" fmla="*/ 675767 h 709256"/>
                    <a:gd name="connsiteX938" fmla="*/ 717211 w 775982"/>
                    <a:gd name="connsiteY938" fmla="*/ 675075 h 709256"/>
                    <a:gd name="connsiteX939" fmla="*/ 717648 w 775982"/>
                    <a:gd name="connsiteY939" fmla="*/ 675002 h 709256"/>
                    <a:gd name="connsiteX940" fmla="*/ 720635 w 775982"/>
                    <a:gd name="connsiteY940" fmla="*/ 676337 h 709256"/>
                    <a:gd name="connsiteX941" fmla="*/ 720926 w 775982"/>
                    <a:gd name="connsiteY941" fmla="*/ 676471 h 709256"/>
                    <a:gd name="connsiteX942" fmla="*/ 721230 w 775982"/>
                    <a:gd name="connsiteY942" fmla="*/ 676568 h 709256"/>
                    <a:gd name="connsiteX943" fmla="*/ 724897 w 775982"/>
                    <a:gd name="connsiteY943" fmla="*/ 677770 h 709256"/>
                    <a:gd name="connsiteX944" fmla="*/ 726621 w 775982"/>
                    <a:gd name="connsiteY944" fmla="*/ 678329 h 709256"/>
                    <a:gd name="connsiteX945" fmla="*/ 728370 w 775982"/>
                    <a:gd name="connsiteY945" fmla="*/ 677855 h 709256"/>
                    <a:gd name="connsiteX946" fmla="*/ 731818 w 775982"/>
                    <a:gd name="connsiteY946" fmla="*/ 676932 h 709256"/>
                    <a:gd name="connsiteX947" fmla="*/ 733506 w 775982"/>
                    <a:gd name="connsiteY947" fmla="*/ 676483 h 709256"/>
                    <a:gd name="connsiteX948" fmla="*/ 734696 w 775982"/>
                    <a:gd name="connsiteY948" fmla="*/ 675208 h 709256"/>
                    <a:gd name="connsiteX949" fmla="*/ 742310 w 775982"/>
                    <a:gd name="connsiteY949" fmla="*/ 667012 h 709256"/>
                    <a:gd name="connsiteX950" fmla="*/ 760269 w 775982"/>
                    <a:gd name="connsiteY950" fmla="*/ 653411 h 709256"/>
                    <a:gd name="connsiteX951" fmla="*/ 760779 w 775982"/>
                    <a:gd name="connsiteY951" fmla="*/ 653035 h 709256"/>
                    <a:gd name="connsiteX952" fmla="*/ 761192 w 775982"/>
                    <a:gd name="connsiteY952" fmla="*/ 652561 h 709256"/>
                    <a:gd name="connsiteX953" fmla="*/ 769000 w 775982"/>
                    <a:gd name="connsiteY953" fmla="*/ 643576 h 709256"/>
                    <a:gd name="connsiteX954" fmla="*/ 769462 w 775982"/>
                    <a:gd name="connsiteY954" fmla="*/ 643041 h 709256"/>
                    <a:gd name="connsiteX955" fmla="*/ 769789 w 775982"/>
                    <a:gd name="connsiteY955" fmla="*/ 642422 h 709256"/>
                    <a:gd name="connsiteX956" fmla="*/ 773408 w 775982"/>
                    <a:gd name="connsiteY956" fmla="*/ 635561 h 709256"/>
                    <a:gd name="connsiteX957" fmla="*/ 773772 w 775982"/>
                    <a:gd name="connsiteY957" fmla="*/ 634869 h 709256"/>
                    <a:gd name="connsiteX958" fmla="*/ 773954 w 775982"/>
                    <a:gd name="connsiteY958" fmla="*/ 634116 h 709256"/>
                    <a:gd name="connsiteX959" fmla="*/ 775727 w 775982"/>
                    <a:gd name="connsiteY959" fmla="*/ 626612 h 709256"/>
                    <a:gd name="connsiteX960" fmla="*/ 775982 w 775982"/>
                    <a:gd name="connsiteY960" fmla="*/ 625495 h 709256"/>
                    <a:gd name="connsiteX961" fmla="*/ 775825 w 775982"/>
                    <a:gd name="connsiteY961" fmla="*/ 624366 h 709256"/>
                    <a:gd name="connsiteX962" fmla="*/ 774853 w 775982"/>
                    <a:gd name="connsiteY962" fmla="*/ 617541 h 709256"/>
                    <a:gd name="connsiteX963" fmla="*/ 774586 w 775982"/>
                    <a:gd name="connsiteY963" fmla="*/ 615683 h 709256"/>
                    <a:gd name="connsiteX964" fmla="*/ 773311 w 775982"/>
                    <a:gd name="connsiteY964" fmla="*/ 614299 h 709256"/>
                    <a:gd name="connsiteX965" fmla="*/ 768891 w 775982"/>
                    <a:gd name="connsiteY965" fmla="*/ 609478 h 709256"/>
                    <a:gd name="connsiteX966" fmla="*/ 764617 w 775982"/>
                    <a:gd name="connsiteY966" fmla="*/ 605010 h 709256"/>
                    <a:gd name="connsiteX967" fmla="*/ 763257 w 775982"/>
                    <a:gd name="connsiteY967" fmla="*/ 600626 h 709256"/>
                    <a:gd name="connsiteX968" fmla="*/ 762042 w 775982"/>
                    <a:gd name="connsiteY968" fmla="*/ 594518 h 709256"/>
                    <a:gd name="connsiteX969" fmla="*/ 761860 w 775982"/>
                    <a:gd name="connsiteY969" fmla="*/ 593583 h 709256"/>
                    <a:gd name="connsiteX970" fmla="*/ 761399 w 775982"/>
                    <a:gd name="connsiteY970" fmla="*/ 592758 h 709256"/>
                    <a:gd name="connsiteX971" fmla="*/ 757780 w 775982"/>
                    <a:gd name="connsiteY971" fmla="*/ 586237 h 709256"/>
                    <a:gd name="connsiteX972" fmla="*/ 757246 w 775982"/>
                    <a:gd name="connsiteY972" fmla="*/ 585253 h 709256"/>
                    <a:gd name="connsiteX973" fmla="*/ 756384 w 775982"/>
                    <a:gd name="connsiteY973" fmla="*/ 584525 h 709256"/>
                    <a:gd name="connsiteX974" fmla="*/ 746050 w 775982"/>
                    <a:gd name="connsiteY974" fmla="*/ 575830 h 709256"/>
                    <a:gd name="connsiteX975" fmla="*/ 743767 w 775982"/>
                    <a:gd name="connsiteY975" fmla="*/ 572527 h 709256"/>
                    <a:gd name="connsiteX976" fmla="*/ 743694 w 775982"/>
                    <a:gd name="connsiteY976" fmla="*/ 567476 h 709256"/>
                    <a:gd name="connsiteX977" fmla="*/ 744617 w 775982"/>
                    <a:gd name="connsiteY977" fmla="*/ 564379 h 709256"/>
                    <a:gd name="connsiteX978" fmla="*/ 744811 w 775982"/>
                    <a:gd name="connsiteY978" fmla="*/ 563748 h 709256"/>
                    <a:gd name="connsiteX979" fmla="*/ 744860 w 775982"/>
                    <a:gd name="connsiteY979" fmla="*/ 563092 h 709256"/>
                    <a:gd name="connsiteX980" fmla="*/ 745613 w 775982"/>
                    <a:gd name="connsiteY980" fmla="*/ 552856 h 709256"/>
                    <a:gd name="connsiteX981" fmla="*/ 746439 w 775982"/>
                    <a:gd name="connsiteY981" fmla="*/ 550476 h 709256"/>
                    <a:gd name="connsiteX982" fmla="*/ 750009 w 775982"/>
                    <a:gd name="connsiteY982" fmla="*/ 545485 h 709256"/>
                    <a:gd name="connsiteX983" fmla="*/ 750276 w 775982"/>
                    <a:gd name="connsiteY983" fmla="*/ 545096 h 709256"/>
                    <a:gd name="connsiteX984" fmla="*/ 750494 w 775982"/>
                    <a:gd name="connsiteY984" fmla="*/ 544672 h 709256"/>
                    <a:gd name="connsiteX985" fmla="*/ 752109 w 775982"/>
                    <a:gd name="connsiteY985" fmla="*/ 541466 h 709256"/>
                    <a:gd name="connsiteX986" fmla="*/ 752862 w 775982"/>
                    <a:gd name="connsiteY986" fmla="*/ 539960 h 709256"/>
                    <a:gd name="connsiteX987" fmla="*/ 752741 w 775982"/>
                    <a:gd name="connsiteY987" fmla="*/ 538284 h 709256"/>
                    <a:gd name="connsiteX988" fmla="*/ 752170 w 775982"/>
                    <a:gd name="connsiteY988" fmla="*/ 530549 h 709256"/>
                    <a:gd name="connsiteX989" fmla="*/ 751915 w 775982"/>
                    <a:gd name="connsiteY989" fmla="*/ 527088 h 709256"/>
                    <a:gd name="connsiteX990" fmla="*/ 748806 w 775982"/>
                    <a:gd name="connsiteY990" fmla="*/ 525558 h 709256"/>
                    <a:gd name="connsiteX991" fmla="*/ 742419 w 775982"/>
                    <a:gd name="connsiteY991" fmla="*/ 522401 h 709256"/>
                    <a:gd name="connsiteX992" fmla="*/ 741254 w 775982"/>
                    <a:gd name="connsiteY992" fmla="*/ 521831 h 709256"/>
                    <a:gd name="connsiteX993" fmla="*/ 739954 w 775982"/>
                    <a:gd name="connsiteY993" fmla="*/ 521782 h 709256"/>
                    <a:gd name="connsiteX994" fmla="*/ 725771 w 775982"/>
                    <a:gd name="connsiteY994" fmla="*/ 521260 h 709256"/>
                    <a:gd name="connsiteX995" fmla="*/ 720489 w 775982"/>
                    <a:gd name="connsiteY995" fmla="*/ 519523 h 709256"/>
                    <a:gd name="connsiteX996" fmla="*/ 706658 w 775982"/>
                    <a:gd name="connsiteY996" fmla="*/ 512468 h 709256"/>
                    <a:gd name="connsiteX997" fmla="*/ 705578 w 775982"/>
                    <a:gd name="connsiteY997" fmla="*/ 511910 h 709256"/>
                    <a:gd name="connsiteX998" fmla="*/ 704351 w 775982"/>
                    <a:gd name="connsiteY998" fmla="*/ 511825 h 709256"/>
                    <a:gd name="connsiteX999" fmla="*/ 698450 w 775982"/>
                    <a:gd name="connsiteY999" fmla="*/ 511388 h 709256"/>
                    <a:gd name="connsiteX1000" fmla="*/ 695778 w 775982"/>
                    <a:gd name="connsiteY1000" fmla="*/ 511181 h 709256"/>
                    <a:gd name="connsiteX1001" fmla="*/ 695487 w 775982"/>
                    <a:gd name="connsiteY1001" fmla="*/ 509736 h 709256"/>
                    <a:gd name="connsiteX1002" fmla="*/ 695171 w 775982"/>
                    <a:gd name="connsiteY1002" fmla="*/ 508146 h 709256"/>
                    <a:gd name="connsiteX1003" fmla="*/ 694103 w 775982"/>
                    <a:gd name="connsiteY1003" fmla="*/ 506931 h 709256"/>
                    <a:gd name="connsiteX1004" fmla="*/ 691686 w 775982"/>
                    <a:gd name="connsiteY1004" fmla="*/ 504175 h 709256"/>
                    <a:gd name="connsiteX1005" fmla="*/ 691055 w 775982"/>
                    <a:gd name="connsiteY1005" fmla="*/ 503458 h 709256"/>
                    <a:gd name="connsiteX1006" fmla="*/ 690241 w 775982"/>
                    <a:gd name="connsiteY1006" fmla="*/ 502973 h 709256"/>
                    <a:gd name="connsiteX1007" fmla="*/ 687072 w 775982"/>
                    <a:gd name="connsiteY1007" fmla="*/ 501078 h 709256"/>
                    <a:gd name="connsiteX1008" fmla="*/ 686756 w 775982"/>
                    <a:gd name="connsiteY1008" fmla="*/ 500884 h 709256"/>
                    <a:gd name="connsiteX1009" fmla="*/ 686428 w 775982"/>
                    <a:gd name="connsiteY1009" fmla="*/ 500738 h 709256"/>
                    <a:gd name="connsiteX1010" fmla="*/ 683222 w 775982"/>
                    <a:gd name="connsiteY1010" fmla="*/ 499306 h 709256"/>
                    <a:gd name="connsiteX1011" fmla="*/ 682810 w 775982"/>
                    <a:gd name="connsiteY1011" fmla="*/ 499123 h 709256"/>
                    <a:gd name="connsiteX1012" fmla="*/ 682385 w 775982"/>
                    <a:gd name="connsiteY1012" fmla="*/ 499002 h 709256"/>
                    <a:gd name="connsiteX1013" fmla="*/ 676082 w 775982"/>
                    <a:gd name="connsiteY1013" fmla="*/ 497241 h 709256"/>
                    <a:gd name="connsiteX1014" fmla="*/ 675111 w 775982"/>
                    <a:gd name="connsiteY1014" fmla="*/ 496719 h 709256"/>
                    <a:gd name="connsiteX1015" fmla="*/ 665506 w 775982"/>
                    <a:gd name="connsiteY1015" fmla="*/ 481917 h 709256"/>
                    <a:gd name="connsiteX1016" fmla="*/ 665020 w 775982"/>
                    <a:gd name="connsiteY1016" fmla="*/ 481164 h 709256"/>
                    <a:gd name="connsiteX1017" fmla="*/ 664328 w 775982"/>
                    <a:gd name="connsiteY1017" fmla="*/ 480581 h 709256"/>
                    <a:gd name="connsiteX1018" fmla="*/ 647583 w 775982"/>
                    <a:gd name="connsiteY1018" fmla="*/ 465572 h 709256"/>
                    <a:gd name="connsiteX1019" fmla="*/ 644110 w 775982"/>
                    <a:gd name="connsiteY1019" fmla="*/ 460011 h 709256"/>
                    <a:gd name="connsiteX1020" fmla="*/ 640989 w 775982"/>
                    <a:gd name="connsiteY1020" fmla="*/ 449532 h 709256"/>
                    <a:gd name="connsiteX1021" fmla="*/ 643272 w 775982"/>
                    <a:gd name="connsiteY1021" fmla="*/ 410383 h 709256"/>
                    <a:gd name="connsiteX1022" fmla="*/ 643297 w 775982"/>
                    <a:gd name="connsiteY1022" fmla="*/ 409921 h 709256"/>
                    <a:gd name="connsiteX1023" fmla="*/ 643260 w 775982"/>
                    <a:gd name="connsiteY1023" fmla="*/ 409460 h 709256"/>
                    <a:gd name="connsiteX1024" fmla="*/ 641997 w 775982"/>
                    <a:gd name="connsiteY1024" fmla="*/ 395872 h 709256"/>
                    <a:gd name="connsiteX1025" fmla="*/ 641961 w 775982"/>
                    <a:gd name="connsiteY1025" fmla="*/ 395459 h 709256"/>
                    <a:gd name="connsiteX1026" fmla="*/ 641864 w 775982"/>
                    <a:gd name="connsiteY1026" fmla="*/ 395046 h 709256"/>
                    <a:gd name="connsiteX1027" fmla="*/ 638706 w 775982"/>
                    <a:gd name="connsiteY1027" fmla="*/ 381580 h 709256"/>
                    <a:gd name="connsiteX1028" fmla="*/ 638634 w 775982"/>
                    <a:gd name="connsiteY1028" fmla="*/ 381240 h 709256"/>
                    <a:gd name="connsiteX1029" fmla="*/ 638512 w 775982"/>
                    <a:gd name="connsiteY1029" fmla="*/ 380912 h 709256"/>
                    <a:gd name="connsiteX1030" fmla="*/ 629733 w 775982"/>
                    <a:gd name="connsiteY1030" fmla="*/ 356444 h 709256"/>
                    <a:gd name="connsiteX1031" fmla="*/ 630983 w 775982"/>
                    <a:gd name="connsiteY1031" fmla="*/ 342844 h 709256"/>
                    <a:gd name="connsiteX1032" fmla="*/ 642277 w 775982"/>
                    <a:gd name="connsiteY1032" fmla="*/ 335522 h 709256"/>
                    <a:gd name="connsiteX1033" fmla="*/ 660005 w 775982"/>
                    <a:gd name="connsiteY1033" fmla="*/ 328321 h 709256"/>
                    <a:gd name="connsiteX1034" fmla="*/ 661013 w 775982"/>
                    <a:gd name="connsiteY1034" fmla="*/ 327908 h 709256"/>
                    <a:gd name="connsiteX1035" fmla="*/ 661814 w 775982"/>
                    <a:gd name="connsiteY1035" fmla="*/ 327179 h 709256"/>
                    <a:gd name="connsiteX1036" fmla="*/ 675487 w 775982"/>
                    <a:gd name="connsiteY1036" fmla="*/ 314721 h 709256"/>
                    <a:gd name="connsiteX1037" fmla="*/ 676593 w 775982"/>
                    <a:gd name="connsiteY1037" fmla="*/ 313713 h 709256"/>
                    <a:gd name="connsiteX1038" fmla="*/ 677102 w 775982"/>
                    <a:gd name="connsiteY1038" fmla="*/ 312292 h 709256"/>
                    <a:gd name="connsiteX1039" fmla="*/ 678839 w 775982"/>
                    <a:gd name="connsiteY1039" fmla="*/ 307471 h 709256"/>
                    <a:gd name="connsiteX1040" fmla="*/ 679082 w 775982"/>
                    <a:gd name="connsiteY1040" fmla="*/ 306816 h 709256"/>
                    <a:gd name="connsiteX1041" fmla="*/ 679167 w 775982"/>
                    <a:gd name="connsiteY1041" fmla="*/ 306123 h 709256"/>
                    <a:gd name="connsiteX1042" fmla="*/ 679737 w 775982"/>
                    <a:gd name="connsiteY1042" fmla="*/ 301242 h 709256"/>
                    <a:gd name="connsiteX1043" fmla="*/ 679822 w 775982"/>
                    <a:gd name="connsiteY1043" fmla="*/ 300538 h 709256"/>
                    <a:gd name="connsiteX1044" fmla="*/ 679737 w 775982"/>
                    <a:gd name="connsiteY1044" fmla="*/ 299833 h 709256"/>
                    <a:gd name="connsiteX1045" fmla="*/ 679167 w 775982"/>
                    <a:gd name="connsiteY1045" fmla="*/ 294928 h 709256"/>
                    <a:gd name="connsiteX1046" fmla="*/ 679094 w 775982"/>
                    <a:gd name="connsiteY1046" fmla="*/ 294236 h 709256"/>
                    <a:gd name="connsiteX1047" fmla="*/ 678851 w 775982"/>
                    <a:gd name="connsiteY1047" fmla="*/ 293580 h 709256"/>
                    <a:gd name="connsiteX1048" fmla="*/ 677115 w 775982"/>
                    <a:gd name="connsiteY1048" fmla="*/ 288747 h 709256"/>
                    <a:gd name="connsiteX1049" fmla="*/ 676945 w 775982"/>
                    <a:gd name="connsiteY1049" fmla="*/ 288273 h 709256"/>
                    <a:gd name="connsiteX1050" fmla="*/ 676702 w 775982"/>
                    <a:gd name="connsiteY1050" fmla="*/ 287836 h 709256"/>
                    <a:gd name="connsiteX1051" fmla="*/ 673071 w 775982"/>
                    <a:gd name="connsiteY1051" fmla="*/ 281328 h 709256"/>
                    <a:gd name="connsiteX1052" fmla="*/ 672027 w 775982"/>
                    <a:gd name="connsiteY1052" fmla="*/ 279409 h 709256"/>
                    <a:gd name="connsiteX1053" fmla="*/ 671529 w 775982"/>
                    <a:gd name="connsiteY1053" fmla="*/ 278510 h 709256"/>
                    <a:gd name="connsiteX1054" fmla="*/ 670764 w 775982"/>
                    <a:gd name="connsiteY1054" fmla="*/ 277818 h 709256"/>
                    <a:gd name="connsiteX1055" fmla="*/ 665360 w 775982"/>
                    <a:gd name="connsiteY1055" fmla="*/ 272937 h 709256"/>
                    <a:gd name="connsiteX1056" fmla="*/ 664595 w 775982"/>
                    <a:gd name="connsiteY1056" fmla="*/ 272233 h 709256"/>
                    <a:gd name="connsiteX1057" fmla="*/ 663624 w 775982"/>
                    <a:gd name="connsiteY1057" fmla="*/ 271832 h 709256"/>
                    <a:gd name="connsiteX1058" fmla="*/ 656787 w 775982"/>
                    <a:gd name="connsiteY1058" fmla="*/ 268990 h 709256"/>
                    <a:gd name="connsiteX1059" fmla="*/ 656423 w 775982"/>
                    <a:gd name="connsiteY1059" fmla="*/ 268845 h 709256"/>
                    <a:gd name="connsiteX1060" fmla="*/ 656047 w 775982"/>
                    <a:gd name="connsiteY1060" fmla="*/ 268748 h 709256"/>
                    <a:gd name="connsiteX1061" fmla="*/ 648008 w 775982"/>
                    <a:gd name="connsiteY1061" fmla="*/ 266574 h 709256"/>
                    <a:gd name="connsiteX1062" fmla="*/ 642653 w 775982"/>
                    <a:gd name="connsiteY1062" fmla="*/ 263660 h 709256"/>
                    <a:gd name="connsiteX1063" fmla="*/ 633813 w 775982"/>
                    <a:gd name="connsiteY1063" fmla="*/ 252707 h 709256"/>
                    <a:gd name="connsiteX1064" fmla="*/ 633303 w 775982"/>
                    <a:gd name="connsiteY1064" fmla="*/ 252075 h 709256"/>
                    <a:gd name="connsiteX1065" fmla="*/ 632647 w 775982"/>
                    <a:gd name="connsiteY1065" fmla="*/ 251602 h 709256"/>
                    <a:gd name="connsiteX1066" fmla="*/ 616521 w 775982"/>
                    <a:gd name="connsiteY1066" fmla="*/ 239920 h 709256"/>
                    <a:gd name="connsiteX1067" fmla="*/ 615902 w 775982"/>
                    <a:gd name="connsiteY1067" fmla="*/ 239471 h 709256"/>
                    <a:gd name="connsiteX1068" fmla="*/ 615198 w 775982"/>
                    <a:gd name="connsiteY1068" fmla="*/ 239192 h 709256"/>
                    <a:gd name="connsiteX1069" fmla="*/ 604451 w 775982"/>
                    <a:gd name="connsiteY1069" fmla="*/ 234942 h 709256"/>
                    <a:gd name="connsiteX1070" fmla="*/ 603832 w 775982"/>
                    <a:gd name="connsiteY1070" fmla="*/ 234687 h 709256"/>
                    <a:gd name="connsiteX1071" fmla="*/ 603176 w 775982"/>
                    <a:gd name="connsiteY1071" fmla="*/ 234589 h 709256"/>
                    <a:gd name="connsiteX1072" fmla="*/ 561125 w 775982"/>
                    <a:gd name="connsiteY1072" fmla="*/ 227899 h 709256"/>
                    <a:gd name="connsiteX1073" fmla="*/ 554447 w 775982"/>
                    <a:gd name="connsiteY1073" fmla="*/ 225203 h 709256"/>
                    <a:gd name="connsiteX1074" fmla="*/ 548557 w 775982"/>
                    <a:gd name="connsiteY1074" fmla="*/ 220115 h 709256"/>
                    <a:gd name="connsiteX1075" fmla="*/ 545206 w 775982"/>
                    <a:gd name="connsiteY1075" fmla="*/ 214371 h 709256"/>
                    <a:gd name="connsiteX1076" fmla="*/ 533816 w 775982"/>
                    <a:gd name="connsiteY1076" fmla="*/ 174919 h 709256"/>
                    <a:gd name="connsiteX1077" fmla="*/ 533694 w 775982"/>
                    <a:gd name="connsiteY1077" fmla="*/ 174494 h 709256"/>
                    <a:gd name="connsiteX1078" fmla="*/ 533512 w 775982"/>
                    <a:gd name="connsiteY1078" fmla="*/ 174093 h 709256"/>
                    <a:gd name="connsiteX1079" fmla="*/ 531836 w 775982"/>
                    <a:gd name="connsiteY1079" fmla="*/ 170390 h 709256"/>
                    <a:gd name="connsiteX1080" fmla="*/ 531496 w 775982"/>
                    <a:gd name="connsiteY1080" fmla="*/ 169637 h 709256"/>
                    <a:gd name="connsiteX1081" fmla="*/ 530974 w 775982"/>
                    <a:gd name="connsiteY1081" fmla="*/ 169005 h 709256"/>
                    <a:gd name="connsiteX1082" fmla="*/ 524077 w 775982"/>
                    <a:gd name="connsiteY1082" fmla="*/ 160688 h 709256"/>
                    <a:gd name="connsiteX1083" fmla="*/ 522049 w 775982"/>
                    <a:gd name="connsiteY1083" fmla="*/ 155102 h 709256"/>
                    <a:gd name="connsiteX1084" fmla="*/ 520446 w 775982"/>
                    <a:gd name="connsiteY1084" fmla="*/ 139729 h 709256"/>
                    <a:gd name="connsiteX1085" fmla="*/ 520410 w 775982"/>
                    <a:gd name="connsiteY1085" fmla="*/ 139389 h 709256"/>
                    <a:gd name="connsiteX1086" fmla="*/ 520337 w 775982"/>
                    <a:gd name="connsiteY1086" fmla="*/ 139061 h 709256"/>
                    <a:gd name="connsiteX1087" fmla="*/ 518625 w 775982"/>
                    <a:gd name="connsiteY1087" fmla="*/ 131314 h 709256"/>
                    <a:gd name="connsiteX1088" fmla="*/ 518406 w 775982"/>
                    <a:gd name="connsiteY1088" fmla="*/ 130354 h 709256"/>
                    <a:gd name="connsiteX1089" fmla="*/ 517908 w 775982"/>
                    <a:gd name="connsiteY1089" fmla="*/ 129517 h 709256"/>
                    <a:gd name="connsiteX1090" fmla="*/ 500556 w 775982"/>
                    <a:gd name="connsiteY1090" fmla="*/ 100374 h 709256"/>
                    <a:gd name="connsiteX1091" fmla="*/ 494703 w 775982"/>
                    <a:gd name="connsiteY1091" fmla="*/ 86312 h 709256"/>
                    <a:gd name="connsiteX1092" fmla="*/ 496112 w 775982"/>
                    <a:gd name="connsiteY1092" fmla="*/ 72178 h 709256"/>
                    <a:gd name="connsiteX1093" fmla="*/ 500908 w 775982"/>
                    <a:gd name="connsiteY1093" fmla="*/ 62390 h 709256"/>
                    <a:gd name="connsiteX1094" fmla="*/ 501163 w 775982"/>
                    <a:gd name="connsiteY1094" fmla="*/ 61880 h 709256"/>
                    <a:gd name="connsiteX1095" fmla="*/ 501309 w 775982"/>
                    <a:gd name="connsiteY1095" fmla="*/ 61346 h 709256"/>
                    <a:gd name="connsiteX1096" fmla="*/ 504576 w 775982"/>
                    <a:gd name="connsiteY1096" fmla="*/ 49677 h 709256"/>
                    <a:gd name="connsiteX1097" fmla="*/ 505013 w 775982"/>
                    <a:gd name="connsiteY1097" fmla="*/ 48110 h 709256"/>
                    <a:gd name="connsiteX1098" fmla="*/ 504612 w 775982"/>
                    <a:gd name="connsiteY1098" fmla="*/ 46544 h 709256"/>
                    <a:gd name="connsiteX1099" fmla="*/ 502499 w 775982"/>
                    <a:gd name="connsiteY1099" fmla="*/ 38262 h 709256"/>
                    <a:gd name="connsiteX1100" fmla="*/ 501394 w 775982"/>
                    <a:gd name="connsiteY1100" fmla="*/ 33903 h 709256"/>
                    <a:gd name="connsiteX1101" fmla="*/ 496901 w 775982"/>
                    <a:gd name="connsiteY1101" fmla="*/ 33697 h 709256"/>
                    <a:gd name="connsiteX1102" fmla="*/ 485924 w 775982"/>
                    <a:gd name="connsiteY1102" fmla="*/ 33187 h 709256"/>
                    <a:gd name="connsiteX1103" fmla="*/ 484370 w 775982"/>
                    <a:gd name="connsiteY1103" fmla="*/ 33114 h 709256"/>
                    <a:gd name="connsiteX1104" fmla="*/ 482973 w 775982"/>
                    <a:gd name="connsiteY1104" fmla="*/ 33794 h 709256"/>
                    <a:gd name="connsiteX1105" fmla="*/ 477764 w 775982"/>
                    <a:gd name="connsiteY1105" fmla="*/ 36344 h 709256"/>
                    <a:gd name="connsiteX1106" fmla="*/ 476817 w 775982"/>
                    <a:gd name="connsiteY1106" fmla="*/ 36817 h 709256"/>
                    <a:gd name="connsiteX1107" fmla="*/ 476076 w 775982"/>
                    <a:gd name="connsiteY1107" fmla="*/ 37570 h 709256"/>
                    <a:gd name="connsiteX1108" fmla="*/ 468499 w 775982"/>
                    <a:gd name="connsiteY1108" fmla="*/ 45378 h 709256"/>
                    <a:gd name="connsiteX1109" fmla="*/ 465985 w 775982"/>
                    <a:gd name="connsiteY1109" fmla="*/ 46337 h 709256"/>
                    <a:gd name="connsiteX1110" fmla="*/ 464188 w 775982"/>
                    <a:gd name="connsiteY1110" fmla="*/ 45900 h 709256"/>
                    <a:gd name="connsiteX1111" fmla="*/ 461529 w 775982"/>
                    <a:gd name="connsiteY1111" fmla="*/ 43860 h 709256"/>
                    <a:gd name="connsiteX1112" fmla="*/ 458675 w 775982"/>
                    <a:gd name="connsiteY1112" fmla="*/ 40217 h 709256"/>
                    <a:gd name="connsiteX1113" fmla="*/ 456040 w 775982"/>
                    <a:gd name="connsiteY1113" fmla="*/ 35822 h 709256"/>
                    <a:gd name="connsiteX1114" fmla="*/ 454559 w 775982"/>
                    <a:gd name="connsiteY1114" fmla="*/ 33357 h 709256"/>
                    <a:gd name="connsiteX1115" fmla="*/ 451717 w 775982"/>
                    <a:gd name="connsiteY1115" fmla="*/ 32932 h 709256"/>
                    <a:gd name="connsiteX1116" fmla="*/ 446715 w 775982"/>
                    <a:gd name="connsiteY1116" fmla="*/ 32191 h 709256"/>
                    <a:gd name="connsiteX1117" fmla="*/ 446059 w 775982"/>
                    <a:gd name="connsiteY1117" fmla="*/ 32094 h 709256"/>
                    <a:gd name="connsiteX1118" fmla="*/ 445403 w 775982"/>
                    <a:gd name="connsiteY1118" fmla="*/ 32142 h 709256"/>
                    <a:gd name="connsiteX1119" fmla="*/ 442938 w 775982"/>
                    <a:gd name="connsiteY1119" fmla="*/ 32312 h 709256"/>
                    <a:gd name="connsiteX1120" fmla="*/ 442185 w 775982"/>
                    <a:gd name="connsiteY1120" fmla="*/ 32361 h 709256"/>
                    <a:gd name="connsiteX1121" fmla="*/ 441481 w 775982"/>
                    <a:gd name="connsiteY1121" fmla="*/ 32592 h 709256"/>
                    <a:gd name="connsiteX1122" fmla="*/ 439016 w 775982"/>
                    <a:gd name="connsiteY1122" fmla="*/ 33393 h 709256"/>
                    <a:gd name="connsiteX1123" fmla="*/ 438142 w 775982"/>
                    <a:gd name="connsiteY1123" fmla="*/ 33672 h 709256"/>
                    <a:gd name="connsiteX1124" fmla="*/ 437389 w 775982"/>
                    <a:gd name="connsiteY1124" fmla="*/ 34207 h 709256"/>
                    <a:gd name="connsiteX1125" fmla="*/ 431961 w 775982"/>
                    <a:gd name="connsiteY1125" fmla="*/ 38044 h 709256"/>
                    <a:gd name="connsiteX1126" fmla="*/ 428099 w 775982"/>
                    <a:gd name="connsiteY1126" fmla="*/ 40108 h 709256"/>
                    <a:gd name="connsiteX1127" fmla="*/ 424566 w 775982"/>
                    <a:gd name="connsiteY1127" fmla="*/ 40740 h 709256"/>
                    <a:gd name="connsiteX1128" fmla="*/ 399102 w 775982"/>
                    <a:gd name="connsiteY1128" fmla="*/ 36781 h 709256"/>
                    <a:gd name="connsiteX1129" fmla="*/ 397791 w 775982"/>
                    <a:gd name="connsiteY1129" fmla="*/ 36562 h 709256"/>
                    <a:gd name="connsiteX1130" fmla="*/ 397159 w 775982"/>
                    <a:gd name="connsiteY1130" fmla="*/ 36453 h 709256"/>
                    <a:gd name="connsiteX1131" fmla="*/ 396516 w 775982"/>
                    <a:gd name="connsiteY1131" fmla="*/ 36477 h 709256"/>
                    <a:gd name="connsiteX1132" fmla="*/ 389813 w 775982"/>
                    <a:gd name="connsiteY1132" fmla="*/ 36769 h 709256"/>
                    <a:gd name="connsiteX1133" fmla="*/ 378010 w 775982"/>
                    <a:gd name="connsiteY1133" fmla="*/ 38347 h 709256"/>
                    <a:gd name="connsiteX1134" fmla="*/ 374440 w 775982"/>
                    <a:gd name="connsiteY1134" fmla="*/ 37995 h 709256"/>
                    <a:gd name="connsiteX1135" fmla="*/ 369995 w 775982"/>
                    <a:gd name="connsiteY1135" fmla="*/ 35773 h 709256"/>
                    <a:gd name="connsiteX1136" fmla="*/ 361738 w 775982"/>
                    <a:gd name="connsiteY1136" fmla="*/ 29349 h 709256"/>
                    <a:gd name="connsiteX1137" fmla="*/ 361216 w 775982"/>
                    <a:gd name="connsiteY1137" fmla="*/ 28937 h 709256"/>
                    <a:gd name="connsiteX1138" fmla="*/ 360609 w 775982"/>
                    <a:gd name="connsiteY1138" fmla="*/ 28657 h 709256"/>
                    <a:gd name="connsiteX1139" fmla="*/ 356019 w 775982"/>
                    <a:gd name="connsiteY1139" fmla="*/ 26484 h 709256"/>
                    <a:gd name="connsiteX1140" fmla="*/ 355072 w 775982"/>
                    <a:gd name="connsiteY1140" fmla="*/ 26034 h 709256"/>
                    <a:gd name="connsiteX1141" fmla="*/ 354040 w 775982"/>
                    <a:gd name="connsiteY1141" fmla="*/ 25925 h 709256"/>
                    <a:gd name="connsiteX1142" fmla="*/ 348357 w 775982"/>
                    <a:gd name="connsiteY1142" fmla="*/ 25354 h 709256"/>
                    <a:gd name="connsiteX1143" fmla="*/ 347701 w 775982"/>
                    <a:gd name="connsiteY1143" fmla="*/ 25294 h 709256"/>
                    <a:gd name="connsiteX1144" fmla="*/ 347045 w 775982"/>
                    <a:gd name="connsiteY1144" fmla="*/ 25367 h 709256"/>
                    <a:gd name="connsiteX1145" fmla="*/ 333870 w 775982"/>
                    <a:gd name="connsiteY1145" fmla="*/ 26909 h 709256"/>
                    <a:gd name="connsiteX1146" fmla="*/ 328624 w 775982"/>
                    <a:gd name="connsiteY1146" fmla="*/ 26557 h 709256"/>
                    <a:gd name="connsiteX1147" fmla="*/ 323682 w 775982"/>
                    <a:gd name="connsiteY1147" fmla="*/ 24577 h 709256"/>
                    <a:gd name="connsiteX1148" fmla="*/ 322444 w 775982"/>
                    <a:gd name="connsiteY1148" fmla="*/ 23509 h 709256"/>
                    <a:gd name="connsiteX1149" fmla="*/ 318776 w 775982"/>
                    <a:gd name="connsiteY1149" fmla="*/ 18979 h 709256"/>
                    <a:gd name="connsiteX1150" fmla="*/ 318376 w 775982"/>
                    <a:gd name="connsiteY1150" fmla="*/ 18482 h 709256"/>
                    <a:gd name="connsiteX1151" fmla="*/ 317878 w 775982"/>
                    <a:gd name="connsiteY1151" fmla="*/ 18081 h 709256"/>
                    <a:gd name="connsiteX1152" fmla="*/ 315461 w 775982"/>
                    <a:gd name="connsiteY1152" fmla="*/ 16126 h 709256"/>
                    <a:gd name="connsiteX1153" fmla="*/ 314502 w 775982"/>
                    <a:gd name="connsiteY1153" fmla="*/ 15361 h 709256"/>
                    <a:gd name="connsiteX1154" fmla="*/ 313324 w 775982"/>
                    <a:gd name="connsiteY1154" fmla="*/ 15021 h 709256"/>
                    <a:gd name="connsiteX1155" fmla="*/ 309766 w 775982"/>
                    <a:gd name="connsiteY1155" fmla="*/ 13989 h 709256"/>
                    <a:gd name="connsiteX1156" fmla="*/ 308880 w 775982"/>
                    <a:gd name="connsiteY1156" fmla="*/ 13734 h 709256"/>
                    <a:gd name="connsiteX1157" fmla="*/ 307957 w 775982"/>
                    <a:gd name="connsiteY1157" fmla="*/ 13746 h 709256"/>
                    <a:gd name="connsiteX1158" fmla="*/ 303877 w 775982"/>
                    <a:gd name="connsiteY1158" fmla="*/ 13831 h 709256"/>
                    <a:gd name="connsiteX1159" fmla="*/ 303440 w 775982"/>
                    <a:gd name="connsiteY1159" fmla="*/ 13843 h 709256"/>
                    <a:gd name="connsiteX1160" fmla="*/ 303015 w 775982"/>
                    <a:gd name="connsiteY1160" fmla="*/ 13904 h 709256"/>
                    <a:gd name="connsiteX1161" fmla="*/ 295887 w 775982"/>
                    <a:gd name="connsiteY1161" fmla="*/ 15082 h 709256"/>
                    <a:gd name="connsiteX1162" fmla="*/ 289342 w 775982"/>
                    <a:gd name="connsiteY1162" fmla="*/ 14899 h 709256"/>
                    <a:gd name="connsiteX1163" fmla="*/ 286537 w 775982"/>
                    <a:gd name="connsiteY1163" fmla="*/ 14329 h 709256"/>
                    <a:gd name="connsiteX1164" fmla="*/ 284351 w 775982"/>
                    <a:gd name="connsiteY1164" fmla="*/ 13479 h 709256"/>
                    <a:gd name="connsiteX1165" fmla="*/ 282700 w 775982"/>
                    <a:gd name="connsiteY1165" fmla="*/ 12179 h 709256"/>
                    <a:gd name="connsiteX1166" fmla="*/ 278753 w 775982"/>
                    <a:gd name="connsiteY1166" fmla="*/ 6885 h 709256"/>
                    <a:gd name="connsiteX1167" fmla="*/ 278523 w 775982"/>
                    <a:gd name="connsiteY1167" fmla="*/ 6581 h 709256"/>
                    <a:gd name="connsiteX1168" fmla="*/ 278256 w 775982"/>
                    <a:gd name="connsiteY1168" fmla="*/ 6302 h 709256"/>
                    <a:gd name="connsiteX1169" fmla="*/ 275620 w 775982"/>
                    <a:gd name="connsiteY1169" fmla="*/ 3570 h 709256"/>
                    <a:gd name="connsiteX1170" fmla="*/ 274710 w 775982"/>
                    <a:gd name="connsiteY1170" fmla="*/ 2623 h 709256"/>
                    <a:gd name="connsiteX1171" fmla="*/ 273496 w 775982"/>
                    <a:gd name="connsiteY1171" fmla="*/ 2137 h 709256"/>
                    <a:gd name="connsiteX1172" fmla="*/ 270047 w 775982"/>
                    <a:gd name="connsiteY1172" fmla="*/ 765 h 709256"/>
                    <a:gd name="connsiteX1173" fmla="*/ 268808 w 775982"/>
                    <a:gd name="connsiteY1173" fmla="*/ 267 h 709256"/>
                    <a:gd name="connsiteX1174" fmla="*/ 267485 w 775982"/>
                    <a:gd name="connsiteY1174" fmla="*/ 340 h 709256"/>
                    <a:gd name="connsiteX1175" fmla="*/ 260090 w 775982"/>
                    <a:gd name="connsiteY1175" fmla="*/ 741 h 709256"/>
                    <a:gd name="connsiteX1176" fmla="*/ 259446 w 775982"/>
                    <a:gd name="connsiteY1176" fmla="*/ 692 h 709256"/>
                    <a:gd name="connsiteX1177" fmla="*/ 249246 w 775982"/>
                    <a:gd name="connsiteY1177" fmla="*/ 0 h 709256"/>
                    <a:gd name="connsiteX1178" fmla="*/ 249246 w 775982"/>
                    <a:gd name="connsiteY1178" fmla="*/ 0 h 709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Lst>
                  <a:rect l="l" t="t" r="r" b="b"/>
                  <a:pathLst>
                    <a:path w="775982" h="709256">
                      <a:moveTo>
                        <a:pt x="267800" y="6521"/>
                      </a:moveTo>
                      <a:lnTo>
                        <a:pt x="271249" y="7893"/>
                      </a:lnTo>
                      <a:lnTo>
                        <a:pt x="273884" y="10625"/>
                      </a:lnTo>
                      <a:lnTo>
                        <a:pt x="278316" y="16563"/>
                      </a:lnTo>
                      <a:lnTo>
                        <a:pt x="281303" y="18919"/>
                      </a:lnTo>
                      <a:lnTo>
                        <a:pt x="284813" y="20291"/>
                      </a:lnTo>
                      <a:lnTo>
                        <a:pt x="288650" y="21068"/>
                      </a:lnTo>
                      <a:lnTo>
                        <a:pt x="296288" y="21274"/>
                      </a:lnTo>
                      <a:lnTo>
                        <a:pt x="303986" y="20012"/>
                      </a:lnTo>
                      <a:lnTo>
                        <a:pt x="308066" y="19927"/>
                      </a:lnTo>
                      <a:lnTo>
                        <a:pt x="311624" y="20959"/>
                      </a:lnTo>
                      <a:lnTo>
                        <a:pt x="314041" y="22914"/>
                      </a:lnTo>
                      <a:lnTo>
                        <a:pt x="318048" y="27856"/>
                      </a:lnTo>
                      <a:lnTo>
                        <a:pt x="320464" y="29944"/>
                      </a:lnTo>
                      <a:lnTo>
                        <a:pt x="327240" y="32652"/>
                      </a:lnTo>
                      <a:lnTo>
                        <a:pt x="334004" y="33102"/>
                      </a:lnTo>
                      <a:lnTo>
                        <a:pt x="347737" y="31499"/>
                      </a:lnTo>
                      <a:lnTo>
                        <a:pt x="353420" y="32070"/>
                      </a:lnTo>
                      <a:lnTo>
                        <a:pt x="358010" y="34243"/>
                      </a:lnTo>
                      <a:lnTo>
                        <a:pt x="366741" y="41031"/>
                      </a:lnTo>
                      <a:lnTo>
                        <a:pt x="372715" y="44018"/>
                      </a:lnTo>
                      <a:lnTo>
                        <a:pt x="378107" y="44552"/>
                      </a:lnTo>
                      <a:lnTo>
                        <a:pt x="390068" y="42925"/>
                      </a:lnTo>
                      <a:lnTo>
                        <a:pt x="396771" y="42634"/>
                      </a:lnTo>
                      <a:lnTo>
                        <a:pt x="398155" y="42865"/>
                      </a:lnTo>
                      <a:lnTo>
                        <a:pt x="424614" y="46969"/>
                      </a:lnTo>
                      <a:lnTo>
                        <a:pt x="430091" y="45997"/>
                      </a:lnTo>
                      <a:lnTo>
                        <a:pt x="435142" y="43302"/>
                      </a:lnTo>
                      <a:lnTo>
                        <a:pt x="440874" y="39246"/>
                      </a:lnTo>
                      <a:lnTo>
                        <a:pt x="443339" y="38445"/>
                      </a:lnTo>
                      <a:lnTo>
                        <a:pt x="445804" y="38275"/>
                      </a:lnTo>
                      <a:lnTo>
                        <a:pt x="450807" y="39015"/>
                      </a:lnTo>
                      <a:lnTo>
                        <a:pt x="450807" y="39015"/>
                      </a:lnTo>
                      <a:lnTo>
                        <a:pt x="453636" y="43727"/>
                      </a:lnTo>
                      <a:lnTo>
                        <a:pt x="457194" y="48268"/>
                      </a:lnTo>
                      <a:lnTo>
                        <a:pt x="461492" y="51571"/>
                      </a:lnTo>
                      <a:lnTo>
                        <a:pt x="466374" y="52737"/>
                      </a:lnTo>
                      <a:lnTo>
                        <a:pt x="471887" y="50624"/>
                      </a:lnTo>
                      <a:lnTo>
                        <a:pt x="480399" y="41857"/>
                      </a:lnTo>
                      <a:lnTo>
                        <a:pt x="485608" y="39307"/>
                      </a:lnTo>
                      <a:lnTo>
                        <a:pt x="496586" y="39817"/>
                      </a:lnTo>
                      <a:lnTo>
                        <a:pt x="498698" y="48098"/>
                      </a:lnTo>
                      <a:lnTo>
                        <a:pt x="495432" y="59768"/>
                      </a:lnTo>
                      <a:lnTo>
                        <a:pt x="490150" y="70538"/>
                      </a:lnTo>
                      <a:lnTo>
                        <a:pt x="488486" y="87283"/>
                      </a:lnTo>
                      <a:lnTo>
                        <a:pt x="495092" y="103154"/>
                      </a:lnTo>
                      <a:lnTo>
                        <a:pt x="512663" y="132674"/>
                      </a:lnTo>
                      <a:lnTo>
                        <a:pt x="514375" y="140421"/>
                      </a:lnTo>
                      <a:lnTo>
                        <a:pt x="516051" y="156535"/>
                      </a:lnTo>
                      <a:lnTo>
                        <a:pt x="518686" y="163820"/>
                      </a:lnTo>
                      <a:lnTo>
                        <a:pt x="526263" y="172952"/>
                      </a:lnTo>
                      <a:lnTo>
                        <a:pt x="527939" y="176655"/>
                      </a:lnTo>
                      <a:lnTo>
                        <a:pt x="539535" y="216824"/>
                      </a:lnTo>
                      <a:lnTo>
                        <a:pt x="543773" y="224086"/>
                      </a:lnTo>
                      <a:lnTo>
                        <a:pt x="551192" y="230497"/>
                      </a:lnTo>
                      <a:lnTo>
                        <a:pt x="559450" y="233824"/>
                      </a:lnTo>
                      <a:lnTo>
                        <a:pt x="602181" y="240624"/>
                      </a:lnTo>
                      <a:lnTo>
                        <a:pt x="612927" y="244874"/>
                      </a:lnTo>
                      <a:lnTo>
                        <a:pt x="629053" y="256556"/>
                      </a:lnTo>
                      <a:lnTo>
                        <a:pt x="638646" y="268456"/>
                      </a:lnTo>
                      <a:lnTo>
                        <a:pt x="645701" y="272293"/>
                      </a:lnTo>
                      <a:lnTo>
                        <a:pt x="654432" y="274649"/>
                      </a:lnTo>
                      <a:lnTo>
                        <a:pt x="661268" y="277490"/>
                      </a:lnTo>
                      <a:lnTo>
                        <a:pt x="666672" y="282372"/>
                      </a:lnTo>
                      <a:lnTo>
                        <a:pt x="667740" y="284327"/>
                      </a:lnTo>
                      <a:lnTo>
                        <a:pt x="671371" y="290836"/>
                      </a:lnTo>
                      <a:lnTo>
                        <a:pt x="673107" y="295668"/>
                      </a:lnTo>
                      <a:lnTo>
                        <a:pt x="673678" y="300574"/>
                      </a:lnTo>
                      <a:lnTo>
                        <a:pt x="673107" y="305456"/>
                      </a:lnTo>
                      <a:lnTo>
                        <a:pt x="671371" y="310276"/>
                      </a:lnTo>
                      <a:lnTo>
                        <a:pt x="657698" y="322735"/>
                      </a:lnTo>
                      <a:lnTo>
                        <a:pt x="639435" y="330154"/>
                      </a:lnTo>
                      <a:lnTo>
                        <a:pt x="625191" y="339395"/>
                      </a:lnTo>
                      <a:lnTo>
                        <a:pt x="623540" y="357270"/>
                      </a:lnTo>
                      <a:lnTo>
                        <a:pt x="632781" y="383000"/>
                      </a:lnTo>
                      <a:lnTo>
                        <a:pt x="635938" y="396467"/>
                      </a:lnTo>
                      <a:lnTo>
                        <a:pt x="637201" y="410055"/>
                      </a:lnTo>
                      <a:lnTo>
                        <a:pt x="634857" y="450272"/>
                      </a:lnTo>
                      <a:lnTo>
                        <a:pt x="638524" y="462561"/>
                      </a:lnTo>
                      <a:lnTo>
                        <a:pt x="642884" y="469543"/>
                      </a:lnTo>
                      <a:lnTo>
                        <a:pt x="660066" y="484952"/>
                      </a:lnTo>
                      <a:lnTo>
                        <a:pt x="660406" y="485244"/>
                      </a:lnTo>
                      <a:lnTo>
                        <a:pt x="670849" y="501346"/>
                      </a:lnTo>
                      <a:lnTo>
                        <a:pt x="673775" y="502936"/>
                      </a:lnTo>
                      <a:lnTo>
                        <a:pt x="680733" y="504879"/>
                      </a:lnTo>
                      <a:lnTo>
                        <a:pt x="683939" y="506312"/>
                      </a:lnTo>
                      <a:lnTo>
                        <a:pt x="687108" y="508206"/>
                      </a:lnTo>
                      <a:lnTo>
                        <a:pt x="689525" y="510963"/>
                      </a:lnTo>
                      <a:lnTo>
                        <a:pt x="690326" y="514958"/>
                      </a:lnTo>
                      <a:lnTo>
                        <a:pt x="690666" y="519900"/>
                      </a:lnTo>
                      <a:lnTo>
                        <a:pt x="692220" y="521041"/>
                      </a:lnTo>
                      <a:lnTo>
                        <a:pt x="698219" y="518491"/>
                      </a:lnTo>
                      <a:lnTo>
                        <a:pt x="697976" y="517471"/>
                      </a:lnTo>
                      <a:lnTo>
                        <a:pt x="703878" y="517908"/>
                      </a:lnTo>
                      <a:lnTo>
                        <a:pt x="718121" y="525170"/>
                      </a:lnTo>
                      <a:lnTo>
                        <a:pt x="724666" y="527319"/>
                      </a:lnTo>
                      <a:lnTo>
                        <a:pt x="739711" y="527878"/>
                      </a:lnTo>
                      <a:lnTo>
                        <a:pt x="746099" y="531035"/>
                      </a:lnTo>
                      <a:lnTo>
                        <a:pt x="746669" y="538770"/>
                      </a:lnTo>
                      <a:lnTo>
                        <a:pt x="745054" y="541976"/>
                      </a:lnTo>
                      <a:lnTo>
                        <a:pt x="740974" y="547683"/>
                      </a:lnTo>
                      <a:lnTo>
                        <a:pt x="739602" y="551642"/>
                      </a:lnTo>
                      <a:lnTo>
                        <a:pt x="738789" y="562667"/>
                      </a:lnTo>
                      <a:lnTo>
                        <a:pt x="737598" y="566662"/>
                      </a:lnTo>
                      <a:lnTo>
                        <a:pt x="737708" y="574495"/>
                      </a:lnTo>
                      <a:lnTo>
                        <a:pt x="741497" y="579983"/>
                      </a:lnTo>
                      <a:lnTo>
                        <a:pt x="752462" y="589200"/>
                      </a:lnTo>
                      <a:lnTo>
                        <a:pt x="756080" y="595720"/>
                      </a:lnTo>
                      <a:lnTo>
                        <a:pt x="757355" y="602144"/>
                      </a:lnTo>
                      <a:lnTo>
                        <a:pt x="759237" y="608203"/>
                      </a:lnTo>
                      <a:lnTo>
                        <a:pt x="764410" y="613607"/>
                      </a:lnTo>
                      <a:lnTo>
                        <a:pt x="768830" y="618428"/>
                      </a:lnTo>
                      <a:lnTo>
                        <a:pt x="769802" y="625252"/>
                      </a:lnTo>
                      <a:lnTo>
                        <a:pt x="768029" y="632756"/>
                      </a:lnTo>
                      <a:lnTo>
                        <a:pt x="764410" y="639617"/>
                      </a:lnTo>
                      <a:lnTo>
                        <a:pt x="756602" y="648603"/>
                      </a:lnTo>
                      <a:lnTo>
                        <a:pt x="738218" y="662519"/>
                      </a:lnTo>
                      <a:lnTo>
                        <a:pt x="730240" y="671104"/>
                      </a:lnTo>
                      <a:lnTo>
                        <a:pt x="726791" y="672027"/>
                      </a:lnTo>
                      <a:lnTo>
                        <a:pt x="723124" y="670825"/>
                      </a:lnTo>
                      <a:lnTo>
                        <a:pt x="719214" y="669064"/>
                      </a:lnTo>
                      <a:lnTo>
                        <a:pt x="716215" y="668481"/>
                      </a:lnTo>
                      <a:lnTo>
                        <a:pt x="716215" y="669112"/>
                      </a:lnTo>
                      <a:lnTo>
                        <a:pt x="711673" y="669865"/>
                      </a:lnTo>
                      <a:lnTo>
                        <a:pt x="706112" y="671505"/>
                      </a:lnTo>
                      <a:lnTo>
                        <a:pt x="700769" y="673799"/>
                      </a:lnTo>
                      <a:lnTo>
                        <a:pt x="697017" y="676519"/>
                      </a:lnTo>
                      <a:lnTo>
                        <a:pt x="695135" y="681231"/>
                      </a:lnTo>
                      <a:lnTo>
                        <a:pt x="693058" y="693580"/>
                      </a:lnTo>
                      <a:lnTo>
                        <a:pt x="689962" y="697721"/>
                      </a:lnTo>
                      <a:lnTo>
                        <a:pt x="688250" y="697855"/>
                      </a:lnTo>
                      <a:lnTo>
                        <a:pt x="683247" y="696616"/>
                      </a:lnTo>
                      <a:lnTo>
                        <a:pt x="681122" y="696397"/>
                      </a:lnTo>
                      <a:lnTo>
                        <a:pt x="678596" y="697053"/>
                      </a:lnTo>
                      <a:lnTo>
                        <a:pt x="673945" y="699117"/>
                      </a:lnTo>
                      <a:lnTo>
                        <a:pt x="671359" y="699640"/>
                      </a:lnTo>
                      <a:lnTo>
                        <a:pt x="665214" y="702797"/>
                      </a:lnTo>
                      <a:lnTo>
                        <a:pt x="659179" y="701048"/>
                      </a:lnTo>
                      <a:lnTo>
                        <a:pt x="653618" y="696567"/>
                      </a:lnTo>
                      <a:lnTo>
                        <a:pt x="648737" y="691540"/>
                      </a:lnTo>
                      <a:lnTo>
                        <a:pt x="632939" y="678766"/>
                      </a:lnTo>
                      <a:lnTo>
                        <a:pt x="629842" y="672039"/>
                      </a:lnTo>
                      <a:lnTo>
                        <a:pt x="626515" y="661195"/>
                      </a:lnTo>
                      <a:lnTo>
                        <a:pt x="626114" y="658087"/>
                      </a:lnTo>
                      <a:lnTo>
                        <a:pt x="627195" y="654334"/>
                      </a:lnTo>
                      <a:lnTo>
                        <a:pt x="628749" y="650740"/>
                      </a:lnTo>
                      <a:lnTo>
                        <a:pt x="629101" y="647207"/>
                      </a:lnTo>
                      <a:lnTo>
                        <a:pt x="626454" y="643649"/>
                      </a:lnTo>
                      <a:lnTo>
                        <a:pt x="622034" y="642046"/>
                      </a:lnTo>
                      <a:lnTo>
                        <a:pt x="618537" y="643673"/>
                      </a:lnTo>
                      <a:lnTo>
                        <a:pt x="612963" y="650084"/>
                      </a:lnTo>
                      <a:lnTo>
                        <a:pt x="609746" y="652804"/>
                      </a:lnTo>
                      <a:lnTo>
                        <a:pt x="606467" y="654480"/>
                      </a:lnTo>
                      <a:lnTo>
                        <a:pt x="598890" y="656168"/>
                      </a:lnTo>
                      <a:lnTo>
                        <a:pt x="572187" y="656945"/>
                      </a:lnTo>
                      <a:lnTo>
                        <a:pt x="564841" y="658572"/>
                      </a:lnTo>
                      <a:lnTo>
                        <a:pt x="560421" y="660843"/>
                      </a:lnTo>
                      <a:lnTo>
                        <a:pt x="559741" y="664923"/>
                      </a:lnTo>
                      <a:lnTo>
                        <a:pt x="555600" y="667509"/>
                      </a:lnTo>
                      <a:lnTo>
                        <a:pt x="547039" y="676665"/>
                      </a:lnTo>
                      <a:lnTo>
                        <a:pt x="545084" y="676896"/>
                      </a:lnTo>
                      <a:lnTo>
                        <a:pt x="543360" y="676349"/>
                      </a:lnTo>
                      <a:lnTo>
                        <a:pt x="541174" y="674795"/>
                      </a:lnTo>
                      <a:lnTo>
                        <a:pt x="539644" y="672622"/>
                      </a:lnTo>
                      <a:lnTo>
                        <a:pt x="539001" y="669889"/>
                      </a:lnTo>
                      <a:lnTo>
                        <a:pt x="539644" y="666829"/>
                      </a:lnTo>
                      <a:lnTo>
                        <a:pt x="541138" y="664000"/>
                      </a:lnTo>
                      <a:lnTo>
                        <a:pt x="542000" y="661365"/>
                      </a:lnTo>
                      <a:lnTo>
                        <a:pt x="543202" y="655014"/>
                      </a:lnTo>
                      <a:lnTo>
                        <a:pt x="544465" y="652258"/>
                      </a:lnTo>
                      <a:lnTo>
                        <a:pt x="545315" y="650679"/>
                      </a:lnTo>
                      <a:lnTo>
                        <a:pt x="547039" y="648846"/>
                      </a:lnTo>
                      <a:lnTo>
                        <a:pt x="550719" y="646150"/>
                      </a:lnTo>
                      <a:lnTo>
                        <a:pt x="555539" y="643284"/>
                      </a:lnTo>
                      <a:lnTo>
                        <a:pt x="557373" y="641584"/>
                      </a:lnTo>
                      <a:lnTo>
                        <a:pt x="558527" y="639690"/>
                      </a:lnTo>
                      <a:lnTo>
                        <a:pt x="559110" y="637905"/>
                      </a:lnTo>
                      <a:lnTo>
                        <a:pt x="559680" y="635440"/>
                      </a:lnTo>
                      <a:lnTo>
                        <a:pt x="560372" y="629126"/>
                      </a:lnTo>
                      <a:lnTo>
                        <a:pt x="560190" y="625993"/>
                      </a:lnTo>
                      <a:lnTo>
                        <a:pt x="559741" y="622884"/>
                      </a:lnTo>
                      <a:lnTo>
                        <a:pt x="558296" y="617723"/>
                      </a:lnTo>
                      <a:lnTo>
                        <a:pt x="557725" y="616230"/>
                      </a:lnTo>
                      <a:lnTo>
                        <a:pt x="557033" y="615368"/>
                      </a:lnTo>
                      <a:lnTo>
                        <a:pt x="555879" y="614858"/>
                      </a:lnTo>
                      <a:lnTo>
                        <a:pt x="554507" y="614651"/>
                      </a:lnTo>
                      <a:lnTo>
                        <a:pt x="550877" y="614821"/>
                      </a:lnTo>
                      <a:lnTo>
                        <a:pt x="549286" y="615052"/>
                      </a:lnTo>
                      <a:lnTo>
                        <a:pt x="547841" y="615489"/>
                      </a:lnTo>
                      <a:lnTo>
                        <a:pt x="547440" y="616351"/>
                      </a:lnTo>
                      <a:lnTo>
                        <a:pt x="547841" y="619873"/>
                      </a:lnTo>
                      <a:lnTo>
                        <a:pt x="547210" y="621597"/>
                      </a:lnTo>
                      <a:lnTo>
                        <a:pt x="545485" y="622836"/>
                      </a:lnTo>
                      <a:lnTo>
                        <a:pt x="540664" y="624499"/>
                      </a:lnTo>
                      <a:lnTo>
                        <a:pt x="538661" y="625701"/>
                      </a:lnTo>
                      <a:lnTo>
                        <a:pt x="535904" y="629441"/>
                      </a:lnTo>
                      <a:lnTo>
                        <a:pt x="534010" y="630473"/>
                      </a:lnTo>
                      <a:lnTo>
                        <a:pt x="531023" y="631044"/>
                      </a:lnTo>
                      <a:lnTo>
                        <a:pt x="527295" y="630643"/>
                      </a:lnTo>
                      <a:lnTo>
                        <a:pt x="524186" y="630668"/>
                      </a:lnTo>
                      <a:lnTo>
                        <a:pt x="521782" y="631323"/>
                      </a:lnTo>
                      <a:lnTo>
                        <a:pt x="517253" y="634432"/>
                      </a:lnTo>
                      <a:lnTo>
                        <a:pt x="512991" y="634954"/>
                      </a:lnTo>
                      <a:lnTo>
                        <a:pt x="509785" y="635756"/>
                      </a:lnTo>
                      <a:lnTo>
                        <a:pt x="507818" y="636958"/>
                      </a:lnTo>
                      <a:lnTo>
                        <a:pt x="506786" y="638658"/>
                      </a:lnTo>
                      <a:lnTo>
                        <a:pt x="505705" y="639654"/>
                      </a:lnTo>
                      <a:lnTo>
                        <a:pt x="504041" y="640467"/>
                      </a:lnTo>
                      <a:lnTo>
                        <a:pt x="502718" y="641439"/>
                      </a:lnTo>
                      <a:lnTo>
                        <a:pt x="501382" y="643539"/>
                      </a:lnTo>
                      <a:lnTo>
                        <a:pt x="499318" y="646065"/>
                      </a:lnTo>
                      <a:lnTo>
                        <a:pt x="496391" y="647498"/>
                      </a:lnTo>
                      <a:lnTo>
                        <a:pt x="489968" y="647729"/>
                      </a:lnTo>
                      <a:lnTo>
                        <a:pt x="487260" y="645628"/>
                      </a:lnTo>
                      <a:lnTo>
                        <a:pt x="486058" y="642847"/>
                      </a:lnTo>
                      <a:lnTo>
                        <a:pt x="485147" y="639860"/>
                      </a:lnTo>
                      <a:lnTo>
                        <a:pt x="483362" y="637274"/>
                      </a:lnTo>
                      <a:lnTo>
                        <a:pt x="478772" y="632599"/>
                      </a:lnTo>
                      <a:lnTo>
                        <a:pt x="476756" y="629988"/>
                      </a:lnTo>
                      <a:lnTo>
                        <a:pt x="475542" y="626733"/>
                      </a:lnTo>
                      <a:lnTo>
                        <a:pt x="474923" y="615938"/>
                      </a:lnTo>
                      <a:lnTo>
                        <a:pt x="473769" y="613267"/>
                      </a:lnTo>
                      <a:lnTo>
                        <a:pt x="471474" y="610025"/>
                      </a:lnTo>
                      <a:lnTo>
                        <a:pt x="468317" y="607475"/>
                      </a:lnTo>
                      <a:lnTo>
                        <a:pt x="461602" y="592830"/>
                      </a:lnTo>
                      <a:lnTo>
                        <a:pt x="455227" y="585022"/>
                      </a:lnTo>
                      <a:lnTo>
                        <a:pt x="444262" y="574082"/>
                      </a:lnTo>
                      <a:lnTo>
                        <a:pt x="439890" y="568970"/>
                      </a:lnTo>
                      <a:lnTo>
                        <a:pt x="438117" y="565934"/>
                      </a:lnTo>
                      <a:lnTo>
                        <a:pt x="435944" y="563602"/>
                      </a:lnTo>
                      <a:lnTo>
                        <a:pt x="434329" y="563202"/>
                      </a:lnTo>
                      <a:lnTo>
                        <a:pt x="432604" y="563457"/>
                      </a:lnTo>
                      <a:lnTo>
                        <a:pt x="430929" y="564549"/>
                      </a:lnTo>
                      <a:lnTo>
                        <a:pt x="427371" y="566152"/>
                      </a:lnTo>
                      <a:lnTo>
                        <a:pt x="427031" y="566359"/>
                      </a:lnTo>
                      <a:lnTo>
                        <a:pt x="424505" y="569091"/>
                      </a:lnTo>
                      <a:lnTo>
                        <a:pt x="423011" y="570317"/>
                      </a:lnTo>
                      <a:lnTo>
                        <a:pt x="421396" y="571277"/>
                      </a:lnTo>
                      <a:lnTo>
                        <a:pt x="417899" y="572224"/>
                      </a:lnTo>
                      <a:lnTo>
                        <a:pt x="416187" y="572880"/>
                      </a:lnTo>
                      <a:lnTo>
                        <a:pt x="414633" y="574106"/>
                      </a:lnTo>
                      <a:lnTo>
                        <a:pt x="409691" y="578987"/>
                      </a:lnTo>
                      <a:lnTo>
                        <a:pt x="407056" y="580918"/>
                      </a:lnTo>
                      <a:lnTo>
                        <a:pt x="404530" y="582266"/>
                      </a:lnTo>
                      <a:lnTo>
                        <a:pt x="401822" y="583322"/>
                      </a:lnTo>
                      <a:lnTo>
                        <a:pt x="394075" y="585229"/>
                      </a:lnTo>
                      <a:lnTo>
                        <a:pt x="390286" y="586917"/>
                      </a:lnTo>
                      <a:lnTo>
                        <a:pt x="383972" y="588325"/>
                      </a:lnTo>
                      <a:lnTo>
                        <a:pt x="374610" y="589273"/>
                      </a:lnTo>
                      <a:lnTo>
                        <a:pt x="373699" y="589758"/>
                      </a:lnTo>
                      <a:lnTo>
                        <a:pt x="372946" y="590499"/>
                      </a:lnTo>
                      <a:lnTo>
                        <a:pt x="371562" y="593013"/>
                      </a:lnTo>
                      <a:lnTo>
                        <a:pt x="370360" y="594069"/>
                      </a:lnTo>
                      <a:lnTo>
                        <a:pt x="366122" y="594045"/>
                      </a:lnTo>
                      <a:lnTo>
                        <a:pt x="341982" y="586771"/>
                      </a:lnTo>
                      <a:lnTo>
                        <a:pt x="326196" y="581586"/>
                      </a:lnTo>
                      <a:lnTo>
                        <a:pt x="317295" y="576668"/>
                      </a:lnTo>
                      <a:lnTo>
                        <a:pt x="300708" y="564719"/>
                      </a:lnTo>
                      <a:lnTo>
                        <a:pt x="292487" y="560992"/>
                      </a:lnTo>
                      <a:lnTo>
                        <a:pt x="289512" y="559073"/>
                      </a:lnTo>
                      <a:lnTo>
                        <a:pt x="287096" y="556620"/>
                      </a:lnTo>
                      <a:lnTo>
                        <a:pt x="282505" y="550792"/>
                      </a:lnTo>
                      <a:lnTo>
                        <a:pt x="272281" y="542182"/>
                      </a:lnTo>
                      <a:lnTo>
                        <a:pt x="268711" y="539948"/>
                      </a:lnTo>
                      <a:lnTo>
                        <a:pt x="257345" y="527113"/>
                      </a:lnTo>
                      <a:lnTo>
                        <a:pt x="257248" y="527040"/>
                      </a:lnTo>
                      <a:cubicBezTo>
                        <a:pt x="257272" y="524247"/>
                        <a:pt x="257175" y="521648"/>
                        <a:pt x="256653" y="518880"/>
                      </a:cubicBezTo>
                      <a:lnTo>
                        <a:pt x="256665" y="518746"/>
                      </a:lnTo>
                      <a:lnTo>
                        <a:pt x="257236" y="517204"/>
                      </a:lnTo>
                      <a:lnTo>
                        <a:pt x="258888" y="516111"/>
                      </a:lnTo>
                      <a:lnTo>
                        <a:pt x="259470" y="514666"/>
                      </a:lnTo>
                      <a:lnTo>
                        <a:pt x="260502" y="513403"/>
                      </a:lnTo>
                      <a:lnTo>
                        <a:pt x="261547" y="511315"/>
                      </a:lnTo>
                      <a:lnTo>
                        <a:pt x="262348" y="510137"/>
                      </a:lnTo>
                      <a:lnTo>
                        <a:pt x="262688" y="506640"/>
                      </a:lnTo>
                      <a:lnTo>
                        <a:pt x="261887" y="505936"/>
                      </a:lnTo>
                      <a:lnTo>
                        <a:pt x="261316" y="504964"/>
                      </a:lnTo>
                      <a:lnTo>
                        <a:pt x="262178" y="504223"/>
                      </a:lnTo>
                      <a:lnTo>
                        <a:pt x="262810" y="503932"/>
                      </a:lnTo>
                      <a:lnTo>
                        <a:pt x="265505" y="503653"/>
                      </a:lnTo>
                      <a:lnTo>
                        <a:pt x="266768" y="504017"/>
                      </a:lnTo>
                      <a:lnTo>
                        <a:pt x="269063" y="506749"/>
                      </a:lnTo>
                      <a:lnTo>
                        <a:pt x="270265" y="507781"/>
                      </a:lnTo>
                      <a:lnTo>
                        <a:pt x="271188" y="507903"/>
                      </a:lnTo>
                      <a:lnTo>
                        <a:pt x="271759" y="506178"/>
                      </a:lnTo>
                      <a:lnTo>
                        <a:pt x="271528" y="505656"/>
                      </a:lnTo>
                      <a:lnTo>
                        <a:pt x="269063" y="504078"/>
                      </a:lnTo>
                      <a:lnTo>
                        <a:pt x="266987" y="500398"/>
                      </a:lnTo>
                      <a:lnTo>
                        <a:pt x="265105" y="498018"/>
                      </a:lnTo>
                      <a:lnTo>
                        <a:pt x="265105" y="495432"/>
                      </a:lnTo>
                      <a:lnTo>
                        <a:pt x="265615" y="490903"/>
                      </a:lnTo>
                      <a:lnTo>
                        <a:pt x="264182" y="488207"/>
                      </a:lnTo>
                      <a:lnTo>
                        <a:pt x="260223" y="484236"/>
                      </a:lnTo>
                      <a:lnTo>
                        <a:pt x="255973" y="483690"/>
                      </a:lnTo>
                      <a:lnTo>
                        <a:pt x="253557" y="481249"/>
                      </a:lnTo>
                      <a:lnTo>
                        <a:pt x="252063" y="477715"/>
                      </a:lnTo>
                      <a:lnTo>
                        <a:pt x="251262" y="473247"/>
                      </a:lnTo>
                      <a:lnTo>
                        <a:pt x="252015" y="469992"/>
                      </a:lnTo>
                      <a:lnTo>
                        <a:pt x="252063" y="469822"/>
                      </a:lnTo>
                      <a:lnTo>
                        <a:pt x="248056" y="466981"/>
                      </a:lnTo>
                      <a:lnTo>
                        <a:pt x="244887" y="465888"/>
                      </a:lnTo>
                      <a:lnTo>
                        <a:pt x="242021" y="465439"/>
                      </a:lnTo>
                      <a:lnTo>
                        <a:pt x="238002" y="463314"/>
                      </a:lnTo>
                      <a:lnTo>
                        <a:pt x="235415" y="458481"/>
                      </a:lnTo>
                      <a:lnTo>
                        <a:pt x="231396" y="455591"/>
                      </a:lnTo>
                      <a:lnTo>
                        <a:pt x="226867" y="453004"/>
                      </a:lnTo>
                      <a:lnTo>
                        <a:pt x="222325" y="447856"/>
                      </a:lnTo>
                      <a:lnTo>
                        <a:pt x="218415" y="442574"/>
                      </a:lnTo>
                      <a:lnTo>
                        <a:pt x="218306" y="442404"/>
                      </a:lnTo>
                      <a:lnTo>
                        <a:pt x="213424" y="443752"/>
                      </a:lnTo>
                      <a:lnTo>
                        <a:pt x="209854" y="444444"/>
                      </a:lnTo>
                      <a:lnTo>
                        <a:pt x="206588" y="442634"/>
                      </a:lnTo>
                      <a:lnTo>
                        <a:pt x="204463" y="439392"/>
                      </a:lnTo>
                      <a:lnTo>
                        <a:pt x="201415" y="435458"/>
                      </a:lnTo>
                      <a:lnTo>
                        <a:pt x="196424" y="430006"/>
                      </a:lnTo>
                      <a:lnTo>
                        <a:pt x="192065" y="429459"/>
                      </a:lnTo>
                      <a:lnTo>
                        <a:pt x="189248" y="432556"/>
                      </a:lnTo>
                      <a:lnTo>
                        <a:pt x="185811" y="434887"/>
                      </a:lnTo>
                      <a:lnTo>
                        <a:pt x="181331" y="436199"/>
                      </a:lnTo>
                      <a:lnTo>
                        <a:pt x="177469" y="437984"/>
                      </a:lnTo>
                      <a:lnTo>
                        <a:pt x="174433" y="436696"/>
                      </a:lnTo>
                      <a:lnTo>
                        <a:pt x="174883" y="432155"/>
                      </a:lnTo>
                      <a:lnTo>
                        <a:pt x="176376" y="425343"/>
                      </a:lnTo>
                      <a:lnTo>
                        <a:pt x="178404" y="419296"/>
                      </a:lnTo>
                      <a:lnTo>
                        <a:pt x="179594" y="412945"/>
                      </a:lnTo>
                      <a:lnTo>
                        <a:pt x="179898" y="408331"/>
                      </a:lnTo>
                      <a:lnTo>
                        <a:pt x="179533" y="405538"/>
                      </a:lnTo>
                      <a:lnTo>
                        <a:pt x="178161" y="400231"/>
                      </a:lnTo>
                      <a:lnTo>
                        <a:pt x="173911" y="395750"/>
                      </a:lnTo>
                      <a:lnTo>
                        <a:pt x="171798" y="391015"/>
                      </a:lnTo>
                      <a:lnTo>
                        <a:pt x="168799" y="386595"/>
                      </a:lnTo>
                      <a:lnTo>
                        <a:pt x="161914" y="375763"/>
                      </a:lnTo>
                      <a:lnTo>
                        <a:pt x="159109" y="370736"/>
                      </a:lnTo>
                      <a:lnTo>
                        <a:pt x="153074" y="366692"/>
                      </a:lnTo>
                      <a:lnTo>
                        <a:pt x="149686" y="361471"/>
                      </a:lnTo>
                      <a:lnTo>
                        <a:pt x="145958" y="356359"/>
                      </a:lnTo>
                      <a:lnTo>
                        <a:pt x="140275" y="349037"/>
                      </a:lnTo>
                      <a:lnTo>
                        <a:pt x="135855" y="345649"/>
                      </a:lnTo>
                      <a:lnTo>
                        <a:pt x="133208" y="344131"/>
                      </a:lnTo>
                      <a:lnTo>
                        <a:pt x="126481" y="347519"/>
                      </a:lnTo>
                      <a:lnTo>
                        <a:pt x="120337" y="349170"/>
                      </a:lnTo>
                      <a:lnTo>
                        <a:pt x="114484" y="349401"/>
                      </a:lnTo>
                      <a:lnTo>
                        <a:pt x="108218" y="348284"/>
                      </a:lnTo>
                      <a:lnTo>
                        <a:pt x="102778" y="345406"/>
                      </a:lnTo>
                      <a:lnTo>
                        <a:pt x="97083" y="340549"/>
                      </a:lnTo>
                      <a:lnTo>
                        <a:pt x="92213" y="336044"/>
                      </a:lnTo>
                      <a:lnTo>
                        <a:pt x="87551" y="330251"/>
                      </a:lnTo>
                      <a:lnTo>
                        <a:pt x="82778" y="325601"/>
                      </a:lnTo>
                      <a:lnTo>
                        <a:pt x="77678" y="317999"/>
                      </a:lnTo>
                      <a:lnTo>
                        <a:pt x="74643" y="308601"/>
                      </a:lnTo>
                      <a:lnTo>
                        <a:pt x="70041" y="302517"/>
                      </a:lnTo>
                      <a:lnTo>
                        <a:pt x="64868" y="299323"/>
                      </a:lnTo>
                      <a:lnTo>
                        <a:pt x="64588" y="299178"/>
                      </a:lnTo>
                      <a:lnTo>
                        <a:pt x="64030" y="300076"/>
                      </a:lnTo>
                      <a:lnTo>
                        <a:pt x="61043" y="299360"/>
                      </a:lnTo>
                      <a:lnTo>
                        <a:pt x="58480" y="299263"/>
                      </a:lnTo>
                      <a:lnTo>
                        <a:pt x="54400" y="297611"/>
                      </a:lnTo>
                      <a:lnTo>
                        <a:pt x="51571" y="295996"/>
                      </a:lnTo>
                      <a:lnTo>
                        <a:pt x="48365" y="295705"/>
                      </a:lnTo>
                      <a:lnTo>
                        <a:pt x="44055" y="293968"/>
                      </a:lnTo>
                      <a:lnTo>
                        <a:pt x="38724" y="288905"/>
                      </a:lnTo>
                      <a:lnTo>
                        <a:pt x="33029" y="284169"/>
                      </a:lnTo>
                      <a:lnTo>
                        <a:pt x="28099" y="278292"/>
                      </a:lnTo>
                      <a:lnTo>
                        <a:pt x="23606" y="273277"/>
                      </a:lnTo>
                      <a:lnTo>
                        <a:pt x="20522" y="270350"/>
                      </a:lnTo>
                      <a:lnTo>
                        <a:pt x="17304" y="265809"/>
                      </a:lnTo>
                      <a:lnTo>
                        <a:pt x="13624" y="262870"/>
                      </a:lnTo>
                      <a:lnTo>
                        <a:pt x="14596" y="258815"/>
                      </a:lnTo>
                      <a:lnTo>
                        <a:pt x="13454" y="257248"/>
                      </a:lnTo>
                      <a:lnTo>
                        <a:pt x="13163" y="255427"/>
                      </a:lnTo>
                      <a:lnTo>
                        <a:pt x="11839" y="252245"/>
                      </a:lnTo>
                      <a:lnTo>
                        <a:pt x="10115" y="249647"/>
                      </a:lnTo>
                      <a:lnTo>
                        <a:pt x="8682" y="246866"/>
                      </a:lnTo>
                      <a:lnTo>
                        <a:pt x="7529" y="243369"/>
                      </a:lnTo>
                      <a:lnTo>
                        <a:pt x="7395" y="242507"/>
                      </a:lnTo>
                      <a:lnTo>
                        <a:pt x="40290" y="250825"/>
                      </a:lnTo>
                      <a:lnTo>
                        <a:pt x="48572" y="251104"/>
                      </a:lnTo>
                      <a:lnTo>
                        <a:pt x="59476" y="248663"/>
                      </a:lnTo>
                      <a:lnTo>
                        <a:pt x="63435" y="248663"/>
                      </a:lnTo>
                      <a:lnTo>
                        <a:pt x="71364" y="249671"/>
                      </a:lnTo>
                      <a:lnTo>
                        <a:pt x="74861" y="248809"/>
                      </a:lnTo>
                      <a:lnTo>
                        <a:pt x="78662" y="245882"/>
                      </a:lnTo>
                      <a:lnTo>
                        <a:pt x="89506" y="235367"/>
                      </a:lnTo>
                      <a:lnTo>
                        <a:pt x="101746" y="226757"/>
                      </a:lnTo>
                      <a:lnTo>
                        <a:pt x="106846" y="225264"/>
                      </a:lnTo>
                      <a:lnTo>
                        <a:pt x="108169" y="224584"/>
                      </a:lnTo>
                      <a:lnTo>
                        <a:pt x="110634" y="221669"/>
                      </a:lnTo>
                      <a:lnTo>
                        <a:pt x="114544" y="215501"/>
                      </a:lnTo>
                      <a:lnTo>
                        <a:pt x="117532" y="212951"/>
                      </a:lnTo>
                      <a:lnTo>
                        <a:pt x="124077" y="211627"/>
                      </a:lnTo>
                      <a:lnTo>
                        <a:pt x="136025" y="216387"/>
                      </a:lnTo>
                      <a:lnTo>
                        <a:pt x="142218" y="216254"/>
                      </a:lnTo>
                      <a:lnTo>
                        <a:pt x="162315" y="211372"/>
                      </a:lnTo>
                      <a:lnTo>
                        <a:pt x="188155" y="197359"/>
                      </a:lnTo>
                      <a:lnTo>
                        <a:pt x="195344" y="194773"/>
                      </a:lnTo>
                      <a:lnTo>
                        <a:pt x="202520" y="195866"/>
                      </a:lnTo>
                      <a:lnTo>
                        <a:pt x="210668" y="201524"/>
                      </a:lnTo>
                      <a:lnTo>
                        <a:pt x="213655" y="202556"/>
                      </a:lnTo>
                      <a:lnTo>
                        <a:pt x="216921" y="202641"/>
                      </a:lnTo>
                      <a:lnTo>
                        <a:pt x="233120" y="199387"/>
                      </a:lnTo>
                      <a:lnTo>
                        <a:pt x="235537" y="198161"/>
                      </a:lnTo>
                      <a:lnTo>
                        <a:pt x="252707" y="182824"/>
                      </a:lnTo>
                      <a:lnTo>
                        <a:pt x="254419" y="178780"/>
                      </a:lnTo>
                      <a:lnTo>
                        <a:pt x="253739" y="167378"/>
                      </a:lnTo>
                      <a:lnTo>
                        <a:pt x="255293" y="162473"/>
                      </a:lnTo>
                      <a:lnTo>
                        <a:pt x="259822" y="159145"/>
                      </a:lnTo>
                      <a:lnTo>
                        <a:pt x="266428" y="157045"/>
                      </a:lnTo>
                      <a:lnTo>
                        <a:pt x="273083" y="156510"/>
                      </a:lnTo>
                      <a:lnTo>
                        <a:pt x="278134" y="157822"/>
                      </a:lnTo>
                      <a:lnTo>
                        <a:pt x="283076" y="160785"/>
                      </a:lnTo>
                      <a:lnTo>
                        <a:pt x="285942" y="161295"/>
                      </a:lnTo>
                      <a:lnTo>
                        <a:pt x="288298" y="159546"/>
                      </a:lnTo>
                      <a:lnTo>
                        <a:pt x="291916" y="155818"/>
                      </a:lnTo>
                      <a:lnTo>
                        <a:pt x="303173" y="147342"/>
                      </a:lnTo>
                      <a:lnTo>
                        <a:pt x="306099" y="143736"/>
                      </a:lnTo>
                      <a:lnTo>
                        <a:pt x="307313" y="137130"/>
                      </a:lnTo>
                      <a:lnTo>
                        <a:pt x="305820" y="131265"/>
                      </a:lnTo>
                      <a:lnTo>
                        <a:pt x="305067" y="126129"/>
                      </a:lnTo>
                      <a:lnTo>
                        <a:pt x="308686" y="121709"/>
                      </a:lnTo>
                      <a:lnTo>
                        <a:pt x="309888" y="120980"/>
                      </a:lnTo>
                      <a:lnTo>
                        <a:pt x="327507" y="110744"/>
                      </a:lnTo>
                      <a:lnTo>
                        <a:pt x="309888" y="120980"/>
                      </a:lnTo>
                      <a:lnTo>
                        <a:pt x="284448" y="63993"/>
                      </a:lnTo>
                      <a:lnTo>
                        <a:pt x="258960" y="6861"/>
                      </a:lnTo>
                      <a:lnTo>
                        <a:pt x="260005" y="6946"/>
                      </a:lnTo>
                      <a:lnTo>
                        <a:pt x="267800" y="6521"/>
                      </a:lnTo>
                      <a:moveTo>
                        <a:pt x="249246" y="0"/>
                      </a:moveTo>
                      <a:lnTo>
                        <a:pt x="253411" y="9338"/>
                      </a:lnTo>
                      <a:lnTo>
                        <a:pt x="278899" y="66470"/>
                      </a:lnTo>
                      <a:lnTo>
                        <a:pt x="302602" y="119559"/>
                      </a:lnTo>
                      <a:lnTo>
                        <a:pt x="300368" y="122279"/>
                      </a:lnTo>
                      <a:lnTo>
                        <a:pt x="298668" y="124356"/>
                      </a:lnTo>
                      <a:lnTo>
                        <a:pt x="299056" y="127003"/>
                      </a:lnTo>
                      <a:lnTo>
                        <a:pt x="299809" y="132139"/>
                      </a:lnTo>
                      <a:lnTo>
                        <a:pt x="299858" y="132455"/>
                      </a:lnTo>
                      <a:lnTo>
                        <a:pt x="299931" y="132759"/>
                      </a:lnTo>
                      <a:lnTo>
                        <a:pt x="301096" y="137324"/>
                      </a:lnTo>
                      <a:lnTo>
                        <a:pt x="300404" y="141101"/>
                      </a:lnTo>
                      <a:lnTo>
                        <a:pt x="298923" y="142922"/>
                      </a:lnTo>
                      <a:lnTo>
                        <a:pt x="288261" y="150949"/>
                      </a:lnTo>
                      <a:lnTo>
                        <a:pt x="287885" y="151228"/>
                      </a:lnTo>
                      <a:lnTo>
                        <a:pt x="287557" y="151556"/>
                      </a:lnTo>
                      <a:lnTo>
                        <a:pt x="284606" y="154592"/>
                      </a:lnTo>
                      <a:lnTo>
                        <a:pt x="281255" y="152576"/>
                      </a:lnTo>
                      <a:lnTo>
                        <a:pt x="280502" y="152127"/>
                      </a:lnTo>
                      <a:lnTo>
                        <a:pt x="279664" y="151908"/>
                      </a:lnTo>
                      <a:lnTo>
                        <a:pt x="274613" y="150597"/>
                      </a:lnTo>
                      <a:lnTo>
                        <a:pt x="273617" y="150342"/>
                      </a:lnTo>
                      <a:lnTo>
                        <a:pt x="272597" y="150427"/>
                      </a:lnTo>
                      <a:lnTo>
                        <a:pt x="265943" y="150961"/>
                      </a:lnTo>
                      <a:lnTo>
                        <a:pt x="265250" y="151022"/>
                      </a:lnTo>
                      <a:lnTo>
                        <a:pt x="264595" y="151228"/>
                      </a:lnTo>
                      <a:lnTo>
                        <a:pt x="257989" y="153329"/>
                      </a:lnTo>
                      <a:lnTo>
                        <a:pt x="257042" y="153632"/>
                      </a:lnTo>
                      <a:lnTo>
                        <a:pt x="256240" y="154227"/>
                      </a:lnTo>
                      <a:lnTo>
                        <a:pt x="251711" y="157555"/>
                      </a:lnTo>
                      <a:lnTo>
                        <a:pt x="250120" y="158720"/>
                      </a:lnTo>
                      <a:lnTo>
                        <a:pt x="249525" y="160615"/>
                      </a:lnTo>
                      <a:lnTo>
                        <a:pt x="247971" y="165520"/>
                      </a:lnTo>
                      <a:lnTo>
                        <a:pt x="247631" y="166589"/>
                      </a:lnTo>
                      <a:lnTo>
                        <a:pt x="247704" y="167706"/>
                      </a:lnTo>
                      <a:lnTo>
                        <a:pt x="248299" y="177688"/>
                      </a:lnTo>
                      <a:lnTo>
                        <a:pt x="247680" y="179169"/>
                      </a:lnTo>
                      <a:lnTo>
                        <a:pt x="232112" y="193085"/>
                      </a:lnTo>
                      <a:lnTo>
                        <a:pt x="231141" y="193583"/>
                      </a:lnTo>
                      <a:lnTo>
                        <a:pt x="216436" y="196533"/>
                      </a:lnTo>
                      <a:lnTo>
                        <a:pt x="214784" y="196497"/>
                      </a:lnTo>
                      <a:lnTo>
                        <a:pt x="213473" y="196036"/>
                      </a:lnTo>
                      <a:lnTo>
                        <a:pt x="206017" y="190863"/>
                      </a:lnTo>
                      <a:lnTo>
                        <a:pt x="204864" y="190061"/>
                      </a:lnTo>
                      <a:lnTo>
                        <a:pt x="203467" y="189855"/>
                      </a:lnTo>
                      <a:lnTo>
                        <a:pt x="196291" y="188762"/>
                      </a:lnTo>
                      <a:lnTo>
                        <a:pt x="194773" y="188531"/>
                      </a:lnTo>
                      <a:lnTo>
                        <a:pt x="193328" y="189041"/>
                      </a:lnTo>
                      <a:lnTo>
                        <a:pt x="186139" y="191628"/>
                      </a:lnTo>
                      <a:lnTo>
                        <a:pt x="185702" y="191786"/>
                      </a:lnTo>
                      <a:lnTo>
                        <a:pt x="185301" y="192004"/>
                      </a:lnTo>
                      <a:lnTo>
                        <a:pt x="160153" y="205641"/>
                      </a:lnTo>
                      <a:lnTo>
                        <a:pt x="141465" y="210194"/>
                      </a:lnTo>
                      <a:lnTo>
                        <a:pt x="137167" y="210279"/>
                      </a:lnTo>
                      <a:lnTo>
                        <a:pt x="126359" y="205981"/>
                      </a:lnTo>
                      <a:lnTo>
                        <a:pt x="124684" y="205313"/>
                      </a:lnTo>
                      <a:lnTo>
                        <a:pt x="122911" y="205665"/>
                      </a:lnTo>
                      <a:lnTo>
                        <a:pt x="116366" y="206989"/>
                      </a:lnTo>
                      <a:lnTo>
                        <a:pt x="114836" y="207304"/>
                      </a:lnTo>
                      <a:lnTo>
                        <a:pt x="113634" y="208324"/>
                      </a:lnTo>
                      <a:lnTo>
                        <a:pt x="110647" y="210874"/>
                      </a:lnTo>
                      <a:lnTo>
                        <a:pt x="109954" y="211469"/>
                      </a:lnTo>
                      <a:lnTo>
                        <a:pt x="109456" y="212246"/>
                      </a:lnTo>
                      <a:lnTo>
                        <a:pt x="105777" y="218063"/>
                      </a:lnTo>
                      <a:lnTo>
                        <a:pt x="104429" y="219641"/>
                      </a:lnTo>
                      <a:lnTo>
                        <a:pt x="100082" y="220916"/>
                      </a:lnTo>
                      <a:lnTo>
                        <a:pt x="99123" y="221196"/>
                      </a:lnTo>
                      <a:lnTo>
                        <a:pt x="98297" y="221766"/>
                      </a:lnTo>
                      <a:lnTo>
                        <a:pt x="86057" y="230376"/>
                      </a:lnTo>
                      <a:lnTo>
                        <a:pt x="85668" y="230655"/>
                      </a:lnTo>
                      <a:lnTo>
                        <a:pt x="85328" y="230983"/>
                      </a:lnTo>
                      <a:lnTo>
                        <a:pt x="74728" y="241256"/>
                      </a:lnTo>
                      <a:lnTo>
                        <a:pt x="72214" y="243187"/>
                      </a:lnTo>
                      <a:lnTo>
                        <a:pt x="71048" y="243478"/>
                      </a:lnTo>
                      <a:lnTo>
                        <a:pt x="64236" y="242616"/>
                      </a:lnTo>
                      <a:lnTo>
                        <a:pt x="63860" y="242567"/>
                      </a:lnTo>
                      <a:lnTo>
                        <a:pt x="63471" y="242567"/>
                      </a:lnTo>
                      <a:lnTo>
                        <a:pt x="59513" y="242567"/>
                      </a:lnTo>
                      <a:lnTo>
                        <a:pt x="58845" y="242567"/>
                      </a:lnTo>
                      <a:lnTo>
                        <a:pt x="58189" y="242713"/>
                      </a:lnTo>
                      <a:lnTo>
                        <a:pt x="48037" y="244984"/>
                      </a:lnTo>
                      <a:lnTo>
                        <a:pt x="41177" y="244753"/>
                      </a:lnTo>
                      <a:lnTo>
                        <a:pt x="8913" y="236593"/>
                      </a:lnTo>
                      <a:lnTo>
                        <a:pt x="0" y="234334"/>
                      </a:lnTo>
                      <a:lnTo>
                        <a:pt x="1433" y="243417"/>
                      </a:lnTo>
                      <a:lnTo>
                        <a:pt x="1579" y="244279"/>
                      </a:lnTo>
                      <a:lnTo>
                        <a:pt x="1651" y="244777"/>
                      </a:lnTo>
                      <a:lnTo>
                        <a:pt x="1809" y="245251"/>
                      </a:lnTo>
                      <a:lnTo>
                        <a:pt x="2963" y="248748"/>
                      </a:lnTo>
                      <a:lnTo>
                        <a:pt x="3109" y="249197"/>
                      </a:lnTo>
                      <a:lnTo>
                        <a:pt x="3327" y="249622"/>
                      </a:lnTo>
                      <a:lnTo>
                        <a:pt x="4760" y="252403"/>
                      </a:lnTo>
                      <a:lnTo>
                        <a:pt x="4918" y="252707"/>
                      </a:lnTo>
                      <a:lnTo>
                        <a:pt x="5112" y="252986"/>
                      </a:lnTo>
                      <a:lnTo>
                        <a:pt x="6509" y="255087"/>
                      </a:lnTo>
                      <a:lnTo>
                        <a:pt x="7334" y="257066"/>
                      </a:lnTo>
                      <a:lnTo>
                        <a:pt x="7517" y="258171"/>
                      </a:lnTo>
                      <a:lnTo>
                        <a:pt x="7747" y="259616"/>
                      </a:lnTo>
                      <a:lnTo>
                        <a:pt x="8099" y="260102"/>
                      </a:lnTo>
                      <a:lnTo>
                        <a:pt x="7784" y="261425"/>
                      </a:lnTo>
                      <a:lnTo>
                        <a:pt x="6885" y="265190"/>
                      </a:lnTo>
                      <a:lnTo>
                        <a:pt x="9909" y="267594"/>
                      </a:lnTo>
                      <a:lnTo>
                        <a:pt x="12920" y="269986"/>
                      </a:lnTo>
                      <a:lnTo>
                        <a:pt x="15640" y="273823"/>
                      </a:lnTo>
                      <a:lnTo>
                        <a:pt x="15980" y="274321"/>
                      </a:lnTo>
                      <a:lnTo>
                        <a:pt x="16417" y="274734"/>
                      </a:lnTo>
                      <a:lnTo>
                        <a:pt x="19502" y="277660"/>
                      </a:lnTo>
                      <a:lnTo>
                        <a:pt x="23642" y="282323"/>
                      </a:lnTo>
                      <a:lnTo>
                        <a:pt x="28451" y="288055"/>
                      </a:lnTo>
                      <a:lnTo>
                        <a:pt x="28803" y="288480"/>
                      </a:lnTo>
                      <a:lnTo>
                        <a:pt x="29216" y="288820"/>
                      </a:lnTo>
                      <a:lnTo>
                        <a:pt x="34911" y="293556"/>
                      </a:lnTo>
                      <a:lnTo>
                        <a:pt x="39950" y="298352"/>
                      </a:lnTo>
                      <a:lnTo>
                        <a:pt x="40788" y="299153"/>
                      </a:lnTo>
                      <a:lnTo>
                        <a:pt x="41857" y="299591"/>
                      </a:lnTo>
                      <a:lnTo>
                        <a:pt x="46167" y="301327"/>
                      </a:lnTo>
                      <a:lnTo>
                        <a:pt x="46993" y="301655"/>
                      </a:lnTo>
                      <a:lnTo>
                        <a:pt x="47892" y="301740"/>
                      </a:lnTo>
                      <a:lnTo>
                        <a:pt x="49786" y="301910"/>
                      </a:lnTo>
                      <a:lnTo>
                        <a:pt x="51474" y="302869"/>
                      </a:lnTo>
                      <a:lnTo>
                        <a:pt x="51826" y="303063"/>
                      </a:lnTo>
                      <a:lnTo>
                        <a:pt x="52203" y="303221"/>
                      </a:lnTo>
                      <a:lnTo>
                        <a:pt x="56283" y="304873"/>
                      </a:lnTo>
                      <a:lnTo>
                        <a:pt x="57278" y="305273"/>
                      </a:lnTo>
                      <a:lnTo>
                        <a:pt x="58347" y="305310"/>
                      </a:lnTo>
                      <a:lnTo>
                        <a:pt x="60314" y="305383"/>
                      </a:lnTo>
                      <a:lnTo>
                        <a:pt x="62706" y="305966"/>
                      </a:lnTo>
                      <a:lnTo>
                        <a:pt x="65123" y="306548"/>
                      </a:lnTo>
                      <a:lnTo>
                        <a:pt x="65985" y="307071"/>
                      </a:lnTo>
                      <a:lnTo>
                        <a:pt x="69275" y="311430"/>
                      </a:lnTo>
                      <a:lnTo>
                        <a:pt x="71995" y="319845"/>
                      </a:lnTo>
                      <a:lnTo>
                        <a:pt x="72251" y="320646"/>
                      </a:lnTo>
                      <a:lnTo>
                        <a:pt x="72724" y="321363"/>
                      </a:lnTo>
                      <a:lnTo>
                        <a:pt x="77824" y="328952"/>
                      </a:lnTo>
                      <a:lnTo>
                        <a:pt x="78176" y="329474"/>
                      </a:lnTo>
                      <a:lnTo>
                        <a:pt x="78638" y="329924"/>
                      </a:lnTo>
                      <a:lnTo>
                        <a:pt x="83143" y="334307"/>
                      </a:lnTo>
                      <a:lnTo>
                        <a:pt x="87587" y="339820"/>
                      </a:lnTo>
                      <a:lnTo>
                        <a:pt x="87866" y="340172"/>
                      </a:lnTo>
                      <a:lnTo>
                        <a:pt x="88182" y="340464"/>
                      </a:lnTo>
                      <a:lnTo>
                        <a:pt x="93051" y="344969"/>
                      </a:lnTo>
                      <a:lnTo>
                        <a:pt x="98941" y="349996"/>
                      </a:lnTo>
                      <a:lnTo>
                        <a:pt x="99451" y="350433"/>
                      </a:lnTo>
                      <a:lnTo>
                        <a:pt x="100034" y="350749"/>
                      </a:lnTo>
                      <a:lnTo>
                        <a:pt x="105474" y="353627"/>
                      </a:lnTo>
                      <a:lnTo>
                        <a:pt x="106311" y="354076"/>
                      </a:lnTo>
                      <a:lnTo>
                        <a:pt x="107259" y="354246"/>
                      </a:lnTo>
                      <a:lnTo>
                        <a:pt x="113524" y="355363"/>
                      </a:lnTo>
                      <a:lnTo>
                        <a:pt x="114168" y="355485"/>
                      </a:lnTo>
                      <a:lnTo>
                        <a:pt x="114824" y="355460"/>
                      </a:lnTo>
                      <a:lnTo>
                        <a:pt x="120677" y="355230"/>
                      </a:lnTo>
                      <a:lnTo>
                        <a:pt x="121369" y="355205"/>
                      </a:lnTo>
                      <a:lnTo>
                        <a:pt x="122024" y="355023"/>
                      </a:lnTo>
                      <a:lnTo>
                        <a:pt x="128169" y="353359"/>
                      </a:lnTo>
                      <a:lnTo>
                        <a:pt x="128764" y="353202"/>
                      </a:lnTo>
                      <a:lnTo>
                        <a:pt x="129310" y="352922"/>
                      </a:lnTo>
                      <a:lnTo>
                        <a:pt x="133038" y="351052"/>
                      </a:lnTo>
                      <a:lnTo>
                        <a:pt x="136062" y="353359"/>
                      </a:lnTo>
                      <a:lnTo>
                        <a:pt x="141259" y="360062"/>
                      </a:lnTo>
                      <a:lnTo>
                        <a:pt x="144877" y="365029"/>
                      </a:lnTo>
                      <a:lnTo>
                        <a:pt x="148071" y="369971"/>
                      </a:lnTo>
                      <a:lnTo>
                        <a:pt x="148751" y="371015"/>
                      </a:lnTo>
                      <a:lnTo>
                        <a:pt x="149783" y="371707"/>
                      </a:lnTo>
                      <a:lnTo>
                        <a:pt x="154604" y="374937"/>
                      </a:lnTo>
                      <a:lnTo>
                        <a:pt x="156693" y="378690"/>
                      </a:lnTo>
                      <a:lnTo>
                        <a:pt x="163760" y="389825"/>
                      </a:lnTo>
                      <a:lnTo>
                        <a:pt x="166553" y="393953"/>
                      </a:lnTo>
                      <a:lnTo>
                        <a:pt x="168447" y="398203"/>
                      </a:lnTo>
                      <a:lnTo>
                        <a:pt x="168872" y="399150"/>
                      </a:lnTo>
                      <a:lnTo>
                        <a:pt x="169588" y="399903"/>
                      </a:lnTo>
                      <a:lnTo>
                        <a:pt x="172758" y="403243"/>
                      </a:lnTo>
                      <a:lnTo>
                        <a:pt x="173644" y="406667"/>
                      </a:lnTo>
                      <a:lnTo>
                        <a:pt x="173887" y="408501"/>
                      </a:lnTo>
                      <a:lnTo>
                        <a:pt x="173644" y="412156"/>
                      </a:lnTo>
                      <a:lnTo>
                        <a:pt x="172600" y="417729"/>
                      </a:lnTo>
                      <a:lnTo>
                        <a:pt x="170706" y="423376"/>
                      </a:lnTo>
                      <a:lnTo>
                        <a:pt x="170596" y="423691"/>
                      </a:lnTo>
                      <a:lnTo>
                        <a:pt x="170536" y="424007"/>
                      </a:lnTo>
                      <a:lnTo>
                        <a:pt x="169042" y="430819"/>
                      </a:lnTo>
                      <a:lnTo>
                        <a:pt x="168969" y="431171"/>
                      </a:lnTo>
                      <a:lnTo>
                        <a:pt x="168933" y="431524"/>
                      </a:lnTo>
                      <a:lnTo>
                        <a:pt x="168483" y="436065"/>
                      </a:lnTo>
                      <a:lnTo>
                        <a:pt x="168046" y="440509"/>
                      </a:lnTo>
                      <a:lnTo>
                        <a:pt x="172150" y="442258"/>
                      </a:lnTo>
                      <a:lnTo>
                        <a:pt x="175186" y="443545"/>
                      </a:lnTo>
                      <a:lnTo>
                        <a:pt x="177663" y="444589"/>
                      </a:lnTo>
                      <a:lnTo>
                        <a:pt x="180104" y="443460"/>
                      </a:lnTo>
                      <a:lnTo>
                        <a:pt x="183553" y="441869"/>
                      </a:lnTo>
                      <a:lnTo>
                        <a:pt x="187596" y="440692"/>
                      </a:lnTo>
                      <a:lnTo>
                        <a:pt x="188519" y="440424"/>
                      </a:lnTo>
                      <a:lnTo>
                        <a:pt x="189308" y="439890"/>
                      </a:lnTo>
                      <a:lnTo>
                        <a:pt x="192745" y="437559"/>
                      </a:lnTo>
                      <a:lnTo>
                        <a:pt x="193340" y="437158"/>
                      </a:lnTo>
                      <a:lnTo>
                        <a:pt x="193826" y="436624"/>
                      </a:lnTo>
                      <a:lnTo>
                        <a:pt x="194081" y="436344"/>
                      </a:lnTo>
                      <a:lnTo>
                        <a:pt x="197019" y="439550"/>
                      </a:lnTo>
                      <a:lnTo>
                        <a:pt x="199751" y="443108"/>
                      </a:lnTo>
                      <a:lnTo>
                        <a:pt x="201597" y="445949"/>
                      </a:lnTo>
                      <a:lnTo>
                        <a:pt x="202411" y="447212"/>
                      </a:lnTo>
                      <a:lnTo>
                        <a:pt x="203722" y="447941"/>
                      </a:lnTo>
                      <a:lnTo>
                        <a:pt x="206989" y="449750"/>
                      </a:lnTo>
                      <a:lnTo>
                        <a:pt x="208846" y="450807"/>
                      </a:lnTo>
                      <a:lnTo>
                        <a:pt x="211020" y="450382"/>
                      </a:lnTo>
                      <a:lnTo>
                        <a:pt x="214590" y="449689"/>
                      </a:lnTo>
                      <a:lnTo>
                        <a:pt x="215901" y="449337"/>
                      </a:lnTo>
                      <a:lnTo>
                        <a:pt x="217456" y="451450"/>
                      </a:lnTo>
                      <a:lnTo>
                        <a:pt x="222325" y="457012"/>
                      </a:lnTo>
                      <a:lnTo>
                        <a:pt x="222993" y="457765"/>
                      </a:lnTo>
                      <a:lnTo>
                        <a:pt x="223867" y="458262"/>
                      </a:lnTo>
                      <a:lnTo>
                        <a:pt x="228129" y="460703"/>
                      </a:lnTo>
                      <a:lnTo>
                        <a:pt x="230740" y="462585"/>
                      </a:lnTo>
                      <a:lnTo>
                        <a:pt x="232659" y="466167"/>
                      </a:lnTo>
                      <a:lnTo>
                        <a:pt x="233533" y="467807"/>
                      </a:lnTo>
                      <a:lnTo>
                        <a:pt x="235172" y="468669"/>
                      </a:lnTo>
                      <a:lnTo>
                        <a:pt x="239192" y="470794"/>
                      </a:lnTo>
                      <a:lnTo>
                        <a:pt x="240090" y="471280"/>
                      </a:lnTo>
                      <a:lnTo>
                        <a:pt x="241098" y="471437"/>
                      </a:lnTo>
                      <a:lnTo>
                        <a:pt x="243417" y="471802"/>
                      </a:lnTo>
                      <a:lnTo>
                        <a:pt x="245215" y="472421"/>
                      </a:lnTo>
                      <a:lnTo>
                        <a:pt x="245057" y="473089"/>
                      </a:lnTo>
                      <a:lnTo>
                        <a:pt x="245275" y="474327"/>
                      </a:lnTo>
                      <a:lnTo>
                        <a:pt x="246077" y="478796"/>
                      </a:lnTo>
                      <a:lnTo>
                        <a:pt x="246198" y="479464"/>
                      </a:lnTo>
                      <a:lnTo>
                        <a:pt x="246465" y="480083"/>
                      </a:lnTo>
                      <a:lnTo>
                        <a:pt x="247959" y="483617"/>
                      </a:lnTo>
                      <a:lnTo>
                        <a:pt x="248408" y="484685"/>
                      </a:lnTo>
                      <a:lnTo>
                        <a:pt x="249234" y="485511"/>
                      </a:lnTo>
                      <a:lnTo>
                        <a:pt x="251638" y="487952"/>
                      </a:lnTo>
                      <a:lnTo>
                        <a:pt x="253120" y="489445"/>
                      </a:lnTo>
                      <a:lnTo>
                        <a:pt x="255196" y="489713"/>
                      </a:lnTo>
                      <a:lnTo>
                        <a:pt x="257382" y="489992"/>
                      </a:lnTo>
                      <a:lnTo>
                        <a:pt x="259240" y="491850"/>
                      </a:lnTo>
                      <a:lnTo>
                        <a:pt x="259361" y="492080"/>
                      </a:lnTo>
                      <a:lnTo>
                        <a:pt x="259057" y="494740"/>
                      </a:lnTo>
                      <a:lnTo>
                        <a:pt x="259021" y="495080"/>
                      </a:lnTo>
                      <a:lnTo>
                        <a:pt x="259021" y="495420"/>
                      </a:lnTo>
                      <a:lnTo>
                        <a:pt x="259021" y="498006"/>
                      </a:lnTo>
                      <a:lnTo>
                        <a:pt x="259021" y="498978"/>
                      </a:lnTo>
                      <a:lnTo>
                        <a:pt x="258863" y="499050"/>
                      </a:lnTo>
                      <a:lnTo>
                        <a:pt x="258220" y="499597"/>
                      </a:lnTo>
                      <a:lnTo>
                        <a:pt x="257357" y="500338"/>
                      </a:lnTo>
                      <a:lnTo>
                        <a:pt x="253508" y="503640"/>
                      </a:lnTo>
                      <a:lnTo>
                        <a:pt x="256070" y="508012"/>
                      </a:lnTo>
                      <a:lnTo>
                        <a:pt x="256252" y="508316"/>
                      </a:lnTo>
                      <a:lnTo>
                        <a:pt x="256119" y="508583"/>
                      </a:lnTo>
                      <a:lnTo>
                        <a:pt x="255378" y="510064"/>
                      </a:lnTo>
                      <a:lnTo>
                        <a:pt x="254771" y="510805"/>
                      </a:lnTo>
                      <a:lnTo>
                        <a:pt x="254176" y="511521"/>
                      </a:lnTo>
                      <a:lnTo>
                        <a:pt x="253957" y="512068"/>
                      </a:lnTo>
                      <a:lnTo>
                        <a:pt x="253885" y="512116"/>
                      </a:lnTo>
                      <a:lnTo>
                        <a:pt x="252221" y="513209"/>
                      </a:lnTo>
                      <a:lnTo>
                        <a:pt x="251529" y="515079"/>
                      </a:lnTo>
                      <a:lnTo>
                        <a:pt x="250958" y="516621"/>
                      </a:lnTo>
                      <a:lnTo>
                        <a:pt x="250679" y="517386"/>
                      </a:lnTo>
                      <a:lnTo>
                        <a:pt x="250606" y="518200"/>
                      </a:lnTo>
                      <a:lnTo>
                        <a:pt x="250533" y="519026"/>
                      </a:lnTo>
                      <a:lnTo>
                        <a:pt x="250679" y="519985"/>
                      </a:lnTo>
                      <a:cubicBezTo>
                        <a:pt x="251140" y="522426"/>
                        <a:pt x="251189" y="524781"/>
                        <a:pt x="251165" y="526967"/>
                      </a:cubicBezTo>
                      <a:lnTo>
                        <a:pt x="251140" y="530039"/>
                      </a:lnTo>
                      <a:lnTo>
                        <a:pt x="253192" y="531581"/>
                      </a:lnTo>
                      <a:lnTo>
                        <a:pt x="264145" y="543955"/>
                      </a:lnTo>
                      <a:lnTo>
                        <a:pt x="264728" y="544611"/>
                      </a:lnTo>
                      <a:lnTo>
                        <a:pt x="265469" y="545072"/>
                      </a:lnTo>
                      <a:lnTo>
                        <a:pt x="268687" y="547088"/>
                      </a:lnTo>
                      <a:lnTo>
                        <a:pt x="278098" y="555017"/>
                      </a:lnTo>
                      <a:lnTo>
                        <a:pt x="282311" y="560360"/>
                      </a:lnTo>
                      <a:lnTo>
                        <a:pt x="282518" y="560615"/>
                      </a:lnTo>
                      <a:lnTo>
                        <a:pt x="282761" y="560858"/>
                      </a:lnTo>
                      <a:lnTo>
                        <a:pt x="285177" y="563311"/>
                      </a:lnTo>
                      <a:lnTo>
                        <a:pt x="285651" y="563784"/>
                      </a:lnTo>
                      <a:lnTo>
                        <a:pt x="286209" y="564149"/>
                      </a:lnTo>
                      <a:lnTo>
                        <a:pt x="289184" y="566067"/>
                      </a:lnTo>
                      <a:lnTo>
                        <a:pt x="289561" y="566310"/>
                      </a:lnTo>
                      <a:lnTo>
                        <a:pt x="289961" y="566504"/>
                      </a:lnTo>
                      <a:lnTo>
                        <a:pt x="297636" y="569977"/>
                      </a:lnTo>
                      <a:lnTo>
                        <a:pt x="313737" y="581574"/>
                      </a:lnTo>
                      <a:lnTo>
                        <a:pt x="314029" y="581792"/>
                      </a:lnTo>
                      <a:lnTo>
                        <a:pt x="314344" y="581962"/>
                      </a:lnTo>
                      <a:lnTo>
                        <a:pt x="323245" y="586880"/>
                      </a:lnTo>
                      <a:lnTo>
                        <a:pt x="323743" y="587160"/>
                      </a:lnTo>
                      <a:lnTo>
                        <a:pt x="324289" y="587342"/>
                      </a:lnTo>
                      <a:lnTo>
                        <a:pt x="340075" y="592527"/>
                      </a:lnTo>
                      <a:lnTo>
                        <a:pt x="364349" y="599849"/>
                      </a:lnTo>
                      <a:lnTo>
                        <a:pt x="365187" y="600104"/>
                      </a:lnTo>
                      <a:lnTo>
                        <a:pt x="366061" y="600104"/>
                      </a:lnTo>
                      <a:lnTo>
                        <a:pt x="370299" y="600128"/>
                      </a:lnTo>
                      <a:lnTo>
                        <a:pt x="372606" y="600140"/>
                      </a:lnTo>
                      <a:lnTo>
                        <a:pt x="374343" y="598623"/>
                      </a:lnTo>
                      <a:lnTo>
                        <a:pt x="375545" y="597566"/>
                      </a:lnTo>
                      <a:lnTo>
                        <a:pt x="376346" y="596862"/>
                      </a:lnTo>
                      <a:lnTo>
                        <a:pt x="376856" y="595927"/>
                      </a:lnTo>
                      <a:lnTo>
                        <a:pt x="377330" y="595077"/>
                      </a:lnTo>
                      <a:lnTo>
                        <a:pt x="384567" y="594348"/>
                      </a:lnTo>
                      <a:lnTo>
                        <a:pt x="384919" y="594312"/>
                      </a:lnTo>
                      <a:lnTo>
                        <a:pt x="385271" y="594239"/>
                      </a:lnTo>
                      <a:lnTo>
                        <a:pt x="391585" y="592830"/>
                      </a:lnTo>
                      <a:lnTo>
                        <a:pt x="392180" y="592697"/>
                      </a:lnTo>
                      <a:lnTo>
                        <a:pt x="392739" y="592442"/>
                      </a:lnTo>
                      <a:lnTo>
                        <a:pt x="396030" y="590973"/>
                      </a:lnTo>
                      <a:lnTo>
                        <a:pt x="403255" y="589200"/>
                      </a:lnTo>
                      <a:lnTo>
                        <a:pt x="403656" y="589103"/>
                      </a:lnTo>
                      <a:lnTo>
                        <a:pt x="404032" y="588957"/>
                      </a:lnTo>
                      <a:lnTo>
                        <a:pt x="406740" y="587900"/>
                      </a:lnTo>
                      <a:lnTo>
                        <a:pt x="407068" y="587779"/>
                      </a:lnTo>
                      <a:lnTo>
                        <a:pt x="407384" y="587609"/>
                      </a:lnTo>
                      <a:lnTo>
                        <a:pt x="409909" y="586261"/>
                      </a:lnTo>
                      <a:lnTo>
                        <a:pt x="410286" y="586055"/>
                      </a:lnTo>
                      <a:lnTo>
                        <a:pt x="410638" y="585800"/>
                      </a:lnTo>
                      <a:lnTo>
                        <a:pt x="413273" y="583869"/>
                      </a:lnTo>
                      <a:lnTo>
                        <a:pt x="413637" y="583602"/>
                      </a:lnTo>
                      <a:lnTo>
                        <a:pt x="413953" y="583286"/>
                      </a:lnTo>
                      <a:lnTo>
                        <a:pt x="418652" y="578647"/>
                      </a:lnTo>
                      <a:lnTo>
                        <a:pt x="419211" y="578210"/>
                      </a:lnTo>
                      <a:lnTo>
                        <a:pt x="420049" y="577895"/>
                      </a:lnTo>
                      <a:lnTo>
                        <a:pt x="422975" y="577130"/>
                      </a:lnTo>
                      <a:lnTo>
                        <a:pt x="423776" y="576911"/>
                      </a:lnTo>
                      <a:lnTo>
                        <a:pt x="424493" y="576486"/>
                      </a:lnTo>
                      <a:lnTo>
                        <a:pt x="426108" y="575527"/>
                      </a:lnTo>
                      <a:lnTo>
                        <a:pt x="426496" y="575284"/>
                      </a:lnTo>
                      <a:lnTo>
                        <a:pt x="426849" y="574992"/>
                      </a:lnTo>
                      <a:lnTo>
                        <a:pt x="428342" y="573766"/>
                      </a:lnTo>
                      <a:lnTo>
                        <a:pt x="428658" y="573511"/>
                      </a:lnTo>
                      <a:lnTo>
                        <a:pt x="428937" y="573207"/>
                      </a:lnTo>
                      <a:lnTo>
                        <a:pt x="430686" y="571313"/>
                      </a:lnTo>
                      <a:lnTo>
                        <a:pt x="433406" y="570075"/>
                      </a:lnTo>
                      <a:lnTo>
                        <a:pt x="433467" y="570050"/>
                      </a:lnTo>
                      <a:lnTo>
                        <a:pt x="434620" y="572030"/>
                      </a:lnTo>
                      <a:lnTo>
                        <a:pt x="434887" y="572503"/>
                      </a:lnTo>
                      <a:lnTo>
                        <a:pt x="435239" y="572916"/>
                      </a:lnTo>
                      <a:lnTo>
                        <a:pt x="439611" y="578028"/>
                      </a:lnTo>
                      <a:lnTo>
                        <a:pt x="450685" y="589103"/>
                      </a:lnTo>
                      <a:lnTo>
                        <a:pt x="456380" y="596073"/>
                      </a:lnTo>
                      <a:lnTo>
                        <a:pt x="462767" y="610013"/>
                      </a:lnTo>
                      <a:lnTo>
                        <a:pt x="463362" y="611312"/>
                      </a:lnTo>
                      <a:lnTo>
                        <a:pt x="464467" y="612211"/>
                      </a:lnTo>
                      <a:lnTo>
                        <a:pt x="466969" y="614238"/>
                      </a:lnTo>
                      <a:lnTo>
                        <a:pt x="468414" y="616278"/>
                      </a:lnTo>
                      <a:lnTo>
                        <a:pt x="468887" y="617371"/>
                      </a:lnTo>
                      <a:lnTo>
                        <a:pt x="469446" y="627086"/>
                      </a:lnTo>
                      <a:lnTo>
                        <a:pt x="469495" y="628009"/>
                      </a:lnTo>
                      <a:lnTo>
                        <a:pt x="469810" y="628871"/>
                      </a:lnTo>
                      <a:lnTo>
                        <a:pt x="471025" y="632125"/>
                      </a:lnTo>
                      <a:lnTo>
                        <a:pt x="471389" y="632951"/>
                      </a:lnTo>
                      <a:lnTo>
                        <a:pt x="471947" y="633679"/>
                      </a:lnTo>
                      <a:lnTo>
                        <a:pt x="473963" y="636290"/>
                      </a:lnTo>
                      <a:lnTo>
                        <a:pt x="474182" y="636569"/>
                      </a:lnTo>
                      <a:lnTo>
                        <a:pt x="474437" y="636824"/>
                      </a:lnTo>
                      <a:lnTo>
                        <a:pt x="478663" y="641123"/>
                      </a:lnTo>
                      <a:lnTo>
                        <a:pt x="479622" y="642507"/>
                      </a:lnTo>
                      <a:lnTo>
                        <a:pt x="480265" y="644596"/>
                      </a:lnTo>
                      <a:lnTo>
                        <a:pt x="480363" y="644911"/>
                      </a:lnTo>
                      <a:lnTo>
                        <a:pt x="480496" y="645215"/>
                      </a:lnTo>
                      <a:lnTo>
                        <a:pt x="481698" y="647996"/>
                      </a:lnTo>
                      <a:lnTo>
                        <a:pt x="482318" y="649441"/>
                      </a:lnTo>
                      <a:lnTo>
                        <a:pt x="483556" y="650400"/>
                      </a:lnTo>
                      <a:lnTo>
                        <a:pt x="486264" y="652501"/>
                      </a:lnTo>
                      <a:lnTo>
                        <a:pt x="488000" y="653849"/>
                      </a:lnTo>
                      <a:lnTo>
                        <a:pt x="490198" y="653764"/>
                      </a:lnTo>
                      <a:lnTo>
                        <a:pt x="496622" y="653533"/>
                      </a:lnTo>
                      <a:lnTo>
                        <a:pt x="497909" y="653484"/>
                      </a:lnTo>
                      <a:lnTo>
                        <a:pt x="499063" y="652926"/>
                      </a:lnTo>
                      <a:lnTo>
                        <a:pt x="501989" y="651493"/>
                      </a:lnTo>
                      <a:lnTo>
                        <a:pt x="503191" y="650910"/>
                      </a:lnTo>
                      <a:lnTo>
                        <a:pt x="504029" y="649878"/>
                      </a:lnTo>
                      <a:lnTo>
                        <a:pt x="506093" y="647352"/>
                      </a:lnTo>
                      <a:lnTo>
                        <a:pt x="506324" y="647073"/>
                      </a:lnTo>
                      <a:lnTo>
                        <a:pt x="506518" y="646769"/>
                      </a:lnTo>
                      <a:lnTo>
                        <a:pt x="507223" y="645652"/>
                      </a:lnTo>
                      <a:lnTo>
                        <a:pt x="508401" y="645069"/>
                      </a:lnTo>
                      <a:lnTo>
                        <a:pt x="509190" y="644681"/>
                      </a:lnTo>
                      <a:lnTo>
                        <a:pt x="509834" y="644086"/>
                      </a:lnTo>
                      <a:lnTo>
                        <a:pt x="510914" y="643090"/>
                      </a:lnTo>
                      <a:lnTo>
                        <a:pt x="511534" y="642519"/>
                      </a:lnTo>
                      <a:lnTo>
                        <a:pt x="511971" y="641791"/>
                      </a:lnTo>
                      <a:lnTo>
                        <a:pt x="512226" y="641378"/>
                      </a:lnTo>
                      <a:lnTo>
                        <a:pt x="514108" y="640904"/>
                      </a:lnTo>
                      <a:lnTo>
                        <a:pt x="517994" y="640419"/>
                      </a:lnTo>
                      <a:lnTo>
                        <a:pt x="519475" y="640236"/>
                      </a:lnTo>
                      <a:lnTo>
                        <a:pt x="520701" y="639399"/>
                      </a:lnTo>
                      <a:lnTo>
                        <a:pt x="524381" y="636873"/>
                      </a:lnTo>
                      <a:lnTo>
                        <a:pt x="525024" y="636691"/>
                      </a:lnTo>
                      <a:lnTo>
                        <a:pt x="527016" y="636679"/>
                      </a:lnTo>
                      <a:lnTo>
                        <a:pt x="530391" y="637043"/>
                      </a:lnTo>
                      <a:lnTo>
                        <a:pt x="531290" y="637140"/>
                      </a:lnTo>
                      <a:lnTo>
                        <a:pt x="532176" y="636970"/>
                      </a:lnTo>
                      <a:lnTo>
                        <a:pt x="535164" y="636399"/>
                      </a:lnTo>
                      <a:lnTo>
                        <a:pt x="536099" y="636217"/>
                      </a:lnTo>
                      <a:lnTo>
                        <a:pt x="536924" y="635768"/>
                      </a:lnTo>
                      <a:lnTo>
                        <a:pt x="538819" y="634736"/>
                      </a:lnTo>
                      <a:lnTo>
                        <a:pt x="540009" y="634092"/>
                      </a:lnTo>
                      <a:lnTo>
                        <a:pt x="540810" y="632999"/>
                      </a:lnTo>
                      <a:lnTo>
                        <a:pt x="542838" y="630231"/>
                      </a:lnTo>
                      <a:lnTo>
                        <a:pt x="543251" y="629976"/>
                      </a:lnTo>
                      <a:lnTo>
                        <a:pt x="547477" y="628519"/>
                      </a:lnTo>
                      <a:lnTo>
                        <a:pt x="548327" y="628227"/>
                      </a:lnTo>
                      <a:lnTo>
                        <a:pt x="549055" y="627705"/>
                      </a:lnTo>
                      <a:lnTo>
                        <a:pt x="550779" y="626466"/>
                      </a:lnTo>
                      <a:lnTo>
                        <a:pt x="552285" y="625373"/>
                      </a:lnTo>
                      <a:lnTo>
                        <a:pt x="552929" y="623625"/>
                      </a:lnTo>
                      <a:lnTo>
                        <a:pt x="553366" y="622447"/>
                      </a:lnTo>
                      <a:lnTo>
                        <a:pt x="553815" y="624062"/>
                      </a:lnTo>
                      <a:lnTo>
                        <a:pt x="554216" y="626794"/>
                      </a:lnTo>
                      <a:lnTo>
                        <a:pt x="554313" y="628871"/>
                      </a:lnTo>
                      <a:lnTo>
                        <a:pt x="553718" y="634347"/>
                      </a:lnTo>
                      <a:lnTo>
                        <a:pt x="553220" y="636448"/>
                      </a:lnTo>
                      <a:lnTo>
                        <a:pt x="553026" y="637019"/>
                      </a:lnTo>
                      <a:lnTo>
                        <a:pt x="552650" y="637638"/>
                      </a:lnTo>
                      <a:lnTo>
                        <a:pt x="551909" y="638330"/>
                      </a:lnTo>
                      <a:lnTo>
                        <a:pt x="547647" y="640868"/>
                      </a:lnTo>
                      <a:lnTo>
                        <a:pt x="543482" y="643891"/>
                      </a:lnTo>
                      <a:lnTo>
                        <a:pt x="543032" y="644219"/>
                      </a:lnTo>
                      <a:lnTo>
                        <a:pt x="542644" y="644620"/>
                      </a:lnTo>
                      <a:lnTo>
                        <a:pt x="540919" y="646454"/>
                      </a:lnTo>
                      <a:lnTo>
                        <a:pt x="540373" y="647037"/>
                      </a:lnTo>
                      <a:lnTo>
                        <a:pt x="539997" y="647741"/>
                      </a:lnTo>
                      <a:lnTo>
                        <a:pt x="539147" y="649319"/>
                      </a:lnTo>
                      <a:lnTo>
                        <a:pt x="537714" y="652416"/>
                      </a:lnTo>
                      <a:lnTo>
                        <a:pt x="537398" y="653096"/>
                      </a:lnTo>
                      <a:lnTo>
                        <a:pt x="537264" y="653837"/>
                      </a:lnTo>
                      <a:lnTo>
                        <a:pt x="536135" y="659799"/>
                      </a:lnTo>
                      <a:lnTo>
                        <a:pt x="535552" y="661572"/>
                      </a:lnTo>
                      <a:lnTo>
                        <a:pt x="534289" y="663952"/>
                      </a:lnTo>
                      <a:lnTo>
                        <a:pt x="533889" y="664704"/>
                      </a:lnTo>
                      <a:lnTo>
                        <a:pt x="533719" y="665530"/>
                      </a:lnTo>
                      <a:lnTo>
                        <a:pt x="533075" y="668590"/>
                      </a:lnTo>
                      <a:lnTo>
                        <a:pt x="532796" y="669902"/>
                      </a:lnTo>
                      <a:lnTo>
                        <a:pt x="533099" y="671213"/>
                      </a:lnTo>
                      <a:lnTo>
                        <a:pt x="533743" y="673945"/>
                      </a:lnTo>
                      <a:lnTo>
                        <a:pt x="534010" y="675087"/>
                      </a:lnTo>
                      <a:lnTo>
                        <a:pt x="534690" y="676058"/>
                      </a:lnTo>
                      <a:lnTo>
                        <a:pt x="536220" y="678232"/>
                      </a:lnTo>
                      <a:lnTo>
                        <a:pt x="536815" y="679082"/>
                      </a:lnTo>
                      <a:lnTo>
                        <a:pt x="537665" y="679689"/>
                      </a:lnTo>
                      <a:lnTo>
                        <a:pt x="539851" y="681243"/>
                      </a:lnTo>
                      <a:lnTo>
                        <a:pt x="540616" y="681790"/>
                      </a:lnTo>
                      <a:lnTo>
                        <a:pt x="541514" y="682069"/>
                      </a:lnTo>
                      <a:lnTo>
                        <a:pt x="543239" y="682615"/>
                      </a:lnTo>
                      <a:lnTo>
                        <a:pt x="544502" y="683016"/>
                      </a:lnTo>
                      <a:lnTo>
                        <a:pt x="545801" y="682858"/>
                      </a:lnTo>
                      <a:lnTo>
                        <a:pt x="547756" y="682627"/>
                      </a:lnTo>
                      <a:lnTo>
                        <a:pt x="549966" y="682372"/>
                      </a:lnTo>
                      <a:lnTo>
                        <a:pt x="551484" y="680745"/>
                      </a:lnTo>
                      <a:lnTo>
                        <a:pt x="559498" y="672160"/>
                      </a:lnTo>
                      <a:lnTo>
                        <a:pt x="562959" y="669999"/>
                      </a:lnTo>
                      <a:lnTo>
                        <a:pt x="565278" y="668554"/>
                      </a:lnTo>
                      <a:lnTo>
                        <a:pt x="565727" y="665858"/>
                      </a:lnTo>
                      <a:lnTo>
                        <a:pt x="565910" y="664789"/>
                      </a:lnTo>
                      <a:lnTo>
                        <a:pt x="566917" y="664267"/>
                      </a:lnTo>
                      <a:lnTo>
                        <a:pt x="572940" y="662944"/>
                      </a:lnTo>
                      <a:lnTo>
                        <a:pt x="599072" y="662191"/>
                      </a:lnTo>
                      <a:lnTo>
                        <a:pt x="599643" y="662179"/>
                      </a:lnTo>
                      <a:lnTo>
                        <a:pt x="600213" y="662045"/>
                      </a:lnTo>
                      <a:lnTo>
                        <a:pt x="607791" y="660357"/>
                      </a:lnTo>
                      <a:lnTo>
                        <a:pt x="608543" y="660187"/>
                      </a:lnTo>
                      <a:lnTo>
                        <a:pt x="609235" y="659835"/>
                      </a:lnTo>
                      <a:lnTo>
                        <a:pt x="612514" y="658159"/>
                      </a:lnTo>
                      <a:lnTo>
                        <a:pt x="613133" y="657844"/>
                      </a:lnTo>
                      <a:lnTo>
                        <a:pt x="613668" y="657394"/>
                      </a:lnTo>
                      <a:lnTo>
                        <a:pt x="616886" y="654674"/>
                      </a:lnTo>
                      <a:lnTo>
                        <a:pt x="617238" y="654371"/>
                      </a:lnTo>
                      <a:lnTo>
                        <a:pt x="617541" y="654019"/>
                      </a:lnTo>
                      <a:lnTo>
                        <a:pt x="622265" y="648579"/>
                      </a:lnTo>
                      <a:lnTo>
                        <a:pt x="622314" y="648554"/>
                      </a:lnTo>
                      <a:lnTo>
                        <a:pt x="622666" y="648688"/>
                      </a:lnTo>
                      <a:lnTo>
                        <a:pt x="622823" y="648894"/>
                      </a:lnTo>
                      <a:lnTo>
                        <a:pt x="622799" y="649149"/>
                      </a:lnTo>
                      <a:lnTo>
                        <a:pt x="621621" y="651869"/>
                      </a:lnTo>
                      <a:lnTo>
                        <a:pt x="621463" y="652234"/>
                      </a:lnTo>
                      <a:lnTo>
                        <a:pt x="621354" y="652610"/>
                      </a:lnTo>
                      <a:lnTo>
                        <a:pt x="620274" y="656362"/>
                      </a:lnTo>
                      <a:lnTo>
                        <a:pt x="619921" y="657577"/>
                      </a:lnTo>
                      <a:lnTo>
                        <a:pt x="620079" y="658827"/>
                      </a:lnTo>
                      <a:lnTo>
                        <a:pt x="620480" y="661936"/>
                      </a:lnTo>
                      <a:lnTo>
                        <a:pt x="620553" y="662446"/>
                      </a:lnTo>
                      <a:lnTo>
                        <a:pt x="620698" y="662932"/>
                      </a:lnTo>
                      <a:lnTo>
                        <a:pt x="624026" y="673775"/>
                      </a:lnTo>
                      <a:lnTo>
                        <a:pt x="624147" y="674164"/>
                      </a:lnTo>
                      <a:lnTo>
                        <a:pt x="624317" y="674528"/>
                      </a:lnTo>
                      <a:lnTo>
                        <a:pt x="627414" y="681255"/>
                      </a:lnTo>
                      <a:lnTo>
                        <a:pt x="628009" y="682542"/>
                      </a:lnTo>
                      <a:lnTo>
                        <a:pt x="629114" y="683429"/>
                      </a:lnTo>
                      <a:lnTo>
                        <a:pt x="644632" y="695973"/>
                      </a:lnTo>
                      <a:lnTo>
                        <a:pt x="649259" y="700745"/>
                      </a:lnTo>
                      <a:lnTo>
                        <a:pt x="649514" y="701012"/>
                      </a:lnTo>
                      <a:lnTo>
                        <a:pt x="649793" y="701243"/>
                      </a:lnTo>
                      <a:lnTo>
                        <a:pt x="655354" y="705723"/>
                      </a:lnTo>
                      <a:lnTo>
                        <a:pt x="656302" y="706488"/>
                      </a:lnTo>
                      <a:lnTo>
                        <a:pt x="657479" y="706828"/>
                      </a:lnTo>
                      <a:lnTo>
                        <a:pt x="663514" y="708589"/>
                      </a:lnTo>
                      <a:lnTo>
                        <a:pt x="665834" y="709257"/>
                      </a:lnTo>
                      <a:lnTo>
                        <a:pt x="667983" y="708152"/>
                      </a:lnTo>
                      <a:lnTo>
                        <a:pt x="673375" y="705371"/>
                      </a:lnTo>
                      <a:lnTo>
                        <a:pt x="675135" y="705019"/>
                      </a:lnTo>
                      <a:lnTo>
                        <a:pt x="675791" y="704885"/>
                      </a:lnTo>
                      <a:lnTo>
                        <a:pt x="676398" y="704618"/>
                      </a:lnTo>
                      <a:lnTo>
                        <a:pt x="680600" y="702760"/>
                      </a:lnTo>
                      <a:lnTo>
                        <a:pt x="681595" y="702505"/>
                      </a:lnTo>
                      <a:lnTo>
                        <a:pt x="682215" y="702566"/>
                      </a:lnTo>
                      <a:lnTo>
                        <a:pt x="686793" y="703695"/>
                      </a:lnTo>
                      <a:lnTo>
                        <a:pt x="687740" y="703938"/>
                      </a:lnTo>
                      <a:lnTo>
                        <a:pt x="688711" y="703865"/>
                      </a:lnTo>
                      <a:lnTo>
                        <a:pt x="690423" y="703732"/>
                      </a:lnTo>
                      <a:lnTo>
                        <a:pt x="693180" y="703525"/>
                      </a:lnTo>
                      <a:lnTo>
                        <a:pt x="694831" y="701315"/>
                      </a:lnTo>
                      <a:lnTo>
                        <a:pt x="697928" y="697175"/>
                      </a:lnTo>
                      <a:lnTo>
                        <a:pt x="698814" y="695997"/>
                      </a:lnTo>
                      <a:lnTo>
                        <a:pt x="699057" y="694552"/>
                      </a:lnTo>
                      <a:lnTo>
                        <a:pt x="701024" y="682846"/>
                      </a:lnTo>
                      <a:lnTo>
                        <a:pt x="702008" y="680369"/>
                      </a:lnTo>
                      <a:lnTo>
                        <a:pt x="703793" y="679082"/>
                      </a:lnTo>
                      <a:lnTo>
                        <a:pt x="708176" y="677199"/>
                      </a:lnTo>
                      <a:lnTo>
                        <a:pt x="713033" y="675767"/>
                      </a:lnTo>
                      <a:lnTo>
                        <a:pt x="717211" y="675075"/>
                      </a:lnTo>
                      <a:lnTo>
                        <a:pt x="717648" y="675002"/>
                      </a:lnTo>
                      <a:lnTo>
                        <a:pt x="720635" y="676337"/>
                      </a:lnTo>
                      <a:lnTo>
                        <a:pt x="720926" y="676471"/>
                      </a:lnTo>
                      <a:lnTo>
                        <a:pt x="721230" y="676568"/>
                      </a:lnTo>
                      <a:lnTo>
                        <a:pt x="724897" y="677770"/>
                      </a:lnTo>
                      <a:lnTo>
                        <a:pt x="726621" y="678329"/>
                      </a:lnTo>
                      <a:lnTo>
                        <a:pt x="728370" y="677855"/>
                      </a:lnTo>
                      <a:lnTo>
                        <a:pt x="731818" y="676932"/>
                      </a:lnTo>
                      <a:lnTo>
                        <a:pt x="733506" y="676483"/>
                      </a:lnTo>
                      <a:lnTo>
                        <a:pt x="734696" y="675208"/>
                      </a:lnTo>
                      <a:lnTo>
                        <a:pt x="742310" y="667012"/>
                      </a:lnTo>
                      <a:lnTo>
                        <a:pt x="760269" y="653411"/>
                      </a:lnTo>
                      <a:lnTo>
                        <a:pt x="760779" y="653035"/>
                      </a:lnTo>
                      <a:lnTo>
                        <a:pt x="761192" y="652561"/>
                      </a:lnTo>
                      <a:lnTo>
                        <a:pt x="769000" y="643576"/>
                      </a:lnTo>
                      <a:lnTo>
                        <a:pt x="769462" y="643041"/>
                      </a:lnTo>
                      <a:lnTo>
                        <a:pt x="769789" y="642422"/>
                      </a:lnTo>
                      <a:lnTo>
                        <a:pt x="773408" y="635561"/>
                      </a:lnTo>
                      <a:lnTo>
                        <a:pt x="773772" y="634869"/>
                      </a:lnTo>
                      <a:lnTo>
                        <a:pt x="773954" y="634116"/>
                      </a:lnTo>
                      <a:lnTo>
                        <a:pt x="775727" y="626612"/>
                      </a:lnTo>
                      <a:lnTo>
                        <a:pt x="775982" y="625495"/>
                      </a:lnTo>
                      <a:lnTo>
                        <a:pt x="775825" y="624366"/>
                      </a:lnTo>
                      <a:lnTo>
                        <a:pt x="774853" y="617541"/>
                      </a:lnTo>
                      <a:lnTo>
                        <a:pt x="774586" y="615683"/>
                      </a:lnTo>
                      <a:lnTo>
                        <a:pt x="773311" y="614299"/>
                      </a:lnTo>
                      <a:lnTo>
                        <a:pt x="768891" y="609478"/>
                      </a:lnTo>
                      <a:lnTo>
                        <a:pt x="764617" y="605010"/>
                      </a:lnTo>
                      <a:lnTo>
                        <a:pt x="763257" y="600626"/>
                      </a:lnTo>
                      <a:lnTo>
                        <a:pt x="762042" y="594518"/>
                      </a:lnTo>
                      <a:lnTo>
                        <a:pt x="761860" y="593583"/>
                      </a:lnTo>
                      <a:lnTo>
                        <a:pt x="761399" y="592758"/>
                      </a:lnTo>
                      <a:lnTo>
                        <a:pt x="757780" y="586237"/>
                      </a:lnTo>
                      <a:lnTo>
                        <a:pt x="757246" y="585253"/>
                      </a:lnTo>
                      <a:lnTo>
                        <a:pt x="756384" y="584525"/>
                      </a:lnTo>
                      <a:lnTo>
                        <a:pt x="746050" y="575830"/>
                      </a:lnTo>
                      <a:lnTo>
                        <a:pt x="743767" y="572527"/>
                      </a:lnTo>
                      <a:lnTo>
                        <a:pt x="743694" y="567476"/>
                      </a:lnTo>
                      <a:lnTo>
                        <a:pt x="744617" y="564379"/>
                      </a:lnTo>
                      <a:lnTo>
                        <a:pt x="744811" y="563748"/>
                      </a:lnTo>
                      <a:lnTo>
                        <a:pt x="744860" y="563092"/>
                      </a:lnTo>
                      <a:lnTo>
                        <a:pt x="745613" y="552856"/>
                      </a:lnTo>
                      <a:lnTo>
                        <a:pt x="746439" y="550476"/>
                      </a:lnTo>
                      <a:lnTo>
                        <a:pt x="750009" y="545485"/>
                      </a:lnTo>
                      <a:lnTo>
                        <a:pt x="750276" y="545096"/>
                      </a:lnTo>
                      <a:lnTo>
                        <a:pt x="750494" y="544672"/>
                      </a:lnTo>
                      <a:lnTo>
                        <a:pt x="752109" y="541466"/>
                      </a:lnTo>
                      <a:lnTo>
                        <a:pt x="752862" y="539960"/>
                      </a:lnTo>
                      <a:lnTo>
                        <a:pt x="752741" y="538284"/>
                      </a:lnTo>
                      <a:lnTo>
                        <a:pt x="752170" y="530549"/>
                      </a:lnTo>
                      <a:lnTo>
                        <a:pt x="751915" y="527088"/>
                      </a:lnTo>
                      <a:lnTo>
                        <a:pt x="748806" y="525558"/>
                      </a:lnTo>
                      <a:lnTo>
                        <a:pt x="742419" y="522401"/>
                      </a:lnTo>
                      <a:lnTo>
                        <a:pt x="741254" y="521831"/>
                      </a:lnTo>
                      <a:lnTo>
                        <a:pt x="739954" y="521782"/>
                      </a:lnTo>
                      <a:lnTo>
                        <a:pt x="725771" y="521260"/>
                      </a:lnTo>
                      <a:lnTo>
                        <a:pt x="720489" y="519523"/>
                      </a:lnTo>
                      <a:lnTo>
                        <a:pt x="706658" y="512468"/>
                      </a:lnTo>
                      <a:lnTo>
                        <a:pt x="705578" y="511910"/>
                      </a:lnTo>
                      <a:lnTo>
                        <a:pt x="704351" y="511825"/>
                      </a:lnTo>
                      <a:lnTo>
                        <a:pt x="698450" y="511388"/>
                      </a:lnTo>
                      <a:lnTo>
                        <a:pt x="695778" y="511181"/>
                      </a:lnTo>
                      <a:lnTo>
                        <a:pt x="695487" y="509736"/>
                      </a:lnTo>
                      <a:lnTo>
                        <a:pt x="695171" y="508146"/>
                      </a:lnTo>
                      <a:lnTo>
                        <a:pt x="694103" y="506931"/>
                      </a:lnTo>
                      <a:lnTo>
                        <a:pt x="691686" y="504175"/>
                      </a:lnTo>
                      <a:lnTo>
                        <a:pt x="691055" y="503458"/>
                      </a:lnTo>
                      <a:lnTo>
                        <a:pt x="690241" y="502973"/>
                      </a:lnTo>
                      <a:lnTo>
                        <a:pt x="687072" y="501078"/>
                      </a:lnTo>
                      <a:lnTo>
                        <a:pt x="686756" y="500884"/>
                      </a:lnTo>
                      <a:lnTo>
                        <a:pt x="686428" y="500738"/>
                      </a:lnTo>
                      <a:lnTo>
                        <a:pt x="683222" y="499306"/>
                      </a:lnTo>
                      <a:lnTo>
                        <a:pt x="682810" y="499123"/>
                      </a:lnTo>
                      <a:lnTo>
                        <a:pt x="682385" y="499002"/>
                      </a:lnTo>
                      <a:lnTo>
                        <a:pt x="676082" y="497241"/>
                      </a:lnTo>
                      <a:lnTo>
                        <a:pt x="675111" y="496719"/>
                      </a:lnTo>
                      <a:lnTo>
                        <a:pt x="665506" y="481917"/>
                      </a:lnTo>
                      <a:lnTo>
                        <a:pt x="665020" y="481164"/>
                      </a:lnTo>
                      <a:lnTo>
                        <a:pt x="664328" y="480581"/>
                      </a:lnTo>
                      <a:lnTo>
                        <a:pt x="647583" y="465572"/>
                      </a:lnTo>
                      <a:lnTo>
                        <a:pt x="644110" y="460011"/>
                      </a:lnTo>
                      <a:lnTo>
                        <a:pt x="640989" y="449532"/>
                      </a:lnTo>
                      <a:lnTo>
                        <a:pt x="643272" y="410383"/>
                      </a:lnTo>
                      <a:lnTo>
                        <a:pt x="643297" y="409921"/>
                      </a:lnTo>
                      <a:lnTo>
                        <a:pt x="643260" y="409460"/>
                      </a:lnTo>
                      <a:lnTo>
                        <a:pt x="641997" y="395872"/>
                      </a:lnTo>
                      <a:lnTo>
                        <a:pt x="641961" y="395459"/>
                      </a:lnTo>
                      <a:lnTo>
                        <a:pt x="641864" y="395046"/>
                      </a:lnTo>
                      <a:lnTo>
                        <a:pt x="638706" y="381580"/>
                      </a:lnTo>
                      <a:lnTo>
                        <a:pt x="638634" y="381240"/>
                      </a:lnTo>
                      <a:lnTo>
                        <a:pt x="638512" y="380912"/>
                      </a:lnTo>
                      <a:lnTo>
                        <a:pt x="629733" y="356444"/>
                      </a:lnTo>
                      <a:lnTo>
                        <a:pt x="630983" y="342844"/>
                      </a:lnTo>
                      <a:lnTo>
                        <a:pt x="642277" y="335522"/>
                      </a:lnTo>
                      <a:lnTo>
                        <a:pt x="660005" y="328321"/>
                      </a:lnTo>
                      <a:lnTo>
                        <a:pt x="661013" y="327908"/>
                      </a:lnTo>
                      <a:lnTo>
                        <a:pt x="661814" y="327179"/>
                      </a:lnTo>
                      <a:lnTo>
                        <a:pt x="675487" y="314721"/>
                      </a:lnTo>
                      <a:lnTo>
                        <a:pt x="676593" y="313713"/>
                      </a:lnTo>
                      <a:lnTo>
                        <a:pt x="677102" y="312292"/>
                      </a:lnTo>
                      <a:lnTo>
                        <a:pt x="678839" y="307471"/>
                      </a:lnTo>
                      <a:lnTo>
                        <a:pt x="679082" y="306816"/>
                      </a:lnTo>
                      <a:lnTo>
                        <a:pt x="679167" y="306123"/>
                      </a:lnTo>
                      <a:lnTo>
                        <a:pt x="679737" y="301242"/>
                      </a:lnTo>
                      <a:lnTo>
                        <a:pt x="679822" y="300538"/>
                      </a:lnTo>
                      <a:lnTo>
                        <a:pt x="679737" y="299833"/>
                      </a:lnTo>
                      <a:lnTo>
                        <a:pt x="679167" y="294928"/>
                      </a:lnTo>
                      <a:lnTo>
                        <a:pt x="679094" y="294236"/>
                      </a:lnTo>
                      <a:lnTo>
                        <a:pt x="678851" y="293580"/>
                      </a:lnTo>
                      <a:lnTo>
                        <a:pt x="677115" y="288747"/>
                      </a:lnTo>
                      <a:lnTo>
                        <a:pt x="676945" y="288273"/>
                      </a:lnTo>
                      <a:lnTo>
                        <a:pt x="676702" y="287836"/>
                      </a:lnTo>
                      <a:lnTo>
                        <a:pt x="673071" y="281328"/>
                      </a:lnTo>
                      <a:lnTo>
                        <a:pt x="672027" y="279409"/>
                      </a:lnTo>
                      <a:lnTo>
                        <a:pt x="671529" y="278510"/>
                      </a:lnTo>
                      <a:lnTo>
                        <a:pt x="670764" y="277818"/>
                      </a:lnTo>
                      <a:lnTo>
                        <a:pt x="665360" y="272937"/>
                      </a:lnTo>
                      <a:lnTo>
                        <a:pt x="664595" y="272233"/>
                      </a:lnTo>
                      <a:lnTo>
                        <a:pt x="663624" y="271832"/>
                      </a:lnTo>
                      <a:lnTo>
                        <a:pt x="656787" y="268990"/>
                      </a:lnTo>
                      <a:lnTo>
                        <a:pt x="656423" y="268845"/>
                      </a:lnTo>
                      <a:lnTo>
                        <a:pt x="656047" y="268748"/>
                      </a:lnTo>
                      <a:lnTo>
                        <a:pt x="648008" y="266574"/>
                      </a:lnTo>
                      <a:lnTo>
                        <a:pt x="642653" y="263660"/>
                      </a:lnTo>
                      <a:lnTo>
                        <a:pt x="633813" y="252707"/>
                      </a:lnTo>
                      <a:lnTo>
                        <a:pt x="633303" y="252075"/>
                      </a:lnTo>
                      <a:lnTo>
                        <a:pt x="632647" y="251602"/>
                      </a:lnTo>
                      <a:lnTo>
                        <a:pt x="616521" y="239920"/>
                      </a:lnTo>
                      <a:lnTo>
                        <a:pt x="615902" y="239471"/>
                      </a:lnTo>
                      <a:lnTo>
                        <a:pt x="615198" y="239192"/>
                      </a:lnTo>
                      <a:lnTo>
                        <a:pt x="604451" y="234942"/>
                      </a:lnTo>
                      <a:lnTo>
                        <a:pt x="603832" y="234687"/>
                      </a:lnTo>
                      <a:lnTo>
                        <a:pt x="603176" y="234589"/>
                      </a:lnTo>
                      <a:lnTo>
                        <a:pt x="561125" y="227899"/>
                      </a:lnTo>
                      <a:lnTo>
                        <a:pt x="554447" y="225203"/>
                      </a:lnTo>
                      <a:lnTo>
                        <a:pt x="548557" y="220115"/>
                      </a:lnTo>
                      <a:lnTo>
                        <a:pt x="545206" y="214371"/>
                      </a:lnTo>
                      <a:lnTo>
                        <a:pt x="533816" y="174919"/>
                      </a:lnTo>
                      <a:lnTo>
                        <a:pt x="533694" y="174494"/>
                      </a:lnTo>
                      <a:lnTo>
                        <a:pt x="533512" y="174093"/>
                      </a:lnTo>
                      <a:lnTo>
                        <a:pt x="531836" y="170390"/>
                      </a:lnTo>
                      <a:lnTo>
                        <a:pt x="531496" y="169637"/>
                      </a:lnTo>
                      <a:lnTo>
                        <a:pt x="530974" y="169005"/>
                      </a:lnTo>
                      <a:lnTo>
                        <a:pt x="524077" y="160688"/>
                      </a:lnTo>
                      <a:lnTo>
                        <a:pt x="522049" y="155102"/>
                      </a:lnTo>
                      <a:lnTo>
                        <a:pt x="520446" y="139729"/>
                      </a:lnTo>
                      <a:lnTo>
                        <a:pt x="520410" y="139389"/>
                      </a:lnTo>
                      <a:lnTo>
                        <a:pt x="520337" y="139061"/>
                      </a:lnTo>
                      <a:lnTo>
                        <a:pt x="518625" y="131314"/>
                      </a:lnTo>
                      <a:lnTo>
                        <a:pt x="518406" y="130354"/>
                      </a:lnTo>
                      <a:lnTo>
                        <a:pt x="517908" y="129517"/>
                      </a:lnTo>
                      <a:lnTo>
                        <a:pt x="500556" y="100374"/>
                      </a:lnTo>
                      <a:lnTo>
                        <a:pt x="494703" y="86312"/>
                      </a:lnTo>
                      <a:lnTo>
                        <a:pt x="496112" y="72178"/>
                      </a:lnTo>
                      <a:lnTo>
                        <a:pt x="500908" y="62390"/>
                      </a:lnTo>
                      <a:lnTo>
                        <a:pt x="501163" y="61880"/>
                      </a:lnTo>
                      <a:lnTo>
                        <a:pt x="501309" y="61346"/>
                      </a:lnTo>
                      <a:lnTo>
                        <a:pt x="504576" y="49677"/>
                      </a:lnTo>
                      <a:lnTo>
                        <a:pt x="505013" y="48110"/>
                      </a:lnTo>
                      <a:lnTo>
                        <a:pt x="504612" y="46544"/>
                      </a:lnTo>
                      <a:lnTo>
                        <a:pt x="502499" y="38262"/>
                      </a:lnTo>
                      <a:lnTo>
                        <a:pt x="501394" y="33903"/>
                      </a:lnTo>
                      <a:lnTo>
                        <a:pt x="496901" y="33697"/>
                      </a:lnTo>
                      <a:lnTo>
                        <a:pt x="485924" y="33187"/>
                      </a:lnTo>
                      <a:lnTo>
                        <a:pt x="484370" y="33114"/>
                      </a:lnTo>
                      <a:lnTo>
                        <a:pt x="482973" y="33794"/>
                      </a:lnTo>
                      <a:lnTo>
                        <a:pt x="477764" y="36344"/>
                      </a:lnTo>
                      <a:lnTo>
                        <a:pt x="476817" y="36817"/>
                      </a:lnTo>
                      <a:lnTo>
                        <a:pt x="476076" y="37570"/>
                      </a:lnTo>
                      <a:lnTo>
                        <a:pt x="468499" y="45378"/>
                      </a:lnTo>
                      <a:lnTo>
                        <a:pt x="465985" y="46337"/>
                      </a:lnTo>
                      <a:lnTo>
                        <a:pt x="464188" y="45900"/>
                      </a:lnTo>
                      <a:lnTo>
                        <a:pt x="461529" y="43860"/>
                      </a:lnTo>
                      <a:lnTo>
                        <a:pt x="458675" y="40217"/>
                      </a:lnTo>
                      <a:lnTo>
                        <a:pt x="456040" y="35822"/>
                      </a:lnTo>
                      <a:lnTo>
                        <a:pt x="454559" y="33357"/>
                      </a:lnTo>
                      <a:lnTo>
                        <a:pt x="451717" y="32932"/>
                      </a:lnTo>
                      <a:lnTo>
                        <a:pt x="446715" y="32191"/>
                      </a:lnTo>
                      <a:lnTo>
                        <a:pt x="446059" y="32094"/>
                      </a:lnTo>
                      <a:lnTo>
                        <a:pt x="445403" y="32142"/>
                      </a:lnTo>
                      <a:lnTo>
                        <a:pt x="442938" y="32312"/>
                      </a:lnTo>
                      <a:lnTo>
                        <a:pt x="442185" y="32361"/>
                      </a:lnTo>
                      <a:lnTo>
                        <a:pt x="441481" y="32592"/>
                      </a:lnTo>
                      <a:lnTo>
                        <a:pt x="439016" y="33393"/>
                      </a:lnTo>
                      <a:lnTo>
                        <a:pt x="438142" y="33672"/>
                      </a:lnTo>
                      <a:lnTo>
                        <a:pt x="437389" y="34207"/>
                      </a:lnTo>
                      <a:lnTo>
                        <a:pt x="431961" y="38044"/>
                      </a:lnTo>
                      <a:lnTo>
                        <a:pt x="428099" y="40108"/>
                      </a:lnTo>
                      <a:lnTo>
                        <a:pt x="424566" y="40740"/>
                      </a:lnTo>
                      <a:lnTo>
                        <a:pt x="399102" y="36781"/>
                      </a:lnTo>
                      <a:lnTo>
                        <a:pt x="397791" y="36562"/>
                      </a:lnTo>
                      <a:lnTo>
                        <a:pt x="397159" y="36453"/>
                      </a:lnTo>
                      <a:lnTo>
                        <a:pt x="396516" y="36477"/>
                      </a:lnTo>
                      <a:lnTo>
                        <a:pt x="389813" y="36769"/>
                      </a:lnTo>
                      <a:lnTo>
                        <a:pt x="378010" y="38347"/>
                      </a:lnTo>
                      <a:lnTo>
                        <a:pt x="374440" y="37995"/>
                      </a:lnTo>
                      <a:lnTo>
                        <a:pt x="369995" y="35773"/>
                      </a:lnTo>
                      <a:lnTo>
                        <a:pt x="361738" y="29349"/>
                      </a:lnTo>
                      <a:lnTo>
                        <a:pt x="361216" y="28937"/>
                      </a:lnTo>
                      <a:lnTo>
                        <a:pt x="360609" y="28657"/>
                      </a:lnTo>
                      <a:lnTo>
                        <a:pt x="356019" y="26484"/>
                      </a:lnTo>
                      <a:lnTo>
                        <a:pt x="355072" y="26034"/>
                      </a:lnTo>
                      <a:lnTo>
                        <a:pt x="354040" y="25925"/>
                      </a:lnTo>
                      <a:lnTo>
                        <a:pt x="348357" y="25354"/>
                      </a:lnTo>
                      <a:lnTo>
                        <a:pt x="347701" y="25294"/>
                      </a:lnTo>
                      <a:lnTo>
                        <a:pt x="347045" y="25367"/>
                      </a:lnTo>
                      <a:lnTo>
                        <a:pt x="333870" y="26909"/>
                      </a:lnTo>
                      <a:lnTo>
                        <a:pt x="328624" y="26557"/>
                      </a:lnTo>
                      <a:lnTo>
                        <a:pt x="323682" y="24577"/>
                      </a:lnTo>
                      <a:lnTo>
                        <a:pt x="322444" y="23509"/>
                      </a:lnTo>
                      <a:lnTo>
                        <a:pt x="318776" y="18979"/>
                      </a:lnTo>
                      <a:lnTo>
                        <a:pt x="318376" y="18482"/>
                      </a:lnTo>
                      <a:lnTo>
                        <a:pt x="317878" y="18081"/>
                      </a:lnTo>
                      <a:lnTo>
                        <a:pt x="315461" y="16126"/>
                      </a:lnTo>
                      <a:lnTo>
                        <a:pt x="314502" y="15361"/>
                      </a:lnTo>
                      <a:lnTo>
                        <a:pt x="313324" y="15021"/>
                      </a:lnTo>
                      <a:lnTo>
                        <a:pt x="309766" y="13989"/>
                      </a:lnTo>
                      <a:lnTo>
                        <a:pt x="308880" y="13734"/>
                      </a:lnTo>
                      <a:lnTo>
                        <a:pt x="307957" y="13746"/>
                      </a:lnTo>
                      <a:lnTo>
                        <a:pt x="303877" y="13831"/>
                      </a:lnTo>
                      <a:lnTo>
                        <a:pt x="303440" y="13843"/>
                      </a:lnTo>
                      <a:lnTo>
                        <a:pt x="303015" y="13904"/>
                      </a:lnTo>
                      <a:lnTo>
                        <a:pt x="295887" y="15082"/>
                      </a:lnTo>
                      <a:lnTo>
                        <a:pt x="289342" y="14899"/>
                      </a:lnTo>
                      <a:lnTo>
                        <a:pt x="286537" y="14329"/>
                      </a:lnTo>
                      <a:lnTo>
                        <a:pt x="284351" y="13479"/>
                      </a:lnTo>
                      <a:lnTo>
                        <a:pt x="282700" y="12179"/>
                      </a:lnTo>
                      <a:lnTo>
                        <a:pt x="278753" y="6885"/>
                      </a:lnTo>
                      <a:lnTo>
                        <a:pt x="278523" y="6581"/>
                      </a:lnTo>
                      <a:lnTo>
                        <a:pt x="278256" y="6302"/>
                      </a:lnTo>
                      <a:lnTo>
                        <a:pt x="275620" y="3570"/>
                      </a:lnTo>
                      <a:lnTo>
                        <a:pt x="274710" y="2623"/>
                      </a:lnTo>
                      <a:lnTo>
                        <a:pt x="273496" y="2137"/>
                      </a:lnTo>
                      <a:lnTo>
                        <a:pt x="270047" y="765"/>
                      </a:lnTo>
                      <a:lnTo>
                        <a:pt x="268808" y="267"/>
                      </a:lnTo>
                      <a:lnTo>
                        <a:pt x="267485" y="340"/>
                      </a:lnTo>
                      <a:lnTo>
                        <a:pt x="260090" y="741"/>
                      </a:lnTo>
                      <a:lnTo>
                        <a:pt x="259446" y="692"/>
                      </a:lnTo>
                      <a:lnTo>
                        <a:pt x="249246" y="0"/>
                      </a:lnTo>
                      <a:lnTo>
                        <a:pt x="249246" y="0"/>
                      </a:lnTo>
                      <a:close/>
                    </a:path>
                  </a:pathLst>
                </a:custGeom>
                <a:solidFill>
                  <a:srgbClr val="FFFFFF"/>
                </a:solidFill>
                <a:ln w="12138" cap="flat">
                  <a:noFill/>
                  <a:prstDash val="solid"/>
                  <a:miter/>
                </a:ln>
              </p:spPr>
              <p:txBody>
                <a:bodyPr rtlCol="0" anchor="ctr"/>
                <a:lstStyle/>
                <a:p>
                  <a:endParaRPr lang="en-US"/>
                </a:p>
              </p:txBody>
            </p:sp>
          </p:grpSp>
          <p:grpSp>
            <p:nvGrpSpPr>
              <p:cNvPr id="276" name="Graphic 280">
                <a:extLst>
                  <a:ext uri="{FF2B5EF4-FFF2-40B4-BE49-F238E27FC236}">
                    <a16:creationId xmlns:a16="http://schemas.microsoft.com/office/drawing/2014/main" id="{F238CC6F-1A04-43C2-B9B8-B3AA0DC0EB9F}"/>
                  </a:ext>
                </a:extLst>
              </p:cNvPr>
              <p:cNvGrpSpPr/>
              <p:nvPr/>
            </p:nvGrpSpPr>
            <p:grpSpPr>
              <a:xfrm>
                <a:off x="4169534" y="651512"/>
                <a:ext cx="953912" cy="912651"/>
                <a:chOff x="4169534" y="651512"/>
                <a:chExt cx="953912" cy="912651"/>
              </a:xfrm>
            </p:grpSpPr>
            <p:sp>
              <p:nvSpPr>
                <p:cNvPr id="298" name="Freeform: Shape 297">
                  <a:extLst>
                    <a:ext uri="{FF2B5EF4-FFF2-40B4-BE49-F238E27FC236}">
                      <a16:creationId xmlns:a16="http://schemas.microsoft.com/office/drawing/2014/main" id="{B00F8762-C07A-4232-9C55-4D3F19F98AA6}"/>
                    </a:ext>
                  </a:extLst>
                </p:cNvPr>
                <p:cNvSpPr/>
                <p:nvPr/>
              </p:nvSpPr>
              <p:spPr>
                <a:xfrm>
                  <a:off x="4173942" y="654657"/>
                  <a:ext cx="946177" cy="905668"/>
                </a:xfrm>
                <a:custGeom>
                  <a:avLst/>
                  <a:gdLst>
                    <a:gd name="connsiteX0" fmla="*/ 277660 w 946177"/>
                    <a:gd name="connsiteY0" fmla="*/ 873648 h 905668"/>
                    <a:gd name="connsiteX1" fmla="*/ 276106 w 946177"/>
                    <a:gd name="connsiteY1" fmla="*/ 871705 h 905668"/>
                    <a:gd name="connsiteX2" fmla="*/ 272706 w 946177"/>
                    <a:gd name="connsiteY2" fmla="*/ 866229 h 905668"/>
                    <a:gd name="connsiteX3" fmla="*/ 271310 w 946177"/>
                    <a:gd name="connsiteY3" fmla="*/ 864383 h 905668"/>
                    <a:gd name="connsiteX4" fmla="*/ 269974 w 946177"/>
                    <a:gd name="connsiteY4" fmla="*/ 863132 h 905668"/>
                    <a:gd name="connsiteX5" fmla="*/ 267558 w 946177"/>
                    <a:gd name="connsiteY5" fmla="*/ 862039 h 905668"/>
                    <a:gd name="connsiteX6" fmla="*/ 264692 w 946177"/>
                    <a:gd name="connsiteY6" fmla="*/ 861420 h 905668"/>
                    <a:gd name="connsiteX7" fmla="*/ 259227 w 946177"/>
                    <a:gd name="connsiteY7" fmla="*/ 861760 h 905668"/>
                    <a:gd name="connsiteX8" fmla="*/ 256811 w 946177"/>
                    <a:gd name="connsiteY8" fmla="*/ 862100 h 905668"/>
                    <a:gd name="connsiteX9" fmla="*/ 255305 w 946177"/>
                    <a:gd name="connsiteY9" fmla="*/ 862537 h 905668"/>
                    <a:gd name="connsiteX10" fmla="*/ 252221 w 946177"/>
                    <a:gd name="connsiteY10" fmla="*/ 864177 h 905668"/>
                    <a:gd name="connsiteX11" fmla="*/ 249768 w 946177"/>
                    <a:gd name="connsiteY11" fmla="*/ 865087 h 905668"/>
                    <a:gd name="connsiteX12" fmla="*/ 245943 w 946177"/>
                    <a:gd name="connsiteY12" fmla="*/ 864565 h 905668"/>
                    <a:gd name="connsiteX13" fmla="*/ 241207 w 946177"/>
                    <a:gd name="connsiteY13" fmla="*/ 862270 h 905668"/>
                    <a:gd name="connsiteX14" fmla="*/ 238014 w 946177"/>
                    <a:gd name="connsiteY14" fmla="*/ 860594 h 905668"/>
                    <a:gd name="connsiteX15" fmla="*/ 236180 w 946177"/>
                    <a:gd name="connsiteY15" fmla="*/ 857376 h 905668"/>
                    <a:gd name="connsiteX16" fmla="*/ 230959 w 946177"/>
                    <a:gd name="connsiteY16" fmla="*/ 854231 h 905668"/>
                    <a:gd name="connsiteX17" fmla="*/ 220212 w 946177"/>
                    <a:gd name="connsiteY17" fmla="*/ 849787 h 905668"/>
                    <a:gd name="connsiteX18" fmla="*/ 213704 w 946177"/>
                    <a:gd name="connsiteY18" fmla="*/ 845646 h 905668"/>
                    <a:gd name="connsiteX19" fmla="*/ 209551 w 946177"/>
                    <a:gd name="connsiteY19" fmla="*/ 840534 h 905668"/>
                    <a:gd name="connsiteX20" fmla="*/ 207839 w 946177"/>
                    <a:gd name="connsiteY20" fmla="*/ 838312 h 905668"/>
                    <a:gd name="connsiteX21" fmla="*/ 213133 w 946177"/>
                    <a:gd name="connsiteY21" fmla="*/ 833528 h 905668"/>
                    <a:gd name="connsiteX22" fmla="*/ 212987 w 946177"/>
                    <a:gd name="connsiteY22" fmla="*/ 831633 h 905668"/>
                    <a:gd name="connsiteX23" fmla="*/ 214493 w 946177"/>
                    <a:gd name="connsiteY23" fmla="*/ 829229 h 905668"/>
                    <a:gd name="connsiteX24" fmla="*/ 215161 w 946177"/>
                    <a:gd name="connsiteY24" fmla="*/ 827383 h 905668"/>
                    <a:gd name="connsiteX25" fmla="*/ 215124 w 946177"/>
                    <a:gd name="connsiteY25" fmla="*/ 826983 h 905668"/>
                    <a:gd name="connsiteX26" fmla="*/ 214578 w 946177"/>
                    <a:gd name="connsiteY26" fmla="*/ 825866 h 905668"/>
                    <a:gd name="connsiteX27" fmla="*/ 213485 w 946177"/>
                    <a:gd name="connsiteY27" fmla="*/ 824991 h 905668"/>
                    <a:gd name="connsiteX28" fmla="*/ 209356 w 946177"/>
                    <a:gd name="connsiteY28" fmla="*/ 822526 h 905668"/>
                    <a:gd name="connsiteX29" fmla="*/ 208737 w 946177"/>
                    <a:gd name="connsiteY29" fmla="*/ 821409 h 905668"/>
                    <a:gd name="connsiteX30" fmla="*/ 208069 w 946177"/>
                    <a:gd name="connsiteY30" fmla="*/ 819915 h 905668"/>
                    <a:gd name="connsiteX31" fmla="*/ 207996 w 946177"/>
                    <a:gd name="connsiteY31" fmla="*/ 819575 h 905668"/>
                    <a:gd name="connsiteX32" fmla="*/ 206746 w 946177"/>
                    <a:gd name="connsiteY32" fmla="*/ 819952 h 905668"/>
                    <a:gd name="connsiteX33" fmla="*/ 205349 w 946177"/>
                    <a:gd name="connsiteY33" fmla="*/ 819903 h 905668"/>
                    <a:gd name="connsiteX34" fmla="*/ 204111 w 946177"/>
                    <a:gd name="connsiteY34" fmla="*/ 820183 h 905668"/>
                    <a:gd name="connsiteX35" fmla="*/ 201901 w 946177"/>
                    <a:gd name="connsiteY35" fmla="*/ 818847 h 905668"/>
                    <a:gd name="connsiteX36" fmla="*/ 201208 w 946177"/>
                    <a:gd name="connsiteY36" fmla="*/ 817098 h 905668"/>
                    <a:gd name="connsiteX37" fmla="*/ 200966 w 946177"/>
                    <a:gd name="connsiteY37" fmla="*/ 815180 h 905668"/>
                    <a:gd name="connsiteX38" fmla="*/ 200966 w 946177"/>
                    <a:gd name="connsiteY38" fmla="*/ 811816 h 905668"/>
                    <a:gd name="connsiteX39" fmla="*/ 204281 w 946177"/>
                    <a:gd name="connsiteY39" fmla="*/ 811573 h 905668"/>
                    <a:gd name="connsiteX40" fmla="*/ 204694 w 946177"/>
                    <a:gd name="connsiteY40" fmla="*/ 811379 h 905668"/>
                    <a:gd name="connsiteX41" fmla="*/ 204572 w 946177"/>
                    <a:gd name="connsiteY41" fmla="*/ 809084 h 905668"/>
                    <a:gd name="connsiteX42" fmla="*/ 203819 w 946177"/>
                    <a:gd name="connsiteY42" fmla="*/ 805465 h 905668"/>
                    <a:gd name="connsiteX43" fmla="*/ 203419 w 946177"/>
                    <a:gd name="connsiteY43" fmla="*/ 800547 h 905668"/>
                    <a:gd name="connsiteX44" fmla="*/ 204973 w 946177"/>
                    <a:gd name="connsiteY44" fmla="*/ 796237 h 905668"/>
                    <a:gd name="connsiteX45" fmla="*/ 205167 w 946177"/>
                    <a:gd name="connsiteY45" fmla="*/ 795265 h 905668"/>
                    <a:gd name="connsiteX46" fmla="*/ 204645 w 946177"/>
                    <a:gd name="connsiteY46" fmla="*/ 794087 h 905668"/>
                    <a:gd name="connsiteX47" fmla="*/ 202921 w 946177"/>
                    <a:gd name="connsiteY47" fmla="*/ 792084 h 905668"/>
                    <a:gd name="connsiteX48" fmla="*/ 200431 w 946177"/>
                    <a:gd name="connsiteY48" fmla="*/ 788344 h 905668"/>
                    <a:gd name="connsiteX49" fmla="*/ 199678 w 946177"/>
                    <a:gd name="connsiteY49" fmla="*/ 782831 h 905668"/>
                    <a:gd name="connsiteX50" fmla="*/ 201998 w 946177"/>
                    <a:gd name="connsiteY50" fmla="*/ 779237 h 905668"/>
                    <a:gd name="connsiteX51" fmla="*/ 203953 w 946177"/>
                    <a:gd name="connsiteY51" fmla="*/ 776954 h 905668"/>
                    <a:gd name="connsiteX52" fmla="*/ 205896 w 946177"/>
                    <a:gd name="connsiteY52" fmla="*/ 770227 h 905668"/>
                    <a:gd name="connsiteX53" fmla="*/ 208446 w 946177"/>
                    <a:gd name="connsiteY53" fmla="*/ 768551 h 905668"/>
                    <a:gd name="connsiteX54" fmla="*/ 209636 w 946177"/>
                    <a:gd name="connsiteY54" fmla="*/ 768065 h 905668"/>
                    <a:gd name="connsiteX55" fmla="*/ 210000 w 946177"/>
                    <a:gd name="connsiteY55" fmla="*/ 767992 h 905668"/>
                    <a:gd name="connsiteX56" fmla="*/ 210012 w 946177"/>
                    <a:gd name="connsiteY56" fmla="*/ 767725 h 905668"/>
                    <a:gd name="connsiteX57" fmla="*/ 209660 w 946177"/>
                    <a:gd name="connsiteY57" fmla="*/ 767033 h 905668"/>
                    <a:gd name="connsiteX58" fmla="*/ 209162 w 946177"/>
                    <a:gd name="connsiteY58" fmla="*/ 765709 h 905668"/>
                    <a:gd name="connsiteX59" fmla="*/ 207608 w 946177"/>
                    <a:gd name="connsiteY59" fmla="*/ 758351 h 905668"/>
                    <a:gd name="connsiteX60" fmla="*/ 207462 w 946177"/>
                    <a:gd name="connsiteY60" fmla="*/ 755096 h 905668"/>
                    <a:gd name="connsiteX61" fmla="*/ 208968 w 946177"/>
                    <a:gd name="connsiteY61" fmla="*/ 751915 h 905668"/>
                    <a:gd name="connsiteX62" fmla="*/ 211129 w 946177"/>
                    <a:gd name="connsiteY62" fmla="*/ 751162 h 905668"/>
                    <a:gd name="connsiteX63" fmla="*/ 211214 w 946177"/>
                    <a:gd name="connsiteY63" fmla="*/ 750919 h 905668"/>
                    <a:gd name="connsiteX64" fmla="*/ 210899 w 946177"/>
                    <a:gd name="connsiteY64" fmla="*/ 748296 h 905668"/>
                    <a:gd name="connsiteX65" fmla="*/ 209624 w 946177"/>
                    <a:gd name="connsiteY65" fmla="*/ 745066 h 905668"/>
                    <a:gd name="connsiteX66" fmla="*/ 207839 w 946177"/>
                    <a:gd name="connsiteY66" fmla="*/ 741703 h 905668"/>
                    <a:gd name="connsiteX67" fmla="*/ 206041 w 946177"/>
                    <a:gd name="connsiteY67" fmla="*/ 739432 h 905668"/>
                    <a:gd name="connsiteX68" fmla="*/ 200808 w 946177"/>
                    <a:gd name="connsiteY68" fmla="*/ 735158 h 905668"/>
                    <a:gd name="connsiteX69" fmla="*/ 199496 w 946177"/>
                    <a:gd name="connsiteY69" fmla="*/ 731867 h 905668"/>
                    <a:gd name="connsiteX70" fmla="*/ 200541 w 946177"/>
                    <a:gd name="connsiteY70" fmla="*/ 728746 h 905668"/>
                    <a:gd name="connsiteX71" fmla="*/ 200407 w 946177"/>
                    <a:gd name="connsiteY71" fmla="*/ 728224 h 905668"/>
                    <a:gd name="connsiteX72" fmla="*/ 200504 w 946177"/>
                    <a:gd name="connsiteY72" fmla="*/ 725237 h 905668"/>
                    <a:gd name="connsiteX73" fmla="*/ 204184 w 946177"/>
                    <a:gd name="connsiteY73" fmla="*/ 717429 h 905668"/>
                    <a:gd name="connsiteX74" fmla="*/ 204936 w 946177"/>
                    <a:gd name="connsiteY74" fmla="*/ 715049 h 905668"/>
                    <a:gd name="connsiteX75" fmla="*/ 204621 w 946177"/>
                    <a:gd name="connsiteY75" fmla="*/ 712159 h 905668"/>
                    <a:gd name="connsiteX76" fmla="*/ 203977 w 946177"/>
                    <a:gd name="connsiteY76" fmla="*/ 708771 h 905668"/>
                    <a:gd name="connsiteX77" fmla="*/ 202763 w 946177"/>
                    <a:gd name="connsiteY77" fmla="*/ 705784 h 905668"/>
                    <a:gd name="connsiteX78" fmla="*/ 200881 w 946177"/>
                    <a:gd name="connsiteY78" fmla="*/ 703355 h 905668"/>
                    <a:gd name="connsiteX79" fmla="*/ 198501 w 946177"/>
                    <a:gd name="connsiteY79" fmla="*/ 696228 h 905668"/>
                    <a:gd name="connsiteX80" fmla="*/ 201451 w 946177"/>
                    <a:gd name="connsiteY80" fmla="*/ 680053 h 905668"/>
                    <a:gd name="connsiteX81" fmla="*/ 201002 w 946177"/>
                    <a:gd name="connsiteY81" fmla="*/ 674407 h 905668"/>
                    <a:gd name="connsiteX82" fmla="*/ 189466 w 946177"/>
                    <a:gd name="connsiteY82" fmla="*/ 653776 h 905668"/>
                    <a:gd name="connsiteX83" fmla="*/ 189466 w 946177"/>
                    <a:gd name="connsiteY83" fmla="*/ 652987 h 905668"/>
                    <a:gd name="connsiteX84" fmla="*/ 187608 w 946177"/>
                    <a:gd name="connsiteY84" fmla="*/ 640661 h 905668"/>
                    <a:gd name="connsiteX85" fmla="*/ 184330 w 946177"/>
                    <a:gd name="connsiteY85" fmla="*/ 628348 h 905668"/>
                    <a:gd name="connsiteX86" fmla="*/ 183966 w 946177"/>
                    <a:gd name="connsiteY86" fmla="*/ 623941 h 905668"/>
                    <a:gd name="connsiteX87" fmla="*/ 184354 w 946177"/>
                    <a:gd name="connsiteY87" fmla="*/ 616218 h 905668"/>
                    <a:gd name="connsiteX88" fmla="*/ 184172 w 946177"/>
                    <a:gd name="connsiteY88" fmla="*/ 612903 h 905668"/>
                    <a:gd name="connsiteX89" fmla="*/ 181355 w 946177"/>
                    <a:gd name="connsiteY89" fmla="*/ 599205 h 905668"/>
                    <a:gd name="connsiteX90" fmla="*/ 178780 w 946177"/>
                    <a:gd name="connsiteY90" fmla="*/ 596668 h 905668"/>
                    <a:gd name="connsiteX91" fmla="*/ 177809 w 946177"/>
                    <a:gd name="connsiteY91" fmla="*/ 593996 h 905668"/>
                    <a:gd name="connsiteX92" fmla="*/ 176425 w 946177"/>
                    <a:gd name="connsiteY92" fmla="*/ 591422 h 905668"/>
                    <a:gd name="connsiteX93" fmla="*/ 169139 w 946177"/>
                    <a:gd name="connsiteY93" fmla="*/ 581440 h 905668"/>
                    <a:gd name="connsiteX94" fmla="*/ 166965 w 946177"/>
                    <a:gd name="connsiteY94" fmla="*/ 574907 h 905668"/>
                    <a:gd name="connsiteX95" fmla="*/ 170475 w 946177"/>
                    <a:gd name="connsiteY95" fmla="*/ 569079 h 905668"/>
                    <a:gd name="connsiteX96" fmla="*/ 171143 w 946177"/>
                    <a:gd name="connsiteY96" fmla="*/ 567075 h 905668"/>
                    <a:gd name="connsiteX97" fmla="*/ 172029 w 946177"/>
                    <a:gd name="connsiteY97" fmla="*/ 563420 h 905668"/>
                    <a:gd name="connsiteX98" fmla="*/ 172236 w 946177"/>
                    <a:gd name="connsiteY98" fmla="*/ 555989 h 905668"/>
                    <a:gd name="connsiteX99" fmla="*/ 172381 w 946177"/>
                    <a:gd name="connsiteY99" fmla="*/ 554920 h 905668"/>
                    <a:gd name="connsiteX100" fmla="*/ 173110 w 946177"/>
                    <a:gd name="connsiteY100" fmla="*/ 553062 h 905668"/>
                    <a:gd name="connsiteX101" fmla="*/ 174312 w 946177"/>
                    <a:gd name="connsiteY101" fmla="*/ 551180 h 905668"/>
                    <a:gd name="connsiteX102" fmla="*/ 173936 w 946177"/>
                    <a:gd name="connsiteY102" fmla="*/ 545230 h 905668"/>
                    <a:gd name="connsiteX103" fmla="*/ 174093 w 946177"/>
                    <a:gd name="connsiteY103" fmla="*/ 543955 h 905668"/>
                    <a:gd name="connsiteX104" fmla="*/ 174761 w 946177"/>
                    <a:gd name="connsiteY104" fmla="*/ 541988 h 905668"/>
                    <a:gd name="connsiteX105" fmla="*/ 175696 w 946177"/>
                    <a:gd name="connsiteY105" fmla="*/ 540385 h 905668"/>
                    <a:gd name="connsiteX106" fmla="*/ 175903 w 946177"/>
                    <a:gd name="connsiteY106" fmla="*/ 537009 h 905668"/>
                    <a:gd name="connsiteX107" fmla="*/ 176012 w 946177"/>
                    <a:gd name="connsiteY107" fmla="*/ 536487 h 905668"/>
                    <a:gd name="connsiteX108" fmla="*/ 176461 w 946177"/>
                    <a:gd name="connsiteY108" fmla="*/ 535151 h 905668"/>
                    <a:gd name="connsiteX109" fmla="*/ 177481 w 946177"/>
                    <a:gd name="connsiteY109" fmla="*/ 533609 h 905668"/>
                    <a:gd name="connsiteX110" fmla="*/ 179084 w 946177"/>
                    <a:gd name="connsiteY110" fmla="*/ 532225 h 905668"/>
                    <a:gd name="connsiteX111" fmla="*/ 180808 w 946177"/>
                    <a:gd name="connsiteY111" fmla="*/ 531375 h 905668"/>
                    <a:gd name="connsiteX112" fmla="*/ 187390 w 946177"/>
                    <a:gd name="connsiteY112" fmla="*/ 530112 h 905668"/>
                    <a:gd name="connsiteX113" fmla="*/ 188896 w 946177"/>
                    <a:gd name="connsiteY113" fmla="*/ 530088 h 905668"/>
                    <a:gd name="connsiteX114" fmla="*/ 190280 w 946177"/>
                    <a:gd name="connsiteY114" fmla="*/ 530209 h 905668"/>
                    <a:gd name="connsiteX115" fmla="*/ 194190 w 946177"/>
                    <a:gd name="connsiteY115" fmla="*/ 530914 h 905668"/>
                    <a:gd name="connsiteX116" fmla="*/ 197638 w 946177"/>
                    <a:gd name="connsiteY116" fmla="*/ 529408 h 905668"/>
                    <a:gd name="connsiteX117" fmla="*/ 200031 w 946177"/>
                    <a:gd name="connsiteY117" fmla="*/ 528266 h 905668"/>
                    <a:gd name="connsiteX118" fmla="*/ 202156 w 946177"/>
                    <a:gd name="connsiteY118" fmla="*/ 527599 h 905668"/>
                    <a:gd name="connsiteX119" fmla="*/ 204135 w 946177"/>
                    <a:gd name="connsiteY119" fmla="*/ 527271 h 905668"/>
                    <a:gd name="connsiteX120" fmla="*/ 206151 w 946177"/>
                    <a:gd name="connsiteY120" fmla="*/ 527259 h 905668"/>
                    <a:gd name="connsiteX121" fmla="*/ 208810 w 946177"/>
                    <a:gd name="connsiteY121" fmla="*/ 527574 h 905668"/>
                    <a:gd name="connsiteX122" fmla="*/ 211008 w 946177"/>
                    <a:gd name="connsiteY122" fmla="*/ 528789 h 905668"/>
                    <a:gd name="connsiteX123" fmla="*/ 211785 w 946177"/>
                    <a:gd name="connsiteY123" fmla="*/ 530258 h 905668"/>
                    <a:gd name="connsiteX124" fmla="*/ 211858 w 946177"/>
                    <a:gd name="connsiteY124" fmla="*/ 530525 h 905668"/>
                    <a:gd name="connsiteX125" fmla="*/ 212392 w 946177"/>
                    <a:gd name="connsiteY125" fmla="*/ 529456 h 905668"/>
                    <a:gd name="connsiteX126" fmla="*/ 216072 w 946177"/>
                    <a:gd name="connsiteY126" fmla="*/ 519621 h 905668"/>
                    <a:gd name="connsiteX127" fmla="*/ 218962 w 946177"/>
                    <a:gd name="connsiteY127" fmla="*/ 518503 h 905668"/>
                    <a:gd name="connsiteX128" fmla="*/ 215707 w 946177"/>
                    <a:gd name="connsiteY128" fmla="*/ 518212 h 905668"/>
                    <a:gd name="connsiteX129" fmla="*/ 214675 w 946177"/>
                    <a:gd name="connsiteY129" fmla="*/ 516743 h 905668"/>
                    <a:gd name="connsiteX130" fmla="*/ 214201 w 946177"/>
                    <a:gd name="connsiteY130" fmla="*/ 515723 h 905668"/>
                    <a:gd name="connsiteX131" fmla="*/ 214044 w 946177"/>
                    <a:gd name="connsiteY131" fmla="*/ 515031 h 905668"/>
                    <a:gd name="connsiteX132" fmla="*/ 213776 w 946177"/>
                    <a:gd name="connsiteY132" fmla="*/ 512760 h 905668"/>
                    <a:gd name="connsiteX133" fmla="*/ 214250 w 946177"/>
                    <a:gd name="connsiteY133" fmla="*/ 511048 h 905668"/>
                    <a:gd name="connsiteX134" fmla="*/ 214796 w 946177"/>
                    <a:gd name="connsiteY134" fmla="*/ 509858 h 905668"/>
                    <a:gd name="connsiteX135" fmla="*/ 220431 w 946177"/>
                    <a:gd name="connsiteY135" fmla="*/ 501673 h 905668"/>
                    <a:gd name="connsiteX136" fmla="*/ 221086 w 946177"/>
                    <a:gd name="connsiteY136" fmla="*/ 500313 h 905668"/>
                    <a:gd name="connsiteX137" fmla="*/ 222532 w 946177"/>
                    <a:gd name="connsiteY137" fmla="*/ 496148 h 905668"/>
                    <a:gd name="connsiteX138" fmla="*/ 224596 w 946177"/>
                    <a:gd name="connsiteY138" fmla="*/ 492408 h 905668"/>
                    <a:gd name="connsiteX139" fmla="*/ 224960 w 946177"/>
                    <a:gd name="connsiteY139" fmla="*/ 492263 h 905668"/>
                    <a:gd name="connsiteX140" fmla="*/ 225847 w 946177"/>
                    <a:gd name="connsiteY140" fmla="*/ 491230 h 905668"/>
                    <a:gd name="connsiteX141" fmla="*/ 228020 w 946177"/>
                    <a:gd name="connsiteY141" fmla="*/ 489251 h 905668"/>
                    <a:gd name="connsiteX142" fmla="*/ 232307 w 946177"/>
                    <a:gd name="connsiteY142" fmla="*/ 486191 h 905668"/>
                    <a:gd name="connsiteX143" fmla="*/ 234444 w 946177"/>
                    <a:gd name="connsiteY143" fmla="*/ 484940 h 905668"/>
                    <a:gd name="connsiteX144" fmla="*/ 236982 w 946177"/>
                    <a:gd name="connsiteY144" fmla="*/ 483933 h 905668"/>
                    <a:gd name="connsiteX145" fmla="*/ 241207 w 946177"/>
                    <a:gd name="connsiteY145" fmla="*/ 484175 h 905668"/>
                    <a:gd name="connsiteX146" fmla="*/ 243272 w 946177"/>
                    <a:gd name="connsiteY146" fmla="*/ 483253 h 905668"/>
                    <a:gd name="connsiteX147" fmla="*/ 246745 w 946177"/>
                    <a:gd name="connsiteY147" fmla="*/ 480800 h 905668"/>
                    <a:gd name="connsiteX148" fmla="*/ 247813 w 946177"/>
                    <a:gd name="connsiteY148" fmla="*/ 480375 h 905668"/>
                    <a:gd name="connsiteX149" fmla="*/ 252403 w 946177"/>
                    <a:gd name="connsiteY149" fmla="*/ 479452 h 905668"/>
                    <a:gd name="connsiteX150" fmla="*/ 260284 w 946177"/>
                    <a:gd name="connsiteY150" fmla="*/ 480047 h 905668"/>
                    <a:gd name="connsiteX151" fmla="*/ 262494 w 946177"/>
                    <a:gd name="connsiteY151" fmla="*/ 478577 h 905668"/>
                    <a:gd name="connsiteX152" fmla="*/ 262494 w 946177"/>
                    <a:gd name="connsiteY152" fmla="*/ 478310 h 905668"/>
                    <a:gd name="connsiteX153" fmla="*/ 264194 w 946177"/>
                    <a:gd name="connsiteY153" fmla="*/ 477436 h 905668"/>
                    <a:gd name="connsiteX154" fmla="*/ 266647 w 946177"/>
                    <a:gd name="connsiteY154" fmla="*/ 475857 h 905668"/>
                    <a:gd name="connsiteX155" fmla="*/ 267570 w 946177"/>
                    <a:gd name="connsiteY155" fmla="*/ 474898 h 905668"/>
                    <a:gd name="connsiteX156" fmla="*/ 268408 w 946177"/>
                    <a:gd name="connsiteY156" fmla="*/ 473356 h 905668"/>
                    <a:gd name="connsiteX157" fmla="*/ 271213 w 946177"/>
                    <a:gd name="connsiteY157" fmla="*/ 470539 h 905668"/>
                    <a:gd name="connsiteX158" fmla="*/ 271820 w 946177"/>
                    <a:gd name="connsiteY158" fmla="*/ 470284 h 905668"/>
                    <a:gd name="connsiteX159" fmla="*/ 272318 w 946177"/>
                    <a:gd name="connsiteY159" fmla="*/ 469737 h 905668"/>
                    <a:gd name="connsiteX160" fmla="*/ 274661 w 946177"/>
                    <a:gd name="connsiteY160" fmla="*/ 468730 h 905668"/>
                    <a:gd name="connsiteX161" fmla="*/ 278389 w 946177"/>
                    <a:gd name="connsiteY161" fmla="*/ 468268 h 905668"/>
                    <a:gd name="connsiteX162" fmla="*/ 280745 w 946177"/>
                    <a:gd name="connsiteY162" fmla="*/ 470842 h 905668"/>
                    <a:gd name="connsiteX163" fmla="*/ 279713 w 946177"/>
                    <a:gd name="connsiteY163" fmla="*/ 467989 h 905668"/>
                    <a:gd name="connsiteX164" fmla="*/ 284011 w 946177"/>
                    <a:gd name="connsiteY164" fmla="*/ 466410 h 905668"/>
                    <a:gd name="connsiteX165" fmla="*/ 284618 w 946177"/>
                    <a:gd name="connsiteY165" fmla="*/ 465305 h 905668"/>
                    <a:gd name="connsiteX166" fmla="*/ 285481 w 946177"/>
                    <a:gd name="connsiteY166" fmla="*/ 462257 h 905668"/>
                    <a:gd name="connsiteX167" fmla="*/ 286537 w 946177"/>
                    <a:gd name="connsiteY167" fmla="*/ 459622 h 905668"/>
                    <a:gd name="connsiteX168" fmla="*/ 287533 w 946177"/>
                    <a:gd name="connsiteY168" fmla="*/ 458323 h 905668"/>
                    <a:gd name="connsiteX169" fmla="*/ 287533 w 946177"/>
                    <a:gd name="connsiteY169" fmla="*/ 457777 h 905668"/>
                    <a:gd name="connsiteX170" fmla="*/ 290933 w 946177"/>
                    <a:gd name="connsiteY170" fmla="*/ 455433 h 905668"/>
                    <a:gd name="connsiteX171" fmla="*/ 291552 w 946177"/>
                    <a:gd name="connsiteY171" fmla="*/ 454085 h 905668"/>
                    <a:gd name="connsiteX172" fmla="*/ 291831 w 946177"/>
                    <a:gd name="connsiteY172" fmla="*/ 452798 h 905668"/>
                    <a:gd name="connsiteX173" fmla="*/ 291564 w 946177"/>
                    <a:gd name="connsiteY173" fmla="*/ 450467 h 905668"/>
                    <a:gd name="connsiteX174" fmla="*/ 291880 w 946177"/>
                    <a:gd name="connsiteY174" fmla="*/ 447977 h 905668"/>
                    <a:gd name="connsiteX175" fmla="*/ 292584 w 946177"/>
                    <a:gd name="connsiteY175" fmla="*/ 445403 h 905668"/>
                    <a:gd name="connsiteX176" fmla="*/ 294588 w 946177"/>
                    <a:gd name="connsiteY176" fmla="*/ 442938 h 905668"/>
                    <a:gd name="connsiteX177" fmla="*/ 296664 w 946177"/>
                    <a:gd name="connsiteY177" fmla="*/ 440874 h 905668"/>
                    <a:gd name="connsiteX178" fmla="*/ 298303 w 946177"/>
                    <a:gd name="connsiteY178" fmla="*/ 439708 h 905668"/>
                    <a:gd name="connsiteX179" fmla="*/ 297806 w 946177"/>
                    <a:gd name="connsiteY179" fmla="*/ 439222 h 905668"/>
                    <a:gd name="connsiteX180" fmla="*/ 295802 w 946177"/>
                    <a:gd name="connsiteY180" fmla="*/ 438481 h 905668"/>
                    <a:gd name="connsiteX181" fmla="*/ 296834 w 946177"/>
                    <a:gd name="connsiteY181" fmla="*/ 435555 h 905668"/>
                    <a:gd name="connsiteX182" fmla="*/ 294661 w 946177"/>
                    <a:gd name="connsiteY182" fmla="*/ 437741 h 905668"/>
                    <a:gd name="connsiteX183" fmla="*/ 293495 w 946177"/>
                    <a:gd name="connsiteY183" fmla="*/ 436587 h 905668"/>
                    <a:gd name="connsiteX184" fmla="*/ 292839 w 946177"/>
                    <a:gd name="connsiteY184" fmla="*/ 435555 h 905668"/>
                    <a:gd name="connsiteX185" fmla="*/ 292621 w 946177"/>
                    <a:gd name="connsiteY185" fmla="*/ 435009 h 905668"/>
                    <a:gd name="connsiteX186" fmla="*/ 292135 w 946177"/>
                    <a:gd name="connsiteY186" fmla="*/ 433321 h 905668"/>
                    <a:gd name="connsiteX187" fmla="*/ 292208 w 946177"/>
                    <a:gd name="connsiteY187" fmla="*/ 431730 h 905668"/>
                    <a:gd name="connsiteX188" fmla="*/ 292487 w 946177"/>
                    <a:gd name="connsiteY188" fmla="*/ 430528 h 905668"/>
                    <a:gd name="connsiteX189" fmla="*/ 294393 w 946177"/>
                    <a:gd name="connsiteY189" fmla="*/ 426387 h 905668"/>
                    <a:gd name="connsiteX190" fmla="*/ 295401 w 946177"/>
                    <a:gd name="connsiteY190" fmla="*/ 424724 h 905668"/>
                    <a:gd name="connsiteX191" fmla="*/ 297174 w 946177"/>
                    <a:gd name="connsiteY191" fmla="*/ 422793 h 905668"/>
                    <a:gd name="connsiteX192" fmla="*/ 299506 w 946177"/>
                    <a:gd name="connsiteY192" fmla="*/ 420886 h 905668"/>
                    <a:gd name="connsiteX193" fmla="*/ 301376 w 946177"/>
                    <a:gd name="connsiteY193" fmla="*/ 420279 h 905668"/>
                    <a:gd name="connsiteX194" fmla="*/ 300076 w 946177"/>
                    <a:gd name="connsiteY194" fmla="*/ 419101 h 905668"/>
                    <a:gd name="connsiteX195" fmla="*/ 299032 w 946177"/>
                    <a:gd name="connsiteY195" fmla="*/ 416709 h 905668"/>
                    <a:gd name="connsiteX196" fmla="*/ 298874 w 946177"/>
                    <a:gd name="connsiteY196" fmla="*/ 415908 h 905668"/>
                    <a:gd name="connsiteX197" fmla="*/ 297672 w 946177"/>
                    <a:gd name="connsiteY197" fmla="*/ 415908 h 905668"/>
                    <a:gd name="connsiteX198" fmla="*/ 289403 w 946177"/>
                    <a:gd name="connsiteY198" fmla="*/ 415143 h 905668"/>
                    <a:gd name="connsiteX199" fmla="*/ 287703 w 946177"/>
                    <a:gd name="connsiteY199" fmla="*/ 414645 h 905668"/>
                    <a:gd name="connsiteX200" fmla="*/ 286124 w 946177"/>
                    <a:gd name="connsiteY200" fmla="*/ 413868 h 905668"/>
                    <a:gd name="connsiteX201" fmla="*/ 282299 w 946177"/>
                    <a:gd name="connsiteY201" fmla="*/ 410468 h 905668"/>
                    <a:gd name="connsiteX202" fmla="*/ 281194 w 946177"/>
                    <a:gd name="connsiteY202" fmla="*/ 408962 h 905668"/>
                    <a:gd name="connsiteX203" fmla="*/ 278595 w 946177"/>
                    <a:gd name="connsiteY203" fmla="*/ 408962 h 905668"/>
                    <a:gd name="connsiteX204" fmla="*/ 277600 w 946177"/>
                    <a:gd name="connsiteY204" fmla="*/ 409266 h 905668"/>
                    <a:gd name="connsiteX205" fmla="*/ 275790 w 946177"/>
                    <a:gd name="connsiteY205" fmla="*/ 410188 h 905668"/>
                    <a:gd name="connsiteX206" fmla="*/ 274285 w 946177"/>
                    <a:gd name="connsiteY206" fmla="*/ 409873 h 905668"/>
                    <a:gd name="connsiteX207" fmla="*/ 273775 w 946177"/>
                    <a:gd name="connsiteY207" fmla="*/ 409654 h 905668"/>
                    <a:gd name="connsiteX208" fmla="*/ 272961 w 946177"/>
                    <a:gd name="connsiteY208" fmla="*/ 409472 h 905668"/>
                    <a:gd name="connsiteX209" fmla="*/ 272281 w 946177"/>
                    <a:gd name="connsiteY209" fmla="*/ 409193 h 905668"/>
                    <a:gd name="connsiteX210" fmla="*/ 270885 w 946177"/>
                    <a:gd name="connsiteY210" fmla="*/ 408221 h 905668"/>
                    <a:gd name="connsiteX211" fmla="*/ 266805 w 946177"/>
                    <a:gd name="connsiteY211" fmla="*/ 403303 h 905668"/>
                    <a:gd name="connsiteX212" fmla="*/ 262676 w 946177"/>
                    <a:gd name="connsiteY212" fmla="*/ 401858 h 905668"/>
                    <a:gd name="connsiteX213" fmla="*/ 262142 w 946177"/>
                    <a:gd name="connsiteY213" fmla="*/ 401822 h 905668"/>
                    <a:gd name="connsiteX214" fmla="*/ 258960 w 946177"/>
                    <a:gd name="connsiteY214" fmla="*/ 402915 h 905668"/>
                    <a:gd name="connsiteX215" fmla="*/ 256847 w 946177"/>
                    <a:gd name="connsiteY215" fmla="*/ 403048 h 905668"/>
                    <a:gd name="connsiteX216" fmla="*/ 256095 w 946177"/>
                    <a:gd name="connsiteY216" fmla="*/ 402745 h 905668"/>
                    <a:gd name="connsiteX217" fmla="*/ 254905 w 946177"/>
                    <a:gd name="connsiteY217" fmla="*/ 402162 h 905668"/>
                    <a:gd name="connsiteX218" fmla="*/ 250472 w 946177"/>
                    <a:gd name="connsiteY218" fmla="*/ 397985 h 905668"/>
                    <a:gd name="connsiteX219" fmla="*/ 247813 w 946177"/>
                    <a:gd name="connsiteY219" fmla="*/ 396722 h 905668"/>
                    <a:gd name="connsiteX220" fmla="*/ 246732 w 946177"/>
                    <a:gd name="connsiteY220" fmla="*/ 396418 h 905668"/>
                    <a:gd name="connsiteX221" fmla="*/ 244935 w 946177"/>
                    <a:gd name="connsiteY221" fmla="*/ 396030 h 905668"/>
                    <a:gd name="connsiteX222" fmla="*/ 240807 w 946177"/>
                    <a:gd name="connsiteY222" fmla="*/ 396042 h 905668"/>
                    <a:gd name="connsiteX223" fmla="*/ 237030 w 946177"/>
                    <a:gd name="connsiteY223" fmla="*/ 399891 h 905668"/>
                    <a:gd name="connsiteX224" fmla="*/ 235682 w 946177"/>
                    <a:gd name="connsiteY224" fmla="*/ 400778 h 905668"/>
                    <a:gd name="connsiteX225" fmla="*/ 234334 w 946177"/>
                    <a:gd name="connsiteY225" fmla="*/ 401361 h 905668"/>
                    <a:gd name="connsiteX226" fmla="*/ 233096 w 946177"/>
                    <a:gd name="connsiteY226" fmla="*/ 401518 h 905668"/>
                    <a:gd name="connsiteX227" fmla="*/ 232234 w 946177"/>
                    <a:gd name="connsiteY227" fmla="*/ 401482 h 905668"/>
                    <a:gd name="connsiteX228" fmla="*/ 230837 w 946177"/>
                    <a:gd name="connsiteY228" fmla="*/ 400984 h 905668"/>
                    <a:gd name="connsiteX229" fmla="*/ 229744 w 946177"/>
                    <a:gd name="connsiteY229" fmla="*/ 400304 h 905668"/>
                    <a:gd name="connsiteX230" fmla="*/ 228712 w 946177"/>
                    <a:gd name="connsiteY230" fmla="*/ 399418 h 905668"/>
                    <a:gd name="connsiteX231" fmla="*/ 226466 w 946177"/>
                    <a:gd name="connsiteY231" fmla="*/ 396139 h 905668"/>
                    <a:gd name="connsiteX232" fmla="*/ 226259 w 946177"/>
                    <a:gd name="connsiteY232" fmla="*/ 393808 h 905668"/>
                    <a:gd name="connsiteX233" fmla="*/ 226296 w 946177"/>
                    <a:gd name="connsiteY233" fmla="*/ 393346 h 905668"/>
                    <a:gd name="connsiteX234" fmla="*/ 226539 w 946177"/>
                    <a:gd name="connsiteY234" fmla="*/ 392108 h 905668"/>
                    <a:gd name="connsiteX235" fmla="*/ 227000 w 946177"/>
                    <a:gd name="connsiteY235" fmla="*/ 390954 h 905668"/>
                    <a:gd name="connsiteX236" fmla="*/ 227267 w 946177"/>
                    <a:gd name="connsiteY236" fmla="*/ 388416 h 905668"/>
                    <a:gd name="connsiteX237" fmla="*/ 221694 w 946177"/>
                    <a:gd name="connsiteY237" fmla="*/ 379090 h 905668"/>
                    <a:gd name="connsiteX238" fmla="*/ 221317 w 946177"/>
                    <a:gd name="connsiteY238" fmla="*/ 378131 h 905668"/>
                    <a:gd name="connsiteX239" fmla="*/ 221050 w 946177"/>
                    <a:gd name="connsiteY239" fmla="*/ 376091 h 905668"/>
                    <a:gd name="connsiteX240" fmla="*/ 221742 w 946177"/>
                    <a:gd name="connsiteY240" fmla="*/ 369230 h 905668"/>
                    <a:gd name="connsiteX241" fmla="*/ 221584 w 946177"/>
                    <a:gd name="connsiteY241" fmla="*/ 367943 h 905668"/>
                    <a:gd name="connsiteX242" fmla="*/ 221815 w 946177"/>
                    <a:gd name="connsiteY242" fmla="*/ 365818 h 905668"/>
                    <a:gd name="connsiteX243" fmla="*/ 224948 w 946177"/>
                    <a:gd name="connsiteY243" fmla="*/ 366158 h 905668"/>
                    <a:gd name="connsiteX244" fmla="*/ 222568 w 946177"/>
                    <a:gd name="connsiteY244" fmla="*/ 363924 h 905668"/>
                    <a:gd name="connsiteX245" fmla="*/ 227134 w 946177"/>
                    <a:gd name="connsiteY245" fmla="*/ 356650 h 905668"/>
                    <a:gd name="connsiteX246" fmla="*/ 228105 w 946177"/>
                    <a:gd name="connsiteY246" fmla="*/ 354671 h 905668"/>
                    <a:gd name="connsiteX247" fmla="*/ 228712 w 946177"/>
                    <a:gd name="connsiteY247" fmla="*/ 353165 h 905668"/>
                    <a:gd name="connsiteX248" fmla="*/ 229016 w 946177"/>
                    <a:gd name="connsiteY248" fmla="*/ 352631 h 905668"/>
                    <a:gd name="connsiteX249" fmla="*/ 229793 w 946177"/>
                    <a:gd name="connsiteY249" fmla="*/ 351720 h 905668"/>
                    <a:gd name="connsiteX250" fmla="*/ 232598 w 946177"/>
                    <a:gd name="connsiteY250" fmla="*/ 349547 h 905668"/>
                    <a:gd name="connsiteX251" fmla="*/ 237783 w 946177"/>
                    <a:gd name="connsiteY251" fmla="*/ 346814 h 905668"/>
                    <a:gd name="connsiteX252" fmla="*/ 239070 w 946177"/>
                    <a:gd name="connsiteY252" fmla="*/ 346317 h 905668"/>
                    <a:gd name="connsiteX253" fmla="*/ 238791 w 946177"/>
                    <a:gd name="connsiteY253" fmla="*/ 345114 h 905668"/>
                    <a:gd name="connsiteX254" fmla="*/ 238220 w 946177"/>
                    <a:gd name="connsiteY254" fmla="*/ 336262 h 905668"/>
                    <a:gd name="connsiteX255" fmla="*/ 237552 w 946177"/>
                    <a:gd name="connsiteY255" fmla="*/ 334125 h 905668"/>
                    <a:gd name="connsiteX256" fmla="*/ 236532 w 946177"/>
                    <a:gd name="connsiteY256" fmla="*/ 333700 h 905668"/>
                    <a:gd name="connsiteX257" fmla="*/ 212866 w 946177"/>
                    <a:gd name="connsiteY257" fmla="*/ 330397 h 905668"/>
                    <a:gd name="connsiteX258" fmla="*/ 201451 w 946177"/>
                    <a:gd name="connsiteY258" fmla="*/ 330689 h 905668"/>
                    <a:gd name="connsiteX259" fmla="*/ 189539 w 946177"/>
                    <a:gd name="connsiteY259" fmla="*/ 332474 h 905668"/>
                    <a:gd name="connsiteX260" fmla="*/ 186880 w 946177"/>
                    <a:gd name="connsiteY260" fmla="*/ 331405 h 905668"/>
                    <a:gd name="connsiteX261" fmla="*/ 186843 w 946177"/>
                    <a:gd name="connsiteY261" fmla="*/ 330919 h 905668"/>
                    <a:gd name="connsiteX262" fmla="*/ 181270 w 946177"/>
                    <a:gd name="connsiteY262" fmla="*/ 327070 h 905668"/>
                    <a:gd name="connsiteX263" fmla="*/ 178623 w 946177"/>
                    <a:gd name="connsiteY263" fmla="*/ 326584 h 905668"/>
                    <a:gd name="connsiteX264" fmla="*/ 170438 w 946177"/>
                    <a:gd name="connsiteY264" fmla="*/ 330555 h 905668"/>
                    <a:gd name="connsiteX265" fmla="*/ 169224 w 946177"/>
                    <a:gd name="connsiteY265" fmla="*/ 327519 h 905668"/>
                    <a:gd name="connsiteX266" fmla="*/ 166820 w 946177"/>
                    <a:gd name="connsiteY266" fmla="*/ 322856 h 905668"/>
                    <a:gd name="connsiteX267" fmla="*/ 166395 w 946177"/>
                    <a:gd name="connsiteY267" fmla="*/ 321496 h 905668"/>
                    <a:gd name="connsiteX268" fmla="*/ 166018 w 946177"/>
                    <a:gd name="connsiteY268" fmla="*/ 320707 h 905668"/>
                    <a:gd name="connsiteX269" fmla="*/ 165023 w 946177"/>
                    <a:gd name="connsiteY269" fmla="*/ 320100 h 905668"/>
                    <a:gd name="connsiteX270" fmla="*/ 163930 w 946177"/>
                    <a:gd name="connsiteY270" fmla="*/ 319554 h 905668"/>
                    <a:gd name="connsiteX271" fmla="*/ 162849 w 946177"/>
                    <a:gd name="connsiteY271" fmla="*/ 319165 h 905668"/>
                    <a:gd name="connsiteX272" fmla="*/ 161198 w 946177"/>
                    <a:gd name="connsiteY272" fmla="*/ 318910 h 905668"/>
                    <a:gd name="connsiteX273" fmla="*/ 156923 w 946177"/>
                    <a:gd name="connsiteY273" fmla="*/ 319250 h 905668"/>
                    <a:gd name="connsiteX274" fmla="*/ 155867 w 946177"/>
                    <a:gd name="connsiteY274" fmla="*/ 319141 h 905668"/>
                    <a:gd name="connsiteX275" fmla="*/ 152661 w 946177"/>
                    <a:gd name="connsiteY275" fmla="*/ 318351 h 905668"/>
                    <a:gd name="connsiteX276" fmla="*/ 151459 w 946177"/>
                    <a:gd name="connsiteY276" fmla="*/ 317890 h 905668"/>
                    <a:gd name="connsiteX277" fmla="*/ 150815 w 946177"/>
                    <a:gd name="connsiteY277" fmla="*/ 317380 h 905668"/>
                    <a:gd name="connsiteX278" fmla="*/ 149419 w 946177"/>
                    <a:gd name="connsiteY278" fmla="*/ 315850 h 905668"/>
                    <a:gd name="connsiteX279" fmla="*/ 148496 w 946177"/>
                    <a:gd name="connsiteY279" fmla="*/ 313531 h 905668"/>
                    <a:gd name="connsiteX280" fmla="*/ 147500 w 946177"/>
                    <a:gd name="connsiteY280" fmla="*/ 312499 h 905668"/>
                    <a:gd name="connsiteX281" fmla="*/ 140761 w 946177"/>
                    <a:gd name="connsiteY281" fmla="*/ 308139 h 905668"/>
                    <a:gd name="connsiteX282" fmla="*/ 138818 w 946177"/>
                    <a:gd name="connsiteY282" fmla="*/ 306536 h 905668"/>
                    <a:gd name="connsiteX283" fmla="*/ 138053 w 946177"/>
                    <a:gd name="connsiteY283" fmla="*/ 305711 h 905668"/>
                    <a:gd name="connsiteX284" fmla="*/ 135977 w 946177"/>
                    <a:gd name="connsiteY284" fmla="*/ 303974 h 905668"/>
                    <a:gd name="connsiteX285" fmla="*/ 118977 w 946177"/>
                    <a:gd name="connsiteY285" fmla="*/ 293240 h 905668"/>
                    <a:gd name="connsiteX286" fmla="*/ 117131 w 946177"/>
                    <a:gd name="connsiteY286" fmla="*/ 291540 h 905668"/>
                    <a:gd name="connsiteX287" fmla="*/ 116281 w 946177"/>
                    <a:gd name="connsiteY287" fmla="*/ 290326 h 905668"/>
                    <a:gd name="connsiteX288" fmla="*/ 115504 w 946177"/>
                    <a:gd name="connsiteY288" fmla="*/ 288285 h 905668"/>
                    <a:gd name="connsiteX289" fmla="*/ 115285 w 946177"/>
                    <a:gd name="connsiteY289" fmla="*/ 286209 h 905668"/>
                    <a:gd name="connsiteX290" fmla="*/ 115285 w 946177"/>
                    <a:gd name="connsiteY290" fmla="*/ 284388 h 905668"/>
                    <a:gd name="connsiteX291" fmla="*/ 116342 w 946177"/>
                    <a:gd name="connsiteY291" fmla="*/ 272658 h 905668"/>
                    <a:gd name="connsiteX292" fmla="*/ 116706 w 946177"/>
                    <a:gd name="connsiteY292" fmla="*/ 271650 h 905668"/>
                    <a:gd name="connsiteX293" fmla="*/ 118029 w 946177"/>
                    <a:gd name="connsiteY293" fmla="*/ 269768 h 905668"/>
                    <a:gd name="connsiteX294" fmla="*/ 120373 w 946177"/>
                    <a:gd name="connsiteY294" fmla="*/ 267630 h 905668"/>
                    <a:gd name="connsiteX295" fmla="*/ 117847 w 946177"/>
                    <a:gd name="connsiteY295" fmla="*/ 265930 h 905668"/>
                    <a:gd name="connsiteX296" fmla="*/ 116050 w 946177"/>
                    <a:gd name="connsiteY296" fmla="*/ 264789 h 905668"/>
                    <a:gd name="connsiteX297" fmla="*/ 115188 w 946177"/>
                    <a:gd name="connsiteY297" fmla="*/ 264485 h 905668"/>
                    <a:gd name="connsiteX298" fmla="*/ 115103 w 946177"/>
                    <a:gd name="connsiteY298" fmla="*/ 263927 h 905668"/>
                    <a:gd name="connsiteX299" fmla="*/ 113646 w 946177"/>
                    <a:gd name="connsiteY299" fmla="*/ 262895 h 905668"/>
                    <a:gd name="connsiteX300" fmla="*/ 111229 w 946177"/>
                    <a:gd name="connsiteY300" fmla="*/ 260527 h 905668"/>
                    <a:gd name="connsiteX301" fmla="*/ 110974 w 946177"/>
                    <a:gd name="connsiteY301" fmla="*/ 260842 h 905668"/>
                    <a:gd name="connsiteX302" fmla="*/ 109517 w 946177"/>
                    <a:gd name="connsiteY302" fmla="*/ 261984 h 905668"/>
                    <a:gd name="connsiteX303" fmla="*/ 108181 w 946177"/>
                    <a:gd name="connsiteY303" fmla="*/ 262725 h 905668"/>
                    <a:gd name="connsiteX304" fmla="*/ 106979 w 946177"/>
                    <a:gd name="connsiteY304" fmla="*/ 263162 h 905668"/>
                    <a:gd name="connsiteX305" fmla="*/ 105716 w 946177"/>
                    <a:gd name="connsiteY305" fmla="*/ 263429 h 905668"/>
                    <a:gd name="connsiteX306" fmla="*/ 103264 w 946177"/>
                    <a:gd name="connsiteY306" fmla="*/ 263562 h 905668"/>
                    <a:gd name="connsiteX307" fmla="*/ 100944 w 946177"/>
                    <a:gd name="connsiteY307" fmla="*/ 263429 h 905668"/>
                    <a:gd name="connsiteX308" fmla="*/ 97374 w 946177"/>
                    <a:gd name="connsiteY308" fmla="*/ 262360 h 905668"/>
                    <a:gd name="connsiteX309" fmla="*/ 95614 w 946177"/>
                    <a:gd name="connsiteY309" fmla="*/ 261559 h 905668"/>
                    <a:gd name="connsiteX310" fmla="*/ 93950 w 946177"/>
                    <a:gd name="connsiteY310" fmla="*/ 260563 h 905668"/>
                    <a:gd name="connsiteX311" fmla="*/ 91206 w 946177"/>
                    <a:gd name="connsiteY311" fmla="*/ 259240 h 905668"/>
                    <a:gd name="connsiteX312" fmla="*/ 91023 w 946177"/>
                    <a:gd name="connsiteY312" fmla="*/ 256022 h 905668"/>
                    <a:gd name="connsiteX313" fmla="*/ 89372 w 946177"/>
                    <a:gd name="connsiteY313" fmla="*/ 258815 h 905668"/>
                    <a:gd name="connsiteX314" fmla="*/ 71352 w 946177"/>
                    <a:gd name="connsiteY314" fmla="*/ 259665 h 905668"/>
                    <a:gd name="connsiteX315" fmla="*/ 69203 w 946177"/>
                    <a:gd name="connsiteY315" fmla="*/ 260393 h 905668"/>
                    <a:gd name="connsiteX316" fmla="*/ 62560 w 946177"/>
                    <a:gd name="connsiteY316" fmla="*/ 264230 h 905668"/>
                    <a:gd name="connsiteX317" fmla="*/ 61844 w 946177"/>
                    <a:gd name="connsiteY317" fmla="*/ 265457 h 905668"/>
                    <a:gd name="connsiteX318" fmla="*/ 61091 w 946177"/>
                    <a:gd name="connsiteY318" fmla="*/ 266513 h 905668"/>
                    <a:gd name="connsiteX319" fmla="*/ 59282 w 946177"/>
                    <a:gd name="connsiteY319" fmla="*/ 267278 h 905668"/>
                    <a:gd name="connsiteX320" fmla="*/ 57703 w 946177"/>
                    <a:gd name="connsiteY320" fmla="*/ 267497 h 905668"/>
                    <a:gd name="connsiteX321" fmla="*/ 56380 w 946177"/>
                    <a:gd name="connsiteY321" fmla="*/ 267533 h 905668"/>
                    <a:gd name="connsiteX322" fmla="*/ 47734 w 946177"/>
                    <a:gd name="connsiteY322" fmla="*/ 265930 h 905668"/>
                    <a:gd name="connsiteX323" fmla="*/ 30297 w 946177"/>
                    <a:gd name="connsiteY323" fmla="*/ 263963 h 905668"/>
                    <a:gd name="connsiteX324" fmla="*/ 29131 w 946177"/>
                    <a:gd name="connsiteY324" fmla="*/ 263623 h 905668"/>
                    <a:gd name="connsiteX325" fmla="*/ 0 w 946177"/>
                    <a:gd name="connsiteY325" fmla="*/ 251820 h 905668"/>
                    <a:gd name="connsiteX326" fmla="*/ 14899 w 946177"/>
                    <a:gd name="connsiteY326" fmla="*/ 226308 h 905668"/>
                    <a:gd name="connsiteX327" fmla="*/ 13758 w 946177"/>
                    <a:gd name="connsiteY327" fmla="*/ 223442 h 905668"/>
                    <a:gd name="connsiteX328" fmla="*/ 13442 w 946177"/>
                    <a:gd name="connsiteY328" fmla="*/ 221888 h 905668"/>
                    <a:gd name="connsiteX329" fmla="*/ 12665 w 946177"/>
                    <a:gd name="connsiteY329" fmla="*/ 220916 h 905668"/>
                    <a:gd name="connsiteX330" fmla="*/ 6873 w 946177"/>
                    <a:gd name="connsiteY330" fmla="*/ 216290 h 905668"/>
                    <a:gd name="connsiteX331" fmla="*/ 5889 w 946177"/>
                    <a:gd name="connsiteY331" fmla="*/ 214748 h 905668"/>
                    <a:gd name="connsiteX332" fmla="*/ 5270 w 946177"/>
                    <a:gd name="connsiteY332" fmla="*/ 213388 h 905668"/>
                    <a:gd name="connsiteX333" fmla="*/ 4529 w 946177"/>
                    <a:gd name="connsiteY333" fmla="*/ 211481 h 905668"/>
                    <a:gd name="connsiteX334" fmla="*/ 3874 w 946177"/>
                    <a:gd name="connsiteY334" fmla="*/ 209296 h 905668"/>
                    <a:gd name="connsiteX335" fmla="*/ 3886 w 946177"/>
                    <a:gd name="connsiteY335" fmla="*/ 207717 h 905668"/>
                    <a:gd name="connsiteX336" fmla="*/ 4299 w 946177"/>
                    <a:gd name="connsiteY336" fmla="*/ 205446 h 905668"/>
                    <a:gd name="connsiteX337" fmla="*/ 4748 w 946177"/>
                    <a:gd name="connsiteY337" fmla="*/ 204147 h 905668"/>
                    <a:gd name="connsiteX338" fmla="*/ 5549 w 946177"/>
                    <a:gd name="connsiteY338" fmla="*/ 202860 h 905668"/>
                    <a:gd name="connsiteX339" fmla="*/ 9945 w 946177"/>
                    <a:gd name="connsiteY339" fmla="*/ 197590 h 905668"/>
                    <a:gd name="connsiteX340" fmla="*/ 9836 w 946177"/>
                    <a:gd name="connsiteY340" fmla="*/ 197213 h 905668"/>
                    <a:gd name="connsiteX341" fmla="*/ 8779 w 946177"/>
                    <a:gd name="connsiteY341" fmla="*/ 195647 h 905668"/>
                    <a:gd name="connsiteX342" fmla="*/ 8512 w 946177"/>
                    <a:gd name="connsiteY342" fmla="*/ 195052 h 905668"/>
                    <a:gd name="connsiteX343" fmla="*/ 8014 w 946177"/>
                    <a:gd name="connsiteY343" fmla="*/ 193352 h 905668"/>
                    <a:gd name="connsiteX344" fmla="*/ 8039 w 946177"/>
                    <a:gd name="connsiteY344" fmla="*/ 192101 h 905668"/>
                    <a:gd name="connsiteX345" fmla="*/ 8561 w 946177"/>
                    <a:gd name="connsiteY345" fmla="*/ 188762 h 905668"/>
                    <a:gd name="connsiteX346" fmla="*/ 10674 w 946177"/>
                    <a:gd name="connsiteY346" fmla="*/ 179764 h 905668"/>
                    <a:gd name="connsiteX347" fmla="*/ 11354 w 946177"/>
                    <a:gd name="connsiteY347" fmla="*/ 177930 h 905668"/>
                    <a:gd name="connsiteX348" fmla="*/ 12337 w 946177"/>
                    <a:gd name="connsiteY348" fmla="*/ 176194 h 905668"/>
                    <a:gd name="connsiteX349" fmla="*/ 13661 w 946177"/>
                    <a:gd name="connsiteY349" fmla="*/ 174409 h 905668"/>
                    <a:gd name="connsiteX350" fmla="*/ 15312 w 946177"/>
                    <a:gd name="connsiteY350" fmla="*/ 172515 h 905668"/>
                    <a:gd name="connsiteX351" fmla="*/ 17134 w 946177"/>
                    <a:gd name="connsiteY351" fmla="*/ 170863 h 905668"/>
                    <a:gd name="connsiteX352" fmla="*/ 19817 w 946177"/>
                    <a:gd name="connsiteY352" fmla="*/ 168884 h 905668"/>
                    <a:gd name="connsiteX353" fmla="*/ 23375 w 946177"/>
                    <a:gd name="connsiteY353" fmla="*/ 167573 h 905668"/>
                    <a:gd name="connsiteX354" fmla="*/ 25865 w 946177"/>
                    <a:gd name="connsiteY354" fmla="*/ 167075 h 905668"/>
                    <a:gd name="connsiteX355" fmla="*/ 28135 w 946177"/>
                    <a:gd name="connsiteY355" fmla="*/ 166941 h 905668"/>
                    <a:gd name="connsiteX356" fmla="*/ 30637 w 946177"/>
                    <a:gd name="connsiteY356" fmla="*/ 167123 h 905668"/>
                    <a:gd name="connsiteX357" fmla="*/ 35737 w 946177"/>
                    <a:gd name="connsiteY357" fmla="*/ 168969 h 905668"/>
                    <a:gd name="connsiteX358" fmla="*/ 39088 w 946177"/>
                    <a:gd name="connsiteY358" fmla="*/ 164464 h 905668"/>
                    <a:gd name="connsiteX359" fmla="*/ 40424 w 946177"/>
                    <a:gd name="connsiteY359" fmla="*/ 163177 h 905668"/>
                    <a:gd name="connsiteX360" fmla="*/ 44358 w 946177"/>
                    <a:gd name="connsiteY360" fmla="*/ 160566 h 905668"/>
                    <a:gd name="connsiteX361" fmla="*/ 47625 w 946177"/>
                    <a:gd name="connsiteY361" fmla="*/ 159121 h 905668"/>
                    <a:gd name="connsiteX362" fmla="*/ 50794 w 946177"/>
                    <a:gd name="connsiteY362" fmla="*/ 158235 h 905668"/>
                    <a:gd name="connsiteX363" fmla="*/ 53162 w 946177"/>
                    <a:gd name="connsiteY363" fmla="*/ 156741 h 905668"/>
                    <a:gd name="connsiteX364" fmla="*/ 59488 w 946177"/>
                    <a:gd name="connsiteY364" fmla="*/ 149577 h 905668"/>
                    <a:gd name="connsiteX365" fmla="*/ 61516 w 946177"/>
                    <a:gd name="connsiteY365" fmla="*/ 147950 h 905668"/>
                    <a:gd name="connsiteX366" fmla="*/ 63532 w 946177"/>
                    <a:gd name="connsiteY366" fmla="*/ 146881 h 905668"/>
                    <a:gd name="connsiteX367" fmla="*/ 70077 w 946177"/>
                    <a:gd name="connsiteY367" fmla="*/ 145387 h 905668"/>
                    <a:gd name="connsiteX368" fmla="*/ 70988 w 946177"/>
                    <a:gd name="connsiteY368" fmla="*/ 143882 h 905668"/>
                    <a:gd name="connsiteX369" fmla="*/ 70842 w 946177"/>
                    <a:gd name="connsiteY369" fmla="*/ 141271 h 905668"/>
                    <a:gd name="connsiteX370" fmla="*/ 70769 w 946177"/>
                    <a:gd name="connsiteY370" fmla="*/ 135673 h 905668"/>
                    <a:gd name="connsiteX371" fmla="*/ 71522 w 946177"/>
                    <a:gd name="connsiteY371" fmla="*/ 131168 h 905668"/>
                    <a:gd name="connsiteX372" fmla="*/ 72554 w 946177"/>
                    <a:gd name="connsiteY372" fmla="*/ 129444 h 905668"/>
                    <a:gd name="connsiteX373" fmla="*/ 73647 w 946177"/>
                    <a:gd name="connsiteY373" fmla="*/ 128497 h 905668"/>
                    <a:gd name="connsiteX374" fmla="*/ 76416 w 946177"/>
                    <a:gd name="connsiteY374" fmla="*/ 127137 h 905668"/>
                    <a:gd name="connsiteX375" fmla="*/ 80848 w 946177"/>
                    <a:gd name="connsiteY375" fmla="*/ 126323 h 905668"/>
                    <a:gd name="connsiteX376" fmla="*/ 86980 w 946177"/>
                    <a:gd name="connsiteY376" fmla="*/ 126347 h 905668"/>
                    <a:gd name="connsiteX377" fmla="*/ 90210 w 946177"/>
                    <a:gd name="connsiteY377" fmla="*/ 125922 h 905668"/>
                    <a:gd name="connsiteX378" fmla="*/ 90246 w 946177"/>
                    <a:gd name="connsiteY378" fmla="*/ 125619 h 905668"/>
                    <a:gd name="connsiteX379" fmla="*/ 88935 w 946177"/>
                    <a:gd name="connsiteY379" fmla="*/ 123567 h 905668"/>
                    <a:gd name="connsiteX380" fmla="*/ 88729 w 946177"/>
                    <a:gd name="connsiteY380" fmla="*/ 123044 h 905668"/>
                    <a:gd name="connsiteX381" fmla="*/ 88401 w 946177"/>
                    <a:gd name="connsiteY381" fmla="*/ 121599 h 905668"/>
                    <a:gd name="connsiteX382" fmla="*/ 88401 w 946177"/>
                    <a:gd name="connsiteY382" fmla="*/ 120555 h 905668"/>
                    <a:gd name="connsiteX383" fmla="*/ 89044 w 946177"/>
                    <a:gd name="connsiteY383" fmla="*/ 118989 h 905668"/>
                    <a:gd name="connsiteX384" fmla="*/ 89372 w 946177"/>
                    <a:gd name="connsiteY384" fmla="*/ 118564 h 905668"/>
                    <a:gd name="connsiteX385" fmla="*/ 90404 w 946177"/>
                    <a:gd name="connsiteY385" fmla="*/ 117531 h 905668"/>
                    <a:gd name="connsiteX386" fmla="*/ 91533 w 946177"/>
                    <a:gd name="connsiteY386" fmla="*/ 116827 h 905668"/>
                    <a:gd name="connsiteX387" fmla="*/ 102122 w 946177"/>
                    <a:gd name="connsiteY387" fmla="*/ 112966 h 905668"/>
                    <a:gd name="connsiteX388" fmla="*/ 103652 w 946177"/>
                    <a:gd name="connsiteY388" fmla="*/ 111666 h 905668"/>
                    <a:gd name="connsiteX389" fmla="*/ 104611 w 946177"/>
                    <a:gd name="connsiteY389" fmla="*/ 110209 h 905668"/>
                    <a:gd name="connsiteX390" fmla="*/ 105316 w 946177"/>
                    <a:gd name="connsiteY390" fmla="*/ 106700 h 905668"/>
                    <a:gd name="connsiteX391" fmla="*/ 106093 w 946177"/>
                    <a:gd name="connsiteY391" fmla="*/ 105255 h 905668"/>
                    <a:gd name="connsiteX392" fmla="*/ 108764 w 946177"/>
                    <a:gd name="connsiteY392" fmla="*/ 101430 h 905668"/>
                    <a:gd name="connsiteX393" fmla="*/ 110270 w 946177"/>
                    <a:gd name="connsiteY393" fmla="*/ 98807 h 905668"/>
                    <a:gd name="connsiteX394" fmla="*/ 109736 w 946177"/>
                    <a:gd name="connsiteY394" fmla="*/ 97981 h 905668"/>
                    <a:gd name="connsiteX395" fmla="*/ 106943 w 946177"/>
                    <a:gd name="connsiteY395" fmla="*/ 91181 h 905668"/>
                    <a:gd name="connsiteX396" fmla="*/ 106081 w 946177"/>
                    <a:gd name="connsiteY396" fmla="*/ 88170 h 905668"/>
                    <a:gd name="connsiteX397" fmla="*/ 105729 w 946177"/>
                    <a:gd name="connsiteY397" fmla="*/ 81831 h 905668"/>
                    <a:gd name="connsiteX398" fmla="*/ 105899 w 946177"/>
                    <a:gd name="connsiteY398" fmla="*/ 79221 h 905668"/>
                    <a:gd name="connsiteX399" fmla="*/ 106324 w 946177"/>
                    <a:gd name="connsiteY399" fmla="*/ 78407 h 905668"/>
                    <a:gd name="connsiteX400" fmla="*/ 107514 w 946177"/>
                    <a:gd name="connsiteY400" fmla="*/ 77181 h 905668"/>
                    <a:gd name="connsiteX401" fmla="*/ 108036 w 946177"/>
                    <a:gd name="connsiteY401" fmla="*/ 76889 h 905668"/>
                    <a:gd name="connsiteX402" fmla="*/ 109493 w 946177"/>
                    <a:gd name="connsiteY402" fmla="*/ 76331 h 905668"/>
                    <a:gd name="connsiteX403" fmla="*/ 113112 w 946177"/>
                    <a:gd name="connsiteY403" fmla="*/ 75893 h 905668"/>
                    <a:gd name="connsiteX404" fmla="*/ 119025 w 946177"/>
                    <a:gd name="connsiteY404" fmla="*/ 74533 h 905668"/>
                    <a:gd name="connsiteX405" fmla="*/ 120640 w 946177"/>
                    <a:gd name="connsiteY405" fmla="*/ 73756 h 905668"/>
                    <a:gd name="connsiteX406" fmla="*/ 125849 w 946177"/>
                    <a:gd name="connsiteY406" fmla="*/ 69761 h 905668"/>
                    <a:gd name="connsiteX407" fmla="*/ 127938 w 946177"/>
                    <a:gd name="connsiteY407" fmla="*/ 68875 h 905668"/>
                    <a:gd name="connsiteX408" fmla="*/ 129444 w 946177"/>
                    <a:gd name="connsiteY408" fmla="*/ 69142 h 905668"/>
                    <a:gd name="connsiteX409" fmla="*/ 131059 w 946177"/>
                    <a:gd name="connsiteY409" fmla="*/ 69676 h 905668"/>
                    <a:gd name="connsiteX410" fmla="*/ 132953 w 946177"/>
                    <a:gd name="connsiteY410" fmla="*/ 70915 h 905668"/>
                    <a:gd name="connsiteX411" fmla="*/ 136268 w 946177"/>
                    <a:gd name="connsiteY411" fmla="*/ 73914 h 905668"/>
                    <a:gd name="connsiteX412" fmla="*/ 140251 w 946177"/>
                    <a:gd name="connsiteY412" fmla="*/ 72991 h 905668"/>
                    <a:gd name="connsiteX413" fmla="*/ 145740 w 946177"/>
                    <a:gd name="connsiteY413" fmla="*/ 72530 h 905668"/>
                    <a:gd name="connsiteX414" fmla="*/ 149395 w 946177"/>
                    <a:gd name="connsiteY414" fmla="*/ 72785 h 905668"/>
                    <a:gd name="connsiteX415" fmla="*/ 150755 w 946177"/>
                    <a:gd name="connsiteY415" fmla="*/ 72748 h 905668"/>
                    <a:gd name="connsiteX416" fmla="*/ 153438 w 946177"/>
                    <a:gd name="connsiteY416" fmla="*/ 72032 h 905668"/>
                    <a:gd name="connsiteX417" fmla="*/ 172843 w 946177"/>
                    <a:gd name="connsiteY417" fmla="*/ 65232 h 905668"/>
                    <a:gd name="connsiteX418" fmla="*/ 176012 w 946177"/>
                    <a:gd name="connsiteY418" fmla="*/ 65487 h 905668"/>
                    <a:gd name="connsiteX419" fmla="*/ 180881 w 946177"/>
                    <a:gd name="connsiteY419" fmla="*/ 66385 h 905668"/>
                    <a:gd name="connsiteX420" fmla="*/ 192502 w 946177"/>
                    <a:gd name="connsiteY420" fmla="*/ 69870 h 905668"/>
                    <a:gd name="connsiteX421" fmla="*/ 196436 w 946177"/>
                    <a:gd name="connsiteY421" fmla="*/ 69458 h 905668"/>
                    <a:gd name="connsiteX422" fmla="*/ 199460 w 946177"/>
                    <a:gd name="connsiteY422" fmla="*/ 69543 h 905668"/>
                    <a:gd name="connsiteX423" fmla="*/ 200626 w 946177"/>
                    <a:gd name="connsiteY423" fmla="*/ 69883 h 905668"/>
                    <a:gd name="connsiteX424" fmla="*/ 201682 w 946177"/>
                    <a:gd name="connsiteY424" fmla="*/ 70368 h 905668"/>
                    <a:gd name="connsiteX425" fmla="*/ 204657 w 946177"/>
                    <a:gd name="connsiteY425" fmla="*/ 69227 h 905668"/>
                    <a:gd name="connsiteX426" fmla="*/ 205167 w 946177"/>
                    <a:gd name="connsiteY426" fmla="*/ 68984 h 905668"/>
                    <a:gd name="connsiteX427" fmla="*/ 206539 w 946177"/>
                    <a:gd name="connsiteY427" fmla="*/ 68875 h 905668"/>
                    <a:gd name="connsiteX428" fmla="*/ 208251 w 946177"/>
                    <a:gd name="connsiteY428" fmla="*/ 68195 h 905668"/>
                    <a:gd name="connsiteX429" fmla="*/ 208822 w 946177"/>
                    <a:gd name="connsiteY429" fmla="*/ 69567 h 905668"/>
                    <a:gd name="connsiteX430" fmla="*/ 210097 w 946177"/>
                    <a:gd name="connsiteY430" fmla="*/ 70793 h 905668"/>
                    <a:gd name="connsiteX431" fmla="*/ 211700 w 946177"/>
                    <a:gd name="connsiteY431" fmla="*/ 73149 h 905668"/>
                    <a:gd name="connsiteX432" fmla="*/ 212635 w 946177"/>
                    <a:gd name="connsiteY432" fmla="*/ 74242 h 905668"/>
                    <a:gd name="connsiteX433" fmla="*/ 217942 w 946177"/>
                    <a:gd name="connsiteY433" fmla="*/ 74205 h 905668"/>
                    <a:gd name="connsiteX434" fmla="*/ 220066 w 946177"/>
                    <a:gd name="connsiteY434" fmla="*/ 74606 h 905668"/>
                    <a:gd name="connsiteX435" fmla="*/ 222799 w 946177"/>
                    <a:gd name="connsiteY435" fmla="*/ 75821 h 905668"/>
                    <a:gd name="connsiteX436" fmla="*/ 227389 w 946177"/>
                    <a:gd name="connsiteY436" fmla="*/ 71825 h 905668"/>
                    <a:gd name="connsiteX437" fmla="*/ 230060 w 946177"/>
                    <a:gd name="connsiteY437" fmla="*/ 70599 h 905668"/>
                    <a:gd name="connsiteX438" fmla="*/ 232137 w 946177"/>
                    <a:gd name="connsiteY438" fmla="*/ 70781 h 905668"/>
                    <a:gd name="connsiteX439" fmla="*/ 234286 w 946177"/>
                    <a:gd name="connsiteY439" fmla="*/ 71413 h 905668"/>
                    <a:gd name="connsiteX440" fmla="*/ 238293 w 946177"/>
                    <a:gd name="connsiteY440" fmla="*/ 73210 h 905668"/>
                    <a:gd name="connsiteX441" fmla="*/ 241232 w 946177"/>
                    <a:gd name="connsiteY441" fmla="*/ 70818 h 905668"/>
                    <a:gd name="connsiteX442" fmla="*/ 241717 w 946177"/>
                    <a:gd name="connsiteY442" fmla="*/ 70514 h 905668"/>
                    <a:gd name="connsiteX443" fmla="*/ 242968 w 946177"/>
                    <a:gd name="connsiteY443" fmla="*/ 70271 h 905668"/>
                    <a:gd name="connsiteX444" fmla="*/ 245797 w 946177"/>
                    <a:gd name="connsiteY444" fmla="*/ 70356 h 905668"/>
                    <a:gd name="connsiteX445" fmla="*/ 252282 w 946177"/>
                    <a:gd name="connsiteY445" fmla="*/ 71983 h 905668"/>
                    <a:gd name="connsiteX446" fmla="*/ 256471 w 946177"/>
                    <a:gd name="connsiteY446" fmla="*/ 73501 h 905668"/>
                    <a:gd name="connsiteX447" fmla="*/ 258572 w 946177"/>
                    <a:gd name="connsiteY447" fmla="*/ 73938 h 905668"/>
                    <a:gd name="connsiteX448" fmla="*/ 258462 w 946177"/>
                    <a:gd name="connsiteY448" fmla="*/ 72821 h 905668"/>
                    <a:gd name="connsiteX449" fmla="*/ 258475 w 946177"/>
                    <a:gd name="connsiteY449" fmla="*/ 71583 h 905668"/>
                    <a:gd name="connsiteX450" fmla="*/ 258827 w 946177"/>
                    <a:gd name="connsiteY450" fmla="*/ 70162 h 905668"/>
                    <a:gd name="connsiteX451" fmla="*/ 259628 w 946177"/>
                    <a:gd name="connsiteY451" fmla="*/ 68268 h 905668"/>
                    <a:gd name="connsiteX452" fmla="*/ 258875 w 946177"/>
                    <a:gd name="connsiteY452" fmla="*/ 65803 h 905668"/>
                    <a:gd name="connsiteX453" fmla="*/ 258232 w 946177"/>
                    <a:gd name="connsiteY453" fmla="*/ 65110 h 905668"/>
                    <a:gd name="connsiteX454" fmla="*/ 256289 w 946177"/>
                    <a:gd name="connsiteY454" fmla="*/ 63593 h 905668"/>
                    <a:gd name="connsiteX455" fmla="*/ 246065 w 946177"/>
                    <a:gd name="connsiteY455" fmla="*/ 57193 h 905668"/>
                    <a:gd name="connsiteX456" fmla="*/ 242895 w 946177"/>
                    <a:gd name="connsiteY456" fmla="*/ 54145 h 905668"/>
                    <a:gd name="connsiteX457" fmla="*/ 241098 w 946177"/>
                    <a:gd name="connsiteY457" fmla="*/ 53222 h 905668"/>
                    <a:gd name="connsiteX458" fmla="*/ 239447 w 946177"/>
                    <a:gd name="connsiteY458" fmla="*/ 52640 h 905668"/>
                    <a:gd name="connsiteX459" fmla="*/ 233108 w 946177"/>
                    <a:gd name="connsiteY459" fmla="*/ 51632 h 905668"/>
                    <a:gd name="connsiteX460" fmla="*/ 230947 w 946177"/>
                    <a:gd name="connsiteY460" fmla="*/ 50903 h 905668"/>
                    <a:gd name="connsiteX461" fmla="*/ 229599 w 946177"/>
                    <a:gd name="connsiteY461" fmla="*/ 50199 h 905668"/>
                    <a:gd name="connsiteX462" fmla="*/ 228482 w 946177"/>
                    <a:gd name="connsiteY462" fmla="*/ 49434 h 905668"/>
                    <a:gd name="connsiteX463" fmla="*/ 226769 w 946177"/>
                    <a:gd name="connsiteY463" fmla="*/ 47625 h 905668"/>
                    <a:gd name="connsiteX464" fmla="*/ 225628 w 946177"/>
                    <a:gd name="connsiteY464" fmla="*/ 45645 h 905668"/>
                    <a:gd name="connsiteX465" fmla="*/ 225628 w 946177"/>
                    <a:gd name="connsiteY465" fmla="*/ 44832 h 905668"/>
                    <a:gd name="connsiteX466" fmla="*/ 225179 w 946177"/>
                    <a:gd name="connsiteY466" fmla="*/ 42682 h 905668"/>
                    <a:gd name="connsiteX467" fmla="*/ 225652 w 946177"/>
                    <a:gd name="connsiteY467" fmla="*/ 37546 h 905668"/>
                    <a:gd name="connsiteX468" fmla="*/ 226223 w 946177"/>
                    <a:gd name="connsiteY468" fmla="*/ 35081 h 905668"/>
                    <a:gd name="connsiteX469" fmla="*/ 228846 w 946177"/>
                    <a:gd name="connsiteY469" fmla="*/ 34668 h 905668"/>
                    <a:gd name="connsiteX470" fmla="*/ 240284 w 946177"/>
                    <a:gd name="connsiteY470" fmla="*/ 35130 h 905668"/>
                    <a:gd name="connsiteX471" fmla="*/ 252148 w 946177"/>
                    <a:gd name="connsiteY471" fmla="*/ 37170 h 905668"/>
                    <a:gd name="connsiteX472" fmla="*/ 258572 w 946177"/>
                    <a:gd name="connsiteY472" fmla="*/ 39525 h 905668"/>
                    <a:gd name="connsiteX473" fmla="*/ 274358 w 946177"/>
                    <a:gd name="connsiteY473" fmla="*/ 48717 h 905668"/>
                    <a:gd name="connsiteX474" fmla="*/ 279081 w 946177"/>
                    <a:gd name="connsiteY474" fmla="*/ 49677 h 905668"/>
                    <a:gd name="connsiteX475" fmla="*/ 284983 w 946177"/>
                    <a:gd name="connsiteY475" fmla="*/ 51753 h 905668"/>
                    <a:gd name="connsiteX476" fmla="*/ 289415 w 946177"/>
                    <a:gd name="connsiteY476" fmla="*/ 51607 h 905668"/>
                    <a:gd name="connsiteX477" fmla="*/ 298692 w 946177"/>
                    <a:gd name="connsiteY477" fmla="*/ 48645 h 905668"/>
                    <a:gd name="connsiteX478" fmla="*/ 299384 w 946177"/>
                    <a:gd name="connsiteY478" fmla="*/ 47831 h 905668"/>
                    <a:gd name="connsiteX479" fmla="*/ 300198 w 946177"/>
                    <a:gd name="connsiteY479" fmla="*/ 41322 h 905668"/>
                    <a:gd name="connsiteX480" fmla="*/ 301922 w 946177"/>
                    <a:gd name="connsiteY480" fmla="*/ 36745 h 905668"/>
                    <a:gd name="connsiteX481" fmla="*/ 305359 w 946177"/>
                    <a:gd name="connsiteY481" fmla="*/ 34316 h 905668"/>
                    <a:gd name="connsiteX482" fmla="*/ 309451 w 946177"/>
                    <a:gd name="connsiteY482" fmla="*/ 33126 h 905668"/>
                    <a:gd name="connsiteX483" fmla="*/ 322152 w 946177"/>
                    <a:gd name="connsiteY483" fmla="*/ 34413 h 905668"/>
                    <a:gd name="connsiteX484" fmla="*/ 325989 w 946177"/>
                    <a:gd name="connsiteY484" fmla="*/ 33114 h 905668"/>
                    <a:gd name="connsiteX485" fmla="*/ 334332 w 946177"/>
                    <a:gd name="connsiteY485" fmla="*/ 26629 h 905668"/>
                    <a:gd name="connsiteX486" fmla="*/ 350239 w 946177"/>
                    <a:gd name="connsiteY486" fmla="*/ 17279 h 905668"/>
                    <a:gd name="connsiteX487" fmla="*/ 354829 w 946177"/>
                    <a:gd name="connsiteY487" fmla="*/ 13758 h 905668"/>
                    <a:gd name="connsiteX488" fmla="*/ 363717 w 946177"/>
                    <a:gd name="connsiteY488" fmla="*/ 11257 h 905668"/>
                    <a:gd name="connsiteX489" fmla="*/ 368295 w 946177"/>
                    <a:gd name="connsiteY489" fmla="*/ 10904 h 905668"/>
                    <a:gd name="connsiteX490" fmla="*/ 373553 w 946177"/>
                    <a:gd name="connsiteY490" fmla="*/ 12264 h 905668"/>
                    <a:gd name="connsiteX491" fmla="*/ 374804 w 946177"/>
                    <a:gd name="connsiteY491" fmla="*/ 13248 h 905668"/>
                    <a:gd name="connsiteX492" fmla="*/ 375933 w 946177"/>
                    <a:gd name="connsiteY492" fmla="*/ 14414 h 905668"/>
                    <a:gd name="connsiteX493" fmla="*/ 379321 w 946177"/>
                    <a:gd name="connsiteY493" fmla="*/ 19028 h 905668"/>
                    <a:gd name="connsiteX494" fmla="*/ 381009 w 946177"/>
                    <a:gd name="connsiteY494" fmla="*/ 20339 h 905668"/>
                    <a:gd name="connsiteX495" fmla="*/ 381883 w 946177"/>
                    <a:gd name="connsiteY495" fmla="*/ 15616 h 905668"/>
                    <a:gd name="connsiteX496" fmla="*/ 382818 w 946177"/>
                    <a:gd name="connsiteY496" fmla="*/ 13297 h 905668"/>
                    <a:gd name="connsiteX497" fmla="*/ 382758 w 946177"/>
                    <a:gd name="connsiteY497" fmla="*/ 12617 h 905668"/>
                    <a:gd name="connsiteX498" fmla="*/ 382478 w 946177"/>
                    <a:gd name="connsiteY498" fmla="*/ 12192 h 905668"/>
                    <a:gd name="connsiteX499" fmla="*/ 382029 w 946177"/>
                    <a:gd name="connsiteY499" fmla="*/ 11949 h 905668"/>
                    <a:gd name="connsiteX500" fmla="*/ 379940 w 946177"/>
                    <a:gd name="connsiteY500" fmla="*/ 8998 h 905668"/>
                    <a:gd name="connsiteX501" fmla="*/ 386825 w 946177"/>
                    <a:gd name="connsiteY501" fmla="*/ 5744 h 905668"/>
                    <a:gd name="connsiteX502" fmla="*/ 399503 w 946177"/>
                    <a:gd name="connsiteY502" fmla="*/ 2708 h 905668"/>
                    <a:gd name="connsiteX503" fmla="*/ 406764 w 946177"/>
                    <a:gd name="connsiteY503" fmla="*/ 0 h 905668"/>
                    <a:gd name="connsiteX504" fmla="*/ 411646 w 946177"/>
                    <a:gd name="connsiteY504" fmla="*/ 984 h 905668"/>
                    <a:gd name="connsiteX505" fmla="*/ 414985 w 946177"/>
                    <a:gd name="connsiteY505" fmla="*/ 5258 h 905668"/>
                    <a:gd name="connsiteX506" fmla="*/ 418737 w 946177"/>
                    <a:gd name="connsiteY506" fmla="*/ 8318 h 905668"/>
                    <a:gd name="connsiteX507" fmla="*/ 432471 w 946177"/>
                    <a:gd name="connsiteY507" fmla="*/ 8585 h 905668"/>
                    <a:gd name="connsiteX508" fmla="*/ 439234 w 946177"/>
                    <a:gd name="connsiteY508" fmla="*/ 13734 h 905668"/>
                    <a:gd name="connsiteX509" fmla="*/ 445257 w 946177"/>
                    <a:gd name="connsiteY509" fmla="*/ 21967 h 905668"/>
                    <a:gd name="connsiteX510" fmla="*/ 446884 w 946177"/>
                    <a:gd name="connsiteY510" fmla="*/ 24881 h 905668"/>
                    <a:gd name="connsiteX511" fmla="*/ 447722 w 946177"/>
                    <a:gd name="connsiteY511" fmla="*/ 29289 h 905668"/>
                    <a:gd name="connsiteX512" fmla="*/ 448754 w 946177"/>
                    <a:gd name="connsiteY512" fmla="*/ 24929 h 905668"/>
                    <a:gd name="connsiteX513" fmla="*/ 451013 w 946177"/>
                    <a:gd name="connsiteY513" fmla="*/ 21274 h 905668"/>
                    <a:gd name="connsiteX514" fmla="*/ 454535 w 946177"/>
                    <a:gd name="connsiteY514" fmla="*/ 18639 h 905668"/>
                    <a:gd name="connsiteX515" fmla="*/ 458360 w 946177"/>
                    <a:gd name="connsiteY515" fmla="*/ 17037 h 905668"/>
                    <a:gd name="connsiteX516" fmla="*/ 465257 w 946177"/>
                    <a:gd name="connsiteY516" fmla="*/ 15324 h 905668"/>
                    <a:gd name="connsiteX517" fmla="*/ 473040 w 946177"/>
                    <a:gd name="connsiteY517" fmla="*/ 15203 h 905668"/>
                    <a:gd name="connsiteX518" fmla="*/ 488741 w 946177"/>
                    <a:gd name="connsiteY518" fmla="*/ 13139 h 905668"/>
                    <a:gd name="connsiteX519" fmla="*/ 493137 w 946177"/>
                    <a:gd name="connsiteY519" fmla="*/ 13794 h 905668"/>
                    <a:gd name="connsiteX520" fmla="*/ 496658 w 946177"/>
                    <a:gd name="connsiteY520" fmla="*/ 15519 h 905668"/>
                    <a:gd name="connsiteX521" fmla="*/ 502487 w 946177"/>
                    <a:gd name="connsiteY521" fmla="*/ 20279 h 905668"/>
                    <a:gd name="connsiteX522" fmla="*/ 508328 w 946177"/>
                    <a:gd name="connsiteY522" fmla="*/ 23217 h 905668"/>
                    <a:gd name="connsiteX523" fmla="*/ 529675 w 946177"/>
                    <a:gd name="connsiteY523" fmla="*/ 27273 h 905668"/>
                    <a:gd name="connsiteX524" fmla="*/ 537337 w 946177"/>
                    <a:gd name="connsiteY524" fmla="*/ 30248 h 905668"/>
                    <a:gd name="connsiteX525" fmla="*/ 543275 w 946177"/>
                    <a:gd name="connsiteY525" fmla="*/ 35445 h 905668"/>
                    <a:gd name="connsiteX526" fmla="*/ 547064 w 946177"/>
                    <a:gd name="connsiteY526" fmla="*/ 42828 h 905668"/>
                    <a:gd name="connsiteX527" fmla="*/ 548642 w 946177"/>
                    <a:gd name="connsiteY527" fmla="*/ 51960 h 905668"/>
                    <a:gd name="connsiteX528" fmla="*/ 549019 w 946177"/>
                    <a:gd name="connsiteY528" fmla="*/ 61164 h 905668"/>
                    <a:gd name="connsiteX529" fmla="*/ 550172 w 946177"/>
                    <a:gd name="connsiteY529" fmla="*/ 68098 h 905668"/>
                    <a:gd name="connsiteX530" fmla="*/ 552868 w 946177"/>
                    <a:gd name="connsiteY530" fmla="*/ 71619 h 905668"/>
                    <a:gd name="connsiteX531" fmla="*/ 561186 w 946177"/>
                    <a:gd name="connsiteY531" fmla="*/ 71959 h 905668"/>
                    <a:gd name="connsiteX532" fmla="*/ 561538 w 946177"/>
                    <a:gd name="connsiteY532" fmla="*/ 70599 h 905668"/>
                    <a:gd name="connsiteX533" fmla="*/ 563530 w 946177"/>
                    <a:gd name="connsiteY533" fmla="*/ 66786 h 905668"/>
                    <a:gd name="connsiteX534" fmla="*/ 577093 w 946177"/>
                    <a:gd name="connsiteY534" fmla="*/ 62026 h 905668"/>
                    <a:gd name="connsiteX535" fmla="*/ 592758 w 946177"/>
                    <a:gd name="connsiteY535" fmla="*/ 64904 h 905668"/>
                    <a:gd name="connsiteX536" fmla="*/ 608264 w 946177"/>
                    <a:gd name="connsiteY536" fmla="*/ 71777 h 905668"/>
                    <a:gd name="connsiteX537" fmla="*/ 620286 w 946177"/>
                    <a:gd name="connsiteY537" fmla="*/ 79621 h 905668"/>
                    <a:gd name="connsiteX538" fmla="*/ 631651 w 946177"/>
                    <a:gd name="connsiteY538" fmla="*/ 89093 h 905668"/>
                    <a:gd name="connsiteX539" fmla="*/ 636703 w 946177"/>
                    <a:gd name="connsiteY539" fmla="*/ 94861 h 905668"/>
                    <a:gd name="connsiteX540" fmla="*/ 656132 w 946177"/>
                    <a:gd name="connsiteY540" fmla="*/ 129067 h 905668"/>
                    <a:gd name="connsiteX541" fmla="*/ 656763 w 946177"/>
                    <a:gd name="connsiteY541" fmla="*/ 131544 h 905668"/>
                    <a:gd name="connsiteX542" fmla="*/ 687533 w 946177"/>
                    <a:gd name="connsiteY542" fmla="*/ 135916 h 905668"/>
                    <a:gd name="connsiteX543" fmla="*/ 704084 w 946177"/>
                    <a:gd name="connsiteY543" fmla="*/ 157931 h 905668"/>
                    <a:gd name="connsiteX544" fmla="*/ 717878 w 946177"/>
                    <a:gd name="connsiteY544" fmla="*/ 155903 h 905668"/>
                    <a:gd name="connsiteX545" fmla="*/ 732984 w 946177"/>
                    <a:gd name="connsiteY545" fmla="*/ 160894 h 905668"/>
                    <a:gd name="connsiteX546" fmla="*/ 740586 w 946177"/>
                    <a:gd name="connsiteY546" fmla="*/ 176218 h 905668"/>
                    <a:gd name="connsiteX547" fmla="*/ 747398 w 946177"/>
                    <a:gd name="connsiteY547" fmla="*/ 179958 h 905668"/>
                    <a:gd name="connsiteX548" fmla="*/ 765455 w 946177"/>
                    <a:gd name="connsiteY548" fmla="*/ 186115 h 905668"/>
                    <a:gd name="connsiteX549" fmla="*/ 784324 w 946177"/>
                    <a:gd name="connsiteY549" fmla="*/ 185957 h 905668"/>
                    <a:gd name="connsiteX550" fmla="*/ 794452 w 946177"/>
                    <a:gd name="connsiteY550" fmla="*/ 193024 h 905668"/>
                    <a:gd name="connsiteX551" fmla="*/ 802660 w 946177"/>
                    <a:gd name="connsiteY551" fmla="*/ 204451 h 905668"/>
                    <a:gd name="connsiteX552" fmla="*/ 806923 w 946177"/>
                    <a:gd name="connsiteY552" fmla="*/ 220491 h 905668"/>
                    <a:gd name="connsiteX553" fmla="*/ 807008 w 946177"/>
                    <a:gd name="connsiteY553" fmla="*/ 234116 h 905668"/>
                    <a:gd name="connsiteX554" fmla="*/ 807008 w 946177"/>
                    <a:gd name="connsiteY554" fmla="*/ 247667 h 905668"/>
                    <a:gd name="connsiteX555" fmla="*/ 816783 w 946177"/>
                    <a:gd name="connsiteY555" fmla="*/ 257042 h 905668"/>
                    <a:gd name="connsiteX556" fmla="*/ 834669 w 946177"/>
                    <a:gd name="connsiteY556" fmla="*/ 261000 h 905668"/>
                    <a:gd name="connsiteX557" fmla="*/ 848002 w 946177"/>
                    <a:gd name="connsiteY557" fmla="*/ 265432 h 905668"/>
                    <a:gd name="connsiteX558" fmla="*/ 860728 w 946177"/>
                    <a:gd name="connsiteY558" fmla="*/ 274843 h 905668"/>
                    <a:gd name="connsiteX559" fmla="*/ 864431 w 946177"/>
                    <a:gd name="connsiteY559" fmla="*/ 282773 h 905668"/>
                    <a:gd name="connsiteX560" fmla="*/ 885512 w 946177"/>
                    <a:gd name="connsiteY560" fmla="*/ 288917 h 905668"/>
                    <a:gd name="connsiteX561" fmla="*/ 903022 w 946177"/>
                    <a:gd name="connsiteY561" fmla="*/ 286658 h 905668"/>
                    <a:gd name="connsiteX562" fmla="*/ 912299 w 946177"/>
                    <a:gd name="connsiteY562" fmla="*/ 286646 h 905668"/>
                    <a:gd name="connsiteX563" fmla="*/ 925559 w 946177"/>
                    <a:gd name="connsiteY563" fmla="*/ 303209 h 905668"/>
                    <a:gd name="connsiteX564" fmla="*/ 935018 w 946177"/>
                    <a:gd name="connsiteY564" fmla="*/ 300562 h 905668"/>
                    <a:gd name="connsiteX565" fmla="*/ 943591 w 946177"/>
                    <a:gd name="connsiteY565" fmla="*/ 318145 h 905668"/>
                    <a:gd name="connsiteX566" fmla="*/ 945789 w 946177"/>
                    <a:gd name="connsiteY566" fmla="*/ 339492 h 905668"/>
                    <a:gd name="connsiteX567" fmla="*/ 946178 w 946177"/>
                    <a:gd name="connsiteY567" fmla="*/ 344969 h 905668"/>
                    <a:gd name="connsiteX568" fmla="*/ 941017 w 946177"/>
                    <a:gd name="connsiteY568" fmla="*/ 344155 h 905668"/>
                    <a:gd name="connsiteX569" fmla="*/ 934909 w 946177"/>
                    <a:gd name="connsiteY569" fmla="*/ 344471 h 905668"/>
                    <a:gd name="connsiteX570" fmla="*/ 923264 w 946177"/>
                    <a:gd name="connsiteY570" fmla="*/ 346074 h 905668"/>
                    <a:gd name="connsiteX571" fmla="*/ 917156 w 946177"/>
                    <a:gd name="connsiteY571" fmla="*/ 345564 h 905668"/>
                    <a:gd name="connsiteX572" fmla="*/ 910113 w 946177"/>
                    <a:gd name="connsiteY572" fmla="*/ 342261 h 905668"/>
                    <a:gd name="connsiteX573" fmla="*/ 900885 w 946177"/>
                    <a:gd name="connsiteY573" fmla="*/ 335157 h 905668"/>
                    <a:gd name="connsiteX574" fmla="*/ 896853 w 946177"/>
                    <a:gd name="connsiteY574" fmla="*/ 333336 h 905668"/>
                    <a:gd name="connsiteX575" fmla="*/ 892154 w 946177"/>
                    <a:gd name="connsiteY575" fmla="*/ 333032 h 905668"/>
                    <a:gd name="connsiteX576" fmla="*/ 879088 w 946177"/>
                    <a:gd name="connsiteY576" fmla="*/ 334635 h 905668"/>
                    <a:gd name="connsiteX577" fmla="*/ 871754 w 946177"/>
                    <a:gd name="connsiteY577" fmla="*/ 334186 h 905668"/>
                    <a:gd name="connsiteX578" fmla="*/ 864067 w 946177"/>
                    <a:gd name="connsiteY578" fmla="*/ 331284 h 905668"/>
                    <a:gd name="connsiteX579" fmla="*/ 860801 w 946177"/>
                    <a:gd name="connsiteY579" fmla="*/ 328673 h 905668"/>
                    <a:gd name="connsiteX580" fmla="*/ 856405 w 946177"/>
                    <a:gd name="connsiteY580" fmla="*/ 323342 h 905668"/>
                    <a:gd name="connsiteX581" fmla="*/ 854438 w 946177"/>
                    <a:gd name="connsiteY581" fmla="*/ 321849 h 905668"/>
                    <a:gd name="connsiteX582" fmla="*/ 851936 w 946177"/>
                    <a:gd name="connsiteY582" fmla="*/ 321363 h 905668"/>
                    <a:gd name="connsiteX583" fmla="*/ 848767 w 946177"/>
                    <a:gd name="connsiteY583" fmla="*/ 321569 h 905668"/>
                    <a:gd name="connsiteX584" fmla="*/ 841518 w 946177"/>
                    <a:gd name="connsiteY584" fmla="*/ 322784 h 905668"/>
                    <a:gd name="connsiteX585" fmla="*/ 833297 w 946177"/>
                    <a:gd name="connsiteY585" fmla="*/ 322626 h 905668"/>
                    <a:gd name="connsiteX586" fmla="*/ 828926 w 946177"/>
                    <a:gd name="connsiteY586" fmla="*/ 321788 h 905668"/>
                    <a:gd name="connsiteX587" fmla="*/ 824918 w 946177"/>
                    <a:gd name="connsiteY587" fmla="*/ 320270 h 905668"/>
                    <a:gd name="connsiteX588" fmla="*/ 821154 w 946177"/>
                    <a:gd name="connsiteY588" fmla="*/ 317465 h 905668"/>
                    <a:gd name="connsiteX589" fmla="*/ 816188 w 946177"/>
                    <a:gd name="connsiteY589" fmla="*/ 310956 h 905668"/>
                    <a:gd name="connsiteX590" fmla="*/ 814257 w 946177"/>
                    <a:gd name="connsiteY590" fmla="*/ 309001 h 905668"/>
                    <a:gd name="connsiteX591" fmla="*/ 812035 w 946177"/>
                    <a:gd name="connsiteY591" fmla="*/ 308103 h 905668"/>
                    <a:gd name="connsiteX592" fmla="*/ 808319 w 946177"/>
                    <a:gd name="connsiteY592" fmla="*/ 308309 h 905668"/>
                    <a:gd name="connsiteX593" fmla="*/ 858494 w 946177"/>
                    <a:gd name="connsiteY593" fmla="*/ 420729 h 905668"/>
                    <a:gd name="connsiteX594" fmla="*/ 854972 w 946177"/>
                    <a:gd name="connsiteY594" fmla="*/ 422829 h 905668"/>
                    <a:gd name="connsiteX595" fmla="*/ 852981 w 946177"/>
                    <a:gd name="connsiteY595" fmla="*/ 425452 h 905668"/>
                    <a:gd name="connsiteX596" fmla="*/ 853539 w 946177"/>
                    <a:gd name="connsiteY596" fmla="*/ 429362 h 905668"/>
                    <a:gd name="connsiteX597" fmla="*/ 855130 w 946177"/>
                    <a:gd name="connsiteY597" fmla="*/ 435519 h 905668"/>
                    <a:gd name="connsiteX598" fmla="*/ 853697 w 946177"/>
                    <a:gd name="connsiteY598" fmla="*/ 443545 h 905668"/>
                    <a:gd name="connsiteX599" fmla="*/ 850273 w 946177"/>
                    <a:gd name="connsiteY599" fmla="*/ 447771 h 905668"/>
                    <a:gd name="connsiteX600" fmla="*/ 838470 w 946177"/>
                    <a:gd name="connsiteY600" fmla="*/ 456757 h 905668"/>
                    <a:gd name="connsiteX601" fmla="*/ 835203 w 946177"/>
                    <a:gd name="connsiteY601" fmla="*/ 460181 h 905668"/>
                    <a:gd name="connsiteX602" fmla="*/ 831439 w 946177"/>
                    <a:gd name="connsiteY602" fmla="*/ 463047 h 905668"/>
                    <a:gd name="connsiteX603" fmla="*/ 827262 w 946177"/>
                    <a:gd name="connsiteY603" fmla="*/ 462282 h 905668"/>
                    <a:gd name="connsiteX604" fmla="*/ 821312 w 946177"/>
                    <a:gd name="connsiteY604" fmla="*/ 458930 h 905668"/>
                    <a:gd name="connsiteX605" fmla="*/ 817050 w 946177"/>
                    <a:gd name="connsiteY605" fmla="*/ 457959 h 905668"/>
                    <a:gd name="connsiteX606" fmla="*/ 811403 w 946177"/>
                    <a:gd name="connsiteY606" fmla="*/ 458590 h 905668"/>
                    <a:gd name="connsiteX607" fmla="*/ 805453 w 946177"/>
                    <a:gd name="connsiteY607" fmla="*/ 460545 h 905668"/>
                    <a:gd name="connsiteX608" fmla="*/ 802624 w 946177"/>
                    <a:gd name="connsiteY608" fmla="*/ 462792 h 905668"/>
                    <a:gd name="connsiteX609" fmla="*/ 801349 w 946177"/>
                    <a:gd name="connsiteY609" fmla="*/ 466811 h 905668"/>
                    <a:gd name="connsiteX610" fmla="*/ 802223 w 946177"/>
                    <a:gd name="connsiteY610" fmla="*/ 477837 h 905668"/>
                    <a:gd name="connsiteX611" fmla="*/ 799952 w 946177"/>
                    <a:gd name="connsiteY611" fmla="*/ 483155 h 905668"/>
                    <a:gd name="connsiteX612" fmla="*/ 782284 w 946177"/>
                    <a:gd name="connsiteY612" fmla="*/ 498953 h 905668"/>
                    <a:gd name="connsiteX613" fmla="*/ 779212 w 946177"/>
                    <a:gd name="connsiteY613" fmla="*/ 500617 h 905668"/>
                    <a:gd name="connsiteX614" fmla="*/ 762261 w 946177"/>
                    <a:gd name="connsiteY614" fmla="*/ 504126 h 905668"/>
                    <a:gd name="connsiteX615" fmla="*/ 758314 w 946177"/>
                    <a:gd name="connsiteY615" fmla="*/ 504114 h 905668"/>
                    <a:gd name="connsiteX616" fmla="*/ 754404 w 946177"/>
                    <a:gd name="connsiteY616" fmla="*/ 502912 h 905668"/>
                    <a:gd name="connsiteX617" fmla="*/ 746111 w 946177"/>
                    <a:gd name="connsiteY617" fmla="*/ 497278 h 905668"/>
                    <a:gd name="connsiteX618" fmla="*/ 740379 w 946177"/>
                    <a:gd name="connsiteY618" fmla="*/ 496403 h 905668"/>
                    <a:gd name="connsiteX619" fmla="*/ 733907 w 946177"/>
                    <a:gd name="connsiteY619" fmla="*/ 498735 h 905668"/>
                    <a:gd name="connsiteX620" fmla="*/ 708492 w 946177"/>
                    <a:gd name="connsiteY620" fmla="*/ 512566 h 905668"/>
                    <a:gd name="connsiteX621" fmla="*/ 687667 w 946177"/>
                    <a:gd name="connsiteY621" fmla="*/ 517726 h 905668"/>
                    <a:gd name="connsiteX622" fmla="*/ 680818 w 946177"/>
                    <a:gd name="connsiteY622" fmla="*/ 517945 h 905668"/>
                    <a:gd name="connsiteX623" fmla="*/ 668554 w 946177"/>
                    <a:gd name="connsiteY623" fmla="*/ 513294 h 905668"/>
                    <a:gd name="connsiteX624" fmla="*/ 663624 w 946177"/>
                    <a:gd name="connsiteY624" fmla="*/ 514290 h 905668"/>
                    <a:gd name="connsiteX625" fmla="*/ 661219 w 946177"/>
                    <a:gd name="connsiteY625" fmla="*/ 516330 h 905668"/>
                    <a:gd name="connsiteX626" fmla="*/ 657929 w 946177"/>
                    <a:gd name="connsiteY626" fmla="*/ 521806 h 905668"/>
                    <a:gd name="connsiteX627" fmla="*/ 655209 w 946177"/>
                    <a:gd name="connsiteY627" fmla="*/ 525061 h 905668"/>
                    <a:gd name="connsiteX628" fmla="*/ 653011 w 946177"/>
                    <a:gd name="connsiteY628" fmla="*/ 526469 h 905668"/>
                    <a:gd name="connsiteX629" fmla="*/ 647328 w 946177"/>
                    <a:gd name="connsiteY629" fmla="*/ 528194 h 905668"/>
                    <a:gd name="connsiteX630" fmla="*/ 635999 w 946177"/>
                    <a:gd name="connsiteY630" fmla="*/ 536378 h 905668"/>
                    <a:gd name="connsiteX631" fmla="*/ 625495 w 946177"/>
                    <a:gd name="connsiteY631" fmla="*/ 546578 h 905668"/>
                    <a:gd name="connsiteX632" fmla="*/ 620941 w 946177"/>
                    <a:gd name="connsiteY632" fmla="*/ 550124 h 905668"/>
                    <a:gd name="connsiteX633" fmla="*/ 616813 w 946177"/>
                    <a:gd name="connsiteY633" fmla="*/ 551132 h 905668"/>
                    <a:gd name="connsiteX634" fmla="*/ 607778 w 946177"/>
                    <a:gd name="connsiteY634" fmla="*/ 550184 h 905668"/>
                    <a:gd name="connsiteX635" fmla="*/ 604208 w 946177"/>
                    <a:gd name="connsiteY635" fmla="*/ 550209 h 905668"/>
                    <a:gd name="connsiteX636" fmla="*/ 593960 w 946177"/>
                    <a:gd name="connsiteY636" fmla="*/ 552589 h 905668"/>
                    <a:gd name="connsiteX637" fmla="*/ 584925 w 946177"/>
                    <a:gd name="connsiteY637" fmla="*/ 552370 h 905668"/>
                    <a:gd name="connsiteX638" fmla="*/ 534909 w 946177"/>
                    <a:gd name="connsiteY638" fmla="*/ 539814 h 905668"/>
                    <a:gd name="connsiteX639" fmla="*/ 526627 w 946177"/>
                    <a:gd name="connsiteY639" fmla="*/ 536074 h 905668"/>
                    <a:gd name="connsiteX640" fmla="*/ 518758 w 946177"/>
                    <a:gd name="connsiteY640" fmla="*/ 530671 h 905668"/>
                    <a:gd name="connsiteX641" fmla="*/ 515310 w 946177"/>
                    <a:gd name="connsiteY641" fmla="*/ 527149 h 905668"/>
                    <a:gd name="connsiteX642" fmla="*/ 512614 w 946177"/>
                    <a:gd name="connsiteY642" fmla="*/ 523300 h 905668"/>
                    <a:gd name="connsiteX643" fmla="*/ 509384 w 946177"/>
                    <a:gd name="connsiteY643" fmla="*/ 521321 h 905668"/>
                    <a:gd name="connsiteX644" fmla="*/ 503337 w 946177"/>
                    <a:gd name="connsiteY644" fmla="*/ 521248 h 905668"/>
                    <a:gd name="connsiteX645" fmla="*/ 491740 w 946177"/>
                    <a:gd name="connsiteY645" fmla="*/ 523664 h 905668"/>
                    <a:gd name="connsiteX646" fmla="*/ 473818 w 946177"/>
                    <a:gd name="connsiteY646" fmla="*/ 524551 h 905668"/>
                    <a:gd name="connsiteX647" fmla="*/ 406922 w 946177"/>
                    <a:gd name="connsiteY647" fmla="*/ 512092 h 905668"/>
                    <a:gd name="connsiteX648" fmla="*/ 359079 w 946177"/>
                    <a:gd name="connsiteY648" fmla="*/ 495833 h 905668"/>
                    <a:gd name="connsiteX649" fmla="*/ 347737 w 946177"/>
                    <a:gd name="connsiteY649" fmla="*/ 494035 h 905668"/>
                    <a:gd name="connsiteX650" fmla="*/ 336639 w 946177"/>
                    <a:gd name="connsiteY650" fmla="*/ 495055 h 905668"/>
                    <a:gd name="connsiteX651" fmla="*/ 325394 w 946177"/>
                    <a:gd name="connsiteY651" fmla="*/ 499354 h 905668"/>
                    <a:gd name="connsiteX652" fmla="*/ 312061 w 946177"/>
                    <a:gd name="connsiteY652" fmla="*/ 508728 h 905668"/>
                    <a:gd name="connsiteX653" fmla="*/ 306767 w 946177"/>
                    <a:gd name="connsiteY653" fmla="*/ 511303 h 905668"/>
                    <a:gd name="connsiteX654" fmla="*/ 276179 w 946177"/>
                    <a:gd name="connsiteY654" fmla="*/ 516378 h 905668"/>
                    <a:gd name="connsiteX655" fmla="*/ 274345 w 946177"/>
                    <a:gd name="connsiteY655" fmla="*/ 517313 h 905668"/>
                    <a:gd name="connsiteX656" fmla="*/ 270593 w 946177"/>
                    <a:gd name="connsiteY656" fmla="*/ 520349 h 905668"/>
                    <a:gd name="connsiteX657" fmla="*/ 270350 w 946177"/>
                    <a:gd name="connsiteY657" fmla="*/ 523931 h 905668"/>
                    <a:gd name="connsiteX658" fmla="*/ 271735 w 946177"/>
                    <a:gd name="connsiteY658" fmla="*/ 528412 h 905668"/>
                    <a:gd name="connsiteX659" fmla="*/ 271917 w 946177"/>
                    <a:gd name="connsiteY659" fmla="*/ 536147 h 905668"/>
                    <a:gd name="connsiteX660" fmla="*/ 268565 w 946177"/>
                    <a:gd name="connsiteY660" fmla="*/ 541150 h 905668"/>
                    <a:gd name="connsiteX661" fmla="*/ 259325 w 946177"/>
                    <a:gd name="connsiteY661" fmla="*/ 547525 h 905668"/>
                    <a:gd name="connsiteX662" fmla="*/ 257054 w 946177"/>
                    <a:gd name="connsiteY662" fmla="*/ 551119 h 905668"/>
                    <a:gd name="connsiteX663" fmla="*/ 256860 w 946177"/>
                    <a:gd name="connsiteY663" fmla="*/ 558296 h 905668"/>
                    <a:gd name="connsiteX664" fmla="*/ 255439 w 946177"/>
                    <a:gd name="connsiteY664" fmla="*/ 562437 h 905668"/>
                    <a:gd name="connsiteX665" fmla="*/ 253350 w 946177"/>
                    <a:gd name="connsiteY665" fmla="*/ 564574 h 905668"/>
                    <a:gd name="connsiteX666" fmla="*/ 247898 w 946177"/>
                    <a:gd name="connsiteY666" fmla="*/ 567512 h 905668"/>
                    <a:gd name="connsiteX667" fmla="*/ 246356 w 946177"/>
                    <a:gd name="connsiteY667" fmla="*/ 568666 h 905668"/>
                    <a:gd name="connsiteX668" fmla="*/ 244377 w 946177"/>
                    <a:gd name="connsiteY668" fmla="*/ 572042 h 905668"/>
                    <a:gd name="connsiteX669" fmla="*/ 243672 w 946177"/>
                    <a:gd name="connsiteY669" fmla="*/ 576134 h 905668"/>
                    <a:gd name="connsiteX670" fmla="*/ 244705 w 946177"/>
                    <a:gd name="connsiteY670" fmla="*/ 579813 h 905668"/>
                    <a:gd name="connsiteX671" fmla="*/ 248226 w 946177"/>
                    <a:gd name="connsiteY671" fmla="*/ 583335 h 905668"/>
                    <a:gd name="connsiteX672" fmla="*/ 252185 w 946177"/>
                    <a:gd name="connsiteY672" fmla="*/ 585362 h 905668"/>
                    <a:gd name="connsiteX673" fmla="*/ 256325 w 946177"/>
                    <a:gd name="connsiteY673" fmla="*/ 586892 h 905668"/>
                    <a:gd name="connsiteX674" fmla="*/ 260490 w 946177"/>
                    <a:gd name="connsiteY674" fmla="*/ 587378 h 905668"/>
                    <a:gd name="connsiteX675" fmla="*/ 265105 w 946177"/>
                    <a:gd name="connsiteY675" fmla="*/ 586820 h 905668"/>
                    <a:gd name="connsiteX676" fmla="*/ 272609 w 946177"/>
                    <a:gd name="connsiteY676" fmla="*/ 587487 h 905668"/>
                    <a:gd name="connsiteX677" fmla="*/ 276495 w 946177"/>
                    <a:gd name="connsiteY677" fmla="*/ 592005 h 905668"/>
                    <a:gd name="connsiteX678" fmla="*/ 281218 w 946177"/>
                    <a:gd name="connsiteY678" fmla="*/ 603358 h 905668"/>
                    <a:gd name="connsiteX679" fmla="*/ 283538 w 946177"/>
                    <a:gd name="connsiteY679" fmla="*/ 606855 h 905668"/>
                    <a:gd name="connsiteX680" fmla="*/ 285566 w 946177"/>
                    <a:gd name="connsiteY680" fmla="*/ 612818 h 905668"/>
                    <a:gd name="connsiteX681" fmla="*/ 284752 w 946177"/>
                    <a:gd name="connsiteY681" fmla="*/ 618889 h 905668"/>
                    <a:gd name="connsiteX682" fmla="*/ 280441 w 946177"/>
                    <a:gd name="connsiteY682" fmla="*/ 622787 h 905668"/>
                    <a:gd name="connsiteX683" fmla="*/ 268553 w 946177"/>
                    <a:gd name="connsiteY683" fmla="*/ 628798 h 905668"/>
                    <a:gd name="connsiteX684" fmla="*/ 265530 w 946177"/>
                    <a:gd name="connsiteY684" fmla="*/ 631943 h 905668"/>
                    <a:gd name="connsiteX685" fmla="*/ 264255 w 946177"/>
                    <a:gd name="connsiteY685" fmla="*/ 636849 h 905668"/>
                    <a:gd name="connsiteX686" fmla="*/ 265773 w 946177"/>
                    <a:gd name="connsiteY686" fmla="*/ 642349 h 905668"/>
                    <a:gd name="connsiteX687" fmla="*/ 269500 w 946177"/>
                    <a:gd name="connsiteY687" fmla="*/ 646891 h 905668"/>
                    <a:gd name="connsiteX688" fmla="*/ 273750 w 946177"/>
                    <a:gd name="connsiteY688" fmla="*/ 649684 h 905668"/>
                    <a:gd name="connsiteX689" fmla="*/ 278316 w 946177"/>
                    <a:gd name="connsiteY689" fmla="*/ 650534 h 905668"/>
                    <a:gd name="connsiteX690" fmla="*/ 290483 w 946177"/>
                    <a:gd name="connsiteY690" fmla="*/ 647559 h 905668"/>
                    <a:gd name="connsiteX691" fmla="*/ 295171 w 946177"/>
                    <a:gd name="connsiteY691" fmla="*/ 647704 h 905668"/>
                    <a:gd name="connsiteX692" fmla="*/ 305954 w 946177"/>
                    <a:gd name="connsiteY692" fmla="*/ 651226 h 905668"/>
                    <a:gd name="connsiteX693" fmla="*/ 311539 w 946177"/>
                    <a:gd name="connsiteY693" fmla="*/ 650716 h 905668"/>
                    <a:gd name="connsiteX694" fmla="*/ 318145 w 946177"/>
                    <a:gd name="connsiteY694" fmla="*/ 649161 h 905668"/>
                    <a:gd name="connsiteX695" fmla="*/ 326475 w 946177"/>
                    <a:gd name="connsiteY695" fmla="*/ 648821 h 905668"/>
                    <a:gd name="connsiteX696" fmla="*/ 333967 w 946177"/>
                    <a:gd name="connsiteY696" fmla="*/ 653824 h 905668"/>
                    <a:gd name="connsiteX697" fmla="*/ 337052 w 946177"/>
                    <a:gd name="connsiteY697" fmla="*/ 662458 h 905668"/>
                    <a:gd name="connsiteX698" fmla="*/ 334951 w 946177"/>
                    <a:gd name="connsiteY698" fmla="*/ 670169 h 905668"/>
                    <a:gd name="connsiteX699" fmla="*/ 330203 w 946177"/>
                    <a:gd name="connsiteY699" fmla="*/ 677236 h 905668"/>
                    <a:gd name="connsiteX700" fmla="*/ 324678 w 946177"/>
                    <a:gd name="connsiteY700" fmla="*/ 682470 h 905668"/>
                    <a:gd name="connsiteX701" fmla="*/ 317757 w 946177"/>
                    <a:gd name="connsiteY701" fmla="*/ 687157 h 905668"/>
                    <a:gd name="connsiteX702" fmla="*/ 310653 w 946177"/>
                    <a:gd name="connsiteY702" fmla="*/ 690253 h 905668"/>
                    <a:gd name="connsiteX703" fmla="*/ 290605 w 946177"/>
                    <a:gd name="connsiteY703" fmla="*/ 693580 h 905668"/>
                    <a:gd name="connsiteX704" fmla="*/ 286877 w 946177"/>
                    <a:gd name="connsiteY704" fmla="*/ 696847 h 905668"/>
                    <a:gd name="connsiteX705" fmla="*/ 281012 w 946177"/>
                    <a:gd name="connsiteY705" fmla="*/ 706962 h 905668"/>
                    <a:gd name="connsiteX706" fmla="*/ 279992 w 946177"/>
                    <a:gd name="connsiteY706" fmla="*/ 709172 h 905668"/>
                    <a:gd name="connsiteX707" fmla="*/ 279348 w 946177"/>
                    <a:gd name="connsiteY707" fmla="*/ 711430 h 905668"/>
                    <a:gd name="connsiteX708" fmla="*/ 278850 w 946177"/>
                    <a:gd name="connsiteY708" fmla="*/ 713895 h 905668"/>
                    <a:gd name="connsiteX709" fmla="*/ 278450 w 946177"/>
                    <a:gd name="connsiteY709" fmla="*/ 719663 h 905668"/>
                    <a:gd name="connsiteX710" fmla="*/ 278887 w 946177"/>
                    <a:gd name="connsiteY710" fmla="*/ 722298 h 905668"/>
                    <a:gd name="connsiteX711" fmla="*/ 279737 w 946177"/>
                    <a:gd name="connsiteY711" fmla="*/ 724873 h 905668"/>
                    <a:gd name="connsiteX712" fmla="*/ 281073 w 946177"/>
                    <a:gd name="connsiteY712" fmla="*/ 727204 h 905668"/>
                    <a:gd name="connsiteX713" fmla="*/ 289196 w 946177"/>
                    <a:gd name="connsiteY713" fmla="*/ 733482 h 905668"/>
                    <a:gd name="connsiteX714" fmla="*/ 300671 w 946177"/>
                    <a:gd name="connsiteY714" fmla="*/ 739250 h 905668"/>
                    <a:gd name="connsiteX715" fmla="*/ 311952 w 946177"/>
                    <a:gd name="connsiteY715" fmla="*/ 747689 h 905668"/>
                    <a:gd name="connsiteX716" fmla="*/ 315522 w 946177"/>
                    <a:gd name="connsiteY716" fmla="*/ 761046 h 905668"/>
                    <a:gd name="connsiteX717" fmla="*/ 311260 w 946177"/>
                    <a:gd name="connsiteY717" fmla="*/ 777840 h 905668"/>
                    <a:gd name="connsiteX718" fmla="*/ 305407 w 946177"/>
                    <a:gd name="connsiteY718" fmla="*/ 793444 h 905668"/>
                    <a:gd name="connsiteX719" fmla="*/ 303501 w 946177"/>
                    <a:gd name="connsiteY719" fmla="*/ 797245 h 905668"/>
                    <a:gd name="connsiteX720" fmla="*/ 301230 w 946177"/>
                    <a:gd name="connsiteY720" fmla="*/ 800584 h 905668"/>
                    <a:gd name="connsiteX721" fmla="*/ 298437 w 946177"/>
                    <a:gd name="connsiteY721" fmla="*/ 803510 h 905668"/>
                    <a:gd name="connsiteX722" fmla="*/ 294879 w 946177"/>
                    <a:gd name="connsiteY722" fmla="*/ 806024 h 905668"/>
                    <a:gd name="connsiteX723" fmla="*/ 287156 w 946177"/>
                    <a:gd name="connsiteY723" fmla="*/ 808999 h 905668"/>
                    <a:gd name="connsiteX724" fmla="*/ 285468 w 946177"/>
                    <a:gd name="connsiteY724" fmla="*/ 810189 h 905668"/>
                    <a:gd name="connsiteX725" fmla="*/ 284193 w 946177"/>
                    <a:gd name="connsiteY725" fmla="*/ 812630 h 905668"/>
                    <a:gd name="connsiteX726" fmla="*/ 283720 w 946177"/>
                    <a:gd name="connsiteY726" fmla="*/ 820547 h 905668"/>
                    <a:gd name="connsiteX727" fmla="*/ 285796 w 946177"/>
                    <a:gd name="connsiteY727" fmla="*/ 825781 h 905668"/>
                    <a:gd name="connsiteX728" fmla="*/ 290386 w 946177"/>
                    <a:gd name="connsiteY728" fmla="*/ 830286 h 905668"/>
                    <a:gd name="connsiteX729" fmla="*/ 296773 w 946177"/>
                    <a:gd name="connsiteY729" fmla="*/ 834426 h 905668"/>
                    <a:gd name="connsiteX730" fmla="*/ 303343 w 946177"/>
                    <a:gd name="connsiteY730" fmla="*/ 840595 h 905668"/>
                    <a:gd name="connsiteX731" fmla="*/ 313652 w 946177"/>
                    <a:gd name="connsiteY731" fmla="*/ 853964 h 905668"/>
                    <a:gd name="connsiteX732" fmla="*/ 320051 w 946177"/>
                    <a:gd name="connsiteY732" fmla="*/ 857474 h 905668"/>
                    <a:gd name="connsiteX733" fmla="*/ 336529 w 946177"/>
                    <a:gd name="connsiteY733" fmla="*/ 859914 h 905668"/>
                    <a:gd name="connsiteX734" fmla="*/ 343548 w 946177"/>
                    <a:gd name="connsiteY734" fmla="*/ 863837 h 905668"/>
                    <a:gd name="connsiteX735" fmla="*/ 345965 w 946177"/>
                    <a:gd name="connsiteY735" fmla="*/ 869410 h 905668"/>
                    <a:gd name="connsiteX736" fmla="*/ 346669 w 946177"/>
                    <a:gd name="connsiteY736" fmla="*/ 881067 h 905668"/>
                    <a:gd name="connsiteX737" fmla="*/ 348891 w 946177"/>
                    <a:gd name="connsiteY737" fmla="*/ 891316 h 905668"/>
                    <a:gd name="connsiteX738" fmla="*/ 348369 w 946177"/>
                    <a:gd name="connsiteY738" fmla="*/ 896683 h 905668"/>
                    <a:gd name="connsiteX739" fmla="*/ 346037 w 946177"/>
                    <a:gd name="connsiteY739" fmla="*/ 901589 h 905668"/>
                    <a:gd name="connsiteX740" fmla="*/ 343269 w 946177"/>
                    <a:gd name="connsiteY740" fmla="*/ 905669 h 90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Lst>
                  <a:rect l="l" t="t" r="r" b="b"/>
                  <a:pathLst>
                    <a:path w="946177" h="905668">
                      <a:moveTo>
                        <a:pt x="277660" y="873648"/>
                      </a:moveTo>
                      <a:lnTo>
                        <a:pt x="276106" y="871705"/>
                      </a:lnTo>
                      <a:lnTo>
                        <a:pt x="272706" y="866229"/>
                      </a:lnTo>
                      <a:lnTo>
                        <a:pt x="271310" y="864383"/>
                      </a:lnTo>
                      <a:lnTo>
                        <a:pt x="269974" y="863132"/>
                      </a:lnTo>
                      <a:lnTo>
                        <a:pt x="267558" y="862039"/>
                      </a:lnTo>
                      <a:lnTo>
                        <a:pt x="264692" y="861420"/>
                      </a:lnTo>
                      <a:lnTo>
                        <a:pt x="259227" y="861760"/>
                      </a:lnTo>
                      <a:lnTo>
                        <a:pt x="256811" y="862100"/>
                      </a:lnTo>
                      <a:lnTo>
                        <a:pt x="255305" y="862537"/>
                      </a:lnTo>
                      <a:lnTo>
                        <a:pt x="252221" y="864177"/>
                      </a:lnTo>
                      <a:lnTo>
                        <a:pt x="249768" y="865087"/>
                      </a:lnTo>
                      <a:lnTo>
                        <a:pt x="245943" y="864565"/>
                      </a:lnTo>
                      <a:lnTo>
                        <a:pt x="241207" y="862270"/>
                      </a:lnTo>
                      <a:lnTo>
                        <a:pt x="238014" y="860594"/>
                      </a:lnTo>
                      <a:lnTo>
                        <a:pt x="236180" y="857376"/>
                      </a:lnTo>
                      <a:lnTo>
                        <a:pt x="230959" y="854231"/>
                      </a:lnTo>
                      <a:lnTo>
                        <a:pt x="220212" y="849787"/>
                      </a:lnTo>
                      <a:lnTo>
                        <a:pt x="213704" y="845646"/>
                      </a:lnTo>
                      <a:lnTo>
                        <a:pt x="209551" y="840534"/>
                      </a:lnTo>
                      <a:lnTo>
                        <a:pt x="207839" y="838312"/>
                      </a:lnTo>
                      <a:lnTo>
                        <a:pt x="213133" y="833528"/>
                      </a:lnTo>
                      <a:lnTo>
                        <a:pt x="212987" y="831633"/>
                      </a:lnTo>
                      <a:lnTo>
                        <a:pt x="214493" y="829229"/>
                      </a:lnTo>
                      <a:lnTo>
                        <a:pt x="215161" y="827383"/>
                      </a:lnTo>
                      <a:lnTo>
                        <a:pt x="215124" y="826983"/>
                      </a:lnTo>
                      <a:lnTo>
                        <a:pt x="214578" y="825866"/>
                      </a:lnTo>
                      <a:lnTo>
                        <a:pt x="213485" y="824991"/>
                      </a:lnTo>
                      <a:lnTo>
                        <a:pt x="209356" y="822526"/>
                      </a:lnTo>
                      <a:lnTo>
                        <a:pt x="208737" y="821409"/>
                      </a:lnTo>
                      <a:lnTo>
                        <a:pt x="208069" y="819915"/>
                      </a:lnTo>
                      <a:lnTo>
                        <a:pt x="207996" y="819575"/>
                      </a:lnTo>
                      <a:lnTo>
                        <a:pt x="206746" y="819952"/>
                      </a:lnTo>
                      <a:lnTo>
                        <a:pt x="205349" y="819903"/>
                      </a:lnTo>
                      <a:lnTo>
                        <a:pt x="204111" y="820183"/>
                      </a:lnTo>
                      <a:lnTo>
                        <a:pt x="201901" y="818847"/>
                      </a:lnTo>
                      <a:lnTo>
                        <a:pt x="201208" y="817098"/>
                      </a:lnTo>
                      <a:lnTo>
                        <a:pt x="200966" y="815180"/>
                      </a:lnTo>
                      <a:lnTo>
                        <a:pt x="200966" y="811816"/>
                      </a:lnTo>
                      <a:lnTo>
                        <a:pt x="204281" y="811573"/>
                      </a:lnTo>
                      <a:lnTo>
                        <a:pt x="204694" y="811379"/>
                      </a:lnTo>
                      <a:lnTo>
                        <a:pt x="204572" y="809084"/>
                      </a:lnTo>
                      <a:lnTo>
                        <a:pt x="203819" y="805465"/>
                      </a:lnTo>
                      <a:lnTo>
                        <a:pt x="203419" y="800547"/>
                      </a:lnTo>
                      <a:lnTo>
                        <a:pt x="204973" y="796237"/>
                      </a:lnTo>
                      <a:lnTo>
                        <a:pt x="205167" y="795265"/>
                      </a:lnTo>
                      <a:lnTo>
                        <a:pt x="204645" y="794087"/>
                      </a:lnTo>
                      <a:lnTo>
                        <a:pt x="202921" y="792084"/>
                      </a:lnTo>
                      <a:lnTo>
                        <a:pt x="200431" y="788344"/>
                      </a:lnTo>
                      <a:lnTo>
                        <a:pt x="199678" y="782831"/>
                      </a:lnTo>
                      <a:lnTo>
                        <a:pt x="201998" y="779237"/>
                      </a:lnTo>
                      <a:lnTo>
                        <a:pt x="203953" y="776954"/>
                      </a:lnTo>
                      <a:lnTo>
                        <a:pt x="205896" y="770227"/>
                      </a:lnTo>
                      <a:lnTo>
                        <a:pt x="208446" y="768551"/>
                      </a:lnTo>
                      <a:lnTo>
                        <a:pt x="209636" y="768065"/>
                      </a:lnTo>
                      <a:lnTo>
                        <a:pt x="210000" y="767992"/>
                      </a:lnTo>
                      <a:lnTo>
                        <a:pt x="210012" y="767725"/>
                      </a:lnTo>
                      <a:lnTo>
                        <a:pt x="209660" y="767033"/>
                      </a:lnTo>
                      <a:lnTo>
                        <a:pt x="209162" y="765709"/>
                      </a:lnTo>
                      <a:lnTo>
                        <a:pt x="207608" y="758351"/>
                      </a:lnTo>
                      <a:lnTo>
                        <a:pt x="207462" y="755096"/>
                      </a:lnTo>
                      <a:lnTo>
                        <a:pt x="208968" y="751915"/>
                      </a:lnTo>
                      <a:lnTo>
                        <a:pt x="211129" y="751162"/>
                      </a:lnTo>
                      <a:lnTo>
                        <a:pt x="211214" y="750919"/>
                      </a:lnTo>
                      <a:lnTo>
                        <a:pt x="210899" y="748296"/>
                      </a:lnTo>
                      <a:lnTo>
                        <a:pt x="209624" y="745066"/>
                      </a:lnTo>
                      <a:lnTo>
                        <a:pt x="207839" y="741703"/>
                      </a:lnTo>
                      <a:lnTo>
                        <a:pt x="206041" y="739432"/>
                      </a:lnTo>
                      <a:lnTo>
                        <a:pt x="200808" y="735158"/>
                      </a:lnTo>
                      <a:lnTo>
                        <a:pt x="199496" y="731867"/>
                      </a:lnTo>
                      <a:lnTo>
                        <a:pt x="200541" y="728746"/>
                      </a:lnTo>
                      <a:lnTo>
                        <a:pt x="200407" y="728224"/>
                      </a:lnTo>
                      <a:lnTo>
                        <a:pt x="200504" y="725237"/>
                      </a:lnTo>
                      <a:lnTo>
                        <a:pt x="204184" y="717429"/>
                      </a:lnTo>
                      <a:lnTo>
                        <a:pt x="204936" y="715049"/>
                      </a:lnTo>
                      <a:lnTo>
                        <a:pt x="204621" y="712159"/>
                      </a:lnTo>
                      <a:lnTo>
                        <a:pt x="203977" y="708771"/>
                      </a:lnTo>
                      <a:lnTo>
                        <a:pt x="202763" y="705784"/>
                      </a:lnTo>
                      <a:lnTo>
                        <a:pt x="200881" y="703355"/>
                      </a:lnTo>
                      <a:lnTo>
                        <a:pt x="198501" y="696228"/>
                      </a:lnTo>
                      <a:lnTo>
                        <a:pt x="201451" y="680053"/>
                      </a:lnTo>
                      <a:lnTo>
                        <a:pt x="201002" y="674407"/>
                      </a:lnTo>
                      <a:lnTo>
                        <a:pt x="189466" y="653776"/>
                      </a:lnTo>
                      <a:lnTo>
                        <a:pt x="189466" y="652987"/>
                      </a:lnTo>
                      <a:lnTo>
                        <a:pt x="187608" y="640661"/>
                      </a:lnTo>
                      <a:lnTo>
                        <a:pt x="184330" y="628348"/>
                      </a:lnTo>
                      <a:lnTo>
                        <a:pt x="183966" y="623941"/>
                      </a:lnTo>
                      <a:lnTo>
                        <a:pt x="184354" y="616218"/>
                      </a:lnTo>
                      <a:lnTo>
                        <a:pt x="184172" y="612903"/>
                      </a:lnTo>
                      <a:lnTo>
                        <a:pt x="181355" y="599205"/>
                      </a:lnTo>
                      <a:lnTo>
                        <a:pt x="178780" y="596668"/>
                      </a:lnTo>
                      <a:lnTo>
                        <a:pt x="177809" y="593996"/>
                      </a:lnTo>
                      <a:lnTo>
                        <a:pt x="176425" y="591422"/>
                      </a:lnTo>
                      <a:lnTo>
                        <a:pt x="169139" y="581440"/>
                      </a:lnTo>
                      <a:lnTo>
                        <a:pt x="166965" y="574907"/>
                      </a:lnTo>
                      <a:lnTo>
                        <a:pt x="170475" y="569079"/>
                      </a:lnTo>
                      <a:lnTo>
                        <a:pt x="171143" y="567075"/>
                      </a:lnTo>
                      <a:lnTo>
                        <a:pt x="172029" y="563420"/>
                      </a:lnTo>
                      <a:lnTo>
                        <a:pt x="172236" y="555989"/>
                      </a:lnTo>
                      <a:lnTo>
                        <a:pt x="172381" y="554920"/>
                      </a:lnTo>
                      <a:lnTo>
                        <a:pt x="173110" y="553062"/>
                      </a:lnTo>
                      <a:lnTo>
                        <a:pt x="174312" y="551180"/>
                      </a:lnTo>
                      <a:lnTo>
                        <a:pt x="173936" y="545230"/>
                      </a:lnTo>
                      <a:lnTo>
                        <a:pt x="174093" y="543955"/>
                      </a:lnTo>
                      <a:lnTo>
                        <a:pt x="174761" y="541988"/>
                      </a:lnTo>
                      <a:lnTo>
                        <a:pt x="175696" y="540385"/>
                      </a:lnTo>
                      <a:lnTo>
                        <a:pt x="175903" y="537009"/>
                      </a:lnTo>
                      <a:lnTo>
                        <a:pt x="176012" y="536487"/>
                      </a:lnTo>
                      <a:lnTo>
                        <a:pt x="176461" y="535151"/>
                      </a:lnTo>
                      <a:lnTo>
                        <a:pt x="177481" y="533609"/>
                      </a:lnTo>
                      <a:lnTo>
                        <a:pt x="179084" y="532225"/>
                      </a:lnTo>
                      <a:lnTo>
                        <a:pt x="180808" y="531375"/>
                      </a:lnTo>
                      <a:lnTo>
                        <a:pt x="187390" y="530112"/>
                      </a:lnTo>
                      <a:lnTo>
                        <a:pt x="188896" y="530088"/>
                      </a:lnTo>
                      <a:lnTo>
                        <a:pt x="190280" y="530209"/>
                      </a:lnTo>
                      <a:lnTo>
                        <a:pt x="194190" y="530914"/>
                      </a:lnTo>
                      <a:lnTo>
                        <a:pt x="197638" y="529408"/>
                      </a:lnTo>
                      <a:lnTo>
                        <a:pt x="200031" y="528266"/>
                      </a:lnTo>
                      <a:lnTo>
                        <a:pt x="202156" y="527599"/>
                      </a:lnTo>
                      <a:lnTo>
                        <a:pt x="204135" y="527271"/>
                      </a:lnTo>
                      <a:lnTo>
                        <a:pt x="206151" y="527259"/>
                      </a:lnTo>
                      <a:lnTo>
                        <a:pt x="208810" y="527574"/>
                      </a:lnTo>
                      <a:lnTo>
                        <a:pt x="211008" y="528789"/>
                      </a:lnTo>
                      <a:lnTo>
                        <a:pt x="211785" y="530258"/>
                      </a:lnTo>
                      <a:lnTo>
                        <a:pt x="211858" y="530525"/>
                      </a:lnTo>
                      <a:lnTo>
                        <a:pt x="212392" y="529456"/>
                      </a:lnTo>
                      <a:lnTo>
                        <a:pt x="216072" y="519621"/>
                      </a:lnTo>
                      <a:lnTo>
                        <a:pt x="218962" y="518503"/>
                      </a:lnTo>
                      <a:lnTo>
                        <a:pt x="215707" y="518212"/>
                      </a:lnTo>
                      <a:lnTo>
                        <a:pt x="214675" y="516743"/>
                      </a:lnTo>
                      <a:lnTo>
                        <a:pt x="214201" y="515723"/>
                      </a:lnTo>
                      <a:lnTo>
                        <a:pt x="214044" y="515031"/>
                      </a:lnTo>
                      <a:lnTo>
                        <a:pt x="213776" y="512760"/>
                      </a:lnTo>
                      <a:lnTo>
                        <a:pt x="214250" y="511048"/>
                      </a:lnTo>
                      <a:lnTo>
                        <a:pt x="214796" y="509858"/>
                      </a:lnTo>
                      <a:lnTo>
                        <a:pt x="220431" y="501673"/>
                      </a:lnTo>
                      <a:lnTo>
                        <a:pt x="221086" y="500313"/>
                      </a:lnTo>
                      <a:lnTo>
                        <a:pt x="222532" y="496148"/>
                      </a:lnTo>
                      <a:lnTo>
                        <a:pt x="224596" y="492408"/>
                      </a:lnTo>
                      <a:lnTo>
                        <a:pt x="224960" y="492263"/>
                      </a:lnTo>
                      <a:lnTo>
                        <a:pt x="225847" y="491230"/>
                      </a:lnTo>
                      <a:lnTo>
                        <a:pt x="228020" y="489251"/>
                      </a:lnTo>
                      <a:lnTo>
                        <a:pt x="232307" y="486191"/>
                      </a:lnTo>
                      <a:lnTo>
                        <a:pt x="234444" y="484940"/>
                      </a:lnTo>
                      <a:lnTo>
                        <a:pt x="236982" y="483933"/>
                      </a:lnTo>
                      <a:lnTo>
                        <a:pt x="241207" y="484175"/>
                      </a:lnTo>
                      <a:lnTo>
                        <a:pt x="243272" y="483253"/>
                      </a:lnTo>
                      <a:lnTo>
                        <a:pt x="246745" y="480800"/>
                      </a:lnTo>
                      <a:lnTo>
                        <a:pt x="247813" y="480375"/>
                      </a:lnTo>
                      <a:lnTo>
                        <a:pt x="252403" y="479452"/>
                      </a:lnTo>
                      <a:lnTo>
                        <a:pt x="260284" y="480047"/>
                      </a:lnTo>
                      <a:lnTo>
                        <a:pt x="262494" y="478577"/>
                      </a:lnTo>
                      <a:lnTo>
                        <a:pt x="262494" y="478310"/>
                      </a:lnTo>
                      <a:lnTo>
                        <a:pt x="264194" y="477436"/>
                      </a:lnTo>
                      <a:lnTo>
                        <a:pt x="266647" y="475857"/>
                      </a:lnTo>
                      <a:lnTo>
                        <a:pt x="267570" y="474898"/>
                      </a:lnTo>
                      <a:lnTo>
                        <a:pt x="268408" y="473356"/>
                      </a:lnTo>
                      <a:lnTo>
                        <a:pt x="271213" y="470539"/>
                      </a:lnTo>
                      <a:lnTo>
                        <a:pt x="271820" y="470284"/>
                      </a:lnTo>
                      <a:lnTo>
                        <a:pt x="272318" y="469737"/>
                      </a:lnTo>
                      <a:lnTo>
                        <a:pt x="274661" y="468730"/>
                      </a:lnTo>
                      <a:lnTo>
                        <a:pt x="278389" y="468268"/>
                      </a:lnTo>
                      <a:lnTo>
                        <a:pt x="280745" y="470842"/>
                      </a:lnTo>
                      <a:lnTo>
                        <a:pt x="279713" y="467989"/>
                      </a:lnTo>
                      <a:lnTo>
                        <a:pt x="284011" y="466410"/>
                      </a:lnTo>
                      <a:lnTo>
                        <a:pt x="284618" y="465305"/>
                      </a:lnTo>
                      <a:lnTo>
                        <a:pt x="285481" y="462257"/>
                      </a:lnTo>
                      <a:lnTo>
                        <a:pt x="286537" y="459622"/>
                      </a:lnTo>
                      <a:lnTo>
                        <a:pt x="287533" y="458323"/>
                      </a:lnTo>
                      <a:lnTo>
                        <a:pt x="287533" y="457777"/>
                      </a:lnTo>
                      <a:lnTo>
                        <a:pt x="290933" y="455433"/>
                      </a:lnTo>
                      <a:lnTo>
                        <a:pt x="291552" y="454085"/>
                      </a:lnTo>
                      <a:lnTo>
                        <a:pt x="291831" y="452798"/>
                      </a:lnTo>
                      <a:lnTo>
                        <a:pt x="291564" y="450467"/>
                      </a:lnTo>
                      <a:lnTo>
                        <a:pt x="291880" y="447977"/>
                      </a:lnTo>
                      <a:lnTo>
                        <a:pt x="292584" y="445403"/>
                      </a:lnTo>
                      <a:lnTo>
                        <a:pt x="294588" y="442938"/>
                      </a:lnTo>
                      <a:lnTo>
                        <a:pt x="296664" y="440874"/>
                      </a:lnTo>
                      <a:lnTo>
                        <a:pt x="298303" y="439708"/>
                      </a:lnTo>
                      <a:lnTo>
                        <a:pt x="297806" y="439222"/>
                      </a:lnTo>
                      <a:lnTo>
                        <a:pt x="295802" y="438481"/>
                      </a:lnTo>
                      <a:lnTo>
                        <a:pt x="296834" y="435555"/>
                      </a:lnTo>
                      <a:lnTo>
                        <a:pt x="294661" y="437741"/>
                      </a:lnTo>
                      <a:lnTo>
                        <a:pt x="293495" y="436587"/>
                      </a:lnTo>
                      <a:lnTo>
                        <a:pt x="292839" y="435555"/>
                      </a:lnTo>
                      <a:lnTo>
                        <a:pt x="292621" y="435009"/>
                      </a:lnTo>
                      <a:lnTo>
                        <a:pt x="292135" y="433321"/>
                      </a:lnTo>
                      <a:lnTo>
                        <a:pt x="292208" y="431730"/>
                      </a:lnTo>
                      <a:lnTo>
                        <a:pt x="292487" y="430528"/>
                      </a:lnTo>
                      <a:lnTo>
                        <a:pt x="294393" y="426387"/>
                      </a:lnTo>
                      <a:lnTo>
                        <a:pt x="295401" y="424724"/>
                      </a:lnTo>
                      <a:lnTo>
                        <a:pt x="297174" y="422793"/>
                      </a:lnTo>
                      <a:lnTo>
                        <a:pt x="299506" y="420886"/>
                      </a:lnTo>
                      <a:lnTo>
                        <a:pt x="301376" y="420279"/>
                      </a:lnTo>
                      <a:lnTo>
                        <a:pt x="300076" y="419101"/>
                      </a:lnTo>
                      <a:lnTo>
                        <a:pt x="299032" y="416709"/>
                      </a:lnTo>
                      <a:lnTo>
                        <a:pt x="298874" y="415908"/>
                      </a:lnTo>
                      <a:lnTo>
                        <a:pt x="297672" y="415908"/>
                      </a:lnTo>
                      <a:lnTo>
                        <a:pt x="289403" y="415143"/>
                      </a:lnTo>
                      <a:lnTo>
                        <a:pt x="287703" y="414645"/>
                      </a:lnTo>
                      <a:lnTo>
                        <a:pt x="286124" y="413868"/>
                      </a:lnTo>
                      <a:lnTo>
                        <a:pt x="282299" y="410468"/>
                      </a:lnTo>
                      <a:lnTo>
                        <a:pt x="281194" y="408962"/>
                      </a:lnTo>
                      <a:lnTo>
                        <a:pt x="278595" y="408962"/>
                      </a:lnTo>
                      <a:lnTo>
                        <a:pt x="277600" y="409266"/>
                      </a:lnTo>
                      <a:lnTo>
                        <a:pt x="275790" y="410188"/>
                      </a:lnTo>
                      <a:lnTo>
                        <a:pt x="274285" y="409873"/>
                      </a:lnTo>
                      <a:lnTo>
                        <a:pt x="273775" y="409654"/>
                      </a:lnTo>
                      <a:lnTo>
                        <a:pt x="272961" y="409472"/>
                      </a:lnTo>
                      <a:lnTo>
                        <a:pt x="272281" y="409193"/>
                      </a:lnTo>
                      <a:lnTo>
                        <a:pt x="270885" y="408221"/>
                      </a:lnTo>
                      <a:lnTo>
                        <a:pt x="266805" y="403303"/>
                      </a:lnTo>
                      <a:lnTo>
                        <a:pt x="262676" y="401858"/>
                      </a:lnTo>
                      <a:lnTo>
                        <a:pt x="262142" y="401822"/>
                      </a:lnTo>
                      <a:lnTo>
                        <a:pt x="258960" y="402915"/>
                      </a:lnTo>
                      <a:lnTo>
                        <a:pt x="256847" y="403048"/>
                      </a:lnTo>
                      <a:lnTo>
                        <a:pt x="256095" y="402745"/>
                      </a:lnTo>
                      <a:lnTo>
                        <a:pt x="254905" y="402162"/>
                      </a:lnTo>
                      <a:lnTo>
                        <a:pt x="250472" y="397985"/>
                      </a:lnTo>
                      <a:lnTo>
                        <a:pt x="247813" y="396722"/>
                      </a:lnTo>
                      <a:lnTo>
                        <a:pt x="246732" y="396418"/>
                      </a:lnTo>
                      <a:lnTo>
                        <a:pt x="244935" y="396030"/>
                      </a:lnTo>
                      <a:lnTo>
                        <a:pt x="240807" y="396042"/>
                      </a:lnTo>
                      <a:lnTo>
                        <a:pt x="237030" y="399891"/>
                      </a:lnTo>
                      <a:lnTo>
                        <a:pt x="235682" y="400778"/>
                      </a:lnTo>
                      <a:lnTo>
                        <a:pt x="234334" y="401361"/>
                      </a:lnTo>
                      <a:lnTo>
                        <a:pt x="233096" y="401518"/>
                      </a:lnTo>
                      <a:lnTo>
                        <a:pt x="232234" y="401482"/>
                      </a:lnTo>
                      <a:lnTo>
                        <a:pt x="230837" y="400984"/>
                      </a:lnTo>
                      <a:lnTo>
                        <a:pt x="229744" y="400304"/>
                      </a:lnTo>
                      <a:lnTo>
                        <a:pt x="228712" y="399418"/>
                      </a:lnTo>
                      <a:lnTo>
                        <a:pt x="226466" y="396139"/>
                      </a:lnTo>
                      <a:lnTo>
                        <a:pt x="226259" y="393808"/>
                      </a:lnTo>
                      <a:lnTo>
                        <a:pt x="226296" y="393346"/>
                      </a:lnTo>
                      <a:lnTo>
                        <a:pt x="226539" y="392108"/>
                      </a:lnTo>
                      <a:lnTo>
                        <a:pt x="227000" y="390954"/>
                      </a:lnTo>
                      <a:lnTo>
                        <a:pt x="227267" y="388416"/>
                      </a:lnTo>
                      <a:lnTo>
                        <a:pt x="221694" y="379090"/>
                      </a:lnTo>
                      <a:lnTo>
                        <a:pt x="221317" y="378131"/>
                      </a:lnTo>
                      <a:lnTo>
                        <a:pt x="221050" y="376091"/>
                      </a:lnTo>
                      <a:lnTo>
                        <a:pt x="221742" y="369230"/>
                      </a:lnTo>
                      <a:lnTo>
                        <a:pt x="221584" y="367943"/>
                      </a:lnTo>
                      <a:lnTo>
                        <a:pt x="221815" y="365818"/>
                      </a:lnTo>
                      <a:lnTo>
                        <a:pt x="224948" y="366158"/>
                      </a:lnTo>
                      <a:lnTo>
                        <a:pt x="222568" y="363924"/>
                      </a:lnTo>
                      <a:lnTo>
                        <a:pt x="227134" y="356650"/>
                      </a:lnTo>
                      <a:lnTo>
                        <a:pt x="228105" y="354671"/>
                      </a:lnTo>
                      <a:lnTo>
                        <a:pt x="228712" y="353165"/>
                      </a:lnTo>
                      <a:lnTo>
                        <a:pt x="229016" y="352631"/>
                      </a:lnTo>
                      <a:lnTo>
                        <a:pt x="229793" y="351720"/>
                      </a:lnTo>
                      <a:lnTo>
                        <a:pt x="232598" y="349547"/>
                      </a:lnTo>
                      <a:lnTo>
                        <a:pt x="237783" y="346814"/>
                      </a:lnTo>
                      <a:lnTo>
                        <a:pt x="239070" y="346317"/>
                      </a:lnTo>
                      <a:lnTo>
                        <a:pt x="238791" y="345114"/>
                      </a:lnTo>
                      <a:lnTo>
                        <a:pt x="238220" y="336262"/>
                      </a:lnTo>
                      <a:lnTo>
                        <a:pt x="237552" y="334125"/>
                      </a:lnTo>
                      <a:lnTo>
                        <a:pt x="236532" y="333700"/>
                      </a:lnTo>
                      <a:lnTo>
                        <a:pt x="212866" y="330397"/>
                      </a:lnTo>
                      <a:lnTo>
                        <a:pt x="201451" y="330689"/>
                      </a:lnTo>
                      <a:lnTo>
                        <a:pt x="189539" y="332474"/>
                      </a:lnTo>
                      <a:lnTo>
                        <a:pt x="186880" y="331405"/>
                      </a:lnTo>
                      <a:lnTo>
                        <a:pt x="186843" y="330919"/>
                      </a:lnTo>
                      <a:lnTo>
                        <a:pt x="181270" y="327070"/>
                      </a:lnTo>
                      <a:lnTo>
                        <a:pt x="178623" y="326584"/>
                      </a:lnTo>
                      <a:lnTo>
                        <a:pt x="170438" y="330555"/>
                      </a:lnTo>
                      <a:lnTo>
                        <a:pt x="169224" y="327519"/>
                      </a:lnTo>
                      <a:lnTo>
                        <a:pt x="166820" y="322856"/>
                      </a:lnTo>
                      <a:lnTo>
                        <a:pt x="166395" y="321496"/>
                      </a:lnTo>
                      <a:lnTo>
                        <a:pt x="166018" y="320707"/>
                      </a:lnTo>
                      <a:lnTo>
                        <a:pt x="165023" y="320100"/>
                      </a:lnTo>
                      <a:lnTo>
                        <a:pt x="163930" y="319554"/>
                      </a:lnTo>
                      <a:lnTo>
                        <a:pt x="162849" y="319165"/>
                      </a:lnTo>
                      <a:lnTo>
                        <a:pt x="161198" y="318910"/>
                      </a:lnTo>
                      <a:lnTo>
                        <a:pt x="156923" y="319250"/>
                      </a:lnTo>
                      <a:lnTo>
                        <a:pt x="155867" y="319141"/>
                      </a:lnTo>
                      <a:lnTo>
                        <a:pt x="152661" y="318351"/>
                      </a:lnTo>
                      <a:lnTo>
                        <a:pt x="151459" y="317890"/>
                      </a:lnTo>
                      <a:lnTo>
                        <a:pt x="150815" y="317380"/>
                      </a:lnTo>
                      <a:lnTo>
                        <a:pt x="149419" y="315850"/>
                      </a:lnTo>
                      <a:lnTo>
                        <a:pt x="148496" y="313531"/>
                      </a:lnTo>
                      <a:lnTo>
                        <a:pt x="147500" y="312499"/>
                      </a:lnTo>
                      <a:lnTo>
                        <a:pt x="140761" y="308139"/>
                      </a:lnTo>
                      <a:lnTo>
                        <a:pt x="138818" y="306536"/>
                      </a:lnTo>
                      <a:lnTo>
                        <a:pt x="138053" y="305711"/>
                      </a:lnTo>
                      <a:lnTo>
                        <a:pt x="135977" y="303974"/>
                      </a:lnTo>
                      <a:lnTo>
                        <a:pt x="118977" y="293240"/>
                      </a:lnTo>
                      <a:lnTo>
                        <a:pt x="117131" y="291540"/>
                      </a:lnTo>
                      <a:lnTo>
                        <a:pt x="116281" y="290326"/>
                      </a:lnTo>
                      <a:lnTo>
                        <a:pt x="115504" y="288285"/>
                      </a:lnTo>
                      <a:lnTo>
                        <a:pt x="115285" y="286209"/>
                      </a:lnTo>
                      <a:lnTo>
                        <a:pt x="115285" y="284388"/>
                      </a:lnTo>
                      <a:lnTo>
                        <a:pt x="116342" y="272658"/>
                      </a:lnTo>
                      <a:lnTo>
                        <a:pt x="116706" y="271650"/>
                      </a:lnTo>
                      <a:lnTo>
                        <a:pt x="118029" y="269768"/>
                      </a:lnTo>
                      <a:lnTo>
                        <a:pt x="120373" y="267630"/>
                      </a:lnTo>
                      <a:lnTo>
                        <a:pt x="117847" y="265930"/>
                      </a:lnTo>
                      <a:lnTo>
                        <a:pt x="116050" y="264789"/>
                      </a:lnTo>
                      <a:lnTo>
                        <a:pt x="115188" y="264485"/>
                      </a:lnTo>
                      <a:lnTo>
                        <a:pt x="115103" y="263927"/>
                      </a:lnTo>
                      <a:lnTo>
                        <a:pt x="113646" y="262895"/>
                      </a:lnTo>
                      <a:lnTo>
                        <a:pt x="111229" y="260527"/>
                      </a:lnTo>
                      <a:lnTo>
                        <a:pt x="110974" y="260842"/>
                      </a:lnTo>
                      <a:lnTo>
                        <a:pt x="109517" y="261984"/>
                      </a:lnTo>
                      <a:lnTo>
                        <a:pt x="108181" y="262725"/>
                      </a:lnTo>
                      <a:lnTo>
                        <a:pt x="106979" y="263162"/>
                      </a:lnTo>
                      <a:lnTo>
                        <a:pt x="105716" y="263429"/>
                      </a:lnTo>
                      <a:lnTo>
                        <a:pt x="103264" y="263562"/>
                      </a:lnTo>
                      <a:lnTo>
                        <a:pt x="100944" y="263429"/>
                      </a:lnTo>
                      <a:lnTo>
                        <a:pt x="97374" y="262360"/>
                      </a:lnTo>
                      <a:lnTo>
                        <a:pt x="95614" y="261559"/>
                      </a:lnTo>
                      <a:lnTo>
                        <a:pt x="93950" y="260563"/>
                      </a:lnTo>
                      <a:lnTo>
                        <a:pt x="91206" y="259240"/>
                      </a:lnTo>
                      <a:lnTo>
                        <a:pt x="91023" y="256022"/>
                      </a:lnTo>
                      <a:lnTo>
                        <a:pt x="89372" y="258815"/>
                      </a:lnTo>
                      <a:lnTo>
                        <a:pt x="71352" y="259665"/>
                      </a:lnTo>
                      <a:lnTo>
                        <a:pt x="69203" y="260393"/>
                      </a:lnTo>
                      <a:lnTo>
                        <a:pt x="62560" y="264230"/>
                      </a:lnTo>
                      <a:lnTo>
                        <a:pt x="61844" y="265457"/>
                      </a:lnTo>
                      <a:lnTo>
                        <a:pt x="61091" y="266513"/>
                      </a:lnTo>
                      <a:lnTo>
                        <a:pt x="59282" y="267278"/>
                      </a:lnTo>
                      <a:lnTo>
                        <a:pt x="57703" y="267497"/>
                      </a:lnTo>
                      <a:lnTo>
                        <a:pt x="56380" y="267533"/>
                      </a:lnTo>
                      <a:lnTo>
                        <a:pt x="47734" y="265930"/>
                      </a:lnTo>
                      <a:lnTo>
                        <a:pt x="30297" y="263963"/>
                      </a:lnTo>
                      <a:lnTo>
                        <a:pt x="29131" y="263623"/>
                      </a:lnTo>
                      <a:lnTo>
                        <a:pt x="0" y="251820"/>
                      </a:lnTo>
                      <a:lnTo>
                        <a:pt x="14899" y="226308"/>
                      </a:lnTo>
                      <a:lnTo>
                        <a:pt x="13758" y="223442"/>
                      </a:lnTo>
                      <a:lnTo>
                        <a:pt x="13442" y="221888"/>
                      </a:lnTo>
                      <a:lnTo>
                        <a:pt x="12665" y="220916"/>
                      </a:lnTo>
                      <a:lnTo>
                        <a:pt x="6873" y="216290"/>
                      </a:lnTo>
                      <a:lnTo>
                        <a:pt x="5889" y="214748"/>
                      </a:lnTo>
                      <a:lnTo>
                        <a:pt x="5270" y="213388"/>
                      </a:lnTo>
                      <a:lnTo>
                        <a:pt x="4529" y="211481"/>
                      </a:lnTo>
                      <a:lnTo>
                        <a:pt x="3874" y="209296"/>
                      </a:lnTo>
                      <a:lnTo>
                        <a:pt x="3886" y="207717"/>
                      </a:lnTo>
                      <a:lnTo>
                        <a:pt x="4299" y="205446"/>
                      </a:lnTo>
                      <a:lnTo>
                        <a:pt x="4748" y="204147"/>
                      </a:lnTo>
                      <a:lnTo>
                        <a:pt x="5549" y="202860"/>
                      </a:lnTo>
                      <a:lnTo>
                        <a:pt x="9945" y="197590"/>
                      </a:lnTo>
                      <a:lnTo>
                        <a:pt x="9836" y="197213"/>
                      </a:lnTo>
                      <a:lnTo>
                        <a:pt x="8779" y="195647"/>
                      </a:lnTo>
                      <a:lnTo>
                        <a:pt x="8512" y="195052"/>
                      </a:lnTo>
                      <a:lnTo>
                        <a:pt x="8014" y="193352"/>
                      </a:lnTo>
                      <a:lnTo>
                        <a:pt x="8039" y="192101"/>
                      </a:lnTo>
                      <a:lnTo>
                        <a:pt x="8561" y="188762"/>
                      </a:lnTo>
                      <a:lnTo>
                        <a:pt x="10674" y="179764"/>
                      </a:lnTo>
                      <a:lnTo>
                        <a:pt x="11354" y="177930"/>
                      </a:lnTo>
                      <a:lnTo>
                        <a:pt x="12337" y="176194"/>
                      </a:lnTo>
                      <a:lnTo>
                        <a:pt x="13661" y="174409"/>
                      </a:lnTo>
                      <a:lnTo>
                        <a:pt x="15312" y="172515"/>
                      </a:lnTo>
                      <a:lnTo>
                        <a:pt x="17134" y="170863"/>
                      </a:lnTo>
                      <a:lnTo>
                        <a:pt x="19817" y="168884"/>
                      </a:lnTo>
                      <a:lnTo>
                        <a:pt x="23375" y="167573"/>
                      </a:lnTo>
                      <a:lnTo>
                        <a:pt x="25865" y="167075"/>
                      </a:lnTo>
                      <a:lnTo>
                        <a:pt x="28135" y="166941"/>
                      </a:lnTo>
                      <a:lnTo>
                        <a:pt x="30637" y="167123"/>
                      </a:lnTo>
                      <a:lnTo>
                        <a:pt x="35737" y="168969"/>
                      </a:lnTo>
                      <a:lnTo>
                        <a:pt x="39088" y="164464"/>
                      </a:lnTo>
                      <a:lnTo>
                        <a:pt x="40424" y="163177"/>
                      </a:lnTo>
                      <a:lnTo>
                        <a:pt x="44358" y="160566"/>
                      </a:lnTo>
                      <a:lnTo>
                        <a:pt x="47625" y="159121"/>
                      </a:lnTo>
                      <a:lnTo>
                        <a:pt x="50794" y="158235"/>
                      </a:lnTo>
                      <a:lnTo>
                        <a:pt x="53162" y="156741"/>
                      </a:lnTo>
                      <a:lnTo>
                        <a:pt x="59488" y="149577"/>
                      </a:lnTo>
                      <a:lnTo>
                        <a:pt x="61516" y="147950"/>
                      </a:lnTo>
                      <a:lnTo>
                        <a:pt x="63532" y="146881"/>
                      </a:lnTo>
                      <a:lnTo>
                        <a:pt x="70077" y="145387"/>
                      </a:lnTo>
                      <a:lnTo>
                        <a:pt x="70988" y="143882"/>
                      </a:lnTo>
                      <a:lnTo>
                        <a:pt x="70842" y="141271"/>
                      </a:lnTo>
                      <a:lnTo>
                        <a:pt x="70769" y="135673"/>
                      </a:lnTo>
                      <a:lnTo>
                        <a:pt x="71522" y="131168"/>
                      </a:lnTo>
                      <a:lnTo>
                        <a:pt x="72554" y="129444"/>
                      </a:lnTo>
                      <a:lnTo>
                        <a:pt x="73647" y="128497"/>
                      </a:lnTo>
                      <a:lnTo>
                        <a:pt x="76416" y="127137"/>
                      </a:lnTo>
                      <a:lnTo>
                        <a:pt x="80848" y="126323"/>
                      </a:lnTo>
                      <a:lnTo>
                        <a:pt x="86980" y="126347"/>
                      </a:lnTo>
                      <a:lnTo>
                        <a:pt x="90210" y="125922"/>
                      </a:lnTo>
                      <a:lnTo>
                        <a:pt x="90246" y="125619"/>
                      </a:lnTo>
                      <a:lnTo>
                        <a:pt x="88935" y="123567"/>
                      </a:lnTo>
                      <a:lnTo>
                        <a:pt x="88729" y="123044"/>
                      </a:lnTo>
                      <a:lnTo>
                        <a:pt x="88401" y="121599"/>
                      </a:lnTo>
                      <a:lnTo>
                        <a:pt x="88401" y="120555"/>
                      </a:lnTo>
                      <a:lnTo>
                        <a:pt x="89044" y="118989"/>
                      </a:lnTo>
                      <a:lnTo>
                        <a:pt x="89372" y="118564"/>
                      </a:lnTo>
                      <a:lnTo>
                        <a:pt x="90404" y="117531"/>
                      </a:lnTo>
                      <a:lnTo>
                        <a:pt x="91533" y="116827"/>
                      </a:lnTo>
                      <a:lnTo>
                        <a:pt x="102122" y="112966"/>
                      </a:lnTo>
                      <a:lnTo>
                        <a:pt x="103652" y="111666"/>
                      </a:lnTo>
                      <a:lnTo>
                        <a:pt x="104611" y="110209"/>
                      </a:lnTo>
                      <a:lnTo>
                        <a:pt x="105316" y="106700"/>
                      </a:lnTo>
                      <a:lnTo>
                        <a:pt x="106093" y="105255"/>
                      </a:lnTo>
                      <a:lnTo>
                        <a:pt x="108764" y="101430"/>
                      </a:lnTo>
                      <a:lnTo>
                        <a:pt x="110270" y="98807"/>
                      </a:lnTo>
                      <a:lnTo>
                        <a:pt x="109736" y="97981"/>
                      </a:lnTo>
                      <a:lnTo>
                        <a:pt x="106943" y="91181"/>
                      </a:lnTo>
                      <a:lnTo>
                        <a:pt x="106081" y="88170"/>
                      </a:lnTo>
                      <a:lnTo>
                        <a:pt x="105729" y="81831"/>
                      </a:lnTo>
                      <a:lnTo>
                        <a:pt x="105899" y="79221"/>
                      </a:lnTo>
                      <a:lnTo>
                        <a:pt x="106324" y="78407"/>
                      </a:lnTo>
                      <a:lnTo>
                        <a:pt x="107514" y="77181"/>
                      </a:lnTo>
                      <a:lnTo>
                        <a:pt x="108036" y="76889"/>
                      </a:lnTo>
                      <a:lnTo>
                        <a:pt x="109493" y="76331"/>
                      </a:lnTo>
                      <a:lnTo>
                        <a:pt x="113112" y="75893"/>
                      </a:lnTo>
                      <a:lnTo>
                        <a:pt x="119025" y="74533"/>
                      </a:lnTo>
                      <a:lnTo>
                        <a:pt x="120640" y="73756"/>
                      </a:lnTo>
                      <a:lnTo>
                        <a:pt x="125849" y="69761"/>
                      </a:lnTo>
                      <a:lnTo>
                        <a:pt x="127938" y="68875"/>
                      </a:lnTo>
                      <a:lnTo>
                        <a:pt x="129444" y="69142"/>
                      </a:lnTo>
                      <a:lnTo>
                        <a:pt x="131059" y="69676"/>
                      </a:lnTo>
                      <a:lnTo>
                        <a:pt x="132953" y="70915"/>
                      </a:lnTo>
                      <a:lnTo>
                        <a:pt x="136268" y="73914"/>
                      </a:lnTo>
                      <a:lnTo>
                        <a:pt x="140251" y="72991"/>
                      </a:lnTo>
                      <a:lnTo>
                        <a:pt x="145740" y="72530"/>
                      </a:lnTo>
                      <a:lnTo>
                        <a:pt x="149395" y="72785"/>
                      </a:lnTo>
                      <a:lnTo>
                        <a:pt x="150755" y="72748"/>
                      </a:lnTo>
                      <a:lnTo>
                        <a:pt x="153438" y="72032"/>
                      </a:lnTo>
                      <a:lnTo>
                        <a:pt x="172843" y="65232"/>
                      </a:lnTo>
                      <a:lnTo>
                        <a:pt x="176012" y="65487"/>
                      </a:lnTo>
                      <a:lnTo>
                        <a:pt x="180881" y="66385"/>
                      </a:lnTo>
                      <a:lnTo>
                        <a:pt x="192502" y="69870"/>
                      </a:lnTo>
                      <a:lnTo>
                        <a:pt x="196436" y="69458"/>
                      </a:lnTo>
                      <a:lnTo>
                        <a:pt x="199460" y="69543"/>
                      </a:lnTo>
                      <a:lnTo>
                        <a:pt x="200626" y="69883"/>
                      </a:lnTo>
                      <a:lnTo>
                        <a:pt x="201682" y="70368"/>
                      </a:lnTo>
                      <a:lnTo>
                        <a:pt x="204657" y="69227"/>
                      </a:lnTo>
                      <a:lnTo>
                        <a:pt x="205167" y="68984"/>
                      </a:lnTo>
                      <a:lnTo>
                        <a:pt x="206539" y="68875"/>
                      </a:lnTo>
                      <a:lnTo>
                        <a:pt x="208251" y="68195"/>
                      </a:lnTo>
                      <a:lnTo>
                        <a:pt x="208822" y="69567"/>
                      </a:lnTo>
                      <a:lnTo>
                        <a:pt x="210097" y="70793"/>
                      </a:lnTo>
                      <a:lnTo>
                        <a:pt x="211700" y="73149"/>
                      </a:lnTo>
                      <a:lnTo>
                        <a:pt x="212635" y="74242"/>
                      </a:lnTo>
                      <a:lnTo>
                        <a:pt x="217942" y="74205"/>
                      </a:lnTo>
                      <a:lnTo>
                        <a:pt x="220066" y="74606"/>
                      </a:lnTo>
                      <a:lnTo>
                        <a:pt x="222799" y="75821"/>
                      </a:lnTo>
                      <a:lnTo>
                        <a:pt x="227389" y="71825"/>
                      </a:lnTo>
                      <a:lnTo>
                        <a:pt x="230060" y="70599"/>
                      </a:lnTo>
                      <a:lnTo>
                        <a:pt x="232137" y="70781"/>
                      </a:lnTo>
                      <a:lnTo>
                        <a:pt x="234286" y="71413"/>
                      </a:lnTo>
                      <a:lnTo>
                        <a:pt x="238293" y="73210"/>
                      </a:lnTo>
                      <a:lnTo>
                        <a:pt x="241232" y="70818"/>
                      </a:lnTo>
                      <a:lnTo>
                        <a:pt x="241717" y="70514"/>
                      </a:lnTo>
                      <a:lnTo>
                        <a:pt x="242968" y="70271"/>
                      </a:lnTo>
                      <a:lnTo>
                        <a:pt x="245797" y="70356"/>
                      </a:lnTo>
                      <a:lnTo>
                        <a:pt x="252282" y="71983"/>
                      </a:lnTo>
                      <a:lnTo>
                        <a:pt x="256471" y="73501"/>
                      </a:lnTo>
                      <a:lnTo>
                        <a:pt x="258572" y="73938"/>
                      </a:lnTo>
                      <a:lnTo>
                        <a:pt x="258462" y="72821"/>
                      </a:lnTo>
                      <a:lnTo>
                        <a:pt x="258475" y="71583"/>
                      </a:lnTo>
                      <a:lnTo>
                        <a:pt x="258827" y="70162"/>
                      </a:lnTo>
                      <a:lnTo>
                        <a:pt x="259628" y="68268"/>
                      </a:lnTo>
                      <a:lnTo>
                        <a:pt x="258875" y="65803"/>
                      </a:lnTo>
                      <a:lnTo>
                        <a:pt x="258232" y="65110"/>
                      </a:lnTo>
                      <a:lnTo>
                        <a:pt x="256289" y="63593"/>
                      </a:lnTo>
                      <a:lnTo>
                        <a:pt x="246065" y="57193"/>
                      </a:lnTo>
                      <a:lnTo>
                        <a:pt x="242895" y="54145"/>
                      </a:lnTo>
                      <a:lnTo>
                        <a:pt x="241098" y="53222"/>
                      </a:lnTo>
                      <a:lnTo>
                        <a:pt x="239447" y="52640"/>
                      </a:lnTo>
                      <a:lnTo>
                        <a:pt x="233108" y="51632"/>
                      </a:lnTo>
                      <a:lnTo>
                        <a:pt x="230947" y="50903"/>
                      </a:lnTo>
                      <a:lnTo>
                        <a:pt x="229599" y="50199"/>
                      </a:lnTo>
                      <a:lnTo>
                        <a:pt x="228482" y="49434"/>
                      </a:lnTo>
                      <a:lnTo>
                        <a:pt x="226769" y="47625"/>
                      </a:lnTo>
                      <a:lnTo>
                        <a:pt x="225628" y="45645"/>
                      </a:lnTo>
                      <a:lnTo>
                        <a:pt x="225628" y="44832"/>
                      </a:lnTo>
                      <a:lnTo>
                        <a:pt x="225179" y="42682"/>
                      </a:lnTo>
                      <a:lnTo>
                        <a:pt x="225652" y="37546"/>
                      </a:lnTo>
                      <a:lnTo>
                        <a:pt x="226223" y="35081"/>
                      </a:lnTo>
                      <a:lnTo>
                        <a:pt x="228846" y="34668"/>
                      </a:lnTo>
                      <a:lnTo>
                        <a:pt x="240284" y="35130"/>
                      </a:lnTo>
                      <a:lnTo>
                        <a:pt x="252148" y="37170"/>
                      </a:lnTo>
                      <a:lnTo>
                        <a:pt x="258572" y="39525"/>
                      </a:lnTo>
                      <a:lnTo>
                        <a:pt x="274358" y="48717"/>
                      </a:lnTo>
                      <a:lnTo>
                        <a:pt x="279081" y="49677"/>
                      </a:lnTo>
                      <a:lnTo>
                        <a:pt x="284983" y="51753"/>
                      </a:lnTo>
                      <a:lnTo>
                        <a:pt x="289415" y="51607"/>
                      </a:lnTo>
                      <a:lnTo>
                        <a:pt x="298692" y="48645"/>
                      </a:lnTo>
                      <a:lnTo>
                        <a:pt x="299384" y="47831"/>
                      </a:lnTo>
                      <a:lnTo>
                        <a:pt x="300198" y="41322"/>
                      </a:lnTo>
                      <a:lnTo>
                        <a:pt x="301922" y="36745"/>
                      </a:lnTo>
                      <a:lnTo>
                        <a:pt x="305359" y="34316"/>
                      </a:lnTo>
                      <a:lnTo>
                        <a:pt x="309451" y="33126"/>
                      </a:lnTo>
                      <a:lnTo>
                        <a:pt x="322152" y="34413"/>
                      </a:lnTo>
                      <a:lnTo>
                        <a:pt x="325989" y="33114"/>
                      </a:lnTo>
                      <a:lnTo>
                        <a:pt x="334332" y="26629"/>
                      </a:lnTo>
                      <a:lnTo>
                        <a:pt x="350239" y="17279"/>
                      </a:lnTo>
                      <a:lnTo>
                        <a:pt x="354829" y="13758"/>
                      </a:lnTo>
                      <a:lnTo>
                        <a:pt x="363717" y="11257"/>
                      </a:lnTo>
                      <a:lnTo>
                        <a:pt x="368295" y="10904"/>
                      </a:lnTo>
                      <a:lnTo>
                        <a:pt x="373553" y="12264"/>
                      </a:lnTo>
                      <a:lnTo>
                        <a:pt x="374804" y="13248"/>
                      </a:lnTo>
                      <a:lnTo>
                        <a:pt x="375933" y="14414"/>
                      </a:lnTo>
                      <a:lnTo>
                        <a:pt x="379321" y="19028"/>
                      </a:lnTo>
                      <a:lnTo>
                        <a:pt x="381009" y="20339"/>
                      </a:lnTo>
                      <a:lnTo>
                        <a:pt x="381883" y="15616"/>
                      </a:lnTo>
                      <a:lnTo>
                        <a:pt x="382818" y="13297"/>
                      </a:lnTo>
                      <a:lnTo>
                        <a:pt x="382758" y="12617"/>
                      </a:lnTo>
                      <a:lnTo>
                        <a:pt x="382478" y="12192"/>
                      </a:lnTo>
                      <a:lnTo>
                        <a:pt x="382029" y="11949"/>
                      </a:lnTo>
                      <a:lnTo>
                        <a:pt x="379940" y="8998"/>
                      </a:lnTo>
                      <a:lnTo>
                        <a:pt x="386825" y="5744"/>
                      </a:lnTo>
                      <a:lnTo>
                        <a:pt x="399503" y="2708"/>
                      </a:lnTo>
                      <a:lnTo>
                        <a:pt x="406764" y="0"/>
                      </a:lnTo>
                      <a:lnTo>
                        <a:pt x="411646" y="984"/>
                      </a:lnTo>
                      <a:lnTo>
                        <a:pt x="414985" y="5258"/>
                      </a:lnTo>
                      <a:lnTo>
                        <a:pt x="418737" y="8318"/>
                      </a:lnTo>
                      <a:lnTo>
                        <a:pt x="432471" y="8585"/>
                      </a:lnTo>
                      <a:lnTo>
                        <a:pt x="439234" y="13734"/>
                      </a:lnTo>
                      <a:lnTo>
                        <a:pt x="445257" y="21967"/>
                      </a:lnTo>
                      <a:lnTo>
                        <a:pt x="446884" y="24881"/>
                      </a:lnTo>
                      <a:lnTo>
                        <a:pt x="447722" y="29289"/>
                      </a:lnTo>
                      <a:lnTo>
                        <a:pt x="448754" y="24929"/>
                      </a:lnTo>
                      <a:lnTo>
                        <a:pt x="451013" y="21274"/>
                      </a:lnTo>
                      <a:lnTo>
                        <a:pt x="454535" y="18639"/>
                      </a:lnTo>
                      <a:lnTo>
                        <a:pt x="458360" y="17037"/>
                      </a:lnTo>
                      <a:lnTo>
                        <a:pt x="465257" y="15324"/>
                      </a:lnTo>
                      <a:lnTo>
                        <a:pt x="473040" y="15203"/>
                      </a:lnTo>
                      <a:lnTo>
                        <a:pt x="488741" y="13139"/>
                      </a:lnTo>
                      <a:lnTo>
                        <a:pt x="493137" y="13794"/>
                      </a:lnTo>
                      <a:lnTo>
                        <a:pt x="496658" y="15519"/>
                      </a:lnTo>
                      <a:lnTo>
                        <a:pt x="502487" y="20279"/>
                      </a:lnTo>
                      <a:lnTo>
                        <a:pt x="508328" y="23217"/>
                      </a:lnTo>
                      <a:lnTo>
                        <a:pt x="529675" y="27273"/>
                      </a:lnTo>
                      <a:lnTo>
                        <a:pt x="537337" y="30248"/>
                      </a:lnTo>
                      <a:lnTo>
                        <a:pt x="543275" y="35445"/>
                      </a:lnTo>
                      <a:lnTo>
                        <a:pt x="547064" y="42828"/>
                      </a:lnTo>
                      <a:lnTo>
                        <a:pt x="548642" y="51960"/>
                      </a:lnTo>
                      <a:lnTo>
                        <a:pt x="549019" y="61164"/>
                      </a:lnTo>
                      <a:lnTo>
                        <a:pt x="550172" y="68098"/>
                      </a:lnTo>
                      <a:lnTo>
                        <a:pt x="552868" y="71619"/>
                      </a:lnTo>
                      <a:lnTo>
                        <a:pt x="561186" y="71959"/>
                      </a:lnTo>
                      <a:lnTo>
                        <a:pt x="561538" y="70599"/>
                      </a:lnTo>
                      <a:lnTo>
                        <a:pt x="563530" y="66786"/>
                      </a:lnTo>
                      <a:lnTo>
                        <a:pt x="577093" y="62026"/>
                      </a:lnTo>
                      <a:lnTo>
                        <a:pt x="592758" y="64904"/>
                      </a:lnTo>
                      <a:lnTo>
                        <a:pt x="608264" y="71777"/>
                      </a:lnTo>
                      <a:lnTo>
                        <a:pt x="620286" y="79621"/>
                      </a:lnTo>
                      <a:lnTo>
                        <a:pt x="631651" y="89093"/>
                      </a:lnTo>
                      <a:lnTo>
                        <a:pt x="636703" y="94861"/>
                      </a:lnTo>
                      <a:lnTo>
                        <a:pt x="656132" y="129067"/>
                      </a:lnTo>
                      <a:lnTo>
                        <a:pt x="656763" y="131544"/>
                      </a:lnTo>
                      <a:lnTo>
                        <a:pt x="687533" y="135916"/>
                      </a:lnTo>
                      <a:lnTo>
                        <a:pt x="704084" y="157931"/>
                      </a:lnTo>
                      <a:lnTo>
                        <a:pt x="717878" y="155903"/>
                      </a:lnTo>
                      <a:lnTo>
                        <a:pt x="732984" y="160894"/>
                      </a:lnTo>
                      <a:lnTo>
                        <a:pt x="740586" y="176218"/>
                      </a:lnTo>
                      <a:lnTo>
                        <a:pt x="747398" y="179958"/>
                      </a:lnTo>
                      <a:lnTo>
                        <a:pt x="765455" y="186115"/>
                      </a:lnTo>
                      <a:lnTo>
                        <a:pt x="784324" y="185957"/>
                      </a:lnTo>
                      <a:lnTo>
                        <a:pt x="794452" y="193024"/>
                      </a:lnTo>
                      <a:lnTo>
                        <a:pt x="802660" y="204451"/>
                      </a:lnTo>
                      <a:lnTo>
                        <a:pt x="806923" y="220491"/>
                      </a:lnTo>
                      <a:lnTo>
                        <a:pt x="807008" y="234116"/>
                      </a:lnTo>
                      <a:lnTo>
                        <a:pt x="807008" y="247667"/>
                      </a:lnTo>
                      <a:lnTo>
                        <a:pt x="816783" y="257042"/>
                      </a:lnTo>
                      <a:lnTo>
                        <a:pt x="834669" y="261000"/>
                      </a:lnTo>
                      <a:lnTo>
                        <a:pt x="848002" y="265432"/>
                      </a:lnTo>
                      <a:lnTo>
                        <a:pt x="860728" y="274843"/>
                      </a:lnTo>
                      <a:lnTo>
                        <a:pt x="864431" y="282773"/>
                      </a:lnTo>
                      <a:lnTo>
                        <a:pt x="885512" y="288917"/>
                      </a:lnTo>
                      <a:lnTo>
                        <a:pt x="903022" y="286658"/>
                      </a:lnTo>
                      <a:lnTo>
                        <a:pt x="912299" y="286646"/>
                      </a:lnTo>
                      <a:lnTo>
                        <a:pt x="925559" y="303209"/>
                      </a:lnTo>
                      <a:lnTo>
                        <a:pt x="935018" y="300562"/>
                      </a:lnTo>
                      <a:lnTo>
                        <a:pt x="943591" y="318145"/>
                      </a:lnTo>
                      <a:lnTo>
                        <a:pt x="945789" y="339492"/>
                      </a:lnTo>
                      <a:lnTo>
                        <a:pt x="946178" y="344969"/>
                      </a:lnTo>
                      <a:lnTo>
                        <a:pt x="941017" y="344155"/>
                      </a:lnTo>
                      <a:lnTo>
                        <a:pt x="934909" y="344471"/>
                      </a:lnTo>
                      <a:lnTo>
                        <a:pt x="923264" y="346074"/>
                      </a:lnTo>
                      <a:lnTo>
                        <a:pt x="917156" y="345564"/>
                      </a:lnTo>
                      <a:lnTo>
                        <a:pt x="910113" y="342261"/>
                      </a:lnTo>
                      <a:lnTo>
                        <a:pt x="900885" y="335157"/>
                      </a:lnTo>
                      <a:lnTo>
                        <a:pt x="896853" y="333336"/>
                      </a:lnTo>
                      <a:lnTo>
                        <a:pt x="892154" y="333032"/>
                      </a:lnTo>
                      <a:lnTo>
                        <a:pt x="879088" y="334635"/>
                      </a:lnTo>
                      <a:lnTo>
                        <a:pt x="871754" y="334186"/>
                      </a:lnTo>
                      <a:lnTo>
                        <a:pt x="864067" y="331284"/>
                      </a:lnTo>
                      <a:lnTo>
                        <a:pt x="860801" y="328673"/>
                      </a:lnTo>
                      <a:lnTo>
                        <a:pt x="856405" y="323342"/>
                      </a:lnTo>
                      <a:lnTo>
                        <a:pt x="854438" y="321849"/>
                      </a:lnTo>
                      <a:lnTo>
                        <a:pt x="851936" y="321363"/>
                      </a:lnTo>
                      <a:lnTo>
                        <a:pt x="848767" y="321569"/>
                      </a:lnTo>
                      <a:lnTo>
                        <a:pt x="841518" y="322784"/>
                      </a:lnTo>
                      <a:lnTo>
                        <a:pt x="833297" y="322626"/>
                      </a:lnTo>
                      <a:lnTo>
                        <a:pt x="828926" y="321788"/>
                      </a:lnTo>
                      <a:lnTo>
                        <a:pt x="824918" y="320270"/>
                      </a:lnTo>
                      <a:lnTo>
                        <a:pt x="821154" y="317465"/>
                      </a:lnTo>
                      <a:lnTo>
                        <a:pt x="816188" y="310956"/>
                      </a:lnTo>
                      <a:lnTo>
                        <a:pt x="814257" y="309001"/>
                      </a:lnTo>
                      <a:lnTo>
                        <a:pt x="812035" y="308103"/>
                      </a:lnTo>
                      <a:lnTo>
                        <a:pt x="808319" y="308309"/>
                      </a:lnTo>
                      <a:lnTo>
                        <a:pt x="858494" y="420729"/>
                      </a:lnTo>
                      <a:lnTo>
                        <a:pt x="854972" y="422829"/>
                      </a:lnTo>
                      <a:lnTo>
                        <a:pt x="852981" y="425452"/>
                      </a:lnTo>
                      <a:lnTo>
                        <a:pt x="853539" y="429362"/>
                      </a:lnTo>
                      <a:lnTo>
                        <a:pt x="855130" y="435519"/>
                      </a:lnTo>
                      <a:lnTo>
                        <a:pt x="853697" y="443545"/>
                      </a:lnTo>
                      <a:lnTo>
                        <a:pt x="850273" y="447771"/>
                      </a:lnTo>
                      <a:lnTo>
                        <a:pt x="838470" y="456757"/>
                      </a:lnTo>
                      <a:lnTo>
                        <a:pt x="835203" y="460181"/>
                      </a:lnTo>
                      <a:lnTo>
                        <a:pt x="831439" y="463047"/>
                      </a:lnTo>
                      <a:lnTo>
                        <a:pt x="827262" y="462282"/>
                      </a:lnTo>
                      <a:lnTo>
                        <a:pt x="821312" y="458930"/>
                      </a:lnTo>
                      <a:lnTo>
                        <a:pt x="817050" y="457959"/>
                      </a:lnTo>
                      <a:lnTo>
                        <a:pt x="811403" y="458590"/>
                      </a:lnTo>
                      <a:lnTo>
                        <a:pt x="805453" y="460545"/>
                      </a:lnTo>
                      <a:lnTo>
                        <a:pt x="802624" y="462792"/>
                      </a:lnTo>
                      <a:lnTo>
                        <a:pt x="801349" y="466811"/>
                      </a:lnTo>
                      <a:lnTo>
                        <a:pt x="802223" y="477837"/>
                      </a:lnTo>
                      <a:lnTo>
                        <a:pt x="799952" y="483155"/>
                      </a:lnTo>
                      <a:lnTo>
                        <a:pt x="782284" y="498953"/>
                      </a:lnTo>
                      <a:lnTo>
                        <a:pt x="779212" y="500617"/>
                      </a:lnTo>
                      <a:lnTo>
                        <a:pt x="762261" y="504126"/>
                      </a:lnTo>
                      <a:lnTo>
                        <a:pt x="758314" y="504114"/>
                      </a:lnTo>
                      <a:lnTo>
                        <a:pt x="754404" y="502912"/>
                      </a:lnTo>
                      <a:lnTo>
                        <a:pt x="746111" y="497278"/>
                      </a:lnTo>
                      <a:lnTo>
                        <a:pt x="740379" y="496403"/>
                      </a:lnTo>
                      <a:lnTo>
                        <a:pt x="733907" y="498735"/>
                      </a:lnTo>
                      <a:lnTo>
                        <a:pt x="708492" y="512566"/>
                      </a:lnTo>
                      <a:lnTo>
                        <a:pt x="687667" y="517726"/>
                      </a:lnTo>
                      <a:lnTo>
                        <a:pt x="680818" y="517945"/>
                      </a:lnTo>
                      <a:lnTo>
                        <a:pt x="668554" y="513294"/>
                      </a:lnTo>
                      <a:lnTo>
                        <a:pt x="663624" y="514290"/>
                      </a:lnTo>
                      <a:lnTo>
                        <a:pt x="661219" y="516330"/>
                      </a:lnTo>
                      <a:lnTo>
                        <a:pt x="657929" y="521806"/>
                      </a:lnTo>
                      <a:lnTo>
                        <a:pt x="655209" y="525061"/>
                      </a:lnTo>
                      <a:lnTo>
                        <a:pt x="653011" y="526469"/>
                      </a:lnTo>
                      <a:lnTo>
                        <a:pt x="647328" y="528194"/>
                      </a:lnTo>
                      <a:lnTo>
                        <a:pt x="635999" y="536378"/>
                      </a:lnTo>
                      <a:lnTo>
                        <a:pt x="625495" y="546578"/>
                      </a:lnTo>
                      <a:lnTo>
                        <a:pt x="620941" y="550124"/>
                      </a:lnTo>
                      <a:lnTo>
                        <a:pt x="616813" y="551132"/>
                      </a:lnTo>
                      <a:lnTo>
                        <a:pt x="607778" y="550184"/>
                      </a:lnTo>
                      <a:lnTo>
                        <a:pt x="604208" y="550209"/>
                      </a:lnTo>
                      <a:lnTo>
                        <a:pt x="593960" y="552589"/>
                      </a:lnTo>
                      <a:lnTo>
                        <a:pt x="584925" y="552370"/>
                      </a:lnTo>
                      <a:lnTo>
                        <a:pt x="534909" y="539814"/>
                      </a:lnTo>
                      <a:lnTo>
                        <a:pt x="526627" y="536074"/>
                      </a:lnTo>
                      <a:lnTo>
                        <a:pt x="518758" y="530671"/>
                      </a:lnTo>
                      <a:lnTo>
                        <a:pt x="515310" y="527149"/>
                      </a:lnTo>
                      <a:lnTo>
                        <a:pt x="512614" y="523300"/>
                      </a:lnTo>
                      <a:lnTo>
                        <a:pt x="509384" y="521321"/>
                      </a:lnTo>
                      <a:lnTo>
                        <a:pt x="503337" y="521248"/>
                      </a:lnTo>
                      <a:lnTo>
                        <a:pt x="491740" y="523664"/>
                      </a:lnTo>
                      <a:lnTo>
                        <a:pt x="473818" y="524551"/>
                      </a:lnTo>
                      <a:lnTo>
                        <a:pt x="406922" y="512092"/>
                      </a:lnTo>
                      <a:lnTo>
                        <a:pt x="359079" y="495833"/>
                      </a:lnTo>
                      <a:lnTo>
                        <a:pt x="347737" y="494035"/>
                      </a:lnTo>
                      <a:lnTo>
                        <a:pt x="336639" y="495055"/>
                      </a:lnTo>
                      <a:lnTo>
                        <a:pt x="325394" y="499354"/>
                      </a:lnTo>
                      <a:lnTo>
                        <a:pt x="312061" y="508728"/>
                      </a:lnTo>
                      <a:lnTo>
                        <a:pt x="306767" y="511303"/>
                      </a:lnTo>
                      <a:lnTo>
                        <a:pt x="276179" y="516378"/>
                      </a:lnTo>
                      <a:lnTo>
                        <a:pt x="274345" y="517313"/>
                      </a:lnTo>
                      <a:lnTo>
                        <a:pt x="270593" y="520349"/>
                      </a:lnTo>
                      <a:lnTo>
                        <a:pt x="270350" y="523931"/>
                      </a:lnTo>
                      <a:lnTo>
                        <a:pt x="271735" y="528412"/>
                      </a:lnTo>
                      <a:lnTo>
                        <a:pt x="271917" y="536147"/>
                      </a:lnTo>
                      <a:lnTo>
                        <a:pt x="268565" y="541150"/>
                      </a:lnTo>
                      <a:lnTo>
                        <a:pt x="259325" y="547525"/>
                      </a:lnTo>
                      <a:lnTo>
                        <a:pt x="257054" y="551119"/>
                      </a:lnTo>
                      <a:lnTo>
                        <a:pt x="256860" y="558296"/>
                      </a:lnTo>
                      <a:lnTo>
                        <a:pt x="255439" y="562437"/>
                      </a:lnTo>
                      <a:lnTo>
                        <a:pt x="253350" y="564574"/>
                      </a:lnTo>
                      <a:lnTo>
                        <a:pt x="247898" y="567512"/>
                      </a:lnTo>
                      <a:lnTo>
                        <a:pt x="246356" y="568666"/>
                      </a:lnTo>
                      <a:lnTo>
                        <a:pt x="244377" y="572042"/>
                      </a:lnTo>
                      <a:lnTo>
                        <a:pt x="243672" y="576134"/>
                      </a:lnTo>
                      <a:lnTo>
                        <a:pt x="244705" y="579813"/>
                      </a:lnTo>
                      <a:lnTo>
                        <a:pt x="248226" y="583335"/>
                      </a:lnTo>
                      <a:lnTo>
                        <a:pt x="252185" y="585362"/>
                      </a:lnTo>
                      <a:lnTo>
                        <a:pt x="256325" y="586892"/>
                      </a:lnTo>
                      <a:lnTo>
                        <a:pt x="260490" y="587378"/>
                      </a:lnTo>
                      <a:lnTo>
                        <a:pt x="265105" y="586820"/>
                      </a:lnTo>
                      <a:lnTo>
                        <a:pt x="272609" y="587487"/>
                      </a:lnTo>
                      <a:lnTo>
                        <a:pt x="276495" y="592005"/>
                      </a:lnTo>
                      <a:lnTo>
                        <a:pt x="281218" y="603358"/>
                      </a:lnTo>
                      <a:lnTo>
                        <a:pt x="283538" y="606855"/>
                      </a:lnTo>
                      <a:lnTo>
                        <a:pt x="285566" y="612818"/>
                      </a:lnTo>
                      <a:lnTo>
                        <a:pt x="284752" y="618889"/>
                      </a:lnTo>
                      <a:lnTo>
                        <a:pt x="280441" y="622787"/>
                      </a:lnTo>
                      <a:lnTo>
                        <a:pt x="268553" y="628798"/>
                      </a:lnTo>
                      <a:lnTo>
                        <a:pt x="265530" y="631943"/>
                      </a:lnTo>
                      <a:lnTo>
                        <a:pt x="264255" y="636849"/>
                      </a:lnTo>
                      <a:lnTo>
                        <a:pt x="265773" y="642349"/>
                      </a:lnTo>
                      <a:lnTo>
                        <a:pt x="269500" y="646891"/>
                      </a:lnTo>
                      <a:lnTo>
                        <a:pt x="273750" y="649684"/>
                      </a:lnTo>
                      <a:lnTo>
                        <a:pt x="278316" y="650534"/>
                      </a:lnTo>
                      <a:lnTo>
                        <a:pt x="290483" y="647559"/>
                      </a:lnTo>
                      <a:lnTo>
                        <a:pt x="295171" y="647704"/>
                      </a:lnTo>
                      <a:lnTo>
                        <a:pt x="305954" y="651226"/>
                      </a:lnTo>
                      <a:lnTo>
                        <a:pt x="311539" y="650716"/>
                      </a:lnTo>
                      <a:lnTo>
                        <a:pt x="318145" y="649161"/>
                      </a:lnTo>
                      <a:lnTo>
                        <a:pt x="326475" y="648821"/>
                      </a:lnTo>
                      <a:lnTo>
                        <a:pt x="333967" y="653824"/>
                      </a:lnTo>
                      <a:lnTo>
                        <a:pt x="337052" y="662458"/>
                      </a:lnTo>
                      <a:lnTo>
                        <a:pt x="334951" y="670169"/>
                      </a:lnTo>
                      <a:lnTo>
                        <a:pt x="330203" y="677236"/>
                      </a:lnTo>
                      <a:lnTo>
                        <a:pt x="324678" y="682470"/>
                      </a:lnTo>
                      <a:lnTo>
                        <a:pt x="317757" y="687157"/>
                      </a:lnTo>
                      <a:lnTo>
                        <a:pt x="310653" y="690253"/>
                      </a:lnTo>
                      <a:lnTo>
                        <a:pt x="290605" y="693580"/>
                      </a:lnTo>
                      <a:lnTo>
                        <a:pt x="286877" y="696847"/>
                      </a:lnTo>
                      <a:lnTo>
                        <a:pt x="281012" y="706962"/>
                      </a:lnTo>
                      <a:lnTo>
                        <a:pt x="279992" y="709172"/>
                      </a:lnTo>
                      <a:lnTo>
                        <a:pt x="279348" y="711430"/>
                      </a:lnTo>
                      <a:lnTo>
                        <a:pt x="278850" y="713895"/>
                      </a:lnTo>
                      <a:lnTo>
                        <a:pt x="278450" y="719663"/>
                      </a:lnTo>
                      <a:lnTo>
                        <a:pt x="278887" y="722298"/>
                      </a:lnTo>
                      <a:lnTo>
                        <a:pt x="279737" y="724873"/>
                      </a:lnTo>
                      <a:lnTo>
                        <a:pt x="281073" y="727204"/>
                      </a:lnTo>
                      <a:lnTo>
                        <a:pt x="289196" y="733482"/>
                      </a:lnTo>
                      <a:lnTo>
                        <a:pt x="300671" y="739250"/>
                      </a:lnTo>
                      <a:lnTo>
                        <a:pt x="311952" y="747689"/>
                      </a:lnTo>
                      <a:lnTo>
                        <a:pt x="315522" y="761046"/>
                      </a:lnTo>
                      <a:lnTo>
                        <a:pt x="311260" y="777840"/>
                      </a:lnTo>
                      <a:lnTo>
                        <a:pt x="305407" y="793444"/>
                      </a:lnTo>
                      <a:lnTo>
                        <a:pt x="303501" y="797245"/>
                      </a:lnTo>
                      <a:lnTo>
                        <a:pt x="301230" y="800584"/>
                      </a:lnTo>
                      <a:lnTo>
                        <a:pt x="298437" y="803510"/>
                      </a:lnTo>
                      <a:lnTo>
                        <a:pt x="294879" y="806024"/>
                      </a:lnTo>
                      <a:lnTo>
                        <a:pt x="287156" y="808999"/>
                      </a:lnTo>
                      <a:lnTo>
                        <a:pt x="285468" y="810189"/>
                      </a:lnTo>
                      <a:lnTo>
                        <a:pt x="284193" y="812630"/>
                      </a:lnTo>
                      <a:lnTo>
                        <a:pt x="283720" y="820547"/>
                      </a:lnTo>
                      <a:lnTo>
                        <a:pt x="285796" y="825781"/>
                      </a:lnTo>
                      <a:lnTo>
                        <a:pt x="290386" y="830286"/>
                      </a:lnTo>
                      <a:lnTo>
                        <a:pt x="296773" y="834426"/>
                      </a:lnTo>
                      <a:lnTo>
                        <a:pt x="303343" y="840595"/>
                      </a:lnTo>
                      <a:lnTo>
                        <a:pt x="313652" y="853964"/>
                      </a:lnTo>
                      <a:lnTo>
                        <a:pt x="320051" y="857474"/>
                      </a:lnTo>
                      <a:lnTo>
                        <a:pt x="336529" y="859914"/>
                      </a:lnTo>
                      <a:lnTo>
                        <a:pt x="343548" y="863837"/>
                      </a:lnTo>
                      <a:lnTo>
                        <a:pt x="345965" y="869410"/>
                      </a:lnTo>
                      <a:lnTo>
                        <a:pt x="346669" y="881067"/>
                      </a:lnTo>
                      <a:lnTo>
                        <a:pt x="348891" y="891316"/>
                      </a:lnTo>
                      <a:lnTo>
                        <a:pt x="348369" y="896683"/>
                      </a:lnTo>
                      <a:lnTo>
                        <a:pt x="346037" y="901589"/>
                      </a:lnTo>
                      <a:lnTo>
                        <a:pt x="343269" y="905669"/>
                      </a:lnTo>
                      <a:close/>
                    </a:path>
                  </a:pathLst>
                </a:custGeom>
                <a:solidFill>
                  <a:srgbClr val="D7D7D2"/>
                </a:solidFill>
                <a:ln w="12138" cap="flat">
                  <a:noFill/>
                  <a:prstDash val="solid"/>
                  <a:miter/>
                </a:ln>
              </p:spPr>
              <p:txBody>
                <a:bodyPr rtlCol="0" anchor="ctr"/>
                <a:lstStyle/>
                <a:p>
                  <a:endParaRPr lang="en-US"/>
                </a:p>
              </p:txBody>
            </p:sp>
            <p:sp>
              <p:nvSpPr>
                <p:cNvPr id="299" name="Freeform: Shape 298">
                  <a:extLst>
                    <a:ext uri="{FF2B5EF4-FFF2-40B4-BE49-F238E27FC236}">
                      <a16:creationId xmlns:a16="http://schemas.microsoft.com/office/drawing/2014/main" id="{B4470D40-59DE-4710-9954-3C3C2DDEBC24}"/>
                    </a:ext>
                  </a:extLst>
                </p:cNvPr>
                <p:cNvSpPr/>
                <p:nvPr/>
              </p:nvSpPr>
              <p:spPr>
                <a:xfrm>
                  <a:off x="4169534" y="651512"/>
                  <a:ext cx="953912" cy="912651"/>
                </a:xfrm>
                <a:custGeom>
                  <a:avLst/>
                  <a:gdLst>
                    <a:gd name="connsiteX0" fmla="*/ 411415 w 953912"/>
                    <a:gd name="connsiteY0" fmla="*/ 6290 h 912651"/>
                    <a:gd name="connsiteX1" fmla="*/ 414341 w 953912"/>
                    <a:gd name="connsiteY1" fmla="*/ 6885 h 912651"/>
                    <a:gd name="connsiteX2" fmla="*/ 416989 w 953912"/>
                    <a:gd name="connsiteY2" fmla="*/ 10273 h 912651"/>
                    <a:gd name="connsiteX3" fmla="*/ 422040 w 953912"/>
                    <a:gd name="connsiteY3" fmla="*/ 14474 h 912651"/>
                    <a:gd name="connsiteX4" fmla="*/ 435822 w 953912"/>
                    <a:gd name="connsiteY4" fmla="*/ 14754 h 912651"/>
                    <a:gd name="connsiteX5" fmla="*/ 441797 w 953912"/>
                    <a:gd name="connsiteY5" fmla="*/ 19295 h 912651"/>
                    <a:gd name="connsiteX6" fmla="*/ 447188 w 953912"/>
                    <a:gd name="connsiteY6" fmla="*/ 26872 h 912651"/>
                    <a:gd name="connsiteX7" fmla="*/ 448621 w 953912"/>
                    <a:gd name="connsiteY7" fmla="*/ 29483 h 912651"/>
                    <a:gd name="connsiteX8" fmla="*/ 449714 w 953912"/>
                    <a:gd name="connsiteY8" fmla="*/ 36028 h 912651"/>
                    <a:gd name="connsiteX9" fmla="*/ 450807 w 953912"/>
                    <a:gd name="connsiteY9" fmla="*/ 38068 h 912651"/>
                    <a:gd name="connsiteX10" fmla="*/ 453332 w 953912"/>
                    <a:gd name="connsiteY10" fmla="*/ 37121 h 912651"/>
                    <a:gd name="connsiteX11" fmla="*/ 454486 w 953912"/>
                    <a:gd name="connsiteY11" fmla="*/ 35081 h 912651"/>
                    <a:gd name="connsiteX12" fmla="*/ 456101 w 953912"/>
                    <a:gd name="connsiteY12" fmla="*/ 28827 h 912651"/>
                    <a:gd name="connsiteX13" fmla="*/ 457935 w 953912"/>
                    <a:gd name="connsiteY13" fmla="*/ 26119 h 912651"/>
                    <a:gd name="connsiteX14" fmla="*/ 460630 w 953912"/>
                    <a:gd name="connsiteY14" fmla="*/ 24310 h 912651"/>
                    <a:gd name="connsiteX15" fmla="*/ 463897 w 953912"/>
                    <a:gd name="connsiteY15" fmla="*/ 22999 h 912651"/>
                    <a:gd name="connsiteX16" fmla="*/ 470381 w 953912"/>
                    <a:gd name="connsiteY16" fmla="*/ 21420 h 912651"/>
                    <a:gd name="connsiteX17" fmla="*/ 477460 w 953912"/>
                    <a:gd name="connsiteY17" fmla="*/ 21384 h 912651"/>
                    <a:gd name="connsiteX18" fmla="*/ 493538 w 953912"/>
                    <a:gd name="connsiteY18" fmla="*/ 19295 h 912651"/>
                    <a:gd name="connsiteX19" fmla="*/ 496986 w 953912"/>
                    <a:gd name="connsiteY19" fmla="*/ 19927 h 912651"/>
                    <a:gd name="connsiteX20" fmla="*/ 499621 w 953912"/>
                    <a:gd name="connsiteY20" fmla="*/ 21335 h 912651"/>
                    <a:gd name="connsiteX21" fmla="*/ 504952 w 953912"/>
                    <a:gd name="connsiteY21" fmla="*/ 25755 h 912651"/>
                    <a:gd name="connsiteX22" fmla="*/ 511339 w 953912"/>
                    <a:gd name="connsiteY22" fmla="*/ 29058 h 912651"/>
                    <a:gd name="connsiteX23" fmla="*/ 533500 w 953912"/>
                    <a:gd name="connsiteY23" fmla="*/ 33393 h 912651"/>
                    <a:gd name="connsiteX24" fmla="*/ 540628 w 953912"/>
                    <a:gd name="connsiteY24" fmla="*/ 36210 h 912651"/>
                    <a:gd name="connsiteX25" fmla="*/ 545619 w 953912"/>
                    <a:gd name="connsiteY25" fmla="*/ 40825 h 912651"/>
                    <a:gd name="connsiteX26" fmla="*/ 548727 w 953912"/>
                    <a:gd name="connsiteY26" fmla="*/ 47285 h 912651"/>
                    <a:gd name="connsiteX27" fmla="*/ 550039 w 953912"/>
                    <a:gd name="connsiteY27" fmla="*/ 55578 h 912651"/>
                    <a:gd name="connsiteX28" fmla="*/ 550379 w 953912"/>
                    <a:gd name="connsiteY28" fmla="*/ 64430 h 912651"/>
                    <a:gd name="connsiteX29" fmla="*/ 551702 w 953912"/>
                    <a:gd name="connsiteY29" fmla="*/ 72493 h 912651"/>
                    <a:gd name="connsiteX30" fmla="*/ 555722 w 953912"/>
                    <a:gd name="connsiteY30" fmla="*/ 77739 h 912651"/>
                    <a:gd name="connsiteX31" fmla="*/ 567087 w 953912"/>
                    <a:gd name="connsiteY31" fmla="*/ 78201 h 912651"/>
                    <a:gd name="connsiteX32" fmla="*/ 568302 w 953912"/>
                    <a:gd name="connsiteY32" fmla="*/ 76719 h 912651"/>
                    <a:gd name="connsiteX33" fmla="*/ 568872 w 953912"/>
                    <a:gd name="connsiteY33" fmla="*/ 74497 h 912651"/>
                    <a:gd name="connsiteX34" fmla="*/ 570026 w 953912"/>
                    <a:gd name="connsiteY34" fmla="*/ 72408 h 912651"/>
                    <a:gd name="connsiteX35" fmla="*/ 581732 w 953912"/>
                    <a:gd name="connsiteY35" fmla="*/ 68304 h 912651"/>
                    <a:gd name="connsiteX36" fmla="*/ 596607 w 953912"/>
                    <a:gd name="connsiteY36" fmla="*/ 71036 h 912651"/>
                    <a:gd name="connsiteX37" fmla="*/ 611421 w 953912"/>
                    <a:gd name="connsiteY37" fmla="*/ 77691 h 912651"/>
                    <a:gd name="connsiteX38" fmla="*/ 623018 w 953912"/>
                    <a:gd name="connsiteY38" fmla="*/ 85304 h 912651"/>
                    <a:gd name="connsiteX39" fmla="*/ 634104 w 953912"/>
                    <a:gd name="connsiteY39" fmla="*/ 94569 h 912651"/>
                    <a:gd name="connsiteX40" fmla="*/ 638816 w 953912"/>
                    <a:gd name="connsiteY40" fmla="*/ 99997 h 912651"/>
                    <a:gd name="connsiteX41" fmla="*/ 657880 w 953912"/>
                    <a:gd name="connsiteY41" fmla="*/ 133706 h 912651"/>
                    <a:gd name="connsiteX42" fmla="*/ 657929 w 953912"/>
                    <a:gd name="connsiteY42" fmla="*/ 133900 h 912651"/>
                    <a:gd name="connsiteX43" fmla="*/ 658730 w 953912"/>
                    <a:gd name="connsiteY43" fmla="*/ 137409 h 912651"/>
                    <a:gd name="connsiteX44" fmla="*/ 659422 w 953912"/>
                    <a:gd name="connsiteY44" fmla="*/ 140348 h 912651"/>
                    <a:gd name="connsiteX45" fmla="*/ 658742 w 953912"/>
                    <a:gd name="connsiteY45" fmla="*/ 137409 h 912651"/>
                    <a:gd name="connsiteX46" fmla="*/ 690265 w 953912"/>
                    <a:gd name="connsiteY46" fmla="*/ 141890 h 912651"/>
                    <a:gd name="connsiteX47" fmla="*/ 707144 w 953912"/>
                    <a:gd name="connsiteY47" fmla="*/ 164343 h 912651"/>
                    <a:gd name="connsiteX48" fmla="*/ 722019 w 953912"/>
                    <a:gd name="connsiteY48" fmla="*/ 162157 h 912651"/>
                    <a:gd name="connsiteX49" fmla="*/ 735231 w 953912"/>
                    <a:gd name="connsiteY49" fmla="*/ 166528 h 912651"/>
                    <a:gd name="connsiteX50" fmla="*/ 742699 w 953912"/>
                    <a:gd name="connsiteY50" fmla="*/ 181561 h 912651"/>
                    <a:gd name="connsiteX51" fmla="*/ 750337 w 953912"/>
                    <a:gd name="connsiteY51" fmla="*/ 185763 h 912651"/>
                    <a:gd name="connsiteX52" fmla="*/ 768879 w 953912"/>
                    <a:gd name="connsiteY52" fmla="*/ 192138 h 912651"/>
                    <a:gd name="connsiteX53" fmla="*/ 787773 w 953912"/>
                    <a:gd name="connsiteY53" fmla="*/ 192138 h 912651"/>
                    <a:gd name="connsiteX54" fmla="*/ 797123 w 953912"/>
                    <a:gd name="connsiteY54" fmla="*/ 198658 h 912651"/>
                    <a:gd name="connsiteX55" fmla="*/ 804579 w 953912"/>
                    <a:gd name="connsiteY55" fmla="*/ 209332 h 912651"/>
                    <a:gd name="connsiteX56" fmla="*/ 808380 w 953912"/>
                    <a:gd name="connsiteY56" fmla="*/ 224377 h 912651"/>
                    <a:gd name="connsiteX57" fmla="*/ 808380 w 953912"/>
                    <a:gd name="connsiteY57" fmla="*/ 237261 h 912651"/>
                    <a:gd name="connsiteX58" fmla="*/ 808380 w 953912"/>
                    <a:gd name="connsiteY58" fmla="*/ 252112 h 912651"/>
                    <a:gd name="connsiteX59" fmla="*/ 819697 w 953912"/>
                    <a:gd name="connsiteY59" fmla="*/ 262967 h 912651"/>
                    <a:gd name="connsiteX60" fmla="*/ 838421 w 953912"/>
                    <a:gd name="connsiteY60" fmla="*/ 267120 h 912651"/>
                    <a:gd name="connsiteX61" fmla="*/ 851451 w 953912"/>
                    <a:gd name="connsiteY61" fmla="*/ 271468 h 912651"/>
                    <a:gd name="connsiteX62" fmla="*/ 862707 w 953912"/>
                    <a:gd name="connsiteY62" fmla="*/ 279955 h 912651"/>
                    <a:gd name="connsiteX63" fmla="*/ 866666 w 953912"/>
                    <a:gd name="connsiteY63" fmla="*/ 288455 h 912651"/>
                    <a:gd name="connsiteX64" fmla="*/ 874122 w 953912"/>
                    <a:gd name="connsiteY64" fmla="*/ 290605 h 912651"/>
                    <a:gd name="connsiteX65" fmla="*/ 889057 w 953912"/>
                    <a:gd name="connsiteY65" fmla="*/ 294976 h 912651"/>
                    <a:gd name="connsiteX66" fmla="*/ 907770 w 953912"/>
                    <a:gd name="connsiteY66" fmla="*/ 292827 h 912651"/>
                    <a:gd name="connsiteX67" fmla="*/ 915250 w 953912"/>
                    <a:gd name="connsiteY67" fmla="*/ 292827 h 912651"/>
                    <a:gd name="connsiteX68" fmla="*/ 928850 w 953912"/>
                    <a:gd name="connsiteY68" fmla="*/ 309815 h 912651"/>
                    <a:gd name="connsiteX69" fmla="*/ 937811 w 953912"/>
                    <a:gd name="connsiteY69" fmla="*/ 307313 h 912651"/>
                    <a:gd name="connsiteX70" fmla="*/ 945267 w 953912"/>
                    <a:gd name="connsiteY70" fmla="*/ 322626 h 912651"/>
                    <a:gd name="connsiteX71" fmla="*/ 947173 w 953912"/>
                    <a:gd name="connsiteY71" fmla="*/ 342929 h 912651"/>
                    <a:gd name="connsiteX72" fmla="*/ 947283 w 953912"/>
                    <a:gd name="connsiteY72" fmla="*/ 344519 h 912651"/>
                    <a:gd name="connsiteX73" fmla="*/ 945911 w 953912"/>
                    <a:gd name="connsiteY73" fmla="*/ 344301 h 912651"/>
                    <a:gd name="connsiteX74" fmla="*/ 939184 w 953912"/>
                    <a:gd name="connsiteY74" fmla="*/ 344580 h 912651"/>
                    <a:gd name="connsiteX75" fmla="*/ 927247 w 953912"/>
                    <a:gd name="connsiteY75" fmla="*/ 346219 h 912651"/>
                    <a:gd name="connsiteX76" fmla="*/ 921856 w 953912"/>
                    <a:gd name="connsiteY76" fmla="*/ 345685 h 912651"/>
                    <a:gd name="connsiteX77" fmla="*/ 915869 w 953912"/>
                    <a:gd name="connsiteY77" fmla="*/ 342698 h 912651"/>
                    <a:gd name="connsiteX78" fmla="*/ 907150 w 953912"/>
                    <a:gd name="connsiteY78" fmla="*/ 335910 h 912651"/>
                    <a:gd name="connsiteX79" fmla="*/ 902548 w 953912"/>
                    <a:gd name="connsiteY79" fmla="*/ 333737 h 912651"/>
                    <a:gd name="connsiteX80" fmla="*/ 896865 w 953912"/>
                    <a:gd name="connsiteY80" fmla="*/ 333166 h 912651"/>
                    <a:gd name="connsiteX81" fmla="*/ 883144 w 953912"/>
                    <a:gd name="connsiteY81" fmla="*/ 334769 h 912651"/>
                    <a:gd name="connsiteX82" fmla="*/ 876368 w 953912"/>
                    <a:gd name="connsiteY82" fmla="*/ 334307 h 912651"/>
                    <a:gd name="connsiteX83" fmla="*/ 869592 w 953912"/>
                    <a:gd name="connsiteY83" fmla="*/ 331611 h 912651"/>
                    <a:gd name="connsiteX84" fmla="*/ 867188 w 953912"/>
                    <a:gd name="connsiteY84" fmla="*/ 329523 h 912651"/>
                    <a:gd name="connsiteX85" fmla="*/ 863169 w 953912"/>
                    <a:gd name="connsiteY85" fmla="*/ 324581 h 912651"/>
                    <a:gd name="connsiteX86" fmla="*/ 860740 w 953912"/>
                    <a:gd name="connsiteY86" fmla="*/ 322626 h 912651"/>
                    <a:gd name="connsiteX87" fmla="*/ 857182 w 953912"/>
                    <a:gd name="connsiteY87" fmla="*/ 321594 h 912651"/>
                    <a:gd name="connsiteX88" fmla="*/ 853114 w 953912"/>
                    <a:gd name="connsiteY88" fmla="*/ 321679 h 912651"/>
                    <a:gd name="connsiteX89" fmla="*/ 845428 w 953912"/>
                    <a:gd name="connsiteY89" fmla="*/ 322941 h 912651"/>
                    <a:gd name="connsiteX90" fmla="*/ 837790 w 953912"/>
                    <a:gd name="connsiteY90" fmla="*/ 322735 h 912651"/>
                    <a:gd name="connsiteX91" fmla="*/ 833928 w 953912"/>
                    <a:gd name="connsiteY91" fmla="*/ 321958 h 912651"/>
                    <a:gd name="connsiteX92" fmla="*/ 830431 w 953912"/>
                    <a:gd name="connsiteY92" fmla="*/ 320586 h 912651"/>
                    <a:gd name="connsiteX93" fmla="*/ 827444 w 953912"/>
                    <a:gd name="connsiteY93" fmla="*/ 318230 h 912651"/>
                    <a:gd name="connsiteX94" fmla="*/ 823024 w 953912"/>
                    <a:gd name="connsiteY94" fmla="*/ 312292 h 912651"/>
                    <a:gd name="connsiteX95" fmla="*/ 820377 w 953912"/>
                    <a:gd name="connsiteY95" fmla="*/ 309560 h 912651"/>
                    <a:gd name="connsiteX96" fmla="*/ 816941 w 953912"/>
                    <a:gd name="connsiteY96" fmla="*/ 308188 h 912651"/>
                    <a:gd name="connsiteX97" fmla="*/ 809120 w 953912"/>
                    <a:gd name="connsiteY97" fmla="*/ 308613 h 912651"/>
                    <a:gd name="connsiteX98" fmla="*/ 808088 w 953912"/>
                    <a:gd name="connsiteY98" fmla="*/ 308528 h 912651"/>
                    <a:gd name="connsiteX99" fmla="*/ 833588 w 953912"/>
                    <a:gd name="connsiteY99" fmla="*/ 365660 h 912651"/>
                    <a:gd name="connsiteX100" fmla="*/ 859016 w 953912"/>
                    <a:gd name="connsiteY100" fmla="*/ 422647 h 912651"/>
                    <a:gd name="connsiteX101" fmla="*/ 857814 w 953912"/>
                    <a:gd name="connsiteY101" fmla="*/ 423364 h 912651"/>
                    <a:gd name="connsiteX102" fmla="*/ 854207 w 953912"/>
                    <a:gd name="connsiteY102" fmla="*/ 427784 h 912651"/>
                    <a:gd name="connsiteX103" fmla="*/ 854936 w 953912"/>
                    <a:gd name="connsiteY103" fmla="*/ 432932 h 912651"/>
                    <a:gd name="connsiteX104" fmla="*/ 856429 w 953912"/>
                    <a:gd name="connsiteY104" fmla="*/ 438785 h 912651"/>
                    <a:gd name="connsiteX105" fmla="*/ 855239 w 953912"/>
                    <a:gd name="connsiteY105" fmla="*/ 445391 h 912651"/>
                    <a:gd name="connsiteX106" fmla="*/ 852313 w 953912"/>
                    <a:gd name="connsiteY106" fmla="*/ 449009 h 912651"/>
                    <a:gd name="connsiteX107" fmla="*/ 841044 w 953912"/>
                    <a:gd name="connsiteY107" fmla="*/ 457473 h 912651"/>
                    <a:gd name="connsiteX108" fmla="*/ 837426 w 953912"/>
                    <a:gd name="connsiteY108" fmla="*/ 461213 h 912651"/>
                    <a:gd name="connsiteX109" fmla="*/ 835082 w 953912"/>
                    <a:gd name="connsiteY109" fmla="*/ 462962 h 912651"/>
                    <a:gd name="connsiteX110" fmla="*/ 832204 w 953912"/>
                    <a:gd name="connsiteY110" fmla="*/ 462440 h 912651"/>
                    <a:gd name="connsiteX111" fmla="*/ 827274 w 953912"/>
                    <a:gd name="connsiteY111" fmla="*/ 459477 h 912651"/>
                    <a:gd name="connsiteX112" fmla="*/ 822210 w 953912"/>
                    <a:gd name="connsiteY112" fmla="*/ 458165 h 912651"/>
                    <a:gd name="connsiteX113" fmla="*/ 815556 w 953912"/>
                    <a:gd name="connsiteY113" fmla="*/ 458712 h 912651"/>
                    <a:gd name="connsiteX114" fmla="*/ 808938 w 953912"/>
                    <a:gd name="connsiteY114" fmla="*/ 460800 h 912651"/>
                    <a:gd name="connsiteX115" fmla="*/ 804409 w 953912"/>
                    <a:gd name="connsiteY115" fmla="*/ 464140 h 912651"/>
                    <a:gd name="connsiteX116" fmla="*/ 802855 w 953912"/>
                    <a:gd name="connsiteY116" fmla="*/ 469045 h 912651"/>
                    <a:gd name="connsiteX117" fmla="*/ 803559 w 953912"/>
                    <a:gd name="connsiteY117" fmla="*/ 480448 h 912651"/>
                    <a:gd name="connsiteX118" fmla="*/ 801822 w 953912"/>
                    <a:gd name="connsiteY118" fmla="*/ 484491 h 912651"/>
                    <a:gd name="connsiteX119" fmla="*/ 784665 w 953912"/>
                    <a:gd name="connsiteY119" fmla="*/ 499828 h 912651"/>
                    <a:gd name="connsiteX120" fmla="*/ 782248 w 953912"/>
                    <a:gd name="connsiteY120" fmla="*/ 501054 h 912651"/>
                    <a:gd name="connsiteX121" fmla="*/ 766062 w 953912"/>
                    <a:gd name="connsiteY121" fmla="*/ 504296 h 912651"/>
                    <a:gd name="connsiteX122" fmla="*/ 762783 w 953912"/>
                    <a:gd name="connsiteY122" fmla="*/ 504223 h 912651"/>
                    <a:gd name="connsiteX123" fmla="*/ 759796 w 953912"/>
                    <a:gd name="connsiteY123" fmla="*/ 503191 h 912651"/>
                    <a:gd name="connsiteX124" fmla="*/ 751648 w 953912"/>
                    <a:gd name="connsiteY124" fmla="*/ 497533 h 912651"/>
                    <a:gd name="connsiteX125" fmla="*/ 744471 w 953912"/>
                    <a:gd name="connsiteY125" fmla="*/ 496428 h 912651"/>
                    <a:gd name="connsiteX126" fmla="*/ 737283 w 953912"/>
                    <a:gd name="connsiteY126" fmla="*/ 499026 h 912651"/>
                    <a:gd name="connsiteX127" fmla="*/ 711443 w 953912"/>
                    <a:gd name="connsiteY127" fmla="*/ 513039 h 912651"/>
                    <a:gd name="connsiteX128" fmla="*/ 691346 w 953912"/>
                    <a:gd name="connsiteY128" fmla="*/ 517921 h 912651"/>
                    <a:gd name="connsiteX129" fmla="*/ 685153 w 953912"/>
                    <a:gd name="connsiteY129" fmla="*/ 518054 h 912651"/>
                    <a:gd name="connsiteX130" fmla="*/ 673217 w 953912"/>
                    <a:gd name="connsiteY130" fmla="*/ 513294 h 912651"/>
                    <a:gd name="connsiteX131" fmla="*/ 666659 w 953912"/>
                    <a:gd name="connsiteY131" fmla="*/ 514618 h 912651"/>
                    <a:gd name="connsiteX132" fmla="*/ 663660 w 953912"/>
                    <a:gd name="connsiteY132" fmla="*/ 517168 h 912651"/>
                    <a:gd name="connsiteX133" fmla="*/ 659762 w 953912"/>
                    <a:gd name="connsiteY133" fmla="*/ 523336 h 912651"/>
                    <a:gd name="connsiteX134" fmla="*/ 657297 w 953912"/>
                    <a:gd name="connsiteY134" fmla="*/ 526239 h 912651"/>
                    <a:gd name="connsiteX135" fmla="*/ 655986 w 953912"/>
                    <a:gd name="connsiteY135" fmla="*/ 526931 h 912651"/>
                    <a:gd name="connsiteX136" fmla="*/ 650874 w 953912"/>
                    <a:gd name="connsiteY136" fmla="*/ 528424 h 912651"/>
                    <a:gd name="connsiteX137" fmla="*/ 638646 w 953912"/>
                    <a:gd name="connsiteY137" fmla="*/ 537034 h 912651"/>
                    <a:gd name="connsiteX138" fmla="*/ 627778 w 953912"/>
                    <a:gd name="connsiteY138" fmla="*/ 547537 h 912651"/>
                    <a:gd name="connsiteX139" fmla="*/ 623989 w 953912"/>
                    <a:gd name="connsiteY139" fmla="*/ 550476 h 912651"/>
                    <a:gd name="connsiteX140" fmla="*/ 620492 w 953912"/>
                    <a:gd name="connsiteY140" fmla="*/ 551326 h 912651"/>
                    <a:gd name="connsiteX141" fmla="*/ 612563 w 953912"/>
                    <a:gd name="connsiteY141" fmla="*/ 550318 h 912651"/>
                    <a:gd name="connsiteX142" fmla="*/ 608604 w 953912"/>
                    <a:gd name="connsiteY142" fmla="*/ 550318 h 912651"/>
                    <a:gd name="connsiteX143" fmla="*/ 597700 w 953912"/>
                    <a:gd name="connsiteY143" fmla="*/ 552771 h 912651"/>
                    <a:gd name="connsiteX144" fmla="*/ 589430 w 953912"/>
                    <a:gd name="connsiteY144" fmla="*/ 552479 h 912651"/>
                    <a:gd name="connsiteX145" fmla="*/ 540045 w 953912"/>
                    <a:gd name="connsiteY145" fmla="*/ 540021 h 912651"/>
                    <a:gd name="connsiteX146" fmla="*/ 532298 w 953912"/>
                    <a:gd name="connsiteY146" fmla="*/ 536463 h 912651"/>
                    <a:gd name="connsiteX147" fmla="*/ 524891 w 953912"/>
                    <a:gd name="connsiteY147" fmla="*/ 531326 h 912651"/>
                    <a:gd name="connsiteX148" fmla="*/ 521904 w 953912"/>
                    <a:gd name="connsiteY148" fmla="*/ 528194 h 912651"/>
                    <a:gd name="connsiteX149" fmla="*/ 519135 w 953912"/>
                    <a:gd name="connsiteY149" fmla="*/ 524198 h 912651"/>
                    <a:gd name="connsiteX150" fmla="*/ 516852 w 953912"/>
                    <a:gd name="connsiteY150" fmla="*/ 522790 h 912651"/>
                    <a:gd name="connsiteX151" fmla="*/ 516913 w 953912"/>
                    <a:gd name="connsiteY151" fmla="*/ 522596 h 912651"/>
                    <a:gd name="connsiteX152" fmla="*/ 517058 w 953912"/>
                    <a:gd name="connsiteY152" fmla="*/ 521551 h 912651"/>
                    <a:gd name="connsiteX153" fmla="*/ 516901 w 953912"/>
                    <a:gd name="connsiteY153" fmla="*/ 522583 h 912651"/>
                    <a:gd name="connsiteX154" fmla="*/ 516840 w 953912"/>
                    <a:gd name="connsiteY154" fmla="*/ 522778 h 912651"/>
                    <a:gd name="connsiteX155" fmla="*/ 514666 w 953912"/>
                    <a:gd name="connsiteY155" fmla="*/ 521430 h 912651"/>
                    <a:gd name="connsiteX156" fmla="*/ 507769 w 953912"/>
                    <a:gd name="connsiteY156" fmla="*/ 521345 h 912651"/>
                    <a:gd name="connsiteX157" fmla="*/ 495541 w 953912"/>
                    <a:gd name="connsiteY157" fmla="*/ 523822 h 912651"/>
                    <a:gd name="connsiteX158" fmla="*/ 478080 w 953912"/>
                    <a:gd name="connsiteY158" fmla="*/ 524648 h 912651"/>
                    <a:gd name="connsiteX159" fmla="*/ 411876 w 953912"/>
                    <a:gd name="connsiteY159" fmla="*/ 512250 h 912651"/>
                    <a:gd name="connsiteX160" fmla="*/ 364458 w 953912"/>
                    <a:gd name="connsiteY160" fmla="*/ 496088 h 912651"/>
                    <a:gd name="connsiteX161" fmla="*/ 352619 w 953912"/>
                    <a:gd name="connsiteY161" fmla="*/ 494181 h 912651"/>
                    <a:gd name="connsiteX162" fmla="*/ 340779 w 953912"/>
                    <a:gd name="connsiteY162" fmla="*/ 495165 h 912651"/>
                    <a:gd name="connsiteX163" fmla="*/ 328734 w 953912"/>
                    <a:gd name="connsiteY163" fmla="*/ 499645 h 912651"/>
                    <a:gd name="connsiteX164" fmla="*/ 314721 w 953912"/>
                    <a:gd name="connsiteY164" fmla="*/ 509372 h 912651"/>
                    <a:gd name="connsiteX165" fmla="*/ 309851 w 953912"/>
                    <a:gd name="connsiteY165" fmla="*/ 511703 h 912651"/>
                    <a:gd name="connsiteX166" fmla="*/ 280089 w 953912"/>
                    <a:gd name="connsiteY166" fmla="*/ 516524 h 912651"/>
                    <a:gd name="connsiteX167" fmla="*/ 277503 w 953912"/>
                    <a:gd name="connsiteY167" fmla="*/ 517678 h 912651"/>
                    <a:gd name="connsiteX168" fmla="*/ 272050 w 953912"/>
                    <a:gd name="connsiteY168" fmla="*/ 521952 h 912651"/>
                    <a:gd name="connsiteX169" fmla="*/ 271710 w 953912"/>
                    <a:gd name="connsiteY169" fmla="*/ 526858 h 912651"/>
                    <a:gd name="connsiteX170" fmla="*/ 273204 w 953912"/>
                    <a:gd name="connsiteY170" fmla="*/ 532346 h 912651"/>
                    <a:gd name="connsiteX171" fmla="*/ 273265 w 953912"/>
                    <a:gd name="connsiteY171" fmla="*/ 538369 h 912651"/>
                    <a:gd name="connsiteX172" fmla="*/ 270435 w 953912"/>
                    <a:gd name="connsiteY172" fmla="*/ 542595 h 912651"/>
                    <a:gd name="connsiteX173" fmla="*/ 261486 w 953912"/>
                    <a:gd name="connsiteY173" fmla="*/ 548509 h 912651"/>
                    <a:gd name="connsiteX174" fmla="*/ 258438 w 953912"/>
                    <a:gd name="connsiteY174" fmla="*/ 553329 h 912651"/>
                    <a:gd name="connsiteX175" fmla="*/ 258438 w 953912"/>
                    <a:gd name="connsiteY175" fmla="*/ 553354 h 912651"/>
                    <a:gd name="connsiteX176" fmla="*/ 258220 w 953912"/>
                    <a:gd name="connsiteY176" fmla="*/ 561344 h 912651"/>
                    <a:gd name="connsiteX177" fmla="*/ 257236 w 953912"/>
                    <a:gd name="connsiteY177" fmla="*/ 563894 h 912651"/>
                    <a:gd name="connsiteX178" fmla="*/ 255572 w 953912"/>
                    <a:gd name="connsiteY178" fmla="*/ 565594 h 912651"/>
                    <a:gd name="connsiteX179" fmla="*/ 250922 w 953912"/>
                    <a:gd name="connsiteY179" fmla="*/ 567937 h 912651"/>
                    <a:gd name="connsiteX180" fmla="*/ 248979 w 953912"/>
                    <a:gd name="connsiteY180" fmla="*/ 569346 h 912651"/>
                    <a:gd name="connsiteX181" fmla="*/ 245882 w 953912"/>
                    <a:gd name="connsiteY181" fmla="*/ 574130 h 912651"/>
                    <a:gd name="connsiteX182" fmla="*/ 244972 w 953912"/>
                    <a:gd name="connsiteY182" fmla="*/ 579437 h 912651"/>
                    <a:gd name="connsiteX183" fmla="*/ 246405 w 953912"/>
                    <a:gd name="connsiteY183" fmla="*/ 584549 h 912651"/>
                    <a:gd name="connsiteX184" fmla="*/ 250485 w 953912"/>
                    <a:gd name="connsiteY184" fmla="*/ 588629 h 912651"/>
                    <a:gd name="connsiteX185" fmla="*/ 255135 w 953912"/>
                    <a:gd name="connsiteY185" fmla="*/ 591179 h 912651"/>
                    <a:gd name="connsiteX186" fmla="*/ 259665 w 953912"/>
                    <a:gd name="connsiteY186" fmla="*/ 592879 h 912651"/>
                    <a:gd name="connsiteX187" fmla="*/ 264485 w 953912"/>
                    <a:gd name="connsiteY187" fmla="*/ 593535 h 912651"/>
                    <a:gd name="connsiteX188" fmla="*/ 269828 w 953912"/>
                    <a:gd name="connsiteY188" fmla="*/ 592988 h 912651"/>
                    <a:gd name="connsiteX189" fmla="*/ 275511 w 953912"/>
                    <a:gd name="connsiteY189" fmla="*/ 593535 h 912651"/>
                    <a:gd name="connsiteX190" fmla="*/ 278608 w 953912"/>
                    <a:gd name="connsiteY190" fmla="*/ 597129 h 912651"/>
                    <a:gd name="connsiteX191" fmla="*/ 282809 w 953912"/>
                    <a:gd name="connsiteY191" fmla="*/ 607633 h 912651"/>
                    <a:gd name="connsiteX192" fmla="*/ 285395 w 953912"/>
                    <a:gd name="connsiteY192" fmla="*/ 611652 h 912651"/>
                    <a:gd name="connsiteX193" fmla="*/ 286877 w 953912"/>
                    <a:gd name="connsiteY193" fmla="*/ 616242 h 912651"/>
                    <a:gd name="connsiteX194" fmla="*/ 286306 w 953912"/>
                    <a:gd name="connsiteY194" fmla="*/ 620528 h 912651"/>
                    <a:gd name="connsiteX195" fmla="*/ 282809 w 953912"/>
                    <a:gd name="connsiteY195" fmla="*/ 623686 h 912651"/>
                    <a:gd name="connsiteX196" fmla="*/ 271613 w 953912"/>
                    <a:gd name="connsiteY196" fmla="*/ 629223 h 912651"/>
                    <a:gd name="connsiteX197" fmla="*/ 267193 w 953912"/>
                    <a:gd name="connsiteY197" fmla="*/ 633558 h 912651"/>
                    <a:gd name="connsiteX198" fmla="*/ 265518 w 953912"/>
                    <a:gd name="connsiteY198" fmla="*/ 640018 h 912651"/>
                    <a:gd name="connsiteX199" fmla="*/ 267254 w 953912"/>
                    <a:gd name="connsiteY199" fmla="*/ 646308 h 912651"/>
                    <a:gd name="connsiteX200" fmla="*/ 271492 w 953912"/>
                    <a:gd name="connsiteY200" fmla="*/ 651881 h 912651"/>
                    <a:gd name="connsiteX201" fmla="*/ 277005 w 953912"/>
                    <a:gd name="connsiteY201" fmla="*/ 655694 h 912651"/>
                    <a:gd name="connsiteX202" fmla="*/ 282809 w 953912"/>
                    <a:gd name="connsiteY202" fmla="*/ 656787 h 912651"/>
                    <a:gd name="connsiteX203" fmla="*/ 295620 w 953912"/>
                    <a:gd name="connsiteY203" fmla="*/ 653654 h 912651"/>
                    <a:gd name="connsiteX204" fmla="*/ 299396 w 953912"/>
                    <a:gd name="connsiteY204" fmla="*/ 653885 h 912651"/>
                    <a:gd name="connsiteX205" fmla="*/ 309390 w 953912"/>
                    <a:gd name="connsiteY205" fmla="*/ 657249 h 912651"/>
                    <a:gd name="connsiteX206" fmla="*/ 316105 w 953912"/>
                    <a:gd name="connsiteY206" fmla="*/ 656897 h 912651"/>
                    <a:gd name="connsiteX207" fmla="*/ 323233 w 953912"/>
                    <a:gd name="connsiteY207" fmla="*/ 655269 h 912651"/>
                    <a:gd name="connsiteX208" fmla="*/ 330009 w 953912"/>
                    <a:gd name="connsiteY208" fmla="*/ 655039 h 912651"/>
                    <a:gd name="connsiteX209" fmla="*/ 335862 w 953912"/>
                    <a:gd name="connsiteY209" fmla="*/ 658937 h 912651"/>
                    <a:gd name="connsiteX210" fmla="*/ 338278 w 953912"/>
                    <a:gd name="connsiteY210" fmla="*/ 665737 h 912651"/>
                    <a:gd name="connsiteX211" fmla="*/ 336432 w 953912"/>
                    <a:gd name="connsiteY211" fmla="*/ 672524 h 912651"/>
                    <a:gd name="connsiteX212" fmla="*/ 332134 w 953912"/>
                    <a:gd name="connsiteY212" fmla="*/ 678632 h 912651"/>
                    <a:gd name="connsiteX213" fmla="*/ 327021 w 953912"/>
                    <a:gd name="connsiteY213" fmla="*/ 683392 h 912651"/>
                    <a:gd name="connsiteX214" fmla="*/ 320476 w 953912"/>
                    <a:gd name="connsiteY214" fmla="*/ 687788 h 912651"/>
                    <a:gd name="connsiteX215" fmla="*/ 313871 w 953912"/>
                    <a:gd name="connsiteY215" fmla="*/ 690605 h 912651"/>
                    <a:gd name="connsiteX216" fmla="*/ 293665 w 953912"/>
                    <a:gd name="connsiteY216" fmla="*/ 693884 h 912651"/>
                    <a:gd name="connsiteX217" fmla="*/ 289293 w 953912"/>
                    <a:gd name="connsiteY217" fmla="*/ 697697 h 912651"/>
                    <a:gd name="connsiteX218" fmla="*/ 282809 w 953912"/>
                    <a:gd name="connsiteY218" fmla="*/ 708553 h 912651"/>
                    <a:gd name="connsiteX219" fmla="*/ 281655 w 953912"/>
                    <a:gd name="connsiteY219" fmla="*/ 711042 h 912651"/>
                    <a:gd name="connsiteX220" fmla="*/ 280854 w 953912"/>
                    <a:gd name="connsiteY220" fmla="*/ 713701 h 912651"/>
                    <a:gd name="connsiteX221" fmla="*/ 280283 w 953912"/>
                    <a:gd name="connsiteY221" fmla="*/ 716421 h 912651"/>
                    <a:gd name="connsiteX222" fmla="*/ 279822 w 953912"/>
                    <a:gd name="connsiteY222" fmla="*/ 722590 h 912651"/>
                    <a:gd name="connsiteX223" fmla="*/ 280283 w 953912"/>
                    <a:gd name="connsiteY223" fmla="*/ 725868 h 912651"/>
                    <a:gd name="connsiteX224" fmla="*/ 281255 w 953912"/>
                    <a:gd name="connsiteY224" fmla="*/ 728928 h 912651"/>
                    <a:gd name="connsiteX225" fmla="*/ 282809 w 953912"/>
                    <a:gd name="connsiteY225" fmla="*/ 731806 h 912651"/>
                    <a:gd name="connsiteX226" fmla="*/ 291698 w 953912"/>
                    <a:gd name="connsiteY226" fmla="*/ 738983 h 912651"/>
                    <a:gd name="connsiteX227" fmla="*/ 303707 w 953912"/>
                    <a:gd name="connsiteY227" fmla="*/ 745103 h 912651"/>
                    <a:gd name="connsiteX228" fmla="*/ 313701 w 953912"/>
                    <a:gd name="connsiteY228" fmla="*/ 752631 h 912651"/>
                    <a:gd name="connsiteX229" fmla="*/ 316797 w 953912"/>
                    <a:gd name="connsiteY229" fmla="*/ 764216 h 912651"/>
                    <a:gd name="connsiteX230" fmla="*/ 312729 w 953912"/>
                    <a:gd name="connsiteY230" fmla="*/ 780244 h 912651"/>
                    <a:gd name="connsiteX231" fmla="*/ 306973 w 953912"/>
                    <a:gd name="connsiteY231" fmla="*/ 795520 h 912651"/>
                    <a:gd name="connsiteX232" fmla="*/ 305201 w 953912"/>
                    <a:gd name="connsiteY232" fmla="*/ 799018 h 912651"/>
                    <a:gd name="connsiteX233" fmla="*/ 303136 w 953912"/>
                    <a:gd name="connsiteY233" fmla="*/ 802005 h 912651"/>
                    <a:gd name="connsiteX234" fmla="*/ 300671 w 953912"/>
                    <a:gd name="connsiteY234" fmla="*/ 804530 h 912651"/>
                    <a:gd name="connsiteX235" fmla="*/ 297563 w 953912"/>
                    <a:gd name="connsiteY235" fmla="*/ 806680 h 912651"/>
                    <a:gd name="connsiteX236" fmla="*/ 290508 w 953912"/>
                    <a:gd name="connsiteY236" fmla="*/ 809303 h 912651"/>
                    <a:gd name="connsiteX237" fmla="*/ 287521 w 953912"/>
                    <a:gd name="connsiteY237" fmla="*/ 811282 h 912651"/>
                    <a:gd name="connsiteX238" fmla="*/ 285614 w 953912"/>
                    <a:gd name="connsiteY238" fmla="*/ 814949 h 912651"/>
                    <a:gd name="connsiteX239" fmla="*/ 285055 w 953912"/>
                    <a:gd name="connsiteY239" fmla="*/ 824178 h 912651"/>
                    <a:gd name="connsiteX240" fmla="*/ 287618 w 953912"/>
                    <a:gd name="connsiteY240" fmla="*/ 830650 h 912651"/>
                    <a:gd name="connsiteX241" fmla="*/ 292681 w 953912"/>
                    <a:gd name="connsiteY241" fmla="*/ 835604 h 912651"/>
                    <a:gd name="connsiteX242" fmla="*/ 299518 w 953912"/>
                    <a:gd name="connsiteY242" fmla="*/ 840109 h 912651"/>
                    <a:gd name="connsiteX243" fmla="*/ 305662 w 953912"/>
                    <a:gd name="connsiteY243" fmla="*/ 845938 h 912651"/>
                    <a:gd name="connsiteX244" fmla="*/ 316044 w 953912"/>
                    <a:gd name="connsiteY244" fmla="*/ 859477 h 912651"/>
                    <a:gd name="connsiteX245" fmla="*/ 323002 w 953912"/>
                    <a:gd name="connsiteY245" fmla="*/ 863278 h 912651"/>
                    <a:gd name="connsiteX246" fmla="*/ 340464 w 953912"/>
                    <a:gd name="connsiteY246" fmla="*/ 866059 h 912651"/>
                    <a:gd name="connsiteX247" fmla="*/ 345564 w 953912"/>
                    <a:gd name="connsiteY247" fmla="*/ 869094 h 912651"/>
                    <a:gd name="connsiteX248" fmla="*/ 347579 w 953912"/>
                    <a:gd name="connsiteY248" fmla="*/ 873757 h 912651"/>
                    <a:gd name="connsiteX249" fmla="*/ 348041 w 953912"/>
                    <a:gd name="connsiteY249" fmla="*/ 884346 h 912651"/>
                    <a:gd name="connsiteX250" fmla="*/ 350336 w 953912"/>
                    <a:gd name="connsiteY250" fmla="*/ 895092 h 912651"/>
                    <a:gd name="connsiteX251" fmla="*/ 349765 w 953912"/>
                    <a:gd name="connsiteY251" fmla="*/ 899440 h 912651"/>
                    <a:gd name="connsiteX252" fmla="*/ 347749 w 953912"/>
                    <a:gd name="connsiteY252" fmla="*/ 903350 h 912651"/>
                    <a:gd name="connsiteX253" fmla="*/ 346657 w 953912"/>
                    <a:gd name="connsiteY253" fmla="*/ 904940 h 912651"/>
                    <a:gd name="connsiteX254" fmla="*/ 284011 w 953912"/>
                    <a:gd name="connsiteY254" fmla="*/ 874364 h 912651"/>
                    <a:gd name="connsiteX255" fmla="*/ 282870 w 953912"/>
                    <a:gd name="connsiteY255" fmla="*/ 872956 h 912651"/>
                    <a:gd name="connsiteX256" fmla="*/ 279701 w 953912"/>
                    <a:gd name="connsiteY256" fmla="*/ 867783 h 912651"/>
                    <a:gd name="connsiteX257" fmla="*/ 279579 w 953912"/>
                    <a:gd name="connsiteY257" fmla="*/ 867528 h 912651"/>
                    <a:gd name="connsiteX258" fmla="*/ 278960 w 953912"/>
                    <a:gd name="connsiteY258" fmla="*/ 866605 h 912651"/>
                    <a:gd name="connsiteX259" fmla="*/ 277988 w 953912"/>
                    <a:gd name="connsiteY259" fmla="*/ 865512 h 912651"/>
                    <a:gd name="connsiteX260" fmla="*/ 276483 w 953912"/>
                    <a:gd name="connsiteY260" fmla="*/ 864079 h 912651"/>
                    <a:gd name="connsiteX261" fmla="*/ 273338 w 953912"/>
                    <a:gd name="connsiteY261" fmla="*/ 862476 h 912651"/>
                    <a:gd name="connsiteX262" fmla="*/ 269828 w 953912"/>
                    <a:gd name="connsiteY262" fmla="*/ 861614 h 912651"/>
                    <a:gd name="connsiteX263" fmla="*/ 263514 w 953912"/>
                    <a:gd name="connsiteY263" fmla="*/ 861869 h 912651"/>
                    <a:gd name="connsiteX264" fmla="*/ 260806 w 953912"/>
                    <a:gd name="connsiteY264" fmla="*/ 862246 h 912651"/>
                    <a:gd name="connsiteX265" fmla="*/ 258924 w 953912"/>
                    <a:gd name="connsiteY265" fmla="*/ 862756 h 912651"/>
                    <a:gd name="connsiteX266" fmla="*/ 258572 w 953912"/>
                    <a:gd name="connsiteY266" fmla="*/ 862926 h 912651"/>
                    <a:gd name="connsiteX267" fmla="*/ 255245 w 953912"/>
                    <a:gd name="connsiteY267" fmla="*/ 864626 h 912651"/>
                    <a:gd name="connsiteX268" fmla="*/ 255135 w 953912"/>
                    <a:gd name="connsiteY268" fmla="*/ 864686 h 912651"/>
                    <a:gd name="connsiteX269" fmla="*/ 253860 w 953912"/>
                    <a:gd name="connsiteY269" fmla="*/ 865136 h 912651"/>
                    <a:gd name="connsiteX270" fmla="*/ 250764 w 953912"/>
                    <a:gd name="connsiteY270" fmla="*/ 864711 h 912651"/>
                    <a:gd name="connsiteX271" fmla="*/ 247036 w 953912"/>
                    <a:gd name="connsiteY271" fmla="*/ 862731 h 912651"/>
                    <a:gd name="connsiteX272" fmla="*/ 244620 w 953912"/>
                    <a:gd name="connsiteY272" fmla="*/ 861469 h 912651"/>
                    <a:gd name="connsiteX273" fmla="*/ 242834 w 953912"/>
                    <a:gd name="connsiteY273" fmla="*/ 858336 h 912651"/>
                    <a:gd name="connsiteX274" fmla="*/ 236933 w 953912"/>
                    <a:gd name="connsiteY274" fmla="*/ 854778 h 912651"/>
                    <a:gd name="connsiteX275" fmla="*/ 225786 w 953912"/>
                    <a:gd name="connsiteY275" fmla="*/ 850127 h 912651"/>
                    <a:gd name="connsiteX276" fmla="*/ 219763 w 953912"/>
                    <a:gd name="connsiteY276" fmla="*/ 846241 h 912651"/>
                    <a:gd name="connsiteX277" fmla="*/ 216363 w 953912"/>
                    <a:gd name="connsiteY277" fmla="*/ 841834 h 912651"/>
                    <a:gd name="connsiteX278" fmla="*/ 220686 w 953912"/>
                    <a:gd name="connsiteY278" fmla="*/ 837923 h 912651"/>
                    <a:gd name="connsiteX279" fmla="*/ 220504 w 953912"/>
                    <a:gd name="connsiteY279" fmla="*/ 835543 h 912651"/>
                    <a:gd name="connsiteX280" fmla="*/ 221475 w 953912"/>
                    <a:gd name="connsiteY280" fmla="*/ 833989 h 912651"/>
                    <a:gd name="connsiteX281" fmla="*/ 222398 w 953912"/>
                    <a:gd name="connsiteY281" fmla="*/ 831633 h 912651"/>
                    <a:gd name="connsiteX282" fmla="*/ 222446 w 953912"/>
                    <a:gd name="connsiteY282" fmla="*/ 829193 h 912651"/>
                    <a:gd name="connsiteX283" fmla="*/ 221414 w 953912"/>
                    <a:gd name="connsiteY283" fmla="*/ 827080 h 912651"/>
                    <a:gd name="connsiteX284" fmla="*/ 219812 w 953912"/>
                    <a:gd name="connsiteY284" fmla="*/ 825780 h 912651"/>
                    <a:gd name="connsiteX285" fmla="*/ 216023 w 953912"/>
                    <a:gd name="connsiteY285" fmla="*/ 823486 h 912651"/>
                    <a:gd name="connsiteX286" fmla="*/ 215452 w 953912"/>
                    <a:gd name="connsiteY286" fmla="*/ 822453 h 912651"/>
                    <a:gd name="connsiteX287" fmla="*/ 215161 w 953912"/>
                    <a:gd name="connsiteY287" fmla="*/ 821033 h 912651"/>
                    <a:gd name="connsiteX288" fmla="*/ 215051 w 953912"/>
                    <a:gd name="connsiteY288" fmla="*/ 819782 h 912651"/>
                    <a:gd name="connsiteX289" fmla="*/ 214930 w 953912"/>
                    <a:gd name="connsiteY289" fmla="*/ 819175 h 912651"/>
                    <a:gd name="connsiteX290" fmla="*/ 213959 w 953912"/>
                    <a:gd name="connsiteY290" fmla="*/ 819175 h 912651"/>
                    <a:gd name="connsiteX291" fmla="*/ 212404 w 953912"/>
                    <a:gd name="connsiteY291" fmla="*/ 819490 h 912651"/>
                    <a:gd name="connsiteX292" fmla="*/ 212125 w 953912"/>
                    <a:gd name="connsiteY292" fmla="*/ 819636 h 912651"/>
                    <a:gd name="connsiteX293" fmla="*/ 211154 w 953912"/>
                    <a:gd name="connsiteY293" fmla="*/ 820061 h 912651"/>
                    <a:gd name="connsiteX294" fmla="*/ 211093 w 953912"/>
                    <a:gd name="connsiteY294" fmla="*/ 820061 h 912651"/>
                    <a:gd name="connsiteX295" fmla="*/ 209879 w 953912"/>
                    <a:gd name="connsiteY295" fmla="*/ 820013 h 912651"/>
                    <a:gd name="connsiteX296" fmla="*/ 209138 w 953912"/>
                    <a:gd name="connsiteY296" fmla="*/ 820183 h 912651"/>
                    <a:gd name="connsiteX297" fmla="*/ 208628 w 953912"/>
                    <a:gd name="connsiteY297" fmla="*/ 819867 h 912651"/>
                    <a:gd name="connsiteX298" fmla="*/ 208385 w 953912"/>
                    <a:gd name="connsiteY298" fmla="*/ 817948 h 912651"/>
                    <a:gd name="connsiteX299" fmla="*/ 208385 w 953912"/>
                    <a:gd name="connsiteY299" fmla="*/ 817742 h 912651"/>
                    <a:gd name="connsiteX300" fmla="*/ 208956 w 953912"/>
                    <a:gd name="connsiteY300" fmla="*/ 817803 h 912651"/>
                    <a:gd name="connsiteX301" fmla="*/ 210000 w 953912"/>
                    <a:gd name="connsiteY301" fmla="*/ 817450 h 912651"/>
                    <a:gd name="connsiteX302" fmla="*/ 210279 w 953912"/>
                    <a:gd name="connsiteY302" fmla="*/ 817329 h 912651"/>
                    <a:gd name="connsiteX303" fmla="*/ 211542 w 953912"/>
                    <a:gd name="connsiteY303" fmla="*/ 816710 h 912651"/>
                    <a:gd name="connsiteX304" fmla="*/ 212234 w 953912"/>
                    <a:gd name="connsiteY304" fmla="*/ 816188 h 912651"/>
                    <a:gd name="connsiteX305" fmla="*/ 212004 w 953912"/>
                    <a:gd name="connsiteY305" fmla="*/ 812059 h 912651"/>
                    <a:gd name="connsiteX306" fmla="*/ 211202 w 953912"/>
                    <a:gd name="connsiteY306" fmla="*/ 808015 h 912651"/>
                    <a:gd name="connsiteX307" fmla="*/ 210911 w 953912"/>
                    <a:gd name="connsiteY307" fmla="*/ 804105 h 912651"/>
                    <a:gd name="connsiteX308" fmla="*/ 211712 w 953912"/>
                    <a:gd name="connsiteY308" fmla="*/ 801859 h 912651"/>
                    <a:gd name="connsiteX309" fmla="*/ 212234 w 953912"/>
                    <a:gd name="connsiteY309" fmla="*/ 800426 h 912651"/>
                    <a:gd name="connsiteX310" fmla="*/ 212744 w 953912"/>
                    <a:gd name="connsiteY310" fmla="*/ 798070 h 912651"/>
                    <a:gd name="connsiteX311" fmla="*/ 211834 w 953912"/>
                    <a:gd name="connsiteY311" fmla="*/ 796006 h 912651"/>
                    <a:gd name="connsiteX312" fmla="*/ 209696 w 953912"/>
                    <a:gd name="connsiteY312" fmla="*/ 793335 h 912651"/>
                    <a:gd name="connsiteX313" fmla="*/ 207754 w 953912"/>
                    <a:gd name="connsiteY313" fmla="*/ 790396 h 912651"/>
                    <a:gd name="connsiteX314" fmla="*/ 207244 w 953912"/>
                    <a:gd name="connsiteY314" fmla="*/ 786680 h 912651"/>
                    <a:gd name="connsiteX315" fmla="*/ 208956 w 953912"/>
                    <a:gd name="connsiteY315" fmla="*/ 784033 h 912651"/>
                    <a:gd name="connsiteX316" fmla="*/ 211093 w 953912"/>
                    <a:gd name="connsiteY316" fmla="*/ 781568 h 912651"/>
                    <a:gd name="connsiteX317" fmla="*/ 212914 w 953912"/>
                    <a:gd name="connsiteY317" fmla="*/ 775302 h 912651"/>
                    <a:gd name="connsiteX318" fmla="*/ 214529 w 953912"/>
                    <a:gd name="connsiteY318" fmla="*/ 774234 h 912651"/>
                    <a:gd name="connsiteX319" fmla="*/ 214651 w 953912"/>
                    <a:gd name="connsiteY319" fmla="*/ 774185 h 912651"/>
                    <a:gd name="connsiteX320" fmla="*/ 216023 w 953912"/>
                    <a:gd name="connsiteY320" fmla="*/ 773906 h 912651"/>
                    <a:gd name="connsiteX321" fmla="*/ 216363 w 953912"/>
                    <a:gd name="connsiteY321" fmla="*/ 773809 h 912651"/>
                    <a:gd name="connsiteX322" fmla="*/ 217334 w 953912"/>
                    <a:gd name="connsiteY322" fmla="*/ 773092 h 912651"/>
                    <a:gd name="connsiteX323" fmla="*/ 217456 w 953912"/>
                    <a:gd name="connsiteY323" fmla="*/ 771052 h 912651"/>
                    <a:gd name="connsiteX324" fmla="*/ 217006 w 953912"/>
                    <a:gd name="connsiteY324" fmla="*/ 769389 h 912651"/>
                    <a:gd name="connsiteX325" fmla="*/ 216424 w 953912"/>
                    <a:gd name="connsiteY325" fmla="*/ 767810 h 912651"/>
                    <a:gd name="connsiteX326" fmla="*/ 214991 w 953912"/>
                    <a:gd name="connsiteY326" fmla="*/ 760889 h 912651"/>
                    <a:gd name="connsiteX327" fmla="*/ 214930 w 953912"/>
                    <a:gd name="connsiteY327" fmla="*/ 758885 h 912651"/>
                    <a:gd name="connsiteX328" fmla="*/ 215574 w 953912"/>
                    <a:gd name="connsiteY328" fmla="*/ 757513 h 912651"/>
                    <a:gd name="connsiteX329" fmla="*/ 216776 w 953912"/>
                    <a:gd name="connsiteY329" fmla="*/ 757100 h 912651"/>
                    <a:gd name="connsiteX330" fmla="*/ 217978 w 953912"/>
                    <a:gd name="connsiteY330" fmla="*/ 756469 h 912651"/>
                    <a:gd name="connsiteX331" fmla="*/ 218731 w 953912"/>
                    <a:gd name="connsiteY331" fmla="*/ 754429 h 912651"/>
                    <a:gd name="connsiteX332" fmla="*/ 218318 w 953912"/>
                    <a:gd name="connsiteY332" fmla="*/ 751077 h 912651"/>
                    <a:gd name="connsiteX333" fmla="*/ 216885 w 953912"/>
                    <a:gd name="connsiteY333" fmla="*/ 747167 h 912651"/>
                    <a:gd name="connsiteX334" fmla="*/ 214930 w 953912"/>
                    <a:gd name="connsiteY334" fmla="*/ 743439 h 912651"/>
                    <a:gd name="connsiteX335" fmla="*/ 212866 w 953912"/>
                    <a:gd name="connsiteY335" fmla="*/ 740731 h 912651"/>
                    <a:gd name="connsiteX336" fmla="*/ 207754 w 953912"/>
                    <a:gd name="connsiteY336" fmla="*/ 736469 h 912651"/>
                    <a:gd name="connsiteX337" fmla="*/ 207134 w 953912"/>
                    <a:gd name="connsiteY337" fmla="*/ 734915 h 912651"/>
                    <a:gd name="connsiteX338" fmla="*/ 208106 w 953912"/>
                    <a:gd name="connsiteY338" fmla="*/ 732013 h 912651"/>
                    <a:gd name="connsiteX339" fmla="*/ 207754 w 953912"/>
                    <a:gd name="connsiteY339" fmla="*/ 730628 h 912651"/>
                    <a:gd name="connsiteX340" fmla="*/ 207936 w 953912"/>
                    <a:gd name="connsiteY340" fmla="*/ 728673 h 912651"/>
                    <a:gd name="connsiteX341" fmla="*/ 211311 w 953912"/>
                    <a:gd name="connsiteY341" fmla="*/ 721934 h 912651"/>
                    <a:gd name="connsiteX342" fmla="*/ 212234 w 953912"/>
                    <a:gd name="connsiteY342" fmla="*/ 719141 h 912651"/>
                    <a:gd name="connsiteX343" fmla="*/ 212064 w 953912"/>
                    <a:gd name="connsiteY343" fmla="*/ 715183 h 912651"/>
                    <a:gd name="connsiteX344" fmla="*/ 211372 w 953912"/>
                    <a:gd name="connsiteY344" fmla="*/ 711370 h 912651"/>
                    <a:gd name="connsiteX345" fmla="*/ 210000 w 953912"/>
                    <a:gd name="connsiteY345" fmla="*/ 707836 h 912651"/>
                    <a:gd name="connsiteX346" fmla="*/ 207754 w 953912"/>
                    <a:gd name="connsiteY346" fmla="*/ 704728 h 912651"/>
                    <a:gd name="connsiteX347" fmla="*/ 206029 w 953912"/>
                    <a:gd name="connsiteY347" fmla="*/ 699190 h 912651"/>
                    <a:gd name="connsiteX348" fmla="*/ 208846 w 953912"/>
                    <a:gd name="connsiteY348" fmla="*/ 683745 h 912651"/>
                    <a:gd name="connsiteX349" fmla="*/ 208385 w 953912"/>
                    <a:gd name="connsiteY349" fmla="*/ 676653 h 912651"/>
                    <a:gd name="connsiteX350" fmla="*/ 196910 w 953912"/>
                    <a:gd name="connsiteY350" fmla="*/ 656132 h 912651"/>
                    <a:gd name="connsiteX351" fmla="*/ 196910 w 953912"/>
                    <a:gd name="connsiteY351" fmla="*/ 656010 h 912651"/>
                    <a:gd name="connsiteX352" fmla="*/ 196910 w 953912"/>
                    <a:gd name="connsiteY352" fmla="*/ 655986 h 912651"/>
                    <a:gd name="connsiteX353" fmla="*/ 196849 w 953912"/>
                    <a:gd name="connsiteY353" fmla="*/ 655779 h 912651"/>
                    <a:gd name="connsiteX354" fmla="*/ 195016 w 953912"/>
                    <a:gd name="connsiteY354" fmla="*/ 643357 h 912651"/>
                    <a:gd name="connsiteX355" fmla="*/ 191676 w 953912"/>
                    <a:gd name="connsiteY355" fmla="*/ 630716 h 912651"/>
                    <a:gd name="connsiteX356" fmla="*/ 191616 w 953912"/>
                    <a:gd name="connsiteY356" fmla="*/ 630425 h 912651"/>
                    <a:gd name="connsiteX357" fmla="*/ 191506 w 953912"/>
                    <a:gd name="connsiteY357" fmla="*/ 628215 h 912651"/>
                    <a:gd name="connsiteX358" fmla="*/ 191397 w 953912"/>
                    <a:gd name="connsiteY358" fmla="*/ 626843 h 912651"/>
                    <a:gd name="connsiteX359" fmla="*/ 191458 w 953912"/>
                    <a:gd name="connsiteY359" fmla="*/ 626187 h 912651"/>
                    <a:gd name="connsiteX360" fmla="*/ 191798 w 953912"/>
                    <a:gd name="connsiteY360" fmla="*/ 619521 h 912651"/>
                    <a:gd name="connsiteX361" fmla="*/ 191616 w 953912"/>
                    <a:gd name="connsiteY361" fmla="*/ 615902 h 912651"/>
                    <a:gd name="connsiteX362" fmla="*/ 188580 w 953912"/>
                    <a:gd name="connsiteY362" fmla="*/ 600978 h 912651"/>
                    <a:gd name="connsiteX363" fmla="*/ 188519 w 953912"/>
                    <a:gd name="connsiteY363" fmla="*/ 600942 h 912651"/>
                    <a:gd name="connsiteX364" fmla="*/ 185823 w 953912"/>
                    <a:gd name="connsiteY364" fmla="*/ 598161 h 912651"/>
                    <a:gd name="connsiteX365" fmla="*/ 185071 w 953912"/>
                    <a:gd name="connsiteY365" fmla="*/ 596097 h 912651"/>
                    <a:gd name="connsiteX366" fmla="*/ 183516 w 953912"/>
                    <a:gd name="connsiteY366" fmla="*/ 593158 h 912651"/>
                    <a:gd name="connsiteX367" fmla="*/ 176000 w 953912"/>
                    <a:gd name="connsiteY367" fmla="*/ 582800 h 912651"/>
                    <a:gd name="connsiteX368" fmla="*/ 174676 w 953912"/>
                    <a:gd name="connsiteY368" fmla="*/ 578465 h 912651"/>
                    <a:gd name="connsiteX369" fmla="*/ 175368 w 953912"/>
                    <a:gd name="connsiteY369" fmla="*/ 577312 h 912651"/>
                    <a:gd name="connsiteX370" fmla="*/ 177493 w 953912"/>
                    <a:gd name="connsiteY370" fmla="*/ 573790 h 912651"/>
                    <a:gd name="connsiteX371" fmla="*/ 178404 w 953912"/>
                    <a:gd name="connsiteY371" fmla="*/ 571252 h 912651"/>
                    <a:gd name="connsiteX372" fmla="*/ 179388 w 953912"/>
                    <a:gd name="connsiteY372" fmla="*/ 567294 h 912651"/>
                    <a:gd name="connsiteX373" fmla="*/ 179509 w 953912"/>
                    <a:gd name="connsiteY373" fmla="*/ 566869 h 912651"/>
                    <a:gd name="connsiteX374" fmla="*/ 179679 w 953912"/>
                    <a:gd name="connsiteY374" fmla="*/ 565739 h 912651"/>
                    <a:gd name="connsiteX375" fmla="*/ 179679 w 953912"/>
                    <a:gd name="connsiteY375" fmla="*/ 559340 h 912651"/>
                    <a:gd name="connsiteX376" fmla="*/ 179800 w 953912"/>
                    <a:gd name="connsiteY376" fmla="*/ 558478 h 912651"/>
                    <a:gd name="connsiteX377" fmla="*/ 179837 w 953912"/>
                    <a:gd name="connsiteY377" fmla="*/ 558369 h 912651"/>
                    <a:gd name="connsiteX378" fmla="*/ 180080 w 953912"/>
                    <a:gd name="connsiteY378" fmla="*/ 557847 h 912651"/>
                    <a:gd name="connsiteX379" fmla="*/ 181282 w 953912"/>
                    <a:gd name="connsiteY379" fmla="*/ 555977 h 912651"/>
                    <a:gd name="connsiteX380" fmla="*/ 181513 w 953912"/>
                    <a:gd name="connsiteY380" fmla="*/ 555382 h 912651"/>
                    <a:gd name="connsiteX381" fmla="*/ 181695 w 953912"/>
                    <a:gd name="connsiteY381" fmla="*/ 554750 h 912651"/>
                    <a:gd name="connsiteX382" fmla="*/ 181743 w 953912"/>
                    <a:gd name="connsiteY382" fmla="*/ 553997 h 912651"/>
                    <a:gd name="connsiteX383" fmla="*/ 181391 w 953912"/>
                    <a:gd name="connsiteY383" fmla="*/ 548460 h 912651"/>
                    <a:gd name="connsiteX384" fmla="*/ 181513 w 953912"/>
                    <a:gd name="connsiteY384" fmla="*/ 547452 h 912651"/>
                    <a:gd name="connsiteX385" fmla="*/ 181804 w 953912"/>
                    <a:gd name="connsiteY385" fmla="*/ 546651 h 912651"/>
                    <a:gd name="connsiteX386" fmla="*/ 182727 w 953912"/>
                    <a:gd name="connsiteY386" fmla="*/ 545048 h 912651"/>
                    <a:gd name="connsiteX387" fmla="*/ 183067 w 953912"/>
                    <a:gd name="connsiteY387" fmla="*/ 544319 h 912651"/>
                    <a:gd name="connsiteX388" fmla="*/ 183188 w 953912"/>
                    <a:gd name="connsiteY388" fmla="*/ 543579 h 912651"/>
                    <a:gd name="connsiteX389" fmla="*/ 183237 w 953912"/>
                    <a:gd name="connsiteY389" fmla="*/ 541709 h 912651"/>
                    <a:gd name="connsiteX390" fmla="*/ 183298 w 953912"/>
                    <a:gd name="connsiteY390" fmla="*/ 540737 h 912651"/>
                    <a:gd name="connsiteX391" fmla="*/ 183468 w 953912"/>
                    <a:gd name="connsiteY391" fmla="*/ 539851 h 912651"/>
                    <a:gd name="connsiteX392" fmla="*/ 184038 w 953912"/>
                    <a:gd name="connsiteY392" fmla="*/ 538904 h 912651"/>
                    <a:gd name="connsiteX393" fmla="*/ 184852 w 953912"/>
                    <a:gd name="connsiteY393" fmla="*/ 538090 h 912651"/>
                    <a:gd name="connsiteX394" fmla="*/ 186564 w 953912"/>
                    <a:gd name="connsiteY394" fmla="*/ 537240 h 912651"/>
                    <a:gd name="connsiteX395" fmla="*/ 186686 w 953912"/>
                    <a:gd name="connsiteY395" fmla="*/ 537204 h 912651"/>
                    <a:gd name="connsiteX396" fmla="*/ 192308 w 953912"/>
                    <a:gd name="connsiteY396" fmla="*/ 536256 h 912651"/>
                    <a:gd name="connsiteX397" fmla="*/ 192951 w 953912"/>
                    <a:gd name="connsiteY397" fmla="*/ 536256 h 912651"/>
                    <a:gd name="connsiteX398" fmla="*/ 193170 w 953912"/>
                    <a:gd name="connsiteY398" fmla="*/ 536256 h 912651"/>
                    <a:gd name="connsiteX399" fmla="*/ 194141 w 953912"/>
                    <a:gd name="connsiteY399" fmla="*/ 536341 h 912651"/>
                    <a:gd name="connsiteX400" fmla="*/ 198051 w 953912"/>
                    <a:gd name="connsiteY400" fmla="*/ 537058 h 912651"/>
                    <a:gd name="connsiteX401" fmla="*/ 198452 w 953912"/>
                    <a:gd name="connsiteY401" fmla="*/ 537094 h 912651"/>
                    <a:gd name="connsiteX402" fmla="*/ 198792 w 953912"/>
                    <a:gd name="connsiteY402" fmla="*/ 537094 h 912651"/>
                    <a:gd name="connsiteX403" fmla="*/ 199594 w 953912"/>
                    <a:gd name="connsiteY403" fmla="*/ 537009 h 912651"/>
                    <a:gd name="connsiteX404" fmla="*/ 199776 w 953912"/>
                    <a:gd name="connsiteY404" fmla="*/ 536973 h 912651"/>
                    <a:gd name="connsiteX405" fmla="*/ 203334 w 953912"/>
                    <a:gd name="connsiteY405" fmla="*/ 535309 h 912651"/>
                    <a:gd name="connsiteX406" fmla="*/ 205750 w 953912"/>
                    <a:gd name="connsiteY406" fmla="*/ 534156 h 912651"/>
                    <a:gd name="connsiteX407" fmla="*/ 207414 w 953912"/>
                    <a:gd name="connsiteY407" fmla="*/ 533670 h 912651"/>
                    <a:gd name="connsiteX408" fmla="*/ 209016 w 953912"/>
                    <a:gd name="connsiteY408" fmla="*/ 533415 h 912651"/>
                    <a:gd name="connsiteX409" fmla="*/ 210510 w 953912"/>
                    <a:gd name="connsiteY409" fmla="*/ 533439 h 912651"/>
                    <a:gd name="connsiteX410" fmla="*/ 210862 w 953912"/>
                    <a:gd name="connsiteY410" fmla="*/ 533439 h 912651"/>
                    <a:gd name="connsiteX411" fmla="*/ 212234 w 953912"/>
                    <a:gd name="connsiteY411" fmla="*/ 533646 h 912651"/>
                    <a:gd name="connsiteX412" fmla="*/ 213157 w 953912"/>
                    <a:gd name="connsiteY412" fmla="*/ 534156 h 912651"/>
                    <a:gd name="connsiteX413" fmla="*/ 213376 w 953912"/>
                    <a:gd name="connsiteY413" fmla="*/ 534569 h 912651"/>
                    <a:gd name="connsiteX414" fmla="*/ 213619 w 953912"/>
                    <a:gd name="connsiteY414" fmla="*/ 534994 h 912651"/>
                    <a:gd name="connsiteX415" fmla="*/ 213619 w 953912"/>
                    <a:gd name="connsiteY415" fmla="*/ 535054 h 912651"/>
                    <a:gd name="connsiteX416" fmla="*/ 214080 w 953912"/>
                    <a:gd name="connsiteY416" fmla="*/ 536111 h 912651"/>
                    <a:gd name="connsiteX417" fmla="*/ 214760 w 953912"/>
                    <a:gd name="connsiteY417" fmla="*/ 537495 h 912651"/>
                    <a:gd name="connsiteX418" fmla="*/ 215161 w 953912"/>
                    <a:gd name="connsiteY418" fmla="*/ 538017 h 912651"/>
                    <a:gd name="connsiteX419" fmla="*/ 215622 w 953912"/>
                    <a:gd name="connsiteY419" fmla="*/ 538588 h 912651"/>
                    <a:gd name="connsiteX420" fmla="*/ 216545 w 953912"/>
                    <a:gd name="connsiteY420" fmla="*/ 538588 h 912651"/>
                    <a:gd name="connsiteX421" fmla="*/ 216824 w 953912"/>
                    <a:gd name="connsiteY421" fmla="*/ 538296 h 912651"/>
                    <a:gd name="connsiteX422" fmla="*/ 217638 w 953912"/>
                    <a:gd name="connsiteY422" fmla="*/ 537434 h 912651"/>
                    <a:gd name="connsiteX423" fmla="*/ 219472 w 953912"/>
                    <a:gd name="connsiteY423" fmla="*/ 534046 h 912651"/>
                    <a:gd name="connsiteX424" fmla="*/ 223321 w 953912"/>
                    <a:gd name="connsiteY424" fmla="*/ 523834 h 912651"/>
                    <a:gd name="connsiteX425" fmla="*/ 223491 w 953912"/>
                    <a:gd name="connsiteY425" fmla="*/ 522705 h 912651"/>
                    <a:gd name="connsiteX426" fmla="*/ 223369 w 953912"/>
                    <a:gd name="connsiteY426" fmla="*/ 521648 h 912651"/>
                    <a:gd name="connsiteX427" fmla="*/ 223029 w 953912"/>
                    <a:gd name="connsiteY427" fmla="*/ 520495 h 912651"/>
                    <a:gd name="connsiteX428" fmla="*/ 221766 w 953912"/>
                    <a:gd name="connsiteY428" fmla="*/ 518455 h 912651"/>
                    <a:gd name="connsiteX429" fmla="*/ 221366 w 953912"/>
                    <a:gd name="connsiteY429" fmla="*/ 517593 h 912651"/>
                    <a:gd name="connsiteX430" fmla="*/ 221135 w 953912"/>
                    <a:gd name="connsiteY430" fmla="*/ 516597 h 912651"/>
                    <a:gd name="connsiteX431" fmla="*/ 221366 w 953912"/>
                    <a:gd name="connsiteY431" fmla="*/ 515613 h 912651"/>
                    <a:gd name="connsiteX432" fmla="*/ 221706 w 953912"/>
                    <a:gd name="connsiteY432" fmla="*/ 514727 h 912651"/>
                    <a:gd name="connsiteX433" fmla="*/ 227340 w 953912"/>
                    <a:gd name="connsiteY433" fmla="*/ 506543 h 912651"/>
                    <a:gd name="connsiteX434" fmla="*/ 228202 w 953912"/>
                    <a:gd name="connsiteY434" fmla="*/ 504843 h 912651"/>
                    <a:gd name="connsiteX435" fmla="*/ 229805 w 953912"/>
                    <a:gd name="connsiteY435" fmla="*/ 500313 h 912651"/>
                    <a:gd name="connsiteX436" fmla="*/ 231129 w 953912"/>
                    <a:gd name="connsiteY436" fmla="*/ 497982 h 912651"/>
                    <a:gd name="connsiteX437" fmla="*/ 231189 w 953912"/>
                    <a:gd name="connsiteY437" fmla="*/ 497958 h 912651"/>
                    <a:gd name="connsiteX438" fmla="*/ 232562 w 953912"/>
                    <a:gd name="connsiteY438" fmla="*/ 496355 h 912651"/>
                    <a:gd name="connsiteX439" fmla="*/ 234456 w 953912"/>
                    <a:gd name="connsiteY439" fmla="*/ 494667 h 912651"/>
                    <a:gd name="connsiteX440" fmla="*/ 238475 w 953912"/>
                    <a:gd name="connsiteY440" fmla="*/ 491813 h 912651"/>
                    <a:gd name="connsiteX441" fmla="*/ 240370 w 953912"/>
                    <a:gd name="connsiteY441" fmla="*/ 490720 h 912651"/>
                    <a:gd name="connsiteX442" fmla="*/ 240370 w 953912"/>
                    <a:gd name="connsiteY442" fmla="*/ 490696 h 912651"/>
                    <a:gd name="connsiteX443" fmla="*/ 241863 w 953912"/>
                    <a:gd name="connsiteY443" fmla="*/ 490150 h 912651"/>
                    <a:gd name="connsiteX444" fmla="*/ 245433 w 953912"/>
                    <a:gd name="connsiteY444" fmla="*/ 490356 h 912651"/>
                    <a:gd name="connsiteX445" fmla="*/ 246623 w 953912"/>
                    <a:gd name="connsiteY445" fmla="*/ 490174 h 912651"/>
                    <a:gd name="connsiteX446" fmla="*/ 247619 w 953912"/>
                    <a:gd name="connsiteY446" fmla="*/ 489834 h 912651"/>
                    <a:gd name="connsiteX447" fmla="*/ 249052 w 953912"/>
                    <a:gd name="connsiteY447" fmla="*/ 489105 h 912651"/>
                    <a:gd name="connsiteX448" fmla="*/ 249210 w 953912"/>
                    <a:gd name="connsiteY448" fmla="*/ 489008 h 912651"/>
                    <a:gd name="connsiteX449" fmla="*/ 252610 w 953912"/>
                    <a:gd name="connsiteY449" fmla="*/ 486640 h 912651"/>
                    <a:gd name="connsiteX450" fmla="*/ 253338 w 953912"/>
                    <a:gd name="connsiteY450" fmla="*/ 486349 h 912651"/>
                    <a:gd name="connsiteX451" fmla="*/ 257370 w 953912"/>
                    <a:gd name="connsiteY451" fmla="*/ 485584 h 912651"/>
                    <a:gd name="connsiteX452" fmla="*/ 265408 w 953912"/>
                    <a:gd name="connsiteY452" fmla="*/ 486300 h 912651"/>
                    <a:gd name="connsiteX453" fmla="*/ 266040 w 953912"/>
                    <a:gd name="connsiteY453" fmla="*/ 486045 h 912651"/>
                    <a:gd name="connsiteX454" fmla="*/ 266501 w 953912"/>
                    <a:gd name="connsiteY454" fmla="*/ 485863 h 912651"/>
                    <a:gd name="connsiteX455" fmla="*/ 266501 w 953912"/>
                    <a:gd name="connsiteY455" fmla="*/ 485839 h 912651"/>
                    <a:gd name="connsiteX456" fmla="*/ 269938 w 953912"/>
                    <a:gd name="connsiteY456" fmla="*/ 483350 h 912651"/>
                    <a:gd name="connsiteX457" fmla="*/ 269938 w 953912"/>
                    <a:gd name="connsiteY457" fmla="*/ 483313 h 912651"/>
                    <a:gd name="connsiteX458" fmla="*/ 270508 w 953912"/>
                    <a:gd name="connsiteY458" fmla="*/ 483034 h 912651"/>
                    <a:gd name="connsiteX459" fmla="*/ 271492 w 953912"/>
                    <a:gd name="connsiteY459" fmla="*/ 482512 h 912651"/>
                    <a:gd name="connsiteX460" fmla="*/ 272876 w 953912"/>
                    <a:gd name="connsiteY460" fmla="*/ 481443 h 912651"/>
                    <a:gd name="connsiteX461" fmla="*/ 273155 w 953912"/>
                    <a:gd name="connsiteY461" fmla="*/ 481164 h 912651"/>
                    <a:gd name="connsiteX462" fmla="*/ 273799 w 953912"/>
                    <a:gd name="connsiteY462" fmla="*/ 480508 h 912651"/>
                    <a:gd name="connsiteX463" fmla="*/ 274078 w 953912"/>
                    <a:gd name="connsiteY463" fmla="*/ 480241 h 912651"/>
                    <a:gd name="connsiteX464" fmla="*/ 274078 w 953912"/>
                    <a:gd name="connsiteY464" fmla="*/ 480217 h 912651"/>
                    <a:gd name="connsiteX465" fmla="*/ 275402 w 953912"/>
                    <a:gd name="connsiteY465" fmla="*/ 478092 h 912651"/>
                    <a:gd name="connsiteX466" fmla="*/ 276373 w 953912"/>
                    <a:gd name="connsiteY466" fmla="*/ 477169 h 912651"/>
                    <a:gd name="connsiteX467" fmla="*/ 277296 w 953912"/>
                    <a:gd name="connsiteY467" fmla="*/ 476282 h 912651"/>
                    <a:gd name="connsiteX468" fmla="*/ 277357 w 953912"/>
                    <a:gd name="connsiteY468" fmla="*/ 476258 h 912651"/>
                    <a:gd name="connsiteX469" fmla="*/ 278608 w 953912"/>
                    <a:gd name="connsiteY469" fmla="*/ 475275 h 912651"/>
                    <a:gd name="connsiteX470" fmla="*/ 278668 w 953912"/>
                    <a:gd name="connsiteY470" fmla="*/ 475250 h 912651"/>
                    <a:gd name="connsiteX471" fmla="*/ 280101 w 953912"/>
                    <a:gd name="connsiteY471" fmla="*/ 474728 h 912651"/>
                    <a:gd name="connsiteX472" fmla="*/ 283088 w 953912"/>
                    <a:gd name="connsiteY472" fmla="*/ 474437 h 912651"/>
                    <a:gd name="connsiteX473" fmla="*/ 284121 w 953912"/>
                    <a:gd name="connsiteY473" fmla="*/ 474218 h 912651"/>
                    <a:gd name="connsiteX474" fmla="*/ 285153 w 953912"/>
                    <a:gd name="connsiteY474" fmla="*/ 473987 h 912651"/>
                    <a:gd name="connsiteX475" fmla="*/ 287290 w 953912"/>
                    <a:gd name="connsiteY475" fmla="*/ 473210 h 912651"/>
                    <a:gd name="connsiteX476" fmla="*/ 289463 w 953912"/>
                    <a:gd name="connsiteY476" fmla="*/ 472409 h 912651"/>
                    <a:gd name="connsiteX477" fmla="*/ 289524 w 953912"/>
                    <a:gd name="connsiteY477" fmla="*/ 472385 h 912651"/>
                    <a:gd name="connsiteX478" fmla="*/ 290156 w 953912"/>
                    <a:gd name="connsiteY478" fmla="*/ 471838 h 912651"/>
                    <a:gd name="connsiteX479" fmla="*/ 290508 w 953912"/>
                    <a:gd name="connsiteY479" fmla="*/ 471462 h 912651"/>
                    <a:gd name="connsiteX480" fmla="*/ 290556 w 953912"/>
                    <a:gd name="connsiteY480" fmla="*/ 471425 h 912651"/>
                    <a:gd name="connsiteX481" fmla="*/ 291418 w 953912"/>
                    <a:gd name="connsiteY481" fmla="*/ 470308 h 912651"/>
                    <a:gd name="connsiteX482" fmla="*/ 291698 w 953912"/>
                    <a:gd name="connsiteY482" fmla="*/ 469883 h 912651"/>
                    <a:gd name="connsiteX483" fmla="*/ 292791 w 953912"/>
                    <a:gd name="connsiteY483" fmla="*/ 466289 h 912651"/>
                    <a:gd name="connsiteX484" fmla="*/ 293604 w 953912"/>
                    <a:gd name="connsiteY484" fmla="*/ 464285 h 912651"/>
                    <a:gd name="connsiteX485" fmla="*/ 293604 w 953912"/>
                    <a:gd name="connsiteY485" fmla="*/ 464261 h 912651"/>
                    <a:gd name="connsiteX486" fmla="*/ 294066 w 953912"/>
                    <a:gd name="connsiteY486" fmla="*/ 463678 h 912651"/>
                    <a:gd name="connsiteX487" fmla="*/ 294976 w 953912"/>
                    <a:gd name="connsiteY487" fmla="*/ 462537 h 912651"/>
                    <a:gd name="connsiteX488" fmla="*/ 294976 w 953912"/>
                    <a:gd name="connsiteY488" fmla="*/ 462500 h 912651"/>
                    <a:gd name="connsiteX489" fmla="*/ 297053 w 953912"/>
                    <a:gd name="connsiteY489" fmla="*/ 461092 h 912651"/>
                    <a:gd name="connsiteX490" fmla="*/ 297332 w 953912"/>
                    <a:gd name="connsiteY490" fmla="*/ 460800 h 912651"/>
                    <a:gd name="connsiteX491" fmla="*/ 297854 w 953912"/>
                    <a:gd name="connsiteY491" fmla="*/ 460375 h 912651"/>
                    <a:gd name="connsiteX492" fmla="*/ 298716 w 953912"/>
                    <a:gd name="connsiteY492" fmla="*/ 458505 h 912651"/>
                    <a:gd name="connsiteX493" fmla="*/ 299178 w 953912"/>
                    <a:gd name="connsiteY493" fmla="*/ 456696 h 912651"/>
                    <a:gd name="connsiteX494" fmla="*/ 298996 w 953912"/>
                    <a:gd name="connsiteY494" fmla="*/ 453454 h 912651"/>
                    <a:gd name="connsiteX495" fmla="*/ 299287 w 953912"/>
                    <a:gd name="connsiteY495" fmla="*/ 451596 h 912651"/>
                    <a:gd name="connsiteX496" fmla="*/ 299749 w 953912"/>
                    <a:gd name="connsiteY496" fmla="*/ 449981 h 912651"/>
                    <a:gd name="connsiteX497" fmla="*/ 301351 w 953912"/>
                    <a:gd name="connsiteY497" fmla="*/ 448002 h 912651"/>
                    <a:gd name="connsiteX498" fmla="*/ 303197 w 953912"/>
                    <a:gd name="connsiteY498" fmla="*/ 446192 h 912651"/>
                    <a:gd name="connsiteX499" fmla="*/ 303258 w 953912"/>
                    <a:gd name="connsiteY499" fmla="*/ 446156 h 912651"/>
                    <a:gd name="connsiteX500" fmla="*/ 304387 w 953912"/>
                    <a:gd name="connsiteY500" fmla="*/ 445391 h 912651"/>
                    <a:gd name="connsiteX501" fmla="*/ 305480 w 953912"/>
                    <a:gd name="connsiteY501" fmla="*/ 444723 h 912651"/>
                    <a:gd name="connsiteX502" fmla="*/ 306002 w 953912"/>
                    <a:gd name="connsiteY502" fmla="*/ 444067 h 912651"/>
                    <a:gd name="connsiteX503" fmla="*/ 306002 w 953912"/>
                    <a:gd name="connsiteY503" fmla="*/ 443982 h 912651"/>
                    <a:gd name="connsiteX504" fmla="*/ 306184 w 953912"/>
                    <a:gd name="connsiteY504" fmla="*/ 443144 h 912651"/>
                    <a:gd name="connsiteX505" fmla="*/ 305480 w 953912"/>
                    <a:gd name="connsiteY505" fmla="*/ 441566 h 912651"/>
                    <a:gd name="connsiteX506" fmla="*/ 304569 w 953912"/>
                    <a:gd name="connsiteY506" fmla="*/ 440449 h 912651"/>
                    <a:gd name="connsiteX507" fmla="*/ 303707 w 953912"/>
                    <a:gd name="connsiteY507" fmla="*/ 439817 h 912651"/>
                    <a:gd name="connsiteX508" fmla="*/ 301412 w 953912"/>
                    <a:gd name="connsiteY508" fmla="*/ 438834 h 912651"/>
                    <a:gd name="connsiteX509" fmla="*/ 301242 w 953912"/>
                    <a:gd name="connsiteY509" fmla="*/ 438700 h 912651"/>
                    <a:gd name="connsiteX510" fmla="*/ 300829 w 953912"/>
                    <a:gd name="connsiteY510" fmla="*/ 438409 h 912651"/>
                    <a:gd name="connsiteX511" fmla="*/ 300429 w 953912"/>
                    <a:gd name="connsiteY511" fmla="*/ 438044 h 912651"/>
                    <a:gd name="connsiteX512" fmla="*/ 300259 w 953912"/>
                    <a:gd name="connsiteY512" fmla="*/ 437814 h 912651"/>
                    <a:gd name="connsiteX513" fmla="*/ 300149 w 953912"/>
                    <a:gd name="connsiteY513" fmla="*/ 437631 h 912651"/>
                    <a:gd name="connsiteX514" fmla="*/ 299858 w 953912"/>
                    <a:gd name="connsiteY514" fmla="*/ 437146 h 912651"/>
                    <a:gd name="connsiteX515" fmla="*/ 299579 w 953912"/>
                    <a:gd name="connsiteY515" fmla="*/ 436466 h 912651"/>
                    <a:gd name="connsiteX516" fmla="*/ 299579 w 953912"/>
                    <a:gd name="connsiteY516" fmla="*/ 435567 h 912651"/>
                    <a:gd name="connsiteX517" fmla="*/ 299858 w 953912"/>
                    <a:gd name="connsiteY517" fmla="*/ 434365 h 912651"/>
                    <a:gd name="connsiteX518" fmla="*/ 301533 w 953912"/>
                    <a:gd name="connsiteY518" fmla="*/ 430831 h 912651"/>
                    <a:gd name="connsiteX519" fmla="*/ 302383 w 953912"/>
                    <a:gd name="connsiteY519" fmla="*/ 429484 h 912651"/>
                    <a:gd name="connsiteX520" fmla="*/ 303768 w 953912"/>
                    <a:gd name="connsiteY520" fmla="*/ 428051 h 912651"/>
                    <a:gd name="connsiteX521" fmla="*/ 305820 w 953912"/>
                    <a:gd name="connsiteY521" fmla="*/ 426411 h 912651"/>
                    <a:gd name="connsiteX522" fmla="*/ 310604 w 953912"/>
                    <a:gd name="connsiteY522" fmla="*/ 425039 h 912651"/>
                    <a:gd name="connsiteX523" fmla="*/ 313009 w 953912"/>
                    <a:gd name="connsiteY523" fmla="*/ 425100 h 912651"/>
                    <a:gd name="connsiteX524" fmla="*/ 317732 w 953912"/>
                    <a:gd name="connsiteY524" fmla="*/ 425185 h 912651"/>
                    <a:gd name="connsiteX525" fmla="*/ 313021 w 953912"/>
                    <a:gd name="connsiteY525" fmla="*/ 425088 h 912651"/>
                    <a:gd name="connsiteX526" fmla="*/ 310604 w 953912"/>
                    <a:gd name="connsiteY526" fmla="*/ 425039 h 912651"/>
                    <a:gd name="connsiteX527" fmla="*/ 310604 w 953912"/>
                    <a:gd name="connsiteY527" fmla="*/ 425003 h 912651"/>
                    <a:gd name="connsiteX528" fmla="*/ 310544 w 953912"/>
                    <a:gd name="connsiteY528" fmla="*/ 424979 h 912651"/>
                    <a:gd name="connsiteX529" fmla="*/ 310495 w 953912"/>
                    <a:gd name="connsiteY529" fmla="*/ 423825 h 912651"/>
                    <a:gd name="connsiteX530" fmla="*/ 310495 w 953912"/>
                    <a:gd name="connsiteY530" fmla="*/ 423801 h 912651"/>
                    <a:gd name="connsiteX531" fmla="*/ 310252 w 953912"/>
                    <a:gd name="connsiteY531" fmla="*/ 423291 h 912651"/>
                    <a:gd name="connsiteX532" fmla="*/ 309560 w 953912"/>
                    <a:gd name="connsiteY532" fmla="*/ 422477 h 912651"/>
                    <a:gd name="connsiteX533" fmla="*/ 306937 w 953912"/>
                    <a:gd name="connsiteY533" fmla="*/ 420328 h 912651"/>
                    <a:gd name="connsiteX534" fmla="*/ 306415 w 953912"/>
                    <a:gd name="connsiteY534" fmla="*/ 419235 h 912651"/>
                    <a:gd name="connsiteX535" fmla="*/ 306233 w 953912"/>
                    <a:gd name="connsiteY535" fmla="*/ 418373 h 912651"/>
                    <a:gd name="connsiteX536" fmla="*/ 306512 w 953912"/>
                    <a:gd name="connsiteY536" fmla="*/ 417462 h 912651"/>
                    <a:gd name="connsiteX537" fmla="*/ 306573 w 953912"/>
                    <a:gd name="connsiteY537" fmla="*/ 416782 h 912651"/>
                    <a:gd name="connsiteX538" fmla="*/ 306354 w 953912"/>
                    <a:gd name="connsiteY538" fmla="*/ 416357 h 912651"/>
                    <a:gd name="connsiteX539" fmla="*/ 306293 w 953912"/>
                    <a:gd name="connsiteY539" fmla="*/ 416248 h 912651"/>
                    <a:gd name="connsiteX540" fmla="*/ 306002 w 953912"/>
                    <a:gd name="connsiteY540" fmla="*/ 416126 h 912651"/>
                    <a:gd name="connsiteX541" fmla="*/ 305601 w 953912"/>
                    <a:gd name="connsiteY541" fmla="*/ 415968 h 912651"/>
                    <a:gd name="connsiteX542" fmla="*/ 305541 w 953912"/>
                    <a:gd name="connsiteY542" fmla="*/ 415968 h 912651"/>
                    <a:gd name="connsiteX543" fmla="*/ 305443 w 953912"/>
                    <a:gd name="connsiteY543" fmla="*/ 415968 h 912651"/>
                    <a:gd name="connsiteX544" fmla="*/ 302043 w 953912"/>
                    <a:gd name="connsiteY544" fmla="*/ 416017 h 912651"/>
                    <a:gd name="connsiteX545" fmla="*/ 296871 w 953912"/>
                    <a:gd name="connsiteY545" fmla="*/ 415531 h 912651"/>
                    <a:gd name="connsiteX546" fmla="*/ 294126 w 953912"/>
                    <a:gd name="connsiteY546" fmla="*/ 415276 h 912651"/>
                    <a:gd name="connsiteX547" fmla="*/ 293944 w 953912"/>
                    <a:gd name="connsiteY547" fmla="*/ 415216 h 912651"/>
                    <a:gd name="connsiteX548" fmla="*/ 293094 w 953912"/>
                    <a:gd name="connsiteY548" fmla="*/ 414924 h 912651"/>
                    <a:gd name="connsiteX549" fmla="*/ 291941 w 953912"/>
                    <a:gd name="connsiteY549" fmla="*/ 414317 h 912651"/>
                    <a:gd name="connsiteX550" fmla="*/ 288783 w 953912"/>
                    <a:gd name="connsiteY550" fmla="*/ 411391 h 912651"/>
                    <a:gd name="connsiteX551" fmla="*/ 288371 w 953912"/>
                    <a:gd name="connsiteY551" fmla="*/ 411026 h 912651"/>
                    <a:gd name="connsiteX552" fmla="*/ 287921 w 953912"/>
                    <a:gd name="connsiteY552" fmla="*/ 410371 h 912651"/>
                    <a:gd name="connsiteX553" fmla="*/ 287691 w 953912"/>
                    <a:gd name="connsiteY553" fmla="*/ 409703 h 912651"/>
                    <a:gd name="connsiteX554" fmla="*/ 286938 w 953912"/>
                    <a:gd name="connsiteY554" fmla="*/ 409156 h 912651"/>
                    <a:gd name="connsiteX555" fmla="*/ 286197 w 953912"/>
                    <a:gd name="connsiteY555" fmla="*/ 408986 h 912651"/>
                    <a:gd name="connsiteX556" fmla="*/ 285736 w 953912"/>
                    <a:gd name="connsiteY556" fmla="*/ 408877 h 912651"/>
                    <a:gd name="connsiteX557" fmla="*/ 282809 w 953912"/>
                    <a:gd name="connsiteY557" fmla="*/ 409071 h 912651"/>
                    <a:gd name="connsiteX558" fmla="*/ 281255 w 953912"/>
                    <a:gd name="connsiteY558" fmla="*/ 409472 h 912651"/>
                    <a:gd name="connsiteX559" fmla="*/ 279822 w 953912"/>
                    <a:gd name="connsiteY559" fmla="*/ 410152 h 912651"/>
                    <a:gd name="connsiteX560" fmla="*/ 279482 w 953912"/>
                    <a:gd name="connsiteY560" fmla="*/ 410079 h 912651"/>
                    <a:gd name="connsiteX561" fmla="*/ 279421 w 953912"/>
                    <a:gd name="connsiteY561" fmla="*/ 410043 h 912651"/>
                    <a:gd name="connsiteX562" fmla="*/ 279300 w 953912"/>
                    <a:gd name="connsiteY562" fmla="*/ 410043 h 912651"/>
                    <a:gd name="connsiteX563" fmla="*/ 278559 w 953912"/>
                    <a:gd name="connsiteY563" fmla="*/ 409824 h 912651"/>
                    <a:gd name="connsiteX564" fmla="*/ 277636 w 953912"/>
                    <a:gd name="connsiteY564" fmla="*/ 409436 h 912651"/>
                    <a:gd name="connsiteX565" fmla="*/ 272998 w 953912"/>
                    <a:gd name="connsiteY565" fmla="*/ 403838 h 912651"/>
                    <a:gd name="connsiteX566" fmla="*/ 271200 w 953912"/>
                    <a:gd name="connsiteY566" fmla="*/ 403243 h 912651"/>
                    <a:gd name="connsiteX567" fmla="*/ 270290 w 953912"/>
                    <a:gd name="connsiteY567" fmla="*/ 402927 h 912651"/>
                    <a:gd name="connsiteX568" fmla="*/ 268104 w 953912"/>
                    <a:gd name="connsiteY568" fmla="*/ 402150 h 912651"/>
                    <a:gd name="connsiteX569" fmla="*/ 268007 w 953912"/>
                    <a:gd name="connsiteY569" fmla="*/ 402113 h 912651"/>
                    <a:gd name="connsiteX570" fmla="*/ 266161 w 953912"/>
                    <a:gd name="connsiteY570" fmla="*/ 401895 h 912651"/>
                    <a:gd name="connsiteX571" fmla="*/ 262773 w 953912"/>
                    <a:gd name="connsiteY571" fmla="*/ 403061 h 912651"/>
                    <a:gd name="connsiteX572" fmla="*/ 261741 w 953912"/>
                    <a:gd name="connsiteY572" fmla="*/ 403121 h 912651"/>
                    <a:gd name="connsiteX573" fmla="*/ 261741 w 953912"/>
                    <a:gd name="connsiteY573" fmla="*/ 403097 h 912651"/>
                    <a:gd name="connsiteX574" fmla="*/ 261559 w 953912"/>
                    <a:gd name="connsiteY574" fmla="*/ 403048 h 912651"/>
                    <a:gd name="connsiteX575" fmla="*/ 260697 w 953912"/>
                    <a:gd name="connsiteY575" fmla="*/ 402611 h 912651"/>
                    <a:gd name="connsiteX576" fmla="*/ 257017 w 953912"/>
                    <a:gd name="connsiteY576" fmla="*/ 398968 h 912651"/>
                    <a:gd name="connsiteX577" fmla="*/ 253642 w 953912"/>
                    <a:gd name="connsiteY577" fmla="*/ 397183 h 912651"/>
                    <a:gd name="connsiteX578" fmla="*/ 252087 w 953912"/>
                    <a:gd name="connsiteY578" fmla="*/ 396673 h 912651"/>
                    <a:gd name="connsiteX579" fmla="*/ 251517 w 953912"/>
                    <a:gd name="connsiteY579" fmla="*/ 396467 h 912651"/>
                    <a:gd name="connsiteX580" fmla="*/ 251456 w 953912"/>
                    <a:gd name="connsiteY580" fmla="*/ 396467 h 912651"/>
                    <a:gd name="connsiteX581" fmla="*/ 251225 w 953912"/>
                    <a:gd name="connsiteY581" fmla="*/ 396430 h 912651"/>
                    <a:gd name="connsiteX582" fmla="*/ 249902 w 953912"/>
                    <a:gd name="connsiteY582" fmla="*/ 396188 h 912651"/>
                    <a:gd name="connsiteX583" fmla="*/ 245251 w 953912"/>
                    <a:gd name="connsiteY583" fmla="*/ 396151 h 912651"/>
                    <a:gd name="connsiteX584" fmla="*/ 244632 w 953912"/>
                    <a:gd name="connsiteY584" fmla="*/ 396260 h 912651"/>
                    <a:gd name="connsiteX585" fmla="*/ 244049 w 953912"/>
                    <a:gd name="connsiteY585" fmla="*/ 396552 h 912651"/>
                    <a:gd name="connsiteX586" fmla="*/ 243417 w 953912"/>
                    <a:gd name="connsiteY586" fmla="*/ 396953 h 912651"/>
                    <a:gd name="connsiteX587" fmla="*/ 239519 w 953912"/>
                    <a:gd name="connsiteY587" fmla="*/ 400681 h 912651"/>
                    <a:gd name="connsiteX588" fmla="*/ 238767 w 953912"/>
                    <a:gd name="connsiteY588" fmla="*/ 401203 h 912651"/>
                    <a:gd name="connsiteX589" fmla="*/ 238184 w 953912"/>
                    <a:gd name="connsiteY589" fmla="*/ 401518 h 912651"/>
                    <a:gd name="connsiteX590" fmla="*/ 237625 w 953912"/>
                    <a:gd name="connsiteY590" fmla="*/ 401628 h 912651"/>
                    <a:gd name="connsiteX591" fmla="*/ 236994 w 953912"/>
                    <a:gd name="connsiteY591" fmla="*/ 401603 h 912651"/>
                    <a:gd name="connsiteX592" fmla="*/ 236933 w 953912"/>
                    <a:gd name="connsiteY592" fmla="*/ 401603 h 912651"/>
                    <a:gd name="connsiteX593" fmla="*/ 236812 w 953912"/>
                    <a:gd name="connsiteY593" fmla="*/ 401518 h 912651"/>
                    <a:gd name="connsiteX594" fmla="*/ 236132 w 953912"/>
                    <a:gd name="connsiteY594" fmla="*/ 401142 h 912651"/>
                    <a:gd name="connsiteX595" fmla="*/ 235099 w 953912"/>
                    <a:gd name="connsiteY595" fmla="*/ 400256 h 912651"/>
                    <a:gd name="connsiteX596" fmla="*/ 233824 w 953912"/>
                    <a:gd name="connsiteY596" fmla="*/ 398252 h 912651"/>
                    <a:gd name="connsiteX597" fmla="*/ 233703 w 953912"/>
                    <a:gd name="connsiteY597" fmla="*/ 397183 h 912651"/>
                    <a:gd name="connsiteX598" fmla="*/ 233764 w 953912"/>
                    <a:gd name="connsiteY598" fmla="*/ 396382 h 912651"/>
                    <a:gd name="connsiteX599" fmla="*/ 234225 w 953912"/>
                    <a:gd name="connsiteY599" fmla="*/ 395228 h 912651"/>
                    <a:gd name="connsiteX600" fmla="*/ 234687 w 953912"/>
                    <a:gd name="connsiteY600" fmla="*/ 391986 h 912651"/>
                    <a:gd name="connsiteX601" fmla="*/ 234687 w 953912"/>
                    <a:gd name="connsiteY601" fmla="*/ 391063 h 912651"/>
                    <a:gd name="connsiteX602" fmla="*/ 234347 w 953912"/>
                    <a:gd name="connsiteY602" fmla="*/ 389946 h 912651"/>
                    <a:gd name="connsiteX603" fmla="*/ 228834 w 953912"/>
                    <a:gd name="connsiteY603" fmla="*/ 380875 h 912651"/>
                    <a:gd name="connsiteX604" fmla="*/ 228554 w 953912"/>
                    <a:gd name="connsiteY604" fmla="*/ 380159 h 912651"/>
                    <a:gd name="connsiteX605" fmla="*/ 228494 w 953912"/>
                    <a:gd name="connsiteY605" fmla="*/ 379443 h 912651"/>
                    <a:gd name="connsiteX606" fmla="*/ 228554 w 953912"/>
                    <a:gd name="connsiteY606" fmla="*/ 378544 h 912651"/>
                    <a:gd name="connsiteX607" fmla="*/ 229174 w 953912"/>
                    <a:gd name="connsiteY607" fmla="*/ 372691 h 912651"/>
                    <a:gd name="connsiteX608" fmla="*/ 229174 w 953912"/>
                    <a:gd name="connsiteY608" fmla="*/ 371975 h 912651"/>
                    <a:gd name="connsiteX609" fmla="*/ 229016 w 953912"/>
                    <a:gd name="connsiteY609" fmla="*/ 370712 h 912651"/>
                    <a:gd name="connsiteX610" fmla="*/ 229052 w 953912"/>
                    <a:gd name="connsiteY610" fmla="*/ 370080 h 912651"/>
                    <a:gd name="connsiteX611" fmla="*/ 229356 w 953912"/>
                    <a:gd name="connsiteY611" fmla="*/ 369303 h 912651"/>
                    <a:gd name="connsiteX612" fmla="*/ 229805 w 953912"/>
                    <a:gd name="connsiteY612" fmla="*/ 368186 h 912651"/>
                    <a:gd name="connsiteX613" fmla="*/ 234116 w 953912"/>
                    <a:gd name="connsiteY613" fmla="*/ 361435 h 912651"/>
                    <a:gd name="connsiteX614" fmla="*/ 235197 w 953912"/>
                    <a:gd name="connsiteY614" fmla="*/ 359225 h 912651"/>
                    <a:gd name="connsiteX615" fmla="*/ 235500 w 953912"/>
                    <a:gd name="connsiteY615" fmla="*/ 358362 h 912651"/>
                    <a:gd name="connsiteX616" fmla="*/ 235779 w 953912"/>
                    <a:gd name="connsiteY616" fmla="*/ 357792 h 912651"/>
                    <a:gd name="connsiteX617" fmla="*/ 236071 w 953912"/>
                    <a:gd name="connsiteY617" fmla="*/ 357270 h 912651"/>
                    <a:gd name="connsiteX618" fmla="*/ 238876 w 953912"/>
                    <a:gd name="connsiteY618" fmla="*/ 355096 h 912651"/>
                    <a:gd name="connsiteX619" fmla="*/ 243587 w 953912"/>
                    <a:gd name="connsiteY619" fmla="*/ 352655 h 912651"/>
                    <a:gd name="connsiteX620" fmla="*/ 245372 w 953912"/>
                    <a:gd name="connsiteY620" fmla="*/ 351987 h 912651"/>
                    <a:gd name="connsiteX621" fmla="*/ 246186 w 953912"/>
                    <a:gd name="connsiteY621" fmla="*/ 351502 h 912651"/>
                    <a:gd name="connsiteX622" fmla="*/ 246696 w 953912"/>
                    <a:gd name="connsiteY622" fmla="*/ 350992 h 912651"/>
                    <a:gd name="connsiteX623" fmla="*/ 246805 w 953912"/>
                    <a:gd name="connsiteY623" fmla="*/ 350384 h 912651"/>
                    <a:gd name="connsiteX624" fmla="*/ 246696 w 953912"/>
                    <a:gd name="connsiteY624" fmla="*/ 349753 h 912651"/>
                    <a:gd name="connsiteX625" fmla="*/ 246405 w 953912"/>
                    <a:gd name="connsiteY625" fmla="*/ 348903 h 912651"/>
                    <a:gd name="connsiteX626" fmla="*/ 246235 w 953912"/>
                    <a:gd name="connsiteY626" fmla="*/ 348065 h 912651"/>
                    <a:gd name="connsiteX627" fmla="*/ 245664 w 953912"/>
                    <a:gd name="connsiteY627" fmla="*/ 339213 h 912651"/>
                    <a:gd name="connsiteX628" fmla="*/ 245542 w 953912"/>
                    <a:gd name="connsiteY628" fmla="*/ 338497 h 912651"/>
                    <a:gd name="connsiteX629" fmla="*/ 244450 w 953912"/>
                    <a:gd name="connsiteY629" fmla="*/ 335024 h 912651"/>
                    <a:gd name="connsiteX630" fmla="*/ 244389 w 953912"/>
                    <a:gd name="connsiteY630" fmla="*/ 334999 h 912651"/>
                    <a:gd name="connsiteX631" fmla="*/ 244328 w 953912"/>
                    <a:gd name="connsiteY631" fmla="*/ 334999 h 912651"/>
                    <a:gd name="connsiteX632" fmla="*/ 241863 w 953912"/>
                    <a:gd name="connsiteY632" fmla="*/ 333943 h 912651"/>
                    <a:gd name="connsiteX633" fmla="*/ 241754 w 953912"/>
                    <a:gd name="connsiteY633" fmla="*/ 333943 h 912651"/>
                    <a:gd name="connsiteX634" fmla="*/ 217699 w 953912"/>
                    <a:gd name="connsiteY634" fmla="*/ 330543 h 912651"/>
                    <a:gd name="connsiteX635" fmla="*/ 205799 w 953912"/>
                    <a:gd name="connsiteY635" fmla="*/ 330798 h 912651"/>
                    <a:gd name="connsiteX636" fmla="*/ 194323 w 953912"/>
                    <a:gd name="connsiteY636" fmla="*/ 332498 h 912651"/>
                    <a:gd name="connsiteX637" fmla="*/ 194202 w 953912"/>
                    <a:gd name="connsiteY637" fmla="*/ 332449 h 912651"/>
                    <a:gd name="connsiteX638" fmla="*/ 194202 w 953912"/>
                    <a:gd name="connsiteY638" fmla="*/ 332413 h 912651"/>
                    <a:gd name="connsiteX639" fmla="*/ 194093 w 953912"/>
                    <a:gd name="connsiteY639" fmla="*/ 332328 h 912651"/>
                    <a:gd name="connsiteX640" fmla="*/ 186977 w 953912"/>
                    <a:gd name="connsiteY640" fmla="*/ 327422 h 912651"/>
                    <a:gd name="connsiteX641" fmla="*/ 186916 w 953912"/>
                    <a:gd name="connsiteY641" fmla="*/ 327422 h 912651"/>
                    <a:gd name="connsiteX642" fmla="*/ 186625 w 953912"/>
                    <a:gd name="connsiteY642" fmla="*/ 327361 h 912651"/>
                    <a:gd name="connsiteX643" fmla="*/ 182606 w 953912"/>
                    <a:gd name="connsiteY643" fmla="*/ 326560 h 912651"/>
                    <a:gd name="connsiteX644" fmla="*/ 176461 w 953912"/>
                    <a:gd name="connsiteY644" fmla="*/ 329547 h 912651"/>
                    <a:gd name="connsiteX645" fmla="*/ 176413 w 953912"/>
                    <a:gd name="connsiteY645" fmla="*/ 329426 h 912651"/>
                    <a:gd name="connsiteX646" fmla="*/ 176352 w 953912"/>
                    <a:gd name="connsiteY646" fmla="*/ 329256 h 912651"/>
                    <a:gd name="connsiteX647" fmla="*/ 174045 w 953912"/>
                    <a:gd name="connsiteY647" fmla="*/ 324836 h 912651"/>
                    <a:gd name="connsiteX648" fmla="*/ 173705 w 953912"/>
                    <a:gd name="connsiteY648" fmla="*/ 323743 h 912651"/>
                    <a:gd name="connsiteX649" fmla="*/ 173195 w 953912"/>
                    <a:gd name="connsiteY649" fmla="*/ 322614 h 912651"/>
                    <a:gd name="connsiteX650" fmla="*/ 172442 w 953912"/>
                    <a:gd name="connsiteY650" fmla="*/ 321788 h 912651"/>
                    <a:gd name="connsiteX651" fmla="*/ 171361 w 953912"/>
                    <a:gd name="connsiteY651" fmla="*/ 320901 h 912651"/>
                    <a:gd name="connsiteX652" fmla="*/ 171300 w 953912"/>
                    <a:gd name="connsiteY652" fmla="*/ 320865 h 912651"/>
                    <a:gd name="connsiteX653" fmla="*/ 169807 w 953912"/>
                    <a:gd name="connsiteY653" fmla="*/ 320039 h 912651"/>
                    <a:gd name="connsiteX654" fmla="*/ 169746 w 953912"/>
                    <a:gd name="connsiteY654" fmla="*/ 320003 h 912651"/>
                    <a:gd name="connsiteX655" fmla="*/ 168313 w 953912"/>
                    <a:gd name="connsiteY655" fmla="*/ 319469 h 912651"/>
                    <a:gd name="connsiteX656" fmla="*/ 168204 w 953912"/>
                    <a:gd name="connsiteY656" fmla="*/ 319432 h 912651"/>
                    <a:gd name="connsiteX657" fmla="*/ 166128 w 953912"/>
                    <a:gd name="connsiteY657" fmla="*/ 319068 h 912651"/>
                    <a:gd name="connsiteX658" fmla="*/ 165095 w 953912"/>
                    <a:gd name="connsiteY658" fmla="*/ 318983 h 912651"/>
                    <a:gd name="connsiteX659" fmla="*/ 161355 w 953912"/>
                    <a:gd name="connsiteY659" fmla="*/ 319347 h 912651"/>
                    <a:gd name="connsiteX660" fmla="*/ 160615 w 953912"/>
                    <a:gd name="connsiteY660" fmla="*/ 319262 h 912651"/>
                    <a:gd name="connsiteX661" fmla="*/ 157919 w 953912"/>
                    <a:gd name="connsiteY661" fmla="*/ 318594 h 912651"/>
                    <a:gd name="connsiteX662" fmla="*/ 157737 w 953912"/>
                    <a:gd name="connsiteY662" fmla="*/ 318521 h 912651"/>
                    <a:gd name="connsiteX663" fmla="*/ 157227 w 953912"/>
                    <a:gd name="connsiteY663" fmla="*/ 318315 h 912651"/>
                    <a:gd name="connsiteX664" fmla="*/ 157178 w 953912"/>
                    <a:gd name="connsiteY664" fmla="*/ 318291 h 912651"/>
                    <a:gd name="connsiteX665" fmla="*/ 157178 w 953912"/>
                    <a:gd name="connsiteY665" fmla="*/ 318266 h 912651"/>
                    <a:gd name="connsiteX666" fmla="*/ 156656 w 953912"/>
                    <a:gd name="connsiteY666" fmla="*/ 317878 h 912651"/>
                    <a:gd name="connsiteX667" fmla="*/ 155733 w 953912"/>
                    <a:gd name="connsiteY667" fmla="*/ 315559 h 912651"/>
                    <a:gd name="connsiteX668" fmla="*/ 155272 w 953912"/>
                    <a:gd name="connsiteY668" fmla="*/ 314733 h 912651"/>
                    <a:gd name="connsiteX669" fmla="*/ 154082 w 953912"/>
                    <a:gd name="connsiteY669" fmla="*/ 313519 h 912651"/>
                    <a:gd name="connsiteX670" fmla="*/ 154021 w 953912"/>
                    <a:gd name="connsiteY670" fmla="*/ 313458 h 912651"/>
                    <a:gd name="connsiteX671" fmla="*/ 152588 w 953912"/>
                    <a:gd name="connsiteY671" fmla="*/ 312511 h 912651"/>
                    <a:gd name="connsiteX672" fmla="*/ 146832 w 953912"/>
                    <a:gd name="connsiteY672" fmla="*/ 308746 h 912651"/>
                    <a:gd name="connsiteX673" fmla="*/ 145339 w 953912"/>
                    <a:gd name="connsiteY673" fmla="*/ 307496 h 912651"/>
                    <a:gd name="connsiteX674" fmla="*/ 144707 w 953912"/>
                    <a:gd name="connsiteY674" fmla="*/ 306803 h 912651"/>
                    <a:gd name="connsiteX675" fmla="*/ 142352 w 953912"/>
                    <a:gd name="connsiteY675" fmla="*/ 304800 h 912651"/>
                    <a:gd name="connsiteX676" fmla="*/ 125012 w 953912"/>
                    <a:gd name="connsiteY676" fmla="*/ 293823 h 912651"/>
                    <a:gd name="connsiteX677" fmla="*/ 123858 w 953912"/>
                    <a:gd name="connsiteY677" fmla="*/ 292706 h 912651"/>
                    <a:gd name="connsiteX678" fmla="*/ 123178 w 953912"/>
                    <a:gd name="connsiteY678" fmla="*/ 291734 h 912651"/>
                    <a:gd name="connsiteX679" fmla="*/ 122826 w 953912"/>
                    <a:gd name="connsiteY679" fmla="*/ 290556 h 912651"/>
                    <a:gd name="connsiteX680" fmla="*/ 122729 w 953912"/>
                    <a:gd name="connsiteY680" fmla="*/ 289148 h 912651"/>
                    <a:gd name="connsiteX681" fmla="*/ 122729 w 953912"/>
                    <a:gd name="connsiteY681" fmla="*/ 287533 h 912651"/>
                    <a:gd name="connsiteX682" fmla="*/ 123749 w 953912"/>
                    <a:gd name="connsiteY682" fmla="*/ 276458 h 912651"/>
                    <a:gd name="connsiteX683" fmla="*/ 123979 w 953912"/>
                    <a:gd name="connsiteY683" fmla="*/ 275803 h 912651"/>
                    <a:gd name="connsiteX684" fmla="*/ 124489 w 953912"/>
                    <a:gd name="connsiteY684" fmla="*/ 275159 h 912651"/>
                    <a:gd name="connsiteX685" fmla="*/ 127999 w 953912"/>
                    <a:gd name="connsiteY685" fmla="*/ 271953 h 912651"/>
                    <a:gd name="connsiteX686" fmla="*/ 128521 w 953912"/>
                    <a:gd name="connsiteY686" fmla="*/ 271115 h 912651"/>
                    <a:gd name="connsiteX687" fmla="*/ 128630 w 953912"/>
                    <a:gd name="connsiteY687" fmla="*/ 270338 h 912651"/>
                    <a:gd name="connsiteX688" fmla="*/ 128351 w 953912"/>
                    <a:gd name="connsiteY688" fmla="*/ 269646 h 912651"/>
                    <a:gd name="connsiteX689" fmla="*/ 127659 w 953912"/>
                    <a:gd name="connsiteY689" fmla="*/ 268845 h 912651"/>
                    <a:gd name="connsiteX690" fmla="*/ 127537 w 953912"/>
                    <a:gd name="connsiteY690" fmla="*/ 268760 h 912651"/>
                    <a:gd name="connsiteX691" fmla="*/ 123858 w 953912"/>
                    <a:gd name="connsiteY691" fmla="*/ 266489 h 912651"/>
                    <a:gd name="connsiteX692" fmla="*/ 122085 w 953912"/>
                    <a:gd name="connsiteY692" fmla="*/ 265372 h 912651"/>
                    <a:gd name="connsiteX693" fmla="*/ 122024 w 953912"/>
                    <a:gd name="connsiteY693" fmla="*/ 265347 h 912651"/>
                    <a:gd name="connsiteX694" fmla="*/ 121976 w 953912"/>
                    <a:gd name="connsiteY694" fmla="*/ 265287 h 912651"/>
                    <a:gd name="connsiteX695" fmla="*/ 119960 w 953912"/>
                    <a:gd name="connsiteY695" fmla="*/ 263672 h 912651"/>
                    <a:gd name="connsiteX696" fmla="*/ 117313 w 953912"/>
                    <a:gd name="connsiteY696" fmla="*/ 261073 h 912651"/>
                    <a:gd name="connsiteX697" fmla="*/ 116912 w 953912"/>
                    <a:gd name="connsiteY697" fmla="*/ 260454 h 912651"/>
                    <a:gd name="connsiteX698" fmla="*/ 116633 w 953912"/>
                    <a:gd name="connsiteY698" fmla="*/ 259835 h 912651"/>
                    <a:gd name="connsiteX699" fmla="*/ 116232 w 953912"/>
                    <a:gd name="connsiteY699" fmla="*/ 259458 h 912651"/>
                    <a:gd name="connsiteX700" fmla="*/ 116172 w 953912"/>
                    <a:gd name="connsiteY700" fmla="*/ 259434 h 912651"/>
                    <a:gd name="connsiteX701" fmla="*/ 116111 w 953912"/>
                    <a:gd name="connsiteY701" fmla="*/ 259434 h 912651"/>
                    <a:gd name="connsiteX702" fmla="*/ 115819 w 953912"/>
                    <a:gd name="connsiteY702" fmla="*/ 259373 h 912651"/>
                    <a:gd name="connsiteX703" fmla="*/ 115601 w 953912"/>
                    <a:gd name="connsiteY703" fmla="*/ 259312 h 912651"/>
                    <a:gd name="connsiteX704" fmla="*/ 114727 w 953912"/>
                    <a:gd name="connsiteY704" fmla="*/ 259968 h 912651"/>
                    <a:gd name="connsiteX705" fmla="*/ 113233 w 953912"/>
                    <a:gd name="connsiteY705" fmla="*/ 261814 h 912651"/>
                    <a:gd name="connsiteX706" fmla="*/ 112383 w 953912"/>
                    <a:gd name="connsiteY706" fmla="*/ 262494 h 912651"/>
                    <a:gd name="connsiteX707" fmla="*/ 111691 w 953912"/>
                    <a:gd name="connsiteY707" fmla="*/ 262955 h 912651"/>
                    <a:gd name="connsiteX708" fmla="*/ 110768 w 953912"/>
                    <a:gd name="connsiteY708" fmla="*/ 263332 h 912651"/>
                    <a:gd name="connsiteX709" fmla="*/ 109505 w 953912"/>
                    <a:gd name="connsiteY709" fmla="*/ 263599 h 912651"/>
                    <a:gd name="connsiteX710" fmla="*/ 107562 w 953912"/>
                    <a:gd name="connsiteY710" fmla="*/ 263672 h 912651"/>
                    <a:gd name="connsiteX711" fmla="*/ 105559 w 953912"/>
                    <a:gd name="connsiteY711" fmla="*/ 263538 h 912651"/>
                    <a:gd name="connsiteX712" fmla="*/ 102729 w 953912"/>
                    <a:gd name="connsiteY712" fmla="*/ 262615 h 912651"/>
                    <a:gd name="connsiteX713" fmla="*/ 102571 w 953912"/>
                    <a:gd name="connsiteY713" fmla="*/ 262530 h 912651"/>
                    <a:gd name="connsiteX714" fmla="*/ 101296 w 953912"/>
                    <a:gd name="connsiteY714" fmla="*/ 261947 h 912651"/>
                    <a:gd name="connsiteX715" fmla="*/ 100956 w 953912"/>
                    <a:gd name="connsiteY715" fmla="*/ 261753 h 912651"/>
                    <a:gd name="connsiteX716" fmla="*/ 99742 w 953912"/>
                    <a:gd name="connsiteY716" fmla="*/ 260976 h 912651"/>
                    <a:gd name="connsiteX717" fmla="*/ 99681 w 953912"/>
                    <a:gd name="connsiteY717" fmla="*/ 260976 h 912651"/>
                    <a:gd name="connsiteX718" fmla="*/ 96937 w 953912"/>
                    <a:gd name="connsiteY718" fmla="*/ 259652 h 912651"/>
                    <a:gd name="connsiteX719" fmla="*/ 96366 w 953912"/>
                    <a:gd name="connsiteY719" fmla="*/ 259458 h 912651"/>
                    <a:gd name="connsiteX720" fmla="*/ 95444 w 953912"/>
                    <a:gd name="connsiteY720" fmla="*/ 259167 h 912651"/>
                    <a:gd name="connsiteX721" fmla="*/ 94302 w 953912"/>
                    <a:gd name="connsiteY721" fmla="*/ 258972 h 912651"/>
                    <a:gd name="connsiteX722" fmla="*/ 75638 w 953912"/>
                    <a:gd name="connsiteY722" fmla="*/ 259774 h 912651"/>
                    <a:gd name="connsiteX723" fmla="*/ 74242 w 953912"/>
                    <a:gd name="connsiteY723" fmla="*/ 260126 h 912651"/>
                    <a:gd name="connsiteX724" fmla="*/ 72651 w 953912"/>
                    <a:gd name="connsiteY724" fmla="*/ 260660 h 912651"/>
                    <a:gd name="connsiteX725" fmla="*/ 65475 w 953912"/>
                    <a:gd name="connsiteY725" fmla="*/ 264740 h 912651"/>
                    <a:gd name="connsiteX726" fmla="*/ 64831 w 953912"/>
                    <a:gd name="connsiteY726" fmla="*/ 265396 h 912651"/>
                    <a:gd name="connsiteX727" fmla="*/ 63799 w 953912"/>
                    <a:gd name="connsiteY727" fmla="*/ 266829 h 912651"/>
                    <a:gd name="connsiteX728" fmla="*/ 63289 w 953912"/>
                    <a:gd name="connsiteY728" fmla="*/ 267412 h 912651"/>
                    <a:gd name="connsiteX729" fmla="*/ 61856 w 953912"/>
                    <a:gd name="connsiteY729" fmla="*/ 267606 h 912651"/>
                    <a:gd name="connsiteX730" fmla="*/ 60703 w 953912"/>
                    <a:gd name="connsiteY730" fmla="*/ 267643 h 912651"/>
                    <a:gd name="connsiteX731" fmla="*/ 52725 w 953912"/>
                    <a:gd name="connsiteY731" fmla="*/ 266088 h 912651"/>
                    <a:gd name="connsiteX732" fmla="*/ 35093 w 953912"/>
                    <a:gd name="connsiteY732" fmla="*/ 264109 h 912651"/>
                    <a:gd name="connsiteX733" fmla="*/ 34692 w 953912"/>
                    <a:gd name="connsiteY733" fmla="*/ 263963 h 912651"/>
                    <a:gd name="connsiteX734" fmla="*/ 16490 w 953912"/>
                    <a:gd name="connsiteY734" fmla="*/ 256556 h 912651"/>
                    <a:gd name="connsiteX735" fmla="*/ 8804 w 953912"/>
                    <a:gd name="connsiteY735" fmla="*/ 253460 h 912651"/>
                    <a:gd name="connsiteX736" fmla="*/ 22404 w 953912"/>
                    <a:gd name="connsiteY736" fmla="*/ 230169 h 912651"/>
                    <a:gd name="connsiteX737" fmla="*/ 22574 w 953912"/>
                    <a:gd name="connsiteY737" fmla="*/ 229453 h 912651"/>
                    <a:gd name="connsiteX738" fmla="*/ 22404 w 953912"/>
                    <a:gd name="connsiteY738" fmla="*/ 228907 h 912651"/>
                    <a:gd name="connsiteX739" fmla="*/ 20971 w 953912"/>
                    <a:gd name="connsiteY739" fmla="*/ 225434 h 912651"/>
                    <a:gd name="connsiteX740" fmla="*/ 20679 w 953912"/>
                    <a:gd name="connsiteY740" fmla="*/ 223734 h 912651"/>
                    <a:gd name="connsiteX741" fmla="*/ 19477 w 953912"/>
                    <a:gd name="connsiteY741" fmla="*/ 222191 h 912651"/>
                    <a:gd name="connsiteX742" fmla="*/ 13552 w 953912"/>
                    <a:gd name="connsiteY742" fmla="*/ 217371 h 912651"/>
                    <a:gd name="connsiteX743" fmla="*/ 12993 w 953912"/>
                    <a:gd name="connsiteY743" fmla="*/ 216533 h 912651"/>
                    <a:gd name="connsiteX744" fmla="*/ 12641 w 953912"/>
                    <a:gd name="connsiteY744" fmla="*/ 215853 h 912651"/>
                    <a:gd name="connsiteX745" fmla="*/ 12471 w 953912"/>
                    <a:gd name="connsiteY745" fmla="*/ 215100 h 912651"/>
                    <a:gd name="connsiteX746" fmla="*/ 11730 w 953912"/>
                    <a:gd name="connsiteY746" fmla="*/ 213412 h 912651"/>
                    <a:gd name="connsiteX747" fmla="*/ 11317 w 953912"/>
                    <a:gd name="connsiteY747" fmla="*/ 212004 h 912651"/>
                    <a:gd name="connsiteX748" fmla="*/ 11317 w 953912"/>
                    <a:gd name="connsiteY748" fmla="*/ 210935 h 912651"/>
                    <a:gd name="connsiteX749" fmla="*/ 11548 w 953912"/>
                    <a:gd name="connsiteY749" fmla="*/ 209757 h 912651"/>
                    <a:gd name="connsiteX750" fmla="*/ 11779 w 953912"/>
                    <a:gd name="connsiteY750" fmla="*/ 208834 h 912651"/>
                    <a:gd name="connsiteX751" fmla="*/ 12301 w 953912"/>
                    <a:gd name="connsiteY751" fmla="*/ 207948 h 912651"/>
                    <a:gd name="connsiteX752" fmla="*/ 17170 w 953912"/>
                    <a:gd name="connsiteY752" fmla="*/ 202095 h 912651"/>
                    <a:gd name="connsiteX753" fmla="*/ 17522 w 953912"/>
                    <a:gd name="connsiteY753" fmla="*/ 200771 h 912651"/>
                    <a:gd name="connsiteX754" fmla="*/ 17170 w 953912"/>
                    <a:gd name="connsiteY754" fmla="*/ 199533 h 912651"/>
                    <a:gd name="connsiteX755" fmla="*/ 15798 w 953912"/>
                    <a:gd name="connsiteY755" fmla="*/ 197238 h 912651"/>
                    <a:gd name="connsiteX756" fmla="*/ 15458 w 953912"/>
                    <a:gd name="connsiteY756" fmla="*/ 196497 h 912651"/>
                    <a:gd name="connsiteX757" fmla="*/ 15458 w 953912"/>
                    <a:gd name="connsiteY757" fmla="*/ 195720 h 912651"/>
                    <a:gd name="connsiteX758" fmla="*/ 15980 w 953912"/>
                    <a:gd name="connsiteY758" fmla="*/ 192381 h 912651"/>
                    <a:gd name="connsiteX759" fmla="*/ 18044 w 953912"/>
                    <a:gd name="connsiteY759" fmla="*/ 183601 h 912651"/>
                    <a:gd name="connsiteX760" fmla="*/ 18603 w 953912"/>
                    <a:gd name="connsiteY760" fmla="*/ 182168 h 912651"/>
                    <a:gd name="connsiteX761" fmla="*/ 19356 w 953912"/>
                    <a:gd name="connsiteY761" fmla="*/ 180905 h 912651"/>
                    <a:gd name="connsiteX762" fmla="*/ 20509 w 953912"/>
                    <a:gd name="connsiteY762" fmla="*/ 179363 h 912651"/>
                    <a:gd name="connsiteX763" fmla="*/ 22003 w 953912"/>
                    <a:gd name="connsiteY763" fmla="*/ 177663 h 912651"/>
                    <a:gd name="connsiteX764" fmla="*/ 23557 w 953912"/>
                    <a:gd name="connsiteY764" fmla="*/ 176279 h 912651"/>
                    <a:gd name="connsiteX765" fmla="*/ 26022 w 953912"/>
                    <a:gd name="connsiteY765" fmla="*/ 174470 h 912651"/>
                    <a:gd name="connsiteX766" fmla="*/ 28718 w 953912"/>
                    <a:gd name="connsiteY766" fmla="*/ 173608 h 912651"/>
                    <a:gd name="connsiteX767" fmla="*/ 30843 w 953912"/>
                    <a:gd name="connsiteY767" fmla="*/ 173207 h 912651"/>
                    <a:gd name="connsiteX768" fmla="*/ 32689 w 953912"/>
                    <a:gd name="connsiteY768" fmla="*/ 173122 h 912651"/>
                    <a:gd name="connsiteX769" fmla="*/ 34802 w 953912"/>
                    <a:gd name="connsiteY769" fmla="*/ 173292 h 912651"/>
                    <a:gd name="connsiteX770" fmla="*/ 39744 w 953912"/>
                    <a:gd name="connsiteY770" fmla="*/ 175198 h 912651"/>
                    <a:gd name="connsiteX771" fmla="*/ 40885 w 953912"/>
                    <a:gd name="connsiteY771" fmla="*/ 175223 h 912651"/>
                    <a:gd name="connsiteX772" fmla="*/ 41917 w 953912"/>
                    <a:gd name="connsiteY772" fmla="*/ 174822 h 912651"/>
                    <a:gd name="connsiteX773" fmla="*/ 45937 w 953912"/>
                    <a:gd name="connsiteY773" fmla="*/ 169418 h 912651"/>
                    <a:gd name="connsiteX774" fmla="*/ 46872 w 953912"/>
                    <a:gd name="connsiteY774" fmla="*/ 168580 h 912651"/>
                    <a:gd name="connsiteX775" fmla="*/ 50430 w 953912"/>
                    <a:gd name="connsiteY775" fmla="*/ 166261 h 912651"/>
                    <a:gd name="connsiteX776" fmla="*/ 53235 w 953912"/>
                    <a:gd name="connsiteY776" fmla="*/ 165059 h 912651"/>
                    <a:gd name="connsiteX777" fmla="*/ 56003 w 953912"/>
                    <a:gd name="connsiteY777" fmla="*/ 164306 h 912651"/>
                    <a:gd name="connsiteX778" fmla="*/ 57193 w 953912"/>
                    <a:gd name="connsiteY778" fmla="*/ 163735 h 912651"/>
                    <a:gd name="connsiteX779" fmla="*/ 59209 w 953912"/>
                    <a:gd name="connsiteY779" fmla="*/ 162448 h 912651"/>
                    <a:gd name="connsiteX780" fmla="*/ 66155 w 953912"/>
                    <a:gd name="connsiteY780" fmla="*/ 154750 h 912651"/>
                    <a:gd name="connsiteX781" fmla="*/ 67770 w 953912"/>
                    <a:gd name="connsiteY781" fmla="*/ 153511 h 912651"/>
                    <a:gd name="connsiteX782" fmla="*/ 69312 w 953912"/>
                    <a:gd name="connsiteY782" fmla="*/ 152734 h 912651"/>
                    <a:gd name="connsiteX783" fmla="*/ 75116 w 953912"/>
                    <a:gd name="connsiteY783" fmla="*/ 151507 h 912651"/>
                    <a:gd name="connsiteX784" fmla="*/ 76549 w 953912"/>
                    <a:gd name="connsiteY784" fmla="*/ 150524 h 912651"/>
                    <a:gd name="connsiteX785" fmla="*/ 77812 w 953912"/>
                    <a:gd name="connsiteY785" fmla="*/ 148860 h 912651"/>
                    <a:gd name="connsiteX786" fmla="*/ 78322 w 953912"/>
                    <a:gd name="connsiteY786" fmla="*/ 147767 h 912651"/>
                    <a:gd name="connsiteX787" fmla="*/ 78504 w 953912"/>
                    <a:gd name="connsiteY787" fmla="*/ 146650 h 912651"/>
                    <a:gd name="connsiteX788" fmla="*/ 78286 w 953912"/>
                    <a:gd name="connsiteY788" fmla="*/ 144149 h 912651"/>
                    <a:gd name="connsiteX789" fmla="*/ 78225 w 953912"/>
                    <a:gd name="connsiteY789" fmla="*/ 138782 h 912651"/>
                    <a:gd name="connsiteX790" fmla="*/ 78735 w 953912"/>
                    <a:gd name="connsiteY790" fmla="*/ 135892 h 912651"/>
                    <a:gd name="connsiteX791" fmla="*/ 78966 w 953912"/>
                    <a:gd name="connsiteY791" fmla="*/ 134884 h 912651"/>
                    <a:gd name="connsiteX792" fmla="*/ 80058 w 953912"/>
                    <a:gd name="connsiteY792" fmla="*/ 133937 h 912651"/>
                    <a:gd name="connsiteX793" fmla="*/ 82062 w 953912"/>
                    <a:gd name="connsiteY793" fmla="*/ 133050 h 912651"/>
                    <a:gd name="connsiteX794" fmla="*/ 85741 w 953912"/>
                    <a:gd name="connsiteY794" fmla="*/ 132467 h 912651"/>
                    <a:gd name="connsiteX795" fmla="*/ 91363 w 953912"/>
                    <a:gd name="connsiteY795" fmla="*/ 132528 h 912651"/>
                    <a:gd name="connsiteX796" fmla="*/ 96014 w 953912"/>
                    <a:gd name="connsiteY796" fmla="*/ 131957 h 912651"/>
                    <a:gd name="connsiteX797" fmla="*/ 96816 w 953912"/>
                    <a:gd name="connsiteY797" fmla="*/ 131520 h 912651"/>
                    <a:gd name="connsiteX798" fmla="*/ 97459 w 953912"/>
                    <a:gd name="connsiteY798" fmla="*/ 130804 h 912651"/>
                    <a:gd name="connsiteX799" fmla="*/ 97678 w 953912"/>
                    <a:gd name="connsiteY799" fmla="*/ 129164 h 912651"/>
                    <a:gd name="connsiteX800" fmla="*/ 97459 w 953912"/>
                    <a:gd name="connsiteY800" fmla="*/ 128023 h 912651"/>
                    <a:gd name="connsiteX801" fmla="*/ 96816 w 953912"/>
                    <a:gd name="connsiteY801" fmla="*/ 126614 h 912651"/>
                    <a:gd name="connsiteX802" fmla="*/ 96184 w 953912"/>
                    <a:gd name="connsiteY802" fmla="*/ 125643 h 912651"/>
                    <a:gd name="connsiteX803" fmla="*/ 95844 w 953912"/>
                    <a:gd name="connsiteY803" fmla="*/ 124744 h 912651"/>
                    <a:gd name="connsiteX804" fmla="*/ 95844 w 953912"/>
                    <a:gd name="connsiteY804" fmla="*/ 124004 h 912651"/>
                    <a:gd name="connsiteX805" fmla="*/ 96427 w 953912"/>
                    <a:gd name="connsiteY805" fmla="*/ 123263 h 912651"/>
                    <a:gd name="connsiteX806" fmla="*/ 97556 w 953912"/>
                    <a:gd name="connsiteY806" fmla="*/ 122559 h 912651"/>
                    <a:gd name="connsiteX807" fmla="*/ 107562 w 953912"/>
                    <a:gd name="connsiteY807" fmla="*/ 118977 h 912651"/>
                    <a:gd name="connsiteX808" fmla="*/ 108813 w 953912"/>
                    <a:gd name="connsiteY808" fmla="*/ 118114 h 912651"/>
                    <a:gd name="connsiteX809" fmla="*/ 109979 w 953912"/>
                    <a:gd name="connsiteY809" fmla="*/ 117167 h 912651"/>
                    <a:gd name="connsiteX810" fmla="*/ 111460 w 953912"/>
                    <a:gd name="connsiteY810" fmla="*/ 115164 h 912651"/>
                    <a:gd name="connsiteX811" fmla="*/ 112043 w 953912"/>
                    <a:gd name="connsiteY811" fmla="*/ 113609 h 912651"/>
                    <a:gd name="connsiteX812" fmla="*/ 112614 w 953912"/>
                    <a:gd name="connsiteY812" fmla="*/ 110901 h 912651"/>
                    <a:gd name="connsiteX813" fmla="*/ 113184 w 953912"/>
                    <a:gd name="connsiteY813" fmla="*/ 109845 h 912651"/>
                    <a:gd name="connsiteX814" fmla="*/ 115662 w 953912"/>
                    <a:gd name="connsiteY814" fmla="*/ 106324 h 912651"/>
                    <a:gd name="connsiteX815" fmla="*/ 117313 w 953912"/>
                    <a:gd name="connsiteY815" fmla="*/ 103470 h 912651"/>
                    <a:gd name="connsiteX816" fmla="*/ 117556 w 953912"/>
                    <a:gd name="connsiteY816" fmla="*/ 102754 h 912651"/>
                    <a:gd name="connsiteX817" fmla="*/ 117556 w 953912"/>
                    <a:gd name="connsiteY817" fmla="*/ 102159 h 912651"/>
                    <a:gd name="connsiteX818" fmla="*/ 117094 w 953912"/>
                    <a:gd name="connsiteY818" fmla="*/ 100374 h 912651"/>
                    <a:gd name="connsiteX819" fmla="*/ 114168 w 953912"/>
                    <a:gd name="connsiteY819" fmla="*/ 93185 h 912651"/>
                    <a:gd name="connsiteX820" fmla="*/ 113403 w 953912"/>
                    <a:gd name="connsiteY820" fmla="*/ 90489 h 912651"/>
                    <a:gd name="connsiteX821" fmla="*/ 113221 w 953912"/>
                    <a:gd name="connsiteY821" fmla="*/ 85705 h 912651"/>
                    <a:gd name="connsiteX822" fmla="*/ 113063 w 953912"/>
                    <a:gd name="connsiteY822" fmla="*/ 84576 h 912651"/>
                    <a:gd name="connsiteX823" fmla="*/ 113002 w 953912"/>
                    <a:gd name="connsiteY823" fmla="*/ 83750 h 912651"/>
                    <a:gd name="connsiteX824" fmla="*/ 113403 w 953912"/>
                    <a:gd name="connsiteY824" fmla="*/ 82973 h 912651"/>
                    <a:gd name="connsiteX825" fmla="*/ 114265 w 953912"/>
                    <a:gd name="connsiteY825" fmla="*/ 82487 h 912651"/>
                    <a:gd name="connsiteX826" fmla="*/ 117884 w 953912"/>
                    <a:gd name="connsiteY826" fmla="*/ 82050 h 912651"/>
                    <a:gd name="connsiteX827" fmla="*/ 124089 w 953912"/>
                    <a:gd name="connsiteY827" fmla="*/ 80641 h 912651"/>
                    <a:gd name="connsiteX828" fmla="*/ 126274 w 953912"/>
                    <a:gd name="connsiteY828" fmla="*/ 79670 h 912651"/>
                    <a:gd name="connsiteX829" fmla="*/ 131775 w 953912"/>
                    <a:gd name="connsiteY829" fmla="*/ 75566 h 912651"/>
                    <a:gd name="connsiteX830" fmla="*/ 132710 w 953912"/>
                    <a:gd name="connsiteY830" fmla="*/ 75165 h 912651"/>
                    <a:gd name="connsiteX831" fmla="*/ 133803 w 953912"/>
                    <a:gd name="connsiteY831" fmla="*/ 75359 h 912651"/>
                    <a:gd name="connsiteX832" fmla="*/ 135697 w 953912"/>
                    <a:gd name="connsiteY832" fmla="*/ 76598 h 912651"/>
                    <a:gd name="connsiteX833" fmla="*/ 138624 w 953912"/>
                    <a:gd name="connsiteY833" fmla="*/ 79293 h 912651"/>
                    <a:gd name="connsiteX834" fmla="*/ 138733 w 953912"/>
                    <a:gd name="connsiteY834" fmla="*/ 79391 h 912651"/>
                    <a:gd name="connsiteX835" fmla="*/ 139656 w 953912"/>
                    <a:gd name="connsiteY835" fmla="*/ 79901 h 912651"/>
                    <a:gd name="connsiteX836" fmla="*/ 140518 w 953912"/>
                    <a:gd name="connsiteY836" fmla="*/ 80010 h 912651"/>
                    <a:gd name="connsiteX837" fmla="*/ 145230 w 953912"/>
                    <a:gd name="connsiteY837" fmla="*/ 79123 h 912651"/>
                    <a:gd name="connsiteX838" fmla="*/ 150402 w 953912"/>
                    <a:gd name="connsiteY838" fmla="*/ 78698 h 912651"/>
                    <a:gd name="connsiteX839" fmla="*/ 153560 w 953912"/>
                    <a:gd name="connsiteY839" fmla="*/ 78953 h 912651"/>
                    <a:gd name="connsiteX840" fmla="*/ 155199 w 953912"/>
                    <a:gd name="connsiteY840" fmla="*/ 78929 h 912651"/>
                    <a:gd name="connsiteX841" fmla="*/ 158538 w 953912"/>
                    <a:gd name="connsiteY841" fmla="*/ 78128 h 912651"/>
                    <a:gd name="connsiteX842" fmla="*/ 177651 w 953912"/>
                    <a:gd name="connsiteY842" fmla="*/ 71461 h 912651"/>
                    <a:gd name="connsiteX843" fmla="*/ 180189 w 953912"/>
                    <a:gd name="connsiteY843" fmla="*/ 71655 h 912651"/>
                    <a:gd name="connsiteX844" fmla="*/ 184718 w 953912"/>
                    <a:gd name="connsiteY844" fmla="*/ 72518 h 912651"/>
                    <a:gd name="connsiteX845" fmla="*/ 196036 w 953912"/>
                    <a:gd name="connsiteY845" fmla="*/ 75918 h 912651"/>
                    <a:gd name="connsiteX846" fmla="*/ 197128 w 953912"/>
                    <a:gd name="connsiteY846" fmla="*/ 76051 h 912651"/>
                    <a:gd name="connsiteX847" fmla="*/ 201148 w 953912"/>
                    <a:gd name="connsiteY847" fmla="*/ 75626 h 912651"/>
                    <a:gd name="connsiteX848" fmla="*/ 203382 w 953912"/>
                    <a:gd name="connsiteY848" fmla="*/ 75711 h 912651"/>
                    <a:gd name="connsiteX849" fmla="*/ 204196 w 953912"/>
                    <a:gd name="connsiteY849" fmla="*/ 75942 h 912651"/>
                    <a:gd name="connsiteX850" fmla="*/ 205629 w 953912"/>
                    <a:gd name="connsiteY850" fmla="*/ 76658 h 912651"/>
                    <a:gd name="connsiteX851" fmla="*/ 206721 w 953912"/>
                    <a:gd name="connsiteY851" fmla="*/ 76719 h 912651"/>
                    <a:gd name="connsiteX852" fmla="*/ 207802 w 953912"/>
                    <a:gd name="connsiteY852" fmla="*/ 76367 h 912651"/>
                    <a:gd name="connsiteX853" fmla="*/ 210389 w 953912"/>
                    <a:gd name="connsiteY853" fmla="*/ 75104 h 912651"/>
                    <a:gd name="connsiteX854" fmla="*/ 211190 w 953912"/>
                    <a:gd name="connsiteY854" fmla="*/ 75043 h 912651"/>
                    <a:gd name="connsiteX855" fmla="*/ 211251 w 953912"/>
                    <a:gd name="connsiteY855" fmla="*/ 75019 h 912651"/>
                    <a:gd name="connsiteX856" fmla="*/ 212004 w 953912"/>
                    <a:gd name="connsiteY856" fmla="*/ 75651 h 912651"/>
                    <a:gd name="connsiteX857" fmla="*/ 213619 w 953912"/>
                    <a:gd name="connsiteY857" fmla="*/ 78006 h 912651"/>
                    <a:gd name="connsiteX858" fmla="*/ 214711 w 953912"/>
                    <a:gd name="connsiteY858" fmla="*/ 79330 h 912651"/>
                    <a:gd name="connsiteX859" fmla="*/ 215391 w 953912"/>
                    <a:gd name="connsiteY859" fmla="*/ 79925 h 912651"/>
                    <a:gd name="connsiteX860" fmla="*/ 215513 w 953912"/>
                    <a:gd name="connsiteY860" fmla="*/ 80046 h 912651"/>
                    <a:gd name="connsiteX861" fmla="*/ 216314 w 953912"/>
                    <a:gd name="connsiteY861" fmla="*/ 80471 h 912651"/>
                    <a:gd name="connsiteX862" fmla="*/ 217456 w 953912"/>
                    <a:gd name="connsiteY862" fmla="*/ 80556 h 912651"/>
                    <a:gd name="connsiteX863" fmla="*/ 222446 w 953912"/>
                    <a:gd name="connsiteY863" fmla="*/ 80386 h 912651"/>
                    <a:gd name="connsiteX864" fmla="*/ 223770 w 953912"/>
                    <a:gd name="connsiteY864" fmla="*/ 80702 h 912651"/>
                    <a:gd name="connsiteX865" fmla="*/ 225895 w 953912"/>
                    <a:gd name="connsiteY865" fmla="*/ 81710 h 912651"/>
                    <a:gd name="connsiteX866" fmla="*/ 226867 w 953912"/>
                    <a:gd name="connsiteY866" fmla="*/ 81819 h 912651"/>
                    <a:gd name="connsiteX867" fmla="*/ 227899 w 953912"/>
                    <a:gd name="connsiteY867" fmla="*/ 81625 h 912651"/>
                    <a:gd name="connsiteX868" fmla="*/ 230024 w 953912"/>
                    <a:gd name="connsiteY868" fmla="*/ 80447 h 912651"/>
                    <a:gd name="connsiteX869" fmla="*/ 233752 w 953912"/>
                    <a:gd name="connsiteY869" fmla="*/ 77290 h 912651"/>
                    <a:gd name="connsiteX870" fmla="*/ 234905 w 953912"/>
                    <a:gd name="connsiteY870" fmla="*/ 76828 h 912651"/>
                    <a:gd name="connsiteX871" fmla="*/ 236277 w 953912"/>
                    <a:gd name="connsiteY871" fmla="*/ 76950 h 912651"/>
                    <a:gd name="connsiteX872" fmla="*/ 237722 w 953912"/>
                    <a:gd name="connsiteY872" fmla="*/ 77436 h 912651"/>
                    <a:gd name="connsiteX873" fmla="*/ 241450 w 953912"/>
                    <a:gd name="connsiteY873" fmla="*/ 79123 h 912651"/>
                    <a:gd name="connsiteX874" fmla="*/ 242494 w 953912"/>
                    <a:gd name="connsiteY874" fmla="*/ 79208 h 912651"/>
                    <a:gd name="connsiteX875" fmla="*/ 243514 w 953912"/>
                    <a:gd name="connsiteY875" fmla="*/ 78893 h 912651"/>
                    <a:gd name="connsiteX876" fmla="*/ 247255 w 953912"/>
                    <a:gd name="connsiteY876" fmla="*/ 76537 h 912651"/>
                    <a:gd name="connsiteX877" fmla="*/ 247935 w 953912"/>
                    <a:gd name="connsiteY877" fmla="*/ 76403 h 912651"/>
                    <a:gd name="connsiteX878" fmla="*/ 250011 w 953912"/>
                    <a:gd name="connsiteY878" fmla="*/ 76537 h 912651"/>
                    <a:gd name="connsiteX879" fmla="*/ 255925 w 953912"/>
                    <a:gd name="connsiteY879" fmla="*/ 78067 h 912651"/>
                    <a:gd name="connsiteX880" fmla="*/ 259835 w 953912"/>
                    <a:gd name="connsiteY880" fmla="*/ 79500 h 912651"/>
                    <a:gd name="connsiteX881" fmla="*/ 263502 w 953912"/>
                    <a:gd name="connsiteY881" fmla="*/ 80301 h 912651"/>
                    <a:gd name="connsiteX882" fmla="*/ 264534 w 953912"/>
                    <a:gd name="connsiteY882" fmla="*/ 80156 h 912651"/>
                    <a:gd name="connsiteX883" fmla="*/ 265748 w 953912"/>
                    <a:gd name="connsiteY883" fmla="*/ 79609 h 912651"/>
                    <a:gd name="connsiteX884" fmla="*/ 266210 w 953912"/>
                    <a:gd name="connsiteY884" fmla="*/ 78383 h 912651"/>
                    <a:gd name="connsiteX885" fmla="*/ 266161 w 953912"/>
                    <a:gd name="connsiteY885" fmla="*/ 77181 h 912651"/>
                    <a:gd name="connsiteX886" fmla="*/ 265918 w 953912"/>
                    <a:gd name="connsiteY886" fmla="*/ 76173 h 912651"/>
                    <a:gd name="connsiteX887" fmla="*/ 265858 w 953912"/>
                    <a:gd name="connsiteY887" fmla="*/ 75335 h 912651"/>
                    <a:gd name="connsiteX888" fmla="*/ 266028 w 953912"/>
                    <a:gd name="connsiteY888" fmla="*/ 74497 h 912651"/>
                    <a:gd name="connsiteX889" fmla="*/ 266829 w 953912"/>
                    <a:gd name="connsiteY889" fmla="*/ 72603 h 912651"/>
                    <a:gd name="connsiteX890" fmla="*/ 266950 w 953912"/>
                    <a:gd name="connsiteY890" fmla="*/ 71570 h 912651"/>
                    <a:gd name="connsiteX891" fmla="*/ 266780 w 953912"/>
                    <a:gd name="connsiteY891" fmla="*/ 70599 h 912651"/>
                    <a:gd name="connsiteX892" fmla="*/ 266720 w 953912"/>
                    <a:gd name="connsiteY892" fmla="*/ 70514 h 912651"/>
                    <a:gd name="connsiteX893" fmla="*/ 266380 w 953912"/>
                    <a:gd name="connsiteY893" fmla="*/ 68826 h 912651"/>
                    <a:gd name="connsiteX894" fmla="*/ 266040 w 953912"/>
                    <a:gd name="connsiteY894" fmla="*/ 67503 h 912651"/>
                    <a:gd name="connsiteX895" fmla="*/ 266040 w 953912"/>
                    <a:gd name="connsiteY895" fmla="*/ 67466 h 912651"/>
                    <a:gd name="connsiteX896" fmla="*/ 265991 w 953912"/>
                    <a:gd name="connsiteY896" fmla="*/ 67405 h 912651"/>
                    <a:gd name="connsiteX897" fmla="*/ 264898 w 953912"/>
                    <a:gd name="connsiteY897" fmla="*/ 66203 h 912651"/>
                    <a:gd name="connsiteX898" fmla="*/ 262591 w 953912"/>
                    <a:gd name="connsiteY898" fmla="*/ 64370 h 912651"/>
                    <a:gd name="connsiteX899" fmla="*/ 262433 w 953912"/>
                    <a:gd name="connsiteY899" fmla="*/ 64248 h 912651"/>
                    <a:gd name="connsiteX900" fmla="*/ 252075 w 953912"/>
                    <a:gd name="connsiteY900" fmla="*/ 57764 h 912651"/>
                    <a:gd name="connsiteX901" fmla="*/ 251954 w 953912"/>
                    <a:gd name="connsiteY901" fmla="*/ 57618 h 912651"/>
                    <a:gd name="connsiteX902" fmla="*/ 249440 w 953912"/>
                    <a:gd name="connsiteY902" fmla="*/ 55129 h 912651"/>
                    <a:gd name="connsiteX903" fmla="*/ 249282 w 953912"/>
                    <a:gd name="connsiteY903" fmla="*/ 54971 h 912651"/>
                    <a:gd name="connsiteX904" fmla="*/ 246975 w 953912"/>
                    <a:gd name="connsiteY904" fmla="*/ 53708 h 912651"/>
                    <a:gd name="connsiteX905" fmla="*/ 244911 w 953912"/>
                    <a:gd name="connsiteY905" fmla="*/ 52943 h 912651"/>
                    <a:gd name="connsiteX906" fmla="*/ 238026 w 953912"/>
                    <a:gd name="connsiteY906" fmla="*/ 51790 h 912651"/>
                    <a:gd name="connsiteX907" fmla="*/ 236593 w 953912"/>
                    <a:gd name="connsiteY907" fmla="*/ 51267 h 912651"/>
                    <a:gd name="connsiteX908" fmla="*/ 235622 w 953912"/>
                    <a:gd name="connsiteY908" fmla="*/ 50757 h 912651"/>
                    <a:gd name="connsiteX909" fmla="*/ 235197 w 953912"/>
                    <a:gd name="connsiteY909" fmla="*/ 50502 h 912651"/>
                    <a:gd name="connsiteX910" fmla="*/ 234687 w 953912"/>
                    <a:gd name="connsiteY910" fmla="*/ 50126 h 912651"/>
                    <a:gd name="connsiteX911" fmla="*/ 233654 w 953912"/>
                    <a:gd name="connsiteY911" fmla="*/ 48985 h 912651"/>
                    <a:gd name="connsiteX912" fmla="*/ 233084 w 953912"/>
                    <a:gd name="connsiteY912" fmla="*/ 47977 h 912651"/>
                    <a:gd name="connsiteX913" fmla="*/ 233084 w 953912"/>
                    <a:gd name="connsiteY913" fmla="*/ 47916 h 912651"/>
                    <a:gd name="connsiteX914" fmla="*/ 233084 w 953912"/>
                    <a:gd name="connsiteY914" fmla="*/ 47831 h 912651"/>
                    <a:gd name="connsiteX915" fmla="*/ 232574 w 953912"/>
                    <a:gd name="connsiteY915" fmla="*/ 45245 h 912651"/>
                    <a:gd name="connsiteX916" fmla="*/ 233084 w 953912"/>
                    <a:gd name="connsiteY916" fmla="*/ 41055 h 912651"/>
                    <a:gd name="connsiteX917" fmla="*/ 233132 w 953912"/>
                    <a:gd name="connsiteY917" fmla="*/ 40849 h 912651"/>
                    <a:gd name="connsiteX918" fmla="*/ 244571 w 953912"/>
                    <a:gd name="connsiteY918" fmla="*/ 41310 h 912651"/>
                    <a:gd name="connsiteX919" fmla="*/ 256046 w 953912"/>
                    <a:gd name="connsiteY919" fmla="*/ 43302 h 912651"/>
                    <a:gd name="connsiteX920" fmla="*/ 261911 w 953912"/>
                    <a:gd name="connsiteY920" fmla="*/ 45512 h 912651"/>
                    <a:gd name="connsiteX921" fmla="*/ 277235 w 953912"/>
                    <a:gd name="connsiteY921" fmla="*/ 54485 h 912651"/>
                    <a:gd name="connsiteX922" fmla="*/ 282809 w 953912"/>
                    <a:gd name="connsiteY922" fmla="*/ 55785 h 912651"/>
                    <a:gd name="connsiteX923" fmla="*/ 288371 w 953912"/>
                    <a:gd name="connsiteY923" fmla="*/ 57764 h 912651"/>
                    <a:gd name="connsiteX924" fmla="*/ 293823 w 953912"/>
                    <a:gd name="connsiteY924" fmla="*/ 57788 h 912651"/>
                    <a:gd name="connsiteX925" fmla="*/ 304861 w 953912"/>
                    <a:gd name="connsiteY925" fmla="*/ 54413 h 912651"/>
                    <a:gd name="connsiteX926" fmla="*/ 306694 w 953912"/>
                    <a:gd name="connsiteY926" fmla="*/ 52251 h 912651"/>
                    <a:gd name="connsiteX927" fmla="*/ 307617 w 953912"/>
                    <a:gd name="connsiteY927" fmla="*/ 44844 h 912651"/>
                    <a:gd name="connsiteX928" fmla="*/ 308819 w 953912"/>
                    <a:gd name="connsiteY928" fmla="*/ 41857 h 912651"/>
                    <a:gd name="connsiteX929" fmla="*/ 311527 w 953912"/>
                    <a:gd name="connsiteY929" fmla="*/ 39938 h 912651"/>
                    <a:gd name="connsiteX930" fmla="*/ 314563 w 953912"/>
                    <a:gd name="connsiteY930" fmla="*/ 39222 h 912651"/>
                    <a:gd name="connsiteX931" fmla="*/ 326912 w 953912"/>
                    <a:gd name="connsiteY931" fmla="*/ 40655 h 912651"/>
                    <a:gd name="connsiteX932" fmla="*/ 331381 w 953912"/>
                    <a:gd name="connsiteY932" fmla="*/ 39137 h 912651"/>
                    <a:gd name="connsiteX933" fmla="*/ 340573 w 953912"/>
                    <a:gd name="connsiteY933" fmla="*/ 32203 h 912651"/>
                    <a:gd name="connsiteX934" fmla="*/ 356189 w 953912"/>
                    <a:gd name="connsiteY934" fmla="*/ 23047 h 912651"/>
                    <a:gd name="connsiteX935" fmla="*/ 361082 w 953912"/>
                    <a:gd name="connsiteY935" fmla="*/ 19319 h 912651"/>
                    <a:gd name="connsiteX936" fmla="*/ 368878 w 953912"/>
                    <a:gd name="connsiteY936" fmla="*/ 17340 h 912651"/>
                    <a:gd name="connsiteX937" fmla="*/ 372897 w 953912"/>
                    <a:gd name="connsiteY937" fmla="*/ 17085 h 912651"/>
                    <a:gd name="connsiteX938" fmla="*/ 376577 w 953912"/>
                    <a:gd name="connsiteY938" fmla="*/ 18166 h 912651"/>
                    <a:gd name="connsiteX939" fmla="*/ 377281 w 953912"/>
                    <a:gd name="connsiteY939" fmla="*/ 18688 h 912651"/>
                    <a:gd name="connsiteX940" fmla="*/ 377900 w 953912"/>
                    <a:gd name="connsiteY940" fmla="*/ 19356 h 912651"/>
                    <a:gd name="connsiteX941" fmla="*/ 381288 w 953912"/>
                    <a:gd name="connsiteY941" fmla="*/ 23970 h 912651"/>
                    <a:gd name="connsiteX942" fmla="*/ 384955 w 953912"/>
                    <a:gd name="connsiteY942" fmla="*/ 26982 h 912651"/>
                    <a:gd name="connsiteX943" fmla="*/ 388003 w 953912"/>
                    <a:gd name="connsiteY943" fmla="*/ 26180 h 912651"/>
                    <a:gd name="connsiteX944" fmla="*/ 389278 w 953912"/>
                    <a:gd name="connsiteY944" fmla="*/ 19319 h 912651"/>
                    <a:gd name="connsiteX945" fmla="*/ 390007 w 953912"/>
                    <a:gd name="connsiteY945" fmla="*/ 17680 h 912651"/>
                    <a:gd name="connsiteX946" fmla="*/ 390189 w 953912"/>
                    <a:gd name="connsiteY946" fmla="*/ 16102 h 912651"/>
                    <a:gd name="connsiteX947" fmla="*/ 389849 w 953912"/>
                    <a:gd name="connsiteY947" fmla="*/ 14644 h 912651"/>
                    <a:gd name="connsiteX948" fmla="*/ 388926 w 953912"/>
                    <a:gd name="connsiteY948" fmla="*/ 13345 h 912651"/>
                    <a:gd name="connsiteX949" fmla="*/ 392533 w 953912"/>
                    <a:gd name="connsiteY949" fmla="*/ 11633 h 912651"/>
                    <a:gd name="connsiteX950" fmla="*/ 404603 w 953912"/>
                    <a:gd name="connsiteY950" fmla="*/ 8816 h 912651"/>
                    <a:gd name="connsiteX951" fmla="*/ 411415 w 953912"/>
                    <a:gd name="connsiteY951" fmla="*/ 6290 h 912651"/>
                    <a:gd name="connsiteX952" fmla="*/ 410929 w 953912"/>
                    <a:gd name="connsiteY952" fmla="*/ 0 h 912651"/>
                    <a:gd name="connsiteX953" fmla="*/ 409314 w 953912"/>
                    <a:gd name="connsiteY953" fmla="*/ 595 h 912651"/>
                    <a:gd name="connsiteX954" fmla="*/ 402842 w 953912"/>
                    <a:gd name="connsiteY954" fmla="*/ 2987 h 912651"/>
                    <a:gd name="connsiteX955" fmla="*/ 391148 w 953912"/>
                    <a:gd name="connsiteY955" fmla="*/ 5719 h 912651"/>
                    <a:gd name="connsiteX956" fmla="*/ 390517 w 953912"/>
                    <a:gd name="connsiteY956" fmla="*/ 5865 h 912651"/>
                    <a:gd name="connsiteX957" fmla="*/ 389934 w 953912"/>
                    <a:gd name="connsiteY957" fmla="*/ 6132 h 912651"/>
                    <a:gd name="connsiteX958" fmla="*/ 386328 w 953912"/>
                    <a:gd name="connsiteY958" fmla="*/ 7844 h 912651"/>
                    <a:gd name="connsiteX959" fmla="*/ 379783 w 953912"/>
                    <a:gd name="connsiteY959" fmla="*/ 10941 h 912651"/>
                    <a:gd name="connsiteX960" fmla="*/ 383826 w 953912"/>
                    <a:gd name="connsiteY960" fmla="*/ 16636 h 912651"/>
                    <a:gd name="connsiteX961" fmla="*/ 383741 w 953912"/>
                    <a:gd name="connsiteY961" fmla="*/ 16842 h 912651"/>
                    <a:gd name="connsiteX962" fmla="*/ 383693 w 953912"/>
                    <a:gd name="connsiteY962" fmla="*/ 16964 h 912651"/>
                    <a:gd name="connsiteX963" fmla="*/ 382806 w 953912"/>
                    <a:gd name="connsiteY963" fmla="*/ 15762 h 912651"/>
                    <a:gd name="connsiteX964" fmla="*/ 382588 w 953912"/>
                    <a:gd name="connsiteY964" fmla="*/ 15470 h 912651"/>
                    <a:gd name="connsiteX965" fmla="*/ 382333 w 953912"/>
                    <a:gd name="connsiteY965" fmla="*/ 15215 h 912651"/>
                    <a:gd name="connsiteX966" fmla="*/ 381713 w 953912"/>
                    <a:gd name="connsiteY966" fmla="*/ 14547 h 912651"/>
                    <a:gd name="connsiteX967" fmla="*/ 381349 w 953912"/>
                    <a:gd name="connsiteY967" fmla="*/ 14147 h 912651"/>
                    <a:gd name="connsiteX968" fmla="*/ 380912 w 953912"/>
                    <a:gd name="connsiteY968" fmla="*/ 13831 h 912651"/>
                    <a:gd name="connsiteX969" fmla="*/ 380208 w 953912"/>
                    <a:gd name="connsiteY969" fmla="*/ 13309 h 912651"/>
                    <a:gd name="connsiteX970" fmla="*/ 379333 w 953912"/>
                    <a:gd name="connsiteY970" fmla="*/ 12653 h 912651"/>
                    <a:gd name="connsiteX971" fmla="*/ 378289 w 953912"/>
                    <a:gd name="connsiteY971" fmla="*/ 12349 h 912651"/>
                    <a:gd name="connsiteX972" fmla="*/ 374610 w 953912"/>
                    <a:gd name="connsiteY972" fmla="*/ 11269 h 912651"/>
                    <a:gd name="connsiteX973" fmla="*/ 373590 w 953912"/>
                    <a:gd name="connsiteY973" fmla="*/ 10965 h 912651"/>
                    <a:gd name="connsiteX974" fmla="*/ 372521 w 953912"/>
                    <a:gd name="connsiteY974" fmla="*/ 11026 h 912651"/>
                    <a:gd name="connsiteX975" fmla="*/ 368502 w 953912"/>
                    <a:gd name="connsiteY975" fmla="*/ 11281 h 912651"/>
                    <a:gd name="connsiteX976" fmla="*/ 367919 w 953912"/>
                    <a:gd name="connsiteY976" fmla="*/ 11317 h 912651"/>
                    <a:gd name="connsiteX977" fmla="*/ 367373 w 953912"/>
                    <a:gd name="connsiteY977" fmla="*/ 11463 h 912651"/>
                    <a:gd name="connsiteX978" fmla="*/ 359577 w 953912"/>
                    <a:gd name="connsiteY978" fmla="*/ 13442 h 912651"/>
                    <a:gd name="connsiteX979" fmla="*/ 358375 w 953912"/>
                    <a:gd name="connsiteY979" fmla="*/ 13746 h 912651"/>
                    <a:gd name="connsiteX980" fmla="*/ 357391 w 953912"/>
                    <a:gd name="connsiteY980" fmla="*/ 14499 h 912651"/>
                    <a:gd name="connsiteX981" fmla="*/ 352801 w 953912"/>
                    <a:gd name="connsiteY981" fmla="*/ 18008 h 912651"/>
                    <a:gd name="connsiteX982" fmla="*/ 337501 w 953912"/>
                    <a:gd name="connsiteY982" fmla="*/ 26982 h 912651"/>
                    <a:gd name="connsiteX983" fmla="*/ 337197 w 953912"/>
                    <a:gd name="connsiteY983" fmla="*/ 27139 h 912651"/>
                    <a:gd name="connsiteX984" fmla="*/ 336918 w 953912"/>
                    <a:gd name="connsiteY984" fmla="*/ 27346 h 912651"/>
                    <a:gd name="connsiteX985" fmla="*/ 328515 w 953912"/>
                    <a:gd name="connsiteY985" fmla="*/ 33685 h 912651"/>
                    <a:gd name="connsiteX986" fmla="*/ 326257 w 953912"/>
                    <a:gd name="connsiteY986" fmla="*/ 34450 h 912651"/>
                    <a:gd name="connsiteX987" fmla="*/ 315267 w 953912"/>
                    <a:gd name="connsiteY987" fmla="*/ 33187 h 912651"/>
                    <a:gd name="connsiteX988" fmla="*/ 314211 w 953912"/>
                    <a:gd name="connsiteY988" fmla="*/ 33065 h 912651"/>
                    <a:gd name="connsiteX989" fmla="*/ 313179 w 953912"/>
                    <a:gd name="connsiteY989" fmla="*/ 33308 h 912651"/>
                    <a:gd name="connsiteX990" fmla="*/ 310143 w 953912"/>
                    <a:gd name="connsiteY990" fmla="*/ 34037 h 912651"/>
                    <a:gd name="connsiteX991" fmla="*/ 309001 w 953912"/>
                    <a:gd name="connsiteY991" fmla="*/ 34304 h 912651"/>
                    <a:gd name="connsiteX992" fmla="*/ 308030 w 953912"/>
                    <a:gd name="connsiteY992" fmla="*/ 34984 h 912651"/>
                    <a:gd name="connsiteX993" fmla="*/ 305322 w 953912"/>
                    <a:gd name="connsiteY993" fmla="*/ 36902 h 912651"/>
                    <a:gd name="connsiteX994" fmla="*/ 303865 w 953912"/>
                    <a:gd name="connsiteY994" fmla="*/ 37935 h 912651"/>
                    <a:gd name="connsiteX995" fmla="*/ 303185 w 953912"/>
                    <a:gd name="connsiteY995" fmla="*/ 39586 h 912651"/>
                    <a:gd name="connsiteX996" fmla="*/ 301983 w 953912"/>
                    <a:gd name="connsiteY996" fmla="*/ 42573 h 912651"/>
                    <a:gd name="connsiteX997" fmla="*/ 301691 w 953912"/>
                    <a:gd name="connsiteY997" fmla="*/ 43314 h 912651"/>
                    <a:gd name="connsiteX998" fmla="*/ 301594 w 953912"/>
                    <a:gd name="connsiteY998" fmla="*/ 44091 h 912651"/>
                    <a:gd name="connsiteX999" fmla="*/ 300951 w 953912"/>
                    <a:gd name="connsiteY999" fmla="*/ 49264 h 912651"/>
                    <a:gd name="connsiteX1000" fmla="*/ 292924 w 953912"/>
                    <a:gd name="connsiteY1000" fmla="*/ 51717 h 912651"/>
                    <a:gd name="connsiteX1001" fmla="*/ 289427 w 953912"/>
                    <a:gd name="connsiteY1001" fmla="*/ 51705 h 912651"/>
                    <a:gd name="connsiteX1002" fmla="*/ 284837 w 953912"/>
                    <a:gd name="connsiteY1002" fmla="*/ 50065 h 912651"/>
                    <a:gd name="connsiteX1003" fmla="*/ 284521 w 953912"/>
                    <a:gd name="connsiteY1003" fmla="*/ 49956 h 912651"/>
                    <a:gd name="connsiteX1004" fmla="*/ 284181 w 953912"/>
                    <a:gd name="connsiteY1004" fmla="*/ 49883 h 912651"/>
                    <a:gd name="connsiteX1005" fmla="*/ 279506 w 953912"/>
                    <a:gd name="connsiteY1005" fmla="*/ 48790 h 912651"/>
                    <a:gd name="connsiteX1006" fmla="*/ 264971 w 953912"/>
                    <a:gd name="connsiteY1006" fmla="*/ 40278 h 912651"/>
                    <a:gd name="connsiteX1007" fmla="*/ 264522 w 953912"/>
                    <a:gd name="connsiteY1007" fmla="*/ 40023 h 912651"/>
                    <a:gd name="connsiteX1008" fmla="*/ 264036 w 953912"/>
                    <a:gd name="connsiteY1008" fmla="*/ 39841 h 912651"/>
                    <a:gd name="connsiteX1009" fmla="*/ 258171 w 953912"/>
                    <a:gd name="connsiteY1009" fmla="*/ 37631 h 912651"/>
                    <a:gd name="connsiteX1010" fmla="*/ 257637 w 953912"/>
                    <a:gd name="connsiteY1010" fmla="*/ 37425 h 912651"/>
                    <a:gd name="connsiteX1011" fmla="*/ 257066 w 953912"/>
                    <a:gd name="connsiteY1011" fmla="*/ 37327 h 912651"/>
                    <a:gd name="connsiteX1012" fmla="*/ 245591 w 953912"/>
                    <a:gd name="connsiteY1012" fmla="*/ 35336 h 912651"/>
                    <a:gd name="connsiteX1013" fmla="*/ 245202 w 953912"/>
                    <a:gd name="connsiteY1013" fmla="*/ 35263 h 912651"/>
                    <a:gd name="connsiteX1014" fmla="*/ 244802 w 953912"/>
                    <a:gd name="connsiteY1014" fmla="*/ 35251 h 912651"/>
                    <a:gd name="connsiteX1015" fmla="*/ 233363 w 953912"/>
                    <a:gd name="connsiteY1015" fmla="*/ 34790 h 912651"/>
                    <a:gd name="connsiteX1016" fmla="*/ 228324 w 953912"/>
                    <a:gd name="connsiteY1016" fmla="*/ 34583 h 912651"/>
                    <a:gd name="connsiteX1017" fmla="*/ 227194 w 953912"/>
                    <a:gd name="connsiteY1017" fmla="*/ 39489 h 912651"/>
                    <a:gd name="connsiteX1018" fmla="*/ 227122 w 953912"/>
                    <a:gd name="connsiteY1018" fmla="*/ 39792 h 912651"/>
                    <a:gd name="connsiteX1019" fmla="*/ 227049 w 953912"/>
                    <a:gd name="connsiteY1019" fmla="*/ 40315 h 912651"/>
                    <a:gd name="connsiteX1020" fmla="*/ 226539 w 953912"/>
                    <a:gd name="connsiteY1020" fmla="*/ 44504 h 912651"/>
                    <a:gd name="connsiteX1021" fmla="*/ 226417 w 953912"/>
                    <a:gd name="connsiteY1021" fmla="*/ 45463 h 912651"/>
                    <a:gd name="connsiteX1022" fmla="*/ 226599 w 953912"/>
                    <a:gd name="connsiteY1022" fmla="*/ 46410 h 912651"/>
                    <a:gd name="connsiteX1023" fmla="*/ 227000 w 953912"/>
                    <a:gd name="connsiteY1023" fmla="*/ 48414 h 912651"/>
                    <a:gd name="connsiteX1024" fmla="*/ 227000 w 953912"/>
                    <a:gd name="connsiteY1024" fmla="*/ 49434 h 912651"/>
                    <a:gd name="connsiteX1025" fmla="*/ 227814 w 953912"/>
                    <a:gd name="connsiteY1025" fmla="*/ 51000 h 912651"/>
                    <a:gd name="connsiteX1026" fmla="*/ 228384 w 953912"/>
                    <a:gd name="connsiteY1026" fmla="*/ 52008 h 912651"/>
                    <a:gd name="connsiteX1027" fmla="*/ 228700 w 953912"/>
                    <a:gd name="connsiteY1027" fmla="*/ 52567 h 912651"/>
                    <a:gd name="connsiteX1028" fmla="*/ 229137 w 953912"/>
                    <a:gd name="connsiteY1028" fmla="*/ 53052 h 912651"/>
                    <a:gd name="connsiteX1029" fmla="*/ 230169 w 953912"/>
                    <a:gd name="connsiteY1029" fmla="*/ 54194 h 912651"/>
                    <a:gd name="connsiteX1030" fmla="*/ 230594 w 953912"/>
                    <a:gd name="connsiteY1030" fmla="*/ 54655 h 912651"/>
                    <a:gd name="connsiteX1031" fmla="*/ 231104 w 953912"/>
                    <a:gd name="connsiteY1031" fmla="*/ 55020 h 912651"/>
                    <a:gd name="connsiteX1032" fmla="*/ 231614 w 953912"/>
                    <a:gd name="connsiteY1032" fmla="*/ 55396 h 912651"/>
                    <a:gd name="connsiteX1033" fmla="*/ 231833 w 953912"/>
                    <a:gd name="connsiteY1033" fmla="*/ 55554 h 912651"/>
                    <a:gd name="connsiteX1034" fmla="*/ 232489 w 953912"/>
                    <a:gd name="connsiteY1034" fmla="*/ 55943 h 912651"/>
                    <a:gd name="connsiteX1035" fmla="*/ 233776 w 953912"/>
                    <a:gd name="connsiteY1035" fmla="*/ 56635 h 912651"/>
                    <a:gd name="connsiteX1036" fmla="*/ 234140 w 953912"/>
                    <a:gd name="connsiteY1036" fmla="*/ 56829 h 912651"/>
                    <a:gd name="connsiteX1037" fmla="*/ 234529 w 953912"/>
                    <a:gd name="connsiteY1037" fmla="*/ 56963 h 912651"/>
                    <a:gd name="connsiteX1038" fmla="*/ 235962 w 953912"/>
                    <a:gd name="connsiteY1038" fmla="*/ 57485 h 912651"/>
                    <a:gd name="connsiteX1039" fmla="*/ 236484 w 953912"/>
                    <a:gd name="connsiteY1039" fmla="*/ 57679 h 912651"/>
                    <a:gd name="connsiteX1040" fmla="*/ 237030 w 953912"/>
                    <a:gd name="connsiteY1040" fmla="*/ 57776 h 912651"/>
                    <a:gd name="connsiteX1041" fmla="*/ 243357 w 953912"/>
                    <a:gd name="connsiteY1041" fmla="*/ 58833 h 912651"/>
                    <a:gd name="connsiteX1042" fmla="*/ 244462 w 953912"/>
                    <a:gd name="connsiteY1042" fmla="*/ 59245 h 912651"/>
                    <a:gd name="connsiteX1043" fmla="*/ 245640 w 953912"/>
                    <a:gd name="connsiteY1043" fmla="*/ 59889 h 912651"/>
                    <a:gd name="connsiteX1044" fmla="*/ 247716 w 953912"/>
                    <a:gd name="connsiteY1044" fmla="*/ 61941 h 912651"/>
                    <a:gd name="connsiteX1045" fmla="*/ 248190 w 953912"/>
                    <a:gd name="connsiteY1045" fmla="*/ 62415 h 912651"/>
                    <a:gd name="connsiteX1046" fmla="*/ 248870 w 953912"/>
                    <a:gd name="connsiteY1046" fmla="*/ 62913 h 912651"/>
                    <a:gd name="connsiteX1047" fmla="*/ 259215 w 953912"/>
                    <a:gd name="connsiteY1047" fmla="*/ 69397 h 912651"/>
                    <a:gd name="connsiteX1048" fmla="*/ 260551 w 953912"/>
                    <a:gd name="connsiteY1048" fmla="*/ 70490 h 912651"/>
                    <a:gd name="connsiteX1049" fmla="*/ 260733 w 953912"/>
                    <a:gd name="connsiteY1049" fmla="*/ 71473 h 912651"/>
                    <a:gd name="connsiteX1050" fmla="*/ 260442 w 953912"/>
                    <a:gd name="connsiteY1050" fmla="*/ 72129 h 912651"/>
                    <a:gd name="connsiteX1051" fmla="*/ 260199 w 953912"/>
                    <a:gd name="connsiteY1051" fmla="*/ 72688 h 912651"/>
                    <a:gd name="connsiteX1052" fmla="*/ 260114 w 953912"/>
                    <a:gd name="connsiteY1052" fmla="*/ 73137 h 912651"/>
                    <a:gd name="connsiteX1053" fmla="*/ 258025 w 953912"/>
                    <a:gd name="connsiteY1053" fmla="*/ 72360 h 912651"/>
                    <a:gd name="connsiteX1054" fmla="*/ 251529 w 953912"/>
                    <a:gd name="connsiteY1054" fmla="*/ 70648 h 912651"/>
                    <a:gd name="connsiteX1055" fmla="*/ 250982 w 953912"/>
                    <a:gd name="connsiteY1055" fmla="*/ 70514 h 912651"/>
                    <a:gd name="connsiteX1056" fmla="*/ 250400 w 953912"/>
                    <a:gd name="connsiteY1056" fmla="*/ 70478 h 912651"/>
                    <a:gd name="connsiteX1057" fmla="*/ 248323 w 953912"/>
                    <a:gd name="connsiteY1057" fmla="*/ 70344 h 912651"/>
                    <a:gd name="connsiteX1058" fmla="*/ 247558 w 953912"/>
                    <a:gd name="connsiteY1058" fmla="*/ 70295 h 912651"/>
                    <a:gd name="connsiteX1059" fmla="*/ 246805 w 953912"/>
                    <a:gd name="connsiteY1059" fmla="*/ 70441 h 912651"/>
                    <a:gd name="connsiteX1060" fmla="*/ 246125 w 953912"/>
                    <a:gd name="connsiteY1060" fmla="*/ 70575 h 912651"/>
                    <a:gd name="connsiteX1061" fmla="*/ 244984 w 953912"/>
                    <a:gd name="connsiteY1061" fmla="*/ 70793 h 912651"/>
                    <a:gd name="connsiteX1062" fmla="*/ 244012 w 953912"/>
                    <a:gd name="connsiteY1062" fmla="*/ 71400 h 912651"/>
                    <a:gd name="connsiteX1063" fmla="*/ 241972 w 953912"/>
                    <a:gd name="connsiteY1063" fmla="*/ 72688 h 912651"/>
                    <a:gd name="connsiteX1064" fmla="*/ 240224 w 953912"/>
                    <a:gd name="connsiteY1064" fmla="*/ 71898 h 912651"/>
                    <a:gd name="connsiteX1065" fmla="*/ 239944 w 953912"/>
                    <a:gd name="connsiteY1065" fmla="*/ 71777 h 912651"/>
                    <a:gd name="connsiteX1066" fmla="*/ 239653 w 953912"/>
                    <a:gd name="connsiteY1066" fmla="*/ 71680 h 912651"/>
                    <a:gd name="connsiteX1067" fmla="*/ 238208 w 953912"/>
                    <a:gd name="connsiteY1067" fmla="*/ 71194 h 912651"/>
                    <a:gd name="connsiteX1068" fmla="*/ 237516 w 953912"/>
                    <a:gd name="connsiteY1068" fmla="*/ 70963 h 912651"/>
                    <a:gd name="connsiteX1069" fmla="*/ 236787 w 953912"/>
                    <a:gd name="connsiteY1069" fmla="*/ 70903 h 912651"/>
                    <a:gd name="connsiteX1070" fmla="*/ 235415 w 953912"/>
                    <a:gd name="connsiteY1070" fmla="*/ 70781 h 912651"/>
                    <a:gd name="connsiteX1071" fmla="*/ 233994 w 953912"/>
                    <a:gd name="connsiteY1071" fmla="*/ 70660 h 912651"/>
                    <a:gd name="connsiteX1072" fmla="*/ 232671 w 953912"/>
                    <a:gd name="connsiteY1072" fmla="*/ 71182 h 912651"/>
                    <a:gd name="connsiteX1073" fmla="*/ 231517 w 953912"/>
                    <a:gd name="connsiteY1073" fmla="*/ 71631 h 912651"/>
                    <a:gd name="connsiteX1074" fmla="*/ 230594 w 953912"/>
                    <a:gd name="connsiteY1074" fmla="*/ 72008 h 912651"/>
                    <a:gd name="connsiteX1075" fmla="*/ 229829 w 953912"/>
                    <a:gd name="connsiteY1075" fmla="*/ 72651 h 912651"/>
                    <a:gd name="connsiteX1076" fmla="*/ 226648 w 953912"/>
                    <a:gd name="connsiteY1076" fmla="*/ 75347 h 912651"/>
                    <a:gd name="connsiteX1077" fmla="*/ 226381 w 953912"/>
                    <a:gd name="connsiteY1077" fmla="*/ 75213 h 912651"/>
                    <a:gd name="connsiteX1078" fmla="*/ 225798 w 953912"/>
                    <a:gd name="connsiteY1078" fmla="*/ 74946 h 912651"/>
                    <a:gd name="connsiteX1079" fmla="*/ 225179 w 953912"/>
                    <a:gd name="connsiteY1079" fmla="*/ 74788 h 912651"/>
                    <a:gd name="connsiteX1080" fmla="*/ 223855 w 953912"/>
                    <a:gd name="connsiteY1080" fmla="*/ 74485 h 912651"/>
                    <a:gd name="connsiteX1081" fmla="*/ 223066 w 953912"/>
                    <a:gd name="connsiteY1081" fmla="*/ 74290 h 912651"/>
                    <a:gd name="connsiteX1082" fmla="*/ 222252 w 953912"/>
                    <a:gd name="connsiteY1082" fmla="*/ 74315 h 912651"/>
                    <a:gd name="connsiteX1083" fmla="*/ 218549 w 953912"/>
                    <a:gd name="connsiteY1083" fmla="*/ 74436 h 912651"/>
                    <a:gd name="connsiteX1084" fmla="*/ 218294 w 953912"/>
                    <a:gd name="connsiteY1084" fmla="*/ 74120 h 912651"/>
                    <a:gd name="connsiteX1085" fmla="*/ 217019 w 953912"/>
                    <a:gd name="connsiteY1085" fmla="*/ 72214 h 912651"/>
                    <a:gd name="connsiteX1086" fmla="*/ 216569 w 953912"/>
                    <a:gd name="connsiteY1086" fmla="*/ 71558 h 912651"/>
                    <a:gd name="connsiteX1087" fmla="*/ 215962 w 953912"/>
                    <a:gd name="connsiteY1087" fmla="*/ 71036 h 912651"/>
                    <a:gd name="connsiteX1088" fmla="*/ 215221 w 953912"/>
                    <a:gd name="connsiteY1088" fmla="*/ 70405 h 912651"/>
                    <a:gd name="connsiteX1089" fmla="*/ 212429 w 953912"/>
                    <a:gd name="connsiteY1089" fmla="*/ 68013 h 912651"/>
                    <a:gd name="connsiteX1090" fmla="*/ 209806 w 953912"/>
                    <a:gd name="connsiteY1090" fmla="*/ 69057 h 912651"/>
                    <a:gd name="connsiteX1091" fmla="*/ 208786 w 953912"/>
                    <a:gd name="connsiteY1091" fmla="*/ 69142 h 912651"/>
                    <a:gd name="connsiteX1092" fmla="*/ 207754 w 953912"/>
                    <a:gd name="connsiteY1092" fmla="*/ 69640 h 912651"/>
                    <a:gd name="connsiteX1093" fmla="*/ 206466 w 953912"/>
                    <a:gd name="connsiteY1093" fmla="*/ 70271 h 912651"/>
                    <a:gd name="connsiteX1094" fmla="*/ 206430 w 953912"/>
                    <a:gd name="connsiteY1094" fmla="*/ 70259 h 912651"/>
                    <a:gd name="connsiteX1095" fmla="*/ 205884 w 953912"/>
                    <a:gd name="connsiteY1095" fmla="*/ 70101 h 912651"/>
                    <a:gd name="connsiteX1096" fmla="*/ 205070 w 953912"/>
                    <a:gd name="connsiteY1096" fmla="*/ 69870 h 912651"/>
                    <a:gd name="connsiteX1097" fmla="*/ 204366 w 953912"/>
                    <a:gd name="connsiteY1097" fmla="*/ 69664 h 912651"/>
                    <a:gd name="connsiteX1098" fmla="*/ 203637 w 953912"/>
                    <a:gd name="connsiteY1098" fmla="*/ 69640 h 912651"/>
                    <a:gd name="connsiteX1099" fmla="*/ 201403 w 953912"/>
                    <a:gd name="connsiteY1099" fmla="*/ 69555 h 912651"/>
                    <a:gd name="connsiteX1100" fmla="*/ 200954 w 953912"/>
                    <a:gd name="connsiteY1100" fmla="*/ 69543 h 912651"/>
                    <a:gd name="connsiteX1101" fmla="*/ 200516 w 953912"/>
                    <a:gd name="connsiteY1101" fmla="*/ 69591 h 912651"/>
                    <a:gd name="connsiteX1102" fmla="*/ 197226 w 953912"/>
                    <a:gd name="connsiteY1102" fmla="*/ 69931 h 912651"/>
                    <a:gd name="connsiteX1103" fmla="*/ 186467 w 953912"/>
                    <a:gd name="connsiteY1103" fmla="*/ 66689 h 912651"/>
                    <a:gd name="connsiteX1104" fmla="*/ 186163 w 953912"/>
                    <a:gd name="connsiteY1104" fmla="*/ 66604 h 912651"/>
                    <a:gd name="connsiteX1105" fmla="*/ 185860 w 953912"/>
                    <a:gd name="connsiteY1105" fmla="*/ 66543 h 912651"/>
                    <a:gd name="connsiteX1106" fmla="*/ 181330 w 953912"/>
                    <a:gd name="connsiteY1106" fmla="*/ 65693 h 912651"/>
                    <a:gd name="connsiteX1107" fmla="*/ 181003 w 953912"/>
                    <a:gd name="connsiteY1107" fmla="*/ 65633 h 912651"/>
                    <a:gd name="connsiteX1108" fmla="*/ 180675 w 953912"/>
                    <a:gd name="connsiteY1108" fmla="*/ 65608 h 912651"/>
                    <a:gd name="connsiteX1109" fmla="*/ 178125 w 953912"/>
                    <a:gd name="connsiteY1109" fmla="*/ 65402 h 912651"/>
                    <a:gd name="connsiteX1110" fmla="*/ 176862 w 953912"/>
                    <a:gd name="connsiteY1110" fmla="*/ 65305 h 912651"/>
                    <a:gd name="connsiteX1111" fmla="*/ 175660 w 953912"/>
                    <a:gd name="connsiteY1111" fmla="*/ 65730 h 912651"/>
                    <a:gd name="connsiteX1112" fmla="*/ 156838 w 953912"/>
                    <a:gd name="connsiteY1112" fmla="*/ 72299 h 912651"/>
                    <a:gd name="connsiteX1113" fmla="*/ 154446 w 953912"/>
                    <a:gd name="connsiteY1113" fmla="*/ 72870 h 912651"/>
                    <a:gd name="connsiteX1114" fmla="*/ 153462 w 953912"/>
                    <a:gd name="connsiteY1114" fmla="*/ 72882 h 912651"/>
                    <a:gd name="connsiteX1115" fmla="*/ 150888 w 953912"/>
                    <a:gd name="connsiteY1115" fmla="*/ 72639 h 912651"/>
                    <a:gd name="connsiteX1116" fmla="*/ 150402 w 953912"/>
                    <a:gd name="connsiteY1116" fmla="*/ 72603 h 912651"/>
                    <a:gd name="connsiteX1117" fmla="*/ 149905 w 953912"/>
                    <a:gd name="connsiteY1117" fmla="*/ 72639 h 912651"/>
                    <a:gd name="connsiteX1118" fmla="*/ 144732 w 953912"/>
                    <a:gd name="connsiteY1118" fmla="*/ 73064 h 912651"/>
                    <a:gd name="connsiteX1119" fmla="*/ 144416 w 953912"/>
                    <a:gd name="connsiteY1119" fmla="*/ 73100 h 912651"/>
                    <a:gd name="connsiteX1120" fmla="*/ 144100 w 953912"/>
                    <a:gd name="connsiteY1120" fmla="*/ 73161 h 912651"/>
                    <a:gd name="connsiteX1121" fmla="*/ 141453 w 953912"/>
                    <a:gd name="connsiteY1121" fmla="*/ 73647 h 912651"/>
                    <a:gd name="connsiteX1122" fmla="*/ 139802 w 953912"/>
                    <a:gd name="connsiteY1122" fmla="*/ 72129 h 912651"/>
                    <a:gd name="connsiteX1123" fmla="*/ 139437 w 953912"/>
                    <a:gd name="connsiteY1123" fmla="*/ 71789 h 912651"/>
                    <a:gd name="connsiteX1124" fmla="*/ 139012 w 953912"/>
                    <a:gd name="connsiteY1124" fmla="*/ 71522 h 912651"/>
                    <a:gd name="connsiteX1125" fmla="*/ 137118 w 953912"/>
                    <a:gd name="connsiteY1125" fmla="*/ 70283 h 912651"/>
                    <a:gd name="connsiteX1126" fmla="*/ 136086 w 953912"/>
                    <a:gd name="connsiteY1126" fmla="*/ 69603 h 912651"/>
                    <a:gd name="connsiteX1127" fmla="*/ 134872 w 953912"/>
                    <a:gd name="connsiteY1127" fmla="*/ 69385 h 912651"/>
                    <a:gd name="connsiteX1128" fmla="*/ 133779 w 953912"/>
                    <a:gd name="connsiteY1128" fmla="*/ 69190 h 912651"/>
                    <a:gd name="connsiteX1129" fmla="*/ 131982 w 953912"/>
                    <a:gd name="connsiteY1129" fmla="*/ 68863 h 912651"/>
                    <a:gd name="connsiteX1130" fmla="*/ 130318 w 953912"/>
                    <a:gd name="connsiteY1130" fmla="*/ 69579 h 912651"/>
                    <a:gd name="connsiteX1131" fmla="*/ 129395 w 953912"/>
                    <a:gd name="connsiteY1131" fmla="*/ 69980 h 912651"/>
                    <a:gd name="connsiteX1132" fmla="*/ 128727 w 953912"/>
                    <a:gd name="connsiteY1132" fmla="*/ 70259 h 912651"/>
                    <a:gd name="connsiteX1133" fmla="*/ 128157 w 953912"/>
                    <a:gd name="connsiteY1133" fmla="*/ 70696 h 912651"/>
                    <a:gd name="connsiteX1134" fmla="*/ 123202 w 953912"/>
                    <a:gd name="connsiteY1134" fmla="*/ 74400 h 912651"/>
                    <a:gd name="connsiteX1135" fmla="*/ 122182 w 953912"/>
                    <a:gd name="connsiteY1135" fmla="*/ 74849 h 912651"/>
                    <a:gd name="connsiteX1136" fmla="*/ 116852 w 953912"/>
                    <a:gd name="connsiteY1136" fmla="*/ 76063 h 912651"/>
                    <a:gd name="connsiteX1137" fmla="*/ 113549 w 953912"/>
                    <a:gd name="connsiteY1137" fmla="*/ 76464 h 912651"/>
                    <a:gd name="connsiteX1138" fmla="*/ 112346 w 953912"/>
                    <a:gd name="connsiteY1138" fmla="*/ 76610 h 912651"/>
                    <a:gd name="connsiteX1139" fmla="*/ 111302 w 953912"/>
                    <a:gd name="connsiteY1139" fmla="*/ 77193 h 912651"/>
                    <a:gd name="connsiteX1140" fmla="*/ 110440 w 953912"/>
                    <a:gd name="connsiteY1140" fmla="*/ 77678 h 912651"/>
                    <a:gd name="connsiteX1141" fmla="*/ 108837 w 953912"/>
                    <a:gd name="connsiteY1141" fmla="*/ 78577 h 912651"/>
                    <a:gd name="connsiteX1142" fmla="*/ 107999 w 953912"/>
                    <a:gd name="connsiteY1142" fmla="*/ 80216 h 912651"/>
                    <a:gd name="connsiteX1143" fmla="*/ 107599 w 953912"/>
                    <a:gd name="connsiteY1143" fmla="*/ 80993 h 912651"/>
                    <a:gd name="connsiteX1144" fmla="*/ 106834 w 953912"/>
                    <a:gd name="connsiteY1144" fmla="*/ 82499 h 912651"/>
                    <a:gd name="connsiteX1145" fmla="*/ 106955 w 953912"/>
                    <a:gd name="connsiteY1145" fmla="*/ 84187 h 912651"/>
                    <a:gd name="connsiteX1146" fmla="*/ 107016 w 953912"/>
                    <a:gd name="connsiteY1146" fmla="*/ 85001 h 912651"/>
                    <a:gd name="connsiteX1147" fmla="*/ 107174 w 953912"/>
                    <a:gd name="connsiteY1147" fmla="*/ 86215 h 912651"/>
                    <a:gd name="connsiteX1148" fmla="*/ 107344 w 953912"/>
                    <a:gd name="connsiteY1148" fmla="*/ 90720 h 912651"/>
                    <a:gd name="connsiteX1149" fmla="*/ 107368 w 953912"/>
                    <a:gd name="connsiteY1149" fmla="*/ 91436 h 912651"/>
                    <a:gd name="connsiteX1150" fmla="*/ 107562 w 953912"/>
                    <a:gd name="connsiteY1150" fmla="*/ 92128 h 912651"/>
                    <a:gd name="connsiteX1151" fmla="*/ 108315 w 953912"/>
                    <a:gd name="connsiteY1151" fmla="*/ 94824 h 912651"/>
                    <a:gd name="connsiteX1152" fmla="*/ 108412 w 953912"/>
                    <a:gd name="connsiteY1152" fmla="*/ 95152 h 912651"/>
                    <a:gd name="connsiteX1153" fmla="*/ 108546 w 953912"/>
                    <a:gd name="connsiteY1153" fmla="*/ 95468 h 912651"/>
                    <a:gd name="connsiteX1154" fmla="*/ 111181 w 953912"/>
                    <a:gd name="connsiteY1154" fmla="*/ 101940 h 912651"/>
                    <a:gd name="connsiteX1155" fmla="*/ 110416 w 953912"/>
                    <a:gd name="connsiteY1155" fmla="*/ 103264 h 912651"/>
                    <a:gd name="connsiteX1156" fmla="*/ 108230 w 953912"/>
                    <a:gd name="connsiteY1156" fmla="*/ 106336 h 912651"/>
                    <a:gd name="connsiteX1157" fmla="*/ 108024 w 953912"/>
                    <a:gd name="connsiteY1157" fmla="*/ 106627 h 912651"/>
                    <a:gd name="connsiteX1158" fmla="*/ 107854 w 953912"/>
                    <a:gd name="connsiteY1158" fmla="*/ 106943 h 912651"/>
                    <a:gd name="connsiteX1159" fmla="*/ 107283 w 953912"/>
                    <a:gd name="connsiteY1159" fmla="*/ 107999 h 912651"/>
                    <a:gd name="connsiteX1160" fmla="*/ 106846 w 953912"/>
                    <a:gd name="connsiteY1160" fmla="*/ 108789 h 912651"/>
                    <a:gd name="connsiteX1161" fmla="*/ 106664 w 953912"/>
                    <a:gd name="connsiteY1161" fmla="*/ 109651 h 912651"/>
                    <a:gd name="connsiteX1162" fmla="*/ 106190 w 953912"/>
                    <a:gd name="connsiteY1162" fmla="*/ 111921 h 912651"/>
                    <a:gd name="connsiteX1163" fmla="*/ 106069 w 953912"/>
                    <a:gd name="connsiteY1163" fmla="*/ 112249 h 912651"/>
                    <a:gd name="connsiteX1164" fmla="*/ 105559 w 953912"/>
                    <a:gd name="connsiteY1164" fmla="*/ 112954 h 912651"/>
                    <a:gd name="connsiteX1165" fmla="*/ 104988 w 953912"/>
                    <a:gd name="connsiteY1165" fmla="*/ 113415 h 912651"/>
                    <a:gd name="connsiteX1166" fmla="*/ 104842 w 953912"/>
                    <a:gd name="connsiteY1166" fmla="*/ 113512 h 912651"/>
                    <a:gd name="connsiteX1167" fmla="*/ 95516 w 953912"/>
                    <a:gd name="connsiteY1167" fmla="*/ 116851 h 912651"/>
                    <a:gd name="connsiteX1168" fmla="*/ 94909 w 953912"/>
                    <a:gd name="connsiteY1168" fmla="*/ 117070 h 912651"/>
                    <a:gd name="connsiteX1169" fmla="*/ 94363 w 953912"/>
                    <a:gd name="connsiteY1169" fmla="*/ 117410 h 912651"/>
                    <a:gd name="connsiteX1170" fmla="*/ 93221 w 953912"/>
                    <a:gd name="connsiteY1170" fmla="*/ 118114 h 912651"/>
                    <a:gd name="connsiteX1171" fmla="*/ 92311 w 953912"/>
                    <a:gd name="connsiteY1171" fmla="*/ 118673 h 912651"/>
                    <a:gd name="connsiteX1172" fmla="*/ 91655 w 953912"/>
                    <a:gd name="connsiteY1172" fmla="*/ 119511 h 912651"/>
                    <a:gd name="connsiteX1173" fmla="*/ 91060 w 953912"/>
                    <a:gd name="connsiteY1173" fmla="*/ 120252 h 912651"/>
                    <a:gd name="connsiteX1174" fmla="*/ 89773 w 953912"/>
                    <a:gd name="connsiteY1174" fmla="*/ 121903 h 912651"/>
                    <a:gd name="connsiteX1175" fmla="*/ 89773 w 953912"/>
                    <a:gd name="connsiteY1175" fmla="*/ 124004 h 912651"/>
                    <a:gd name="connsiteX1176" fmla="*/ 89773 w 953912"/>
                    <a:gd name="connsiteY1176" fmla="*/ 124744 h 912651"/>
                    <a:gd name="connsiteX1177" fmla="*/ 89773 w 953912"/>
                    <a:gd name="connsiteY1177" fmla="*/ 125849 h 912651"/>
                    <a:gd name="connsiteX1178" fmla="*/ 90003 w 953912"/>
                    <a:gd name="connsiteY1178" fmla="*/ 126432 h 912651"/>
                    <a:gd name="connsiteX1179" fmla="*/ 85814 w 953912"/>
                    <a:gd name="connsiteY1179" fmla="*/ 126384 h 912651"/>
                    <a:gd name="connsiteX1180" fmla="*/ 85304 w 953912"/>
                    <a:gd name="connsiteY1180" fmla="*/ 126384 h 912651"/>
                    <a:gd name="connsiteX1181" fmla="*/ 84794 w 953912"/>
                    <a:gd name="connsiteY1181" fmla="*/ 126469 h 912651"/>
                    <a:gd name="connsiteX1182" fmla="*/ 81115 w 953912"/>
                    <a:gd name="connsiteY1182" fmla="*/ 127052 h 912651"/>
                    <a:gd name="connsiteX1183" fmla="*/ 80338 w 953912"/>
                    <a:gd name="connsiteY1183" fmla="*/ 127173 h 912651"/>
                    <a:gd name="connsiteX1184" fmla="*/ 79609 w 953912"/>
                    <a:gd name="connsiteY1184" fmla="*/ 127501 h 912651"/>
                    <a:gd name="connsiteX1185" fmla="*/ 77606 w 953912"/>
                    <a:gd name="connsiteY1185" fmla="*/ 128387 h 912651"/>
                    <a:gd name="connsiteX1186" fmla="*/ 76768 w 953912"/>
                    <a:gd name="connsiteY1186" fmla="*/ 128764 h 912651"/>
                    <a:gd name="connsiteX1187" fmla="*/ 76076 w 953912"/>
                    <a:gd name="connsiteY1187" fmla="*/ 129359 h 912651"/>
                    <a:gd name="connsiteX1188" fmla="*/ 74983 w 953912"/>
                    <a:gd name="connsiteY1188" fmla="*/ 130306 h 912651"/>
                    <a:gd name="connsiteX1189" fmla="*/ 73489 w 953912"/>
                    <a:gd name="connsiteY1189" fmla="*/ 131605 h 912651"/>
                    <a:gd name="connsiteX1190" fmla="*/ 73040 w 953912"/>
                    <a:gd name="connsiteY1190" fmla="*/ 133536 h 912651"/>
                    <a:gd name="connsiteX1191" fmla="*/ 72809 w 953912"/>
                    <a:gd name="connsiteY1191" fmla="*/ 134544 h 912651"/>
                    <a:gd name="connsiteX1192" fmla="*/ 72238 w 953912"/>
                    <a:gd name="connsiteY1192" fmla="*/ 137725 h 912651"/>
                    <a:gd name="connsiteX1193" fmla="*/ 72141 w 953912"/>
                    <a:gd name="connsiteY1193" fmla="*/ 138284 h 912651"/>
                    <a:gd name="connsiteX1194" fmla="*/ 72141 w 953912"/>
                    <a:gd name="connsiteY1194" fmla="*/ 138842 h 912651"/>
                    <a:gd name="connsiteX1195" fmla="*/ 72202 w 953912"/>
                    <a:gd name="connsiteY1195" fmla="*/ 144210 h 912651"/>
                    <a:gd name="connsiteX1196" fmla="*/ 72335 w 953912"/>
                    <a:gd name="connsiteY1196" fmla="*/ 145885 h 912651"/>
                    <a:gd name="connsiteX1197" fmla="*/ 68037 w 953912"/>
                    <a:gd name="connsiteY1197" fmla="*/ 146796 h 912651"/>
                    <a:gd name="connsiteX1198" fmla="*/ 67272 w 953912"/>
                    <a:gd name="connsiteY1198" fmla="*/ 146966 h 912651"/>
                    <a:gd name="connsiteX1199" fmla="*/ 66568 w 953912"/>
                    <a:gd name="connsiteY1199" fmla="*/ 147318 h 912651"/>
                    <a:gd name="connsiteX1200" fmla="*/ 65025 w 953912"/>
                    <a:gd name="connsiteY1200" fmla="*/ 148083 h 912651"/>
                    <a:gd name="connsiteX1201" fmla="*/ 64515 w 953912"/>
                    <a:gd name="connsiteY1201" fmla="*/ 148338 h 912651"/>
                    <a:gd name="connsiteX1202" fmla="*/ 64054 w 953912"/>
                    <a:gd name="connsiteY1202" fmla="*/ 148678 h 912651"/>
                    <a:gd name="connsiteX1203" fmla="*/ 62439 w 953912"/>
                    <a:gd name="connsiteY1203" fmla="*/ 149917 h 912651"/>
                    <a:gd name="connsiteX1204" fmla="*/ 61990 w 953912"/>
                    <a:gd name="connsiteY1204" fmla="*/ 150257 h 912651"/>
                    <a:gd name="connsiteX1205" fmla="*/ 61613 w 953912"/>
                    <a:gd name="connsiteY1205" fmla="*/ 150670 h 912651"/>
                    <a:gd name="connsiteX1206" fmla="*/ 55238 w 953912"/>
                    <a:gd name="connsiteY1206" fmla="*/ 157773 h 912651"/>
                    <a:gd name="connsiteX1207" fmla="*/ 54230 w 953912"/>
                    <a:gd name="connsiteY1207" fmla="*/ 158417 h 912651"/>
                    <a:gd name="connsiteX1208" fmla="*/ 53866 w 953912"/>
                    <a:gd name="connsiteY1208" fmla="*/ 158587 h 912651"/>
                    <a:gd name="connsiteX1209" fmla="*/ 51620 w 953912"/>
                    <a:gd name="connsiteY1209" fmla="*/ 159194 h 912651"/>
                    <a:gd name="connsiteX1210" fmla="*/ 51207 w 953912"/>
                    <a:gd name="connsiteY1210" fmla="*/ 159303 h 912651"/>
                    <a:gd name="connsiteX1211" fmla="*/ 50818 w 953912"/>
                    <a:gd name="connsiteY1211" fmla="*/ 159473 h 912651"/>
                    <a:gd name="connsiteX1212" fmla="*/ 48013 w 953912"/>
                    <a:gd name="connsiteY1212" fmla="*/ 160675 h 912651"/>
                    <a:gd name="connsiteX1213" fmla="*/ 47527 w 953912"/>
                    <a:gd name="connsiteY1213" fmla="*/ 160882 h 912651"/>
                    <a:gd name="connsiteX1214" fmla="*/ 47090 w 953912"/>
                    <a:gd name="connsiteY1214" fmla="*/ 161161 h 912651"/>
                    <a:gd name="connsiteX1215" fmla="*/ 43532 w 953912"/>
                    <a:gd name="connsiteY1215" fmla="*/ 163480 h 912651"/>
                    <a:gd name="connsiteX1216" fmla="*/ 43144 w 953912"/>
                    <a:gd name="connsiteY1216" fmla="*/ 163735 h 912651"/>
                    <a:gd name="connsiteX1217" fmla="*/ 42792 w 953912"/>
                    <a:gd name="connsiteY1217" fmla="*/ 164051 h 912651"/>
                    <a:gd name="connsiteX1218" fmla="*/ 41881 w 953912"/>
                    <a:gd name="connsiteY1218" fmla="*/ 164901 h 912651"/>
                    <a:gd name="connsiteX1219" fmla="*/ 41420 w 953912"/>
                    <a:gd name="connsiteY1219" fmla="*/ 165314 h 912651"/>
                    <a:gd name="connsiteX1220" fmla="*/ 41055 w 953912"/>
                    <a:gd name="connsiteY1220" fmla="*/ 165800 h 912651"/>
                    <a:gd name="connsiteX1221" fmla="*/ 39088 w 953912"/>
                    <a:gd name="connsiteY1221" fmla="*/ 168447 h 912651"/>
                    <a:gd name="connsiteX1222" fmla="*/ 36975 w 953912"/>
                    <a:gd name="connsiteY1222" fmla="*/ 167633 h 912651"/>
                    <a:gd name="connsiteX1223" fmla="*/ 36162 w 953912"/>
                    <a:gd name="connsiteY1223" fmla="*/ 167318 h 912651"/>
                    <a:gd name="connsiteX1224" fmla="*/ 35287 w 953912"/>
                    <a:gd name="connsiteY1224" fmla="*/ 167245 h 912651"/>
                    <a:gd name="connsiteX1225" fmla="*/ 33175 w 953912"/>
                    <a:gd name="connsiteY1225" fmla="*/ 167075 h 912651"/>
                    <a:gd name="connsiteX1226" fmla="*/ 32786 w 953912"/>
                    <a:gd name="connsiteY1226" fmla="*/ 167050 h 912651"/>
                    <a:gd name="connsiteX1227" fmla="*/ 32409 w 953912"/>
                    <a:gd name="connsiteY1227" fmla="*/ 167063 h 912651"/>
                    <a:gd name="connsiteX1228" fmla="*/ 30564 w 953912"/>
                    <a:gd name="connsiteY1228" fmla="*/ 167148 h 912651"/>
                    <a:gd name="connsiteX1229" fmla="*/ 30127 w 953912"/>
                    <a:gd name="connsiteY1229" fmla="*/ 167160 h 912651"/>
                    <a:gd name="connsiteX1230" fmla="*/ 29702 w 953912"/>
                    <a:gd name="connsiteY1230" fmla="*/ 167245 h 912651"/>
                    <a:gd name="connsiteX1231" fmla="*/ 27577 w 953912"/>
                    <a:gd name="connsiteY1231" fmla="*/ 167645 h 912651"/>
                    <a:gd name="connsiteX1232" fmla="*/ 27212 w 953912"/>
                    <a:gd name="connsiteY1232" fmla="*/ 167718 h 912651"/>
                    <a:gd name="connsiteX1233" fmla="*/ 26860 w 953912"/>
                    <a:gd name="connsiteY1233" fmla="*/ 167828 h 912651"/>
                    <a:gd name="connsiteX1234" fmla="*/ 24165 w 953912"/>
                    <a:gd name="connsiteY1234" fmla="*/ 168690 h 912651"/>
                    <a:gd name="connsiteX1235" fmla="*/ 23217 w 953912"/>
                    <a:gd name="connsiteY1235" fmla="*/ 168993 h 912651"/>
                    <a:gd name="connsiteX1236" fmla="*/ 22416 w 953912"/>
                    <a:gd name="connsiteY1236" fmla="*/ 169576 h 912651"/>
                    <a:gd name="connsiteX1237" fmla="*/ 19951 w 953912"/>
                    <a:gd name="connsiteY1237" fmla="*/ 171385 h 912651"/>
                    <a:gd name="connsiteX1238" fmla="*/ 17959 w 953912"/>
                    <a:gd name="connsiteY1238" fmla="*/ 173122 h 912651"/>
                    <a:gd name="connsiteX1239" fmla="*/ 17680 w 953912"/>
                    <a:gd name="connsiteY1239" fmla="*/ 173377 h 912651"/>
                    <a:gd name="connsiteX1240" fmla="*/ 17425 w 953912"/>
                    <a:gd name="connsiteY1240" fmla="*/ 173656 h 912651"/>
                    <a:gd name="connsiteX1241" fmla="*/ 15932 w 953912"/>
                    <a:gd name="connsiteY1241" fmla="*/ 175356 h 912651"/>
                    <a:gd name="connsiteX1242" fmla="*/ 14474 w 953912"/>
                    <a:gd name="connsiteY1242" fmla="*/ 177275 h 912651"/>
                    <a:gd name="connsiteX1243" fmla="*/ 13382 w 953912"/>
                    <a:gd name="connsiteY1243" fmla="*/ 179035 h 912651"/>
                    <a:gd name="connsiteX1244" fmla="*/ 13114 w 953912"/>
                    <a:gd name="connsiteY1244" fmla="*/ 179485 h 912651"/>
                    <a:gd name="connsiteX1245" fmla="*/ 12932 w 953912"/>
                    <a:gd name="connsiteY1245" fmla="*/ 179970 h 912651"/>
                    <a:gd name="connsiteX1246" fmla="*/ 12374 w 953912"/>
                    <a:gd name="connsiteY1246" fmla="*/ 181403 h 912651"/>
                    <a:gd name="connsiteX1247" fmla="*/ 12216 w 953912"/>
                    <a:gd name="connsiteY1247" fmla="*/ 181804 h 912651"/>
                    <a:gd name="connsiteX1248" fmla="*/ 12119 w 953912"/>
                    <a:gd name="connsiteY1248" fmla="*/ 182217 h 912651"/>
                    <a:gd name="connsiteX1249" fmla="*/ 10054 w 953912"/>
                    <a:gd name="connsiteY1249" fmla="*/ 190996 h 912651"/>
                    <a:gd name="connsiteX1250" fmla="*/ 9447 w 953912"/>
                    <a:gd name="connsiteY1250" fmla="*/ 194785 h 912651"/>
                    <a:gd name="connsiteX1251" fmla="*/ 9374 w 953912"/>
                    <a:gd name="connsiteY1251" fmla="*/ 195246 h 912651"/>
                    <a:gd name="connsiteX1252" fmla="*/ 9374 w 953912"/>
                    <a:gd name="connsiteY1252" fmla="*/ 195720 h 912651"/>
                    <a:gd name="connsiteX1253" fmla="*/ 9374 w 953912"/>
                    <a:gd name="connsiteY1253" fmla="*/ 196497 h 912651"/>
                    <a:gd name="connsiteX1254" fmla="*/ 9374 w 953912"/>
                    <a:gd name="connsiteY1254" fmla="*/ 197808 h 912651"/>
                    <a:gd name="connsiteX1255" fmla="*/ 9921 w 953912"/>
                    <a:gd name="connsiteY1255" fmla="*/ 199011 h 912651"/>
                    <a:gd name="connsiteX1256" fmla="*/ 10261 w 953912"/>
                    <a:gd name="connsiteY1256" fmla="*/ 199751 h 912651"/>
                    <a:gd name="connsiteX1257" fmla="*/ 10407 w 953912"/>
                    <a:gd name="connsiteY1257" fmla="*/ 200055 h 912651"/>
                    <a:gd name="connsiteX1258" fmla="*/ 10589 w 953912"/>
                    <a:gd name="connsiteY1258" fmla="*/ 200346 h 912651"/>
                    <a:gd name="connsiteX1259" fmla="*/ 10637 w 953912"/>
                    <a:gd name="connsiteY1259" fmla="*/ 200431 h 912651"/>
                    <a:gd name="connsiteX1260" fmla="*/ 7626 w 953912"/>
                    <a:gd name="connsiteY1260" fmla="*/ 204050 h 912651"/>
                    <a:gd name="connsiteX1261" fmla="*/ 7310 w 953912"/>
                    <a:gd name="connsiteY1261" fmla="*/ 204426 h 912651"/>
                    <a:gd name="connsiteX1262" fmla="*/ 7055 w 953912"/>
                    <a:gd name="connsiteY1262" fmla="*/ 204851 h 912651"/>
                    <a:gd name="connsiteX1263" fmla="*/ 6533 w 953912"/>
                    <a:gd name="connsiteY1263" fmla="*/ 205738 h 912651"/>
                    <a:gd name="connsiteX1264" fmla="*/ 6084 w 953912"/>
                    <a:gd name="connsiteY1264" fmla="*/ 206491 h 912651"/>
                    <a:gd name="connsiteX1265" fmla="*/ 5865 w 953912"/>
                    <a:gd name="connsiteY1265" fmla="*/ 207353 h 912651"/>
                    <a:gd name="connsiteX1266" fmla="*/ 5634 w 953912"/>
                    <a:gd name="connsiteY1266" fmla="*/ 208276 h 912651"/>
                    <a:gd name="connsiteX1267" fmla="*/ 5331 w 953912"/>
                    <a:gd name="connsiteY1267" fmla="*/ 209757 h 912651"/>
                    <a:gd name="connsiteX1268" fmla="*/ 5221 w 953912"/>
                    <a:gd name="connsiteY1268" fmla="*/ 210340 h 912651"/>
                    <a:gd name="connsiteX1269" fmla="*/ 5221 w 953912"/>
                    <a:gd name="connsiteY1269" fmla="*/ 210923 h 912651"/>
                    <a:gd name="connsiteX1270" fmla="*/ 5221 w 953912"/>
                    <a:gd name="connsiteY1270" fmla="*/ 211991 h 912651"/>
                    <a:gd name="connsiteX1271" fmla="*/ 5221 w 953912"/>
                    <a:gd name="connsiteY1271" fmla="*/ 212854 h 912651"/>
                    <a:gd name="connsiteX1272" fmla="*/ 5464 w 953912"/>
                    <a:gd name="connsiteY1272" fmla="*/ 213679 h 912651"/>
                    <a:gd name="connsiteX1273" fmla="*/ 5877 w 953912"/>
                    <a:gd name="connsiteY1273" fmla="*/ 215088 h 912651"/>
                    <a:gd name="connsiteX1274" fmla="*/ 5987 w 953912"/>
                    <a:gd name="connsiteY1274" fmla="*/ 215464 h 912651"/>
                    <a:gd name="connsiteX1275" fmla="*/ 6144 w 953912"/>
                    <a:gd name="connsiteY1275" fmla="*/ 215829 h 912651"/>
                    <a:gd name="connsiteX1276" fmla="*/ 6654 w 953912"/>
                    <a:gd name="connsiteY1276" fmla="*/ 216994 h 912651"/>
                    <a:gd name="connsiteX1277" fmla="*/ 6703 w 953912"/>
                    <a:gd name="connsiteY1277" fmla="*/ 217189 h 912651"/>
                    <a:gd name="connsiteX1278" fmla="*/ 6873 w 953912"/>
                    <a:gd name="connsiteY1278" fmla="*/ 217929 h 912651"/>
                    <a:gd name="connsiteX1279" fmla="*/ 7225 w 953912"/>
                    <a:gd name="connsiteY1279" fmla="*/ 218609 h 912651"/>
                    <a:gd name="connsiteX1280" fmla="*/ 7577 w 953912"/>
                    <a:gd name="connsiteY1280" fmla="*/ 219289 h 912651"/>
                    <a:gd name="connsiteX1281" fmla="*/ 7747 w 953912"/>
                    <a:gd name="connsiteY1281" fmla="*/ 219617 h 912651"/>
                    <a:gd name="connsiteX1282" fmla="*/ 7954 w 953912"/>
                    <a:gd name="connsiteY1282" fmla="*/ 219909 h 912651"/>
                    <a:gd name="connsiteX1283" fmla="*/ 8512 w 953912"/>
                    <a:gd name="connsiteY1283" fmla="*/ 220746 h 912651"/>
                    <a:gd name="connsiteX1284" fmla="*/ 9022 w 953912"/>
                    <a:gd name="connsiteY1284" fmla="*/ 221499 h 912651"/>
                    <a:gd name="connsiteX1285" fmla="*/ 9727 w 953912"/>
                    <a:gd name="connsiteY1285" fmla="*/ 222070 h 912651"/>
                    <a:gd name="connsiteX1286" fmla="*/ 14972 w 953912"/>
                    <a:gd name="connsiteY1286" fmla="*/ 226344 h 912651"/>
                    <a:gd name="connsiteX1287" fmla="*/ 14984 w 953912"/>
                    <a:gd name="connsiteY1287" fmla="*/ 226454 h 912651"/>
                    <a:gd name="connsiteX1288" fmla="*/ 15094 w 953912"/>
                    <a:gd name="connsiteY1288" fmla="*/ 227122 h 912651"/>
                    <a:gd name="connsiteX1289" fmla="*/ 15349 w 953912"/>
                    <a:gd name="connsiteY1289" fmla="*/ 227753 h 912651"/>
                    <a:gd name="connsiteX1290" fmla="*/ 15932 w 953912"/>
                    <a:gd name="connsiteY1290" fmla="*/ 229186 h 912651"/>
                    <a:gd name="connsiteX1291" fmla="*/ 3546 w 953912"/>
                    <a:gd name="connsiteY1291" fmla="*/ 250400 h 912651"/>
                    <a:gd name="connsiteX1292" fmla="*/ 0 w 953912"/>
                    <a:gd name="connsiteY1292" fmla="*/ 256471 h 912651"/>
                    <a:gd name="connsiteX1293" fmla="*/ 6521 w 953912"/>
                    <a:gd name="connsiteY1293" fmla="*/ 259094 h 912651"/>
                    <a:gd name="connsiteX1294" fmla="*/ 14207 w 953912"/>
                    <a:gd name="connsiteY1294" fmla="*/ 262190 h 912651"/>
                    <a:gd name="connsiteX1295" fmla="*/ 32397 w 953912"/>
                    <a:gd name="connsiteY1295" fmla="*/ 269585 h 912651"/>
                    <a:gd name="connsiteX1296" fmla="*/ 32495 w 953912"/>
                    <a:gd name="connsiteY1296" fmla="*/ 269622 h 912651"/>
                    <a:gd name="connsiteX1297" fmla="*/ 33005 w 953912"/>
                    <a:gd name="connsiteY1297" fmla="*/ 269804 h 912651"/>
                    <a:gd name="connsiteX1298" fmla="*/ 33697 w 953912"/>
                    <a:gd name="connsiteY1298" fmla="*/ 270059 h 912651"/>
                    <a:gd name="connsiteX1299" fmla="*/ 34425 w 953912"/>
                    <a:gd name="connsiteY1299" fmla="*/ 270144 h 912651"/>
                    <a:gd name="connsiteX1300" fmla="*/ 52057 w 953912"/>
                    <a:gd name="connsiteY1300" fmla="*/ 272123 h 912651"/>
                    <a:gd name="connsiteX1301" fmla="*/ 59549 w 953912"/>
                    <a:gd name="connsiteY1301" fmla="*/ 273605 h 912651"/>
                    <a:gd name="connsiteX1302" fmla="*/ 60217 w 953912"/>
                    <a:gd name="connsiteY1302" fmla="*/ 273738 h 912651"/>
                    <a:gd name="connsiteX1303" fmla="*/ 60897 w 953912"/>
                    <a:gd name="connsiteY1303" fmla="*/ 273726 h 912651"/>
                    <a:gd name="connsiteX1304" fmla="*/ 62063 w 953912"/>
                    <a:gd name="connsiteY1304" fmla="*/ 273690 h 912651"/>
                    <a:gd name="connsiteX1305" fmla="*/ 62378 w 953912"/>
                    <a:gd name="connsiteY1305" fmla="*/ 273678 h 912651"/>
                    <a:gd name="connsiteX1306" fmla="*/ 62694 w 953912"/>
                    <a:gd name="connsiteY1306" fmla="*/ 273641 h 912651"/>
                    <a:gd name="connsiteX1307" fmla="*/ 64127 w 953912"/>
                    <a:gd name="connsiteY1307" fmla="*/ 273447 h 912651"/>
                    <a:gd name="connsiteX1308" fmla="*/ 66398 w 953912"/>
                    <a:gd name="connsiteY1308" fmla="*/ 273131 h 912651"/>
                    <a:gd name="connsiteX1309" fmla="*/ 67891 w 953912"/>
                    <a:gd name="connsiteY1309" fmla="*/ 271407 h 912651"/>
                    <a:gd name="connsiteX1310" fmla="*/ 68401 w 953912"/>
                    <a:gd name="connsiteY1310" fmla="*/ 270824 h 912651"/>
                    <a:gd name="connsiteX1311" fmla="*/ 69336 w 953912"/>
                    <a:gd name="connsiteY1311" fmla="*/ 269561 h 912651"/>
                    <a:gd name="connsiteX1312" fmla="*/ 75153 w 953912"/>
                    <a:gd name="connsiteY1312" fmla="*/ 266258 h 912651"/>
                    <a:gd name="connsiteX1313" fmla="*/ 76185 w 953912"/>
                    <a:gd name="connsiteY1313" fmla="*/ 265918 h 912651"/>
                    <a:gd name="connsiteX1314" fmla="*/ 76464 w 953912"/>
                    <a:gd name="connsiteY1314" fmla="*/ 265857 h 912651"/>
                    <a:gd name="connsiteX1315" fmla="*/ 93926 w 953912"/>
                    <a:gd name="connsiteY1315" fmla="*/ 265105 h 912651"/>
                    <a:gd name="connsiteX1316" fmla="*/ 94023 w 953912"/>
                    <a:gd name="connsiteY1316" fmla="*/ 265117 h 912651"/>
                    <a:gd name="connsiteX1317" fmla="*/ 94557 w 953912"/>
                    <a:gd name="connsiteY1317" fmla="*/ 265287 h 912651"/>
                    <a:gd name="connsiteX1318" fmla="*/ 96974 w 953912"/>
                    <a:gd name="connsiteY1318" fmla="*/ 266440 h 912651"/>
                    <a:gd name="connsiteX1319" fmla="*/ 97702 w 953912"/>
                    <a:gd name="connsiteY1319" fmla="*/ 266902 h 912651"/>
                    <a:gd name="connsiteX1320" fmla="*/ 97811 w 953912"/>
                    <a:gd name="connsiteY1320" fmla="*/ 266975 h 912651"/>
                    <a:gd name="connsiteX1321" fmla="*/ 98261 w 953912"/>
                    <a:gd name="connsiteY1321" fmla="*/ 267230 h 912651"/>
                    <a:gd name="connsiteX1322" fmla="*/ 100034 w 953912"/>
                    <a:gd name="connsiteY1322" fmla="*/ 268080 h 912651"/>
                    <a:gd name="connsiteX1323" fmla="*/ 100349 w 953912"/>
                    <a:gd name="connsiteY1323" fmla="*/ 268225 h 912651"/>
                    <a:gd name="connsiteX1324" fmla="*/ 100847 w 953912"/>
                    <a:gd name="connsiteY1324" fmla="*/ 268420 h 912651"/>
                    <a:gd name="connsiteX1325" fmla="*/ 103676 w 953912"/>
                    <a:gd name="connsiteY1325" fmla="*/ 269343 h 912651"/>
                    <a:gd name="connsiteX1326" fmla="*/ 104405 w 953912"/>
                    <a:gd name="connsiteY1326" fmla="*/ 269585 h 912651"/>
                    <a:gd name="connsiteX1327" fmla="*/ 105170 w 953912"/>
                    <a:gd name="connsiteY1327" fmla="*/ 269634 h 912651"/>
                    <a:gd name="connsiteX1328" fmla="*/ 107174 w 953912"/>
                    <a:gd name="connsiteY1328" fmla="*/ 269768 h 912651"/>
                    <a:gd name="connsiteX1329" fmla="*/ 107477 w 953912"/>
                    <a:gd name="connsiteY1329" fmla="*/ 269780 h 912651"/>
                    <a:gd name="connsiteX1330" fmla="*/ 107781 w 953912"/>
                    <a:gd name="connsiteY1330" fmla="*/ 269768 h 912651"/>
                    <a:gd name="connsiteX1331" fmla="*/ 109724 w 953912"/>
                    <a:gd name="connsiteY1331" fmla="*/ 269695 h 912651"/>
                    <a:gd name="connsiteX1332" fmla="*/ 110246 w 953912"/>
                    <a:gd name="connsiteY1332" fmla="*/ 269683 h 912651"/>
                    <a:gd name="connsiteX1333" fmla="*/ 110756 w 953912"/>
                    <a:gd name="connsiteY1333" fmla="*/ 269573 h 912651"/>
                    <a:gd name="connsiteX1334" fmla="*/ 112019 w 953912"/>
                    <a:gd name="connsiteY1334" fmla="*/ 269306 h 912651"/>
                    <a:gd name="connsiteX1335" fmla="*/ 112565 w 953912"/>
                    <a:gd name="connsiteY1335" fmla="*/ 269185 h 912651"/>
                    <a:gd name="connsiteX1336" fmla="*/ 113075 w 953912"/>
                    <a:gd name="connsiteY1336" fmla="*/ 268966 h 912651"/>
                    <a:gd name="connsiteX1337" fmla="*/ 113998 w 953912"/>
                    <a:gd name="connsiteY1337" fmla="*/ 268590 h 912651"/>
                    <a:gd name="connsiteX1338" fmla="*/ 114544 w 953912"/>
                    <a:gd name="connsiteY1338" fmla="*/ 268359 h 912651"/>
                    <a:gd name="connsiteX1339" fmla="*/ 115042 w 953912"/>
                    <a:gd name="connsiteY1339" fmla="*/ 268031 h 912651"/>
                    <a:gd name="connsiteX1340" fmla="*/ 115431 w 953912"/>
                    <a:gd name="connsiteY1340" fmla="*/ 267776 h 912651"/>
                    <a:gd name="connsiteX1341" fmla="*/ 115686 w 953912"/>
                    <a:gd name="connsiteY1341" fmla="*/ 268031 h 912651"/>
                    <a:gd name="connsiteX1342" fmla="*/ 115904 w 953912"/>
                    <a:gd name="connsiteY1342" fmla="*/ 268250 h 912651"/>
                    <a:gd name="connsiteX1343" fmla="*/ 116147 w 953912"/>
                    <a:gd name="connsiteY1343" fmla="*/ 268444 h 912651"/>
                    <a:gd name="connsiteX1344" fmla="*/ 117532 w 953912"/>
                    <a:gd name="connsiteY1344" fmla="*/ 269549 h 912651"/>
                    <a:gd name="connsiteX1345" fmla="*/ 118139 w 953912"/>
                    <a:gd name="connsiteY1345" fmla="*/ 270387 h 912651"/>
                    <a:gd name="connsiteX1346" fmla="*/ 119329 w 953912"/>
                    <a:gd name="connsiteY1346" fmla="*/ 270848 h 912651"/>
                    <a:gd name="connsiteX1347" fmla="*/ 119887 w 953912"/>
                    <a:gd name="connsiteY1347" fmla="*/ 271200 h 912651"/>
                    <a:gd name="connsiteX1348" fmla="*/ 119717 w 953912"/>
                    <a:gd name="connsiteY1348" fmla="*/ 271395 h 912651"/>
                    <a:gd name="connsiteX1349" fmla="*/ 119207 w 953912"/>
                    <a:gd name="connsiteY1349" fmla="*/ 272038 h 912651"/>
                    <a:gd name="connsiteX1350" fmla="*/ 118576 w 953912"/>
                    <a:gd name="connsiteY1350" fmla="*/ 272828 h 912651"/>
                    <a:gd name="connsiteX1351" fmla="*/ 118248 w 953912"/>
                    <a:gd name="connsiteY1351" fmla="*/ 273775 h 912651"/>
                    <a:gd name="connsiteX1352" fmla="*/ 118017 w 953912"/>
                    <a:gd name="connsiteY1352" fmla="*/ 274443 h 912651"/>
                    <a:gd name="connsiteX1353" fmla="*/ 117762 w 953912"/>
                    <a:gd name="connsiteY1353" fmla="*/ 275147 h 912651"/>
                    <a:gd name="connsiteX1354" fmla="*/ 117689 w 953912"/>
                    <a:gd name="connsiteY1354" fmla="*/ 275900 h 912651"/>
                    <a:gd name="connsiteX1355" fmla="*/ 116669 w 953912"/>
                    <a:gd name="connsiteY1355" fmla="*/ 286974 h 912651"/>
                    <a:gd name="connsiteX1356" fmla="*/ 116645 w 953912"/>
                    <a:gd name="connsiteY1356" fmla="*/ 289148 h 912651"/>
                    <a:gd name="connsiteX1357" fmla="*/ 116754 w 953912"/>
                    <a:gd name="connsiteY1357" fmla="*/ 290957 h 912651"/>
                    <a:gd name="connsiteX1358" fmla="*/ 116803 w 953912"/>
                    <a:gd name="connsiteY1358" fmla="*/ 291649 h 912651"/>
                    <a:gd name="connsiteX1359" fmla="*/ 117009 w 953912"/>
                    <a:gd name="connsiteY1359" fmla="*/ 292305 h 912651"/>
                    <a:gd name="connsiteX1360" fmla="*/ 117362 w 953912"/>
                    <a:gd name="connsiteY1360" fmla="*/ 293483 h 912651"/>
                    <a:gd name="connsiteX1361" fmla="*/ 117641 w 953912"/>
                    <a:gd name="connsiteY1361" fmla="*/ 294418 h 912651"/>
                    <a:gd name="connsiteX1362" fmla="*/ 118199 w 953912"/>
                    <a:gd name="connsiteY1362" fmla="*/ 295219 h 912651"/>
                    <a:gd name="connsiteX1363" fmla="*/ 118879 w 953912"/>
                    <a:gd name="connsiteY1363" fmla="*/ 296191 h 912651"/>
                    <a:gd name="connsiteX1364" fmla="*/ 119207 w 953912"/>
                    <a:gd name="connsiteY1364" fmla="*/ 296664 h 912651"/>
                    <a:gd name="connsiteX1365" fmla="*/ 119620 w 953912"/>
                    <a:gd name="connsiteY1365" fmla="*/ 297065 h 912651"/>
                    <a:gd name="connsiteX1366" fmla="*/ 120774 w 953912"/>
                    <a:gd name="connsiteY1366" fmla="*/ 298182 h 912651"/>
                    <a:gd name="connsiteX1367" fmla="*/ 121223 w 953912"/>
                    <a:gd name="connsiteY1367" fmla="*/ 298619 h 912651"/>
                    <a:gd name="connsiteX1368" fmla="*/ 121745 w 953912"/>
                    <a:gd name="connsiteY1368" fmla="*/ 298947 h 912651"/>
                    <a:gd name="connsiteX1369" fmla="*/ 138733 w 953912"/>
                    <a:gd name="connsiteY1369" fmla="*/ 309706 h 912651"/>
                    <a:gd name="connsiteX1370" fmla="*/ 140470 w 953912"/>
                    <a:gd name="connsiteY1370" fmla="*/ 311187 h 912651"/>
                    <a:gd name="connsiteX1371" fmla="*/ 140846 w 953912"/>
                    <a:gd name="connsiteY1371" fmla="*/ 311600 h 912651"/>
                    <a:gd name="connsiteX1372" fmla="*/ 141113 w 953912"/>
                    <a:gd name="connsiteY1372" fmla="*/ 311891 h 912651"/>
                    <a:gd name="connsiteX1373" fmla="*/ 141417 w 953912"/>
                    <a:gd name="connsiteY1373" fmla="*/ 312146 h 912651"/>
                    <a:gd name="connsiteX1374" fmla="*/ 142910 w 953912"/>
                    <a:gd name="connsiteY1374" fmla="*/ 313397 h 912651"/>
                    <a:gd name="connsiteX1375" fmla="*/ 143190 w 953912"/>
                    <a:gd name="connsiteY1375" fmla="*/ 313628 h 912651"/>
                    <a:gd name="connsiteX1376" fmla="*/ 143493 w 953912"/>
                    <a:gd name="connsiteY1376" fmla="*/ 313834 h 912651"/>
                    <a:gd name="connsiteX1377" fmla="*/ 149249 w 953912"/>
                    <a:gd name="connsiteY1377" fmla="*/ 317599 h 912651"/>
                    <a:gd name="connsiteX1378" fmla="*/ 150123 w 953912"/>
                    <a:gd name="connsiteY1378" fmla="*/ 318181 h 912651"/>
                    <a:gd name="connsiteX1379" fmla="*/ 150293 w 953912"/>
                    <a:gd name="connsiteY1379" fmla="*/ 318351 h 912651"/>
                    <a:gd name="connsiteX1380" fmla="*/ 150998 w 953912"/>
                    <a:gd name="connsiteY1380" fmla="*/ 320124 h 912651"/>
                    <a:gd name="connsiteX1381" fmla="*/ 151095 w 953912"/>
                    <a:gd name="connsiteY1381" fmla="*/ 320367 h 912651"/>
                    <a:gd name="connsiteX1382" fmla="*/ 151095 w 953912"/>
                    <a:gd name="connsiteY1382" fmla="*/ 322043 h 912651"/>
                    <a:gd name="connsiteX1383" fmla="*/ 154458 w 953912"/>
                    <a:gd name="connsiteY1383" fmla="*/ 323743 h 912651"/>
                    <a:gd name="connsiteX1384" fmla="*/ 154507 w 953912"/>
                    <a:gd name="connsiteY1384" fmla="*/ 323767 h 912651"/>
                    <a:gd name="connsiteX1385" fmla="*/ 155527 w 953912"/>
                    <a:gd name="connsiteY1385" fmla="*/ 324204 h 912651"/>
                    <a:gd name="connsiteX1386" fmla="*/ 155879 w 953912"/>
                    <a:gd name="connsiteY1386" fmla="*/ 324338 h 912651"/>
                    <a:gd name="connsiteX1387" fmla="*/ 156438 w 953912"/>
                    <a:gd name="connsiteY1387" fmla="*/ 324508 h 912651"/>
                    <a:gd name="connsiteX1388" fmla="*/ 159133 w 953912"/>
                    <a:gd name="connsiteY1388" fmla="*/ 325176 h 912651"/>
                    <a:gd name="connsiteX1389" fmla="*/ 159522 w 953912"/>
                    <a:gd name="connsiteY1389" fmla="*/ 325273 h 912651"/>
                    <a:gd name="connsiteX1390" fmla="*/ 159923 w 953912"/>
                    <a:gd name="connsiteY1390" fmla="*/ 325321 h 912651"/>
                    <a:gd name="connsiteX1391" fmla="*/ 160663 w 953912"/>
                    <a:gd name="connsiteY1391" fmla="*/ 325406 h 912651"/>
                    <a:gd name="connsiteX1392" fmla="*/ 161295 w 953912"/>
                    <a:gd name="connsiteY1392" fmla="*/ 325479 h 912651"/>
                    <a:gd name="connsiteX1393" fmla="*/ 161926 w 953912"/>
                    <a:gd name="connsiteY1393" fmla="*/ 325419 h 912651"/>
                    <a:gd name="connsiteX1394" fmla="*/ 165132 w 953912"/>
                    <a:gd name="connsiteY1394" fmla="*/ 325115 h 912651"/>
                    <a:gd name="connsiteX1395" fmla="*/ 165630 w 953912"/>
                    <a:gd name="connsiteY1395" fmla="*/ 325151 h 912651"/>
                    <a:gd name="connsiteX1396" fmla="*/ 166540 w 953912"/>
                    <a:gd name="connsiteY1396" fmla="*/ 325321 h 912651"/>
                    <a:gd name="connsiteX1397" fmla="*/ 167196 w 953912"/>
                    <a:gd name="connsiteY1397" fmla="*/ 325576 h 912651"/>
                    <a:gd name="connsiteX1398" fmla="*/ 167900 w 953912"/>
                    <a:gd name="connsiteY1398" fmla="*/ 325965 h 912651"/>
                    <a:gd name="connsiteX1399" fmla="*/ 168046 w 953912"/>
                    <a:gd name="connsiteY1399" fmla="*/ 326086 h 912651"/>
                    <a:gd name="connsiteX1400" fmla="*/ 168228 w 953912"/>
                    <a:gd name="connsiteY1400" fmla="*/ 326669 h 912651"/>
                    <a:gd name="connsiteX1401" fmla="*/ 168386 w 953912"/>
                    <a:gd name="connsiteY1401" fmla="*/ 327191 h 912651"/>
                    <a:gd name="connsiteX1402" fmla="*/ 168641 w 953912"/>
                    <a:gd name="connsiteY1402" fmla="*/ 327677 h 912651"/>
                    <a:gd name="connsiteX1403" fmla="*/ 170778 w 953912"/>
                    <a:gd name="connsiteY1403" fmla="*/ 331757 h 912651"/>
                    <a:gd name="connsiteX1404" fmla="*/ 170803 w 953912"/>
                    <a:gd name="connsiteY1404" fmla="*/ 331830 h 912651"/>
                    <a:gd name="connsiteX1405" fmla="*/ 173231 w 953912"/>
                    <a:gd name="connsiteY1405" fmla="*/ 337877 h 912651"/>
                    <a:gd name="connsiteX1406" fmla="*/ 179096 w 953912"/>
                    <a:gd name="connsiteY1406" fmla="*/ 335036 h 912651"/>
                    <a:gd name="connsiteX1407" fmla="*/ 183407 w 953912"/>
                    <a:gd name="connsiteY1407" fmla="*/ 332947 h 912651"/>
                    <a:gd name="connsiteX1408" fmla="*/ 184573 w 953912"/>
                    <a:gd name="connsiteY1408" fmla="*/ 333190 h 912651"/>
                    <a:gd name="connsiteX1409" fmla="*/ 188118 w 953912"/>
                    <a:gd name="connsiteY1409" fmla="*/ 335631 h 912651"/>
                    <a:gd name="connsiteX1410" fmla="*/ 188118 w 953912"/>
                    <a:gd name="connsiteY1410" fmla="*/ 336566 h 912651"/>
                    <a:gd name="connsiteX1411" fmla="*/ 191931 w 953912"/>
                    <a:gd name="connsiteY1411" fmla="*/ 338132 h 912651"/>
                    <a:gd name="connsiteX1412" fmla="*/ 193449 w 953912"/>
                    <a:gd name="connsiteY1412" fmla="*/ 338739 h 912651"/>
                    <a:gd name="connsiteX1413" fmla="*/ 195198 w 953912"/>
                    <a:gd name="connsiteY1413" fmla="*/ 338545 h 912651"/>
                    <a:gd name="connsiteX1414" fmla="*/ 206296 w 953912"/>
                    <a:gd name="connsiteY1414" fmla="*/ 336894 h 912651"/>
                    <a:gd name="connsiteX1415" fmla="*/ 217334 w 953912"/>
                    <a:gd name="connsiteY1415" fmla="*/ 336663 h 912651"/>
                    <a:gd name="connsiteX1416" fmla="*/ 239580 w 953912"/>
                    <a:gd name="connsiteY1416" fmla="*/ 339808 h 912651"/>
                    <a:gd name="connsiteX1417" fmla="*/ 239629 w 953912"/>
                    <a:gd name="connsiteY1417" fmla="*/ 339954 h 912651"/>
                    <a:gd name="connsiteX1418" fmla="*/ 239677 w 953912"/>
                    <a:gd name="connsiteY1418" fmla="*/ 340245 h 912651"/>
                    <a:gd name="connsiteX1419" fmla="*/ 240127 w 953912"/>
                    <a:gd name="connsiteY1419" fmla="*/ 347652 h 912651"/>
                    <a:gd name="connsiteX1420" fmla="*/ 236083 w 953912"/>
                    <a:gd name="connsiteY1420" fmla="*/ 349741 h 912651"/>
                    <a:gd name="connsiteX1421" fmla="*/ 235585 w 953912"/>
                    <a:gd name="connsiteY1421" fmla="*/ 349996 h 912651"/>
                    <a:gd name="connsiteX1422" fmla="*/ 235148 w 953912"/>
                    <a:gd name="connsiteY1422" fmla="*/ 350336 h 912651"/>
                    <a:gd name="connsiteX1423" fmla="*/ 232343 w 953912"/>
                    <a:gd name="connsiteY1423" fmla="*/ 352510 h 912651"/>
                    <a:gd name="connsiteX1424" fmla="*/ 231359 w 953912"/>
                    <a:gd name="connsiteY1424" fmla="*/ 353262 h 912651"/>
                    <a:gd name="connsiteX1425" fmla="*/ 230752 w 953912"/>
                    <a:gd name="connsiteY1425" fmla="*/ 354343 h 912651"/>
                    <a:gd name="connsiteX1426" fmla="*/ 230679 w 953912"/>
                    <a:gd name="connsiteY1426" fmla="*/ 354477 h 912651"/>
                    <a:gd name="connsiteX1427" fmla="*/ 230315 w 953912"/>
                    <a:gd name="connsiteY1427" fmla="*/ 355145 h 912651"/>
                    <a:gd name="connsiteX1428" fmla="*/ 230036 w 953912"/>
                    <a:gd name="connsiteY1428" fmla="*/ 355715 h 912651"/>
                    <a:gd name="connsiteX1429" fmla="*/ 229878 w 953912"/>
                    <a:gd name="connsiteY1429" fmla="*/ 356043 h 912651"/>
                    <a:gd name="connsiteX1430" fmla="*/ 229757 w 953912"/>
                    <a:gd name="connsiteY1430" fmla="*/ 356383 h 912651"/>
                    <a:gd name="connsiteX1431" fmla="*/ 229574 w 953912"/>
                    <a:gd name="connsiteY1431" fmla="*/ 356905 h 912651"/>
                    <a:gd name="connsiteX1432" fmla="*/ 228797 w 953912"/>
                    <a:gd name="connsiteY1432" fmla="*/ 358472 h 912651"/>
                    <a:gd name="connsiteX1433" fmla="*/ 224669 w 953912"/>
                    <a:gd name="connsiteY1433" fmla="*/ 364944 h 912651"/>
                    <a:gd name="connsiteX1434" fmla="*/ 224353 w 953912"/>
                    <a:gd name="connsiteY1434" fmla="*/ 365430 h 912651"/>
                    <a:gd name="connsiteX1435" fmla="*/ 224134 w 953912"/>
                    <a:gd name="connsiteY1435" fmla="*/ 365964 h 912651"/>
                    <a:gd name="connsiteX1436" fmla="*/ 223685 w 953912"/>
                    <a:gd name="connsiteY1436" fmla="*/ 367081 h 912651"/>
                    <a:gd name="connsiteX1437" fmla="*/ 223382 w 953912"/>
                    <a:gd name="connsiteY1437" fmla="*/ 367858 h 912651"/>
                    <a:gd name="connsiteX1438" fmla="*/ 223017 w 953912"/>
                    <a:gd name="connsiteY1438" fmla="*/ 368769 h 912651"/>
                    <a:gd name="connsiteX1439" fmla="*/ 222969 w 953912"/>
                    <a:gd name="connsiteY1439" fmla="*/ 369752 h 912651"/>
                    <a:gd name="connsiteX1440" fmla="*/ 222944 w 953912"/>
                    <a:gd name="connsiteY1440" fmla="*/ 370360 h 912651"/>
                    <a:gd name="connsiteX1441" fmla="*/ 222908 w 953912"/>
                    <a:gd name="connsiteY1441" fmla="*/ 370918 h 912651"/>
                    <a:gd name="connsiteX1442" fmla="*/ 222981 w 953912"/>
                    <a:gd name="connsiteY1442" fmla="*/ 371465 h 912651"/>
                    <a:gd name="connsiteX1443" fmla="*/ 223090 w 953912"/>
                    <a:gd name="connsiteY1443" fmla="*/ 372351 h 912651"/>
                    <a:gd name="connsiteX1444" fmla="*/ 223090 w 953912"/>
                    <a:gd name="connsiteY1444" fmla="*/ 372363 h 912651"/>
                    <a:gd name="connsiteX1445" fmla="*/ 222507 w 953912"/>
                    <a:gd name="connsiteY1445" fmla="*/ 377900 h 912651"/>
                    <a:gd name="connsiteX1446" fmla="*/ 222422 w 953912"/>
                    <a:gd name="connsiteY1446" fmla="*/ 379042 h 912651"/>
                    <a:gd name="connsiteX1447" fmla="*/ 222398 w 953912"/>
                    <a:gd name="connsiteY1447" fmla="*/ 379491 h 912651"/>
                    <a:gd name="connsiteX1448" fmla="*/ 222434 w 953912"/>
                    <a:gd name="connsiteY1448" fmla="*/ 379940 h 912651"/>
                    <a:gd name="connsiteX1449" fmla="*/ 222495 w 953912"/>
                    <a:gd name="connsiteY1449" fmla="*/ 380657 h 912651"/>
                    <a:gd name="connsiteX1450" fmla="*/ 222568 w 953912"/>
                    <a:gd name="connsiteY1450" fmla="*/ 381555 h 912651"/>
                    <a:gd name="connsiteX1451" fmla="*/ 222896 w 953912"/>
                    <a:gd name="connsiteY1451" fmla="*/ 382393 h 912651"/>
                    <a:gd name="connsiteX1452" fmla="*/ 223175 w 953912"/>
                    <a:gd name="connsiteY1452" fmla="*/ 383110 h 912651"/>
                    <a:gd name="connsiteX1453" fmla="*/ 223369 w 953912"/>
                    <a:gd name="connsiteY1453" fmla="*/ 383583 h 912651"/>
                    <a:gd name="connsiteX1454" fmla="*/ 223636 w 953912"/>
                    <a:gd name="connsiteY1454" fmla="*/ 384020 h 912651"/>
                    <a:gd name="connsiteX1455" fmla="*/ 228530 w 953912"/>
                    <a:gd name="connsiteY1455" fmla="*/ 392083 h 912651"/>
                    <a:gd name="connsiteX1456" fmla="*/ 228312 w 953912"/>
                    <a:gd name="connsiteY1456" fmla="*/ 393650 h 912651"/>
                    <a:gd name="connsiteX1457" fmla="*/ 228117 w 953912"/>
                    <a:gd name="connsiteY1457" fmla="*/ 394135 h 912651"/>
                    <a:gd name="connsiteX1458" fmla="*/ 227777 w 953912"/>
                    <a:gd name="connsiteY1458" fmla="*/ 395010 h 912651"/>
                    <a:gd name="connsiteX1459" fmla="*/ 227704 w 953912"/>
                    <a:gd name="connsiteY1459" fmla="*/ 395945 h 912651"/>
                    <a:gd name="connsiteX1460" fmla="*/ 227644 w 953912"/>
                    <a:gd name="connsiteY1460" fmla="*/ 396746 h 912651"/>
                    <a:gd name="connsiteX1461" fmla="*/ 227607 w 953912"/>
                    <a:gd name="connsiteY1461" fmla="*/ 397305 h 912651"/>
                    <a:gd name="connsiteX1462" fmla="*/ 227668 w 953912"/>
                    <a:gd name="connsiteY1462" fmla="*/ 397863 h 912651"/>
                    <a:gd name="connsiteX1463" fmla="*/ 227789 w 953912"/>
                    <a:gd name="connsiteY1463" fmla="*/ 398932 h 912651"/>
                    <a:gd name="connsiteX1464" fmla="*/ 227947 w 953912"/>
                    <a:gd name="connsiteY1464" fmla="*/ 400328 h 912651"/>
                    <a:gd name="connsiteX1465" fmla="*/ 228700 w 953912"/>
                    <a:gd name="connsiteY1465" fmla="*/ 401518 h 912651"/>
                    <a:gd name="connsiteX1466" fmla="*/ 229975 w 953912"/>
                    <a:gd name="connsiteY1466" fmla="*/ 403522 h 912651"/>
                    <a:gd name="connsiteX1467" fmla="*/ 230461 w 953912"/>
                    <a:gd name="connsiteY1467" fmla="*/ 404275 h 912651"/>
                    <a:gd name="connsiteX1468" fmla="*/ 231153 w 953912"/>
                    <a:gd name="connsiteY1468" fmla="*/ 404870 h 912651"/>
                    <a:gd name="connsiteX1469" fmla="*/ 232185 w 953912"/>
                    <a:gd name="connsiteY1469" fmla="*/ 405756 h 912651"/>
                    <a:gd name="connsiteX1470" fmla="*/ 232647 w 953912"/>
                    <a:gd name="connsiteY1470" fmla="*/ 406157 h 912651"/>
                    <a:gd name="connsiteX1471" fmla="*/ 233181 w 953912"/>
                    <a:gd name="connsiteY1471" fmla="*/ 406448 h 912651"/>
                    <a:gd name="connsiteX1472" fmla="*/ 233861 w 953912"/>
                    <a:gd name="connsiteY1472" fmla="*/ 406825 h 912651"/>
                    <a:gd name="connsiteX1473" fmla="*/ 235233 w 953912"/>
                    <a:gd name="connsiteY1473" fmla="*/ 407590 h 912651"/>
                    <a:gd name="connsiteX1474" fmla="*/ 236933 w 953912"/>
                    <a:gd name="connsiteY1474" fmla="*/ 407675 h 912651"/>
                    <a:gd name="connsiteX1475" fmla="*/ 237394 w 953912"/>
                    <a:gd name="connsiteY1475" fmla="*/ 407687 h 912651"/>
                    <a:gd name="connsiteX1476" fmla="*/ 238087 w 953912"/>
                    <a:gd name="connsiteY1476" fmla="*/ 407711 h 912651"/>
                    <a:gd name="connsiteX1477" fmla="*/ 238767 w 953912"/>
                    <a:gd name="connsiteY1477" fmla="*/ 407578 h 912651"/>
                    <a:gd name="connsiteX1478" fmla="*/ 239677 w 953912"/>
                    <a:gd name="connsiteY1478" fmla="*/ 407396 h 912651"/>
                    <a:gd name="connsiteX1479" fmla="*/ 241050 w 953912"/>
                    <a:gd name="connsiteY1479" fmla="*/ 406861 h 912651"/>
                    <a:gd name="connsiteX1480" fmla="*/ 241632 w 953912"/>
                    <a:gd name="connsiteY1480" fmla="*/ 406546 h 912651"/>
                    <a:gd name="connsiteX1481" fmla="*/ 241936 w 953912"/>
                    <a:gd name="connsiteY1481" fmla="*/ 406376 h 912651"/>
                    <a:gd name="connsiteX1482" fmla="*/ 242215 w 953912"/>
                    <a:gd name="connsiteY1482" fmla="*/ 406181 h 912651"/>
                    <a:gd name="connsiteX1483" fmla="*/ 242968 w 953912"/>
                    <a:gd name="connsiteY1483" fmla="*/ 405659 h 912651"/>
                    <a:gd name="connsiteX1484" fmla="*/ 243369 w 953912"/>
                    <a:gd name="connsiteY1484" fmla="*/ 405392 h 912651"/>
                    <a:gd name="connsiteX1485" fmla="*/ 243709 w 953912"/>
                    <a:gd name="connsiteY1485" fmla="*/ 405064 h 912651"/>
                    <a:gd name="connsiteX1486" fmla="*/ 246672 w 953912"/>
                    <a:gd name="connsiteY1486" fmla="*/ 402235 h 912651"/>
                    <a:gd name="connsiteX1487" fmla="*/ 249319 w 953912"/>
                    <a:gd name="connsiteY1487" fmla="*/ 402247 h 912651"/>
                    <a:gd name="connsiteX1488" fmla="*/ 250023 w 953912"/>
                    <a:gd name="connsiteY1488" fmla="*/ 402381 h 912651"/>
                    <a:gd name="connsiteX1489" fmla="*/ 250193 w 953912"/>
                    <a:gd name="connsiteY1489" fmla="*/ 402441 h 912651"/>
                    <a:gd name="connsiteX1490" fmla="*/ 251262 w 953912"/>
                    <a:gd name="connsiteY1490" fmla="*/ 402793 h 912651"/>
                    <a:gd name="connsiteX1491" fmla="*/ 253387 w 953912"/>
                    <a:gd name="connsiteY1491" fmla="*/ 403923 h 912651"/>
                    <a:gd name="connsiteX1492" fmla="*/ 255670 w 953912"/>
                    <a:gd name="connsiteY1492" fmla="*/ 406181 h 912651"/>
                    <a:gd name="connsiteX1493" fmla="*/ 255670 w 953912"/>
                    <a:gd name="connsiteY1493" fmla="*/ 409521 h 912651"/>
                    <a:gd name="connsiteX1494" fmla="*/ 262093 w 953912"/>
                    <a:gd name="connsiteY1494" fmla="*/ 409181 h 912651"/>
                    <a:gd name="connsiteX1495" fmla="*/ 263125 w 953912"/>
                    <a:gd name="connsiteY1495" fmla="*/ 409120 h 912651"/>
                    <a:gd name="connsiteX1496" fmla="*/ 263963 w 953912"/>
                    <a:gd name="connsiteY1496" fmla="*/ 409071 h 912651"/>
                    <a:gd name="connsiteX1497" fmla="*/ 264753 w 953912"/>
                    <a:gd name="connsiteY1497" fmla="*/ 408804 h 912651"/>
                    <a:gd name="connsiteX1498" fmla="*/ 266756 w 953912"/>
                    <a:gd name="connsiteY1498" fmla="*/ 408112 h 912651"/>
                    <a:gd name="connsiteX1499" fmla="*/ 268262 w 953912"/>
                    <a:gd name="connsiteY1499" fmla="*/ 408646 h 912651"/>
                    <a:gd name="connsiteX1500" fmla="*/ 269197 w 953912"/>
                    <a:gd name="connsiteY1500" fmla="*/ 408974 h 912651"/>
                    <a:gd name="connsiteX1501" fmla="*/ 269440 w 953912"/>
                    <a:gd name="connsiteY1501" fmla="*/ 409059 h 912651"/>
                    <a:gd name="connsiteX1502" fmla="*/ 272961 w 953912"/>
                    <a:gd name="connsiteY1502" fmla="*/ 413309 h 912651"/>
                    <a:gd name="connsiteX1503" fmla="*/ 273908 w 953912"/>
                    <a:gd name="connsiteY1503" fmla="*/ 414451 h 912651"/>
                    <a:gd name="connsiteX1504" fmla="*/ 275268 w 953912"/>
                    <a:gd name="connsiteY1504" fmla="*/ 415021 h 912651"/>
                    <a:gd name="connsiteX1505" fmla="*/ 276191 w 953912"/>
                    <a:gd name="connsiteY1505" fmla="*/ 415410 h 912651"/>
                    <a:gd name="connsiteX1506" fmla="*/ 276507 w 953912"/>
                    <a:gd name="connsiteY1506" fmla="*/ 415543 h 912651"/>
                    <a:gd name="connsiteX1507" fmla="*/ 276835 w 953912"/>
                    <a:gd name="connsiteY1507" fmla="*/ 415641 h 912651"/>
                    <a:gd name="connsiteX1508" fmla="*/ 277078 w 953912"/>
                    <a:gd name="connsiteY1508" fmla="*/ 415713 h 912651"/>
                    <a:gd name="connsiteX1509" fmla="*/ 277175 w 953912"/>
                    <a:gd name="connsiteY1509" fmla="*/ 415774 h 912651"/>
                    <a:gd name="connsiteX1510" fmla="*/ 277624 w 953912"/>
                    <a:gd name="connsiteY1510" fmla="*/ 415871 h 912651"/>
                    <a:gd name="connsiteX1511" fmla="*/ 278425 w 953912"/>
                    <a:gd name="connsiteY1511" fmla="*/ 416114 h 912651"/>
                    <a:gd name="connsiteX1512" fmla="*/ 278680 w 953912"/>
                    <a:gd name="connsiteY1512" fmla="*/ 416114 h 912651"/>
                    <a:gd name="connsiteX1513" fmla="*/ 280235 w 953912"/>
                    <a:gd name="connsiteY1513" fmla="*/ 416442 h 912651"/>
                    <a:gd name="connsiteX1514" fmla="*/ 282421 w 953912"/>
                    <a:gd name="connsiteY1514" fmla="*/ 415641 h 912651"/>
                    <a:gd name="connsiteX1515" fmla="*/ 283331 w 953912"/>
                    <a:gd name="connsiteY1515" fmla="*/ 415216 h 912651"/>
                    <a:gd name="connsiteX1516" fmla="*/ 283768 w 953912"/>
                    <a:gd name="connsiteY1516" fmla="*/ 415094 h 912651"/>
                    <a:gd name="connsiteX1517" fmla="*/ 283805 w 953912"/>
                    <a:gd name="connsiteY1517" fmla="*/ 415094 h 912651"/>
                    <a:gd name="connsiteX1518" fmla="*/ 284315 w 953912"/>
                    <a:gd name="connsiteY1518" fmla="*/ 415543 h 912651"/>
                    <a:gd name="connsiteX1519" fmla="*/ 287812 w 953912"/>
                    <a:gd name="connsiteY1519" fmla="*/ 418773 h 912651"/>
                    <a:gd name="connsiteX1520" fmla="*/ 288407 w 953912"/>
                    <a:gd name="connsiteY1520" fmla="*/ 419320 h 912651"/>
                    <a:gd name="connsiteX1521" fmla="*/ 289123 w 953912"/>
                    <a:gd name="connsiteY1521" fmla="*/ 419696 h 912651"/>
                    <a:gd name="connsiteX1522" fmla="*/ 290277 w 953912"/>
                    <a:gd name="connsiteY1522" fmla="*/ 420304 h 912651"/>
                    <a:gd name="connsiteX1523" fmla="*/ 290690 w 953912"/>
                    <a:gd name="connsiteY1523" fmla="*/ 420522 h 912651"/>
                    <a:gd name="connsiteX1524" fmla="*/ 291127 w 953912"/>
                    <a:gd name="connsiteY1524" fmla="*/ 420680 h 912651"/>
                    <a:gd name="connsiteX1525" fmla="*/ 291977 w 953912"/>
                    <a:gd name="connsiteY1525" fmla="*/ 420971 h 912651"/>
                    <a:gd name="connsiteX1526" fmla="*/ 292657 w 953912"/>
                    <a:gd name="connsiteY1526" fmla="*/ 421202 h 912651"/>
                    <a:gd name="connsiteX1527" fmla="*/ 293568 w 953912"/>
                    <a:gd name="connsiteY1527" fmla="*/ 421336 h 912651"/>
                    <a:gd name="connsiteX1528" fmla="*/ 296312 w 953912"/>
                    <a:gd name="connsiteY1528" fmla="*/ 421591 h 912651"/>
                    <a:gd name="connsiteX1529" fmla="*/ 301023 w 953912"/>
                    <a:gd name="connsiteY1529" fmla="*/ 422028 h 912651"/>
                    <a:gd name="connsiteX1530" fmla="*/ 301181 w 953912"/>
                    <a:gd name="connsiteY1530" fmla="*/ 422368 h 912651"/>
                    <a:gd name="connsiteX1531" fmla="*/ 299979 w 953912"/>
                    <a:gd name="connsiteY1531" fmla="*/ 423327 h 912651"/>
                    <a:gd name="connsiteX1532" fmla="*/ 299676 w 953912"/>
                    <a:gd name="connsiteY1532" fmla="*/ 423570 h 912651"/>
                    <a:gd name="connsiteX1533" fmla="*/ 299409 w 953912"/>
                    <a:gd name="connsiteY1533" fmla="*/ 423849 h 912651"/>
                    <a:gd name="connsiteX1534" fmla="*/ 298024 w 953912"/>
                    <a:gd name="connsiteY1534" fmla="*/ 425282 h 912651"/>
                    <a:gd name="connsiteX1535" fmla="*/ 297575 w 953912"/>
                    <a:gd name="connsiteY1535" fmla="*/ 425744 h 912651"/>
                    <a:gd name="connsiteX1536" fmla="*/ 297247 w 953912"/>
                    <a:gd name="connsiteY1536" fmla="*/ 426278 h 912651"/>
                    <a:gd name="connsiteX1537" fmla="*/ 296397 w 953912"/>
                    <a:gd name="connsiteY1537" fmla="*/ 427626 h 912651"/>
                    <a:gd name="connsiteX1538" fmla="*/ 296215 w 953912"/>
                    <a:gd name="connsiteY1538" fmla="*/ 427929 h 912651"/>
                    <a:gd name="connsiteX1539" fmla="*/ 296057 w 953912"/>
                    <a:gd name="connsiteY1539" fmla="*/ 428245 h 912651"/>
                    <a:gd name="connsiteX1540" fmla="*/ 294381 w 953912"/>
                    <a:gd name="connsiteY1540" fmla="*/ 431779 h 912651"/>
                    <a:gd name="connsiteX1541" fmla="*/ 294102 w 953912"/>
                    <a:gd name="connsiteY1541" fmla="*/ 432361 h 912651"/>
                    <a:gd name="connsiteX1542" fmla="*/ 293956 w 953912"/>
                    <a:gd name="connsiteY1542" fmla="*/ 433005 h 912651"/>
                    <a:gd name="connsiteX1543" fmla="*/ 293677 w 953912"/>
                    <a:gd name="connsiteY1543" fmla="*/ 434207 h 912651"/>
                    <a:gd name="connsiteX1544" fmla="*/ 293519 w 953912"/>
                    <a:gd name="connsiteY1544" fmla="*/ 434887 h 912651"/>
                    <a:gd name="connsiteX1545" fmla="*/ 293519 w 953912"/>
                    <a:gd name="connsiteY1545" fmla="*/ 435591 h 912651"/>
                    <a:gd name="connsiteX1546" fmla="*/ 293519 w 953912"/>
                    <a:gd name="connsiteY1546" fmla="*/ 436490 h 912651"/>
                    <a:gd name="connsiteX1547" fmla="*/ 293519 w 953912"/>
                    <a:gd name="connsiteY1547" fmla="*/ 437680 h 912651"/>
                    <a:gd name="connsiteX1548" fmla="*/ 293968 w 953912"/>
                    <a:gd name="connsiteY1548" fmla="*/ 438785 h 912651"/>
                    <a:gd name="connsiteX1549" fmla="*/ 294248 w 953912"/>
                    <a:gd name="connsiteY1549" fmla="*/ 439465 h 912651"/>
                    <a:gd name="connsiteX1550" fmla="*/ 294418 w 953912"/>
                    <a:gd name="connsiteY1550" fmla="*/ 439890 h 912651"/>
                    <a:gd name="connsiteX1551" fmla="*/ 294661 w 953912"/>
                    <a:gd name="connsiteY1551" fmla="*/ 440279 h 912651"/>
                    <a:gd name="connsiteX1552" fmla="*/ 294818 w 953912"/>
                    <a:gd name="connsiteY1552" fmla="*/ 440546 h 912651"/>
                    <a:gd name="connsiteX1553" fmla="*/ 295401 w 953912"/>
                    <a:gd name="connsiteY1553" fmla="*/ 441457 h 912651"/>
                    <a:gd name="connsiteX1554" fmla="*/ 295753 w 953912"/>
                    <a:gd name="connsiteY1554" fmla="*/ 441930 h 912651"/>
                    <a:gd name="connsiteX1555" fmla="*/ 296361 w 953912"/>
                    <a:gd name="connsiteY1555" fmla="*/ 442562 h 912651"/>
                    <a:gd name="connsiteX1556" fmla="*/ 296628 w 953912"/>
                    <a:gd name="connsiteY1556" fmla="*/ 442817 h 912651"/>
                    <a:gd name="connsiteX1557" fmla="*/ 297332 w 953912"/>
                    <a:gd name="connsiteY1557" fmla="*/ 443399 h 912651"/>
                    <a:gd name="connsiteX1558" fmla="*/ 297381 w 953912"/>
                    <a:gd name="connsiteY1558" fmla="*/ 443436 h 912651"/>
                    <a:gd name="connsiteX1559" fmla="*/ 297113 w 953912"/>
                    <a:gd name="connsiteY1559" fmla="*/ 443703 h 912651"/>
                    <a:gd name="connsiteX1560" fmla="*/ 296858 w 953912"/>
                    <a:gd name="connsiteY1560" fmla="*/ 443946 h 912651"/>
                    <a:gd name="connsiteX1561" fmla="*/ 296640 w 953912"/>
                    <a:gd name="connsiteY1561" fmla="*/ 444213 h 912651"/>
                    <a:gd name="connsiteX1562" fmla="*/ 295037 w 953912"/>
                    <a:gd name="connsiteY1562" fmla="*/ 446192 h 912651"/>
                    <a:gd name="connsiteX1563" fmla="*/ 294248 w 953912"/>
                    <a:gd name="connsiteY1563" fmla="*/ 447164 h 912651"/>
                    <a:gd name="connsiteX1564" fmla="*/ 293908 w 953912"/>
                    <a:gd name="connsiteY1564" fmla="*/ 448366 h 912651"/>
                    <a:gd name="connsiteX1565" fmla="*/ 293446 w 953912"/>
                    <a:gd name="connsiteY1565" fmla="*/ 449981 h 912651"/>
                    <a:gd name="connsiteX1566" fmla="*/ 293349 w 953912"/>
                    <a:gd name="connsiteY1566" fmla="*/ 450333 h 912651"/>
                    <a:gd name="connsiteX1567" fmla="*/ 293288 w 953912"/>
                    <a:gd name="connsiteY1567" fmla="*/ 450697 h 912651"/>
                    <a:gd name="connsiteX1568" fmla="*/ 292997 w 953912"/>
                    <a:gd name="connsiteY1568" fmla="*/ 452555 h 912651"/>
                    <a:gd name="connsiteX1569" fmla="*/ 292900 w 953912"/>
                    <a:gd name="connsiteY1569" fmla="*/ 453187 h 912651"/>
                    <a:gd name="connsiteX1570" fmla="*/ 292936 w 953912"/>
                    <a:gd name="connsiteY1570" fmla="*/ 453830 h 912651"/>
                    <a:gd name="connsiteX1571" fmla="*/ 293058 w 953912"/>
                    <a:gd name="connsiteY1571" fmla="*/ 456137 h 912651"/>
                    <a:gd name="connsiteX1572" fmla="*/ 292961 w 953912"/>
                    <a:gd name="connsiteY1572" fmla="*/ 456502 h 912651"/>
                    <a:gd name="connsiteX1573" fmla="*/ 292924 w 953912"/>
                    <a:gd name="connsiteY1573" fmla="*/ 456587 h 912651"/>
                    <a:gd name="connsiteX1574" fmla="*/ 291564 w 953912"/>
                    <a:gd name="connsiteY1574" fmla="*/ 457509 h 912651"/>
                    <a:gd name="connsiteX1575" fmla="*/ 288905 w 953912"/>
                    <a:gd name="connsiteY1575" fmla="*/ 459319 h 912651"/>
                    <a:gd name="connsiteX1576" fmla="*/ 288905 w 953912"/>
                    <a:gd name="connsiteY1576" fmla="*/ 460448 h 912651"/>
                    <a:gd name="connsiteX1577" fmla="*/ 288832 w 953912"/>
                    <a:gd name="connsiteY1577" fmla="*/ 460533 h 912651"/>
                    <a:gd name="connsiteX1578" fmla="*/ 287533 w 953912"/>
                    <a:gd name="connsiteY1578" fmla="*/ 462160 h 912651"/>
                    <a:gd name="connsiteX1579" fmla="*/ 287533 w 953912"/>
                    <a:gd name="connsiteY1579" fmla="*/ 463107 h 912651"/>
                    <a:gd name="connsiteX1580" fmla="*/ 287168 w 953912"/>
                    <a:gd name="connsiteY1580" fmla="*/ 464006 h 912651"/>
                    <a:gd name="connsiteX1581" fmla="*/ 286209 w 953912"/>
                    <a:gd name="connsiteY1581" fmla="*/ 467115 h 912651"/>
                    <a:gd name="connsiteX1582" fmla="*/ 286185 w 953912"/>
                    <a:gd name="connsiteY1582" fmla="*/ 467151 h 912651"/>
                    <a:gd name="connsiteX1583" fmla="*/ 285201 w 953912"/>
                    <a:gd name="connsiteY1583" fmla="*/ 467515 h 912651"/>
                    <a:gd name="connsiteX1584" fmla="*/ 283453 w 953912"/>
                    <a:gd name="connsiteY1584" fmla="*/ 468147 h 912651"/>
                    <a:gd name="connsiteX1585" fmla="*/ 282797 w 953912"/>
                    <a:gd name="connsiteY1585" fmla="*/ 468292 h 912651"/>
                    <a:gd name="connsiteX1586" fmla="*/ 282165 w 953912"/>
                    <a:gd name="connsiteY1586" fmla="*/ 468426 h 912651"/>
                    <a:gd name="connsiteX1587" fmla="*/ 279518 w 953912"/>
                    <a:gd name="connsiteY1587" fmla="*/ 468681 h 912651"/>
                    <a:gd name="connsiteX1588" fmla="*/ 278753 w 953912"/>
                    <a:gd name="connsiteY1588" fmla="*/ 468754 h 912651"/>
                    <a:gd name="connsiteX1589" fmla="*/ 278025 w 953912"/>
                    <a:gd name="connsiteY1589" fmla="*/ 469021 h 912651"/>
                    <a:gd name="connsiteX1590" fmla="*/ 276592 w 953912"/>
                    <a:gd name="connsiteY1590" fmla="*/ 469543 h 912651"/>
                    <a:gd name="connsiteX1591" fmla="*/ 275681 w 953912"/>
                    <a:gd name="connsiteY1591" fmla="*/ 469871 h 912651"/>
                    <a:gd name="connsiteX1592" fmla="*/ 274855 w 953912"/>
                    <a:gd name="connsiteY1592" fmla="*/ 470490 h 912651"/>
                    <a:gd name="connsiteX1593" fmla="*/ 274297 w 953912"/>
                    <a:gd name="connsiteY1593" fmla="*/ 470940 h 912651"/>
                    <a:gd name="connsiteX1594" fmla="*/ 274018 w 953912"/>
                    <a:gd name="connsiteY1594" fmla="*/ 471049 h 912651"/>
                    <a:gd name="connsiteX1595" fmla="*/ 273095 w 953912"/>
                    <a:gd name="connsiteY1595" fmla="*/ 471899 h 912651"/>
                    <a:gd name="connsiteX1596" fmla="*/ 272172 w 953912"/>
                    <a:gd name="connsiteY1596" fmla="*/ 472785 h 912651"/>
                    <a:gd name="connsiteX1597" fmla="*/ 271237 w 953912"/>
                    <a:gd name="connsiteY1597" fmla="*/ 473672 h 912651"/>
                    <a:gd name="connsiteX1598" fmla="*/ 270666 w 953912"/>
                    <a:gd name="connsiteY1598" fmla="*/ 474206 h 912651"/>
                    <a:gd name="connsiteX1599" fmla="*/ 270253 w 953912"/>
                    <a:gd name="connsiteY1599" fmla="*/ 474874 h 912651"/>
                    <a:gd name="connsiteX1600" fmla="*/ 269258 w 953912"/>
                    <a:gd name="connsiteY1600" fmla="*/ 476465 h 912651"/>
                    <a:gd name="connsiteX1601" fmla="*/ 268820 w 953912"/>
                    <a:gd name="connsiteY1601" fmla="*/ 476902 h 912651"/>
                    <a:gd name="connsiteX1602" fmla="*/ 268201 w 953912"/>
                    <a:gd name="connsiteY1602" fmla="*/ 477375 h 912651"/>
                    <a:gd name="connsiteX1603" fmla="*/ 267667 w 953912"/>
                    <a:gd name="connsiteY1603" fmla="*/ 477655 h 912651"/>
                    <a:gd name="connsiteX1604" fmla="*/ 267278 w 953912"/>
                    <a:gd name="connsiteY1604" fmla="*/ 477849 h 912651"/>
                    <a:gd name="connsiteX1605" fmla="*/ 263878 w 953912"/>
                    <a:gd name="connsiteY1605" fmla="*/ 479512 h 912651"/>
                    <a:gd name="connsiteX1606" fmla="*/ 263878 w 953912"/>
                    <a:gd name="connsiteY1606" fmla="*/ 480059 h 912651"/>
                    <a:gd name="connsiteX1607" fmla="*/ 257916 w 953912"/>
                    <a:gd name="connsiteY1607" fmla="*/ 479525 h 912651"/>
                    <a:gd name="connsiteX1608" fmla="*/ 257078 w 953912"/>
                    <a:gd name="connsiteY1608" fmla="*/ 479452 h 912651"/>
                    <a:gd name="connsiteX1609" fmla="*/ 256252 w 953912"/>
                    <a:gd name="connsiteY1609" fmla="*/ 479610 h 912651"/>
                    <a:gd name="connsiteX1610" fmla="*/ 252221 w 953912"/>
                    <a:gd name="connsiteY1610" fmla="*/ 480375 h 912651"/>
                    <a:gd name="connsiteX1611" fmla="*/ 251650 w 953912"/>
                    <a:gd name="connsiteY1611" fmla="*/ 480484 h 912651"/>
                    <a:gd name="connsiteX1612" fmla="*/ 251104 w 953912"/>
                    <a:gd name="connsiteY1612" fmla="*/ 480703 h 912651"/>
                    <a:gd name="connsiteX1613" fmla="*/ 250375 w 953912"/>
                    <a:gd name="connsiteY1613" fmla="*/ 480994 h 912651"/>
                    <a:gd name="connsiteX1614" fmla="*/ 249720 w 953912"/>
                    <a:gd name="connsiteY1614" fmla="*/ 481249 h 912651"/>
                    <a:gd name="connsiteX1615" fmla="*/ 249149 w 953912"/>
                    <a:gd name="connsiteY1615" fmla="*/ 481650 h 912651"/>
                    <a:gd name="connsiteX1616" fmla="*/ 246028 w 953912"/>
                    <a:gd name="connsiteY1616" fmla="*/ 483835 h 912651"/>
                    <a:gd name="connsiteX1617" fmla="*/ 245275 w 953912"/>
                    <a:gd name="connsiteY1617" fmla="*/ 484224 h 912651"/>
                    <a:gd name="connsiteX1618" fmla="*/ 245190 w 953912"/>
                    <a:gd name="connsiteY1618" fmla="*/ 484248 h 912651"/>
                    <a:gd name="connsiteX1619" fmla="*/ 245166 w 953912"/>
                    <a:gd name="connsiteY1619" fmla="*/ 484248 h 912651"/>
                    <a:gd name="connsiteX1620" fmla="*/ 242240 w 953912"/>
                    <a:gd name="connsiteY1620" fmla="*/ 484078 h 912651"/>
                    <a:gd name="connsiteX1621" fmla="*/ 240989 w 953912"/>
                    <a:gd name="connsiteY1621" fmla="*/ 484005 h 912651"/>
                    <a:gd name="connsiteX1622" fmla="*/ 239811 w 953912"/>
                    <a:gd name="connsiteY1622" fmla="*/ 484443 h 912651"/>
                    <a:gd name="connsiteX1623" fmla="*/ 238317 w 953912"/>
                    <a:gd name="connsiteY1623" fmla="*/ 484989 h 912651"/>
                    <a:gd name="connsiteX1624" fmla="*/ 234322 w 953912"/>
                    <a:gd name="connsiteY1624" fmla="*/ 486446 h 912651"/>
                    <a:gd name="connsiteX1625" fmla="*/ 234322 w 953912"/>
                    <a:gd name="connsiteY1625" fmla="*/ 487357 h 912651"/>
                    <a:gd name="connsiteX1626" fmla="*/ 230971 w 953912"/>
                    <a:gd name="connsiteY1626" fmla="*/ 489713 h 912651"/>
                    <a:gd name="connsiteX1627" fmla="*/ 230692 w 953912"/>
                    <a:gd name="connsiteY1627" fmla="*/ 489907 h 912651"/>
                    <a:gd name="connsiteX1628" fmla="*/ 230437 w 953912"/>
                    <a:gd name="connsiteY1628" fmla="*/ 490138 h 912651"/>
                    <a:gd name="connsiteX1629" fmla="*/ 228542 w 953912"/>
                    <a:gd name="connsiteY1629" fmla="*/ 491825 h 912651"/>
                    <a:gd name="connsiteX1630" fmla="*/ 228239 w 953912"/>
                    <a:gd name="connsiteY1630" fmla="*/ 492093 h 912651"/>
                    <a:gd name="connsiteX1631" fmla="*/ 227984 w 953912"/>
                    <a:gd name="connsiteY1631" fmla="*/ 492396 h 912651"/>
                    <a:gd name="connsiteX1632" fmla="*/ 227583 w 953912"/>
                    <a:gd name="connsiteY1632" fmla="*/ 492870 h 912651"/>
                    <a:gd name="connsiteX1633" fmla="*/ 226988 w 953912"/>
                    <a:gd name="connsiteY1633" fmla="*/ 493113 h 912651"/>
                    <a:gd name="connsiteX1634" fmla="*/ 225871 w 953912"/>
                    <a:gd name="connsiteY1634" fmla="*/ 494995 h 912651"/>
                    <a:gd name="connsiteX1635" fmla="*/ 224547 w 953912"/>
                    <a:gd name="connsiteY1635" fmla="*/ 497326 h 912651"/>
                    <a:gd name="connsiteX1636" fmla="*/ 224292 w 953912"/>
                    <a:gd name="connsiteY1636" fmla="*/ 497788 h 912651"/>
                    <a:gd name="connsiteX1637" fmla="*/ 224110 w 953912"/>
                    <a:gd name="connsiteY1637" fmla="*/ 498298 h 912651"/>
                    <a:gd name="connsiteX1638" fmla="*/ 222641 w 953912"/>
                    <a:gd name="connsiteY1638" fmla="*/ 502450 h 912651"/>
                    <a:gd name="connsiteX1639" fmla="*/ 222131 w 953912"/>
                    <a:gd name="connsiteY1639" fmla="*/ 503446 h 912651"/>
                    <a:gd name="connsiteX1640" fmla="*/ 216727 w 953912"/>
                    <a:gd name="connsiteY1640" fmla="*/ 511291 h 912651"/>
                    <a:gd name="connsiteX1641" fmla="*/ 216314 w 953912"/>
                    <a:gd name="connsiteY1641" fmla="*/ 511898 h 912651"/>
                    <a:gd name="connsiteX1642" fmla="*/ 216059 w 953912"/>
                    <a:gd name="connsiteY1642" fmla="*/ 512578 h 912651"/>
                    <a:gd name="connsiteX1643" fmla="*/ 215719 w 953912"/>
                    <a:gd name="connsiteY1643" fmla="*/ 513464 h 912651"/>
                    <a:gd name="connsiteX1644" fmla="*/ 215574 w 953912"/>
                    <a:gd name="connsiteY1644" fmla="*/ 513841 h 912651"/>
                    <a:gd name="connsiteX1645" fmla="*/ 215476 w 953912"/>
                    <a:gd name="connsiteY1645" fmla="*/ 514229 h 912651"/>
                    <a:gd name="connsiteX1646" fmla="*/ 215246 w 953912"/>
                    <a:gd name="connsiteY1646" fmla="*/ 515213 h 912651"/>
                    <a:gd name="connsiteX1647" fmla="*/ 214918 w 953912"/>
                    <a:gd name="connsiteY1647" fmla="*/ 516597 h 912651"/>
                    <a:gd name="connsiteX1648" fmla="*/ 215234 w 953912"/>
                    <a:gd name="connsiteY1648" fmla="*/ 517981 h 912651"/>
                    <a:gd name="connsiteX1649" fmla="*/ 215476 w 953912"/>
                    <a:gd name="connsiteY1649" fmla="*/ 518977 h 912651"/>
                    <a:gd name="connsiteX1650" fmla="*/ 215610 w 953912"/>
                    <a:gd name="connsiteY1650" fmla="*/ 519584 h 912651"/>
                    <a:gd name="connsiteX1651" fmla="*/ 215877 w 953912"/>
                    <a:gd name="connsiteY1651" fmla="*/ 520155 h 912651"/>
                    <a:gd name="connsiteX1652" fmla="*/ 216266 w 953912"/>
                    <a:gd name="connsiteY1652" fmla="*/ 521017 h 912651"/>
                    <a:gd name="connsiteX1653" fmla="*/ 216424 w 953912"/>
                    <a:gd name="connsiteY1653" fmla="*/ 521345 h 912651"/>
                    <a:gd name="connsiteX1654" fmla="*/ 216618 w 953912"/>
                    <a:gd name="connsiteY1654" fmla="*/ 521661 h 912651"/>
                    <a:gd name="connsiteX1655" fmla="*/ 217274 w 953912"/>
                    <a:gd name="connsiteY1655" fmla="*/ 522717 h 912651"/>
                    <a:gd name="connsiteX1656" fmla="*/ 215161 w 953912"/>
                    <a:gd name="connsiteY1656" fmla="*/ 528327 h 912651"/>
                    <a:gd name="connsiteX1657" fmla="*/ 214226 w 953912"/>
                    <a:gd name="connsiteY1657" fmla="*/ 527817 h 912651"/>
                    <a:gd name="connsiteX1658" fmla="*/ 213157 w 953912"/>
                    <a:gd name="connsiteY1658" fmla="*/ 527659 h 912651"/>
                    <a:gd name="connsiteX1659" fmla="*/ 211785 w 953912"/>
                    <a:gd name="connsiteY1659" fmla="*/ 527453 h 912651"/>
                    <a:gd name="connsiteX1660" fmla="*/ 211336 w 953912"/>
                    <a:gd name="connsiteY1660" fmla="*/ 527380 h 912651"/>
                    <a:gd name="connsiteX1661" fmla="*/ 210874 w 953912"/>
                    <a:gd name="connsiteY1661" fmla="*/ 527380 h 912651"/>
                    <a:gd name="connsiteX1662" fmla="*/ 209126 w 953912"/>
                    <a:gd name="connsiteY1662" fmla="*/ 527356 h 912651"/>
                    <a:gd name="connsiteX1663" fmla="*/ 208604 w 953912"/>
                    <a:gd name="connsiteY1663" fmla="*/ 527356 h 912651"/>
                    <a:gd name="connsiteX1664" fmla="*/ 208081 w 953912"/>
                    <a:gd name="connsiteY1664" fmla="*/ 527441 h 912651"/>
                    <a:gd name="connsiteX1665" fmla="*/ 206479 w 953912"/>
                    <a:gd name="connsiteY1665" fmla="*/ 527696 h 912651"/>
                    <a:gd name="connsiteX1666" fmla="*/ 206102 w 953912"/>
                    <a:gd name="connsiteY1666" fmla="*/ 527756 h 912651"/>
                    <a:gd name="connsiteX1667" fmla="*/ 205738 w 953912"/>
                    <a:gd name="connsiteY1667" fmla="*/ 527866 h 912651"/>
                    <a:gd name="connsiteX1668" fmla="*/ 204074 w 953912"/>
                    <a:gd name="connsiteY1668" fmla="*/ 528351 h 912651"/>
                    <a:gd name="connsiteX1669" fmla="*/ 203601 w 953912"/>
                    <a:gd name="connsiteY1669" fmla="*/ 528485 h 912651"/>
                    <a:gd name="connsiteX1670" fmla="*/ 203151 w 953912"/>
                    <a:gd name="connsiteY1670" fmla="*/ 528704 h 912651"/>
                    <a:gd name="connsiteX1671" fmla="*/ 200735 w 953912"/>
                    <a:gd name="connsiteY1671" fmla="*/ 529857 h 912651"/>
                    <a:gd name="connsiteX1672" fmla="*/ 198367 w 953912"/>
                    <a:gd name="connsiteY1672" fmla="*/ 530962 h 912651"/>
                    <a:gd name="connsiteX1673" fmla="*/ 195258 w 953912"/>
                    <a:gd name="connsiteY1673" fmla="*/ 530391 h 912651"/>
                    <a:gd name="connsiteX1674" fmla="*/ 193753 w 953912"/>
                    <a:gd name="connsiteY1674" fmla="*/ 530221 h 912651"/>
                    <a:gd name="connsiteX1675" fmla="*/ 193486 w 953912"/>
                    <a:gd name="connsiteY1675" fmla="*/ 530197 h 912651"/>
                    <a:gd name="connsiteX1676" fmla="*/ 192988 w 953912"/>
                    <a:gd name="connsiteY1676" fmla="*/ 530197 h 912651"/>
                    <a:gd name="connsiteX1677" fmla="*/ 192344 w 953912"/>
                    <a:gd name="connsiteY1677" fmla="*/ 530197 h 912651"/>
                    <a:gd name="connsiteX1678" fmla="*/ 191834 w 953912"/>
                    <a:gd name="connsiteY1678" fmla="*/ 530197 h 912651"/>
                    <a:gd name="connsiteX1679" fmla="*/ 191336 w 953912"/>
                    <a:gd name="connsiteY1679" fmla="*/ 530282 h 912651"/>
                    <a:gd name="connsiteX1680" fmla="*/ 185714 w 953912"/>
                    <a:gd name="connsiteY1680" fmla="*/ 531229 h 912651"/>
                    <a:gd name="connsiteX1681" fmla="*/ 185374 w 953912"/>
                    <a:gd name="connsiteY1681" fmla="*/ 531290 h 912651"/>
                    <a:gd name="connsiteX1682" fmla="*/ 185046 w 953912"/>
                    <a:gd name="connsiteY1682" fmla="*/ 531375 h 912651"/>
                    <a:gd name="connsiteX1683" fmla="*/ 184512 w 953912"/>
                    <a:gd name="connsiteY1683" fmla="*/ 531533 h 912651"/>
                    <a:gd name="connsiteX1684" fmla="*/ 183881 w 953912"/>
                    <a:gd name="connsiteY1684" fmla="*/ 531812 h 912651"/>
                    <a:gd name="connsiteX1685" fmla="*/ 182168 w 953912"/>
                    <a:gd name="connsiteY1685" fmla="*/ 532662 h 912651"/>
                    <a:gd name="connsiteX1686" fmla="*/ 181282 w 953912"/>
                    <a:gd name="connsiteY1686" fmla="*/ 533111 h 912651"/>
                    <a:gd name="connsiteX1687" fmla="*/ 180578 w 953912"/>
                    <a:gd name="connsiteY1687" fmla="*/ 533816 h 912651"/>
                    <a:gd name="connsiteX1688" fmla="*/ 179764 w 953912"/>
                    <a:gd name="connsiteY1688" fmla="*/ 534629 h 912651"/>
                    <a:gd name="connsiteX1689" fmla="*/ 179218 w 953912"/>
                    <a:gd name="connsiteY1689" fmla="*/ 535139 h 912651"/>
                    <a:gd name="connsiteX1690" fmla="*/ 178829 w 953912"/>
                    <a:gd name="connsiteY1690" fmla="*/ 535783 h 912651"/>
                    <a:gd name="connsiteX1691" fmla="*/ 178258 w 953912"/>
                    <a:gd name="connsiteY1691" fmla="*/ 536730 h 912651"/>
                    <a:gd name="connsiteX1692" fmla="*/ 177712 w 953912"/>
                    <a:gd name="connsiteY1692" fmla="*/ 537653 h 912651"/>
                    <a:gd name="connsiteX1693" fmla="*/ 177506 w 953912"/>
                    <a:gd name="connsiteY1693" fmla="*/ 538697 h 912651"/>
                    <a:gd name="connsiteX1694" fmla="*/ 177336 w 953912"/>
                    <a:gd name="connsiteY1694" fmla="*/ 539584 h 912651"/>
                    <a:gd name="connsiteX1695" fmla="*/ 177263 w 953912"/>
                    <a:gd name="connsiteY1695" fmla="*/ 539972 h 912651"/>
                    <a:gd name="connsiteX1696" fmla="*/ 177238 w 953912"/>
                    <a:gd name="connsiteY1696" fmla="*/ 540361 h 912651"/>
                    <a:gd name="connsiteX1697" fmla="*/ 177178 w 953912"/>
                    <a:gd name="connsiteY1697" fmla="*/ 541332 h 912651"/>
                    <a:gd name="connsiteX1698" fmla="*/ 177141 w 953912"/>
                    <a:gd name="connsiteY1698" fmla="*/ 542607 h 912651"/>
                    <a:gd name="connsiteX1699" fmla="*/ 176546 w 953912"/>
                    <a:gd name="connsiteY1699" fmla="*/ 543603 h 912651"/>
                    <a:gd name="connsiteX1700" fmla="*/ 176279 w 953912"/>
                    <a:gd name="connsiteY1700" fmla="*/ 544076 h 912651"/>
                    <a:gd name="connsiteX1701" fmla="*/ 176097 w 953912"/>
                    <a:gd name="connsiteY1701" fmla="*/ 544586 h 912651"/>
                    <a:gd name="connsiteX1702" fmla="*/ 175806 w 953912"/>
                    <a:gd name="connsiteY1702" fmla="*/ 545388 h 912651"/>
                    <a:gd name="connsiteX1703" fmla="*/ 175563 w 953912"/>
                    <a:gd name="connsiteY1703" fmla="*/ 546044 h 912651"/>
                    <a:gd name="connsiteX1704" fmla="*/ 175478 w 953912"/>
                    <a:gd name="connsiteY1704" fmla="*/ 546736 h 912651"/>
                    <a:gd name="connsiteX1705" fmla="*/ 175356 w 953912"/>
                    <a:gd name="connsiteY1705" fmla="*/ 547744 h 912651"/>
                    <a:gd name="connsiteX1706" fmla="*/ 175296 w 953912"/>
                    <a:gd name="connsiteY1706" fmla="*/ 548290 h 912651"/>
                    <a:gd name="connsiteX1707" fmla="*/ 175332 w 953912"/>
                    <a:gd name="connsiteY1707" fmla="*/ 548837 h 912651"/>
                    <a:gd name="connsiteX1708" fmla="*/ 175623 w 953912"/>
                    <a:gd name="connsiteY1708" fmla="*/ 553524 h 912651"/>
                    <a:gd name="connsiteX1709" fmla="*/ 174968 w 953912"/>
                    <a:gd name="connsiteY1709" fmla="*/ 554568 h 912651"/>
                    <a:gd name="connsiteX1710" fmla="*/ 174749 w 953912"/>
                    <a:gd name="connsiteY1710" fmla="*/ 554908 h 912651"/>
                    <a:gd name="connsiteX1711" fmla="*/ 174579 w 953912"/>
                    <a:gd name="connsiteY1711" fmla="*/ 555284 h 912651"/>
                    <a:gd name="connsiteX1712" fmla="*/ 174433 w 953912"/>
                    <a:gd name="connsiteY1712" fmla="*/ 555600 h 912651"/>
                    <a:gd name="connsiteX1713" fmla="*/ 174081 w 953912"/>
                    <a:gd name="connsiteY1713" fmla="*/ 556450 h 912651"/>
                    <a:gd name="connsiteX1714" fmla="*/ 173899 w 953912"/>
                    <a:gd name="connsiteY1714" fmla="*/ 556984 h 912651"/>
                    <a:gd name="connsiteX1715" fmla="*/ 173790 w 953912"/>
                    <a:gd name="connsiteY1715" fmla="*/ 557652 h 912651"/>
                    <a:gd name="connsiteX1716" fmla="*/ 173668 w 953912"/>
                    <a:gd name="connsiteY1716" fmla="*/ 558514 h 912651"/>
                    <a:gd name="connsiteX1717" fmla="*/ 173620 w 953912"/>
                    <a:gd name="connsiteY1717" fmla="*/ 558927 h 912651"/>
                    <a:gd name="connsiteX1718" fmla="*/ 173620 w 953912"/>
                    <a:gd name="connsiteY1718" fmla="*/ 559340 h 912651"/>
                    <a:gd name="connsiteX1719" fmla="*/ 173620 w 953912"/>
                    <a:gd name="connsiteY1719" fmla="*/ 565278 h 912651"/>
                    <a:gd name="connsiteX1720" fmla="*/ 173571 w 953912"/>
                    <a:gd name="connsiteY1720" fmla="*/ 565606 h 912651"/>
                    <a:gd name="connsiteX1721" fmla="*/ 173510 w 953912"/>
                    <a:gd name="connsiteY1721" fmla="*/ 565837 h 912651"/>
                    <a:gd name="connsiteX1722" fmla="*/ 172600 w 953912"/>
                    <a:gd name="connsiteY1722" fmla="*/ 569492 h 912651"/>
                    <a:gd name="connsiteX1723" fmla="*/ 171993 w 953912"/>
                    <a:gd name="connsiteY1723" fmla="*/ 571180 h 912651"/>
                    <a:gd name="connsiteX1724" fmla="*/ 170183 w 953912"/>
                    <a:gd name="connsiteY1724" fmla="*/ 574191 h 912651"/>
                    <a:gd name="connsiteX1725" fmla="*/ 169491 w 953912"/>
                    <a:gd name="connsiteY1725" fmla="*/ 575345 h 912651"/>
                    <a:gd name="connsiteX1726" fmla="*/ 168095 w 953912"/>
                    <a:gd name="connsiteY1726" fmla="*/ 577664 h 912651"/>
                    <a:gd name="connsiteX1727" fmla="*/ 168884 w 953912"/>
                    <a:gd name="connsiteY1727" fmla="*/ 580250 h 912651"/>
                    <a:gd name="connsiteX1728" fmla="*/ 170208 w 953912"/>
                    <a:gd name="connsiteY1728" fmla="*/ 584585 h 912651"/>
                    <a:gd name="connsiteX1729" fmla="*/ 170499 w 953912"/>
                    <a:gd name="connsiteY1729" fmla="*/ 585557 h 912651"/>
                    <a:gd name="connsiteX1730" fmla="*/ 171094 w 953912"/>
                    <a:gd name="connsiteY1730" fmla="*/ 586370 h 912651"/>
                    <a:gd name="connsiteX1731" fmla="*/ 178368 w 953912"/>
                    <a:gd name="connsiteY1731" fmla="*/ 596376 h 912651"/>
                    <a:gd name="connsiteX1732" fmla="*/ 179521 w 953912"/>
                    <a:gd name="connsiteY1732" fmla="*/ 598574 h 912651"/>
                    <a:gd name="connsiteX1733" fmla="*/ 180128 w 953912"/>
                    <a:gd name="connsiteY1733" fmla="*/ 600250 h 912651"/>
                    <a:gd name="connsiteX1734" fmla="*/ 180578 w 953912"/>
                    <a:gd name="connsiteY1734" fmla="*/ 601464 h 912651"/>
                    <a:gd name="connsiteX1735" fmla="*/ 181476 w 953912"/>
                    <a:gd name="connsiteY1735" fmla="*/ 602399 h 912651"/>
                    <a:gd name="connsiteX1736" fmla="*/ 182994 w 953912"/>
                    <a:gd name="connsiteY1736" fmla="*/ 603965 h 912651"/>
                    <a:gd name="connsiteX1737" fmla="*/ 185581 w 953912"/>
                    <a:gd name="connsiteY1737" fmla="*/ 616667 h 912651"/>
                    <a:gd name="connsiteX1738" fmla="*/ 185726 w 953912"/>
                    <a:gd name="connsiteY1738" fmla="*/ 619521 h 912651"/>
                    <a:gd name="connsiteX1739" fmla="*/ 185398 w 953912"/>
                    <a:gd name="connsiteY1739" fmla="*/ 625871 h 912651"/>
                    <a:gd name="connsiteX1740" fmla="*/ 185362 w 953912"/>
                    <a:gd name="connsiteY1740" fmla="*/ 626284 h 912651"/>
                    <a:gd name="connsiteX1741" fmla="*/ 185313 w 953912"/>
                    <a:gd name="connsiteY1741" fmla="*/ 626806 h 912651"/>
                    <a:gd name="connsiteX1742" fmla="*/ 185350 w 953912"/>
                    <a:gd name="connsiteY1742" fmla="*/ 627328 h 912651"/>
                    <a:gd name="connsiteX1743" fmla="*/ 185459 w 953912"/>
                    <a:gd name="connsiteY1743" fmla="*/ 628701 h 912651"/>
                    <a:gd name="connsiteX1744" fmla="*/ 185556 w 953912"/>
                    <a:gd name="connsiteY1744" fmla="*/ 630704 h 912651"/>
                    <a:gd name="connsiteX1745" fmla="*/ 185581 w 953912"/>
                    <a:gd name="connsiteY1745" fmla="*/ 631178 h 912651"/>
                    <a:gd name="connsiteX1746" fmla="*/ 185678 w 953912"/>
                    <a:gd name="connsiteY1746" fmla="*/ 631639 h 912651"/>
                    <a:gd name="connsiteX1747" fmla="*/ 185714 w 953912"/>
                    <a:gd name="connsiteY1747" fmla="*/ 631809 h 912651"/>
                    <a:gd name="connsiteX1748" fmla="*/ 185811 w 953912"/>
                    <a:gd name="connsiteY1748" fmla="*/ 632271 h 912651"/>
                    <a:gd name="connsiteX1749" fmla="*/ 189066 w 953912"/>
                    <a:gd name="connsiteY1749" fmla="*/ 644584 h 912651"/>
                    <a:gd name="connsiteX1750" fmla="*/ 190851 w 953912"/>
                    <a:gd name="connsiteY1750" fmla="*/ 656629 h 912651"/>
                    <a:gd name="connsiteX1751" fmla="*/ 190851 w 953912"/>
                    <a:gd name="connsiteY1751" fmla="*/ 657577 h 912651"/>
                    <a:gd name="connsiteX1752" fmla="*/ 191616 w 953912"/>
                    <a:gd name="connsiteY1752" fmla="*/ 659094 h 912651"/>
                    <a:gd name="connsiteX1753" fmla="*/ 202423 w 953912"/>
                    <a:gd name="connsiteY1753" fmla="*/ 678414 h 912651"/>
                    <a:gd name="connsiteX1754" fmla="*/ 202751 w 953912"/>
                    <a:gd name="connsiteY1754" fmla="*/ 683392 h 912651"/>
                    <a:gd name="connsiteX1755" fmla="*/ 200067 w 953912"/>
                    <a:gd name="connsiteY1755" fmla="*/ 698098 h 912651"/>
                    <a:gd name="connsiteX1756" fmla="*/ 199800 w 953912"/>
                    <a:gd name="connsiteY1756" fmla="*/ 699567 h 912651"/>
                    <a:gd name="connsiteX1757" fmla="*/ 200249 w 953912"/>
                    <a:gd name="connsiteY1757" fmla="*/ 701000 h 912651"/>
                    <a:gd name="connsiteX1758" fmla="*/ 201974 w 953912"/>
                    <a:gd name="connsiteY1758" fmla="*/ 706537 h 912651"/>
                    <a:gd name="connsiteX1759" fmla="*/ 202265 w 953912"/>
                    <a:gd name="connsiteY1759" fmla="*/ 707484 h 912651"/>
                    <a:gd name="connsiteX1760" fmla="*/ 202848 w 953912"/>
                    <a:gd name="connsiteY1760" fmla="*/ 708285 h 912651"/>
                    <a:gd name="connsiteX1761" fmla="*/ 204633 w 953912"/>
                    <a:gd name="connsiteY1761" fmla="*/ 710775 h 912651"/>
                    <a:gd name="connsiteX1762" fmla="*/ 205507 w 953912"/>
                    <a:gd name="connsiteY1762" fmla="*/ 713045 h 912651"/>
                    <a:gd name="connsiteX1763" fmla="*/ 206017 w 953912"/>
                    <a:gd name="connsiteY1763" fmla="*/ 715875 h 912651"/>
                    <a:gd name="connsiteX1764" fmla="*/ 206114 w 953912"/>
                    <a:gd name="connsiteY1764" fmla="*/ 718303 h 912651"/>
                    <a:gd name="connsiteX1765" fmla="*/ 205677 w 953912"/>
                    <a:gd name="connsiteY1765" fmla="*/ 719627 h 912651"/>
                    <a:gd name="connsiteX1766" fmla="*/ 202496 w 953912"/>
                    <a:gd name="connsiteY1766" fmla="*/ 725966 h 912651"/>
                    <a:gd name="connsiteX1767" fmla="*/ 201986 w 953912"/>
                    <a:gd name="connsiteY1767" fmla="*/ 726973 h 912651"/>
                    <a:gd name="connsiteX1768" fmla="*/ 201876 w 953912"/>
                    <a:gd name="connsiteY1768" fmla="*/ 728103 h 912651"/>
                    <a:gd name="connsiteX1769" fmla="*/ 201694 w 953912"/>
                    <a:gd name="connsiteY1769" fmla="*/ 730058 h 912651"/>
                    <a:gd name="connsiteX1770" fmla="*/ 201597 w 953912"/>
                    <a:gd name="connsiteY1770" fmla="*/ 731102 h 912651"/>
                    <a:gd name="connsiteX1771" fmla="*/ 201767 w 953912"/>
                    <a:gd name="connsiteY1771" fmla="*/ 731770 h 912651"/>
                    <a:gd name="connsiteX1772" fmla="*/ 201354 w 953912"/>
                    <a:gd name="connsiteY1772" fmla="*/ 732984 h 912651"/>
                    <a:gd name="connsiteX1773" fmla="*/ 200650 w 953912"/>
                    <a:gd name="connsiteY1773" fmla="*/ 735097 h 912651"/>
                    <a:gd name="connsiteX1774" fmla="*/ 201476 w 953912"/>
                    <a:gd name="connsiteY1774" fmla="*/ 737161 h 912651"/>
                    <a:gd name="connsiteX1775" fmla="*/ 202095 w 953912"/>
                    <a:gd name="connsiteY1775" fmla="*/ 738716 h 912651"/>
                    <a:gd name="connsiteX1776" fmla="*/ 202666 w 953912"/>
                    <a:gd name="connsiteY1776" fmla="*/ 740136 h 912651"/>
                    <a:gd name="connsiteX1777" fmla="*/ 203844 w 953912"/>
                    <a:gd name="connsiteY1777" fmla="*/ 741120 h 912651"/>
                    <a:gd name="connsiteX1778" fmla="*/ 208434 w 953912"/>
                    <a:gd name="connsiteY1778" fmla="*/ 744945 h 912651"/>
                    <a:gd name="connsiteX1779" fmla="*/ 209769 w 953912"/>
                    <a:gd name="connsiteY1779" fmla="*/ 746694 h 912651"/>
                    <a:gd name="connsiteX1780" fmla="*/ 211299 w 953912"/>
                    <a:gd name="connsiteY1780" fmla="*/ 749620 h 912651"/>
                    <a:gd name="connsiteX1781" fmla="*/ 212259 w 953912"/>
                    <a:gd name="connsiteY1781" fmla="*/ 752219 h 912651"/>
                    <a:gd name="connsiteX1782" fmla="*/ 211154 w 953912"/>
                    <a:gd name="connsiteY1782" fmla="*/ 752595 h 912651"/>
                    <a:gd name="connsiteX1783" fmla="*/ 210061 w 953912"/>
                    <a:gd name="connsiteY1783" fmla="*/ 754902 h 912651"/>
                    <a:gd name="connsiteX1784" fmla="*/ 209417 w 953912"/>
                    <a:gd name="connsiteY1784" fmla="*/ 756274 h 912651"/>
                    <a:gd name="connsiteX1785" fmla="*/ 208798 w 953912"/>
                    <a:gd name="connsiteY1785" fmla="*/ 757586 h 912651"/>
                    <a:gd name="connsiteX1786" fmla="*/ 208834 w 953912"/>
                    <a:gd name="connsiteY1786" fmla="*/ 759043 h 912651"/>
                    <a:gd name="connsiteX1787" fmla="*/ 208895 w 953912"/>
                    <a:gd name="connsiteY1787" fmla="*/ 761047 h 912651"/>
                    <a:gd name="connsiteX1788" fmla="*/ 208907 w 953912"/>
                    <a:gd name="connsiteY1788" fmla="*/ 761581 h 912651"/>
                    <a:gd name="connsiteX1789" fmla="*/ 209016 w 953912"/>
                    <a:gd name="connsiteY1789" fmla="*/ 762103 h 912651"/>
                    <a:gd name="connsiteX1790" fmla="*/ 210449 w 953912"/>
                    <a:gd name="connsiteY1790" fmla="*/ 769024 h 912651"/>
                    <a:gd name="connsiteX1791" fmla="*/ 210546 w 953912"/>
                    <a:gd name="connsiteY1791" fmla="*/ 769462 h 912651"/>
                    <a:gd name="connsiteX1792" fmla="*/ 210571 w 953912"/>
                    <a:gd name="connsiteY1792" fmla="*/ 769534 h 912651"/>
                    <a:gd name="connsiteX1793" fmla="*/ 209551 w 953912"/>
                    <a:gd name="connsiteY1793" fmla="*/ 770214 h 912651"/>
                    <a:gd name="connsiteX1794" fmla="*/ 207693 w 953912"/>
                    <a:gd name="connsiteY1794" fmla="*/ 771441 h 912651"/>
                    <a:gd name="connsiteX1795" fmla="*/ 207074 w 953912"/>
                    <a:gd name="connsiteY1795" fmla="*/ 773590 h 912651"/>
                    <a:gd name="connsiteX1796" fmla="*/ 205616 w 953912"/>
                    <a:gd name="connsiteY1796" fmla="*/ 778581 h 912651"/>
                    <a:gd name="connsiteX1797" fmla="*/ 204354 w 953912"/>
                    <a:gd name="connsiteY1797" fmla="*/ 780050 h 912651"/>
                    <a:gd name="connsiteX1798" fmla="*/ 204074 w 953912"/>
                    <a:gd name="connsiteY1798" fmla="*/ 780366 h 912651"/>
                    <a:gd name="connsiteX1799" fmla="*/ 203844 w 953912"/>
                    <a:gd name="connsiteY1799" fmla="*/ 780718 h 912651"/>
                    <a:gd name="connsiteX1800" fmla="*/ 202131 w 953912"/>
                    <a:gd name="connsiteY1800" fmla="*/ 783365 h 912651"/>
                    <a:gd name="connsiteX1801" fmla="*/ 200905 w 953912"/>
                    <a:gd name="connsiteY1801" fmla="*/ 785260 h 912651"/>
                    <a:gd name="connsiteX1802" fmla="*/ 201208 w 953912"/>
                    <a:gd name="connsiteY1802" fmla="*/ 787494 h 912651"/>
                    <a:gd name="connsiteX1803" fmla="*/ 201718 w 953912"/>
                    <a:gd name="connsiteY1803" fmla="*/ 791210 h 912651"/>
                    <a:gd name="connsiteX1804" fmla="*/ 201913 w 953912"/>
                    <a:gd name="connsiteY1804" fmla="*/ 792582 h 912651"/>
                    <a:gd name="connsiteX1805" fmla="*/ 202666 w 953912"/>
                    <a:gd name="connsiteY1805" fmla="*/ 793735 h 912651"/>
                    <a:gd name="connsiteX1806" fmla="*/ 204608 w 953912"/>
                    <a:gd name="connsiteY1806" fmla="*/ 796674 h 912651"/>
                    <a:gd name="connsiteX1807" fmla="*/ 206333 w 953912"/>
                    <a:gd name="connsiteY1807" fmla="*/ 798847 h 912651"/>
                    <a:gd name="connsiteX1808" fmla="*/ 205993 w 953912"/>
                    <a:gd name="connsiteY1808" fmla="*/ 799770 h 912651"/>
                    <a:gd name="connsiteX1809" fmla="*/ 205179 w 953912"/>
                    <a:gd name="connsiteY1809" fmla="*/ 802053 h 912651"/>
                    <a:gd name="connsiteX1810" fmla="*/ 204754 w 953912"/>
                    <a:gd name="connsiteY1810" fmla="*/ 803268 h 912651"/>
                    <a:gd name="connsiteX1811" fmla="*/ 204851 w 953912"/>
                    <a:gd name="connsiteY1811" fmla="*/ 804542 h 912651"/>
                    <a:gd name="connsiteX1812" fmla="*/ 205143 w 953912"/>
                    <a:gd name="connsiteY1812" fmla="*/ 808453 h 912651"/>
                    <a:gd name="connsiteX1813" fmla="*/ 205167 w 953912"/>
                    <a:gd name="connsiteY1813" fmla="*/ 808829 h 912651"/>
                    <a:gd name="connsiteX1814" fmla="*/ 205240 w 953912"/>
                    <a:gd name="connsiteY1814" fmla="*/ 809193 h 912651"/>
                    <a:gd name="connsiteX1815" fmla="*/ 205665 w 953912"/>
                    <a:gd name="connsiteY1815" fmla="*/ 811355 h 912651"/>
                    <a:gd name="connsiteX1816" fmla="*/ 202884 w 953912"/>
                    <a:gd name="connsiteY1816" fmla="*/ 811063 h 912651"/>
                    <a:gd name="connsiteX1817" fmla="*/ 202314 w 953912"/>
                    <a:gd name="connsiteY1817" fmla="*/ 817730 h 912651"/>
                    <a:gd name="connsiteX1818" fmla="*/ 202314 w 953912"/>
                    <a:gd name="connsiteY1818" fmla="*/ 818118 h 912651"/>
                    <a:gd name="connsiteX1819" fmla="*/ 202362 w 953912"/>
                    <a:gd name="connsiteY1819" fmla="*/ 818701 h 912651"/>
                    <a:gd name="connsiteX1820" fmla="*/ 202605 w 953912"/>
                    <a:gd name="connsiteY1820" fmla="*/ 820620 h 912651"/>
                    <a:gd name="connsiteX1821" fmla="*/ 202969 w 953912"/>
                    <a:gd name="connsiteY1821" fmla="*/ 823473 h 912651"/>
                    <a:gd name="connsiteX1822" fmla="*/ 205398 w 953912"/>
                    <a:gd name="connsiteY1822" fmla="*/ 824991 h 912651"/>
                    <a:gd name="connsiteX1823" fmla="*/ 207535 w 953912"/>
                    <a:gd name="connsiteY1823" fmla="*/ 826339 h 912651"/>
                    <a:gd name="connsiteX1824" fmla="*/ 210389 w 953912"/>
                    <a:gd name="connsiteY1824" fmla="*/ 826096 h 912651"/>
                    <a:gd name="connsiteX1825" fmla="*/ 210534 w 953912"/>
                    <a:gd name="connsiteY1825" fmla="*/ 826096 h 912651"/>
                    <a:gd name="connsiteX1826" fmla="*/ 210716 w 953912"/>
                    <a:gd name="connsiteY1826" fmla="*/ 826424 h 912651"/>
                    <a:gd name="connsiteX1827" fmla="*/ 211494 w 953912"/>
                    <a:gd name="connsiteY1827" fmla="*/ 827820 h 912651"/>
                    <a:gd name="connsiteX1828" fmla="*/ 212866 w 953912"/>
                    <a:gd name="connsiteY1828" fmla="*/ 828646 h 912651"/>
                    <a:gd name="connsiteX1829" fmla="*/ 216229 w 953912"/>
                    <a:gd name="connsiteY1829" fmla="*/ 830686 h 912651"/>
                    <a:gd name="connsiteX1830" fmla="*/ 216023 w 953912"/>
                    <a:gd name="connsiteY1830" fmla="*/ 831208 h 912651"/>
                    <a:gd name="connsiteX1831" fmla="*/ 215343 w 953912"/>
                    <a:gd name="connsiteY1831" fmla="*/ 832289 h 912651"/>
                    <a:gd name="connsiteX1832" fmla="*/ 214286 w 953912"/>
                    <a:gd name="connsiteY1832" fmla="*/ 833989 h 912651"/>
                    <a:gd name="connsiteX1833" fmla="*/ 214396 w 953912"/>
                    <a:gd name="connsiteY1833" fmla="*/ 835398 h 912651"/>
                    <a:gd name="connsiteX1834" fmla="*/ 212283 w 953912"/>
                    <a:gd name="connsiteY1834" fmla="*/ 837304 h 912651"/>
                    <a:gd name="connsiteX1835" fmla="*/ 208118 w 953912"/>
                    <a:gd name="connsiteY1835" fmla="*/ 841068 h 912651"/>
                    <a:gd name="connsiteX1836" fmla="*/ 211542 w 953912"/>
                    <a:gd name="connsiteY1836" fmla="*/ 845513 h 912651"/>
                    <a:gd name="connsiteX1837" fmla="*/ 214942 w 953912"/>
                    <a:gd name="connsiteY1837" fmla="*/ 849921 h 912651"/>
                    <a:gd name="connsiteX1838" fmla="*/ 215586 w 953912"/>
                    <a:gd name="connsiteY1838" fmla="*/ 850746 h 912651"/>
                    <a:gd name="connsiteX1839" fmla="*/ 216460 w 953912"/>
                    <a:gd name="connsiteY1839" fmla="*/ 851317 h 912651"/>
                    <a:gd name="connsiteX1840" fmla="*/ 222483 w 953912"/>
                    <a:gd name="connsiteY1840" fmla="*/ 855203 h 912651"/>
                    <a:gd name="connsiteX1841" fmla="*/ 222944 w 953912"/>
                    <a:gd name="connsiteY1841" fmla="*/ 855494 h 912651"/>
                    <a:gd name="connsiteX1842" fmla="*/ 223442 w 953912"/>
                    <a:gd name="connsiteY1842" fmla="*/ 855701 h 912651"/>
                    <a:gd name="connsiteX1843" fmla="*/ 234177 w 953912"/>
                    <a:gd name="connsiteY1843" fmla="*/ 860181 h 912651"/>
                    <a:gd name="connsiteX1844" fmla="*/ 238342 w 953912"/>
                    <a:gd name="connsiteY1844" fmla="*/ 862695 h 912651"/>
                    <a:gd name="connsiteX1845" fmla="*/ 239349 w 953912"/>
                    <a:gd name="connsiteY1845" fmla="*/ 864456 h 912651"/>
                    <a:gd name="connsiteX1846" fmla="*/ 240236 w 953912"/>
                    <a:gd name="connsiteY1846" fmla="*/ 866010 h 912651"/>
                    <a:gd name="connsiteX1847" fmla="*/ 241814 w 953912"/>
                    <a:gd name="connsiteY1847" fmla="*/ 866836 h 912651"/>
                    <a:gd name="connsiteX1848" fmla="*/ 244231 w 953912"/>
                    <a:gd name="connsiteY1848" fmla="*/ 868099 h 912651"/>
                    <a:gd name="connsiteX1849" fmla="*/ 247935 w 953912"/>
                    <a:gd name="connsiteY1849" fmla="*/ 870066 h 912651"/>
                    <a:gd name="connsiteX1850" fmla="*/ 248894 w 953912"/>
                    <a:gd name="connsiteY1850" fmla="*/ 870576 h 912651"/>
                    <a:gd name="connsiteX1851" fmla="*/ 249962 w 953912"/>
                    <a:gd name="connsiteY1851" fmla="*/ 870722 h 912651"/>
                    <a:gd name="connsiteX1852" fmla="*/ 253059 w 953912"/>
                    <a:gd name="connsiteY1852" fmla="*/ 871146 h 912651"/>
                    <a:gd name="connsiteX1853" fmla="*/ 254504 w 953912"/>
                    <a:gd name="connsiteY1853" fmla="*/ 871341 h 912651"/>
                    <a:gd name="connsiteX1854" fmla="*/ 255876 w 953912"/>
                    <a:gd name="connsiteY1854" fmla="*/ 870855 h 912651"/>
                    <a:gd name="connsiteX1855" fmla="*/ 257151 w 953912"/>
                    <a:gd name="connsiteY1855" fmla="*/ 870406 h 912651"/>
                    <a:gd name="connsiteX1856" fmla="*/ 257697 w 953912"/>
                    <a:gd name="connsiteY1856" fmla="*/ 870212 h 912651"/>
                    <a:gd name="connsiteX1857" fmla="*/ 258195 w 953912"/>
                    <a:gd name="connsiteY1857" fmla="*/ 869920 h 912651"/>
                    <a:gd name="connsiteX1858" fmla="*/ 261110 w 953912"/>
                    <a:gd name="connsiteY1858" fmla="*/ 868439 h 912651"/>
                    <a:gd name="connsiteX1859" fmla="*/ 262045 w 953912"/>
                    <a:gd name="connsiteY1859" fmla="*/ 868184 h 912651"/>
                    <a:gd name="connsiteX1860" fmla="*/ 264376 w 953912"/>
                    <a:gd name="connsiteY1860" fmla="*/ 867856 h 912651"/>
                    <a:gd name="connsiteX1861" fmla="*/ 269221 w 953912"/>
                    <a:gd name="connsiteY1861" fmla="*/ 867686 h 912651"/>
                    <a:gd name="connsiteX1862" fmla="*/ 271237 w 953912"/>
                    <a:gd name="connsiteY1862" fmla="*/ 868184 h 912651"/>
                    <a:gd name="connsiteX1863" fmla="*/ 272961 w 953912"/>
                    <a:gd name="connsiteY1863" fmla="*/ 869070 h 912651"/>
                    <a:gd name="connsiteX1864" fmla="*/ 273823 w 953912"/>
                    <a:gd name="connsiteY1864" fmla="*/ 869884 h 912651"/>
                    <a:gd name="connsiteX1865" fmla="*/ 274127 w 953912"/>
                    <a:gd name="connsiteY1865" fmla="*/ 870248 h 912651"/>
                    <a:gd name="connsiteX1866" fmla="*/ 274345 w 953912"/>
                    <a:gd name="connsiteY1866" fmla="*/ 870564 h 912651"/>
                    <a:gd name="connsiteX1867" fmla="*/ 274540 w 953912"/>
                    <a:gd name="connsiteY1867" fmla="*/ 870928 h 912651"/>
                    <a:gd name="connsiteX1868" fmla="*/ 277709 w 953912"/>
                    <a:gd name="connsiteY1868" fmla="*/ 876101 h 912651"/>
                    <a:gd name="connsiteX1869" fmla="*/ 277915 w 953912"/>
                    <a:gd name="connsiteY1869" fmla="*/ 876429 h 912651"/>
                    <a:gd name="connsiteX1870" fmla="*/ 278158 w 953912"/>
                    <a:gd name="connsiteY1870" fmla="*/ 876732 h 912651"/>
                    <a:gd name="connsiteX1871" fmla="*/ 279300 w 953912"/>
                    <a:gd name="connsiteY1871" fmla="*/ 878141 h 912651"/>
                    <a:gd name="connsiteX1872" fmla="*/ 280150 w 953912"/>
                    <a:gd name="connsiteY1872" fmla="*/ 879185 h 912651"/>
                    <a:gd name="connsiteX1873" fmla="*/ 281364 w 953912"/>
                    <a:gd name="connsiteY1873" fmla="*/ 879780 h 912651"/>
                    <a:gd name="connsiteX1874" fmla="*/ 344009 w 953912"/>
                    <a:gd name="connsiteY1874" fmla="*/ 910356 h 912651"/>
                    <a:gd name="connsiteX1875" fmla="*/ 348721 w 953912"/>
                    <a:gd name="connsiteY1875" fmla="*/ 912651 h 912651"/>
                    <a:gd name="connsiteX1876" fmla="*/ 351684 w 953912"/>
                    <a:gd name="connsiteY1876" fmla="*/ 908328 h 912651"/>
                    <a:gd name="connsiteX1877" fmla="*/ 352777 w 953912"/>
                    <a:gd name="connsiteY1877" fmla="*/ 906737 h 912651"/>
                    <a:gd name="connsiteX1878" fmla="*/ 352995 w 953912"/>
                    <a:gd name="connsiteY1878" fmla="*/ 906434 h 912651"/>
                    <a:gd name="connsiteX1879" fmla="*/ 353165 w 953912"/>
                    <a:gd name="connsiteY1879" fmla="*/ 906106 h 912651"/>
                    <a:gd name="connsiteX1880" fmla="*/ 355181 w 953912"/>
                    <a:gd name="connsiteY1880" fmla="*/ 902196 h 912651"/>
                    <a:gd name="connsiteX1881" fmla="*/ 355667 w 953912"/>
                    <a:gd name="connsiteY1881" fmla="*/ 901249 h 912651"/>
                    <a:gd name="connsiteX1882" fmla="*/ 355800 w 953912"/>
                    <a:gd name="connsiteY1882" fmla="*/ 900205 h 912651"/>
                    <a:gd name="connsiteX1883" fmla="*/ 356371 w 953912"/>
                    <a:gd name="connsiteY1883" fmla="*/ 895857 h 912651"/>
                    <a:gd name="connsiteX1884" fmla="*/ 356505 w 953912"/>
                    <a:gd name="connsiteY1884" fmla="*/ 894825 h 912651"/>
                    <a:gd name="connsiteX1885" fmla="*/ 356286 w 953912"/>
                    <a:gd name="connsiteY1885" fmla="*/ 893805 h 912651"/>
                    <a:gd name="connsiteX1886" fmla="*/ 354100 w 953912"/>
                    <a:gd name="connsiteY1886" fmla="*/ 883557 h 912651"/>
                    <a:gd name="connsiteX1887" fmla="*/ 353663 w 953912"/>
                    <a:gd name="connsiteY1887" fmla="*/ 873478 h 912651"/>
                    <a:gd name="connsiteX1888" fmla="*/ 353615 w 953912"/>
                    <a:gd name="connsiteY1888" fmla="*/ 872361 h 912651"/>
                    <a:gd name="connsiteX1889" fmla="*/ 353165 w 953912"/>
                    <a:gd name="connsiteY1889" fmla="*/ 871341 h 912651"/>
                    <a:gd name="connsiteX1890" fmla="*/ 351149 w 953912"/>
                    <a:gd name="connsiteY1890" fmla="*/ 866678 h 912651"/>
                    <a:gd name="connsiteX1891" fmla="*/ 350372 w 953912"/>
                    <a:gd name="connsiteY1891" fmla="*/ 864869 h 912651"/>
                    <a:gd name="connsiteX1892" fmla="*/ 348685 w 953912"/>
                    <a:gd name="connsiteY1892" fmla="*/ 863861 h 912651"/>
                    <a:gd name="connsiteX1893" fmla="*/ 343585 w 953912"/>
                    <a:gd name="connsiteY1893" fmla="*/ 860825 h 912651"/>
                    <a:gd name="connsiteX1894" fmla="*/ 342589 w 953912"/>
                    <a:gd name="connsiteY1894" fmla="*/ 860230 h 912651"/>
                    <a:gd name="connsiteX1895" fmla="*/ 341435 w 953912"/>
                    <a:gd name="connsiteY1895" fmla="*/ 860048 h 912651"/>
                    <a:gd name="connsiteX1896" fmla="*/ 325006 w 953912"/>
                    <a:gd name="connsiteY1896" fmla="*/ 857437 h 912651"/>
                    <a:gd name="connsiteX1897" fmla="*/ 320100 w 953912"/>
                    <a:gd name="connsiteY1897" fmla="*/ 854754 h 912651"/>
                    <a:gd name="connsiteX1898" fmla="*/ 310495 w 953912"/>
                    <a:gd name="connsiteY1898" fmla="*/ 842234 h 912651"/>
                    <a:gd name="connsiteX1899" fmla="*/ 310204 w 953912"/>
                    <a:gd name="connsiteY1899" fmla="*/ 841858 h 912651"/>
                    <a:gd name="connsiteX1900" fmla="*/ 309851 w 953912"/>
                    <a:gd name="connsiteY1900" fmla="*/ 841530 h 912651"/>
                    <a:gd name="connsiteX1901" fmla="*/ 303707 w 953912"/>
                    <a:gd name="connsiteY1901" fmla="*/ 835701 h 912651"/>
                    <a:gd name="connsiteX1902" fmla="*/ 303319 w 953912"/>
                    <a:gd name="connsiteY1902" fmla="*/ 835325 h 912651"/>
                    <a:gd name="connsiteX1903" fmla="*/ 302869 w 953912"/>
                    <a:gd name="connsiteY1903" fmla="*/ 835021 h 912651"/>
                    <a:gd name="connsiteX1904" fmla="*/ 296518 w 953912"/>
                    <a:gd name="connsiteY1904" fmla="*/ 830844 h 912651"/>
                    <a:gd name="connsiteX1905" fmla="*/ 292791 w 953912"/>
                    <a:gd name="connsiteY1905" fmla="*/ 827201 h 912651"/>
                    <a:gd name="connsiteX1906" fmla="*/ 291200 w 953912"/>
                    <a:gd name="connsiteY1906" fmla="*/ 823182 h 912651"/>
                    <a:gd name="connsiteX1907" fmla="*/ 291601 w 953912"/>
                    <a:gd name="connsiteY1907" fmla="*/ 816588 h 912651"/>
                    <a:gd name="connsiteX1908" fmla="*/ 292183 w 953912"/>
                    <a:gd name="connsiteY1908" fmla="*/ 815459 h 912651"/>
                    <a:gd name="connsiteX1909" fmla="*/ 293276 w 953912"/>
                    <a:gd name="connsiteY1909" fmla="*/ 814730 h 912651"/>
                    <a:gd name="connsiteX1910" fmla="*/ 299676 w 953912"/>
                    <a:gd name="connsiteY1910" fmla="*/ 812363 h 912651"/>
                    <a:gd name="connsiteX1911" fmla="*/ 300392 w 953912"/>
                    <a:gd name="connsiteY1911" fmla="*/ 812095 h 912651"/>
                    <a:gd name="connsiteX1912" fmla="*/ 301011 w 953912"/>
                    <a:gd name="connsiteY1912" fmla="*/ 811658 h 912651"/>
                    <a:gd name="connsiteX1913" fmla="*/ 304120 w 953912"/>
                    <a:gd name="connsiteY1913" fmla="*/ 809509 h 912651"/>
                    <a:gd name="connsiteX1914" fmla="*/ 304606 w 953912"/>
                    <a:gd name="connsiteY1914" fmla="*/ 809181 h 912651"/>
                    <a:gd name="connsiteX1915" fmla="*/ 305019 w 953912"/>
                    <a:gd name="connsiteY1915" fmla="*/ 808756 h 912651"/>
                    <a:gd name="connsiteX1916" fmla="*/ 307483 w 953912"/>
                    <a:gd name="connsiteY1916" fmla="*/ 806230 h 912651"/>
                    <a:gd name="connsiteX1917" fmla="*/ 307836 w 953912"/>
                    <a:gd name="connsiteY1917" fmla="*/ 805866 h 912651"/>
                    <a:gd name="connsiteX1918" fmla="*/ 308127 w 953912"/>
                    <a:gd name="connsiteY1918" fmla="*/ 805441 h 912651"/>
                    <a:gd name="connsiteX1919" fmla="*/ 310191 w 953912"/>
                    <a:gd name="connsiteY1919" fmla="*/ 802454 h 912651"/>
                    <a:gd name="connsiteX1920" fmla="*/ 310422 w 953912"/>
                    <a:gd name="connsiteY1920" fmla="*/ 802114 h 912651"/>
                    <a:gd name="connsiteX1921" fmla="*/ 310604 w 953912"/>
                    <a:gd name="connsiteY1921" fmla="*/ 801750 h 912651"/>
                    <a:gd name="connsiteX1922" fmla="*/ 312377 w 953912"/>
                    <a:gd name="connsiteY1922" fmla="*/ 798252 h 912651"/>
                    <a:gd name="connsiteX1923" fmla="*/ 312535 w 953912"/>
                    <a:gd name="connsiteY1923" fmla="*/ 797961 h 912651"/>
                    <a:gd name="connsiteX1924" fmla="*/ 312644 w 953912"/>
                    <a:gd name="connsiteY1924" fmla="*/ 797657 h 912651"/>
                    <a:gd name="connsiteX1925" fmla="*/ 318400 w 953912"/>
                    <a:gd name="connsiteY1925" fmla="*/ 782382 h 912651"/>
                    <a:gd name="connsiteX1926" fmla="*/ 318521 w 953912"/>
                    <a:gd name="connsiteY1926" fmla="*/ 782066 h 912651"/>
                    <a:gd name="connsiteX1927" fmla="*/ 318606 w 953912"/>
                    <a:gd name="connsiteY1927" fmla="*/ 781738 h 912651"/>
                    <a:gd name="connsiteX1928" fmla="*/ 322674 w 953912"/>
                    <a:gd name="connsiteY1928" fmla="*/ 765709 h 912651"/>
                    <a:gd name="connsiteX1929" fmla="*/ 323063 w 953912"/>
                    <a:gd name="connsiteY1929" fmla="*/ 764179 h 912651"/>
                    <a:gd name="connsiteX1930" fmla="*/ 322650 w 953912"/>
                    <a:gd name="connsiteY1930" fmla="*/ 762662 h 912651"/>
                    <a:gd name="connsiteX1931" fmla="*/ 319554 w 953912"/>
                    <a:gd name="connsiteY1931" fmla="*/ 751077 h 912651"/>
                    <a:gd name="connsiteX1932" fmla="*/ 319019 w 953912"/>
                    <a:gd name="connsiteY1932" fmla="*/ 749049 h 912651"/>
                    <a:gd name="connsiteX1933" fmla="*/ 317344 w 953912"/>
                    <a:gd name="connsiteY1933" fmla="*/ 747786 h 912651"/>
                    <a:gd name="connsiteX1934" fmla="*/ 307350 w 953912"/>
                    <a:gd name="connsiteY1934" fmla="*/ 740258 h 912651"/>
                    <a:gd name="connsiteX1935" fmla="*/ 306925 w 953912"/>
                    <a:gd name="connsiteY1935" fmla="*/ 739942 h 912651"/>
                    <a:gd name="connsiteX1936" fmla="*/ 306451 w 953912"/>
                    <a:gd name="connsiteY1936" fmla="*/ 739699 h 912651"/>
                    <a:gd name="connsiteX1937" fmla="*/ 295013 w 953912"/>
                    <a:gd name="connsiteY1937" fmla="*/ 733871 h 912651"/>
                    <a:gd name="connsiteX1938" fmla="*/ 287569 w 953912"/>
                    <a:gd name="connsiteY1938" fmla="*/ 727848 h 912651"/>
                    <a:gd name="connsiteX1939" fmla="*/ 286865 w 953912"/>
                    <a:gd name="connsiteY1939" fmla="*/ 726548 h 912651"/>
                    <a:gd name="connsiteX1940" fmla="*/ 286221 w 953912"/>
                    <a:gd name="connsiteY1940" fmla="*/ 724521 h 912651"/>
                    <a:gd name="connsiteX1941" fmla="*/ 285918 w 953912"/>
                    <a:gd name="connsiteY1941" fmla="*/ 722383 h 912651"/>
                    <a:gd name="connsiteX1942" fmla="*/ 286306 w 953912"/>
                    <a:gd name="connsiteY1942" fmla="*/ 717271 h 912651"/>
                    <a:gd name="connsiteX1943" fmla="*/ 286792 w 953912"/>
                    <a:gd name="connsiteY1943" fmla="*/ 714940 h 912651"/>
                    <a:gd name="connsiteX1944" fmla="*/ 287326 w 953912"/>
                    <a:gd name="connsiteY1944" fmla="*/ 713228 h 912651"/>
                    <a:gd name="connsiteX1945" fmla="*/ 288176 w 953912"/>
                    <a:gd name="connsiteY1945" fmla="*/ 711394 h 912651"/>
                    <a:gd name="connsiteX1946" fmla="*/ 294005 w 953912"/>
                    <a:gd name="connsiteY1946" fmla="*/ 701631 h 912651"/>
                    <a:gd name="connsiteX1947" fmla="*/ 296336 w 953912"/>
                    <a:gd name="connsiteY1947" fmla="*/ 699591 h 912651"/>
                    <a:gd name="connsiteX1948" fmla="*/ 314830 w 953912"/>
                    <a:gd name="connsiteY1948" fmla="*/ 696592 h 912651"/>
                    <a:gd name="connsiteX1949" fmla="*/ 315559 w 953912"/>
                    <a:gd name="connsiteY1949" fmla="*/ 696470 h 912651"/>
                    <a:gd name="connsiteX1950" fmla="*/ 316239 w 953912"/>
                    <a:gd name="connsiteY1950" fmla="*/ 696179 h 912651"/>
                    <a:gd name="connsiteX1951" fmla="*/ 322844 w 953912"/>
                    <a:gd name="connsiteY1951" fmla="*/ 693362 h 912651"/>
                    <a:gd name="connsiteX1952" fmla="*/ 323367 w 953912"/>
                    <a:gd name="connsiteY1952" fmla="*/ 693131 h 912651"/>
                    <a:gd name="connsiteX1953" fmla="*/ 323840 w 953912"/>
                    <a:gd name="connsiteY1953" fmla="*/ 692815 h 912651"/>
                    <a:gd name="connsiteX1954" fmla="*/ 330385 w 953912"/>
                    <a:gd name="connsiteY1954" fmla="*/ 688420 h 912651"/>
                    <a:gd name="connsiteX1955" fmla="*/ 330786 w 953912"/>
                    <a:gd name="connsiteY1955" fmla="*/ 688152 h 912651"/>
                    <a:gd name="connsiteX1956" fmla="*/ 331138 w 953912"/>
                    <a:gd name="connsiteY1956" fmla="*/ 687825 h 912651"/>
                    <a:gd name="connsiteX1957" fmla="*/ 336250 w 953912"/>
                    <a:gd name="connsiteY1957" fmla="*/ 683065 h 912651"/>
                    <a:gd name="connsiteX1958" fmla="*/ 336712 w 953912"/>
                    <a:gd name="connsiteY1958" fmla="*/ 682640 h 912651"/>
                    <a:gd name="connsiteX1959" fmla="*/ 337076 w 953912"/>
                    <a:gd name="connsiteY1959" fmla="*/ 682130 h 912651"/>
                    <a:gd name="connsiteX1960" fmla="*/ 341374 w 953912"/>
                    <a:gd name="connsiteY1960" fmla="*/ 676022 h 912651"/>
                    <a:gd name="connsiteX1961" fmla="*/ 341994 w 953912"/>
                    <a:gd name="connsiteY1961" fmla="*/ 675147 h 912651"/>
                    <a:gd name="connsiteX1962" fmla="*/ 342273 w 953912"/>
                    <a:gd name="connsiteY1962" fmla="*/ 674115 h 912651"/>
                    <a:gd name="connsiteX1963" fmla="*/ 344119 w 953912"/>
                    <a:gd name="connsiteY1963" fmla="*/ 667327 h 912651"/>
                    <a:gd name="connsiteX1964" fmla="*/ 344617 w 953912"/>
                    <a:gd name="connsiteY1964" fmla="*/ 665494 h 912651"/>
                    <a:gd name="connsiteX1965" fmla="*/ 343985 w 953912"/>
                    <a:gd name="connsiteY1965" fmla="*/ 663709 h 912651"/>
                    <a:gd name="connsiteX1966" fmla="*/ 341569 w 953912"/>
                    <a:gd name="connsiteY1966" fmla="*/ 656909 h 912651"/>
                    <a:gd name="connsiteX1967" fmla="*/ 340889 w 953912"/>
                    <a:gd name="connsiteY1967" fmla="*/ 655002 h 912651"/>
                    <a:gd name="connsiteX1968" fmla="*/ 339201 w 953912"/>
                    <a:gd name="connsiteY1968" fmla="*/ 653885 h 912651"/>
                    <a:gd name="connsiteX1969" fmla="*/ 333348 w 953912"/>
                    <a:gd name="connsiteY1969" fmla="*/ 649987 h 912651"/>
                    <a:gd name="connsiteX1970" fmla="*/ 331733 w 953912"/>
                    <a:gd name="connsiteY1970" fmla="*/ 648906 h 912651"/>
                    <a:gd name="connsiteX1971" fmla="*/ 329778 w 953912"/>
                    <a:gd name="connsiteY1971" fmla="*/ 648979 h 912651"/>
                    <a:gd name="connsiteX1972" fmla="*/ 323002 w 953912"/>
                    <a:gd name="connsiteY1972" fmla="*/ 649210 h 912651"/>
                    <a:gd name="connsiteX1973" fmla="*/ 322431 w 953912"/>
                    <a:gd name="connsiteY1973" fmla="*/ 649222 h 912651"/>
                    <a:gd name="connsiteX1974" fmla="*/ 321861 w 953912"/>
                    <a:gd name="connsiteY1974" fmla="*/ 649356 h 912651"/>
                    <a:gd name="connsiteX1975" fmla="*/ 315255 w 953912"/>
                    <a:gd name="connsiteY1975" fmla="*/ 650861 h 912651"/>
                    <a:gd name="connsiteX1976" fmla="*/ 310216 w 953912"/>
                    <a:gd name="connsiteY1976" fmla="*/ 651129 h 912651"/>
                    <a:gd name="connsiteX1977" fmla="*/ 301327 w 953912"/>
                    <a:gd name="connsiteY1977" fmla="*/ 648129 h 912651"/>
                    <a:gd name="connsiteX1978" fmla="*/ 300562 w 953912"/>
                    <a:gd name="connsiteY1978" fmla="*/ 647874 h 912651"/>
                    <a:gd name="connsiteX1979" fmla="*/ 299761 w 953912"/>
                    <a:gd name="connsiteY1979" fmla="*/ 647826 h 912651"/>
                    <a:gd name="connsiteX1980" fmla="*/ 295984 w 953912"/>
                    <a:gd name="connsiteY1980" fmla="*/ 647595 h 912651"/>
                    <a:gd name="connsiteX1981" fmla="*/ 295061 w 953912"/>
                    <a:gd name="connsiteY1981" fmla="*/ 647534 h 912651"/>
                    <a:gd name="connsiteX1982" fmla="*/ 294163 w 953912"/>
                    <a:gd name="connsiteY1982" fmla="*/ 647753 h 912651"/>
                    <a:gd name="connsiteX1983" fmla="*/ 282639 w 953912"/>
                    <a:gd name="connsiteY1983" fmla="*/ 650582 h 912651"/>
                    <a:gd name="connsiteX1984" fmla="*/ 279397 w 953912"/>
                    <a:gd name="connsiteY1984" fmla="*/ 649975 h 912651"/>
                    <a:gd name="connsiteX1985" fmla="*/ 275742 w 953912"/>
                    <a:gd name="connsiteY1985" fmla="*/ 647449 h 912651"/>
                    <a:gd name="connsiteX1986" fmla="*/ 272791 w 953912"/>
                    <a:gd name="connsiteY1986" fmla="*/ 643576 h 912651"/>
                    <a:gd name="connsiteX1987" fmla="*/ 271795 w 953912"/>
                    <a:gd name="connsiteY1987" fmla="*/ 639994 h 912651"/>
                    <a:gd name="connsiteX1988" fmla="*/ 272645 w 953912"/>
                    <a:gd name="connsiteY1988" fmla="*/ 636727 h 912651"/>
                    <a:gd name="connsiteX1989" fmla="*/ 275171 w 953912"/>
                    <a:gd name="connsiteY1989" fmla="*/ 634250 h 912651"/>
                    <a:gd name="connsiteX1990" fmla="*/ 285505 w 953912"/>
                    <a:gd name="connsiteY1990" fmla="*/ 629150 h 912651"/>
                    <a:gd name="connsiteX1991" fmla="*/ 286258 w 953912"/>
                    <a:gd name="connsiteY1991" fmla="*/ 628773 h 912651"/>
                    <a:gd name="connsiteX1992" fmla="*/ 286877 w 953912"/>
                    <a:gd name="connsiteY1992" fmla="*/ 628203 h 912651"/>
                    <a:gd name="connsiteX1993" fmla="*/ 290374 w 953912"/>
                    <a:gd name="connsiteY1993" fmla="*/ 625046 h 912651"/>
                    <a:gd name="connsiteX1994" fmla="*/ 292026 w 953912"/>
                    <a:gd name="connsiteY1994" fmla="*/ 623540 h 912651"/>
                    <a:gd name="connsiteX1995" fmla="*/ 292317 w 953912"/>
                    <a:gd name="connsiteY1995" fmla="*/ 621330 h 912651"/>
                    <a:gd name="connsiteX1996" fmla="*/ 292888 w 953912"/>
                    <a:gd name="connsiteY1996" fmla="*/ 617043 h 912651"/>
                    <a:gd name="connsiteX1997" fmla="*/ 293070 w 953912"/>
                    <a:gd name="connsiteY1997" fmla="*/ 615683 h 912651"/>
                    <a:gd name="connsiteX1998" fmla="*/ 292645 w 953912"/>
                    <a:gd name="connsiteY1998" fmla="*/ 614384 h 912651"/>
                    <a:gd name="connsiteX1999" fmla="*/ 291163 w 953912"/>
                    <a:gd name="connsiteY1999" fmla="*/ 609794 h 912651"/>
                    <a:gd name="connsiteX2000" fmla="*/ 290908 w 953912"/>
                    <a:gd name="connsiteY2000" fmla="*/ 609041 h 912651"/>
                    <a:gd name="connsiteX2001" fmla="*/ 290496 w 953912"/>
                    <a:gd name="connsiteY2001" fmla="*/ 608361 h 912651"/>
                    <a:gd name="connsiteX2002" fmla="*/ 288225 w 953912"/>
                    <a:gd name="connsiteY2002" fmla="*/ 604828 h 912651"/>
                    <a:gd name="connsiteX2003" fmla="*/ 284242 w 953912"/>
                    <a:gd name="connsiteY2003" fmla="*/ 594870 h 912651"/>
                    <a:gd name="connsiteX2004" fmla="*/ 283865 w 953912"/>
                    <a:gd name="connsiteY2004" fmla="*/ 593923 h 912651"/>
                    <a:gd name="connsiteX2005" fmla="*/ 283210 w 953912"/>
                    <a:gd name="connsiteY2005" fmla="*/ 593158 h 912651"/>
                    <a:gd name="connsiteX2006" fmla="*/ 280113 w 953912"/>
                    <a:gd name="connsiteY2006" fmla="*/ 589564 h 912651"/>
                    <a:gd name="connsiteX2007" fmla="*/ 278523 w 953912"/>
                    <a:gd name="connsiteY2007" fmla="*/ 587718 h 912651"/>
                    <a:gd name="connsiteX2008" fmla="*/ 276094 w 953912"/>
                    <a:gd name="connsiteY2008" fmla="*/ 587488 h 912651"/>
                    <a:gd name="connsiteX2009" fmla="*/ 270411 w 953912"/>
                    <a:gd name="connsiteY2009" fmla="*/ 586941 h 912651"/>
                    <a:gd name="connsiteX2010" fmla="*/ 269816 w 953912"/>
                    <a:gd name="connsiteY2010" fmla="*/ 586880 h 912651"/>
                    <a:gd name="connsiteX2011" fmla="*/ 269221 w 953912"/>
                    <a:gd name="connsiteY2011" fmla="*/ 586941 h 912651"/>
                    <a:gd name="connsiteX2012" fmla="*/ 264595 w 953912"/>
                    <a:gd name="connsiteY2012" fmla="*/ 587415 h 912651"/>
                    <a:gd name="connsiteX2013" fmla="*/ 261170 w 953912"/>
                    <a:gd name="connsiteY2013" fmla="*/ 586941 h 912651"/>
                    <a:gd name="connsiteX2014" fmla="*/ 257685 w 953912"/>
                    <a:gd name="connsiteY2014" fmla="*/ 585630 h 912651"/>
                    <a:gd name="connsiteX2015" fmla="*/ 254176 w 953912"/>
                    <a:gd name="connsiteY2015" fmla="*/ 583699 h 912651"/>
                    <a:gd name="connsiteX2016" fmla="*/ 251832 w 953912"/>
                    <a:gd name="connsiteY2016" fmla="*/ 581355 h 912651"/>
                    <a:gd name="connsiteX2017" fmla="*/ 251189 w 953912"/>
                    <a:gd name="connsiteY2017" fmla="*/ 579097 h 912651"/>
                    <a:gd name="connsiteX2018" fmla="*/ 251662 w 953912"/>
                    <a:gd name="connsiteY2018" fmla="*/ 576377 h 912651"/>
                    <a:gd name="connsiteX2019" fmla="*/ 253472 w 953912"/>
                    <a:gd name="connsiteY2019" fmla="*/ 573596 h 912651"/>
                    <a:gd name="connsiteX2020" fmla="*/ 254115 w 953912"/>
                    <a:gd name="connsiteY2020" fmla="*/ 573135 h 912651"/>
                    <a:gd name="connsiteX2021" fmla="*/ 258341 w 953912"/>
                    <a:gd name="connsiteY2021" fmla="*/ 571010 h 912651"/>
                    <a:gd name="connsiteX2022" fmla="*/ 259240 w 953912"/>
                    <a:gd name="connsiteY2022" fmla="*/ 570560 h 912651"/>
                    <a:gd name="connsiteX2023" fmla="*/ 259944 w 953912"/>
                    <a:gd name="connsiteY2023" fmla="*/ 569832 h 912651"/>
                    <a:gd name="connsiteX2024" fmla="*/ 261607 w 953912"/>
                    <a:gd name="connsiteY2024" fmla="*/ 568132 h 912651"/>
                    <a:gd name="connsiteX2025" fmla="*/ 262482 w 953912"/>
                    <a:gd name="connsiteY2025" fmla="*/ 567245 h 912651"/>
                    <a:gd name="connsiteX2026" fmla="*/ 262931 w 953912"/>
                    <a:gd name="connsiteY2026" fmla="*/ 566079 h 912651"/>
                    <a:gd name="connsiteX2027" fmla="*/ 263915 w 953912"/>
                    <a:gd name="connsiteY2027" fmla="*/ 563529 h 912651"/>
                    <a:gd name="connsiteX2028" fmla="*/ 264291 w 953912"/>
                    <a:gd name="connsiteY2028" fmla="*/ 562546 h 912651"/>
                    <a:gd name="connsiteX2029" fmla="*/ 264315 w 953912"/>
                    <a:gd name="connsiteY2029" fmla="*/ 561502 h 912651"/>
                    <a:gd name="connsiteX2030" fmla="*/ 264485 w 953912"/>
                    <a:gd name="connsiteY2030" fmla="*/ 555151 h 912651"/>
                    <a:gd name="connsiteX2031" fmla="*/ 265943 w 953912"/>
                    <a:gd name="connsiteY2031" fmla="*/ 552844 h 912651"/>
                    <a:gd name="connsiteX2032" fmla="*/ 273811 w 953912"/>
                    <a:gd name="connsiteY2032" fmla="*/ 547646 h 912651"/>
                    <a:gd name="connsiteX2033" fmla="*/ 274819 w 953912"/>
                    <a:gd name="connsiteY2033" fmla="*/ 546979 h 912651"/>
                    <a:gd name="connsiteX2034" fmla="*/ 275499 w 953912"/>
                    <a:gd name="connsiteY2034" fmla="*/ 545971 h 912651"/>
                    <a:gd name="connsiteX2035" fmla="*/ 278328 w 953912"/>
                    <a:gd name="connsiteY2035" fmla="*/ 541745 h 912651"/>
                    <a:gd name="connsiteX2036" fmla="*/ 279373 w 953912"/>
                    <a:gd name="connsiteY2036" fmla="*/ 540191 h 912651"/>
                    <a:gd name="connsiteX2037" fmla="*/ 279361 w 953912"/>
                    <a:gd name="connsiteY2037" fmla="*/ 538309 h 912651"/>
                    <a:gd name="connsiteX2038" fmla="*/ 279300 w 953912"/>
                    <a:gd name="connsiteY2038" fmla="*/ 532286 h 912651"/>
                    <a:gd name="connsiteX2039" fmla="*/ 279300 w 953912"/>
                    <a:gd name="connsiteY2039" fmla="*/ 531509 h 912651"/>
                    <a:gd name="connsiteX2040" fmla="*/ 279093 w 953912"/>
                    <a:gd name="connsiteY2040" fmla="*/ 530756 h 912651"/>
                    <a:gd name="connsiteX2041" fmla="*/ 277867 w 953912"/>
                    <a:gd name="connsiteY2041" fmla="*/ 526251 h 912651"/>
                    <a:gd name="connsiteX2042" fmla="*/ 277952 w 953912"/>
                    <a:gd name="connsiteY2042" fmla="*/ 525061 h 912651"/>
                    <a:gd name="connsiteX2043" fmla="*/ 280696 w 953912"/>
                    <a:gd name="connsiteY2043" fmla="*/ 522911 h 912651"/>
                    <a:gd name="connsiteX2044" fmla="*/ 281874 w 953912"/>
                    <a:gd name="connsiteY2044" fmla="*/ 522377 h 912651"/>
                    <a:gd name="connsiteX2045" fmla="*/ 310847 w 953912"/>
                    <a:gd name="connsiteY2045" fmla="*/ 517690 h 912651"/>
                    <a:gd name="connsiteX2046" fmla="*/ 311709 w 953912"/>
                    <a:gd name="connsiteY2046" fmla="*/ 517544 h 912651"/>
                    <a:gd name="connsiteX2047" fmla="*/ 312499 w 953912"/>
                    <a:gd name="connsiteY2047" fmla="*/ 517168 h 912651"/>
                    <a:gd name="connsiteX2048" fmla="*/ 317368 w 953912"/>
                    <a:gd name="connsiteY2048" fmla="*/ 514836 h 912651"/>
                    <a:gd name="connsiteX2049" fmla="*/ 317805 w 953912"/>
                    <a:gd name="connsiteY2049" fmla="*/ 514618 h 912651"/>
                    <a:gd name="connsiteX2050" fmla="*/ 318206 w 953912"/>
                    <a:gd name="connsiteY2050" fmla="*/ 514338 h 912651"/>
                    <a:gd name="connsiteX2051" fmla="*/ 331587 w 953912"/>
                    <a:gd name="connsiteY2051" fmla="*/ 505049 h 912651"/>
                    <a:gd name="connsiteX2052" fmla="*/ 342139 w 953912"/>
                    <a:gd name="connsiteY2052" fmla="*/ 501127 h 912651"/>
                    <a:gd name="connsiteX2053" fmla="*/ 352412 w 953912"/>
                    <a:gd name="connsiteY2053" fmla="*/ 500277 h 912651"/>
                    <a:gd name="connsiteX2054" fmla="*/ 363013 w 953912"/>
                    <a:gd name="connsiteY2054" fmla="*/ 501989 h 912651"/>
                    <a:gd name="connsiteX2055" fmla="*/ 409946 w 953912"/>
                    <a:gd name="connsiteY2055" fmla="*/ 517981 h 912651"/>
                    <a:gd name="connsiteX2056" fmla="*/ 410358 w 953912"/>
                    <a:gd name="connsiteY2056" fmla="*/ 518127 h 912651"/>
                    <a:gd name="connsiteX2057" fmla="*/ 410783 w 953912"/>
                    <a:gd name="connsiteY2057" fmla="*/ 518200 h 912651"/>
                    <a:gd name="connsiteX2058" fmla="*/ 476987 w 953912"/>
                    <a:gd name="connsiteY2058" fmla="*/ 530598 h 912651"/>
                    <a:gd name="connsiteX2059" fmla="*/ 477691 w 953912"/>
                    <a:gd name="connsiteY2059" fmla="*/ 530731 h 912651"/>
                    <a:gd name="connsiteX2060" fmla="*/ 478408 w 953912"/>
                    <a:gd name="connsiteY2060" fmla="*/ 530707 h 912651"/>
                    <a:gd name="connsiteX2061" fmla="*/ 495869 w 953912"/>
                    <a:gd name="connsiteY2061" fmla="*/ 529881 h 912651"/>
                    <a:gd name="connsiteX2062" fmla="*/ 496330 w 953912"/>
                    <a:gd name="connsiteY2062" fmla="*/ 529857 h 912651"/>
                    <a:gd name="connsiteX2063" fmla="*/ 496780 w 953912"/>
                    <a:gd name="connsiteY2063" fmla="*/ 529772 h 912651"/>
                    <a:gd name="connsiteX2064" fmla="*/ 508376 w 953912"/>
                    <a:gd name="connsiteY2064" fmla="*/ 527416 h 912651"/>
                    <a:gd name="connsiteX2065" fmla="*/ 512942 w 953912"/>
                    <a:gd name="connsiteY2065" fmla="*/ 527477 h 912651"/>
                    <a:gd name="connsiteX2066" fmla="*/ 513683 w 953912"/>
                    <a:gd name="connsiteY2066" fmla="*/ 527939 h 912651"/>
                    <a:gd name="connsiteX2067" fmla="*/ 514909 w 953912"/>
                    <a:gd name="connsiteY2067" fmla="*/ 528691 h 912651"/>
                    <a:gd name="connsiteX2068" fmla="*/ 516949 w 953912"/>
                    <a:gd name="connsiteY2068" fmla="*/ 531642 h 912651"/>
                    <a:gd name="connsiteX2069" fmla="*/ 517216 w 953912"/>
                    <a:gd name="connsiteY2069" fmla="*/ 532031 h 912651"/>
                    <a:gd name="connsiteX2070" fmla="*/ 517544 w 953912"/>
                    <a:gd name="connsiteY2070" fmla="*/ 532371 h 912651"/>
                    <a:gd name="connsiteX2071" fmla="*/ 520531 w 953912"/>
                    <a:gd name="connsiteY2071" fmla="*/ 535504 h 912651"/>
                    <a:gd name="connsiteX2072" fmla="*/ 520956 w 953912"/>
                    <a:gd name="connsiteY2072" fmla="*/ 535953 h 912651"/>
                    <a:gd name="connsiteX2073" fmla="*/ 521466 w 953912"/>
                    <a:gd name="connsiteY2073" fmla="*/ 536305 h 912651"/>
                    <a:gd name="connsiteX2074" fmla="*/ 528874 w 953912"/>
                    <a:gd name="connsiteY2074" fmla="*/ 541441 h 912651"/>
                    <a:gd name="connsiteX2075" fmla="*/ 529311 w 953912"/>
                    <a:gd name="connsiteY2075" fmla="*/ 541745 h 912651"/>
                    <a:gd name="connsiteX2076" fmla="*/ 529796 w 953912"/>
                    <a:gd name="connsiteY2076" fmla="*/ 541976 h 912651"/>
                    <a:gd name="connsiteX2077" fmla="*/ 537544 w 953912"/>
                    <a:gd name="connsiteY2077" fmla="*/ 545534 h 912651"/>
                    <a:gd name="connsiteX2078" fmla="*/ 538054 w 953912"/>
                    <a:gd name="connsiteY2078" fmla="*/ 545764 h 912651"/>
                    <a:gd name="connsiteX2079" fmla="*/ 538588 w 953912"/>
                    <a:gd name="connsiteY2079" fmla="*/ 545898 h 912651"/>
                    <a:gd name="connsiteX2080" fmla="*/ 587973 w 953912"/>
                    <a:gd name="connsiteY2080" fmla="*/ 558357 h 912651"/>
                    <a:gd name="connsiteX2081" fmla="*/ 588605 w 953912"/>
                    <a:gd name="connsiteY2081" fmla="*/ 558514 h 912651"/>
                    <a:gd name="connsiteX2082" fmla="*/ 589248 w 953912"/>
                    <a:gd name="connsiteY2082" fmla="*/ 558527 h 912651"/>
                    <a:gd name="connsiteX2083" fmla="*/ 597518 w 953912"/>
                    <a:gd name="connsiteY2083" fmla="*/ 558818 h 912651"/>
                    <a:gd name="connsiteX2084" fmla="*/ 598295 w 953912"/>
                    <a:gd name="connsiteY2084" fmla="*/ 558842 h 912651"/>
                    <a:gd name="connsiteX2085" fmla="*/ 599060 w 953912"/>
                    <a:gd name="connsiteY2085" fmla="*/ 558672 h 912651"/>
                    <a:gd name="connsiteX2086" fmla="*/ 609308 w 953912"/>
                    <a:gd name="connsiteY2086" fmla="*/ 556365 h 912651"/>
                    <a:gd name="connsiteX2087" fmla="*/ 612198 w 953912"/>
                    <a:gd name="connsiteY2087" fmla="*/ 556365 h 912651"/>
                    <a:gd name="connsiteX2088" fmla="*/ 619751 w 953912"/>
                    <a:gd name="connsiteY2088" fmla="*/ 557324 h 912651"/>
                    <a:gd name="connsiteX2089" fmla="*/ 620856 w 953912"/>
                    <a:gd name="connsiteY2089" fmla="*/ 557470 h 912651"/>
                    <a:gd name="connsiteX2090" fmla="*/ 621937 w 953912"/>
                    <a:gd name="connsiteY2090" fmla="*/ 557203 h 912651"/>
                    <a:gd name="connsiteX2091" fmla="*/ 625434 w 953912"/>
                    <a:gd name="connsiteY2091" fmla="*/ 556353 h 912651"/>
                    <a:gd name="connsiteX2092" fmla="*/ 626697 w 953912"/>
                    <a:gd name="connsiteY2092" fmla="*/ 556049 h 912651"/>
                    <a:gd name="connsiteX2093" fmla="*/ 627729 w 953912"/>
                    <a:gd name="connsiteY2093" fmla="*/ 555248 h 912651"/>
                    <a:gd name="connsiteX2094" fmla="*/ 631518 w 953912"/>
                    <a:gd name="connsiteY2094" fmla="*/ 552309 h 912651"/>
                    <a:gd name="connsiteX2095" fmla="*/ 631773 w 953912"/>
                    <a:gd name="connsiteY2095" fmla="*/ 552103 h 912651"/>
                    <a:gd name="connsiteX2096" fmla="*/ 632004 w 953912"/>
                    <a:gd name="connsiteY2096" fmla="*/ 551872 h 912651"/>
                    <a:gd name="connsiteX2097" fmla="*/ 642531 w 953912"/>
                    <a:gd name="connsiteY2097" fmla="*/ 541709 h 912651"/>
                    <a:gd name="connsiteX2098" fmla="*/ 653557 w 953912"/>
                    <a:gd name="connsiteY2098" fmla="*/ 533949 h 912651"/>
                    <a:gd name="connsiteX2099" fmla="*/ 657698 w 953912"/>
                    <a:gd name="connsiteY2099" fmla="*/ 532735 h 912651"/>
                    <a:gd name="connsiteX2100" fmla="*/ 658293 w 953912"/>
                    <a:gd name="connsiteY2100" fmla="*/ 532565 h 912651"/>
                    <a:gd name="connsiteX2101" fmla="*/ 658839 w 953912"/>
                    <a:gd name="connsiteY2101" fmla="*/ 532274 h 912651"/>
                    <a:gd name="connsiteX2102" fmla="*/ 660151 w 953912"/>
                    <a:gd name="connsiteY2102" fmla="*/ 531581 h 912651"/>
                    <a:gd name="connsiteX2103" fmla="*/ 661183 w 953912"/>
                    <a:gd name="connsiteY2103" fmla="*/ 531035 h 912651"/>
                    <a:gd name="connsiteX2104" fmla="*/ 661936 w 953912"/>
                    <a:gd name="connsiteY2104" fmla="*/ 530149 h 912651"/>
                    <a:gd name="connsiteX2105" fmla="*/ 664401 w 953912"/>
                    <a:gd name="connsiteY2105" fmla="*/ 527246 h 912651"/>
                    <a:gd name="connsiteX2106" fmla="*/ 664668 w 953912"/>
                    <a:gd name="connsiteY2106" fmla="*/ 526919 h 912651"/>
                    <a:gd name="connsiteX2107" fmla="*/ 664899 w 953912"/>
                    <a:gd name="connsiteY2107" fmla="*/ 526554 h 912651"/>
                    <a:gd name="connsiteX2108" fmla="*/ 668299 w 953912"/>
                    <a:gd name="connsiteY2108" fmla="*/ 521175 h 912651"/>
                    <a:gd name="connsiteX2109" fmla="*/ 669404 w 953912"/>
                    <a:gd name="connsiteY2109" fmla="*/ 520240 h 912651"/>
                    <a:gd name="connsiteX2110" fmla="*/ 672658 w 953912"/>
                    <a:gd name="connsiteY2110" fmla="*/ 519584 h 912651"/>
                    <a:gd name="connsiteX2111" fmla="*/ 682919 w 953912"/>
                    <a:gd name="connsiteY2111" fmla="*/ 523676 h 912651"/>
                    <a:gd name="connsiteX2112" fmla="*/ 684060 w 953912"/>
                    <a:gd name="connsiteY2112" fmla="*/ 524138 h 912651"/>
                    <a:gd name="connsiteX2113" fmla="*/ 685299 w 953912"/>
                    <a:gd name="connsiteY2113" fmla="*/ 524113 h 912651"/>
                    <a:gd name="connsiteX2114" fmla="*/ 691492 w 953912"/>
                    <a:gd name="connsiteY2114" fmla="*/ 523980 h 912651"/>
                    <a:gd name="connsiteX2115" fmla="*/ 692148 w 953912"/>
                    <a:gd name="connsiteY2115" fmla="*/ 523968 h 912651"/>
                    <a:gd name="connsiteX2116" fmla="*/ 692791 w 953912"/>
                    <a:gd name="connsiteY2116" fmla="*/ 523810 h 912651"/>
                    <a:gd name="connsiteX2117" fmla="*/ 712888 w 953912"/>
                    <a:gd name="connsiteY2117" fmla="*/ 518928 h 912651"/>
                    <a:gd name="connsiteX2118" fmla="*/ 713653 w 953912"/>
                    <a:gd name="connsiteY2118" fmla="*/ 518746 h 912651"/>
                    <a:gd name="connsiteX2119" fmla="*/ 714345 w 953912"/>
                    <a:gd name="connsiteY2119" fmla="*/ 518370 h 912651"/>
                    <a:gd name="connsiteX2120" fmla="*/ 739784 w 953912"/>
                    <a:gd name="connsiteY2120" fmla="*/ 504576 h 912651"/>
                    <a:gd name="connsiteX2121" fmla="*/ 745091 w 953912"/>
                    <a:gd name="connsiteY2121" fmla="*/ 502657 h 912651"/>
                    <a:gd name="connsiteX2122" fmla="*/ 749353 w 953912"/>
                    <a:gd name="connsiteY2122" fmla="*/ 503313 h 912651"/>
                    <a:gd name="connsiteX2123" fmla="*/ 756347 w 953912"/>
                    <a:gd name="connsiteY2123" fmla="*/ 508170 h 912651"/>
                    <a:gd name="connsiteX2124" fmla="*/ 757039 w 953912"/>
                    <a:gd name="connsiteY2124" fmla="*/ 508656 h 912651"/>
                    <a:gd name="connsiteX2125" fmla="*/ 757829 w 953912"/>
                    <a:gd name="connsiteY2125" fmla="*/ 508923 h 912651"/>
                    <a:gd name="connsiteX2126" fmla="*/ 760816 w 953912"/>
                    <a:gd name="connsiteY2126" fmla="*/ 509955 h 912651"/>
                    <a:gd name="connsiteX2127" fmla="*/ 761714 w 953912"/>
                    <a:gd name="connsiteY2127" fmla="*/ 510258 h 912651"/>
                    <a:gd name="connsiteX2128" fmla="*/ 762674 w 953912"/>
                    <a:gd name="connsiteY2128" fmla="*/ 510283 h 912651"/>
                    <a:gd name="connsiteX2129" fmla="*/ 765952 w 953912"/>
                    <a:gd name="connsiteY2129" fmla="*/ 510356 h 912651"/>
                    <a:gd name="connsiteX2130" fmla="*/ 766620 w 953912"/>
                    <a:gd name="connsiteY2130" fmla="*/ 510368 h 912651"/>
                    <a:gd name="connsiteX2131" fmla="*/ 767276 w 953912"/>
                    <a:gd name="connsiteY2131" fmla="*/ 510234 h 912651"/>
                    <a:gd name="connsiteX2132" fmla="*/ 783462 w 953912"/>
                    <a:gd name="connsiteY2132" fmla="*/ 506992 h 912651"/>
                    <a:gd name="connsiteX2133" fmla="*/ 784264 w 953912"/>
                    <a:gd name="connsiteY2133" fmla="*/ 506834 h 912651"/>
                    <a:gd name="connsiteX2134" fmla="*/ 785005 w 953912"/>
                    <a:gd name="connsiteY2134" fmla="*/ 506458 h 912651"/>
                    <a:gd name="connsiteX2135" fmla="*/ 787433 w 953912"/>
                    <a:gd name="connsiteY2135" fmla="*/ 505231 h 912651"/>
                    <a:gd name="connsiteX2136" fmla="*/ 788150 w 953912"/>
                    <a:gd name="connsiteY2136" fmla="*/ 504867 h 912651"/>
                    <a:gd name="connsiteX2137" fmla="*/ 788745 w 953912"/>
                    <a:gd name="connsiteY2137" fmla="*/ 504333 h 912651"/>
                    <a:gd name="connsiteX2138" fmla="*/ 805902 w 953912"/>
                    <a:gd name="connsiteY2138" fmla="*/ 488996 h 912651"/>
                    <a:gd name="connsiteX2139" fmla="*/ 806910 w 953912"/>
                    <a:gd name="connsiteY2139" fmla="*/ 488098 h 912651"/>
                    <a:gd name="connsiteX2140" fmla="*/ 807433 w 953912"/>
                    <a:gd name="connsiteY2140" fmla="*/ 486859 h 912651"/>
                    <a:gd name="connsiteX2141" fmla="*/ 809169 w 953912"/>
                    <a:gd name="connsiteY2141" fmla="*/ 482815 h 912651"/>
                    <a:gd name="connsiteX2142" fmla="*/ 809740 w 953912"/>
                    <a:gd name="connsiteY2142" fmla="*/ 481492 h 912651"/>
                    <a:gd name="connsiteX2143" fmla="*/ 809655 w 953912"/>
                    <a:gd name="connsiteY2143" fmla="*/ 480047 h 912651"/>
                    <a:gd name="connsiteX2144" fmla="*/ 809023 w 953912"/>
                    <a:gd name="connsiteY2144" fmla="*/ 469774 h 912651"/>
                    <a:gd name="connsiteX2145" fmla="*/ 809643 w 953912"/>
                    <a:gd name="connsiteY2145" fmla="*/ 467831 h 912651"/>
                    <a:gd name="connsiteX2146" fmla="*/ 811768 w 953912"/>
                    <a:gd name="connsiteY2146" fmla="*/ 466265 h 912651"/>
                    <a:gd name="connsiteX2147" fmla="*/ 816770 w 953912"/>
                    <a:gd name="connsiteY2147" fmla="*/ 464686 h 912651"/>
                    <a:gd name="connsiteX2148" fmla="*/ 821725 w 953912"/>
                    <a:gd name="connsiteY2148" fmla="*/ 464285 h 912651"/>
                    <a:gd name="connsiteX2149" fmla="*/ 824943 w 953912"/>
                    <a:gd name="connsiteY2149" fmla="*/ 465111 h 912651"/>
                    <a:gd name="connsiteX2150" fmla="*/ 829120 w 953912"/>
                    <a:gd name="connsiteY2150" fmla="*/ 467625 h 912651"/>
                    <a:gd name="connsiteX2151" fmla="*/ 830067 w 953912"/>
                    <a:gd name="connsiteY2151" fmla="*/ 468195 h 912651"/>
                    <a:gd name="connsiteX2152" fmla="*/ 831160 w 953912"/>
                    <a:gd name="connsiteY2152" fmla="*/ 468402 h 912651"/>
                    <a:gd name="connsiteX2153" fmla="*/ 834038 w 953912"/>
                    <a:gd name="connsiteY2153" fmla="*/ 468924 h 912651"/>
                    <a:gd name="connsiteX2154" fmla="*/ 836636 w 953912"/>
                    <a:gd name="connsiteY2154" fmla="*/ 469397 h 912651"/>
                    <a:gd name="connsiteX2155" fmla="*/ 838749 w 953912"/>
                    <a:gd name="connsiteY2155" fmla="*/ 467819 h 912651"/>
                    <a:gd name="connsiteX2156" fmla="*/ 841093 w 953912"/>
                    <a:gd name="connsiteY2156" fmla="*/ 466070 h 912651"/>
                    <a:gd name="connsiteX2157" fmla="*/ 841481 w 953912"/>
                    <a:gd name="connsiteY2157" fmla="*/ 465779 h 912651"/>
                    <a:gd name="connsiteX2158" fmla="*/ 841821 w 953912"/>
                    <a:gd name="connsiteY2158" fmla="*/ 465427 h 912651"/>
                    <a:gd name="connsiteX2159" fmla="*/ 845112 w 953912"/>
                    <a:gd name="connsiteY2159" fmla="*/ 462027 h 912651"/>
                    <a:gd name="connsiteX2160" fmla="*/ 855992 w 953912"/>
                    <a:gd name="connsiteY2160" fmla="*/ 453854 h 912651"/>
                    <a:gd name="connsiteX2161" fmla="*/ 856587 w 953912"/>
                    <a:gd name="connsiteY2161" fmla="*/ 453405 h 912651"/>
                    <a:gd name="connsiteX2162" fmla="*/ 857061 w 953912"/>
                    <a:gd name="connsiteY2162" fmla="*/ 452822 h 912651"/>
                    <a:gd name="connsiteX2163" fmla="*/ 859987 w 953912"/>
                    <a:gd name="connsiteY2163" fmla="*/ 449204 h 912651"/>
                    <a:gd name="connsiteX2164" fmla="*/ 860971 w 953912"/>
                    <a:gd name="connsiteY2164" fmla="*/ 447989 h 912651"/>
                    <a:gd name="connsiteX2165" fmla="*/ 861238 w 953912"/>
                    <a:gd name="connsiteY2165" fmla="*/ 446459 h 912651"/>
                    <a:gd name="connsiteX2166" fmla="*/ 862428 w 953912"/>
                    <a:gd name="connsiteY2166" fmla="*/ 439854 h 912651"/>
                    <a:gd name="connsiteX2167" fmla="*/ 862659 w 953912"/>
                    <a:gd name="connsiteY2167" fmla="*/ 438554 h 912651"/>
                    <a:gd name="connsiteX2168" fmla="*/ 862331 w 953912"/>
                    <a:gd name="connsiteY2168" fmla="*/ 437279 h 912651"/>
                    <a:gd name="connsiteX2169" fmla="*/ 860922 w 953912"/>
                    <a:gd name="connsiteY2169" fmla="*/ 431754 h 912651"/>
                    <a:gd name="connsiteX2170" fmla="*/ 860619 w 953912"/>
                    <a:gd name="connsiteY2170" fmla="*/ 429556 h 912651"/>
                    <a:gd name="connsiteX2171" fmla="*/ 861881 w 953912"/>
                    <a:gd name="connsiteY2171" fmla="*/ 428026 h 912651"/>
                    <a:gd name="connsiteX2172" fmla="*/ 862161 w 953912"/>
                    <a:gd name="connsiteY2172" fmla="*/ 427856 h 912651"/>
                    <a:gd name="connsiteX2173" fmla="*/ 866799 w 953912"/>
                    <a:gd name="connsiteY2173" fmla="*/ 425088 h 912651"/>
                    <a:gd name="connsiteX2174" fmla="*/ 864601 w 953912"/>
                    <a:gd name="connsiteY2174" fmla="*/ 420158 h 912651"/>
                    <a:gd name="connsiteX2175" fmla="*/ 839174 w 953912"/>
                    <a:gd name="connsiteY2175" fmla="*/ 363171 h 912651"/>
                    <a:gd name="connsiteX2176" fmla="*/ 818033 w 953912"/>
                    <a:gd name="connsiteY2176" fmla="*/ 315814 h 912651"/>
                    <a:gd name="connsiteX2177" fmla="*/ 818422 w 953912"/>
                    <a:gd name="connsiteY2177" fmla="*/ 316226 h 912651"/>
                    <a:gd name="connsiteX2178" fmla="*/ 822611 w 953912"/>
                    <a:gd name="connsiteY2178" fmla="*/ 321836 h 912651"/>
                    <a:gd name="connsiteX2179" fmla="*/ 823085 w 953912"/>
                    <a:gd name="connsiteY2179" fmla="*/ 322480 h 912651"/>
                    <a:gd name="connsiteX2180" fmla="*/ 823716 w 953912"/>
                    <a:gd name="connsiteY2180" fmla="*/ 322978 h 912651"/>
                    <a:gd name="connsiteX2181" fmla="*/ 826704 w 953912"/>
                    <a:gd name="connsiteY2181" fmla="*/ 325334 h 912651"/>
                    <a:gd name="connsiteX2182" fmla="*/ 827420 w 953912"/>
                    <a:gd name="connsiteY2182" fmla="*/ 325892 h 912651"/>
                    <a:gd name="connsiteX2183" fmla="*/ 828258 w 953912"/>
                    <a:gd name="connsiteY2183" fmla="*/ 326220 h 912651"/>
                    <a:gd name="connsiteX2184" fmla="*/ 831755 w 953912"/>
                    <a:gd name="connsiteY2184" fmla="*/ 327592 h 912651"/>
                    <a:gd name="connsiteX2185" fmla="*/ 832253 w 953912"/>
                    <a:gd name="connsiteY2185" fmla="*/ 327786 h 912651"/>
                    <a:gd name="connsiteX2186" fmla="*/ 832775 w 953912"/>
                    <a:gd name="connsiteY2186" fmla="*/ 327896 h 912651"/>
                    <a:gd name="connsiteX2187" fmla="*/ 836636 w 953912"/>
                    <a:gd name="connsiteY2187" fmla="*/ 328673 h 912651"/>
                    <a:gd name="connsiteX2188" fmla="*/ 837146 w 953912"/>
                    <a:gd name="connsiteY2188" fmla="*/ 328770 h 912651"/>
                    <a:gd name="connsiteX2189" fmla="*/ 837669 w 953912"/>
                    <a:gd name="connsiteY2189" fmla="*/ 328782 h 912651"/>
                    <a:gd name="connsiteX2190" fmla="*/ 845306 w 953912"/>
                    <a:gd name="connsiteY2190" fmla="*/ 328989 h 912651"/>
                    <a:gd name="connsiteX2191" fmla="*/ 845889 w 953912"/>
                    <a:gd name="connsiteY2191" fmla="*/ 329001 h 912651"/>
                    <a:gd name="connsiteX2192" fmla="*/ 846460 w 953912"/>
                    <a:gd name="connsiteY2192" fmla="*/ 328904 h 912651"/>
                    <a:gd name="connsiteX2193" fmla="*/ 853721 w 953912"/>
                    <a:gd name="connsiteY2193" fmla="*/ 327714 h 912651"/>
                    <a:gd name="connsiteX2194" fmla="*/ 856441 w 953912"/>
                    <a:gd name="connsiteY2194" fmla="*/ 327665 h 912651"/>
                    <a:gd name="connsiteX2195" fmla="*/ 857886 w 953912"/>
                    <a:gd name="connsiteY2195" fmla="*/ 328114 h 912651"/>
                    <a:gd name="connsiteX2196" fmla="*/ 858870 w 953912"/>
                    <a:gd name="connsiteY2196" fmla="*/ 328904 h 912651"/>
                    <a:gd name="connsiteX2197" fmla="*/ 862477 w 953912"/>
                    <a:gd name="connsiteY2197" fmla="*/ 333348 h 912651"/>
                    <a:gd name="connsiteX2198" fmla="*/ 862817 w 953912"/>
                    <a:gd name="connsiteY2198" fmla="*/ 333761 h 912651"/>
                    <a:gd name="connsiteX2199" fmla="*/ 863217 w 953912"/>
                    <a:gd name="connsiteY2199" fmla="*/ 334113 h 912651"/>
                    <a:gd name="connsiteX2200" fmla="*/ 865621 w 953912"/>
                    <a:gd name="connsiteY2200" fmla="*/ 336202 h 912651"/>
                    <a:gd name="connsiteX2201" fmla="*/ 866399 w 953912"/>
                    <a:gd name="connsiteY2201" fmla="*/ 336869 h 912651"/>
                    <a:gd name="connsiteX2202" fmla="*/ 867358 w 953912"/>
                    <a:gd name="connsiteY2202" fmla="*/ 337246 h 912651"/>
                    <a:gd name="connsiteX2203" fmla="*/ 874134 w 953912"/>
                    <a:gd name="connsiteY2203" fmla="*/ 339942 h 912651"/>
                    <a:gd name="connsiteX2204" fmla="*/ 875020 w 953912"/>
                    <a:gd name="connsiteY2204" fmla="*/ 340294 h 912651"/>
                    <a:gd name="connsiteX2205" fmla="*/ 875967 w 953912"/>
                    <a:gd name="connsiteY2205" fmla="*/ 340354 h 912651"/>
                    <a:gd name="connsiteX2206" fmla="*/ 882743 w 953912"/>
                    <a:gd name="connsiteY2206" fmla="*/ 340816 h 912651"/>
                    <a:gd name="connsiteX2207" fmla="*/ 883302 w 953912"/>
                    <a:gd name="connsiteY2207" fmla="*/ 340852 h 912651"/>
                    <a:gd name="connsiteX2208" fmla="*/ 883860 w 953912"/>
                    <a:gd name="connsiteY2208" fmla="*/ 340792 h 912651"/>
                    <a:gd name="connsiteX2209" fmla="*/ 896926 w 953912"/>
                    <a:gd name="connsiteY2209" fmla="*/ 339262 h 912651"/>
                    <a:gd name="connsiteX2210" fmla="*/ 900921 w 953912"/>
                    <a:gd name="connsiteY2210" fmla="*/ 339662 h 912651"/>
                    <a:gd name="connsiteX2211" fmla="*/ 903969 w 953912"/>
                    <a:gd name="connsiteY2211" fmla="*/ 341107 h 912651"/>
                    <a:gd name="connsiteX2212" fmla="*/ 912153 w 953912"/>
                    <a:gd name="connsiteY2212" fmla="*/ 347482 h 912651"/>
                    <a:gd name="connsiteX2213" fmla="*/ 912627 w 953912"/>
                    <a:gd name="connsiteY2213" fmla="*/ 347859 h 912651"/>
                    <a:gd name="connsiteX2214" fmla="*/ 913161 w 953912"/>
                    <a:gd name="connsiteY2214" fmla="*/ 348126 h 912651"/>
                    <a:gd name="connsiteX2215" fmla="*/ 919148 w 953912"/>
                    <a:gd name="connsiteY2215" fmla="*/ 351113 h 912651"/>
                    <a:gd name="connsiteX2216" fmla="*/ 920156 w 953912"/>
                    <a:gd name="connsiteY2216" fmla="*/ 351611 h 912651"/>
                    <a:gd name="connsiteX2217" fmla="*/ 921273 w 953912"/>
                    <a:gd name="connsiteY2217" fmla="*/ 351720 h 912651"/>
                    <a:gd name="connsiteX2218" fmla="*/ 926664 w 953912"/>
                    <a:gd name="connsiteY2218" fmla="*/ 352255 h 912651"/>
                    <a:gd name="connsiteX2219" fmla="*/ 927381 w 953912"/>
                    <a:gd name="connsiteY2219" fmla="*/ 352327 h 912651"/>
                    <a:gd name="connsiteX2220" fmla="*/ 928097 w 953912"/>
                    <a:gd name="connsiteY2220" fmla="*/ 352230 h 912651"/>
                    <a:gd name="connsiteX2221" fmla="*/ 940033 w 953912"/>
                    <a:gd name="connsiteY2221" fmla="*/ 350591 h 912651"/>
                    <a:gd name="connsiteX2222" fmla="*/ 945571 w 953912"/>
                    <a:gd name="connsiteY2222" fmla="*/ 350384 h 912651"/>
                    <a:gd name="connsiteX2223" fmla="*/ 946360 w 953912"/>
                    <a:gd name="connsiteY2223" fmla="*/ 350506 h 912651"/>
                    <a:gd name="connsiteX2224" fmla="*/ 953913 w 953912"/>
                    <a:gd name="connsiteY2224" fmla="*/ 351708 h 912651"/>
                    <a:gd name="connsiteX2225" fmla="*/ 953366 w 953912"/>
                    <a:gd name="connsiteY2225" fmla="*/ 344082 h 912651"/>
                    <a:gd name="connsiteX2226" fmla="*/ 953257 w 953912"/>
                    <a:gd name="connsiteY2226" fmla="*/ 342492 h 912651"/>
                    <a:gd name="connsiteX2227" fmla="*/ 951351 w 953912"/>
                    <a:gd name="connsiteY2227" fmla="*/ 322043 h 912651"/>
                    <a:gd name="connsiteX2228" fmla="*/ 951241 w 953912"/>
                    <a:gd name="connsiteY2228" fmla="*/ 320950 h 912651"/>
                    <a:gd name="connsiteX2229" fmla="*/ 950756 w 953912"/>
                    <a:gd name="connsiteY2229" fmla="*/ 319954 h 912651"/>
                    <a:gd name="connsiteX2230" fmla="*/ 943300 w 953912"/>
                    <a:gd name="connsiteY2230" fmla="*/ 304642 h 912651"/>
                    <a:gd name="connsiteX2231" fmla="*/ 941078 w 953912"/>
                    <a:gd name="connsiteY2231" fmla="*/ 300088 h 912651"/>
                    <a:gd name="connsiteX2232" fmla="*/ 936208 w 953912"/>
                    <a:gd name="connsiteY2232" fmla="*/ 301448 h 912651"/>
                    <a:gd name="connsiteX2233" fmla="*/ 931108 w 953912"/>
                    <a:gd name="connsiteY2233" fmla="*/ 302869 h 912651"/>
                    <a:gd name="connsiteX2234" fmla="*/ 920010 w 953912"/>
                    <a:gd name="connsiteY2234" fmla="*/ 289014 h 912651"/>
                    <a:gd name="connsiteX2235" fmla="*/ 918188 w 953912"/>
                    <a:gd name="connsiteY2235" fmla="*/ 286731 h 912651"/>
                    <a:gd name="connsiteX2236" fmla="*/ 915274 w 953912"/>
                    <a:gd name="connsiteY2236" fmla="*/ 286731 h 912651"/>
                    <a:gd name="connsiteX2237" fmla="*/ 907794 w 953912"/>
                    <a:gd name="connsiteY2237" fmla="*/ 286731 h 912651"/>
                    <a:gd name="connsiteX2238" fmla="*/ 907442 w 953912"/>
                    <a:gd name="connsiteY2238" fmla="*/ 286731 h 912651"/>
                    <a:gd name="connsiteX2239" fmla="*/ 907102 w 953912"/>
                    <a:gd name="connsiteY2239" fmla="*/ 286768 h 912651"/>
                    <a:gd name="connsiteX2240" fmla="*/ 889616 w 953912"/>
                    <a:gd name="connsiteY2240" fmla="*/ 288771 h 912651"/>
                    <a:gd name="connsiteX2241" fmla="*/ 875858 w 953912"/>
                    <a:gd name="connsiteY2241" fmla="*/ 284740 h 912651"/>
                    <a:gd name="connsiteX2242" fmla="*/ 871025 w 953912"/>
                    <a:gd name="connsiteY2242" fmla="*/ 283355 h 912651"/>
                    <a:gd name="connsiteX2243" fmla="*/ 868232 w 953912"/>
                    <a:gd name="connsiteY2243" fmla="*/ 277357 h 912651"/>
                    <a:gd name="connsiteX2244" fmla="*/ 867589 w 953912"/>
                    <a:gd name="connsiteY2244" fmla="*/ 275985 h 912651"/>
                    <a:gd name="connsiteX2245" fmla="*/ 866387 w 953912"/>
                    <a:gd name="connsiteY2245" fmla="*/ 275074 h 912651"/>
                    <a:gd name="connsiteX2246" fmla="*/ 855130 w 953912"/>
                    <a:gd name="connsiteY2246" fmla="*/ 266586 h 912651"/>
                    <a:gd name="connsiteX2247" fmla="*/ 854341 w 953912"/>
                    <a:gd name="connsiteY2247" fmla="*/ 265991 h 912651"/>
                    <a:gd name="connsiteX2248" fmla="*/ 853394 w 953912"/>
                    <a:gd name="connsiteY2248" fmla="*/ 265675 h 912651"/>
                    <a:gd name="connsiteX2249" fmla="*/ 840364 w 953912"/>
                    <a:gd name="connsiteY2249" fmla="*/ 261328 h 912651"/>
                    <a:gd name="connsiteX2250" fmla="*/ 840073 w 953912"/>
                    <a:gd name="connsiteY2250" fmla="*/ 261231 h 912651"/>
                    <a:gd name="connsiteX2251" fmla="*/ 839769 w 953912"/>
                    <a:gd name="connsiteY2251" fmla="*/ 261158 h 912651"/>
                    <a:gd name="connsiteX2252" fmla="*/ 822708 w 953912"/>
                    <a:gd name="connsiteY2252" fmla="*/ 257370 h 912651"/>
                    <a:gd name="connsiteX2253" fmla="*/ 814488 w 953912"/>
                    <a:gd name="connsiteY2253" fmla="*/ 249489 h 912651"/>
                    <a:gd name="connsiteX2254" fmla="*/ 814488 w 953912"/>
                    <a:gd name="connsiteY2254" fmla="*/ 237224 h 912651"/>
                    <a:gd name="connsiteX2255" fmla="*/ 814488 w 953912"/>
                    <a:gd name="connsiteY2255" fmla="*/ 224341 h 912651"/>
                    <a:gd name="connsiteX2256" fmla="*/ 814488 w 953912"/>
                    <a:gd name="connsiteY2256" fmla="*/ 223588 h 912651"/>
                    <a:gd name="connsiteX2257" fmla="*/ 814305 w 953912"/>
                    <a:gd name="connsiteY2257" fmla="*/ 222847 h 912651"/>
                    <a:gd name="connsiteX2258" fmla="*/ 810505 w 953912"/>
                    <a:gd name="connsiteY2258" fmla="*/ 207802 h 912651"/>
                    <a:gd name="connsiteX2259" fmla="*/ 810238 w 953912"/>
                    <a:gd name="connsiteY2259" fmla="*/ 206721 h 912651"/>
                    <a:gd name="connsiteX2260" fmla="*/ 809594 w 953912"/>
                    <a:gd name="connsiteY2260" fmla="*/ 205811 h 912651"/>
                    <a:gd name="connsiteX2261" fmla="*/ 802138 w 953912"/>
                    <a:gd name="connsiteY2261" fmla="*/ 195137 h 912651"/>
                    <a:gd name="connsiteX2262" fmla="*/ 801482 w 953912"/>
                    <a:gd name="connsiteY2262" fmla="*/ 194287 h 912651"/>
                    <a:gd name="connsiteX2263" fmla="*/ 800596 w 953912"/>
                    <a:gd name="connsiteY2263" fmla="*/ 193668 h 912651"/>
                    <a:gd name="connsiteX2264" fmla="*/ 791246 w 953912"/>
                    <a:gd name="connsiteY2264" fmla="*/ 187147 h 912651"/>
                    <a:gd name="connsiteX2265" fmla="*/ 789680 w 953912"/>
                    <a:gd name="connsiteY2265" fmla="*/ 186054 h 912651"/>
                    <a:gd name="connsiteX2266" fmla="*/ 787773 w 953912"/>
                    <a:gd name="connsiteY2266" fmla="*/ 186054 h 912651"/>
                    <a:gd name="connsiteX2267" fmla="*/ 769899 w 953912"/>
                    <a:gd name="connsiteY2267" fmla="*/ 186054 h 912651"/>
                    <a:gd name="connsiteX2268" fmla="*/ 752801 w 953912"/>
                    <a:gd name="connsiteY2268" fmla="*/ 180177 h 912651"/>
                    <a:gd name="connsiteX2269" fmla="*/ 747289 w 953912"/>
                    <a:gd name="connsiteY2269" fmla="*/ 177141 h 912651"/>
                    <a:gd name="connsiteX2270" fmla="*/ 740671 w 953912"/>
                    <a:gd name="connsiteY2270" fmla="*/ 163808 h 912651"/>
                    <a:gd name="connsiteX2271" fmla="*/ 739541 w 953912"/>
                    <a:gd name="connsiteY2271" fmla="*/ 161538 h 912651"/>
                    <a:gd name="connsiteX2272" fmla="*/ 737137 w 953912"/>
                    <a:gd name="connsiteY2272" fmla="*/ 160748 h 912651"/>
                    <a:gd name="connsiteX2273" fmla="*/ 723926 w 953912"/>
                    <a:gd name="connsiteY2273" fmla="*/ 156377 h 912651"/>
                    <a:gd name="connsiteX2274" fmla="*/ 722553 w 953912"/>
                    <a:gd name="connsiteY2274" fmla="*/ 155927 h 912651"/>
                    <a:gd name="connsiteX2275" fmla="*/ 721133 w 953912"/>
                    <a:gd name="connsiteY2275" fmla="*/ 156134 h 912651"/>
                    <a:gd name="connsiteX2276" fmla="*/ 709828 w 953912"/>
                    <a:gd name="connsiteY2276" fmla="*/ 157797 h 912651"/>
                    <a:gd name="connsiteX2277" fmla="*/ 695123 w 953912"/>
                    <a:gd name="connsiteY2277" fmla="*/ 138235 h 912651"/>
                    <a:gd name="connsiteX2278" fmla="*/ 693605 w 953912"/>
                    <a:gd name="connsiteY2278" fmla="*/ 136219 h 912651"/>
                    <a:gd name="connsiteX2279" fmla="*/ 691115 w 953912"/>
                    <a:gd name="connsiteY2279" fmla="*/ 135867 h 912651"/>
                    <a:gd name="connsiteX2280" fmla="*/ 663721 w 953912"/>
                    <a:gd name="connsiteY2280" fmla="*/ 131982 h 912651"/>
                    <a:gd name="connsiteX2281" fmla="*/ 663648 w 953912"/>
                    <a:gd name="connsiteY2281" fmla="*/ 131678 h 912651"/>
                    <a:gd name="connsiteX2282" fmla="*/ 663162 w 953912"/>
                    <a:gd name="connsiteY2282" fmla="*/ 130707 h 912651"/>
                    <a:gd name="connsiteX2283" fmla="*/ 644098 w 953912"/>
                    <a:gd name="connsiteY2283" fmla="*/ 96998 h 912651"/>
                    <a:gd name="connsiteX2284" fmla="*/ 643807 w 953912"/>
                    <a:gd name="connsiteY2284" fmla="*/ 96463 h 912651"/>
                    <a:gd name="connsiteX2285" fmla="*/ 643406 w 953912"/>
                    <a:gd name="connsiteY2285" fmla="*/ 96002 h 912651"/>
                    <a:gd name="connsiteX2286" fmla="*/ 638694 w 953912"/>
                    <a:gd name="connsiteY2286" fmla="*/ 90574 h 912651"/>
                    <a:gd name="connsiteX2287" fmla="*/ 638379 w 953912"/>
                    <a:gd name="connsiteY2287" fmla="*/ 90210 h 912651"/>
                    <a:gd name="connsiteX2288" fmla="*/ 638002 w 953912"/>
                    <a:gd name="connsiteY2288" fmla="*/ 89894 h 912651"/>
                    <a:gd name="connsiteX2289" fmla="*/ 626916 w 953912"/>
                    <a:gd name="connsiteY2289" fmla="*/ 80629 h 912651"/>
                    <a:gd name="connsiteX2290" fmla="*/ 626649 w 953912"/>
                    <a:gd name="connsiteY2290" fmla="*/ 80398 h 912651"/>
                    <a:gd name="connsiteX2291" fmla="*/ 626357 w 953912"/>
                    <a:gd name="connsiteY2291" fmla="*/ 80204 h 912651"/>
                    <a:gd name="connsiteX2292" fmla="*/ 614761 w 953912"/>
                    <a:gd name="connsiteY2292" fmla="*/ 72590 h 912651"/>
                    <a:gd name="connsiteX2293" fmla="*/ 614360 w 953912"/>
                    <a:gd name="connsiteY2293" fmla="*/ 72323 h 912651"/>
                    <a:gd name="connsiteX2294" fmla="*/ 613911 w 953912"/>
                    <a:gd name="connsiteY2294" fmla="*/ 72129 h 912651"/>
                    <a:gd name="connsiteX2295" fmla="*/ 599096 w 953912"/>
                    <a:gd name="connsiteY2295" fmla="*/ 65475 h 912651"/>
                    <a:gd name="connsiteX2296" fmla="*/ 598428 w 953912"/>
                    <a:gd name="connsiteY2296" fmla="*/ 65171 h 912651"/>
                    <a:gd name="connsiteX2297" fmla="*/ 597700 w 953912"/>
                    <a:gd name="connsiteY2297" fmla="*/ 65038 h 912651"/>
                    <a:gd name="connsiteX2298" fmla="*/ 582825 w 953912"/>
                    <a:gd name="connsiteY2298" fmla="*/ 62305 h 912651"/>
                    <a:gd name="connsiteX2299" fmla="*/ 581246 w 953912"/>
                    <a:gd name="connsiteY2299" fmla="*/ 62014 h 912651"/>
                    <a:gd name="connsiteX2300" fmla="*/ 579728 w 953912"/>
                    <a:gd name="connsiteY2300" fmla="*/ 62548 h 912651"/>
                    <a:gd name="connsiteX2301" fmla="*/ 568022 w 953912"/>
                    <a:gd name="connsiteY2301" fmla="*/ 66653 h 912651"/>
                    <a:gd name="connsiteX2302" fmla="*/ 565837 w 953912"/>
                    <a:gd name="connsiteY2302" fmla="*/ 67418 h 912651"/>
                    <a:gd name="connsiteX2303" fmla="*/ 564720 w 953912"/>
                    <a:gd name="connsiteY2303" fmla="*/ 69445 h 912651"/>
                    <a:gd name="connsiteX2304" fmla="*/ 563566 w 953912"/>
                    <a:gd name="connsiteY2304" fmla="*/ 71534 h 912651"/>
                    <a:gd name="connsiteX2305" fmla="*/ 563335 w 953912"/>
                    <a:gd name="connsiteY2305" fmla="*/ 71935 h 912651"/>
                    <a:gd name="connsiteX2306" fmla="*/ 558818 w 953912"/>
                    <a:gd name="connsiteY2306" fmla="*/ 71753 h 912651"/>
                    <a:gd name="connsiteX2307" fmla="*/ 557458 w 953912"/>
                    <a:gd name="connsiteY2307" fmla="*/ 69980 h 912651"/>
                    <a:gd name="connsiteX2308" fmla="*/ 556450 w 953912"/>
                    <a:gd name="connsiteY2308" fmla="*/ 63787 h 912651"/>
                    <a:gd name="connsiteX2309" fmla="*/ 556122 w 953912"/>
                    <a:gd name="connsiteY2309" fmla="*/ 55311 h 912651"/>
                    <a:gd name="connsiteX2310" fmla="*/ 556110 w 953912"/>
                    <a:gd name="connsiteY2310" fmla="*/ 54959 h 912651"/>
                    <a:gd name="connsiteX2311" fmla="*/ 556049 w 953912"/>
                    <a:gd name="connsiteY2311" fmla="*/ 54607 h 912651"/>
                    <a:gd name="connsiteX2312" fmla="*/ 554738 w 953912"/>
                    <a:gd name="connsiteY2312" fmla="*/ 46313 h 912651"/>
                    <a:gd name="connsiteX2313" fmla="*/ 554604 w 953912"/>
                    <a:gd name="connsiteY2313" fmla="*/ 45439 h 912651"/>
                    <a:gd name="connsiteX2314" fmla="*/ 554216 w 953912"/>
                    <a:gd name="connsiteY2314" fmla="*/ 44637 h 912651"/>
                    <a:gd name="connsiteX2315" fmla="*/ 551107 w 953912"/>
                    <a:gd name="connsiteY2315" fmla="*/ 38177 h 912651"/>
                    <a:gd name="connsiteX2316" fmla="*/ 550597 w 953912"/>
                    <a:gd name="connsiteY2316" fmla="*/ 37133 h 912651"/>
                    <a:gd name="connsiteX2317" fmla="*/ 549747 w 953912"/>
                    <a:gd name="connsiteY2317" fmla="*/ 36356 h 912651"/>
                    <a:gd name="connsiteX2318" fmla="*/ 544757 w 953912"/>
                    <a:gd name="connsiteY2318" fmla="*/ 31742 h 912651"/>
                    <a:gd name="connsiteX2319" fmla="*/ 543919 w 953912"/>
                    <a:gd name="connsiteY2319" fmla="*/ 30977 h 912651"/>
                    <a:gd name="connsiteX2320" fmla="*/ 542862 w 953912"/>
                    <a:gd name="connsiteY2320" fmla="*/ 30564 h 912651"/>
                    <a:gd name="connsiteX2321" fmla="*/ 535734 w 953912"/>
                    <a:gd name="connsiteY2321" fmla="*/ 27747 h 912651"/>
                    <a:gd name="connsiteX2322" fmla="*/ 535224 w 953912"/>
                    <a:gd name="connsiteY2322" fmla="*/ 27540 h 912651"/>
                    <a:gd name="connsiteX2323" fmla="*/ 534678 w 953912"/>
                    <a:gd name="connsiteY2323" fmla="*/ 27431 h 912651"/>
                    <a:gd name="connsiteX2324" fmla="*/ 513367 w 953912"/>
                    <a:gd name="connsiteY2324" fmla="*/ 23266 h 912651"/>
                    <a:gd name="connsiteX2325" fmla="*/ 508340 w 953912"/>
                    <a:gd name="connsiteY2325" fmla="*/ 20667 h 912651"/>
                    <a:gd name="connsiteX2326" fmla="*/ 503519 w 953912"/>
                    <a:gd name="connsiteY2326" fmla="*/ 16660 h 912651"/>
                    <a:gd name="connsiteX2327" fmla="*/ 503046 w 953912"/>
                    <a:gd name="connsiteY2327" fmla="*/ 16272 h 912651"/>
                    <a:gd name="connsiteX2328" fmla="*/ 502511 w 953912"/>
                    <a:gd name="connsiteY2328" fmla="*/ 15992 h 912651"/>
                    <a:gd name="connsiteX2329" fmla="*/ 499864 w 953912"/>
                    <a:gd name="connsiteY2329" fmla="*/ 14572 h 912651"/>
                    <a:gd name="connsiteX2330" fmla="*/ 499026 w 953912"/>
                    <a:gd name="connsiteY2330" fmla="*/ 14110 h 912651"/>
                    <a:gd name="connsiteX2331" fmla="*/ 498091 w 953912"/>
                    <a:gd name="connsiteY2331" fmla="*/ 13940 h 912651"/>
                    <a:gd name="connsiteX2332" fmla="*/ 494643 w 953912"/>
                    <a:gd name="connsiteY2332" fmla="*/ 13309 h 912651"/>
                    <a:gd name="connsiteX2333" fmla="*/ 493708 w 953912"/>
                    <a:gd name="connsiteY2333" fmla="*/ 13139 h 912651"/>
                    <a:gd name="connsiteX2334" fmla="*/ 492773 w 953912"/>
                    <a:gd name="connsiteY2334" fmla="*/ 13260 h 912651"/>
                    <a:gd name="connsiteX2335" fmla="*/ 477072 w 953912"/>
                    <a:gd name="connsiteY2335" fmla="*/ 15300 h 912651"/>
                    <a:gd name="connsiteX2336" fmla="*/ 470369 w 953912"/>
                    <a:gd name="connsiteY2336" fmla="*/ 15337 h 912651"/>
                    <a:gd name="connsiteX2337" fmla="*/ 469652 w 953912"/>
                    <a:gd name="connsiteY2337" fmla="*/ 15337 h 912651"/>
                    <a:gd name="connsiteX2338" fmla="*/ 468960 w 953912"/>
                    <a:gd name="connsiteY2338" fmla="*/ 15507 h 912651"/>
                    <a:gd name="connsiteX2339" fmla="*/ 462476 w 953912"/>
                    <a:gd name="connsiteY2339" fmla="*/ 17085 h 912651"/>
                    <a:gd name="connsiteX2340" fmla="*/ 462051 w 953912"/>
                    <a:gd name="connsiteY2340" fmla="*/ 17194 h 912651"/>
                    <a:gd name="connsiteX2341" fmla="*/ 461650 w 953912"/>
                    <a:gd name="connsiteY2341" fmla="*/ 17352 h 912651"/>
                    <a:gd name="connsiteX2342" fmla="*/ 458384 w 953912"/>
                    <a:gd name="connsiteY2342" fmla="*/ 18676 h 912651"/>
                    <a:gd name="connsiteX2343" fmla="*/ 457789 w 953912"/>
                    <a:gd name="connsiteY2343" fmla="*/ 18919 h 912651"/>
                    <a:gd name="connsiteX2344" fmla="*/ 457267 w 953912"/>
                    <a:gd name="connsiteY2344" fmla="*/ 19271 h 912651"/>
                    <a:gd name="connsiteX2345" fmla="*/ 454571 w 953912"/>
                    <a:gd name="connsiteY2345" fmla="*/ 21080 h 912651"/>
                    <a:gd name="connsiteX2346" fmla="*/ 453587 w 953912"/>
                    <a:gd name="connsiteY2346" fmla="*/ 21748 h 912651"/>
                    <a:gd name="connsiteX2347" fmla="*/ 452920 w 953912"/>
                    <a:gd name="connsiteY2347" fmla="*/ 22732 h 912651"/>
                    <a:gd name="connsiteX2348" fmla="*/ 452324 w 953912"/>
                    <a:gd name="connsiteY2348" fmla="*/ 23618 h 912651"/>
                    <a:gd name="connsiteX2349" fmla="*/ 452142 w 953912"/>
                    <a:gd name="connsiteY2349" fmla="*/ 23363 h 912651"/>
                    <a:gd name="connsiteX2350" fmla="*/ 446751 w 953912"/>
                    <a:gd name="connsiteY2350" fmla="*/ 15786 h 912651"/>
                    <a:gd name="connsiteX2351" fmla="*/ 446217 w 953912"/>
                    <a:gd name="connsiteY2351" fmla="*/ 15033 h 912651"/>
                    <a:gd name="connsiteX2352" fmla="*/ 445476 w 953912"/>
                    <a:gd name="connsiteY2352" fmla="*/ 14474 h 912651"/>
                    <a:gd name="connsiteX2353" fmla="*/ 439502 w 953912"/>
                    <a:gd name="connsiteY2353" fmla="*/ 9933 h 912651"/>
                    <a:gd name="connsiteX2354" fmla="*/ 437923 w 953912"/>
                    <a:gd name="connsiteY2354" fmla="*/ 8731 h 912651"/>
                    <a:gd name="connsiteX2355" fmla="*/ 435944 w 953912"/>
                    <a:gd name="connsiteY2355" fmla="*/ 8694 h 912651"/>
                    <a:gd name="connsiteX2356" fmla="*/ 424286 w 953912"/>
                    <a:gd name="connsiteY2356" fmla="*/ 8451 h 912651"/>
                    <a:gd name="connsiteX2357" fmla="*/ 421372 w 953912"/>
                    <a:gd name="connsiteY2357" fmla="*/ 6023 h 912651"/>
                    <a:gd name="connsiteX2358" fmla="*/ 419126 w 953912"/>
                    <a:gd name="connsiteY2358" fmla="*/ 3157 h 912651"/>
                    <a:gd name="connsiteX2359" fmla="*/ 417741 w 953912"/>
                    <a:gd name="connsiteY2359" fmla="*/ 1384 h 912651"/>
                    <a:gd name="connsiteX2360" fmla="*/ 415544 w 953912"/>
                    <a:gd name="connsiteY2360" fmla="*/ 935 h 912651"/>
                    <a:gd name="connsiteX2361" fmla="*/ 412617 w 953912"/>
                    <a:gd name="connsiteY2361" fmla="*/ 340 h 912651"/>
                    <a:gd name="connsiteX2362" fmla="*/ 410929 w 953912"/>
                    <a:gd name="connsiteY2362" fmla="*/ 0 h 912651"/>
                    <a:gd name="connsiteX2363" fmla="*/ 410929 w 953912"/>
                    <a:gd name="connsiteY2363" fmla="*/ 0 h 91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Lst>
                  <a:rect l="l" t="t" r="r" b="b"/>
                  <a:pathLst>
                    <a:path w="953912" h="912651">
                      <a:moveTo>
                        <a:pt x="411415" y="6290"/>
                      </a:moveTo>
                      <a:lnTo>
                        <a:pt x="414341" y="6885"/>
                      </a:lnTo>
                      <a:lnTo>
                        <a:pt x="416989" y="10273"/>
                      </a:lnTo>
                      <a:lnTo>
                        <a:pt x="422040" y="14474"/>
                      </a:lnTo>
                      <a:lnTo>
                        <a:pt x="435822" y="14754"/>
                      </a:lnTo>
                      <a:lnTo>
                        <a:pt x="441797" y="19295"/>
                      </a:lnTo>
                      <a:lnTo>
                        <a:pt x="447188" y="26872"/>
                      </a:lnTo>
                      <a:lnTo>
                        <a:pt x="448621" y="29483"/>
                      </a:lnTo>
                      <a:lnTo>
                        <a:pt x="449714" y="36028"/>
                      </a:lnTo>
                      <a:lnTo>
                        <a:pt x="450807" y="38068"/>
                      </a:lnTo>
                      <a:lnTo>
                        <a:pt x="453332" y="37121"/>
                      </a:lnTo>
                      <a:lnTo>
                        <a:pt x="454486" y="35081"/>
                      </a:lnTo>
                      <a:lnTo>
                        <a:pt x="456101" y="28827"/>
                      </a:lnTo>
                      <a:lnTo>
                        <a:pt x="457935" y="26119"/>
                      </a:lnTo>
                      <a:lnTo>
                        <a:pt x="460630" y="24310"/>
                      </a:lnTo>
                      <a:lnTo>
                        <a:pt x="463897" y="22999"/>
                      </a:lnTo>
                      <a:lnTo>
                        <a:pt x="470381" y="21420"/>
                      </a:lnTo>
                      <a:lnTo>
                        <a:pt x="477460" y="21384"/>
                      </a:lnTo>
                      <a:lnTo>
                        <a:pt x="493538" y="19295"/>
                      </a:lnTo>
                      <a:lnTo>
                        <a:pt x="496986" y="19927"/>
                      </a:lnTo>
                      <a:lnTo>
                        <a:pt x="499621" y="21335"/>
                      </a:lnTo>
                      <a:lnTo>
                        <a:pt x="504952" y="25755"/>
                      </a:lnTo>
                      <a:lnTo>
                        <a:pt x="511339" y="29058"/>
                      </a:lnTo>
                      <a:lnTo>
                        <a:pt x="533500" y="33393"/>
                      </a:lnTo>
                      <a:lnTo>
                        <a:pt x="540628" y="36210"/>
                      </a:lnTo>
                      <a:lnTo>
                        <a:pt x="545619" y="40825"/>
                      </a:lnTo>
                      <a:lnTo>
                        <a:pt x="548727" y="47285"/>
                      </a:lnTo>
                      <a:lnTo>
                        <a:pt x="550039" y="55578"/>
                      </a:lnTo>
                      <a:lnTo>
                        <a:pt x="550379" y="64430"/>
                      </a:lnTo>
                      <a:lnTo>
                        <a:pt x="551702" y="72493"/>
                      </a:lnTo>
                      <a:lnTo>
                        <a:pt x="555722" y="77739"/>
                      </a:lnTo>
                      <a:lnTo>
                        <a:pt x="567087" y="78201"/>
                      </a:lnTo>
                      <a:lnTo>
                        <a:pt x="568302" y="76719"/>
                      </a:lnTo>
                      <a:lnTo>
                        <a:pt x="568872" y="74497"/>
                      </a:lnTo>
                      <a:lnTo>
                        <a:pt x="570026" y="72408"/>
                      </a:lnTo>
                      <a:lnTo>
                        <a:pt x="581732" y="68304"/>
                      </a:lnTo>
                      <a:lnTo>
                        <a:pt x="596607" y="71036"/>
                      </a:lnTo>
                      <a:lnTo>
                        <a:pt x="611421" y="77691"/>
                      </a:lnTo>
                      <a:lnTo>
                        <a:pt x="623018" y="85304"/>
                      </a:lnTo>
                      <a:lnTo>
                        <a:pt x="634104" y="94569"/>
                      </a:lnTo>
                      <a:lnTo>
                        <a:pt x="638816" y="99997"/>
                      </a:lnTo>
                      <a:lnTo>
                        <a:pt x="657880" y="133706"/>
                      </a:lnTo>
                      <a:lnTo>
                        <a:pt x="657929" y="133900"/>
                      </a:lnTo>
                      <a:lnTo>
                        <a:pt x="658730" y="137409"/>
                      </a:lnTo>
                      <a:lnTo>
                        <a:pt x="659422" y="140348"/>
                      </a:lnTo>
                      <a:lnTo>
                        <a:pt x="658742" y="137409"/>
                      </a:lnTo>
                      <a:lnTo>
                        <a:pt x="690265" y="141890"/>
                      </a:lnTo>
                      <a:lnTo>
                        <a:pt x="707144" y="164343"/>
                      </a:lnTo>
                      <a:lnTo>
                        <a:pt x="722019" y="162157"/>
                      </a:lnTo>
                      <a:lnTo>
                        <a:pt x="735231" y="166528"/>
                      </a:lnTo>
                      <a:lnTo>
                        <a:pt x="742699" y="181561"/>
                      </a:lnTo>
                      <a:lnTo>
                        <a:pt x="750337" y="185763"/>
                      </a:lnTo>
                      <a:lnTo>
                        <a:pt x="768879" y="192138"/>
                      </a:lnTo>
                      <a:lnTo>
                        <a:pt x="787773" y="192138"/>
                      </a:lnTo>
                      <a:lnTo>
                        <a:pt x="797123" y="198658"/>
                      </a:lnTo>
                      <a:lnTo>
                        <a:pt x="804579" y="209332"/>
                      </a:lnTo>
                      <a:lnTo>
                        <a:pt x="808380" y="224377"/>
                      </a:lnTo>
                      <a:lnTo>
                        <a:pt x="808380" y="237261"/>
                      </a:lnTo>
                      <a:lnTo>
                        <a:pt x="808380" y="252112"/>
                      </a:lnTo>
                      <a:lnTo>
                        <a:pt x="819697" y="262967"/>
                      </a:lnTo>
                      <a:lnTo>
                        <a:pt x="838421" y="267120"/>
                      </a:lnTo>
                      <a:lnTo>
                        <a:pt x="851451" y="271468"/>
                      </a:lnTo>
                      <a:lnTo>
                        <a:pt x="862707" y="279955"/>
                      </a:lnTo>
                      <a:lnTo>
                        <a:pt x="866666" y="288455"/>
                      </a:lnTo>
                      <a:lnTo>
                        <a:pt x="874122" y="290605"/>
                      </a:lnTo>
                      <a:lnTo>
                        <a:pt x="889057" y="294976"/>
                      </a:lnTo>
                      <a:lnTo>
                        <a:pt x="907770" y="292827"/>
                      </a:lnTo>
                      <a:lnTo>
                        <a:pt x="915250" y="292827"/>
                      </a:lnTo>
                      <a:lnTo>
                        <a:pt x="928850" y="309815"/>
                      </a:lnTo>
                      <a:lnTo>
                        <a:pt x="937811" y="307313"/>
                      </a:lnTo>
                      <a:lnTo>
                        <a:pt x="945267" y="322626"/>
                      </a:lnTo>
                      <a:lnTo>
                        <a:pt x="947173" y="342929"/>
                      </a:lnTo>
                      <a:lnTo>
                        <a:pt x="947283" y="344519"/>
                      </a:lnTo>
                      <a:lnTo>
                        <a:pt x="945911" y="344301"/>
                      </a:lnTo>
                      <a:lnTo>
                        <a:pt x="939184" y="344580"/>
                      </a:lnTo>
                      <a:lnTo>
                        <a:pt x="927247" y="346219"/>
                      </a:lnTo>
                      <a:lnTo>
                        <a:pt x="921856" y="345685"/>
                      </a:lnTo>
                      <a:lnTo>
                        <a:pt x="915869" y="342698"/>
                      </a:lnTo>
                      <a:lnTo>
                        <a:pt x="907150" y="335910"/>
                      </a:lnTo>
                      <a:lnTo>
                        <a:pt x="902548" y="333737"/>
                      </a:lnTo>
                      <a:lnTo>
                        <a:pt x="896865" y="333166"/>
                      </a:lnTo>
                      <a:lnTo>
                        <a:pt x="883144" y="334769"/>
                      </a:lnTo>
                      <a:lnTo>
                        <a:pt x="876368" y="334307"/>
                      </a:lnTo>
                      <a:lnTo>
                        <a:pt x="869592" y="331611"/>
                      </a:lnTo>
                      <a:lnTo>
                        <a:pt x="867188" y="329523"/>
                      </a:lnTo>
                      <a:lnTo>
                        <a:pt x="863169" y="324581"/>
                      </a:lnTo>
                      <a:lnTo>
                        <a:pt x="860740" y="322626"/>
                      </a:lnTo>
                      <a:lnTo>
                        <a:pt x="857182" y="321594"/>
                      </a:lnTo>
                      <a:lnTo>
                        <a:pt x="853114" y="321679"/>
                      </a:lnTo>
                      <a:lnTo>
                        <a:pt x="845428" y="322941"/>
                      </a:lnTo>
                      <a:lnTo>
                        <a:pt x="837790" y="322735"/>
                      </a:lnTo>
                      <a:lnTo>
                        <a:pt x="833928" y="321958"/>
                      </a:lnTo>
                      <a:lnTo>
                        <a:pt x="830431" y="320586"/>
                      </a:lnTo>
                      <a:lnTo>
                        <a:pt x="827444" y="318230"/>
                      </a:lnTo>
                      <a:lnTo>
                        <a:pt x="823024" y="312292"/>
                      </a:lnTo>
                      <a:lnTo>
                        <a:pt x="820377" y="309560"/>
                      </a:lnTo>
                      <a:lnTo>
                        <a:pt x="816941" y="308188"/>
                      </a:lnTo>
                      <a:lnTo>
                        <a:pt x="809120" y="308613"/>
                      </a:lnTo>
                      <a:lnTo>
                        <a:pt x="808088" y="308528"/>
                      </a:lnTo>
                      <a:lnTo>
                        <a:pt x="833588" y="365660"/>
                      </a:lnTo>
                      <a:lnTo>
                        <a:pt x="859016" y="422647"/>
                      </a:lnTo>
                      <a:lnTo>
                        <a:pt x="857814" y="423364"/>
                      </a:lnTo>
                      <a:lnTo>
                        <a:pt x="854207" y="427784"/>
                      </a:lnTo>
                      <a:lnTo>
                        <a:pt x="854936" y="432932"/>
                      </a:lnTo>
                      <a:lnTo>
                        <a:pt x="856429" y="438785"/>
                      </a:lnTo>
                      <a:lnTo>
                        <a:pt x="855239" y="445391"/>
                      </a:lnTo>
                      <a:lnTo>
                        <a:pt x="852313" y="449009"/>
                      </a:lnTo>
                      <a:lnTo>
                        <a:pt x="841044" y="457473"/>
                      </a:lnTo>
                      <a:lnTo>
                        <a:pt x="837426" y="461213"/>
                      </a:lnTo>
                      <a:lnTo>
                        <a:pt x="835082" y="462962"/>
                      </a:lnTo>
                      <a:lnTo>
                        <a:pt x="832204" y="462440"/>
                      </a:lnTo>
                      <a:lnTo>
                        <a:pt x="827274" y="459477"/>
                      </a:lnTo>
                      <a:lnTo>
                        <a:pt x="822210" y="458165"/>
                      </a:lnTo>
                      <a:lnTo>
                        <a:pt x="815556" y="458712"/>
                      </a:lnTo>
                      <a:lnTo>
                        <a:pt x="808938" y="460800"/>
                      </a:lnTo>
                      <a:lnTo>
                        <a:pt x="804409" y="464140"/>
                      </a:lnTo>
                      <a:lnTo>
                        <a:pt x="802855" y="469045"/>
                      </a:lnTo>
                      <a:lnTo>
                        <a:pt x="803559" y="480448"/>
                      </a:lnTo>
                      <a:lnTo>
                        <a:pt x="801822" y="484491"/>
                      </a:lnTo>
                      <a:lnTo>
                        <a:pt x="784665" y="499828"/>
                      </a:lnTo>
                      <a:lnTo>
                        <a:pt x="782248" y="501054"/>
                      </a:lnTo>
                      <a:lnTo>
                        <a:pt x="766062" y="504296"/>
                      </a:lnTo>
                      <a:lnTo>
                        <a:pt x="762783" y="504223"/>
                      </a:lnTo>
                      <a:lnTo>
                        <a:pt x="759796" y="503191"/>
                      </a:lnTo>
                      <a:lnTo>
                        <a:pt x="751648" y="497533"/>
                      </a:lnTo>
                      <a:lnTo>
                        <a:pt x="744471" y="496428"/>
                      </a:lnTo>
                      <a:lnTo>
                        <a:pt x="737283" y="499026"/>
                      </a:lnTo>
                      <a:lnTo>
                        <a:pt x="711443" y="513039"/>
                      </a:lnTo>
                      <a:lnTo>
                        <a:pt x="691346" y="517921"/>
                      </a:lnTo>
                      <a:lnTo>
                        <a:pt x="685153" y="518054"/>
                      </a:lnTo>
                      <a:lnTo>
                        <a:pt x="673217" y="513294"/>
                      </a:lnTo>
                      <a:lnTo>
                        <a:pt x="666659" y="514618"/>
                      </a:lnTo>
                      <a:lnTo>
                        <a:pt x="663660" y="517168"/>
                      </a:lnTo>
                      <a:lnTo>
                        <a:pt x="659762" y="523336"/>
                      </a:lnTo>
                      <a:lnTo>
                        <a:pt x="657297" y="526239"/>
                      </a:lnTo>
                      <a:lnTo>
                        <a:pt x="655986" y="526931"/>
                      </a:lnTo>
                      <a:lnTo>
                        <a:pt x="650874" y="528424"/>
                      </a:lnTo>
                      <a:lnTo>
                        <a:pt x="638646" y="537034"/>
                      </a:lnTo>
                      <a:lnTo>
                        <a:pt x="627778" y="547537"/>
                      </a:lnTo>
                      <a:lnTo>
                        <a:pt x="623989" y="550476"/>
                      </a:lnTo>
                      <a:lnTo>
                        <a:pt x="620492" y="551326"/>
                      </a:lnTo>
                      <a:lnTo>
                        <a:pt x="612563" y="550318"/>
                      </a:lnTo>
                      <a:lnTo>
                        <a:pt x="608604" y="550318"/>
                      </a:lnTo>
                      <a:lnTo>
                        <a:pt x="597700" y="552771"/>
                      </a:lnTo>
                      <a:lnTo>
                        <a:pt x="589430" y="552479"/>
                      </a:lnTo>
                      <a:lnTo>
                        <a:pt x="540045" y="540021"/>
                      </a:lnTo>
                      <a:lnTo>
                        <a:pt x="532298" y="536463"/>
                      </a:lnTo>
                      <a:lnTo>
                        <a:pt x="524891" y="531326"/>
                      </a:lnTo>
                      <a:lnTo>
                        <a:pt x="521904" y="528194"/>
                      </a:lnTo>
                      <a:lnTo>
                        <a:pt x="519135" y="524198"/>
                      </a:lnTo>
                      <a:lnTo>
                        <a:pt x="516852" y="522790"/>
                      </a:lnTo>
                      <a:lnTo>
                        <a:pt x="516913" y="522596"/>
                      </a:lnTo>
                      <a:lnTo>
                        <a:pt x="517058" y="521551"/>
                      </a:lnTo>
                      <a:lnTo>
                        <a:pt x="516901" y="522583"/>
                      </a:lnTo>
                      <a:lnTo>
                        <a:pt x="516840" y="522778"/>
                      </a:lnTo>
                      <a:lnTo>
                        <a:pt x="514666" y="521430"/>
                      </a:lnTo>
                      <a:lnTo>
                        <a:pt x="507769" y="521345"/>
                      </a:lnTo>
                      <a:lnTo>
                        <a:pt x="495541" y="523822"/>
                      </a:lnTo>
                      <a:lnTo>
                        <a:pt x="478080" y="524648"/>
                      </a:lnTo>
                      <a:lnTo>
                        <a:pt x="411876" y="512250"/>
                      </a:lnTo>
                      <a:lnTo>
                        <a:pt x="364458" y="496088"/>
                      </a:lnTo>
                      <a:lnTo>
                        <a:pt x="352619" y="494181"/>
                      </a:lnTo>
                      <a:lnTo>
                        <a:pt x="340779" y="495165"/>
                      </a:lnTo>
                      <a:lnTo>
                        <a:pt x="328734" y="499645"/>
                      </a:lnTo>
                      <a:lnTo>
                        <a:pt x="314721" y="509372"/>
                      </a:lnTo>
                      <a:lnTo>
                        <a:pt x="309851" y="511703"/>
                      </a:lnTo>
                      <a:lnTo>
                        <a:pt x="280089" y="516524"/>
                      </a:lnTo>
                      <a:lnTo>
                        <a:pt x="277503" y="517678"/>
                      </a:lnTo>
                      <a:lnTo>
                        <a:pt x="272050" y="521952"/>
                      </a:lnTo>
                      <a:lnTo>
                        <a:pt x="271710" y="526858"/>
                      </a:lnTo>
                      <a:lnTo>
                        <a:pt x="273204" y="532346"/>
                      </a:lnTo>
                      <a:lnTo>
                        <a:pt x="273265" y="538369"/>
                      </a:lnTo>
                      <a:lnTo>
                        <a:pt x="270435" y="542595"/>
                      </a:lnTo>
                      <a:lnTo>
                        <a:pt x="261486" y="548509"/>
                      </a:lnTo>
                      <a:lnTo>
                        <a:pt x="258438" y="553329"/>
                      </a:lnTo>
                      <a:lnTo>
                        <a:pt x="258438" y="553354"/>
                      </a:lnTo>
                      <a:lnTo>
                        <a:pt x="258220" y="561344"/>
                      </a:lnTo>
                      <a:lnTo>
                        <a:pt x="257236" y="563894"/>
                      </a:lnTo>
                      <a:lnTo>
                        <a:pt x="255572" y="565594"/>
                      </a:lnTo>
                      <a:lnTo>
                        <a:pt x="250922" y="567937"/>
                      </a:lnTo>
                      <a:lnTo>
                        <a:pt x="248979" y="569346"/>
                      </a:lnTo>
                      <a:lnTo>
                        <a:pt x="245882" y="574130"/>
                      </a:lnTo>
                      <a:lnTo>
                        <a:pt x="244972" y="579437"/>
                      </a:lnTo>
                      <a:lnTo>
                        <a:pt x="246405" y="584549"/>
                      </a:lnTo>
                      <a:lnTo>
                        <a:pt x="250485" y="588629"/>
                      </a:lnTo>
                      <a:lnTo>
                        <a:pt x="255135" y="591179"/>
                      </a:lnTo>
                      <a:lnTo>
                        <a:pt x="259665" y="592879"/>
                      </a:lnTo>
                      <a:lnTo>
                        <a:pt x="264485" y="593535"/>
                      </a:lnTo>
                      <a:lnTo>
                        <a:pt x="269828" y="592988"/>
                      </a:lnTo>
                      <a:lnTo>
                        <a:pt x="275511" y="593535"/>
                      </a:lnTo>
                      <a:lnTo>
                        <a:pt x="278608" y="597129"/>
                      </a:lnTo>
                      <a:lnTo>
                        <a:pt x="282809" y="607633"/>
                      </a:lnTo>
                      <a:lnTo>
                        <a:pt x="285395" y="611652"/>
                      </a:lnTo>
                      <a:lnTo>
                        <a:pt x="286877" y="616242"/>
                      </a:lnTo>
                      <a:lnTo>
                        <a:pt x="286306" y="620528"/>
                      </a:lnTo>
                      <a:lnTo>
                        <a:pt x="282809" y="623686"/>
                      </a:lnTo>
                      <a:lnTo>
                        <a:pt x="271613" y="629223"/>
                      </a:lnTo>
                      <a:lnTo>
                        <a:pt x="267193" y="633558"/>
                      </a:lnTo>
                      <a:lnTo>
                        <a:pt x="265518" y="640018"/>
                      </a:lnTo>
                      <a:lnTo>
                        <a:pt x="267254" y="646308"/>
                      </a:lnTo>
                      <a:lnTo>
                        <a:pt x="271492" y="651881"/>
                      </a:lnTo>
                      <a:lnTo>
                        <a:pt x="277005" y="655694"/>
                      </a:lnTo>
                      <a:lnTo>
                        <a:pt x="282809" y="656787"/>
                      </a:lnTo>
                      <a:lnTo>
                        <a:pt x="295620" y="653654"/>
                      </a:lnTo>
                      <a:lnTo>
                        <a:pt x="299396" y="653885"/>
                      </a:lnTo>
                      <a:lnTo>
                        <a:pt x="309390" y="657249"/>
                      </a:lnTo>
                      <a:lnTo>
                        <a:pt x="316105" y="656897"/>
                      </a:lnTo>
                      <a:lnTo>
                        <a:pt x="323233" y="655269"/>
                      </a:lnTo>
                      <a:lnTo>
                        <a:pt x="330009" y="655039"/>
                      </a:lnTo>
                      <a:lnTo>
                        <a:pt x="335862" y="658937"/>
                      </a:lnTo>
                      <a:lnTo>
                        <a:pt x="338278" y="665737"/>
                      </a:lnTo>
                      <a:lnTo>
                        <a:pt x="336432" y="672524"/>
                      </a:lnTo>
                      <a:lnTo>
                        <a:pt x="332134" y="678632"/>
                      </a:lnTo>
                      <a:lnTo>
                        <a:pt x="327021" y="683392"/>
                      </a:lnTo>
                      <a:lnTo>
                        <a:pt x="320476" y="687788"/>
                      </a:lnTo>
                      <a:lnTo>
                        <a:pt x="313871" y="690605"/>
                      </a:lnTo>
                      <a:lnTo>
                        <a:pt x="293665" y="693884"/>
                      </a:lnTo>
                      <a:lnTo>
                        <a:pt x="289293" y="697697"/>
                      </a:lnTo>
                      <a:lnTo>
                        <a:pt x="282809" y="708553"/>
                      </a:lnTo>
                      <a:lnTo>
                        <a:pt x="281655" y="711042"/>
                      </a:lnTo>
                      <a:lnTo>
                        <a:pt x="280854" y="713701"/>
                      </a:lnTo>
                      <a:lnTo>
                        <a:pt x="280283" y="716421"/>
                      </a:lnTo>
                      <a:lnTo>
                        <a:pt x="279822" y="722590"/>
                      </a:lnTo>
                      <a:lnTo>
                        <a:pt x="280283" y="725868"/>
                      </a:lnTo>
                      <a:lnTo>
                        <a:pt x="281255" y="728928"/>
                      </a:lnTo>
                      <a:lnTo>
                        <a:pt x="282809" y="731806"/>
                      </a:lnTo>
                      <a:lnTo>
                        <a:pt x="291698" y="738983"/>
                      </a:lnTo>
                      <a:lnTo>
                        <a:pt x="303707" y="745103"/>
                      </a:lnTo>
                      <a:lnTo>
                        <a:pt x="313701" y="752631"/>
                      </a:lnTo>
                      <a:lnTo>
                        <a:pt x="316797" y="764216"/>
                      </a:lnTo>
                      <a:lnTo>
                        <a:pt x="312729" y="780244"/>
                      </a:lnTo>
                      <a:lnTo>
                        <a:pt x="306973" y="795520"/>
                      </a:lnTo>
                      <a:lnTo>
                        <a:pt x="305201" y="799018"/>
                      </a:lnTo>
                      <a:lnTo>
                        <a:pt x="303136" y="802005"/>
                      </a:lnTo>
                      <a:lnTo>
                        <a:pt x="300671" y="804530"/>
                      </a:lnTo>
                      <a:lnTo>
                        <a:pt x="297563" y="806680"/>
                      </a:lnTo>
                      <a:lnTo>
                        <a:pt x="290508" y="809303"/>
                      </a:lnTo>
                      <a:lnTo>
                        <a:pt x="287521" y="811282"/>
                      </a:lnTo>
                      <a:lnTo>
                        <a:pt x="285614" y="814949"/>
                      </a:lnTo>
                      <a:lnTo>
                        <a:pt x="285055" y="824178"/>
                      </a:lnTo>
                      <a:lnTo>
                        <a:pt x="287618" y="830650"/>
                      </a:lnTo>
                      <a:lnTo>
                        <a:pt x="292681" y="835604"/>
                      </a:lnTo>
                      <a:lnTo>
                        <a:pt x="299518" y="840109"/>
                      </a:lnTo>
                      <a:lnTo>
                        <a:pt x="305662" y="845938"/>
                      </a:lnTo>
                      <a:lnTo>
                        <a:pt x="316044" y="859477"/>
                      </a:lnTo>
                      <a:lnTo>
                        <a:pt x="323002" y="863278"/>
                      </a:lnTo>
                      <a:lnTo>
                        <a:pt x="340464" y="866059"/>
                      </a:lnTo>
                      <a:lnTo>
                        <a:pt x="345564" y="869094"/>
                      </a:lnTo>
                      <a:lnTo>
                        <a:pt x="347579" y="873757"/>
                      </a:lnTo>
                      <a:lnTo>
                        <a:pt x="348041" y="884346"/>
                      </a:lnTo>
                      <a:lnTo>
                        <a:pt x="350336" y="895092"/>
                      </a:lnTo>
                      <a:lnTo>
                        <a:pt x="349765" y="899440"/>
                      </a:lnTo>
                      <a:lnTo>
                        <a:pt x="347749" y="903350"/>
                      </a:lnTo>
                      <a:lnTo>
                        <a:pt x="346657" y="904940"/>
                      </a:lnTo>
                      <a:lnTo>
                        <a:pt x="284011" y="874364"/>
                      </a:lnTo>
                      <a:lnTo>
                        <a:pt x="282870" y="872956"/>
                      </a:lnTo>
                      <a:lnTo>
                        <a:pt x="279701" y="867783"/>
                      </a:lnTo>
                      <a:lnTo>
                        <a:pt x="279579" y="867528"/>
                      </a:lnTo>
                      <a:lnTo>
                        <a:pt x="278960" y="866605"/>
                      </a:lnTo>
                      <a:lnTo>
                        <a:pt x="277988" y="865512"/>
                      </a:lnTo>
                      <a:lnTo>
                        <a:pt x="276483" y="864079"/>
                      </a:lnTo>
                      <a:lnTo>
                        <a:pt x="273338" y="862476"/>
                      </a:lnTo>
                      <a:lnTo>
                        <a:pt x="269828" y="861614"/>
                      </a:lnTo>
                      <a:lnTo>
                        <a:pt x="263514" y="861869"/>
                      </a:lnTo>
                      <a:lnTo>
                        <a:pt x="260806" y="862246"/>
                      </a:lnTo>
                      <a:lnTo>
                        <a:pt x="258924" y="862756"/>
                      </a:lnTo>
                      <a:lnTo>
                        <a:pt x="258572" y="862926"/>
                      </a:lnTo>
                      <a:lnTo>
                        <a:pt x="255245" y="864626"/>
                      </a:lnTo>
                      <a:lnTo>
                        <a:pt x="255135" y="864686"/>
                      </a:lnTo>
                      <a:lnTo>
                        <a:pt x="253860" y="865136"/>
                      </a:lnTo>
                      <a:lnTo>
                        <a:pt x="250764" y="864711"/>
                      </a:lnTo>
                      <a:lnTo>
                        <a:pt x="247036" y="862731"/>
                      </a:lnTo>
                      <a:lnTo>
                        <a:pt x="244620" y="861469"/>
                      </a:lnTo>
                      <a:lnTo>
                        <a:pt x="242834" y="858336"/>
                      </a:lnTo>
                      <a:lnTo>
                        <a:pt x="236933" y="854778"/>
                      </a:lnTo>
                      <a:lnTo>
                        <a:pt x="225786" y="850127"/>
                      </a:lnTo>
                      <a:lnTo>
                        <a:pt x="219763" y="846241"/>
                      </a:lnTo>
                      <a:lnTo>
                        <a:pt x="216363" y="841834"/>
                      </a:lnTo>
                      <a:lnTo>
                        <a:pt x="220686" y="837923"/>
                      </a:lnTo>
                      <a:lnTo>
                        <a:pt x="220504" y="835543"/>
                      </a:lnTo>
                      <a:lnTo>
                        <a:pt x="221475" y="833989"/>
                      </a:lnTo>
                      <a:lnTo>
                        <a:pt x="222398" y="831633"/>
                      </a:lnTo>
                      <a:lnTo>
                        <a:pt x="222446" y="829193"/>
                      </a:lnTo>
                      <a:lnTo>
                        <a:pt x="221414" y="827080"/>
                      </a:lnTo>
                      <a:lnTo>
                        <a:pt x="219812" y="825780"/>
                      </a:lnTo>
                      <a:lnTo>
                        <a:pt x="216023" y="823486"/>
                      </a:lnTo>
                      <a:lnTo>
                        <a:pt x="215452" y="822453"/>
                      </a:lnTo>
                      <a:lnTo>
                        <a:pt x="215161" y="821033"/>
                      </a:lnTo>
                      <a:lnTo>
                        <a:pt x="215051" y="819782"/>
                      </a:lnTo>
                      <a:lnTo>
                        <a:pt x="214930" y="819175"/>
                      </a:lnTo>
                      <a:lnTo>
                        <a:pt x="213959" y="819175"/>
                      </a:lnTo>
                      <a:lnTo>
                        <a:pt x="212404" y="819490"/>
                      </a:lnTo>
                      <a:lnTo>
                        <a:pt x="212125" y="819636"/>
                      </a:lnTo>
                      <a:lnTo>
                        <a:pt x="211154" y="820061"/>
                      </a:lnTo>
                      <a:lnTo>
                        <a:pt x="211093" y="820061"/>
                      </a:lnTo>
                      <a:lnTo>
                        <a:pt x="209879" y="820013"/>
                      </a:lnTo>
                      <a:lnTo>
                        <a:pt x="209138" y="820183"/>
                      </a:lnTo>
                      <a:lnTo>
                        <a:pt x="208628" y="819867"/>
                      </a:lnTo>
                      <a:lnTo>
                        <a:pt x="208385" y="817948"/>
                      </a:lnTo>
                      <a:lnTo>
                        <a:pt x="208385" y="817742"/>
                      </a:lnTo>
                      <a:lnTo>
                        <a:pt x="208956" y="817803"/>
                      </a:lnTo>
                      <a:lnTo>
                        <a:pt x="210000" y="817450"/>
                      </a:lnTo>
                      <a:lnTo>
                        <a:pt x="210279" y="817329"/>
                      </a:lnTo>
                      <a:lnTo>
                        <a:pt x="211542" y="816710"/>
                      </a:lnTo>
                      <a:lnTo>
                        <a:pt x="212234" y="816188"/>
                      </a:lnTo>
                      <a:lnTo>
                        <a:pt x="212004" y="812059"/>
                      </a:lnTo>
                      <a:lnTo>
                        <a:pt x="211202" y="808015"/>
                      </a:lnTo>
                      <a:lnTo>
                        <a:pt x="210911" y="804105"/>
                      </a:lnTo>
                      <a:lnTo>
                        <a:pt x="211712" y="801859"/>
                      </a:lnTo>
                      <a:lnTo>
                        <a:pt x="212234" y="800426"/>
                      </a:lnTo>
                      <a:lnTo>
                        <a:pt x="212744" y="798070"/>
                      </a:lnTo>
                      <a:lnTo>
                        <a:pt x="211834" y="796006"/>
                      </a:lnTo>
                      <a:lnTo>
                        <a:pt x="209696" y="793335"/>
                      </a:lnTo>
                      <a:lnTo>
                        <a:pt x="207754" y="790396"/>
                      </a:lnTo>
                      <a:lnTo>
                        <a:pt x="207244" y="786680"/>
                      </a:lnTo>
                      <a:lnTo>
                        <a:pt x="208956" y="784033"/>
                      </a:lnTo>
                      <a:lnTo>
                        <a:pt x="211093" y="781568"/>
                      </a:lnTo>
                      <a:lnTo>
                        <a:pt x="212914" y="775302"/>
                      </a:lnTo>
                      <a:lnTo>
                        <a:pt x="214529" y="774234"/>
                      </a:lnTo>
                      <a:lnTo>
                        <a:pt x="214651" y="774185"/>
                      </a:lnTo>
                      <a:lnTo>
                        <a:pt x="216023" y="773906"/>
                      </a:lnTo>
                      <a:lnTo>
                        <a:pt x="216363" y="773809"/>
                      </a:lnTo>
                      <a:lnTo>
                        <a:pt x="217334" y="773092"/>
                      </a:lnTo>
                      <a:lnTo>
                        <a:pt x="217456" y="771052"/>
                      </a:lnTo>
                      <a:lnTo>
                        <a:pt x="217006" y="769389"/>
                      </a:lnTo>
                      <a:lnTo>
                        <a:pt x="216424" y="767810"/>
                      </a:lnTo>
                      <a:lnTo>
                        <a:pt x="214991" y="760889"/>
                      </a:lnTo>
                      <a:lnTo>
                        <a:pt x="214930" y="758885"/>
                      </a:lnTo>
                      <a:lnTo>
                        <a:pt x="215574" y="757513"/>
                      </a:lnTo>
                      <a:lnTo>
                        <a:pt x="216776" y="757100"/>
                      </a:lnTo>
                      <a:lnTo>
                        <a:pt x="217978" y="756469"/>
                      </a:lnTo>
                      <a:lnTo>
                        <a:pt x="218731" y="754429"/>
                      </a:lnTo>
                      <a:lnTo>
                        <a:pt x="218318" y="751077"/>
                      </a:lnTo>
                      <a:lnTo>
                        <a:pt x="216885" y="747167"/>
                      </a:lnTo>
                      <a:lnTo>
                        <a:pt x="214930" y="743439"/>
                      </a:lnTo>
                      <a:lnTo>
                        <a:pt x="212866" y="740731"/>
                      </a:lnTo>
                      <a:lnTo>
                        <a:pt x="207754" y="736469"/>
                      </a:lnTo>
                      <a:lnTo>
                        <a:pt x="207134" y="734915"/>
                      </a:lnTo>
                      <a:lnTo>
                        <a:pt x="208106" y="732013"/>
                      </a:lnTo>
                      <a:lnTo>
                        <a:pt x="207754" y="730628"/>
                      </a:lnTo>
                      <a:lnTo>
                        <a:pt x="207936" y="728673"/>
                      </a:lnTo>
                      <a:lnTo>
                        <a:pt x="211311" y="721934"/>
                      </a:lnTo>
                      <a:lnTo>
                        <a:pt x="212234" y="719141"/>
                      </a:lnTo>
                      <a:lnTo>
                        <a:pt x="212064" y="715183"/>
                      </a:lnTo>
                      <a:lnTo>
                        <a:pt x="211372" y="711370"/>
                      </a:lnTo>
                      <a:lnTo>
                        <a:pt x="210000" y="707836"/>
                      </a:lnTo>
                      <a:lnTo>
                        <a:pt x="207754" y="704728"/>
                      </a:lnTo>
                      <a:lnTo>
                        <a:pt x="206029" y="699190"/>
                      </a:lnTo>
                      <a:lnTo>
                        <a:pt x="208846" y="683745"/>
                      </a:lnTo>
                      <a:lnTo>
                        <a:pt x="208385" y="676653"/>
                      </a:lnTo>
                      <a:lnTo>
                        <a:pt x="196910" y="656132"/>
                      </a:lnTo>
                      <a:lnTo>
                        <a:pt x="196910" y="656010"/>
                      </a:lnTo>
                      <a:lnTo>
                        <a:pt x="196910" y="655986"/>
                      </a:lnTo>
                      <a:lnTo>
                        <a:pt x="196849" y="655779"/>
                      </a:lnTo>
                      <a:lnTo>
                        <a:pt x="195016" y="643357"/>
                      </a:lnTo>
                      <a:lnTo>
                        <a:pt x="191676" y="630716"/>
                      </a:lnTo>
                      <a:lnTo>
                        <a:pt x="191616" y="630425"/>
                      </a:lnTo>
                      <a:lnTo>
                        <a:pt x="191506" y="628215"/>
                      </a:lnTo>
                      <a:lnTo>
                        <a:pt x="191397" y="626843"/>
                      </a:lnTo>
                      <a:lnTo>
                        <a:pt x="191458" y="626187"/>
                      </a:lnTo>
                      <a:lnTo>
                        <a:pt x="191798" y="619521"/>
                      </a:lnTo>
                      <a:lnTo>
                        <a:pt x="191616" y="615902"/>
                      </a:lnTo>
                      <a:lnTo>
                        <a:pt x="188580" y="600978"/>
                      </a:lnTo>
                      <a:lnTo>
                        <a:pt x="188519" y="600942"/>
                      </a:lnTo>
                      <a:lnTo>
                        <a:pt x="185823" y="598161"/>
                      </a:lnTo>
                      <a:lnTo>
                        <a:pt x="185071" y="596097"/>
                      </a:lnTo>
                      <a:lnTo>
                        <a:pt x="183516" y="593158"/>
                      </a:lnTo>
                      <a:lnTo>
                        <a:pt x="176000" y="582800"/>
                      </a:lnTo>
                      <a:lnTo>
                        <a:pt x="174676" y="578465"/>
                      </a:lnTo>
                      <a:lnTo>
                        <a:pt x="175368" y="577312"/>
                      </a:lnTo>
                      <a:lnTo>
                        <a:pt x="177493" y="573790"/>
                      </a:lnTo>
                      <a:lnTo>
                        <a:pt x="178404" y="571252"/>
                      </a:lnTo>
                      <a:lnTo>
                        <a:pt x="179388" y="567294"/>
                      </a:lnTo>
                      <a:lnTo>
                        <a:pt x="179509" y="566869"/>
                      </a:lnTo>
                      <a:lnTo>
                        <a:pt x="179679" y="565739"/>
                      </a:lnTo>
                      <a:lnTo>
                        <a:pt x="179679" y="559340"/>
                      </a:lnTo>
                      <a:lnTo>
                        <a:pt x="179800" y="558478"/>
                      </a:lnTo>
                      <a:lnTo>
                        <a:pt x="179837" y="558369"/>
                      </a:lnTo>
                      <a:lnTo>
                        <a:pt x="180080" y="557847"/>
                      </a:lnTo>
                      <a:lnTo>
                        <a:pt x="181282" y="555977"/>
                      </a:lnTo>
                      <a:lnTo>
                        <a:pt x="181513" y="555382"/>
                      </a:lnTo>
                      <a:lnTo>
                        <a:pt x="181695" y="554750"/>
                      </a:lnTo>
                      <a:lnTo>
                        <a:pt x="181743" y="553997"/>
                      </a:lnTo>
                      <a:lnTo>
                        <a:pt x="181391" y="548460"/>
                      </a:lnTo>
                      <a:lnTo>
                        <a:pt x="181513" y="547452"/>
                      </a:lnTo>
                      <a:lnTo>
                        <a:pt x="181804" y="546651"/>
                      </a:lnTo>
                      <a:lnTo>
                        <a:pt x="182727" y="545048"/>
                      </a:lnTo>
                      <a:lnTo>
                        <a:pt x="183067" y="544319"/>
                      </a:lnTo>
                      <a:lnTo>
                        <a:pt x="183188" y="543579"/>
                      </a:lnTo>
                      <a:lnTo>
                        <a:pt x="183237" y="541709"/>
                      </a:lnTo>
                      <a:lnTo>
                        <a:pt x="183298" y="540737"/>
                      </a:lnTo>
                      <a:lnTo>
                        <a:pt x="183468" y="539851"/>
                      </a:lnTo>
                      <a:lnTo>
                        <a:pt x="184038" y="538904"/>
                      </a:lnTo>
                      <a:lnTo>
                        <a:pt x="184852" y="538090"/>
                      </a:lnTo>
                      <a:lnTo>
                        <a:pt x="186564" y="537240"/>
                      </a:lnTo>
                      <a:lnTo>
                        <a:pt x="186686" y="537204"/>
                      </a:lnTo>
                      <a:lnTo>
                        <a:pt x="192308" y="536256"/>
                      </a:lnTo>
                      <a:lnTo>
                        <a:pt x="192951" y="536256"/>
                      </a:lnTo>
                      <a:lnTo>
                        <a:pt x="193170" y="536256"/>
                      </a:lnTo>
                      <a:lnTo>
                        <a:pt x="194141" y="536341"/>
                      </a:lnTo>
                      <a:lnTo>
                        <a:pt x="198051" y="537058"/>
                      </a:lnTo>
                      <a:lnTo>
                        <a:pt x="198452" y="537094"/>
                      </a:lnTo>
                      <a:lnTo>
                        <a:pt x="198792" y="537094"/>
                      </a:lnTo>
                      <a:lnTo>
                        <a:pt x="199594" y="537009"/>
                      </a:lnTo>
                      <a:lnTo>
                        <a:pt x="199776" y="536973"/>
                      </a:lnTo>
                      <a:lnTo>
                        <a:pt x="203334" y="535309"/>
                      </a:lnTo>
                      <a:lnTo>
                        <a:pt x="205750" y="534156"/>
                      </a:lnTo>
                      <a:lnTo>
                        <a:pt x="207414" y="533670"/>
                      </a:lnTo>
                      <a:lnTo>
                        <a:pt x="209016" y="533415"/>
                      </a:lnTo>
                      <a:lnTo>
                        <a:pt x="210510" y="533439"/>
                      </a:lnTo>
                      <a:lnTo>
                        <a:pt x="210862" y="533439"/>
                      </a:lnTo>
                      <a:lnTo>
                        <a:pt x="212234" y="533646"/>
                      </a:lnTo>
                      <a:lnTo>
                        <a:pt x="213157" y="534156"/>
                      </a:lnTo>
                      <a:lnTo>
                        <a:pt x="213376" y="534569"/>
                      </a:lnTo>
                      <a:lnTo>
                        <a:pt x="213619" y="534994"/>
                      </a:lnTo>
                      <a:lnTo>
                        <a:pt x="213619" y="535054"/>
                      </a:lnTo>
                      <a:lnTo>
                        <a:pt x="214080" y="536111"/>
                      </a:lnTo>
                      <a:lnTo>
                        <a:pt x="214760" y="537495"/>
                      </a:lnTo>
                      <a:lnTo>
                        <a:pt x="215161" y="538017"/>
                      </a:lnTo>
                      <a:lnTo>
                        <a:pt x="215622" y="538588"/>
                      </a:lnTo>
                      <a:lnTo>
                        <a:pt x="216545" y="538588"/>
                      </a:lnTo>
                      <a:lnTo>
                        <a:pt x="216824" y="538296"/>
                      </a:lnTo>
                      <a:lnTo>
                        <a:pt x="217638" y="537434"/>
                      </a:lnTo>
                      <a:lnTo>
                        <a:pt x="219472" y="534046"/>
                      </a:lnTo>
                      <a:lnTo>
                        <a:pt x="223321" y="523834"/>
                      </a:lnTo>
                      <a:lnTo>
                        <a:pt x="223491" y="522705"/>
                      </a:lnTo>
                      <a:lnTo>
                        <a:pt x="223369" y="521648"/>
                      </a:lnTo>
                      <a:lnTo>
                        <a:pt x="223029" y="520495"/>
                      </a:lnTo>
                      <a:lnTo>
                        <a:pt x="221766" y="518455"/>
                      </a:lnTo>
                      <a:lnTo>
                        <a:pt x="221366" y="517593"/>
                      </a:lnTo>
                      <a:lnTo>
                        <a:pt x="221135" y="516597"/>
                      </a:lnTo>
                      <a:lnTo>
                        <a:pt x="221366" y="515613"/>
                      </a:lnTo>
                      <a:lnTo>
                        <a:pt x="221706" y="514727"/>
                      </a:lnTo>
                      <a:lnTo>
                        <a:pt x="227340" y="506543"/>
                      </a:lnTo>
                      <a:lnTo>
                        <a:pt x="228202" y="504843"/>
                      </a:lnTo>
                      <a:lnTo>
                        <a:pt x="229805" y="500313"/>
                      </a:lnTo>
                      <a:lnTo>
                        <a:pt x="231129" y="497982"/>
                      </a:lnTo>
                      <a:lnTo>
                        <a:pt x="231189" y="497958"/>
                      </a:lnTo>
                      <a:lnTo>
                        <a:pt x="232562" y="496355"/>
                      </a:lnTo>
                      <a:lnTo>
                        <a:pt x="234456" y="494667"/>
                      </a:lnTo>
                      <a:lnTo>
                        <a:pt x="238475" y="491813"/>
                      </a:lnTo>
                      <a:lnTo>
                        <a:pt x="240370" y="490720"/>
                      </a:lnTo>
                      <a:lnTo>
                        <a:pt x="240370" y="490696"/>
                      </a:lnTo>
                      <a:lnTo>
                        <a:pt x="241863" y="490150"/>
                      </a:lnTo>
                      <a:lnTo>
                        <a:pt x="245433" y="490356"/>
                      </a:lnTo>
                      <a:lnTo>
                        <a:pt x="246623" y="490174"/>
                      </a:lnTo>
                      <a:lnTo>
                        <a:pt x="247619" y="489834"/>
                      </a:lnTo>
                      <a:lnTo>
                        <a:pt x="249052" y="489105"/>
                      </a:lnTo>
                      <a:lnTo>
                        <a:pt x="249210" y="489008"/>
                      </a:lnTo>
                      <a:lnTo>
                        <a:pt x="252610" y="486640"/>
                      </a:lnTo>
                      <a:lnTo>
                        <a:pt x="253338" y="486349"/>
                      </a:lnTo>
                      <a:lnTo>
                        <a:pt x="257370" y="485584"/>
                      </a:lnTo>
                      <a:lnTo>
                        <a:pt x="265408" y="486300"/>
                      </a:lnTo>
                      <a:lnTo>
                        <a:pt x="266040" y="486045"/>
                      </a:lnTo>
                      <a:lnTo>
                        <a:pt x="266501" y="485863"/>
                      </a:lnTo>
                      <a:lnTo>
                        <a:pt x="266501" y="485839"/>
                      </a:lnTo>
                      <a:lnTo>
                        <a:pt x="269938" y="483350"/>
                      </a:lnTo>
                      <a:lnTo>
                        <a:pt x="269938" y="483313"/>
                      </a:lnTo>
                      <a:lnTo>
                        <a:pt x="270508" y="483034"/>
                      </a:lnTo>
                      <a:lnTo>
                        <a:pt x="271492" y="482512"/>
                      </a:lnTo>
                      <a:lnTo>
                        <a:pt x="272876" y="481443"/>
                      </a:lnTo>
                      <a:lnTo>
                        <a:pt x="273155" y="481164"/>
                      </a:lnTo>
                      <a:lnTo>
                        <a:pt x="273799" y="480508"/>
                      </a:lnTo>
                      <a:lnTo>
                        <a:pt x="274078" y="480241"/>
                      </a:lnTo>
                      <a:lnTo>
                        <a:pt x="274078" y="480217"/>
                      </a:lnTo>
                      <a:lnTo>
                        <a:pt x="275402" y="478092"/>
                      </a:lnTo>
                      <a:lnTo>
                        <a:pt x="276373" y="477169"/>
                      </a:lnTo>
                      <a:lnTo>
                        <a:pt x="277296" y="476282"/>
                      </a:lnTo>
                      <a:lnTo>
                        <a:pt x="277357" y="476258"/>
                      </a:lnTo>
                      <a:lnTo>
                        <a:pt x="278608" y="475275"/>
                      </a:lnTo>
                      <a:lnTo>
                        <a:pt x="278668" y="475250"/>
                      </a:lnTo>
                      <a:lnTo>
                        <a:pt x="280101" y="474728"/>
                      </a:lnTo>
                      <a:lnTo>
                        <a:pt x="283088" y="474437"/>
                      </a:lnTo>
                      <a:lnTo>
                        <a:pt x="284121" y="474218"/>
                      </a:lnTo>
                      <a:lnTo>
                        <a:pt x="285153" y="473987"/>
                      </a:lnTo>
                      <a:lnTo>
                        <a:pt x="287290" y="473210"/>
                      </a:lnTo>
                      <a:lnTo>
                        <a:pt x="289463" y="472409"/>
                      </a:lnTo>
                      <a:lnTo>
                        <a:pt x="289524" y="472385"/>
                      </a:lnTo>
                      <a:lnTo>
                        <a:pt x="290156" y="471838"/>
                      </a:lnTo>
                      <a:lnTo>
                        <a:pt x="290508" y="471462"/>
                      </a:lnTo>
                      <a:lnTo>
                        <a:pt x="290556" y="471425"/>
                      </a:lnTo>
                      <a:lnTo>
                        <a:pt x="291418" y="470308"/>
                      </a:lnTo>
                      <a:lnTo>
                        <a:pt x="291698" y="469883"/>
                      </a:lnTo>
                      <a:lnTo>
                        <a:pt x="292791" y="466289"/>
                      </a:lnTo>
                      <a:lnTo>
                        <a:pt x="293604" y="464285"/>
                      </a:lnTo>
                      <a:lnTo>
                        <a:pt x="293604" y="464261"/>
                      </a:lnTo>
                      <a:lnTo>
                        <a:pt x="294066" y="463678"/>
                      </a:lnTo>
                      <a:lnTo>
                        <a:pt x="294976" y="462537"/>
                      </a:lnTo>
                      <a:lnTo>
                        <a:pt x="294976" y="462500"/>
                      </a:lnTo>
                      <a:lnTo>
                        <a:pt x="297053" y="461092"/>
                      </a:lnTo>
                      <a:lnTo>
                        <a:pt x="297332" y="460800"/>
                      </a:lnTo>
                      <a:lnTo>
                        <a:pt x="297854" y="460375"/>
                      </a:lnTo>
                      <a:lnTo>
                        <a:pt x="298716" y="458505"/>
                      </a:lnTo>
                      <a:lnTo>
                        <a:pt x="299178" y="456696"/>
                      </a:lnTo>
                      <a:lnTo>
                        <a:pt x="298996" y="453454"/>
                      </a:lnTo>
                      <a:lnTo>
                        <a:pt x="299287" y="451596"/>
                      </a:lnTo>
                      <a:lnTo>
                        <a:pt x="299749" y="449981"/>
                      </a:lnTo>
                      <a:lnTo>
                        <a:pt x="301351" y="448002"/>
                      </a:lnTo>
                      <a:lnTo>
                        <a:pt x="303197" y="446192"/>
                      </a:lnTo>
                      <a:lnTo>
                        <a:pt x="303258" y="446156"/>
                      </a:lnTo>
                      <a:lnTo>
                        <a:pt x="304387" y="445391"/>
                      </a:lnTo>
                      <a:lnTo>
                        <a:pt x="305480" y="444723"/>
                      </a:lnTo>
                      <a:lnTo>
                        <a:pt x="306002" y="444067"/>
                      </a:lnTo>
                      <a:lnTo>
                        <a:pt x="306002" y="443982"/>
                      </a:lnTo>
                      <a:lnTo>
                        <a:pt x="306184" y="443144"/>
                      </a:lnTo>
                      <a:lnTo>
                        <a:pt x="305480" y="441566"/>
                      </a:lnTo>
                      <a:lnTo>
                        <a:pt x="304569" y="440449"/>
                      </a:lnTo>
                      <a:lnTo>
                        <a:pt x="303707" y="439817"/>
                      </a:lnTo>
                      <a:lnTo>
                        <a:pt x="301412" y="438834"/>
                      </a:lnTo>
                      <a:lnTo>
                        <a:pt x="301242" y="438700"/>
                      </a:lnTo>
                      <a:lnTo>
                        <a:pt x="300829" y="438409"/>
                      </a:lnTo>
                      <a:lnTo>
                        <a:pt x="300429" y="438044"/>
                      </a:lnTo>
                      <a:lnTo>
                        <a:pt x="300259" y="437814"/>
                      </a:lnTo>
                      <a:lnTo>
                        <a:pt x="300149" y="437631"/>
                      </a:lnTo>
                      <a:lnTo>
                        <a:pt x="299858" y="437146"/>
                      </a:lnTo>
                      <a:lnTo>
                        <a:pt x="299579" y="436466"/>
                      </a:lnTo>
                      <a:lnTo>
                        <a:pt x="299579" y="435567"/>
                      </a:lnTo>
                      <a:lnTo>
                        <a:pt x="299858" y="434365"/>
                      </a:lnTo>
                      <a:lnTo>
                        <a:pt x="301533" y="430831"/>
                      </a:lnTo>
                      <a:lnTo>
                        <a:pt x="302383" y="429484"/>
                      </a:lnTo>
                      <a:lnTo>
                        <a:pt x="303768" y="428051"/>
                      </a:lnTo>
                      <a:lnTo>
                        <a:pt x="305820" y="426411"/>
                      </a:lnTo>
                      <a:lnTo>
                        <a:pt x="310604" y="425039"/>
                      </a:lnTo>
                      <a:lnTo>
                        <a:pt x="313009" y="425100"/>
                      </a:lnTo>
                      <a:lnTo>
                        <a:pt x="317732" y="425185"/>
                      </a:lnTo>
                      <a:lnTo>
                        <a:pt x="313021" y="425088"/>
                      </a:lnTo>
                      <a:lnTo>
                        <a:pt x="310604" y="425039"/>
                      </a:lnTo>
                      <a:lnTo>
                        <a:pt x="310604" y="425003"/>
                      </a:lnTo>
                      <a:lnTo>
                        <a:pt x="310544" y="424979"/>
                      </a:lnTo>
                      <a:lnTo>
                        <a:pt x="310495" y="423825"/>
                      </a:lnTo>
                      <a:lnTo>
                        <a:pt x="310495" y="423801"/>
                      </a:lnTo>
                      <a:lnTo>
                        <a:pt x="310252" y="423291"/>
                      </a:lnTo>
                      <a:lnTo>
                        <a:pt x="309560" y="422477"/>
                      </a:lnTo>
                      <a:lnTo>
                        <a:pt x="306937" y="420328"/>
                      </a:lnTo>
                      <a:lnTo>
                        <a:pt x="306415" y="419235"/>
                      </a:lnTo>
                      <a:lnTo>
                        <a:pt x="306233" y="418373"/>
                      </a:lnTo>
                      <a:lnTo>
                        <a:pt x="306512" y="417462"/>
                      </a:lnTo>
                      <a:lnTo>
                        <a:pt x="306573" y="416782"/>
                      </a:lnTo>
                      <a:lnTo>
                        <a:pt x="306354" y="416357"/>
                      </a:lnTo>
                      <a:lnTo>
                        <a:pt x="306293" y="416248"/>
                      </a:lnTo>
                      <a:lnTo>
                        <a:pt x="306002" y="416126"/>
                      </a:lnTo>
                      <a:lnTo>
                        <a:pt x="305601" y="415968"/>
                      </a:lnTo>
                      <a:lnTo>
                        <a:pt x="305541" y="415968"/>
                      </a:lnTo>
                      <a:lnTo>
                        <a:pt x="305443" y="415968"/>
                      </a:lnTo>
                      <a:lnTo>
                        <a:pt x="302043" y="416017"/>
                      </a:lnTo>
                      <a:lnTo>
                        <a:pt x="296871" y="415531"/>
                      </a:lnTo>
                      <a:lnTo>
                        <a:pt x="294126" y="415276"/>
                      </a:lnTo>
                      <a:lnTo>
                        <a:pt x="293944" y="415216"/>
                      </a:lnTo>
                      <a:lnTo>
                        <a:pt x="293094" y="414924"/>
                      </a:lnTo>
                      <a:lnTo>
                        <a:pt x="291941" y="414317"/>
                      </a:lnTo>
                      <a:lnTo>
                        <a:pt x="288783" y="411391"/>
                      </a:lnTo>
                      <a:lnTo>
                        <a:pt x="288371" y="411026"/>
                      </a:lnTo>
                      <a:lnTo>
                        <a:pt x="287921" y="410371"/>
                      </a:lnTo>
                      <a:lnTo>
                        <a:pt x="287691" y="409703"/>
                      </a:lnTo>
                      <a:lnTo>
                        <a:pt x="286938" y="409156"/>
                      </a:lnTo>
                      <a:lnTo>
                        <a:pt x="286197" y="408986"/>
                      </a:lnTo>
                      <a:lnTo>
                        <a:pt x="285736" y="408877"/>
                      </a:lnTo>
                      <a:lnTo>
                        <a:pt x="282809" y="409071"/>
                      </a:lnTo>
                      <a:lnTo>
                        <a:pt x="281255" y="409472"/>
                      </a:lnTo>
                      <a:lnTo>
                        <a:pt x="279822" y="410152"/>
                      </a:lnTo>
                      <a:lnTo>
                        <a:pt x="279482" y="410079"/>
                      </a:lnTo>
                      <a:lnTo>
                        <a:pt x="279421" y="410043"/>
                      </a:lnTo>
                      <a:lnTo>
                        <a:pt x="279300" y="410043"/>
                      </a:lnTo>
                      <a:lnTo>
                        <a:pt x="278559" y="409824"/>
                      </a:lnTo>
                      <a:lnTo>
                        <a:pt x="277636" y="409436"/>
                      </a:lnTo>
                      <a:lnTo>
                        <a:pt x="272998" y="403838"/>
                      </a:lnTo>
                      <a:lnTo>
                        <a:pt x="271200" y="403243"/>
                      </a:lnTo>
                      <a:lnTo>
                        <a:pt x="270290" y="402927"/>
                      </a:lnTo>
                      <a:lnTo>
                        <a:pt x="268104" y="402150"/>
                      </a:lnTo>
                      <a:lnTo>
                        <a:pt x="268007" y="402113"/>
                      </a:lnTo>
                      <a:lnTo>
                        <a:pt x="266161" y="401895"/>
                      </a:lnTo>
                      <a:lnTo>
                        <a:pt x="262773" y="403061"/>
                      </a:lnTo>
                      <a:lnTo>
                        <a:pt x="261741" y="403121"/>
                      </a:lnTo>
                      <a:lnTo>
                        <a:pt x="261741" y="403097"/>
                      </a:lnTo>
                      <a:lnTo>
                        <a:pt x="261559" y="403048"/>
                      </a:lnTo>
                      <a:lnTo>
                        <a:pt x="260697" y="402611"/>
                      </a:lnTo>
                      <a:lnTo>
                        <a:pt x="257017" y="398968"/>
                      </a:lnTo>
                      <a:lnTo>
                        <a:pt x="253642" y="397183"/>
                      </a:lnTo>
                      <a:lnTo>
                        <a:pt x="252087" y="396673"/>
                      </a:lnTo>
                      <a:lnTo>
                        <a:pt x="251517" y="396467"/>
                      </a:lnTo>
                      <a:lnTo>
                        <a:pt x="251456" y="396467"/>
                      </a:lnTo>
                      <a:lnTo>
                        <a:pt x="251225" y="396430"/>
                      </a:lnTo>
                      <a:lnTo>
                        <a:pt x="249902" y="396188"/>
                      </a:lnTo>
                      <a:lnTo>
                        <a:pt x="245251" y="396151"/>
                      </a:lnTo>
                      <a:lnTo>
                        <a:pt x="244632" y="396260"/>
                      </a:lnTo>
                      <a:lnTo>
                        <a:pt x="244049" y="396552"/>
                      </a:lnTo>
                      <a:lnTo>
                        <a:pt x="243417" y="396953"/>
                      </a:lnTo>
                      <a:lnTo>
                        <a:pt x="239519" y="400681"/>
                      </a:lnTo>
                      <a:lnTo>
                        <a:pt x="238767" y="401203"/>
                      </a:lnTo>
                      <a:lnTo>
                        <a:pt x="238184" y="401518"/>
                      </a:lnTo>
                      <a:lnTo>
                        <a:pt x="237625" y="401628"/>
                      </a:lnTo>
                      <a:lnTo>
                        <a:pt x="236994" y="401603"/>
                      </a:lnTo>
                      <a:lnTo>
                        <a:pt x="236933" y="401603"/>
                      </a:lnTo>
                      <a:lnTo>
                        <a:pt x="236812" y="401518"/>
                      </a:lnTo>
                      <a:lnTo>
                        <a:pt x="236132" y="401142"/>
                      </a:lnTo>
                      <a:lnTo>
                        <a:pt x="235099" y="400256"/>
                      </a:lnTo>
                      <a:lnTo>
                        <a:pt x="233824" y="398252"/>
                      </a:lnTo>
                      <a:lnTo>
                        <a:pt x="233703" y="397183"/>
                      </a:lnTo>
                      <a:lnTo>
                        <a:pt x="233764" y="396382"/>
                      </a:lnTo>
                      <a:lnTo>
                        <a:pt x="234225" y="395228"/>
                      </a:lnTo>
                      <a:lnTo>
                        <a:pt x="234687" y="391986"/>
                      </a:lnTo>
                      <a:lnTo>
                        <a:pt x="234687" y="391063"/>
                      </a:lnTo>
                      <a:lnTo>
                        <a:pt x="234347" y="389946"/>
                      </a:lnTo>
                      <a:lnTo>
                        <a:pt x="228834" y="380875"/>
                      </a:lnTo>
                      <a:lnTo>
                        <a:pt x="228554" y="380159"/>
                      </a:lnTo>
                      <a:lnTo>
                        <a:pt x="228494" y="379443"/>
                      </a:lnTo>
                      <a:lnTo>
                        <a:pt x="228554" y="378544"/>
                      </a:lnTo>
                      <a:lnTo>
                        <a:pt x="229174" y="372691"/>
                      </a:lnTo>
                      <a:lnTo>
                        <a:pt x="229174" y="371975"/>
                      </a:lnTo>
                      <a:lnTo>
                        <a:pt x="229016" y="370712"/>
                      </a:lnTo>
                      <a:lnTo>
                        <a:pt x="229052" y="370080"/>
                      </a:lnTo>
                      <a:lnTo>
                        <a:pt x="229356" y="369303"/>
                      </a:lnTo>
                      <a:lnTo>
                        <a:pt x="229805" y="368186"/>
                      </a:lnTo>
                      <a:lnTo>
                        <a:pt x="234116" y="361435"/>
                      </a:lnTo>
                      <a:lnTo>
                        <a:pt x="235197" y="359225"/>
                      </a:lnTo>
                      <a:lnTo>
                        <a:pt x="235500" y="358362"/>
                      </a:lnTo>
                      <a:lnTo>
                        <a:pt x="235779" y="357792"/>
                      </a:lnTo>
                      <a:lnTo>
                        <a:pt x="236071" y="357270"/>
                      </a:lnTo>
                      <a:lnTo>
                        <a:pt x="238876" y="355096"/>
                      </a:lnTo>
                      <a:lnTo>
                        <a:pt x="243587" y="352655"/>
                      </a:lnTo>
                      <a:lnTo>
                        <a:pt x="245372" y="351987"/>
                      </a:lnTo>
                      <a:lnTo>
                        <a:pt x="246186" y="351502"/>
                      </a:lnTo>
                      <a:lnTo>
                        <a:pt x="246696" y="350992"/>
                      </a:lnTo>
                      <a:lnTo>
                        <a:pt x="246805" y="350384"/>
                      </a:lnTo>
                      <a:lnTo>
                        <a:pt x="246696" y="349753"/>
                      </a:lnTo>
                      <a:lnTo>
                        <a:pt x="246405" y="348903"/>
                      </a:lnTo>
                      <a:lnTo>
                        <a:pt x="246235" y="348065"/>
                      </a:lnTo>
                      <a:lnTo>
                        <a:pt x="245664" y="339213"/>
                      </a:lnTo>
                      <a:lnTo>
                        <a:pt x="245542" y="338497"/>
                      </a:lnTo>
                      <a:lnTo>
                        <a:pt x="244450" y="335024"/>
                      </a:lnTo>
                      <a:lnTo>
                        <a:pt x="244389" y="334999"/>
                      </a:lnTo>
                      <a:lnTo>
                        <a:pt x="244328" y="334999"/>
                      </a:lnTo>
                      <a:lnTo>
                        <a:pt x="241863" y="333943"/>
                      </a:lnTo>
                      <a:lnTo>
                        <a:pt x="241754" y="333943"/>
                      </a:lnTo>
                      <a:lnTo>
                        <a:pt x="217699" y="330543"/>
                      </a:lnTo>
                      <a:lnTo>
                        <a:pt x="205799" y="330798"/>
                      </a:lnTo>
                      <a:lnTo>
                        <a:pt x="194323" y="332498"/>
                      </a:lnTo>
                      <a:lnTo>
                        <a:pt x="194202" y="332449"/>
                      </a:lnTo>
                      <a:lnTo>
                        <a:pt x="194202" y="332413"/>
                      </a:lnTo>
                      <a:lnTo>
                        <a:pt x="194093" y="332328"/>
                      </a:lnTo>
                      <a:lnTo>
                        <a:pt x="186977" y="327422"/>
                      </a:lnTo>
                      <a:lnTo>
                        <a:pt x="186916" y="327422"/>
                      </a:lnTo>
                      <a:lnTo>
                        <a:pt x="186625" y="327361"/>
                      </a:lnTo>
                      <a:lnTo>
                        <a:pt x="182606" y="326560"/>
                      </a:lnTo>
                      <a:lnTo>
                        <a:pt x="176461" y="329547"/>
                      </a:lnTo>
                      <a:lnTo>
                        <a:pt x="176413" y="329426"/>
                      </a:lnTo>
                      <a:lnTo>
                        <a:pt x="176352" y="329256"/>
                      </a:lnTo>
                      <a:lnTo>
                        <a:pt x="174045" y="324836"/>
                      </a:lnTo>
                      <a:lnTo>
                        <a:pt x="173705" y="323743"/>
                      </a:lnTo>
                      <a:lnTo>
                        <a:pt x="173195" y="322614"/>
                      </a:lnTo>
                      <a:lnTo>
                        <a:pt x="172442" y="321788"/>
                      </a:lnTo>
                      <a:lnTo>
                        <a:pt x="171361" y="320901"/>
                      </a:lnTo>
                      <a:lnTo>
                        <a:pt x="171300" y="320865"/>
                      </a:lnTo>
                      <a:lnTo>
                        <a:pt x="169807" y="320039"/>
                      </a:lnTo>
                      <a:lnTo>
                        <a:pt x="169746" y="320003"/>
                      </a:lnTo>
                      <a:lnTo>
                        <a:pt x="168313" y="319469"/>
                      </a:lnTo>
                      <a:lnTo>
                        <a:pt x="168204" y="319432"/>
                      </a:lnTo>
                      <a:lnTo>
                        <a:pt x="166128" y="319068"/>
                      </a:lnTo>
                      <a:lnTo>
                        <a:pt x="165095" y="318983"/>
                      </a:lnTo>
                      <a:lnTo>
                        <a:pt x="161355" y="319347"/>
                      </a:lnTo>
                      <a:lnTo>
                        <a:pt x="160615" y="319262"/>
                      </a:lnTo>
                      <a:lnTo>
                        <a:pt x="157919" y="318594"/>
                      </a:lnTo>
                      <a:lnTo>
                        <a:pt x="157737" y="318521"/>
                      </a:lnTo>
                      <a:lnTo>
                        <a:pt x="157227" y="318315"/>
                      </a:lnTo>
                      <a:lnTo>
                        <a:pt x="157178" y="318291"/>
                      </a:lnTo>
                      <a:lnTo>
                        <a:pt x="157178" y="318266"/>
                      </a:lnTo>
                      <a:lnTo>
                        <a:pt x="156656" y="317878"/>
                      </a:lnTo>
                      <a:lnTo>
                        <a:pt x="155733" y="315559"/>
                      </a:lnTo>
                      <a:lnTo>
                        <a:pt x="155272" y="314733"/>
                      </a:lnTo>
                      <a:lnTo>
                        <a:pt x="154082" y="313519"/>
                      </a:lnTo>
                      <a:lnTo>
                        <a:pt x="154021" y="313458"/>
                      </a:lnTo>
                      <a:lnTo>
                        <a:pt x="152588" y="312511"/>
                      </a:lnTo>
                      <a:lnTo>
                        <a:pt x="146832" y="308746"/>
                      </a:lnTo>
                      <a:lnTo>
                        <a:pt x="145339" y="307496"/>
                      </a:lnTo>
                      <a:lnTo>
                        <a:pt x="144707" y="306803"/>
                      </a:lnTo>
                      <a:lnTo>
                        <a:pt x="142352" y="304800"/>
                      </a:lnTo>
                      <a:lnTo>
                        <a:pt x="125012" y="293823"/>
                      </a:lnTo>
                      <a:lnTo>
                        <a:pt x="123858" y="292706"/>
                      </a:lnTo>
                      <a:lnTo>
                        <a:pt x="123178" y="291734"/>
                      </a:lnTo>
                      <a:lnTo>
                        <a:pt x="122826" y="290556"/>
                      </a:lnTo>
                      <a:lnTo>
                        <a:pt x="122729" y="289148"/>
                      </a:lnTo>
                      <a:lnTo>
                        <a:pt x="122729" y="287533"/>
                      </a:lnTo>
                      <a:lnTo>
                        <a:pt x="123749" y="276458"/>
                      </a:lnTo>
                      <a:lnTo>
                        <a:pt x="123979" y="275803"/>
                      </a:lnTo>
                      <a:lnTo>
                        <a:pt x="124489" y="275159"/>
                      </a:lnTo>
                      <a:lnTo>
                        <a:pt x="127999" y="271953"/>
                      </a:lnTo>
                      <a:lnTo>
                        <a:pt x="128521" y="271115"/>
                      </a:lnTo>
                      <a:lnTo>
                        <a:pt x="128630" y="270338"/>
                      </a:lnTo>
                      <a:lnTo>
                        <a:pt x="128351" y="269646"/>
                      </a:lnTo>
                      <a:lnTo>
                        <a:pt x="127659" y="268845"/>
                      </a:lnTo>
                      <a:lnTo>
                        <a:pt x="127537" y="268760"/>
                      </a:lnTo>
                      <a:lnTo>
                        <a:pt x="123858" y="266489"/>
                      </a:lnTo>
                      <a:lnTo>
                        <a:pt x="122085" y="265372"/>
                      </a:lnTo>
                      <a:lnTo>
                        <a:pt x="122024" y="265347"/>
                      </a:lnTo>
                      <a:lnTo>
                        <a:pt x="121976" y="265287"/>
                      </a:lnTo>
                      <a:lnTo>
                        <a:pt x="119960" y="263672"/>
                      </a:lnTo>
                      <a:lnTo>
                        <a:pt x="117313" y="261073"/>
                      </a:lnTo>
                      <a:lnTo>
                        <a:pt x="116912" y="260454"/>
                      </a:lnTo>
                      <a:lnTo>
                        <a:pt x="116633" y="259835"/>
                      </a:lnTo>
                      <a:lnTo>
                        <a:pt x="116232" y="259458"/>
                      </a:lnTo>
                      <a:lnTo>
                        <a:pt x="116172" y="259434"/>
                      </a:lnTo>
                      <a:lnTo>
                        <a:pt x="116111" y="259434"/>
                      </a:lnTo>
                      <a:lnTo>
                        <a:pt x="115819" y="259373"/>
                      </a:lnTo>
                      <a:lnTo>
                        <a:pt x="115601" y="259312"/>
                      </a:lnTo>
                      <a:lnTo>
                        <a:pt x="114727" y="259968"/>
                      </a:lnTo>
                      <a:lnTo>
                        <a:pt x="113233" y="261814"/>
                      </a:lnTo>
                      <a:lnTo>
                        <a:pt x="112383" y="262494"/>
                      </a:lnTo>
                      <a:lnTo>
                        <a:pt x="111691" y="262955"/>
                      </a:lnTo>
                      <a:lnTo>
                        <a:pt x="110768" y="263332"/>
                      </a:lnTo>
                      <a:lnTo>
                        <a:pt x="109505" y="263599"/>
                      </a:lnTo>
                      <a:lnTo>
                        <a:pt x="107562" y="263672"/>
                      </a:lnTo>
                      <a:lnTo>
                        <a:pt x="105559" y="263538"/>
                      </a:lnTo>
                      <a:lnTo>
                        <a:pt x="102729" y="262615"/>
                      </a:lnTo>
                      <a:lnTo>
                        <a:pt x="102571" y="262530"/>
                      </a:lnTo>
                      <a:lnTo>
                        <a:pt x="101296" y="261947"/>
                      </a:lnTo>
                      <a:lnTo>
                        <a:pt x="100956" y="261753"/>
                      </a:lnTo>
                      <a:lnTo>
                        <a:pt x="99742" y="260976"/>
                      </a:lnTo>
                      <a:lnTo>
                        <a:pt x="99681" y="260976"/>
                      </a:lnTo>
                      <a:lnTo>
                        <a:pt x="96937" y="259652"/>
                      </a:lnTo>
                      <a:lnTo>
                        <a:pt x="96366" y="259458"/>
                      </a:lnTo>
                      <a:lnTo>
                        <a:pt x="95444" y="259167"/>
                      </a:lnTo>
                      <a:lnTo>
                        <a:pt x="94302" y="258972"/>
                      </a:lnTo>
                      <a:lnTo>
                        <a:pt x="75638" y="259774"/>
                      </a:lnTo>
                      <a:lnTo>
                        <a:pt x="74242" y="260126"/>
                      </a:lnTo>
                      <a:lnTo>
                        <a:pt x="72651" y="260660"/>
                      </a:lnTo>
                      <a:lnTo>
                        <a:pt x="65475" y="264740"/>
                      </a:lnTo>
                      <a:lnTo>
                        <a:pt x="64831" y="265396"/>
                      </a:lnTo>
                      <a:lnTo>
                        <a:pt x="63799" y="266829"/>
                      </a:lnTo>
                      <a:lnTo>
                        <a:pt x="63289" y="267412"/>
                      </a:lnTo>
                      <a:lnTo>
                        <a:pt x="61856" y="267606"/>
                      </a:lnTo>
                      <a:lnTo>
                        <a:pt x="60703" y="267643"/>
                      </a:lnTo>
                      <a:lnTo>
                        <a:pt x="52725" y="266088"/>
                      </a:lnTo>
                      <a:lnTo>
                        <a:pt x="35093" y="264109"/>
                      </a:lnTo>
                      <a:lnTo>
                        <a:pt x="34692" y="263963"/>
                      </a:lnTo>
                      <a:lnTo>
                        <a:pt x="16490" y="256556"/>
                      </a:lnTo>
                      <a:lnTo>
                        <a:pt x="8804" y="253460"/>
                      </a:lnTo>
                      <a:lnTo>
                        <a:pt x="22404" y="230169"/>
                      </a:lnTo>
                      <a:lnTo>
                        <a:pt x="22574" y="229453"/>
                      </a:lnTo>
                      <a:lnTo>
                        <a:pt x="22404" y="228907"/>
                      </a:lnTo>
                      <a:lnTo>
                        <a:pt x="20971" y="225434"/>
                      </a:lnTo>
                      <a:lnTo>
                        <a:pt x="20679" y="223734"/>
                      </a:lnTo>
                      <a:lnTo>
                        <a:pt x="19477" y="222191"/>
                      </a:lnTo>
                      <a:lnTo>
                        <a:pt x="13552" y="217371"/>
                      </a:lnTo>
                      <a:lnTo>
                        <a:pt x="12993" y="216533"/>
                      </a:lnTo>
                      <a:lnTo>
                        <a:pt x="12641" y="215853"/>
                      </a:lnTo>
                      <a:lnTo>
                        <a:pt x="12471" y="215100"/>
                      </a:lnTo>
                      <a:lnTo>
                        <a:pt x="11730" y="213412"/>
                      </a:lnTo>
                      <a:lnTo>
                        <a:pt x="11317" y="212004"/>
                      </a:lnTo>
                      <a:lnTo>
                        <a:pt x="11317" y="210935"/>
                      </a:lnTo>
                      <a:lnTo>
                        <a:pt x="11548" y="209757"/>
                      </a:lnTo>
                      <a:lnTo>
                        <a:pt x="11779" y="208834"/>
                      </a:lnTo>
                      <a:lnTo>
                        <a:pt x="12301" y="207948"/>
                      </a:lnTo>
                      <a:lnTo>
                        <a:pt x="17170" y="202095"/>
                      </a:lnTo>
                      <a:lnTo>
                        <a:pt x="17522" y="200771"/>
                      </a:lnTo>
                      <a:lnTo>
                        <a:pt x="17170" y="199533"/>
                      </a:lnTo>
                      <a:lnTo>
                        <a:pt x="15798" y="197238"/>
                      </a:lnTo>
                      <a:lnTo>
                        <a:pt x="15458" y="196497"/>
                      </a:lnTo>
                      <a:lnTo>
                        <a:pt x="15458" y="195720"/>
                      </a:lnTo>
                      <a:lnTo>
                        <a:pt x="15980" y="192381"/>
                      </a:lnTo>
                      <a:lnTo>
                        <a:pt x="18044" y="183601"/>
                      </a:lnTo>
                      <a:lnTo>
                        <a:pt x="18603" y="182168"/>
                      </a:lnTo>
                      <a:lnTo>
                        <a:pt x="19356" y="180905"/>
                      </a:lnTo>
                      <a:lnTo>
                        <a:pt x="20509" y="179363"/>
                      </a:lnTo>
                      <a:lnTo>
                        <a:pt x="22003" y="177663"/>
                      </a:lnTo>
                      <a:lnTo>
                        <a:pt x="23557" y="176279"/>
                      </a:lnTo>
                      <a:lnTo>
                        <a:pt x="26022" y="174470"/>
                      </a:lnTo>
                      <a:lnTo>
                        <a:pt x="28718" y="173608"/>
                      </a:lnTo>
                      <a:lnTo>
                        <a:pt x="30843" y="173207"/>
                      </a:lnTo>
                      <a:lnTo>
                        <a:pt x="32689" y="173122"/>
                      </a:lnTo>
                      <a:lnTo>
                        <a:pt x="34802" y="173292"/>
                      </a:lnTo>
                      <a:lnTo>
                        <a:pt x="39744" y="175198"/>
                      </a:lnTo>
                      <a:lnTo>
                        <a:pt x="40885" y="175223"/>
                      </a:lnTo>
                      <a:lnTo>
                        <a:pt x="41917" y="174822"/>
                      </a:lnTo>
                      <a:lnTo>
                        <a:pt x="45937" y="169418"/>
                      </a:lnTo>
                      <a:lnTo>
                        <a:pt x="46872" y="168580"/>
                      </a:lnTo>
                      <a:lnTo>
                        <a:pt x="50430" y="166261"/>
                      </a:lnTo>
                      <a:lnTo>
                        <a:pt x="53235" y="165059"/>
                      </a:lnTo>
                      <a:lnTo>
                        <a:pt x="56003" y="164306"/>
                      </a:lnTo>
                      <a:lnTo>
                        <a:pt x="57193" y="163735"/>
                      </a:lnTo>
                      <a:lnTo>
                        <a:pt x="59209" y="162448"/>
                      </a:lnTo>
                      <a:lnTo>
                        <a:pt x="66155" y="154750"/>
                      </a:lnTo>
                      <a:lnTo>
                        <a:pt x="67770" y="153511"/>
                      </a:lnTo>
                      <a:lnTo>
                        <a:pt x="69312" y="152734"/>
                      </a:lnTo>
                      <a:lnTo>
                        <a:pt x="75116" y="151507"/>
                      </a:lnTo>
                      <a:lnTo>
                        <a:pt x="76549" y="150524"/>
                      </a:lnTo>
                      <a:lnTo>
                        <a:pt x="77812" y="148860"/>
                      </a:lnTo>
                      <a:lnTo>
                        <a:pt x="78322" y="147767"/>
                      </a:lnTo>
                      <a:lnTo>
                        <a:pt x="78504" y="146650"/>
                      </a:lnTo>
                      <a:lnTo>
                        <a:pt x="78286" y="144149"/>
                      </a:lnTo>
                      <a:lnTo>
                        <a:pt x="78225" y="138782"/>
                      </a:lnTo>
                      <a:lnTo>
                        <a:pt x="78735" y="135892"/>
                      </a:lnTo>
                      <a:lnTo>
                        <a:pt x="78966" y="134884"/>
                      </a:lnTo>
                      <a:lnTo>
                        <a:pt x="80058" y="133937"/>
                      </a:lnTo>
                      <a:lnTo>
                        <a:pt x="82062" y="133050"/>
                      </a:lnTo>
                      <a:lnTo>
                        <a:pt x="85741" y="132467"/>
                      </a:lnTo>
                      <a:lnTo>
                        <a:pt x="91363" y="132528"/>
                      </a:lnTo>
                      <a:lnTo>
                        <a:pt x="96014" y="131957"/>
                      </a:lnTo>
                      <a:lnTo>
                        <a:pt x="96816" y="131520"/>
                      </a:lnTo>
                      <a:lnTo>
                        <a:pt x="97459" y="130804"/>
                      </a:lnTo>
                      <a:lnTo>
                        <a:pt x="97678" y="129164"/>
                      </a:lnTo>
                      <a:lnTo>
                        <a:pt x="97459" y="128023"/>
                      </a:lnTo>
                      <a:lnTo>
                        <a:pt x="96816" y="126614"/>
                      </a:lnTo>
                      <a:lnTo>
                        <a:pt x="96184" y="125643"/>
                      </a:lnTo>
                      <a:lnTo>
                        <a:pt x="95844" y="124744"/>
                      </a:lnTo>
                      <a:lnTo>
                        <a:pt x="95844" y="124004"/>
                      </a:lnTo>
                      <a:lnTo>
                        <a:pt x="96427" y="123263"/>
                      </a:lnTo>
                      <a:lnTo>
                        <a:pt x="97556" y="122559"/>
                      </a:lnTo>
                      <a:lnTo>
                        <a:pt x="107562" y="118977"/>
                      </a:lnTo>
                      <a:lnTo>
                        <a:pt x="108813" y="118114"/>
                      </a:lnTo>
                      <a:lnTo>
                        <a:pt x="109979" y="117167"/>
                      </a:lnTo>
                      <a:lnTo>
                        <a:pt x="111460" y="115164"/>
                      </a:lnTo>
                      <a:lnTo>
                        <a:pt x="112043" y="113609"/>
                      </a:lnTo>
                      <a:lnTo>
                        <a:pt x="112614" y="110901"/>
                      </a:lnTo>
                      <a:lnTo>
                        <a:pt x="113184" y="109845"/>
                      </a:lnTo>
                      <a:lnTo>
                        <a:pt x="115662" y="106324"/>
                      </a:lnTo>
                      <a:lnTo>
                        <a:pt x="117313" y="103470"/>
                      </a:lnTo>
                      <a:lnTo>
                        <a:pt x="117556" y="102754"/>
                      </a:lnTo>
                      <a:lnTo>
                        <a:pt x="117556" y="102159"/>
                      </a:lnTo>
                      <a:lnTo>
                        <a:pt x="117094" y="100374"/>
                      </a:lnTo>
                      <a:lnTo>
                        <a:pt x="114168" y="93185"/>
                      </a:lnTo>
                      <a:lnTo>
                        <a:pt x="113403" y="90489"/>
                      </a:lnTo>
                      <a:lnTo>
                        <a:pt x="113221" y="85705"/>
                      </a:lnTo>
                      <a:lnTo>
                        <a:pt x="113063" y="84576"/>
                      </a:lnTo>
                      <a:lnTo>
                        <a:pt x="113002" y="83750"/>
                      </a:lnTo>
                      <a:lnTo>
                        <a:pt x="113403" y="82973"/>
                      </a:lnTo>
                      <a:lnTo>
                        <a:pt x="114265" y="82487"/>
                      </a:lnTo>
                      <a:lnTo>
                        <a:pt x="117884" y="82050"/>
                      </a:lnTo>
                      <a:lnTo>
                        <a:pt x="124089" y="80641"/>
                      </a:lnTo>
                      <a:lnTo>
                        <a:pt x="126274" y="79670"/>
                      </a:lnTo>
                      <a:lnTo>
                        <a:pt x="131775" y="75566"/>
                      </a:lnTo>
                      <a:lnTo>
                        <a:pt x="132710" y="75165"/>
                      </a:lnTo>
                      <a:lnTo>
                        <a:pt x="133803" y="75359"/>
                      </a:lnTo>
                      <a:lnTo>
                        <a:pt x="135697" y="76598"/>
                      </a:lnTo>
                      <a:lnTo>
                        <a:pt x="138624" y="79293"/>
                      </a:lnTo>
                      <a:lnTo>
                        <a:pt x="138733" y="79391"/>
                      </a:lnTo>
                      <a:lnTo>
                        <a:pt x="139656" y="79901"/>
                      </a:lnTo>
                      <a:lnTo>
                        <a:pt x="140518" y="80010"/>
                      </a:lnTo>
                      <a:lnTo>
                        <a:pt x="145230" y="79123"/>
                      </a:lnTo>
                      <a:lnTo>
                        <a:pt x="150402" y="78698"/>
                      </a:lnTo>
                      <a:lnTo>
                        <a:pt x="153560" y="78953"/>
                      </a:lnTo>
                      <a:lnTo>
                        <a:pt x="155199" y="78929"/>
                      </a:lnTo>
                      <a:lnTo>
                        <a:pt x="158538" y="78128"/>
                      </a:lnTo>
                      <a:lnTo>
                        <a:pt x="177651" y="71461"/>
                      </a:lnTo>
                      <a:lnTo>
                        <a:pt x="180189" y="71655"/>
                      </a:lnTo>
                      <a:lnTo>
                        <a:pt x="184718" y="72518"/>
                      </a:lnTo>
                      <a:lnTo>
                        <a:pt x="196036" y="75918"/>
                      </a:lnTo>
                      <a:lnTo>
                        <a:pt x="197128" y="76051"/>
                      </a:lnTo>
                      <a:lnTo>
                        <a:pt x="201148" y="75626"/>
                      </a:lnTo>
                      <a:lnTo>
                        <a:pt x="203382" y="75711"/>
                      </a:lnTo>
                      <a:lnTo>
                        <a:pt x="204196" y="75942"/>
                      </a:lnTo>
                      <a:lnTo>
                        <a:pt x="205629" y="76658"/>
                      </a:lnTo>
                      <a:lnTo>
                        <a:pt x="206721" y="76719"/>
                      </a:lnTo>
                      <a:lnTo>
                        <a:pt x="207802" y="76367"/>
                      </a:lnTo>
                      <a:lnTo>
                        <a:pt x="210389" y="75104"/>
                      </a:lnTo>
                      <a:lnTo>
                        <a:pt x="211190" y="75043"/>
                      </a:lnTo>
                      <a:lnTo>
                        <a:pt x="211251" y="75019"/>
                      </a:lnTo>
                      <a:lnTo>
                        <a:pt x="212004" y="75651"/>
                      </a:lnTo>
                      <a:lnTo>
                        <a:pt x="213619" y="78006"/>
                      </a:lnTo>
                      <a:lnTo>
                        <a:pt x="214711" y="79330"/>
                      </a:lnTo>
                      <a:lnTo>
                        <a:pt x="215391" y="79925"/>
                      </a:lnTo>
                      <a:lnTo>
                        <a:pt x="215513" y="80046"/>
                      </a:lnTo>
                      <a:lnTo>
                        <a:pt x="216314" y="80471"/>
                      </a:lnTo>
                      <a:lnTo>
                        <a:pt x="217456" y="80556"/>
                      </a:lnTo>
                      <a:lnTo>
                        <a:pt x="222446" y="80386"/>
                      </a:lnTo>
                      <a:lnTo>
                        <a:pt x="223770" y="80702"/>
                      </a:lnTo>
                      <a:lnTo>
                        <a:pt x="225895" y="81710"/>
                      </a:lnTo>
                      <a:lnTo>
                        <a:pt x="226867" y="81819"/>
                      </a:lnTo>
                      <a:lnTo>
                        <a:pt x="227899" y="81625"/>
                      </a:lnTo>
                      <a:lnTo>
                        <a:pt x="230024" y="80447"/>
                      </a:lnTo>
                      <a:lnTo>
                        <a:pt x="233752" y="77290"/>
                      </a:lnTo>
                      <a:lnTo>
                        <a:pt x="234905" y="76828"/>
                      </a:lnTo>
                      <a:lnTo>
                        <a:pt x="236277" y="76950"/>
                      </a:lnTo>
                      <a:lnTo>
                        <a:pt x="237722" y="77436"/>
                      </a:lnTo>
                      <a:lnTo>
                        <a:pt x="241450" y="79123"/>
                      </a:lnTo>
                      <a:lnTo>
                        <a:pt x="242494" y="79208"/>
                      </a:lnTo>
                      <a:lnTo>
                        <a:pt x="243514" y="78893"/>
                      </a:lnTo>
                      <a:lnTo>
                        <a:pt x="247255" y="76537"/>
                      </a:lnTo>
                      <a:lnTo>
                        <a:pt x="247935" y="76403"/>
                      </a:lnTo>
                      <a:lnTo>
                        <a:pt x="250011" y="76537"/>
                      </a:lnTo>
                      <a:lnTo>
                        <a:pt x="255925" y="78067"/>
                      </a:lnTo>
                      <a:lnTo>
                        <a:pt x="259835" y="79500"/>
                      </a:lnTo>
                      <a:lnTo>
                        <a:pt x="263502" y="80301"/>
                      </a:lnTo>
                      <a:lnTo>
                        <a:pt x="264534" y="80156"/>
                      </a:lnTo>
                      <a:lnTo>
                        <a:pt x="265748" y="79609"/>
                      </a:lnTo>
                      <a:lnTo>
                        <a:pt x="266210" y="78383"/>
                      </a:lnTo>
                      <a:lnTo>
                        <a:pt x="266161" y="77181"/>
                      </a:lnTo>
                      <a:lnTo>
                        <a:pt x="265918" y="76173"/>
                      </a:lnTo>
                      <a:lnTo>
                        <a:pt x="265858" y="75335"/>
                      </a:lnTo>
                      <a:lnTo>
                        <a:pt x="266028" y="74497"/>
                      </a:lnTo>
                      <a:lnTo>
                        <a:pt x="266829" y="72603"/>
                      </a:lnTo>
                      <a:lnTo>
                        <a:pt x="266950" y="71570"/>
                      </a:lnTo>
                      <a:lnTo>
                        <a:pt x="266780" y="70599"/>
                      </a:lnTo>
                      <a:lnTo>
                        <a:pt x="266720" y="70514"/>
                      </a:lnTo>
                      <a:lnTo>
                        <a:pt x="266380" y="68826"/>
                      </a:lnTo>
                      <a:lnTo>
                        <a:pt x="266040" y="67503"/>
                      </a:lnTo>
                      <a:lnTo>
                        <a:pt x="266040" y="67466"/>
                      </a:lnTo>
                      <a:lnTo>
                        <a:pt x="265991" y="67405"/>
                      </a:lnTo>
                      <a:lnTo>
                        <a:pt x="264898" y="66203"/>
                      </a:lnTo>
                      <a:lnTo>
                        <a:pt x="262591" y="64370"/>
                      </a:lnTo>
                      <a:lnTo>
                        <a:pt x="262433" y="64248"/>
                      </a:lnTo>
                      <a:lnTo>
                        <a:pt x="252075" y="57764"/>
                      </a:lnTo>
                      <a:lnTo>
                        <a:pt x="251954" y="57618"/>
                      </a:lnTo>
                      <a:lnTo>
                        <a:pt x="249440" y="55129"/>
                      </a:lnTo>
                      <a:lnTo>
                        <a:pt x="249282" y="54971"/>
                      </a:lnTo>
                      <a:lnTo>
                        <a:pt x="246975" y="53708"/>
                      </a:lnTo>
                      <a:lnTo>
                        <a:pt x="244911" y="52943"/>
                      </a:lnTo>
                      <a:lnTo>
                        <a:pt x="238026" y="51790"/>
                      </a:lnTo>
                      <a:lnTo>
                        <a:pt x="236593" y="51267"/>
                      </a:lnTo>
                      <a:lnTo>
                        <a:pt x="235622" y="50757"/>
                      </a:lnTo>
                      <a:lnTo>
                        <a:pt x="235197" y="50502"/>
                      </a:lnTo>
                      <a:lnTo>
                        <a:pt x="234687" y="50126"/>
                      </a:lnTo>
                      <a:lnTo>
                        <a:pt x="233654" y="48985"/>
                      </a:lnTo>
                      <a:lnTo>
                        <a:pt x="233084" y="47977"/>
                      </a:lnTo>
                      <a:lnTo>
                        <a:pt x="233084" y="47916"/>
                      </a:lnTo>
                      <a:lnTo>
                        <a:pt x="233084" y="47831"/>
                      </a:lnTo>
                      <a:lnTo>
                        <a:pt x="232574" y="45245"/>
                      </a:lnTo>
                      <a:lnTo>
                        <a:pt x="233084" y="41055"/>
                      </a:lnTo>
                      <a:lnTo>
                        <a:pt x="233132" y="40849"/>
                      </a:lnTo>
                      <a:lnTo>
                        <a:pt x="244571" y="41310"/>
                      </a:lnTo>
                      <a:lnTo>
                        <a:pt x="256046" y="43302"/>
                      </a:lnTo>
                      <a:lnTo>
                        <a:pt x="261911" y="45512"/>
                      </a:lnTo>
                      <a:lnTo>
                        <a:pt x="277235" y="54485"/>
                      </a:lnTo>
                      <a:lnTo>
                        <a:pt x="282809" y="55785"/>
                      </a:lnTo>
                      <a:lnTo>
                        <a:pt x="288371" y="57764"/>
                      </a:lnTo>
                      <a:lnTo>
                        <a:pt x="293823" y="57788"/>
                      </a:lnTo>
                      <a:lnTo>
                        <a:pt x="304861" y="54413"/>
                      </a:lnTo>
                      <a:lnTo>
                        <a:pt x="306694" y="52251"/>
                      </a:lnTo>
                      <a:lnTo>
                        <a:pt x="307617" y="44844"/>
                      </a:lnTo>
                      <a:lnTo>
                        <a:pt x="308819" y="41857"/>
                      </a:lnTo>
                      <a:lnTo>
                        <a:pt x="311527" y="39938"/>
                      </a:lnTo>
                      <a:lnTo>
                        <a:pt x="314563" y="39222"/>
                      </a:lnTo>
                      <a:lnTo>
                        <a:pt x="326912" y="40655"/>
                      </a:lnTo>
                      <a:lnTo>
                        <a:pt x="331381" y="39137"/>
                      </a:lnTo>
                      <a:lnTo>
                        <a:pt x="340573" y="32203"/>
                      </a:lnTo>
                      <a:lnTo>
                        <a:pt x="356189" y="23047"/>
                      </a:lnTo>
                      <a:lnTo>
                        <a:pt x="361082" y="19319"/>
                      </a:lnTo>
                      <a:lnTo>
                        <a:pt x="368878" y="17340"/>
                      </a:lnTo>
                      <a:lnTo>
                        <a:pt x="372897" y="17085"/>
                      </a:lnTo>
                      <a:lnTo>
                        <a:pt x="376577" y="18166"/>
                      </a:lnTo>
                      <a:lnTo>
                        <a:pt x="377281" y="18688"/>
                      </a:lnTo>
                      <a:lnTo>
                        <a:pt x="377900" y="19356"/>
                      </a:lnTo>
                      <a:lnTo>
                        <a:pt x="381288" y="23970"/>
                      </a:lnTo>
                      <a:lnTo>
                        <a:pt x="384955" y="26982"/>
                      </a:lnTo>
                      <a:lnTo>
                        <a:pt x="388003" y="26180"/>
                      </a:lnTo>
                      <a:lnTo>
                        <a:pt x="389278" y="19319"/>
                      </a:lnTo>
                      <a:lnTo>
                        <a:pt x="390007" y="17680"/>
                      </a:lnTo>
                      <a:lnTo>
                        <a:pt x="390189" y="16102"/>
                      </a:lnTo>
                      <a:lnTo>
                        <a:pt x="389849" y="14644"/>
                      </a:lnTo>
                      <a:lnTo>
                        <a:pt x="388926" y="13345"/>
                      </a:lnTo>
                      <a:lnTo>
                        <a:pt x="392533" y="11633"/>
                      </a:lnTo>
                      <a:lnTo>
                        <a:pt x="404603" y="8816"/>
                      </a:lnTo>
                      <a:lnTo>
                        <a:pt x="411415" y="6290"/>
                      </a:lnTo>
                      <a:moveTo>
                        <a:pt x="410929" y="0"/>
                      </a:moveTo>
                      <a:lnTo>
                        <a:pt x="409314" y="595"/>
                      </a:lnTo>
                      <a:lnTo>
                        <a:pt x="402842" y="2987"/>
                      </a:lnTo>
                      <a:lnTo>
                        <a:pt x="391148" y="5719"/>
                      </a:lnTo>
                      <a:lnTo>
                        <a:pt x="390517" y="5865"/>
                      </a:lnTo>
                      <a:lnTo>
                        <a:pt x="389934" y="6132"/>
                      </a:lnTo>
                      <a:lnTo>
                        <a:pt x="386328" y="7844"/>
                      </a:lnTo>
                      <a:lnTo>
                        <a:pt x="379783" y="10941"/>
                      </a:lnTo>
                      <a:lnTo>
                        <a:pt x="383826" y="16636"/>
                      </a:lnTo>
                      <a:lnTo>
                        <a:pt x="383741" y="16842"/>
                      </a:lnTo>
                      <a:lnTo>
                        <a:pt x="383693" y="16964"/>
                      </a:lnTo>
                      <a:lnTo>
                        <a:pt x="382806" y="15762"/>
                      </a:lnTo>
                      <a:lnTo>
                        <a:pt x="382588" y="15470"/>
                      </a:lnTo>
                      <a:lnTo>
                        <a:pt x="382333" y="15215"/>
                      </a:lnTo>
                      <a:lnTo>
                        <a:pt x="381713" y="14547"/>
                      </a:lnTo>
                      <a:lnTo>
                        <a:pt x="381349" y="14147"/>
                      </a:lnTo>
                      <a:lnTo>
                        <a:pt x="380912" y="13831"/>
                      </a:lnTo>
                      <a:lnTo>
                        <a:pt x="380208" y="13309"/>
                      </a:lnTo>
                      <a:lnTo>
                        <a:pt x="379333" y="12653"/>
                      </a:lnTo>
                      <a:lnTo>
                        <a:pt x="378289" y="12349"/>
                      </a:lnTo>
                      <a:lnTo>
                        <a:pt x="374610" y="11269"/>
                      </a:lnTo>
                      <a:lnTo>
                        <a:pt x="373590" y="10965"/>
                      </a:lnTo>
                      <a:lnTo>
                        <a:pt x="372521" y="11026"/>
                      </a:lnTo>
                      <a:lnTo>
                        <a:pt x="368502" y="11281"/>
                      </a:lnTo>
                      <a:lnTo>
                        <a:pt x="367919" y="11317"/>
                      </a:lnTo>
                      <a:lnTo>
                        <a:pt x="367373" y="11463"/>
                      </a:lnTo>
                      <a:lnTo>
                        <a:pt x="359577" y="13442"/>
                      </a:lnTo>
                      <a:lnTo>
                        <a:pt x="358375" y="13746"/>
                      </a:lnTo>
                      <a:lnTo>
                        <a:pt x="357391" y="14499"/>
                      </a:lnTo>
                      <a:lnTo>
                        <a:pt x="352801" y="18008"/>
                      </a:lnTo>
                      <a:lnTo>
                        <a:pt x="337501" y="26982"/>
                      </a:lnTo>
                      <a:lnTo>
                        <a:pt x="337197" y="27139"/>
                      </a:lnTo>
                      <a:lnTo>
                        <a:pt x="336918" y="27346"/>
                      </a:lnTo>
                      <a:lnTo>
                        <a:pt x="328515" y="33685"/>
                      </a:lnTo>
                      <a:lnTo>
                        <a:pt x="326257" y="34450"/>
                      </a:lnTo>
                      <a:lnTo>
                        <a:pt x="315267" y="33187"/>
                      </a:lnTo>
                      <a:lnTo>
                        <a:pt x="314211" y="33065"/>
                      </a:lnTo>
                      <a:lnTo>
                        <a:pt x="313179" y="33308"/>
                      </a:lnTo>
                      <a:lnTo>
                        <a:pt x="310143" y="34037"/>
                      </a:lnTo>
                      <a:lnTo>
                        <a:pt x="309001" y="34304"/>
                      </a:lnTo>
                      <a:lnTo>
                        <a:pt x="308030" y="34984"/>
                      </a:lnTo>
                      <a:lnTo>
                        <a:pt x="305322" y="36902"/>
                      </a:lnTo>
                      <a:lnTo>
                        <a:pt x="303865" y="37935"/>
                      </a:lnTo>
                      <a:lnTo>
                        <a:pt x="303185" y="39586"/>
                      </a:lnTo>
                      <a:lnTo>
                        <a:pt x="301983" y="42573"/>
                      </a:lnTo>
                      <a:lnTo>
                        <a:pt x="301691" y="43314"/>
                      </a:lnTo>
                      <a:lnTo>
                        <a:pt x="301594" y="44091"/>
                      </a:lnTo>
                      <a:lnTo>
                        <a:pt x="300951" y="49264"/>
                      </a:lnTo>
                      <a:lnTo>
                        <a:pt x="292924" y="51717"/>
                      </a:lnTo>
                      <a:lnTo>
                        <a:pt x="289427" y="51705"/>
                      </a:lnTo>
                      <a:lnTo>
                        <a:pt x="284837" y="50065"/>
                      </a:lnTo>
                      <a:lnTo>
                        <a:pt x="284521" y="49956"/>
                      </a:lnTo>
                      <a:lnTo>
                        <a:pt x="284181" y="49883"/>
                      </a:lnTo>
                      <a:lnTo>
                        <a:pt x="279506" y="48790"/>
                      </a:lnTo>
                      <a:lnTo>
                        <a:pt x="264971" y="40278"/>
                      </a:lnTo>
                      <a:lnTo>
                        <a:pt x="264522" y="40023"/>
                      </a:lnTo>
                      <a:lnTo>
                        <a:pt x="264036" y="39841"/>
                      </a:lnTo>
                      <a:lnTo>
                        <a:pt x="258171" y="37631"/>
                      </a:lnTo>
                      <a:lnTo>
                        <a:pt x="257637" y="37425"/>
                      </a:lnTo>
                      <a:lnTo>
                        <a:pt x="257066" y="37327"/>
                      </a:lnTo>
                      <a:lnTo>
                        <a:pt x="245591" y="35336"/>
                      </a:lnTo>
                      <a:lnTo>
                        <a:pt x="245202" y="35263"/>
                      </a:lnTo>
                      <a:lnTo>
                        <a:pt x="244802" y="35251"/>
                      </a:lnTo>
                      <a:lnTo>
                        <a:pt x="233363" y="34790"/>
                      </a:lnTo>
                      <a:lnTo>
                        <a:pt x="228324" y="34583"/>
                      </a:lnTo>
                      <a:lnTo>
                        <a:pt x="227194" y="39489"/>
                      </a:lnTo>
                      <a:lnTo>
                        <a:pt x="227122" y="39792"/>
                      </a:lnTo>
                      <a:lnTo>
                        <a:pt x="227049" y="40315"/>
                      </a:lnTo>
                      <a:lnTo>
                        <a:pt x="226539" y="44504"/>
                      </a:lnTo>
                      <a:lnTo>
                        <a:pt x="226417" y="45463"/>
                      </a:lnTo>
                      <a:lnTo>
                        <a:pt x="226599" y="46410"/>
                      </a:lnTo>
                      <a:lnTo>
                        <a:pt x="227000" y="48414"/>
                      </a:lnTo>
                      <a:lnTo>
                        <a:pt x="227000" y="49434"/>
                      </a:lnTo>
                      <a:lnTo>
                        <a:pt x="227814" y="51000"/>
                      </a:lnTo>
                      <a:lnTo>
                        <a:pt x="228384" y="52008"/>
                      </a:lnTo>
                      <a:lnTo>
                        <a:pt x="228700" y="52567"/>
                      </a:lnTo>
                      <a:lnTo>
                        <a:pt x="229137" y="53052"/>
                      </a:lnTo>
                      <a:lnTo>
                        <a:pt x="230169" y="54194"/>
                      </a:lnTo>
                      <a:lnTo>
                        <a:pt x="230594" y="54655"/>
                      </a:lnTo>
                      <a:lnTo>
                        <a:pt x="231104" y="55020"/>
                      </a:lnTo>
                      <a:lnTo>
                        <a:pt x="231614" y="55396"/>
                      </a:lnTo>
                      <a:lnTo>
                        <a:pt x="231833" y="55554"/>
                      </a:lnTo>
                      <a:lnTo>
                        <a:pt x="232489" y="55943"/>
                      </a:lnTo>
                      <a:lnTo>
                        <a:pt x="233776" y="56635"/>
                      </a:lnTo>
                      <a:lnTo>
                        <a:pt x="234140" y="56829"/>
                      </a:lnTo>
                      <a:lnTo>
                        <a:pt x="234529" y="56963"/>
                      </a:lnTo>
                      <a:lnTo>
                        <a:pt x="235962" y="57485"/>
                      </a:lnTo>
                      <a:lnTo>
                        <a:pt x="236484" y="57679"/>
                      </a:lnTo>
                      <a:lnTo>
                        <a:pt x="237030" y="57776"/>
                      </a:lnTo>
                      <a:lnTo>
                        <a:pt x="243357" y="58833"/>
                      </a:lnTo>
                      <a:lnTo>
                        <a:pt x="244462" y="59245"/>
                      </a:lnTo>
                      <a:lnTo>
                        <a:pt x="245640" y="59889"/>
                      </a:lnTo>
                      <a:lnTo>
                        <a:pt x="247716" y="61941"/>
                      </a:lnTo>
                      <a:lnTo>
                        <a:pt x="248190" y="62415"/>
                      </a:lnTo>
                      <a:lnTo>
                        <a:pt x="248870" y="62913"/>
                      </a:lnTo>
                      <a:lnTo>
                        <a:pt x="259215" y="69397"/>
                      </a:lnTo>
                      <a:lnTo>
                        <a:pt x="260551" y="70490"/>
                      </a:lnTo>
                      <a:lnTo>
                        <a:pt x="260733" y="71473"/>
                      </a:lnTo>
                      <a:lnTo>
                        <a:pt x="260442" y="72129"/>
                      </a:lnTo>
                      <a:lnTo>
                        <a:pt x="260199" y="72688"/>
                      </a:lnTo>
                      <a:lnTo>
                        <a:pt x="260114" y="73137"/>
                      </a:lnTo>
                      <a:lnTo>
                        <a:pt x="258025" y="72360"/>
                      </a:lnTo>
                      <a:lnTo>
                        <a:pt x="251529" y="70648"/>
                      </a:lnTo>
                      <a:lnTo>
                        <a:pt x="250982" y="70514"/>
                      </a:lnTo>
                      <a:lnTo>
                        <a:pt x="250400" y="70478"/>
                      </a:lnTo>
                      <a:lnTo>
                        <a:pt x="248323" y="70344"/>
                      </a:lnTo>
                      <a:lnTo>
                        <a:pt x="247558" y="70295"/>
                      </a:lnTo>
                      <a:lnTo>
                        <a:pt x="246805" y="70441"/>
                      </a:lnTo>
                      <a:lnTo>
                        <a:pt x="246125" y="70575"/>
                      </a:lnTo>
                      <a:lnTo>
                        <a:pt x="244984" y="70793"/>
                      </a:lnTo>
                      <a:lnTo>
                        <a:pt x="244012" y="71400"/>
                      </a:lnTo>
                      <a:lnTo>
                        <a:pt x="241972" y="72688"/>
                      </a:lnTo>
                      <a:lnTo>
                        <a:pt x="240224" y="71898"/>
                      </a:lnTo>
                      <a:lnTo>
                        <a:pt x="239944" y="71777"/>
                      </a:lnTo>
                      <a:lnTo>
                        <a:pt x="239653" y="71680"/>
                      </a:lnTo>
                      <a:lnTo>
                        <a:pt x="238208" y="71194"/>
                      </a:lnTo>
                      <a:lnTo>
                        <a:pt x="237516" y="70963"/>
                      </a:lnTo>
                      <a:lnTo>
                        <a:pt x="236787" y="70903"/>
                      </a:lnTo>
                      <a:lnTo>
                        <a:pt x="235415" y="70781"/>
                      </a:lnTo>
                      <a:lnTo>
                        <a:pt x="233994" y="70660"/>
                      </a:lnTo>
                      <a:lnTo>
                        <a:pt x="232671" y="71182"/>
                      </a:lnTo>
                      <a:lnTo>
                        <a:pt x="231517" y="71631"/>
                      </a:lnTo>
                      <a:lnTo>
                        <a:pt x="230594" y="72008"/>
                      </a:lnTo>
                      <a:lnTo>
                        <a:pt x="229829" y="72651"/>
                      </a:lnTo>
                      <a:lnTo>
                        <a:pt x="226648" y="75347"/>
                      </a:lnTo>
                      <a:lnTo>
                        <a:pt x="226381" y="75213"/>
                      </a:lnTo>
                      <a:lnTo>
                        <a:pt x="225798" y="74946"/>
                      </a:lnTo>
                      <a:lnTo>
                        <a:pt x="225179" y="74788"/>
                      </a:lnTo>
                      <a:lnTo>
                        <a:pt x="223855" y="74485"/>
                      </a:lnTo>
                      <a:lnTo>
                        <a:pt x="223066" y="74290"/>
                      </a:lnTo>
                      <a:lnTo>
                        <a:pt x="222252" y="74315"/>
                      </a:lnTo>
                      <a:lnTo>
                        <a:pt x="218549" y="74436"/>
                      </a:lnTo>
                      <a:lnTo>
                        <a:pt x="218294" y="74120"/>
                      </a:lnTo>
                      <a:lnTo>
                        <a:pt x="217019" y="72214"/>
                      </a:lnTo>
                      <a:lnTo>
                        <a:pt x="216569" y="71558"/>
                      </a:lnTo>
                      <a:lnTo>
                        <a:pt x="215962" y="71036"/>
                      </a:lnTo>
                      <a:lnTo>
                        <a:pt x="215221" y="70405"/>
                      </a:lnTo>
                      <a:lnTo>
                        <a:pt x="212429" y="68013"/>
                      </a:lnTo>
                      <a:lnTo>
                        <a:pt x="209806" y="69057"/>
                      </a:lnTo>
                      <a:lnTo>
                        <a:pt x="208786" y="69142"/>
                      </a:lnTo>
                      <a:lnTo>
                        <a:pt x="207754" y="69640"/>
                      </a:lnTo>
                      <a:lnTo>
                        <a:pt x="206466" y="70271"/>
                      </a:lnTo>
                      <a:lnTo>
                        <a:pt x="206430" y="70259"/>
                      </a:lnTo>
                      <a:lnTo>
                        <a:pt x="205884" y="70101"/>
                      </a:lnTo>
                      <a:lnTo>
                        <a:pt x="205070" y="69870"/>
                      </a:lnTo>
                      <a:lnTo>
                        <a:pt x="204366" y="69664"/>
                      </a:lnTo>
                      <a:lnTo>
                        <a:pt x="203637" y="69640"/>
                      </a:lnTo>
                      <a:lnTo>
                        <a:pt x="201403" y="69555"/>
                      </a:lnTo>
                      <a:lnTo>
                        <a:pt x="200954" y="69543"/>
                      </a:lnTo>
                      <a:lnTo>
                        <a:pt x="200516" y="69591"/>
                      </a:lnTo>
                      <a:lnTo>
                        <a:pt x="197226" y="69931"/>
                      </a:lnTo>
                      <a:lnTo>
                        <a:pt x="186467" y="66689"/>
                      </a:lnTo>
                      <a:lnTo>
                        <a:pt x="186163" y="66604"/>
                      </a:lnTo>
                      <a:lnTo>
                        <a:pt x="185860" y="66543"/>
                      </a:lnTo>
                      <a:lnTo>
                        <a:pt x="181330" y="65693"/>
                      </a:lnTo>
                      <a:lnTo>
                        <a:pt x="181003" y="65633"/>
                      </a:lnTo>
                      <a:lnTo>
                        <a:pt x="180675" y="65608"/>
                      </a:lnTo>
                      <a:lnTo>
                        <a:pt x="178125" y="65402"/>
                      </a:lnTo>
                      <a:lnTo>
                        <a:pt x="176862" y="65305"/>
                      </a:lnTo>
                      <a:lnTo>
                        <a:pt x="175660" y="65730"/>
                      </a:lnTo>
                      <a:lnTo>
                        <a:pt x="156838" y="72299"/>
                      </a:lnTo>
                      <a:lnTo>
                        <a:pt x="154446" y="72870"/>
                      </a:lnTo>
                      <a:lnTo>
                        <a:pt x="153462" y="72882"/>
                      </a:lnTo>
                      <a:lnTo>
                        <a:pt x="150888" y="72639"/>
                      </a:lnTo>
                      <a:lnTo>
                        <a:pt x="150402" y="72603"/>
                      </a:lnTo>
                      <a:lnTo>
                        <a:pt x="149905" y="72639"/>
                      </a:lnTo>
                      <a:lnTo>
                        <a:pt x="144732" y="73064"/>
                      </a:lnTo>
                      <a:lnTo>
                        <a:pt x="144416" y="73100"/>
                      </a:lnTo>
                      <a:lnTo>
                        <a:pt x="144100" y="73161"/>
                      </a:lnTo>
                      <a:lnTo>
                        <a:pt x="141453" y="73647"/>
                      </a:lnTo>
                      <a:lnTo>
                        <a:pt x="139802" y="72129"/>
                      </a:lnTo>
                      <a:lnTo>
                        <a:pt x="139437" y="71789"/>
                      </a:lnTo>
                      <a:lnTo>
                        <a:pt x="139012" y="71522"/>
                      </a:lnTo>
                      <a:lnTo>
                        <a:pt x="137118" y="70283"/>
                      </a:lnTo>
                      <a:lnTo>
                        <a:pt x="136086" y="69603"/>
                      </a:lnTo>
                      <a:lnTo>
                        <a:pt x="134872" y="69385"/>
                      </a:lnTo>
                      <a:lnTo>
                        <a:pt x="133779" y="69190"/>
                      </a:lnTo>
                      <a:lnTo>
                        <a:pt x="131982" y="68863"/>
                      </a:lnTo>
                      <a:lnTo>
                        <a:pt x="130318" y="69579"/>
                      </a:lnTo>
                      <a:lnTo>
                        <a:pt x="129395" y="69980"/>
                      </a:lnTo>
                      <a:lnTo>
                        <a:pt x="128727" y="70259"/>
                      </a:lnTo>
                      <a:lnTo>
                        <a:pt x="128157" y="70696"/>
                      </a:lnTo>
                      <a:lnTo>
                        <a:pt x="123202" y="74400"/>
                      </a:lnTo>
                      <a:lnTo>
                        <a:pt x="122182" y="74849"/>
                      </a:lnTo>
                      <a:lnTo>
                        <a:pt x="116852" y="76063"/>
                      </a:lnTo>
                      <a:lnTo>
                        <a:pt x="113549" y="76464"/>
                      </a:lnTo>
                      <a:lnTo>
                        <a:pt x="112346" y="76610"/>
                      </a:lnTo>
                      <a:lnTo>
                        <a:pt x="111302" y="77193"/>
                      </a:lnTo>
                      <a:lnTo>
                        <a:pt x="110440" y="77678"/>
                      </a:lnTo>
                      <a:lnTo>
                        <a:pt x="108837" y="78577"/>
                      </a:lnTo>
                      <a:lnTo>
                        <a:pt x="107999" y="80216"/>
                      </a:lnTo>
                      <a:lnTo>
                        <a:pt x="107599" y="80993"/>
                      </a:lnTo>
                      <a:lnTo>
                        <a:pt x="106834" y="82499"/>
                      </a:lnTo>
                      <a:lnTo>
                        <a:pt x="106955" y="84187"/>
                      </a:lnTo>
                      <a:lnTo>
                        <a:pt x="107016" y="85001"/>
                      </a:lnTo>
                      <a:lnTo>
                        <a:pt x="107174" y="86215"/>
                      </a:lnTo>
                      <a:lnTo>
                        <a:pt x="107344" y="90720"/>
                      </a:lnTo>
                      <a:lnTo>
                        <a:pt x="107368" y="91436"/>
                      </a:lnTo>
                      <a:lnTo>
                        <a:pt x="107562" y="92128"/>
                      </a:lnTo>
                      <a:lnTo>
                        <a:pt x="108315" y="94824"/>
                      </a:lnTo>
                      <a:lnTo>
                        <a:pt x="108412" y="95152"/>
                      </a:lnTo>
                      <a:lnTo>
                        <a:pt x="108546" y="95468"/>
                      </a:lnTo>
                      <a:lnTo>
                        <a:pt x="111181" y="101940"/>
                      </a:lnTo>
                      <a:lnTo>
                        <a:pt x="110416" y="103264"/>
                      </a:lnTo>
                      <a:lnTo>
                        <a:pt x="108230" y="106336"/>
                      </a:lnTo>
                      <a:lnTo>
                        <a:pt x="108024" y="106627"/>
                      </a:lnTo>
                      <a:lnTo>
                        <a:pt x="107854" y="106943"/>
                      </a:lnTo>
                      <a:lnTo>
                        <a:pt x="107283" y="107999"/>
                      </a:lnTo>
                      <a:lnTo>
                        <a:pt x="106846" y="108789"/>
                      </a:lnTo>
                      <a:lnTo>
                        <a:pt x="106664" y="109651"/>
                      </a:lnTo>
                      <a:lnTo>
                        <a:pt x="106190" y="111921"/>
                      </a:lnTo>
                      <a:lnTo>
                        <a:pt x="106069" y="112249"/>
                      </a:lnTo>
                      <a:lnTo>
                        <a:pt x="105559" y="112954"/>
                      </a:lnTo>
                      <a:lnTo>
                        <a:pt x="104988" y="113415"/>
                      </a:lnTo>
                      <a:lnTo>
                        <a:pt x="104842" y="113512"/>
                      </a:lnTo>
                      <a:lnTo>
                        <a:pt x="95516" y="116851"/>
                      </a:lnTo>
                      <a:lnTo>
                        <a:pt x="94909" y="117070"/>
                      </a:lnTo>
                      <a:lnTo>
                        <a:pt x="94363" y="117410"/>
                      </a:lnTo>
                      <a:lnTo>
                        <a:pt x="93221" y="118114"/>
                      </a:lnTo>
                      <a:lnTo>
                        <a:pt x="92311" y="118673"/>
                      </a:lnTo>
                      <a:lnTo>
                        <a:pt x="91655" y="119511"/>
                      </a:lnTo>
                      <a:lnTo>
                        <a:pt x="91060" y="120252"/>
                      </a:lnTo>
                      <a:lnTo>
                        <a:pt x="89773" y="121903"/>
                      </a:lnTo>
                      <a:lnTo>
                        <a:pt x="89773" y="124004"/>
                      </a:lnTo>
                      <a:lnTo>
                        <a:pt x="89773" y="124744"/>
                      </a:lnTo>
                      <a:lnTo>
                        <a:pt x="89773" y="125849"/>
                      </a:lnTo>
                      <a:lnTo>
                        <a:pt x="90003" y="126432"/>
                      </a:lnTo>
                      <a:lnTo>
                        <a:pt x="85814" y="126384"/>
                      </a:lnTo>
                      <a:lnTo>
                        <a:pt x="85304" y="126384"/>
                      </a:lnTo>
                      <a:lnTo>
                        <a:pt x="84794" y="126469"/>
                      </a:lnTo>
                      <a:lnTo>
                        <a:pt x="81115" y="127052"/>
                      </a:lnTo>
                      <a:lnTo>
                        <a:pt x="80338" y="127173"/>
                      </a:lnTo>
                      <a:lnTo>
                        <a:pt x="79609" y="127501"/>
                      </a:lnTo>
                      <a:lnTo>
                        <a:pt x="77606" y="128387"/>
                      </a:lnTo>
                      <a:lnTo>
                        <a:pt x="76768" y="128764"/>
                      </a:lnTo>
                      <a:lnTo>
                        <a:pt x="76076" y="129359"/>
                      </a:lnTo>
                      <a:lnTo>
                        <a:pt x="74983" y="130306"/>
                      </a:lnTo>
                      <a:lnTo>
                        <a:pt x="73489" y="131605"/>
                      </a:lnTo>
                      <a:lnTo>
                        <a:pt x="73040" y="133536"/>
                      </a:lnTo>
                      <a:lnTo>
                        <a:pt x="72809" y="134544"/>
                      </a:lnTo>
                      <a:lnTo>
                        <a:pt x="72238" y="137725"/>
                      </a:lnTo>
                      <a:lnTo>
                        <a:pt x="72141" y="138284"/>
                      </a:lnTo>
                      <a:lnTo>
                        <a:pt x="72141" y="138842"/>
                      </a:lnTo>
                      <a:lnTo>
                        <a:pt x="72202" y="144210"/>
                      </a:lnTo>
                      <a:lnTo>
                        <a:pt x="72335" y="145885"/>
                      </a:lnTo>
                      <a:lnTo>
                        <a:pt x="68037" y="146796"/>
                      </a:lnTo>
                      <a:lnTo>
                        <a:pt x="67272" y="146966"/>
                      </a:lnTo>
                      <a:lnTo>
                        <a:pt x="66568" y="147318"/>
                      </a:lnTo>
                      <a:lnTo>
                        <a:pt x="65025" y="148083"/>
                      </a:lnTo>
                      <a:lnTo>
                        <a:pt x="64515" y="148338"/>
                      </a:lnTo>
                      <a:lnTo>
                        <a:pt x="64054" y="148678"/>
                      </a:lnTo>
                      <a:lnTo>
                        <a:pt x="62439" y="149917"/>
                      </a:lnTo>
                      <a:lnTo>
                        <a:pt x="61990" y="150257"/>
                      </a:lnTo>
                      <a:lnTo>
                        <a:pt x="61613" y="150670"/>
                      </a:lnTo>
                      <a:lnTo>
                        <a:pt x="55238" y="157773"/>
                      </a:lnTo>
                      <a:lnTo>
                        <a:pt x="54230" y="158417"/>
                      </a:lnTo>
                      <a:lnTo>
                        <a:pt x="53866" y="158587"/>
                      </a:lnTo>
                      <a:lnTo>
                        <a:pt x="51620" y="159194"/>
                      </a:lnTo>
                      <a:lnTo>
                        <a:pt x="51207" y="159303"/>
                      </a:lnTo>
                      <a:lnTo>
                        <a:pt x="50818" y="159473"/>
                      </a:lnTo>
                      <a:lnTo>
                        <a:pt x="48013" y="160675"/>
                      </a:lnTo>
                      <a:lnTo>
                        <a:pt x="47527" y="160882"/>
                      </a:lnTo>
                      <a:lnTo>
                        <a:pt x="47090" y="161161"/>
                      </a:lnTo>
                      <a:lnTo>
                        <a:pt x="43532" y="163480"/>
                      </a:lnTo>
                      <a:lnTo>
                        <a:pt x="43144" y="163735"/>
                      </a:lnTo>
                      <a:lnTo>
                        <a:pt x="42792" y="164051"/>
                      </a:lnTo>
                      <a:lnTo>
                        <a:pt x="41881" y="164901"/>
                      </a:lnTo>
                      <a:lnTo>
                        <a:pt x="41420" y="165314"/>
                      </a:lnTo>
                      <a:lnTo>
                        <a:pt x="41055" y="165800"/>
                      </a:lnTo>
                      <a:lnTo>
                        <a:pt x="39088" y="168447"/>
                      </a:lnTo>
                      <a:lnTo>
                        <a:pt x="36975" y="167633"/>
                      </a:lnTo>
                      <a:lnTo>
                        <a:pt x="36162" y="167318"/>
                      </a:lnTo>
                      <a:lnTo>
                        <a:pt x="35287" y="167245"/>
                      </a:lnTo>
                      <a:lnTo>
                        <a:pt x="33175" y="167075"/>
                      </a:lnTo>
                      <a:lnTo>
                        <a:pt x="32786" y="167050"/>
                      </a:lnTo>
                      <a:lnTo>
                        <a:pt x="32409" y="167063"/>
                      </a:lnTo>
                      <a:lnTo>
                        <a:pt x="30564" y="167148"/>
                      </a:lnTo>
                      <a:lnTo>
                        <a:pt x="30127" y="167160"/>
                      </a:lnTo>
                      <a:lnTo>
                        <a:pt x="29702" y="167245"/>
                      </a:lnTo>
                      <a:lnTo>
                        <a:pt x="27577" y="167645"/>
                      </a:lnTo>
                      <a:lnTo>
                        <a:pt x="27212" y="167718"/>
                      </a:lnTo>
                      <a:lnTo>
                        <a:pt x="26860" y="167828"/>
                      </a:lnTo>
                      <a:lnTo>
                        <a:pt x="24165" y="168690"/>
                      </a:lnTo>
                      <a:lnTo>
                        <a:pt x="23217" y="168993"/>
                      </a:lnTo>
                      <a:lnTo>
                        <a:pt x="22416" y="169576"/>
                      </a:lnTo>
                      <a:lnTo>
                        <a:pt x="19951" y="171385"/>
                      </a:lnTo>
                      <a:lnTo>
                        <a:pt x="17959" y="173122"/>
                      </a:lnTo>
                      <a:lnTo>
                        <a:pt x="17680" y="173377"/>
                      </a:lnTo>
                      <a:lnTo>
                        <a:pt x="17425" y="173656"/>
                      </a:lnTo>
                      <a:lnTo>
                        <a:pt x="15932" y="175356"/>
                      </a:lnTo>
                      <a:lnTo>
                        <a:pt x="14474" y="177275"/>
                      </a:lnTo>
                      <a:lnTo>
                        <a:pt x="13382" y="179035"/>
                      </a:lnTo>
                      <a:lnTo>
                        <a:pt x="13114" y="179485"/>
                      </a:lnTo>
                      <a:lnTo>
                        <a:pt x="12932" y="179970"/>
                      </a:lnTo>
                      <a:lnTo>
                        <a:pt x="12374" y="181403"/>
                      </a:lnTo>
                      <a:lnTo>
                        <a:pt x="12216" y="181804"/>
                      </a:lnTo>
                      <a:lnTo>
                        <a:pt x="12119" y="182217"/>
                      </a:lnTo>
                      <a:lnTo>
                        <a:pt x="10054" y="190996"/>
                      </a:lnTo>
                      <a:lnTo>
                        <a:pt x="9447" y="194785"/>
                      </a:lnTo>
                      <a:lnTo>
                        <a:pt x="9374" y="195246"/>
                      </a:lnTo>
                      <a:lnTo>
                        <a:pt x="9374" y="195720"/>
                      </a:lnTo>
                      <a:lnTo>
                        <a:pt x="9374" y="196497"/>
                      </a:lnTo>
                      <a:lnTo>
                        <a:pt x="9374" y="197808"/>
                      </a:lnTo>
                      <a:lnTo>
                        <a:pt x="9921" y="199011"/>
                      </a:lnTo>
                      <a:lnTo>
                        <a:pt x="10261" y="199751"/>
                      </a:lnTo>
                      <a:lnTo>
                        <a:pt x="10407" y="200055"/>
                      </a:lnTo>
                      <a:lnTo>
                        <a:pt x="10589" y="200346"/>
                      </a:lnTo>
                      <a:lnTo>
                        <a:pt x="10637" y="200431"/>
                      </a:lnTo>
                      <a:lnTo>
                        <a:pt x="7626" y="204050"/>
                      </a:lnTo>
                      <a:lnTo>
                        <a:pt x="7310" y="204426"/>
                      </a:lnTo>
                      <a:lnTo>
                        <a:pt x="7055" y="204851"/>
                      </a:lnTo>
                      <a:lnTo>
                        <a:pt x="6533" y="205738"/>
                      </a:lnTo>
                      <a:lnTo>
                        <a:pt x="6084" y="206491"/>
                      </a:lnTo>
                      <a:lnTo>
                        <a:pt x="5865" y="207353"/>
                      </a:lnTo>
                      <a:lnTo>
                        <a:pt x="5634" y="208276"/>
                      </a:lnTo>
                      <a:lnTo>
                        <a:pt x="5331" y="209757"/>
                      </a:lnTo>
                      <a:lnTo>
                        <a:pt x="5221" y="210340"/>
                      </a:lnTo>
                      <a:lnTo>
                        <a:pt x="5221" y="210923"/>
                      </a:lnTo>
                      <a:lnTo>
                        <a:pt x="5221" y="211991"/>
                      </a:lnTo>
                      <a:lnTo>
                        <a:pt x="5221" y="212854"/>
                      </a:lnTo>
                      <a:lnTo>
                        <a:pt x="5464" y="213679"/>
                      </a:lnTo>
                      <a:lnTo>
                        <a:pt x="5877" y="215088"/>
                      </a:lnTo>
                      <a:lnTo>
                        <a:pt x="5987" y="215464"/>
                      </a:lnTo>
                      <a:lnTo>
                        <a:pt x="6144" y="215829"/>
                      </a:lnTo>
                      <a:lnTo>
                        <a:pt x="6654" y="216994"/>
                      </a:lnTo>
                      <a:lnTo>
                        <a:pt x="6703" y="217189"/>
                      </a:lnTo>
                      <a:lnTo>
                        <a:pt x="6873" y="217929"/>
                      </a:lnTo>
                      <a:lnTo>
                        <a:pt x="7225" y="218609"/>
                      </a:lnTo>
                      <a:lnTo>
                        <a:pt x="7577" y="219289"/>
                      </a:lnTo>
                      <a:lnTo>
                        <a:pt x="7747" y="219617"/>
                      </a:lnTo>
                      <a:lnTo>
                        <a:pt x="7954" y="219909"/>
                      </a:lnTo>
                      <a:lnTo>
                        <a:pt x="8512" y="220746"/>
                      </a:lnTo>
                      <a:lnTo>
                        <a:pt x="9022" y="221499"/>
                      </a:lnTo>
                      <a:lnTo>
                        <a:pt x="9727" y="222070"/>
                      </a:lnTo>
                      <a:lnTo>
                        <a:pt x="14972" y="226344"/>
                      </a:lnTo>
                      <a:lnTo>
                        <a:pt x="14984" y="226454"/>
                      </a:lnTo>
                      <a:lnTo>
                        <a:pt x="15094" y="227122"/>
                      </a:lnTo>
                      <a:lnTo>
                        <a:pt x="15349" y="227753"/>
                      </a:lnTo>
                      <a:lnTo>
                        <a:pt x="15932" y="229186"/>
                      </a:lnTo>
                      <a:lnTo>
                        <a:pt x="3546" y="250400"/>
                      </a:lnTo>
                      <a:lnTo>
                        <a:pt x="0" y="256471"/>
                      </a:lnTo>
                      <a:lnTo>
                        <a:pt x="6521" y="259094"/>
                      </a:lnTo>
                      <a:lnTo>
                        <a:pt x="14207" y="262190"/>
                      </a:lnTo>
                      <a:lnTo>
                        <a:pt x="32397" y="269585"/>
                      </a:lnTo>
                      <a:lnTo>
                        <a:pt x="32495" y="269622"/>
                      </a:lnTo>
                      <a:lnTo>
                        <a:pt x="33005" y="269804"/>
                      </a:lnTo>
                      <a:lnTo>
                        <a:pt x="33697" y="270059"/>
                      </a:lnTo>
                      <a:lnTo>
                        <a:pt x="34425" y="270144"/>
                      </a:lnTo>
                      <a:lnTo>
                        <a:pt x="52057" y="272123"/>
                      </a:lnTo>
                      <a:lnTo>
                        <a:pt x="59549" y="273605"/>
                      </a:lnTo>
                      <a:lnTo>
                        <a:pt x="60217" y="273738"/>
                      </a:lnTo>
                      <a:lnTo>
                        <a:pt x="60897" y="273726"/>
                      </a:lnTo>
                      <a:lnTo>
                        <a:pt x="62063" y="273690"/>
                      </a:lnTo>
                      <a:lnTo>
                        <a:pt x="62378" y="273678"/>
                      </a:lnTo>
                      <a:lnTo>
                        <a:pt x="62694" y="273641"/>
                      </a:lnTo>
                      <a:lnTo>
                        <a:pt x="64127" y="273447"/>
                      </a:lnTo>
                      <a:lnTo>
                        <a:pt x="66398" y="273131"/>
                      </a:lnTo>
                      <a:lnTo>
                        <a:pt x="67891" y="271407"/>
                      </a:lnTo>
                      <a:lnTo>
                        <a:pt x="68401" y="270824"/>
                      </a:lnTo>
                      <a:lnTo>
                        <a:pt x="69336" y="269561"/>
                      </a:lnTo>
                      <a:lnTo>
                        <a:pt x="75153" y="266258"/>
                      </a:lnTo>
                      <a:lnTo>
                        <a:pt x="76185" y="265918"/>
                      </a:lnTo>
                      <a:lnTo>
                        <a:pt x="76464" y="265857"/>
                      </a:lnTo>
                      <a:lnTo>
                        <a:pt x="93926" y="265105"/>
                      </a:lnTo>
                      <a:lnTo>
                        <a:pt x="94023" y="265117"/>
                      </a:lnTo>
                      <a:lnTo>
                        <a:pt x="94557" y="265287"/>
                      </a:lnTo>
                      <a:lnTo>
                        <a:pt x="96974" y="266440"/>
                      </a:lnTo>
                      <a:lnTo>
                        <a:pt x="97702" y="266902"/>
                      </a:lnTo>
                      <a:lnTo>
                        <a:pt x="97811" y="266975"/>
                      </a:lnTo>
                      <a:lnTo>
                        <a:pt x="98261" y="267230"/>
                      </a:lnTo>
                      <a:lnTo>
                        <a:pt x="100034" y="268080"/>
                      </a:lnTo>
                      <a:lnTo>
                        <a:pt x="100349" y="268225"/>
                      </a:lnTo>
                      <a:lnTo>
                        <a:pt x="100847" y="268420"/>
                      </a:lnTo>
                      <a:lnTo>
                        <a:pt x="103676" y="269343"/>
                      </a:lnTo>
                      <a:lnTo>
                        <a:pt x="104405" y="269585"/>
                      </a:lnTo>
                      <a:lnTo>
                        <a:pt x="105170" y="269634"/>
                      </a:lnTo>
                      <a:lnTo>
                        <a:pt x="107174" y="269768"/>
                      </a:lnTo>
                      <a:lnTo>
                        <a:pt x="107477" y="269780"/>
                      </a:lnTo>
                      <a:lnTo>
                        <a:pt x="107781" y="269768"/>
                      </a:lnTo>
                      <a:lnTo>
                        <a:pt x="109724" y="269695"/>
                      </a:lnTo>
                      <a:lnTo>
                        <a:pt x="110246" y="269683"/>
                      </a:lnTo>
                      <a:lnTo>
                        <a:pt x="110756" y="269573"/>
                      </a:lnTo>
                      <a:lnTo>
                        <a:pt x="112019" y="269306"/>
                      </a:lnTo>
                      <a:lnTo>
                        <a:pt x="112565" y="269185"/>
                      </a:lnTo>
                      <a:lnTo>
                        <a:pt x="113075" y="268966"/>
                      </a:lnTo>
                      <a:lnTo>
                        <a:pt x="113998" y="268590"/>
                      </a:lnTo>
                      <a:lnTo>
                        <a:pt x="114544" y="268359"/>
                      </a:lnTo>
                      <a:lnTo>
                        <a:pt x="115042" y="268031"/>
                      </a:lnTo>
                      <a:lnTo>
                        <a:pt x="115431" y="267776"/>
                      </a:lnTo>
                      <a:lnTo>
                        <a:pt x="115686" y="268031"/>
                      </a:lnTo>
                      <a:lnTo>
                        <a:pt x="115904" y="268250"/>
                      </a:lnTo>
                      <a:lnTo>
                        <a:pt x="116147" y="268444"/>
                      </a:lnTo>
                      <a:lnTo>
                        <a:pt x="117532" y="269549"/>
                      </a:lnTo>
                      <a:lnTo>
                        <a:pt x="118139" y="270387"/>
                      </a:lnTo>
                      <a:lnTo>
                        <a:pt x="119329" y="270848"/>
                      </a:lnTo>
                      <a:lnTo>
                        <a:pt x="119887" y="271200"/>
                      </a:lnTo>
                      <a:lnTo>
                        <a:pt x="119717" y="271395"/>
                      </a:lnTo>
                      <a:lnTo>
                        <a:pt x="119207" y="272038"/>
                      </a:lnTo>
                      <a:lnTo>
                        <a:pt x="118576" y="272828"/>
                      </a:lnTo>
                      <a:lnTo>
                        <a:pt x="118248" y="273775"/>
                      </a:lnTo>
                      <a:lnTo>
                        <a:pt x="118017" y="274443"/>
                      </a:lnTo>
                      <a:lnTo>
                        <a:pt x="117762" y="275147"/>
                      </a:lnTo>
                      <a:lnTo>
                        <a:pt x="117689" y="275900"/>
                      </a:lnTo>
                      <a:lnTo>
                        <a:pt x="116669" y="286974"/>
                      </a:lnTo>
                      <a:lnTo>
                        <a:pt x="116645" y="289148"/>
                      </a:lnTo>
                      <a:lnTo>
                        <a:pt x="116754" y="290957"/>
                      </a:lnTo>
                      <a:lnTo>
                        <a:pt x="116803" y="291649"/>
                      </a:lnTo>
                      <a:lnTo>
                        <a:pt x="117009" y="292305"/>
                      </a:lnTo>
                      <a:lnTo>
                        <a:pt x="117362" y="293483"/>
                      </a:lnTo>
                      <a:lnTo>
                        <a:pt x="117641" y="294418"/>
                      </a:lnTo>
                      <a:lnTo>
                        <a:pt x="118199" y="295219"/>
                      </a:lnTo>
                      <a:lnTo>
                        <a:pt x="118879" y="296191"/>
                      </a:lnTo>
                      <a:lnTo>
                        <a:pt x="119207" y="296664"/>
                      </a:lnTo>
                      <a:lnTo>
                        <a:pt x="119620" y="297065"/>
                      </a:lnTo>
                      <a:lnTo>
                        <a:pt x="120774" y="298182"/>
                      </a:lnTo>
                      <a:lnTo>
                        <a:pt x="121223" y="298619"/>
                      </a:lnTo>
                      <a:lnTo>
                        <a:pt x="121745" y="298947"/>
                      </a:lnTo>
                      <a:lnTo>
                        <a:pt x="138733" y="309706"/>
                      </a:lnTo>
                      <a:lnTo>
                        <a:pt x="140470" y="311187"/>
                      </a:lnTo>
                      <a:lnTo>
                        <a:pt x="140846" y="311600"/>
                      </a:lnTo>
                      <a:lnTo>
                        <a:pt x="141113" y="311891"/>
                      </a:lnTo>
                      <a:lnTo>
                        <a:pt x="141417" y="312146"/>
                      </a:lnTo>
                      <a:lnTo>
                        <a:pt x="142910" y="313397"/>
                      </a:lnTo>
                      <a:lnTo>
                        <a:pt x="143190" y="313628"/>
                      </a:lnTo>
                      <a:lnTo>
                        <a:pt x="143493" y="313834"/>
                      </a:lnTo>
                      <a:lnTo>
                        <a:pt x="149249" y="317599"/>
                      </a:lnTo>
                      <a:lnTo>
                        <a:pt x="150123" y="318181"/>
                      </a:lnTo>
                      <a:lnTo>
                        <a:pt x="150293" y="318351"/>
                      </a:lnTo>
                      <a:lnTo>
                        <a:pt x="150998" y="320124"/>
                      </a:lnTo>
                      <a:lnTo>
                        <a:pt x="151095" y="320367"/>
                      </a:lnTo>
                      <a:lnTo>
                        <a:pt x="151095" y="322043"/>
                      </a:lnTo>
                      <a:lnTo>
                        <a:pt x="154458" y="323743"/>
                      </a:lnTo>
                      <a:lnTo>
                        <a:pt x="154507" y="323767"/>
                      </a:lnTo>
                      <a:lnTo>
                        <a:pt x="155527" y="324204"/>
                      </a:lnTo>
                      <a:lnTo>
                        <a:pt x="155879" y="324338"/>
                      </a:lnTo>
                      <a:lnTo>
                        <a:pt x="156438" y="324508"/>
                      </a:lnTo>
                      <a:lnTo>
                        <a:pt x="159133" y="325176"/>
                      </a:lnTo>
                      <a:lnTo>
                        <a:pt x="159522" y="325273"/>
                      </a:lnTo>
                      <a:lnTo>
                        <a:pt x="159923" y="325321"/>
                      </a:lnTo>
                      <a:lnTo>
                        <a:pt x="160663" y="325406"/>
                      </a:lnTo>
                      <a:lnTo>
                        <a:pt x="161295" y="325479"/>
                      </a:lnTo>
                      <a:lnTo>
                        <a:pt x="161926" y="325419"/>
                      </a:lnTo>
                      <a:lnTo>
                        <a:pt x="165132" y="325115"/>
                      </a:lnTo>
                      <a:lnTo>
                        <a:pt x="165630" y="325151"/>
                      </a:lnTo>
                      <a:lnTo>
                        <a:pt x="166540" y="325321"/>
                      </a:lnTo>
                      <a:lnTo>
                        <a:pt x="167196" y="325576"/>
                      </a:lnTo>
                      <a:lnTo>
                        <a:pt x="167900" y="325965"/>
                      </a:lnTo>
                      <a:lnTo>
                        <a:pt x="168046" y="326086"/>
                      </a:lnTo>
                      <a:lnTo>
                        <a:pt x="168228" y="326669"/>
                      </a:lnTo>
                      <a:lnTo>
                        <a:pt x="168386" y="327191"/>
                      </a:lnTo>
                      <a:lnTo>
                        <a:pt x="168641" y="327677"/>
                      </a:lnTo>
                      <a:lnTo>
                        <a:pt x="170778" y="331757"/>
                      </a:lnTo>
                      <a:lnTo>
                        <a:pt x="170803" y="331830"/>
                      </a:lnTo>
                      <a:lnTo>
                        <a:pt x="173231" y="337877"/>
                      </a:lnTo>
                      <a:lnTo>
                        <a:pt x="179096" y="335036"/>
                      </a:lnTo>
                      <a:lnTo>
                        <a:pt x="183407" y="332947"/>
                      </a:lnTo>
                      <a:lnTo>
                        <a:pt x="184573" y="333190"/>
                      </a:lnTo>
                      <a:lnTo>
                        <a:pt x="188118" y="335631"/>
                      </a:lnTo>
                      <a:lnTo>
                        <a:pt x="188118" y="336566"/>
                      </a:lnTo>
                      <a:lnTo>
                        <a:pt x="191931" y="338132"/>
                      </a:lnTo>
                      <a:lnTo>
                        <a:pt x="193449" y="338739"/>
                      </a:lnTo>
                      <a:lnTo>
                        <a:pt x="195198" y="338545"/>
                      </a:lnTo>
                      <a:lnTo>
                        <a:pt x="206296" y="336894"/>
                      </a:lnTo>
                      <a:lnTo>
                        <a:pt x="217334" y="336663"/>
                      </a:lnTo>
                      <a:lnTo>
                        <a:pt x="239580" y="339808"/>
                      </a:lnTo>
                      <a:lnTo>
                        <a:pt x="239629" y="339954"/>
                      </a:lnTo>
                      <a:lnTo>
                        <a:pt x="239677" y="340245"/>
                      </a:lnTo>
                      <a:lnTo>
                        <a:pt x="240127" y="347652"/>
                      </a:lnTo>
                      <a:lnTo>
                        <a:pt x="236083" y="349741"/>
                      </a:lnTo>
                      <a:lnTo>
                        <a:pt x="235585" y="349996"/>
                      </a:lnTo>
                      <a:lnTo>
                        <a:pt x="235148" y="350336"/>
                      </a:lnTo>
                      <a:lnTo>
                        <a:pt x="232343" y="352510"/>
                      </a:lnTo>
                      <a:lnTo>
                        <a:pt x="231359" y="353262"/>
                      </a:lnTo>
                      <a:lnTo>
                        <a:pt x="230752" y="354343"/>
                      </a:lnTo>
                      <a:lnTo>
                        <a:pt x="230679" y="354477"/>
                      </a:lnTo>
                      <a:lnTo>
                        <a:pt x="230315" y="355145"/>
                      </a:lnTo>
                      <a:lnTo>
                        <a:pt x="230036" y="355715"/>
                      </a:lnTo>
                      <a:lnTo>
                        <a:pt x="229878" y="356043"/>
                      </a:lnTo>
                      <a:lnTo>
                        <a:pt x="229757" y="356383"/>
                      </a:lnTo>
                      <a:lnTo>
                        <a:pt x="229574" y="356905"/>
                      </a:lnTo>
                      <a:lnTo>
                        <a:pt x="228797" y="358472"/>
                      </a:lnTo>
                      <a:lnTo>
                        <a:pt x="224669" y="364944"/>
                      </a:lnTo>
                      <a:lnTo>
                        <a:pt x="224353" y="365430"/>
                      </a:lnTo>
                      <a:lnTo>
                        <a:pt x="224134" y="365964"/>
                      </a:lnTo>
                      <a:lnTo>
                        <a:pt x="223685" y="367081"/>
                      </a:lnTo>
                      <a:lnTo>
                        <a:pt x="223382" y="367858"/>
                      </a:lnTo>
                      <a:lnTo>
                        <a:pt x="223017" y="368769"/>
                      </a:lnTo>
                      <a:lnTo>
                        <a:pt x="222969" y="369752"/>
                      </a:lnTo>
                      <a:lnTo>
                        <a:pt x="222944" y="370360"/>
                      </a:lnTo>
                      <a:lnTo>
                        <a:pt x="222908" y="370918"/>
                      </a:lnTo>
                      <a:lnTo>
                        <a:pt x="222981" y="371465"/>
                      </a:lnTo>
                      <a:lnTo>
                        <a:pt x="223090" y="372351"/>
                      </a:lnTo>
                      <a:lnTo>
                        <a:pt x="223090" y="372363"/>
                      </a:lnTo>
                      <a:lnTo>
                        <a:pt x="222507" y="377900"/>
                      </a:lnTo>
                      <a:lnTo>
                        <a:pt x="222422" y="379042"/>
                      </a:lnTo>
                      <a:lnTo>
                        <a:pt x="222398" y="379491"/>
                      </a:lnTo>
                      <a:lnTo>
                        <a:pt x="222434" y="379940"/>
                      </a:lnTo>
                      <a:lnTo>
                        <a:pt x="222495" y="380657"/>
                      </a:lnTo>
                      <a:lnTo>
                        <a:pt x="222568" y="381555"/>
                      </a:lnTo>
                      <a:lnTo>
                        <a:pt x="222896" y="382393"/>
                      </a:lnTo>
                      <a:lnTo>
                        <a:pt x="223175" y="383110"/>
                      </a:lnTo>
                      <a:lnTo>
                        <a:pt x="223369" y="383583"/>
                      </a:lnTo>
                      <a:lnTo>
                        <a:pt x="223636" y="384020"/>
                      </a:lnTo>
                      <a:lnTo>
                        <a:pt x="228530" y="392083"/>
                      </a:lnTo>
                      <a:lnTo>
                        <a:pt x="228312" y="393650"/>
                      </a:lnTo>
                      <a:lnTo>
                        <a:pt x="228117" y="394135"/>
                      </a:lnTo>
                      <a:lnTo>
                        <a:pt x="227777" y="395010"/>
                      </a:lnTo>
                      <a:lnTo>
                        <a:pt x="227704" y="395945"/>
                      </a:lnTo>
                      <a:lnTo>
                        <a:pt x="227644" y="396746"/>
                      </a:lnTo>
                      <a:lnTo>
                        <a:pt x="227607" y="397305"/>
                      </a:lnTo>
                      <a:lnTo>
                        <a:pt x="227668" y="397863"/>
                      </a:lnTo>
                      <a:lnTo>
                        <a:pt x="227789" y="398932"/>
                      </a:lnTo>
                      <a:lnTo>
                        <a:pt x="227947" y="400328"/>
                      </a:lnTo>
                      <a:lnTo>
                        <a:pt x="228700" y="401518"/>
                      </a:lnTo>
                      <a:lnTo>
                        <a:pt x="229975" y="403522"/>
                      </a:lnTo>
                      <a:lnTo>
                        <a:pt x="230461" y="404275"/>
                      </a:lnTo>
                      <a:lnTo>
                        <a:pt x="231153" y="404870"/>
                      </a:lnTo>
                      <a:lnTo>
                        <a:pt x="232185" y="405756"/>
                      </a:lnTo>
                      <a:lnTo>
                        <a:pt x="232647" y="406157"/>
                      </a:lnTo>
                      <a:lnTo>
                        <a:pt x="233181" y="406448"/>
                      </a:lnTo>
                      <a:lnTo>
                        <a:pt x="233861" y="406825"/>
                      </a:lnTo>
                      <a:lnTo>
                        <a:pt x="235233" y="407590"/>
                      </a:lnTo>
                      <a:lnTo>
                        <a:pt x="236933" y="407675"/>
                      </a:lnTo>
                      <a:lnTo>
                        <a:pt x="237394" y="407687"/>
                      </a:lnTo>
                      <a:lnTo>
                        <a:pt x="238087" y="407711"/>
                      </a:lnTo>
                      <a:lnTo>
                        <a:pt x="238767" y="407578"/>
                      </a:lnTo>
                      <a:lnTo>
                        <a:pt x="239677" y="407396"/>
                      </a:lnTo>
                      <a:lnTo>
                        <a:pt x="241050" y="406861"/>
                      </a:lnTo>
                      <a:lnTo>
                        <a:pt x="241632" y="406546"/>
                      </a:lnTo>
                      <a:lnTo>
                        <a:pt x="241936" y="406376"/>
                      </a:lnTo>
                      <a:lnTo>
                        <a:pt x="242215" y="406181"/>
                      </a:lnTo>
                      <a:lnTo>
                        <a:pt x="242968" y="405659"/>
                      </a:lnTo>
                      <a:lnTo>
                        <a:pt x="243369" y="405392"/>
                      </a:lnTo>
                      <a:lnTo>
                        <a:pt x="243709" y="405064"/>
                      </a:lnTo>
                      <a:lnTo>
                        <a:pt x="246672" y="402235"/>
                      </a:lnTo>
                      <a:lnTo>
                        <a:pt x="249319" y="402247"/>
                      </a:lnTo>
                      <a:lnTo>
                        <a:pt x="250023" y="402381"/>
                      </a:lnTo>
                      <a:lnTo>
                        <a:pt x="250193" y="402441"/>
                      </a:lnTo>
                      <a:lnTo>
                        <a:pt x="251262" y="402793"/>
                      </a:lnTo>
                      <a:lnTo>
                        <a:pt x="253387" y="403923"/>
                      </a:lnTo>
                      <a:lnTo>
                        <a:pt x="255670" y="406181"/>
                      </a:lnTo>
                      <a:lnTo>
                        <a:pt x="255670" y="409521"/>
                      </a:lnTo>
                      <a:lnTo>
                        <a:pt x="262093" y="409181"/>
                      </a:lnTo>
                      <a:lnTo>
                        <a:pt x="263125" y="409120"/>
                      </a:lnTo>
                      <a:lnTo>
                        <a:pt x="263963" y="409071"/>
                      </a:lnTo>
                      <a:lnTo>
                        <a:pt x="264753" y="408804"/>
                      </a:lnTo>
                      <a:lnTo>
                        <a:pt x="266756" y="408112"/>
                      </a:lnTo>
                      <a:lnTo>
                        <a:pt x="268262" y="408646"/>
                      </a:lnTo>
                      <a:lnTo>
                        <a:pt x="269197" y="408974"/>
                      </a:lnTo>
                      <a:lnTo>
                        <a:pt x="269440" y="409059"/>
                      </a:lnTo>
                      <a:lnTo>
                        <a:pt x="272961" y="413309"/>
                      </a:lnTo>
                      <a:lnTo>
                        <a:pt x="273908" y="414451"/>
                      </a:lnTo>
                      <a:lnTo>
                        <a:pt x="275268" y="415021"/>
                      </a:lnTo>
                      <a:lnTo>
                        <a:pt x="276191" y="415410"/>
                      </a:lnTo>
                      <a:lnTo>
                        <a:pt x="276507" y="415543"/>
                      </a:lnTo>
                      <a:lnTo>
                        <a:pt x="276835" y="415641"/>
                      </a:lnTo>
                      <a:lnTo>
                        <a:pt x="277078" y="415713"/>
                      </a:lnTo>
                      <a:lnTo>
                        <a:pt x="277175" y="415774"/>
                      </a:lnTo>
                      <a:lnTo>
                        <a:pt x="277624" y="415871"/>
                      </a:lnTo>
                      <a:lnTo>
                        <a:pt x="278425" y="416114"/>
                      </a:lnTo>
                      <a:lnTo>
                        <a:pt x="278680" y="416114"/>
                      </a:lnTo>
                      <a:lnTo>
                        <a:pt x="280235" y="416442"/>
                      </a:lnTo>
                      <a:lnTo>
                        <a:pt x="282421" y="415641"/>
                      </a:lnTo>
                      <a:lnTo>
                        <a:pt x="283331" y="415216"/>
                      </a:lnTo>
                      <a:lnTo>
                        <a:pt x="283768" y="415094"/>
                      </a:lnTo>
                      <a:lnTo>
                        <a:pt x="283805" y="415094"/>
                      </a:lnTo>
                      <a:lnTo>
                        <a:pt x="284315" y="415543"/>
                      </a:lnTo>
                      <a:lnTo>
                        <a:pt x="287812" y="418773"/>
                      </a:lnTo>
                      <a:lnTo>
                        <a:pt x="288407" y="419320"/>
                      </a:lnTo>
                      <a:lnTo>
                        <a:pt x="289123" y="419696"/>
                      </a:lnTo>
                      <a:lnTo>
                        <a:pt x="290277" y="420304"/>
                      </a:lnTo>
                      <a:lnTo>
                        <a:pt x="290690" y="420522"/>
                      </a:lnTo>
                      <a:lnTo>
                        <a:pt x="291127" y="420680"/>
                      </a:lnTo>
                      <a:lnTo>
                        <a:pt x="291977" y="420971"/>
                      </a:lnTo>
                      <a:lnTo>
                        <a:pt x="292657" y="421202"/>
                      </a:lnTo>
                      <a:lnTo>
                        <a:pt x="293568" y="421336"/>
                      </a:lnTo>
                      <a:lnTo>
                        <a:pt x="296312" y="421591"/>
                      </a:lnTo>
                      <a:lnTo>
                        <a:pt x="301023" y="422028"/>
                      </a:lnTo>
                      <a:lnTo>
                        <a:pt x="301181" y="422368"/>
                      </a:lnTo>
                      <a:lnTo>
                        <a:pt x="299979" y="423327"/>
                      </a:lnTo>
                      <a:lnTo>
                        <a:pt x="299676" y="423570"/>
                      </a:lnTo>
                      <a:lnTo>
                        <a:pt x="299409" y="423849"/>
                      </a:lnTo>
                      <a:lnTo>
                        <a:pt x="298024" y="425282"/>
                      </a:lnTo>
                      <a:lnTo>
                        <a:pt x="297575" y="425744"/>
                      </a:lnTo>
                      <a:lnTo>
                        <a:pt x="297247" y="426278"/>
                      </a:lnTo>
                      <a:lnTo>
                        <a:pt x="296397" y="427626"/>
                      </a:lnTo>
                      <a:lnTo>
                        <a:pt x="296215" y="427929"/>
                      </a:lnTo>
                      <a:lnTo>
                        <a:pt x="296057" y="428245"/>
                      </a:lnTo>
                      <a:lnTo>
                        <a:pt x="294381" y="431779"/>
                      </a:lnTo>
                      <a:lnTo>
                        <a:pt x="294102" y="432361"/>
                      </a:lnTo>
                      <a:lnTo>
                        <a:pt x="293956" y="433005"/>
                      </a:lnTo>
                      <a:lnTo>
                        <a:pt x="293677" y="434207"/>
                      </a:lnTo>
                      <a:lnTo>
                        <a:pt x="293519" y="434887"/>
                      </a:lnTo>
                      <a:lnTo>
                        <a:pt x="293519" y="435591"/>
                      </a:lnTo>
                      <a:lnTo>
                        <a:pt x="293519" y="436490"/>
                      </a:lnTo>
                      <a:lnTo>
                        <a:pt x="293519" y="437680"/>
                      </a:lnTo>
                      <a:lnTo>
                        <a:pt x="293968" y="438785"/>
                      </a:lnTo>
                      <a:lnTo>
                        <a:pt x="294248" y="439465"/>
                      </a:lnTo>
                      <a:lnTo>
                        <a:pt x="294418" y="439890"/>
                      </a:lnTo>
                      <a:lnTo>
                        <a:pt x="294661" y="440279"/>
                      </a:lnTo>
                      <a:lnTo>
                        <a:pt x="294818" y="440546"/>
                      </a:lnTo>
                      <a:lnTo>
                        <a:pt x="295401" y="441457"/>
                      </a:lnTo>
                      <a:lnTo>
                        <a:pt x="295753" y="441930"/>
                      </a:lnTo>
                      <a:lnTo>
                        <a:pt x="296361" y="442562"/>
                      </a:lnTo>
                      <a:lnTo>
                        <a:pt x="296628" y="442817"/>
                      </a:lnTo>
                      <a:lnTo>
                        <a:pt x="297332" y="443399"/>
                      </a:lnTo>
                      <a:lnTo>
                        <a:pt x="297381" y="443436"/>
                      </a:lnTo>
                      <a:lnTo>
                        <a:pt x="297113" y="443703"/>
                      </a:lnTo>
                      <a:lnTo>
                        <a:pt x="296858" y="443946"/>
                      </a:lnTo>
                      <a:lnTo>
                        <a:pt x="296640" y="444213"/>
                      </a:lnTo>
                      <a:lnTo>
                        <a:pt x="295037" y="446192"/>
                      </a:lnTo>
                      <a:lnTo>
                        <a:pt x="294248" y="447164"/>
                      </a:lnTo>
                      <a:lnTo>
                        <a:pt x="293908" y="448366"/>
                      </a:lnTo>
                      <a:lnTo>
                        <a:pt x="293446" y="449981"/>
                      </a:lnTo>
                      <a:lnTo>
                        <a:pt x="293349" y="450333"/>
                      </a:lnTo>
                      <a:lnTo>
                        <a:pt x="293288" y="450697"/>
                      </a:lnTo>
                      <a:lnTo>
                        <a:pt x="292997" y="452555"/>
                      </a:lnTo>
                      <a:lnTo>
                        <a:pt x="292900" y="453187"/>
                      </a:lnTo>
                      <a:lnTo>
                        <a:pt x="292936" y="453830"/>
                      </a:lnTo>
                      <a:lnTo>
                        <a:pt x="293058" y="456137"/>
                      </a:lnTo>
                      <a:lnTo>
                        <a:pt x="292961" y="456502"/>
                      </a:lnTo>
                      <a:lnTo>
                        <a:pt x="292924" y="456587"/>
                      </a:lnTo>
                      <a:lnTo>
                        <a:pt x="291564" y="457509"/>
                      </a:lnTo>
                      <a:lnTo>
                        <a:pt x="288905" y="459319"/>
                      </a:lnTo>
                      <a:lnTo>
                        <a:pt x="288905" y="460448"/>
                      </a:lnTo>
                      <a:lnTo>
                        <a:pt x="288832" y="460533"/>
                      </a:lnTo>
                      <a:lnTo>
                        <a:pt x="287533" y="462160"/>
                      </a:lnTo>
                      <a:lnTo>
                        <a:pt x="287533" y="463107"/>
                      </a:lnTo>
                      <a:lnTo>
                        <a:pt x="287168" y="464006"/>
                      </a:lnTo>
                      <a:lnTo>
                        <a:pt x="286209" y="467115"/>
                      </a:lnTo>
                      <a:lnTo>
                        <a:pt x="286185" y="467151"/>
                      </a:lnTo>
                      <a:lnTo>
                        <a:pt x="285201" y="467515"/>
                      </a:lnTo>
                      <a:lnTo>
                        <a:pt x="283453" y="468147"/>
                      </a:lnTo>
                      <a:lnTo>
                        <a:pt x="282797" y="468292"/>
                      </a:lnTo>
                      <a:lnTo>
                        <a:pt x="282165" y="468426"/>
                      </a:lnTo>
                      <a:lnTo>
                        <a:pt x="279518" y="468681"/>
                      </a:lnTo>
                      <a:lnTo>
                        <a:pt x="278753" y="468754"/>
                      </a:lnTo>
                      <a:lnTo>
                        <a:pt x="278025" y="469021"/>
                      </a:lnTo>
                      <a:lnTo>
                        <a:pt x="276592" y="469543"/>
                      </a:lnTo>
                      <a:lnTo>
                        <a:pt x="275681" y="469871"/>
                      </a:lnTo>
                      <a:lnTo>
                        <a:pt x="274855" y="470490"/>
                      </a:lnTo>
                      <a:lnTo>
                        <a:pt x="274297" y="470940"/>
                      </a:lnTo>
                      <a:lnTo>
                        <a:pt x="274018" y="471049"/>
                      </a:lnTo>
                      <a:lnTo>
                        <a:pt x="273095" y="471899"/>
                      </a:lnTo>
                      <a:lnTo>
                        <a:pt x="272172" y="472785"/>
                      </a:lnTo>
                      <a:lnTo>
                        <a:pt x="271237" y="473672"/>
                      </a:lnTo>
                      <a:lnTo>
                        <a:pt x="270666" y="474206"/>
                      </a:lnTo>
                      <a:lnTo>
                        <a:pt x="270253" y="474874"/>
                      </a:lnTo>
                      <a:lnTo>
                        <a:pt x="269258" y="476465"/>
                      </a:lnTo>
                      <a:lnTo>
                        <a:pt x="268820" y="476902"/>
                      </a:lnTo>
                      <a:lnTo>
                        <a:pt x="268201" y="477375"/>
                      </a:lnTo>
                      <a:lnTo>
                        <a:pt x="267667" y="477655"/>
                      </a:lnTo>
                      <a:lnTo>
                        <a:pt x="267278" y="477849"/>
                      </a:lnTo>
                      <a:lnTo>
                        <a:pt x="263878" y="479512"/>
                      </a:lnTo>
                      <a:lnTo>
                        <a:pt x="263878" y="480059"/>
                      </a:lnTo>
                      <a:lnTo>
                        <a:pt x="257916" y="479525"/>
                      </a:lnTo>
                      <a:lnTo>
                        <a:pt x="257078" y="479452"/>
                      </a:lnTo>
                      <a:lnTo>
                        <a:pt x="256252" y="479610"/>
                      </a:lnTo>
                      <a:lnTo>
                        <a:pt x="252221" y="480375"/>
                      </a:lnTo>
                      <a:lnTo>
                        <a:pt x="251650" y="480484"/>
                      </a:lnTo>
                      <a:lnTo>
                        <a:pt x="251104" y="480703"/>
                      </a:lnTo>
                      <a:lnTo>
                        <a:pt x="250375" y="480994"/>
                      </a:lnTo>
                      <a:lnTo>
                        <a:pt x="249720" y="481249"/>
                      </a:lnTo>
                      <a:lnTo>
                        <a:pt x="249149" y="481650"/>
                      </a:lnTo>
                      <a:lnTo>
                        <a:pt x="246028" y="483835"/>
                      </a:lnTo>
                      <a:lnTo>
                        <a:pt x="245275" y="484224"/>
                      </a:lnTo>
                      <a:lnTo>
                        <a:pt x="245190" y="484248"/>
                      </a:lnTo>
                      <a:lnTo>
                        <a:pt x="245166" y="484248"/>
                      </a:lnTo>
                      <a:lnTo>
                        <a:pt x="242240" y="484078"/>
                      </a:lnTo>
                      <a:lnTo>
                        <a:pt x="240989" y="484005"/>
                      </a:lnTo>
                      <a:lnTo>
                        <a:pt x="239811" y="484443"/>
                      </a:lnTo>
                      <a:lnTo>
                        <a:pt x="238317" y="484989"/>
                      </a:lnTo>
                      <a:lnTo>
                        <a:pt x="234322" y="486446"/>
                      </a:lnTo>
                      <a:lnTo>
                        <a:pt x="234322" y="487357"/>
                      </a:lnTo>
                      <a:lnTo>
                        <a:pt x="230971" y="489713"/>
                      </a:lnTo>
                      <a:lnTo>
                        <a:pt x="230692" y="489907"/>
                      </a:lnTo>
                      <a:lnTo>
                        <a:pt x="230437" y="490138"/>
                      </a:lnTo>
                      <a:lnTo>
                        <a:pt x="228542" y="491825"/>
                      </a:lnTo>
                      <a:lnTo>
                        <a:pt x="228239" y="492093"/>
                      </a:lnTo>
                      <a:lnTo>
                        <a:pt x="227984" y="492396"/>
                      </a:lnTo>
                      <a:lnTo>
                        <a:pt x="227583" y="492870"/>
                      </a:lnTo>
                      <a:lnTo>
                        <a:pt x="226988" y="493113"/>
                      </a:lnTo>
                      <a:lnTo>
                        <a:pt x="225871" y="494995"/>
                      </a:lnTo>
                      <a:lnTo>
                        <a:pt x="224547" y="497326"/>
                      </a:lnTo>
                      <a:lnTo>
                        <a:pt x="224292" y="497788"/>
                      </a:lnTo>
                      <a:lnTo>
                        <a:pt x="224110" y="498298"/>
                      </a:lnTo>
                      <a:lnTo>
                        <a:pt x="222641" y="502450"/>
                      </a:lnTo>
                      <a:lnTo>
                        <a:pt x="222131" y="503446"/>
                      </a:lnTo>
                      <a:lnTo>
                        <a:pt x="216727" y="511291"/>
                      </a:lnTo>
                      <a:lnTo>
                        <a:pt x="216314" y="511898"/>
                      </a:lnTo>
                      <a:lnTo>
                        <a:pt x="216059" y="512578"/>
                      </a:lnTo>
                      <a:lnTo>
                        <a:pt x="215719" y="513464"/>
                      </a:lnTo>
                      <a:lnTo>
                        <a:pt x="215574" y="513841"/>
                      </a:lnTo>
                      <a:lnTo>
                        <a:pt x="215476" y="514229"/>
                      </a:lnTo>
                      <a:lnTo>
                        <a:pt x="215246" y="515213"/>
                      </a:lnTo>
                      <a:lnTo>
                        <a:pt x="214918" y="516597"/>
                      </a:lnTo>
                      <a:lnTo>
                        <a:pt x="215234" y="517981"/>
                      </a:lnTo>
                      <a:lnTo>
                        <a:pt x="215476" y="518977"/>
                      </a:lnTo>
                      <a:lnTo>
                        <a:pt x="215610" y="519584"/>
                      </a:lnTo>
                      <a:lnTo>
                        <a:pt x="215877" y="520155"/>
                      </a:lnTo>
                      <a:lnTo>
                        <a:pt x="216266" y="521017"/>
                      </a:lnTo>
                      <a:lnTo>
                        <a:pt x="216424" y="521345"/>
                      </a:lnTo>
                      <a:lnTo>
                        <a:pt x="216618" y="521661"/>
                      </a:lnTo>
                      <a:lnTo>
                        <a:pt x="217274" y="522717"/>
                      </a:lnTo>
                      <a:lnTo>
                        <a:pt x="215161" y="528327"/>
                      </a:lnTo>
                      <a:lnTo>
                        <a:pt x="214226" y="527817"/>
                      </a:lnTo>
                      <a:lnTo>
                        <a:pt x="213157" y="527659"/>
                      </a:lnTo>
                      <a:lnTo>
                        <a:pt x="211785" y="527453"/>
                      </a:lnTo>
                      <a:lnTo>
                        <a:pt x="211336" y="527380"/>
                      </a:lnTo>
                      <a:lnTo>
                        <a:pt x="210874" y="527380"/>
                      </a:lnTo>
                      <a:lnTo>
                        <a:pt x="209126" y="527356"/>
                      </a:lnTo>
                      <a:lnTo>
                        <a:pt x="208604" y="527356"/>
                      </a:lnTo>
                      <a:lnTo>
                        <a:pt x="208081" y="527441"/>
                      </a:lnTo>
                      <a:lnTo>
                        <a:pt x="206479" y="527696"/>
                      </a:lnTo>
                      <a:lnTo>
                        <a:pt x="206102" y="527756"/>
                      </a:lnTo>
                      <a:lnTo>
                        <a:pt x="205738" y="527866"/>
                      </a:lnTo>
                      <a:lnTo>
                        <a:pt x="204074" y="528351"/>
                      </a:lnTo>
                      <a:lnTo>
                        <a:pt x="203601" y="528485"/>
                      </a:lnTo>
                      <a:lnTo>
                        <a:pt x="203151" y="528704"/>
                      </a:lnTo>
                      <a:lnTo>
                        <a:pt x="200735" y="529857"/>
                      </a:lnTo>
                      <a:lnTo>
                        <a:pt x="198367" y="530962"/>
                      </a:lnTo>
                      <a:lnTo>
                        <a:pt x="195258" y="530391"/>
                      </a:lnTo>
                      <a:lnTo>
                        <a:pt x="193753" y="530221"/>
                      </a:lnTo>
                      <a:lnTo>
                        <a:pt x="193486" y="530197"/>
                      </a:lnTo>
                      <a:lnTo>
                        <a:pt x="192988" y="530197"/>
                      </a:lnTo>
                      <a:lnTo>
                        <a:pt x="192344" y="530197"/>
                      </a:lnTo>
                      <a:lnTo>
                        <a:pt x="191834" y="530197"/>
                      </a:lnTo>
                      <a:lnTo>
                        <a:pt x="191336" y="530282"/>
                      </a:lnTo>
                      <a:lnTo>
                        <a:pt x="185714" y="531229"/>
                      </a:lnTo>
                      <a:lnTo>
                        <a:pt x="185374" y="531290"/>
                      </a:lnTo>
                      <a:lnTo>
                        <a:pt x="185046" y="531375"/>
                      </a:lnTo>
                      <a:lnTo>
                        <a:pt x="184512" y="531533"/>
                      </a:lnTo>
                      <a:lnTo>
                        <a:pt x="183881" y="531812"/>
                      </a:lnTo>
                      <a:lnTo>
                        <a:pt x="182168" y="532662"/>
                      </a:lnTo>
                      <a:lnTo>
                        <a:pt x="181282" y="533111"/>
                      </a:lnTo>
                      <a:lnTo>
                        <a:pt x="180578" y="533816"/>
                      </a:lnTo>
                      <a:lnTo>
                        <a:pt x="179764" y="534629"/>
                      </a:lnTo>
                      <a:lnTo>
                        <a:pt x="179218" y="535139"/>
                      </a:lnTo>
                      <a:lnTo>
                        <a:pt x="178829" y="535783"/>
                      </a:lnTo>
                      <a:lnTo>
                        <a:pt x="178258" y="536730"/>
                      </a:lnTo>
                      <a:lnTo>
                        <a:pt x="177712" y="537653"/>
                      </a:lnTo>
                      <a:lnTo>
                        <a:pt x="177506" y="538697"/>
                      </a:lnTo>
                      <a:lnTo>
                        <a:pt x="177336" y="539584"/>
                      </a:lnTo>
                      <a:lnTo>
                        <a:pt x="177263" y="539972"/>
                      </a:lnTo>
                      <a:lnTo>
                        <a:pt x="177238" y="540361"/>
                      </a:lnTo>
                      <a:lnTo>
                        <a:pt x="177178" y="541332"/>
                      </a:lnTo>
                      <a:lnTo>
                        <a:pt x="177141" y="542607"/>
                      </a:lnTo>
                      <a:lnTo>
                        <a:pt x="176546" y="543603"/>
                      </a:lnTo>
                      <a:lnTo>
                        <a:pt x="176279" y="544076"/>
                      </a:lnTo>
                      <a:lnTo>
                        <a:pt x="176097" y="544586"/>
                      </a:lnTo>
                      <a:lnTo>
                        <a:pt x="175806" y="545388"/>
                      </a:lnTo>
                      <a:lnTo>
                        <a:pt x="175563" y="546044"/>
                      </a:lnTo>
                      <a:lnTo>
                        <a:pt x="175478" y="546736"/>
                      </a:lnTo>
                      <a:lnTo>
                        <a:pt x="175356" y="547744"/>
                      </a:lnTo>
                      <a:lnTo>
                        <a:pt x="175296" y="548290"/>
                      </a:lnTo>
                      <a:lnTo>
                        <a:pt x="175332" y="548837"/>
                      </a:lnTo>
                      <a:lnTo>
                        <a:pt x="175623" y="553524"/>
                      </a:lnTo>
                      <a:lnTo>
                        <a:pt x="174968" y="554568"/>
                      </a:lnTo>
                      <a:lnTo>
                        <a:pt x="174749" y="554908"/>
                      </a:lnTo>
                      <a:lnTo>
                        <a:pt x="174579" y="555284"/>
                      </a:lnTo>
                      <a:lnTo>
                        <a:pt x="174433" y="555600"/>
                      </a:lnTo>
                      <a:lnTo>
                        <a:pt x="174081" y="556450"/>
                      </a:lnTo>
                      <a:lnTo>
                        <a:pt x="173899" y="556984"/>
                      </a:lnTo>
                      <a:lnTo>
                        <a:pt x="173790" y="557652"/>
                      </a:lnTo>
                      <a:lnTo>
                        <a:pt x="173668" y="558514"/>
                      </a:lnTo>
                      <a:lnTo>
                        <a:pt x="173620" y="558927"/>
                      </a:lnTo>
                      <a:lnTo>
                        <a:pt x="173620" y="559340"/>
                      </a:lnTo>
                      <a:lnTo>
                        <a:pt x="173620" y="565278"/>
                      </a:lnTo>
                      <a:lnTo>
                        <a:pt x="173571" y="565606"/>
                      </a:lnTo>
                      <a:lnTo>
                        <a:pt x="173510" y="565837"/>
                      </a:lnTo>
                      <a:lnTo>
                        <a:pt x="172600" y="569492"/>
                      </a:lnTo>
                      <a:lnTo>
                        <a:pt x="171993" y="571180"/>
                      </a:lnTo>
                      <a:lnTo>
                        <a:pt x="170183" y="574191"/>
                      </a:lnTo>
                      <a:lnTo>
                        <a:pt x="169491" y="575345"/>
                      </a:lnTo>
                      <a:lnTo>
                        <a:pt x="168095" y="577664"/>
                      </a:lnTo>
                      <a:lnTo>
                        <a:pt x="168884" y="580250"/>
                      </a:lnTo>
                      <a:lnTo>
                        <a:pt x="170208" y="584585"/>
                      </a:lnTo>
                      <a:lnTo>
                        <a:pt x="170499" y="585557"/>
                      </a:lnTo>
                      <a:lnTo>
                        <a:pt x="171094" y="586370"/>
                      </a:lnTo>
                      <a:lnTo>
                        <a:pt x="178368" y="596376"/>
                      </a:lnTo>
                      <a:lnTo>
                        <a:pt x="179521" y="598574"/>
                      </a:lnTo>
                      <a:lnTo>
                        <a:pt x="180128" y="600250"/>
                      </a:lnTo>
                      <a:lnTo>
                        <a:pt x="180578" y="601464"/>
                      </a:lnTo>
                      <a:lnTo>
                        <a:pt x="181476" y="602399"/>
                      </a:lnTo>
                      <a:lnTo>
                        <a:pt x="182994" y="603965"/>
                      </a:lnTo>
                      <a:lnTo>
                        <a:pt x="185581" y="616667"/>
                      </a:lnTo>
                      <a:lnTo>
                        <a:pt x="185726" y="619521"/>
                      </a:lnTo>
                      <a:lnTo>
                        <a:pt x="185398" y="625871"/>
                      </a:lnTo>
                      <a:lnTo>
                        <a:pt x="185362" y="626284"/>
                      </a:lnTo>
                      <a:lnTo>
                        <a:pt x="185313" y="626806"/>
                      </a:lnTo>
                      <a:lnTo>
                        <a:pt x="185350" y="627328"/>
                      </a:lnTo>
                      <a:lnTo>
                        <a:pt x="185459" y="628701"/>
                      </a:lnTo>
                      <a:lnTo>
                        <a:pt x="185556" y="630704"/>
                      </a:lnTo>
                      <a:lnTo>
                        <a:pt x="185581" y="631178"/>
                      </a:lnTo>
                      <a:lnTo>
                        <a:pt x="185678" y="631639"/>
                      </a:lnTo>
                      <a:lnTo>
                        <a:pt x="185714" y="631809"/>
                      </a:lnTo>
                      <a:lnTo>
                        <a:pt x="185811" y="632271"/>
                      </a:lnTo>
                      <a:lnTo>
                        <a:pt x="189066" y="644584"/>
                      </a:lnTo>
                      <a:lnTo>
                        <a:pt x="190851" y="656629"/>
                      </a:lnTo>
                      <a:lnTo>
                        <a:pt x="190851" y="657577"/>
                      </a:lnTo>
                      <a:lnTo>
                        <a:pt x="191616" y="659094"/>
                      </a:lnTo>
                      <a:lnTo>
                        <a:pt x="202423" y="678414"/>
                      </a:lnTo>
                      <a:lnTo>
                        <a:pt x="202751" y="683392"/>
                      </a:lnTo>
                      <a:lnTo>
                        <a:pt x="200067" y="698098"/>
                      </a:lnTo>
                      <a:lnTo>
                        <a:pt x="199800" y="699567"/>
                      </a:lnTo>
                      <a:lnTo>
                        <a:pt x="200249" y="701000"/>
                      </a:lnTo>
                      <a:lnTo>
                        <a:pt x="201974" y="706537"/>
                      </a:lnTo>
                      <a:lnTo>
                        <a:pt x="202265" y="707484"/>
                      </a:lnTo>
                      <a:lnTo>
                        <a:pt x="202848" y="708285"/>
                      </a:lnTo>
                      <a:lnTo>
                        <a:pt x="204633" y="710775"/>
                      </a:lnTo>
                      <a:lnTo>
                        <a:pt x="205507" y="713045"/>
                      </a:lnTo>
                      <a:lnTo>
                        <a:pt x="206017" y="715875"/>
                      </a:lnTo>
                      <a:lnTo>
                        <a:pt x="206114" y="718303"/>
                      </a:lnTo>
                      <a:lnTo>
                        <a:pt x="205677" y="719627"/>
                      </a:lnTo>
                      <a:lnTo>
                        <a:pt x="202496" y="725966"/>
                      </a:lnTo>
                      <a:lnTo>
                        <a:pt x="201986" y="726973"/>
                      </a:lnTo>
                      <a:lnTo>
                        <a:pt x="201876" y="728103"/>
                      </a:lnTo>
                      <a:lnTo>
                        <a:pt x="201694" y="730058"/>
                      </a:lnTo>
                      <a:lnTo>
                        <a:pt x="201597" y="731102"/>
                      </a:lnTo>
                      <a:lnTo>
                        <a:pt x="201767" y="731770"/>
                      </a:lnTo>
                      <a:lnTo>
                        <a:pt x="201354" y="732984"/>
                      </a:lnTo>
                      <a:lnTo>
                        <a:pt x="200650" y="735097"/>
                      </a:lnTo>
                      <a:lnTo>
                        <a:pt x="201476" y="737161"/>
                      </a:lnTo>
                      <a:lnTo>
                        <a:pt x="202095" y="738716"/>
                      </a:lnTo>
                      <a:lnTo>
                        <a:pt x="202666" y="740136"/>
                      </a:lnTo>
                      <a:lnTo>
                        <a:pt x="203844" y="741120"/>
                      </a:lnTo>
                      <a:lnTo>
                        <a:pt x="208434" y="744945"/>
                      </a:lnTo>
                      <a:lnTo>
                        <a:pt x="209769" y="746694"/>
                      </a:lnTo>
                      <a:lnTo>
                        <a:pt x="211299" y="749620"/>
                      </a:lnTo>
                      <a:lnTo>
                        <a:pt x="212259" y="752219"/>
                      </a:lnTo>
                      <a:lnTo>
                        <a:pt x="211154" y="752595"/>
                      </a:lnTo>
                      <a:lnTo>
                        <a:pt x="210061" y="754902"/>
                      </a:lnTo>
                      <a:lnTo>
                        <a:pt x="209417" y="756274"/>
                      </a:lnTo>
                      <a:lnTo>
                        <a:pt x="208798" y="757586"/>
                      </a:lnTo>
                      <a:lnTo>
                        <a:pt x="208834" y="759043"/>
                      </a:lnTo>
                      <a:lnTo>
                        <a:pt x="208895" y="761047"/>
                      </a:lnTo>
                      <a:lnTo>
                        <a:pt x="208907" y="761581"/>
                      </a:lnTo>
                      <a:lnTo>
                        <a:pt x="209016" y="762103"/>
                      </a:lnTo>
                      <a:lnTo>
                        <a:pt x="210449" y="769024"/>
                      </a:lnTo>
                      <a:lnTo>
                        <a:pt x="210546" y="769462"/>
                      </a:lnTo>
                      <a:lnTo>
                        <a:pt x="210571" y="769534"/>
                      </a:lnTo>
                      <a:lnTo>
                        <a:pt x="209551" y="770214"/>
                      </a:lnTo>
                      <a:lnTo>
                        <a:pt x="207693" y="771441"/>
                      </a:lnTo>
                      <a:lnTo>
                        <a:pt x="207074" y="773590"/>
                      </a:lnTo>
                      <a:lnTo>
                        <a:pt x="205616" y="778581"/>
                      </a:lnTo>
                      <a:lnTo>
                        <a:pt x="204354" y="780050"/>
                      </a:lnTo>
                      <a:lnTo>
                        <a:pt x="204074" y="780366"/>
                      </a:lnTo>
                      <a:lnTo>
                        <a:pt x="203844" y="780718"/>
                      </a:lnTo>
                      <a:lnTo>
                        <a:pt x="202131" y="783365"/>
                      </a:lnTo>
                      <a:lnTo>
                        <a:pt x="200905" y="785260"/>
                      </a:lnTo>
                      <a:lnTo>
                        <a:pt x="201208" y="787494"/>
                      </a:lnTo>
                      <a:lnTo>
                        <a:pt x="201718" y="791210"/>
                      </a:lnTo>
                      <a:lnTo>
                        <a:pt x="201913" y="792582"/>
                      </a:lnTo>
                      <a:lnTo>
                        <a:pt x="202666" y="793735"/>
                      </a:lnTo>
                      <a:lnTo>
                        <a:pt x="204608" y="796674"/>
                      </a:lnTo>
                      <a:lnTo>
                        <a:pt x="206333" y="798847"/>
                      </a:lnTo>
                      <a:lnTo>
                        <a:pt x="205993" y="799770"/>
                      </a:lnTo>
                      <a:lnTo>
                        <a:pt x="205179" y="802053"/>
                      </a:lnTo>
                      <a:lnTo>
                        <a:pt x="204754" y="803268"/>
                      </a:lnTo>
                      <a:lnTo>
                        <a:pt x="204851" y="804542"/>
                      </a:lnTo>
                      <a:lnTo>
                        <a:pt x="205143" y="808453"/>
                      </a:lnTo>
                      <a:lnTo>
                        <a:pt x="205167" y="808829"/>
                      </a:lnTo>
                      <a:lnTo>
                        <a:pt x="205240" y="809193"/>
                      </a:lnTo>
                      <a:lnTo>
                        <a:pt x="205665" y="811355"/>
                      </a:lnTo>
                      <a:lnTo>
                        <a:pt x="202884" y="811063"/>
                      </a:lnTo>
                      <a:lnTo>
                        <a:pt x="202314" y="817730"/>
                      </a:lnTo>
                      <a:lnTo>
                        <a:pt x="202314" y="818118"/>
                      </a:lnTo>
                      <a:lnTo>
                        <a:pt x="202362" y="818701"/>
                      </a:lnTo>
                      <a:lnTo>
                        <a:pt x="202605" y="820620"/>
                      </a:lnTo>
                      <a:lnTo>
                        <a:pt x="202969" y="823473"/>
                      </a:lnTo>
                      <a:lnTo>
                        <a:pt x="205398" y="824991"/>
                      </a:lnTo>
                      <a:lnTo>
                        <a:pt x="207535" y="826339"/>
                      </a:lnTo>
                      <a:lnTo>
                        <a:pt x="210389" y="826096"/>
                      </a:lnTo>
                      <a:lnTo>
                        <a:pt x="210534" y="826096"/>
                      </a:lnTo>
                      <a:lnTo>
                        <a:pt x="210716" y="826424"/>
                      </a:lnTo>
                      <a:lnTo>
                        <a:pt x="211494" y="827820"/>
                      </a:lnTo>
                      <a:lnTo>
                        <a:pt x="212866" y="828646"/>
                      </a:lnTo>
                      <a:lnTo>
                        <a:pt x="216229" y="830686"/>
                      </a:lnTo>
                      <a:lnTo>
                        <a:pt x="216023" y="831208"/>
                      </a:lnTo>
                      <a:lnTo>
                        <a:pt x="215343" y="832289"/>
                      </a:lnTo>
                      <a:lnTo>
                        <a:pt x="214286" y="833989"/>
                      </a:lnTo>
                      <a:lnTo>
                        <a:pt x="214396" y="835398"/>
                      </a:lnTo>
                      <a:lnTo>
                        <a:pt x="212283" y="837304"/>
                      </a:lnTo>
                      <a:lnTo>
                        <a:pt x="208118" y="841068"/>
                      </a:lnTo>
                      <a:lnTo>
                        <a:pt x="211542" y="845513"/>
                      </a:lnTo>
                      <a:lnTo>
                        <a:pt x="214942" y="849921"/>
                      </a:lnTo>
                      <a:lnTo>
                        <a:pt x="215586" y="850746"/>
                      </a:lnTo>
                      <a:lnTo>
                        <a:pt x="216460" y="851317"/>
                      </a:lnTo>
                      <a:lnTo>
                        <a:pt x="222483" y="855203"/>
                      </a:lnTo>
                      <a:lnTo>
                        <a:pt x="222944" y="855494"/>
                      </a:lnTo>
                      <a:lnTo>
                        <a:pt x="223442" y="855701"/>
                      </a:lnTo>
                      <a:lnTo>
                        <a:pt x="234177" y="860181"/>
                      </a:lnTo>
                      <a:lnTo>
                        <a:pt x="238342" y="862695"/>
                      </a:lnTo>
                      <a:lnTo>
                        <a:pt x="239349" y="864456"/>
                      </a:lnTo>
                      <a:lnTo>
                        <a:pt x="240236" y="866010"/>
                      </a:lnTo>
                      <a:lnTo>
                        <a:pt x="241814" y="866836"/>
                      </a:lnTo>
                      <a:lnTo>
                        <a:pt x="244231" y="868099"/>
                      </a:lnTo>
                      <a:lnTo>
                        <a:pt x="247935" y="870066"/>
                      </a:lnTo>
                      <a:lnTo>
                        <a:pt x="248894" y="870576"/>
                      </a:lnTo>
                      <a:lnTo>
                        <a:pt x="249962" y="870722"/>
                      </a:lnTo>
                      <a:lnTo>
                        <a:pt x="253059" y="871146"/>
                      </a:lnTo>
                      <a:lnTo>
                        <a:pt x="254504" y="871341"/>
                      </a:lnTo>
                      <a:lnTo>
                        <a:pt x="255876" y="870855"/>
                      </a:lnTo>
                      <a:lnTo>
                        <a:pt x="257151" y="870406"/>
                      </a:lnTo>
                      <a:lnTo>
                        <a:pt x="257697" y="870212"/>
                      </a:lnTo>
                      <a:lnTo>
                        <a:pt x="258195" y="869920"/>
                      </a:lnTo>
                      <a:lnTo>
                        <a:pt x="261110" y="868439"/>
                      </a:lnTo>
                      <a:lnTo>
                        <a:pt x="262045" y="868184"/>
                      </a:lnTo>
                      <a:lnTo>
                        <a:pt x="264376" y="867856"/>
                      </a:lnTo>
                      <a:lnTo>
                        <a:pt x="269221" y="867686"/>
                      </a:lnTo>
                      <a:lnTo>
                        <a:pt x="271237" y="868184"/>
                      </a:lnTo>
                      <a:lnTo>
                        <a:pt x="272961" y="869070"/>
                      </a:lnTo>
                      <a:lnTo>
                        <a:pt x="273823" y="869884"/>
                      </a:lnTo>
                      <a:lnTo>
                        <a:pt x="274127" y="870248"/>
                      </a:lnTo>
                      <a:lnTo>
                        <a:pt x="274345" y="870564"/>
                      </a:lnTo>
                      <a:lnTo>
                        <a:pt x="274540" y="870928"/>
                      </a:lnTo>
                      <a:lnTo>
                        <a:pt x="277709" y="876101"/>
                      </a:lnTo>
                      <a:lnTo>
                        <a:pt x="277915" y="876429"/>
                      </a:lnTo>
                      <a:lnTo>
                        <a:pt x="278158" y="876732"/>
                      </a:lnTo>
                      <a:lnTo>
                        <a:pt x="279300" y="878141"/>
                      </a:lnTo>
                      <a:lnTo>
                        <a:pt x="280150" y="879185"/>
                      </a:lnTo>
                      <a:lnTo>
                        <a:pt x="281364" y="879780"/>
                      </a:lnTo>
                      <a:lnTo>
                        <a:pt x="344009" y="910356"/>
                      </a:lnTo>
                      <a:lnTo>
                        <a:pt x="348721" y="912651"/>
                      </a:lnTo>
                      <a:lnTo>
                        <a:pt x="351684" y="908328"/>
                      </a:lnTo>
                      <a:lnTo>
                        <a:pt x="352777" y="906737"/>
                      </a:lnTo>
                      <a:lnTo>
                        <a:pt x="352995" y="906434"/>
                      </a:lnTo>
                      <a:lnTo>
                        <a:pt x="353165" y="906106"/>
                      </a:lnTo>
                      <a:lnTo>
                        <a:pt x="355181" y="902196"/>
                      </a:lnTo>
                      <a:lnTo>
                        <a:pt x="355667" y="901249"/>
                      </a:lnTo>
                      <a:lnTo>
                        <a:pt x="355800" y="900205"/>
                      </a:lnTo>
                      <a:lnTo>
                        <a:pt x="356371" y="895857"/>
                      </a:lnTo>
                      <a:lnTo>
                        <a:pt x="356505" y="894825"/>
                      </a:lnTo>
                      <a:lnTo>
                        <a:pt x="356286" y="893805"/>
                      </a:lnTo>
                      <a:lnTo>
                        <a:pt x="354100" y="883557"/>
                      </a:lnTo>
                      <a:lnTo>
                        <a:pt x="353663" y="873478"/>
                      </a:lnTo>
                      <a:lnTo>
                        <a:pt x="353615" y="872361"/>
                      </a:lnTo>
                      <a:lnTo>
                        <a:pt x="353165" y="871341"/>
                      </a:lnTo>
                      <a:lnTo>
                        <a:pt x="351149" y="866678"/>
                      </a:lnTo>
                      <a:lnTo>
                        <a:pt x="350372" y="864869"/>
                      </a:lnTo>
                      <a:lnTo>
                        <a:pt x="348685" y="863861"/>
                      </a:lnTo>
                      <a:lnTo>
                        <a:pt x="343585" y="860825"/>
                      </a:lnTo>
                      <a:lnTo>
                        <a:pt x="342589" y="860230"/>
                      </a:lnTo>
                      <a:lnTo>
                        <a:pt x="341435" y="860048"/>
                      </a:lnTo>
                      <a:lnTo>
                        <a:pt x="325006" y="857437"/>
                      </a:lnTo>
                      <a:lnTo>
                        <a:pt x="320100" y="854754"/>
                      </a:lnTo>
                      <a:lnTo>
                        <a:pt x="310495" y="842234"/>
                      </a:lnTo>
                      <a:lnTo>
                        <a:pt x="310204" y="841858"/>
                      </a:lnTo>
                      <a:lnTo>
                        <a:pt x="309851" y="841530"/>
                      </a:lnTo>
                      <a:lnTo>
                        <a:pt x="303707" y="835701"/>
                      </a:lnTo>
                      <a:lnTo>
                        <a:pt x="303319" y="835325"/>
                      </a:lnTo>
                      <a:lnTo>
                        <a:pt x="302869" y="835021"/>
                      </a:lnTo>
                      <a:lnTo>
                        <a:pt x="296518" y="830844"/>
                      </a:lnTo>
                      <a:lnTo>
                        <a:pt x="292791" y="827201"/>
                      </a:lnTo>
                      <a:lnTo>
                        <a:pt x="291200" y="823182"/>
                      </a:lnTo>
                      <a:lnTo>
                        <a:pt x="291601" y="816588"/>
                      </a:lnTo>
                      <a:lnTo>
                        <a:pt x="292183" y="815459"/>
                      </a:lnTo>
                      <a:lnTo>
                        <a:pt x="293276" y="814730"/>
                      </a:lnTo>
                      <a:lnTo>
                        <a:pt x="299676" y="812363"/>
                      </a:lnTo>
                      <a:lnTo>
                        <a:pt x="300392" y="812095"/>
                      </a:lnTo>
                      <a:lnTo>
                        <a:pt x="301011" y="811658"/>
                      </a:lnTo>
                      <a:lnTo>
                        <a:pt x="304120" y="809509"/>
                      </a:lnTo>
                      <a:lnTo>
                        <a:pt x="304606" y="809181"/>
                      </a:lnTo>
                      <a:lnTo>
                        <a:pt x="305019" y="808756"/>
                      </a:lnTo>
                      <a:lnTo>
                        <a:pt x="307483" y="806230"/>
                      </a:lnTo>
                      <a:lnTo>
                        <a:pt x="307836" y="805866"/>
                      </a:lnTo>
                      <a:lnTo>
                        <a:pt x="308127" y="805441"/>
                      </a:lnTo>
                      <a:lnTo>
                        <a:pt x="310191" y="802454"/>
                      </a:lnTo>
                      <a:lnTo>
                        <a:pt x="310422" y="802114"/>
                      </a:lnTo>
                      <a:lnTo>
                        <a:pt x="310604" y="801750"/>
                      </a:lnTo>
                      <a:lnTo>
                        <a:pt x="312377" y="798252"/>
                      </a:lnTo>
                      <a:lnTo>
                        <a:pt x="312535" y="797961"/>
                      </a:lnTo>
                      <a:lnTo>
                        <a:pt x="312644" y="797657"/>
                      </a:lnTo>
                      <a:lnTo>
                        <a:pt x="318400" y="782382"/>
                      </a:lnTo>
                      <a:lnTo>
                        <a:pt x="318521" y="782066"/>
                      </a:lnTo>
                      <a:lnTo>
                        <a:pt x="318606" y="781738"/>
                      </a:lnTo>
                      <a:lnTo>
                        <a:pt x="322674" y="765709"/>
                      </a:lnTo>
                      <a:lnTo>
                        <a:pt x="323063" y="764179"/>
                      </a:lnTo>
                      <a:lnTo>
                        <a:pt x="322650" y="762662"/>
                      </a:lnTo>
                      <a:lnTo>
                        <a:pt x="319554" y="751077"/>
                      </a:lnTo>
                      <a:lnTo>
                        <a:pt x="319019" y="749049"/>
                      </a:lnTo>
                      <a:lnTo>
                        <a:pt x="317344" y="747786"/>
                      </a:lnTo>
                      <a:lnTo>
                        <a:pt x="307350" y="740258"/>
                      </a:lnTo>
                      <a:lnTo>
                        <a:pt x="306925" y="739942"/>
                      </a:lnTo>
                      <a:lnTo>
                        <a:pt x="306451" y="739699"/>
                      </a:lnTo>
                      <a:lnTo>
                        <a:pt x="295013" y="733871"/>
                      </a:lnTo>
                      <a:lnTo>
                        <a:pt x="287569" y="727848"/>
                      </a:lnTo>
                      <a:lnTo>
                        <a:pt x="286865" y="726548"/>
                      </a:lnTo>
                      <a:lnTo>
                        <a:pt x="286221" y="724521"/>
                      </a:lnTo>
                      <a:lnTo>
                        <a:pt x="285918" y="722383"/>
                      </a:lnTo>
                      <a:lnTo>
                        <a:pt x="286306" y="717271"/>
                      </a:lnTo>
                      <a:lnTo>
                        <a:pt x="286792" y="714940"/>
                      </a:lnTo>
                      <a:lnTo>
                        <a:pt x="287326" y="713228"/>
                      </a:lnTo>
                      <a:lnTo>
                        <a:pt x="288176" y="711394"/>
                      </a:lnTo>
                      <a:lnTo>
                        <a:pt x="294005" y="701631"/>
                      </a:lnTo>
                      <a:lnTo>
                        <a:pt x="296336" y="699591"/>
                      </a:lnTo>
                      <a:lnTo>
                        <a:pt x="314830" y="696592"/>
                      </a:lnTo>
                      <a:lnTo>
                        <a:pt x="315559" y="696470"/>
                      </a:lnTo>
                      <a:lnTo>
                        <a:pt x="316239" y="696179"/>
                      </a:lnTo>
                      <a:lnTo>
                        <a:pt x="322844" y="693362"/>
                      </a:lnTo>
                      <a:lnTo>
                        <a:pt x="323367" y="693131"/>
                      </a:lnTo>
                      <a:lnTo>
                        <a:pt x="323840" y="692815"/>
                      </a:lnTo>
                      <a:lnTo>
                        <a:pt x="330385" y="688420"/>
                      </a:lnTo>
                      <a:lnTo>
                        <a:pt x="330786" y="688152"/>
                      </a:lnTo>
                      <a:lnTo>
                        <a:pt x="331138" y="687825"/>
                      </a:lnTo>
                      <a:lnTo>
                        <a:pt x="336250" y="683065"/>
                      </a:lnTo>
                      <a:lnTo>
                        <a:pt x="336712" y="682640"/>
                      </a:lnTo>
                      <a:lnTo>
                        <a:pt x="337076" y="682130"/>
                      </a:lnTo>
                      <a:lnTo>
                        <a:pt x="341374" y="676022"/>
                      </a:lnTo>
                      <a:lnTo>
                        <a:pt x="341994" y="675147"/>
                      </a:lnTo>
                      <a:lnTo>
                        <a:pt x="342273" y="674115"/>
                      </a:lnTo>
                      <a:lnTo>
                        <a:pt x="344119" y="667327"/>
                      </a:lnTo>
                      <a:lnTo>
                        <a:pt x="344617" y="665494"/>
                      </a:lnTo>
                      <a:lnTo>
                        <a:pt x="343985" y="663709"/>
                      </a:lnTo>
                      <a:lnTo>
                        <a:pt x="341569" y="656909"/>
                      </a:lnTo>
                      <a:lnTo>
                        <a:pt x="340889" y="655002"/>
                      </a:lnTo>
                      <a:lnTo>
                        <a:pt x="339201" y="653885"/>
                      </a:lnTo>
                      <a:lnTo>
                        <a:pt x="333348" y="649987"/>
                      </a:lnTo>
                      <a:lnTo>
                        <a:pt x="331733" y="648906"/>
                      </a:lnTo>
                      <a:lnTo>
                        <a:pt x="329778" y="648979"/>
                      </a:lnTo>
                      <a:lnTo>
                        <a:pt x="323002" y="649210"/>
                      </a:lnTo>
                      <a:lnTo>
                        <a:pt x="322431" y="649222"/>
                      </a:lnTo>
                      <a:lnTo>
                        <a:pt x="321861" y="649356"/>
                      </a:lnTo>
                      <a:lnTo>
                        <a:pt x="315255" y="650861"/>
                      </a:lnTo>
                      <a:lnTo>
                        <a:pt x="310216" y="651129"/>
                      </a:lnTo>
                      <a:lnTo>
                        <a:pt x="301327" y="648129"/>
                      </a:lnTo>
                      <a:lnTo>
                        <a:pt x="300562" y="647874"/>
                      </a:lnTo>
                      <a:lnTo>
                        <a:pt x="299761" y="647826"/>
                      </a:lnTo>
                      <a:lnTo>
                        <a:pt x="295984" y="647595"/>
                      </a:lnTo>
                      <a:lnTo>
                        <a:pt x="295061" y="647534"/>
                      </a:lnTo>
                      <a:lnTo>
                        <a:pt x="294163" y="647753"/>
                      </a:lnTo>
                      <a:lnTo>
                        <a:pt x="282639" y="650582"/>
                      </a:lnTo>
                      <a:lnTo>
                        <a:pt x="279397" y="649975"/>
                      </a:lnTo>
                      <a:lnTo>
                        <a:pt x="275742" y="647449"/>
                      </a:lnTo>
                      <a:lnTo>
                        <a:pt x="272791" y="643576"/>
                      </a:lnTo>
                      <a:lnTo>
                        <a:pt x="271795" y="639994"/>
                      </a:lnTo>
                      <a:lnTo>
                        <a:pt x="272645" y="636727"/>
                      </a:lnTo>
                      <a:lnTo>
                        <a:pt x="275171" y="634250"/>
                      </a:lnTo>
                      <a:lnTo>
                        <a:pt x="285505" y="629150"/>
                      </a:lnTo>
                      <a:lnTo>
                        <a:pt x="286258" y="628773"/>
                      </a:lnTo>
                      <a:lnTo>
                        <a:pt x="286877" y="628203"/>
                      </a:lnTo>
                      <a:lnTo>
                        <a:pt x="290374" y="625046"/>
                      </a:lnTo>
                      <a:lnTo>
                        <a:pt x="292026" y="623540"/>
                      </a:lnTo>
                      <a:lnTo>
                        <a:pt x="292317" y="621330"/>
                      </a:lnTo>
                      <a:lnTo>
                        <a:pt x="292888" y="617043"/>
                      </a:lnTo>
                      <a:lnTo>
                        <a:pt x="293070" y="615683"/>
                      </a:lnTo>
                      <a:lnTo>
                        <a:pt x="292645" y="614384"/>
                      </a:lnTo>
                      <a:lnTo>
                        <a:pt x="291163" y="609794"/>
                      </a:lnTo>
                      <a:lnTo>
                        <a:pt x="290908" y="609041"/>
                      </a:lnTo>
                      <a:lnTo>
                        <a:pt x="290496" y="608361"/>
                      </a:lnTo>
                      <a:lnTo>
                        <a:pt x="288225" y="604828"/>
                      </a:lnTo>
                      <a:lnTo>
                        <a:pt x="284242" y="594870"/>
                      </a:lnTo>
                      <a:lnTo>
                        <a:pt x="283865" y="593923"/>
                      </a:lnTo>
                      <a:lnTo>
                        <a:pt x="283210" y="593158"/>
                      </a:lnTo>
                      <a:lnTo>
                        <a:pt x="280113" y="589564"/>
                      </a:lnTo>
                      <a:lnTo>
                        <a:pt x="278523" y="587718"/>
                      </a:lnTo>
                      <a:lnTo>
                        <a:pt x="276094" y="587488"/>
                      </a:lnTo>
                      <a:lnTo>
                        <a:pt x="270411" y="586941"/>
                      </a:lnTo>
                      <a:lnTo>
                        <a:pt x="269816" y="586880"/>
                      </a:lnTo>
                      <a:lnTo>
                        <a:pt x="269221" y="586941"/>
                      </a:lnTo>
                      <a:lnTo>
                        <a:pt x="264595" y="587415"/>
                      </a:lnTo>
                      <a:lnTo>
                        <a:pt x="261170" y="586941"/>
                      </a:lnTo>
                      <a:lnTo>
                        <a:pt x="257685" y="585630"/>
                      </a:lnTo>
                      <a:lnTo>
                        <a:pt x="254176" y="583699"/>
                      </a:lnTo>
                      <a:lnTo>
                        <a:pt x="251832" y="581355"/>
                      </a:lnTo>
                      <a:lnTo>
                        <a:pt x="251189" y="579097"/>
                      </a:lnTo>
                      <a:lnTo>
                        <a:pt x="251662" y="576377"/>
                      </a:lnTo>
                      <a:lnTo>
                        <a:pt x="253472" y="573596"/>
                      </a:lnTo>
                      <a:lnTo>
                        <a:pt x="254115" y="573135"/>
                      </a:lnTo>
                      <a:lnTo>
                        <a:pt x="258341" y="571010"/>
                      </a:lnTo>
                      <a:lnTo>
                        <a:pt x="259240" y="570560"/>
                      </a:lnTo>
                      <a:lnTo>
                        <a:pt x="259944" y="569832"/>
                      </a:lnTo>
                      <a:lnTo>
                        <a:pt x="261607" y="568132"/>
                      </a:lnTo>
                      <a:lnTo>
                        <a:pt x="262482" y="567245"/>
                      </a:lnTo>
                      <a:lnTo>
                        <a:pt x="262931" y="566079"/>
                      </a:lnTo>
                      <a:lnTo>
                        <a:pt x="263915" y="563529"/>
                      </a:lnTo>
                      <a:lnTo>
                        <a:pt x="264291" y="562546"/>
                      </a:lnTo>
                      <a:lnTo>
                        <a:pt x="264315" y="561502"/>
                      </a:lnTo>
                      <a:lnTo>
                        <a:pt x="264485" y="555151"/>
                      </a:lnTo>
                      <a:lnTo>
                        <a:pt x="265943" y="552844"/>
                      </a:lnTo>
                      <a:lnTo>
                        <a:pt x="273811" y="547646"/>
                      </a:lnTo>
                      <a:lnTo>
                        <a:pt x="274819" y="546979"/>
                      </a:lnTo>
                      <a:lnTo>
                        <a:pt x="275499" y="545971"/>
                      </a:lnTo>
                      <a:lnTo>
                        <a:pt x="278328" y="541745"/>
                      </a:lnTo>
                      <a:lnTo>
                        <a:pt x="279373" y="540191"/>
                      </a:lnTo>
                      <a:lnTo>
                        <a:pt x="279361" y="538309"/>
                      </a:lnTo>
                      <a:lnTo>
                        <a:pt x="279300" y="532286"/>
                      </a:lnTo>
                      <a:lnTo>
                        <a:pt x="279300" y="531509"/>
                      </a:lnTo>
                      <a:lnTo>
                        <a:pt x="279093" y="530756"/>
                      </a:lnTo>
                      <a:lnTo>
                        <a:pt x="277867" y="526251"/>
                      </a:lnTo>
                      <a:lnTo>
                        <a:pt x="277952" y="525061"/>
                      </a:lnTo>
                      <a:lnTo>
                        <a:pt x="280696" y="522911"/>
                      </a:lnTo>
                      <a:lnTo>
                        <a:pt x="281874" y="522377"/>
                      </a:lnTo>
                      <a:lnTo>
                        <a:pt x="310847" y="517690"/>
                      </a:lnTo>
                      <a:lnTo>
                        <a:pt x="311709" y="517544"/>
                      </a:lnTo>
                      <a:lnTo>
                        <a:pt x="312499" y="517168"/>
                      </a:lnTo>
                      <a:lnTo>
                        <a:pt x="317368" y="514836"/>
                      </a:lnTo>
                      <a:lnTo>
                        <a:pt x="317805" y="514618"/>
                      </a:lnTo>
                      <a:lnTo>
                        <a:pt x="318206" y="514338"/>
                      </a:lnTo>
                      <a:lnTo>
                        <a:pt x="331587" y="505049"/>
                      </a:lnTo>
                      <a:lnTo>
                        <a:pt x="342139" y="501127"/>
                      </a:lnTo>
                      <a:lnTo>
                        <a:pt x="352412" y="500277"/>
                      </a:lnTo>
                      <a:lnTo>
                        <a:pt x="363013" y="501989"/>
                      </a:lnTo>
                      <a:lnTo>
                        <a:pt x="409946" y="517981"/>
                      </a:lnTo>
                      <a:lnTo>
                        <a:pt x="410358" y="518127"/>
                      </a:lnTo>
                      <a:lnTo>
                        <a:pt x="410783" y="518200"/>
                      </a:lnTo>
                      <a:lnTo>
                        <a:pt x="476987" y="530598"/>
                      </a:lnTo>
                      <a:lnTo>
                        <a:pt x="477691" y="530731"/>
                      </a:lnTo>
                      <a:lnTo>
                        <a:pt x="478408" y="530707"/>
                      </a:lnTo>
                      <a:lnTo>
                        <a:pt x="495869" y="529881"/>
                      </a:lnTo>
                      <a:lnTo>
                        <a:pt x="496330" y="529857"/>
                      </a:lnTo>
                      <a:lnTo>
                        <a:pt x="496780" y="529772"/>
                      </a:lnTo>
                      <a:lnTo>
                        <a:pt x="508376" y="527416"/>
                      </a:lnTo>
                      <a:lnTo>
                        <a:pt x="512942" y="527477"/>
                      </a:lnTo>
                      <a:lnTo>
                        <a:pt x="513683" y="527939"/>
                      </a:lnTo>
                      <a:lnTo>
                        <a:pt x="514909" y="528691"/>
                      </a:lnTo>
                      <a:lnTo>
                        <a:pt x="516949" y="531642"/>
                      </a:lnTo>
                      <a:lnTo>
                        <a:pt x="517216" y="532031"/>
                      </a:lnTo>
                      <a:lnTo>
                        <a:pt x="517544" y="532371"/>
                      </a:lnTo>
                      <a:lnTo>
                        <a:pt x="520531" y="535504"/>
                      </a:lnTo>
                      <a:lnTo>
                        <a:pt x="520956" y="535953"/>
                      </a:lnTo>
                      <a:lnTo>
                        <a:pt x="521466" y="536305"/>
                      </a:lnTo>
                      <a:lnTo>
                        <a:pt x="528874" y="541441"/>
                      </a:lnTo>
                      <a:lnTo>
                        <a:pt x="529311" y="541745"/>
                      </a:lnTo>
                      <a:lnTo>
                        <a:pt x="529796" y="541976"/>
                      </a:lnTo>
                      <a:lnTo>
                        <a:pt x="537544" y="545534"/>
                      </a:lnTo>
                      <a:lnTo>
                        <a:pt x="538054" y="545764"/>
                      </a:lnTo>
                      <a:lnTo>
                        <a:pt x="538588" y="545898"/>
                      </a:lnTo>
                      <a:lnTo>
                        <a:pt x="587973" y="558357"/>
                      </a:lnTo>
                      <a:lnTo>
                        <a:pt x="588605" y="558514"/>
                      </a:lnTo>
                      <a:lnTo>
                        <a:pt x="589248" y="558527"/>
                      </a:lnTo>
                      <a:lnTo>
                        <a:pt x="597518" y="558818"/>
                      </a:lnTo>
                      <a:lnTo>
                        <a:pt x="598295" y="558842"/>
                      </a:lnTo>
                      <a:lnTo>
                        <a:pt x="599060" y="558672"/>
                      </a:lnTo>
                      <a:lnTo>
                        <a:pt x="609308" y="556365"/>
                      </a:lnTo>
                      <a:lnTo>
                        <a:pt x="612198" y="556365"/>
                      </a:lnTo>
                      <a:lnTo>
                        <a:pt x="619751" y="557324"/>
                      </a:lnTo>
                      <a:lnTo>
                        <a:pt x="620856" y="557470"/>
                      </a:lnTo>
                      <a:lnTo>
                        <a:pt x="621937" y="557203"/>
                      </a:lnTo>
                      <a:lnTo>
                        <a:pt x="625434" y="556353"/>
                      </a:lnTo>
                      <a:lnTo>
                        <a:pt x="626697" y="556049"/>
                      </a:lnTo>
                      <a:lnTo>
                        <a:pt x="627729" y="555248"/>
                      </a:lnTo>
                      <a:lnTo>
                        <a:pt x="631518" y="552309"/>
                      </a:lnTo>
                      <a:lnTo>
                        <a:pt x="631773" y="552103"/>
                      </a:lnTo>
                      <a:lnTo>
                        <a:pt x="632004" y="551872"/>
                      </a:lnTo>
                      <a:lnTo>
                        <a:pt x="642531" y="541709"/>
                      </a:lnTo>
                      <a:lnTo>
                        <a:pt x="653557" y="533949"/>
                      </a:lnTo>
                      <a:lnTo>
                        <a:pt x="657698" y="532735"/>
                      </a:lnTo>
                      <a:lnTo>
                        <a:pt x="658293" y="532565"/>
                      </a:lnTo>
                      <a:lnTo>
                        <a:pt x="658839" y="532274"/>
                      </a:lnTo>
                      <a:lnTo>
                        <a:pt x="660151" y="531581"/>
                      </a:lnTo>
                      <a:lnTo>
                        <a:pt x="661183" y="531035"/>
                      </a:lnTo>
                      <a:lnTo>
                        <a:pt x="661936" y="530149"/>
                      </a:lnTo>
                      <a:lnTo>
                        <a:pt x="664401" y="527246"/>
                      </a:lnTo>
                      <a:lnTo>
                        <a:pt x="664668" y="526919"/>
                      </a:lnTo>
                      <a:lnTo>
                        <a:pt x="664899" y="526554"/>
                      </a:lnTo>
                      <a:lnTo>
                        <a:pt x="668299" y="521175"/>
                      </a:lnTo>
                      <a:lnTo>
                        <a:pt x="669404" y="520240"/>
                      </a:lnTo>
                      <a:lnTo>
                        <a:pt x="672658" y="519584"/>
                      </a:lnTo>
                      <a:lnTo>
                        <a:pt x="682919" y="523676"/>
                      </a:lnTo>
                      <a:lnTo>
                        <a:pt x="684060" y="524138"/>
                      </a:lnTo>
                      <a:lnTo>
                        <a:pt x="685299" y="524113"/>
                      </a:lnTo>
                      <a:lnTo>
                        <a:pt x="691492" y="523980"/>
                      </a:lnTo>
                      <a:lnTo>
                        <a:pt x="692148" y="523968"/>
                      </a:lnTo>
                      <a:lnTo>
                        <a:pt x="692791" y="523810"/>
                      </a:lnTo>
                      <a:lnTo>
                        <a:pt x="712888" y="518928"/>
                      </a:lnTo>
                      <a:lnTo>
                        <a:pt x="713653" y="518746"/>
                      </a:lnTo>
                      <a:lnTo>
                        <a:pt x="714345" y="518370"/>
                      </a:lnTo>
                      <a:lnTo>
                        <a:pt x="739784" y="504576"/>
                      </a:lnTo>
                      <a:lnTo>
                        <a:pt x="745091" y="502657"/>
                      </a:lnTo>
                      <a:lnTo>
                        <a:pt x="749353" y="503313"/>
                      </a:lnTo>
                      <a:lnTo>
                        <a:pt x="756347" y="508170"/>
                      </a:lnTo>
                      <a:lnTo>
                        <a:pt x="757039" y="508656"/>
                      </a:lnTo>
                      <a:lnTo>
                        <a:pt x="757829" y="508923"/>
                      </a:lnTo>
                      <a:lnTo>
                        <a:pt x="760816" y="509955"/>
                      </a:lnTo>
                      <a:lnTo>
                        <a:pt x="761714" y="510258"/>
                      </a:lnTo>
                      <a:lnTo>
                        <a:pt x="762674" y="510283"/>
                      </a:lnTo>
                      <a:lnTo>
                        <a:pt x="765952" y="510356"/>
                      </a:lnTo>
                      <a:lnTo>
                        <a:pt x="766620" y="510368"/>
                      </a:lnTo>
                      <a:lnTo>
                        <a:pt x="767276" y="510234"/>
                      </a:lnTo>
                      <a:lnTo>
                        <a:pt x="783462" y="506992"/>
                      </a:lnTo>
                      <a:lnTo>
                        <a:pt x="784264" y="506834"/>
                      </a:lnTo>
                      <a:lnTo>
                        <a:pt x="785005" y="506458"/>
                      </a:lnTo>
                      <a:lnTo>
                        <a:pt x="787433" y="505231"/>
                      </a:lnTo>
                      <a:lnTo>
                        <a:pt x="788150" y="504867"/>
                      </a:lnTo>
                      <a:lnTo>
                        <a:pt x="788745" y="504333"/>
                      </a:lnTo>
                      <a:lnTo>
                        <a:pt x="805902" y="488996"/>
                      </a:lnTo>
                      <a:lnTo>
                        <a:pt x="806910" y="488098"/>
                      </a:lnTo>
                      <a:lnTo>
                        <a:pt x="807433" y="486859"/>
                      </a:lnTo>
                      <a:lnTo>
                        <a:pt x="809169" y="482815"/>
                      </a:lnTo>
                      <a:lnTo>
                        <a:pt x="809740" y="481492"/>
                      </a:lnTo>
                      <a:lnTo>
                        <a:pt x="809655" y="480047"/>
                      </a:lnTo>
                      <a:lnTo>
                        <a:pt x="809023" y="469774"/>
                      </a:lnTo>
                      <a:lnTo>
                        <a:pt x="809643" y="467831"/>
                      </a:lnTo>
                      <a:lnTo>
                        <a:pt x="811768" y="466265"/>
                      </a:lnTo>
                      <a:lnTo>
                        <a:pt x="816770" y="464686"/>
                      </a:lnTo>
                      <a:lnTo>
                        <a:pt x="821725" y="464285"/>
                      </a:lnTo>
                      <a:lnTo>
                        <a:pt x="824943" y="465111"/>
                      </a:lnTo>
                      <a:lnTo>
                        <a:pt x="829120" y="467625"/>
                      </a:lnTo>
                      <a:lnTo>
                        <a:pt x="830067" y="468195"/>
                      </a:lnTo>
                      <a:lnTo>
                        <a:pt x="831160" y="468402"/>
                      </a:lnTo>
                      <a:lnTo>
                        <a:pt x="834038" y="468924"/>
                      </a:lnTo>
                      <a:lnTo>
                        <a:pt x="836636" y="469397"/>
                      </a:lnTo>
                      <a:lnTo>
                        <a:pt x="838749" y="467819"/>
                      </a:lnTo>
                      <a:lnTo>
                        <a:pt x="841093" y="466070"/>
                      </a:lnTo>
                      <a:lnTo>
                        <a:pt x="841481" y="465779"/>
                      </a:lnTo>
                      <a:lnTo>
                        <a:pt x="841821" y="465427"/>
                      </a:lnTo>
                      <a:lnTo>
                        <a:pt x="845112" y="462027"/>
                      </a:lnTo>
                      <a:lnTo>
                        <a:pt x="855992" y="453854"/>
                      </a:lnTo>
                      <a:lnTo>
                        <a:pt x="856587" y="453405"/>
                      </a:lnTo>
                      <a:lnTo>
                        <a:pt x="857061" y="452822"/>
                      </a:lnTo>
                      <a:lnTo>
                        <a:pt x="859987" y="449204"/>
                      </a:lnTo>
                      <a:lnTo>
                        <a:pt x="860971" y="447989"/>
                      </a:lnTo>
                      <a:lnTo>
                        <a:pt x="861238" y="446459"/>
                      </a:lnTo>
                      <a:lnTo>
                        <a:pt x="862428" y="439854"/>
                      </a:lnTo>
                      <a:lnTo>
                        <a:pt x="862659" y="438554"/>
                      </a:lnTo>
                      <a:lnTo>
                        <a:pt x="862331" y="437279"/>
                      </a:lnTo>
                      <a:lnTo>
                        <a:pt x="860922" y="431754"/>
                      </a:lnTo>
                      <a:lnTo>
                        <a:pt x="860619" y="429556"/>
                      </a:lnTo>
                      <a:lnTo>
                        <a:pt x="861881" y="428026"/>
                      </a:lnTo>
                      <a:lnTo>
                        <a:pt x="862161" y="427856"/>
                      </a:lnTo>
                      <a:lnTo>
                        <a:pt x="866799" y="425088"/>
                      </a:lnTo>
                      <a:lnTo>
                        <a:pt x="864601" y="420158"/>
                      </a:lnTo>
                      <a:lnTo>
                        <a:pt x="839174" y="363171"/>
                      </a:lnTo>
                      <a:lnTo>
                        <a:pt x="818033" y="315814"/>
                      </a:lnTo>
                      <a:lnTo>
                        <a:pt x="818422" y="316226"/>
                      </a:lnTo>
                      <a:lnTo>
                        <a:pt x="822611" y="321836"/>
                      </a:lnTo>
                      <a:lnTo>
                        <a:pt x="823085" y="322480"/>
                      </a:lnTo>
                      <a:lnTo>
                        <a:pt x="823716" y="322978"/>
                      </a:lnTo>
                      <a:lnTo>
                        <a:pt x="826704" y="325334"/>
                      </a:lnTo>
                      <a:lnTo>
                        <a:pt x="827420" y="325892"/>
                      </a:lnTo>
                      <a:lnTo>
                        <a:pt x="828258" y="326220"/>
                      </a:lnTo>
                      <a:lnTo>
                        <a:pt x="831755" y="327592"/>
                      </a:lnTo>
                      <a:lnTo>
                        <a:pt x="832253" y="327786"/>
                      </a:lnTo>
                      <a:lnTo>
                        <a:pt x="832775" y="327896"/>
                      </a:lnTo>
                      <a:lnTo>
                        <a:pt x="836636" y="328673"/>
                      </a:lnTo>
                      <a:lnTo>
                        <a:pt x="837146" y="328770"/>
                      </a:lnTo>
                      <a:lnTo>
                        <a:pt x="837669" y="328782"/>
                      </a:lnTo>
                      <a:lnTo>
                        <a:pt x="845306" y="328989"/>
                      </a:lnTo>
                      <a:lnTo>
                        <a:pt x="845889" y="329001"/>
                      </a:lnTo>
                      <a:lnTo>
                        <a:pt x="846460" y="328904"/>
                      </a:lnTo>
                      <a:lnTo>
                        <a:pt x="853721" y="327714"/>
                      </a:lnTo>
                      <a:lnTo>
                        <a:pt x="856441" y="327665"/>
                      </a:lnTo>
                      <a:lnTo>
                        <a:pt x="857886" y="328114"/>
                      </a:lnTo>
                      <a:lnTo>
                        <a:pt x="858870" y="328904"/>
                      </a:lnTo>
                      <a:lnTo>
                        <a:pt x="862477" y="333348"/>
                      </a:lnTo>
                      <a:lnTo>
                        <a:pt x="862817" y="333761"/>
                      </a:lnTo>
                      <a:lnTo>
                        <a:pt x="863217" y="334113"/>
                      </a:lnTo>
                      <a:lnTo>
                        <a:pt x="865621" y="336202"/>
                      </a:lnTo>
                      <a:lnTo>
                        <a:pt x="866399" y="336869"/>
                      </a:lnTo>
                      <a:lnTo>
                        <a:pt x="867358" y="337246"/>
                      </a:lnTo>
                      <a:lnTo>
                        <a:pt x="874134" y="339942"/>
                      </a:lnTo>
                      <a:lnTo>
                        <a:pt x="875020" y="340294"/>
                      </a:lnTo>
                      <a:lnTo>
                        <a:pt x="875967" y="340354"/>
                      </a:lnTo>
                      <a:lnTo>
                        <a:pt x="882743" y="340816"/>
                      </a:lnTo>
                      <a:lnTo>
                        <a:pt x="883302" y="340852"/>
                      </a:lnTo>
                      <a:lnTo>
                        <a:pt x="883860" y="340792"/>
                      </a:lnTo>
                      <a:lnTo>
                        <a:pt x="896926" y="339262"/>
                      </a:lnTo>
                      <a:lnTo>
                        <a:pt x="900921" y="339662"/>
                      </a:lnTo>
                      <a:lnTo>
                        <a:pt x="903969" y="341107"/>
                      </a:lnTo>
                      <a:lnTo>
                        <a:pt x="912153" y="347482"/>
                      </a:lnTo>
                      <a:lnTo>
                        <a:pt x="912627" y="347859"/>
                      </a:lnTo>
                      <a:lnTo>
                        <a:pt x="913161" y="348126"/>
                      </a:lnTo>
                      <a:lnTo>
                        <a:pt x="919148" y="351113"/>
                      </a:lnTo>
                      <a:lnTo>
                        <a:pt x="920156" y="351611"/>
                      </a:lnTo>
                      <a:lnTo>
                        <a:pt x="921273" y="351720"/>
                      </a:lnTo>
                      <a:lnTo>
                        <a:pt x="926664" y="352255"/>
                      </a:lnTo>
                      <a:lnTo>
                        <a:pt x="927381" y="352327"/>
                      </a:lnTo>
                      <a:lnTo>
                        <a:pt x="928097" y="352230"/>
                      </a:lnTo>
                      <a:lnTo>
                        <a:pt x="940033" y="350591"/>
                      </a:lnTo>
                      <a:lnTo>
                        <a:pt x="945571" y="350384"/>
                      </a:lnTo>
                      <a:lnTo>
                        <a:pt x="946360" y="350506"/>
                      </a:lnTo>
                      <a:lnTo>
                        <a:pt x="953913" y="351708"/>
                      </a:lnTo>
                      <a:lnTo>
                        <a:pt x="953366" y="344082"/>
                      </a:lnTo>
                      <a:lnTo>
                        <a:pt x="953257" y="342492"/>
                      </a:lnTo>
                      <a:lnTo>
                        <a:pt x="951351" y="322043"/>
                      </a:lnTo>
                      <a:lnTo>
                        <a:pt x="951241" y="320950"/>
                      </a:lnTo>
                      <a:lnTo>
                        <a:pt x="950756" y="319954"/>
                      </a:lnTo>
                      <a:lnTo>
                        <a:pt x="943300" y="304642"/>
                      </a:lnTo>
                      <a:lnTo>
                        <a:pt x="941078" y="300088"/>
                      </a:lnTo>
                      <a:lnTo>
                        <a:pt x="936208" y="301448"/>
                      </a:lnTo>
                      <a:lnTo>
                        <a:pt x="931108" y="302869"/>
                      </a:lnTo>
                      <a:lnTo>
                        <a:pt x="920010" y="289014"/>
                      </a:lnTo>
                      <a:lnTo>
                        <a:pt x="918188" y="286731"/>
                      </a:lnTo>
                      <a:lnTo>
                        <a:pt x="915274" y="286731"/>
                      </a:lnTo>
                      <a:lnTo>
                        <a:pt x="907794" y="286731"/>
                      </a:lnTo>
                      <a:lnTo>
                        <a:pt x="907442" y="286731"/>
                      </a:lnTo>
                      <a:lnTo>
                        <a:pt x="907102" y="286768"/>
                      </a:lnTo>
                      <a:lnTo>
                        <a:pt x="889616" y="288771"/>
                      </a:lnTo>
                      <a:lnTo>
                        <a:pt x="875858" y="284740"/>
                      </a:lnTo>
                      <a:lnTo>
                        <a:pt x="871025" y="283355"/>
                      </a:lnTo>
                      <a:lnTo>
                        <a:pt x="868232" y="277357"/>
                      </a:lnTo>
                      <a:lnTo>
                        <a:pt x="867589" y="275985"/>
                      </a:lnTo>
                      <a:lnTo>
                        <a:pt x="866387" y="275074"/>
                      </a:lnTo>
                      <a:lnTo>
                        <a:pt x="855130" y="266586"/>
                      </a:lnTo>
                      <a:lnTo>
                        <a:pt x="854341" y="265991"/>
                      </a:lnTo>
                      <a:lnTo>
                        <a:pt x="853394" y="265675"/>
                      </a:lnTo>
                      <a:lnTo>
                        <a:pt x="840364" y="261328"/>
                      </a:lnTo>
                      <a:lnTo>
                        <a:pt x="840073" y="261231"/>
                      </a:lnTo>
                      <a:lnTo>
                        <a:pt x="839769" y="261158"/>
                      </a:lnTo>
                      <a:lnTo>
                        <a:pt x="822708" y="257370"/>
                      </a:lnTo>
                      <a:lnTo>
                        <a:pt x="814488" y="249489"/>
                      </a:lnTo>
                      <a:lnTo>
                        <a:pt x="814488" y="237224"/>
                      </a:lnTo>
                      <a:lnTo>
                        <a:pt x="814488" y="224341"/>
                      </a:lnTo>
                      <a:lnTo>
                        <a:pt x="814488" y="223588"/>
                      </a:lnTo>
                      <a:lnTo>
                        <a:pt x="814305" y="222847"/>
                      </a:lnTo>
                      <a:lnTo>
                        <a:pt x="810505" y="207802"/>
                      </a:lnTo>
                      <a:lnTo>
                        <a:pt x="810238" y="206721"/>
                      </a:lnTo>
                      <a:lnTo>
                        <a:pt x="809594" y="205811"/>
                      </a:lnTo>
                      <a:lnTo>
                        <a:pt x="802138" y="195137"/>
                      </a:lnTo>
                      <a:lnTo>
                        <a:pt x="801482" y="194287"/>
                      </a:lnTo>
                      <a:lnTo>
                        <a:pt x="800596" y="193668"/>
                      </a:lnTo>
                      <a:lnTo>
                        <a:pt x="791246" y="187147"/>
                      </a:lnTo>
                      <a:lnTo>
                        <a:pt x="789680" y="186054"/>
                      </a:lnTo>
                      <a:lnTo>
                        <a:pt x="787773" y="186054"/>
                      </a:lnTo>
                      <a:lnTo>
                        <a:pt x="769899" y="186054"/>
                      </a:lnTo>
                      <a:lnTo>
                        <a:pt x="752801" y="180177"/>
                      </a:lnTo>
                      <a:lnTo>
                        <a:pt x="747289" y="177141"/>
                      </a:lnTo>
                      <a:lnTo>
                        <a:pt x="740671" y="163808"/>
                      </a:lnTo>
                      <a:lnTo>
                        <a:pt x="739541" y="161538"/>
                      </a:lnTo>
                      <a:lnTo>
                        <a:pt x="737137" y="160748"/>
                      </a:lnTo>
                      <a:lnTo>
                        <a:pt x="723926" y="156377"/>
                      </a:lnTo>
                      <a:lnTo>
                        <a:pt x="722553" y="155927"/>
                      </a:lnTo>
                      <a:lnTo>
                        <a:pt x="721133" y="156134"/>
                      </a:lnTo>
                      <a:lnTo>
                        <a:pt x="709828" y="157797"/>
                      </a:lnTo>
                      <a:lnTo>
                        <a:pt x="695123" y="138235"/>
                      </a:lnTo>
                      <a:lnTo>
                        <a:pt x="693605" y="136219"/>
                      </a:lnTo>
                      <a:lnTo>
                        <a:pt x="691115" y="135867"/>
                      </a:lnTo>
                      <a:lnTo>
                        <a:pt x="663721" y="131982"/>
                      </a:lnTo>
                      <a:lnTo>
                        <a:pt x="663648" y="131678"/>
                      </a:lnTo>
                      <a:lnTo>
                        <a:pt x="663162" y="130707"/>
                      </a:lnTo>
                      <a:lnTo>
                        <a:pt x="644098" y="96998"/>
                      </a:lnTo>
                      <a:lnTo>
                        <a:pt x="643807" y="96463"/>
                      </a:lnTo>
                      <a:lnTo>
                        <a:pt x="643406" y="96002"/>
                      </a:lnTo>
                      <a:lnTo>
                        <a:pt x="638694" y="90574"/>
                      </a:lnTo>
                      <a:lnTo>
                        <a:pt x="638379" y="90210"/>
                      </a:lnTo>
                      <a:lnTo>
                        <a:pt x="638002" y="89894"/>
                      </a:lnTo>
                      <a:lnTo>
                        <a:pt x="626916" y="80629"/>
                      </a:lnTo>
                      <a:lnTo>
                        <a:pt x="626649" y="80398"/>
                      </a:lnTo>
                      <a:lnTo>
                        <a:pt x="626357" y="80204"/>
                      </a:lnTo>
                      <a:lnTo>
                        <a:pt x="614761" y="72590"/>
                      </a:lnTo>
                      <a:lnTo>
                        <a:pt x="614360" y="72323"/>
                      </a:lnTo>
                      <a:lnTo>
                        <a:pt x="613911" y="72129"/>
                      </a:lnTo>
                      <a:lnTo>
                        <a:pt x="599096" y="65475"/>
                      </a:lnTo>
                      <a:lnTo>
                        <a:pt x="598428" y="65171"/>
                      </a:lnTo>
                      <a:lnTo>
                        <a:pt x="597700" y="65038"/>
                      </a:lnTo>
                      <a:lnTo>
                        <a:pt x="582825" y="62305"/>
                      </a:lnTo>
                      <a:lnTo>
                        <a:pt x="581246" y="62014"/>
                      </a:lnTo>
                      <a:lnTo>
                        <a:pt x="579728" y="62548"/>
                      </a:lnTo>
                      <a:lnTo>
                        <a:pt x="568022" y="66653"/>
                      </a:lnTo>
                      <a:lnTo>
                        <a:pt x="565837" y="67418"/>
                      </a:lnTo>
                      <a:lnTo>
                        <a:pt x="564720" y="69445"/>
                      </a:lnTo>
                      <a:lnTo>
                        <a:pt x="563566" y="71534"/>
                      </a:lnTo>
                      <a:lnTo>
                        <a:pt x="563335" y="71935"/>
                      </a:lnTo>
                      <a:lnTo>
                        <a:pt x="558818" y="71753"/>
                      </a:lnTo>
                      <a:lnTo>
                        <a:pt x="557458" y="69980"/>
                      </a:lnTo>
                      <a:lnTo>
                        <a:pt x="556450" y="63787"/>
                      </a:lnTo>
                      <a:lnTo>
                        <a:pt x="556122" y="55311"/>
                      </a:lnTo>
                      <a:lnTo>
                        <a:pt x="556110" y="54959"/>
                      </a:lnTo>
                      <a:lnTo>
                        <a:pt x="556049" y="54607"/>
                      </a:lnTo>
                      <a:lnTo>
                        <a:pt x="554738" y="46313"/>
                      </a:lnTo>
                      <a:lnTo>
                        <a:pt x="554604" y="45439"/>
                      </a:lnTo>
                      <a:lnTo>
                        <a:pt x="554216" y="44637"/>
                      </a:lnTo>
                      <a:lnTo>
                        <a:pt x="551107" y="38177"/>
                      </a:lnTo>
                      <a:lnTo>
                        <a:pt x="550597" y="37133"/>
                      </a:lnTo>
                      <a:lnTo>
                        <a:pt x="549747" y="36356"/>
                      </a:lnTo>
                      <a:lnTo>
                        <a:pt x="544757" y="31742"/>
                      </a:lnTo>
                      <a:lnTo>
                        <a:pt x="543919" y="30977"/>
                      </a:lnTo>
                      <a:lnTo>
                        <a:pt x="542862" y="30564"/>
                      </a:lnTo>
                      <a:lnTo>
                        <a:pt x="535734" y="27747"/>
                      </a:lnTo>
                      <a:lnTo>
                        <a:pt x="535224" y="27540"/>
                      </a:lnTo>
                      <a:lnTo>
                        <a:pt x="534678" y="27431"/>
                      </a:lnTo>
                      <a:lnTo>
                        <a:pt x="513367" y="23266"/>
                      </a:lnTo>
                      <a:lnTo>
                        <a:pt x="508340" y="20667"/>
                      </a:lnTo>
                      <a:lnTo>
                        <a:pt x="503519" y="16660"/>
                      </a:lnTo>
                      <a:lnTo>
                        <a:pt x="503046" y="16272"/>
                      </a:lnTo>
                      <a:lnTo>
                        <a:pt x="502511" y="15992"/>
                      </a:lnTo>
                      <a:lnTo>
                        <a:pt x="499864" y="14572"/>
                      </a:lnTo>
                      <a:lnTo>
                        <a:pt x="499026" y="14110"/>
                      </a:lnTo>
                      <a:lnTo>
                        <a:pt x="498091" y="13940"/>
                      </a:lnTo>
                      <a:lnTo>
                        <a:pt x="494643" y="13309"/>
                      </a:lnTo>
                      <a:lnTo>
                        <a:pt x="493708" y="13139"/>
                      </a:lnTo>
                      <a:lnTo>
                        <a:pt x="492773" y="13260"/>
                      </a:lnTo>
                      <a:lnTo>
                        <a:pt x="477072" y="15300"/>
                      </a:lnTo>
                      <a:lnTo>
                        <a:pt x="470369" y="15337"/>
                      </a:lnTo>
                      <a:lnTo>
                        <a:pt x="469652" y="15337"/>
                      </a:lnTo>
                      <a:lnTo>
                        <a:pt x="468960" y="15507"/>
                      </a:lnTo>
                      <a:lnTo>
                        <a:pt x="462476" y="17085"/>
                      </a:lnTo>
                      <a:lnTo>
                        <a:pt x="462051" y="17194"/>
                      </a:lnTo>
                      <a:lnTo>
                        <a:pt x="461650" y="17352"/>
                      </a:lnTo>
                      <a:lnTo>
                        <a:pt x="458384" y="18676"/>
                      </a:lnTo>
                      <a:lnTo>
                        <a:pt x="457789" y="18919"/>
                      </a:lnTo>
                      <a:lnTo>
                        <a:pt x="457267" y="19271"/>
                      </a:lnTo>
                      <a:lnTo>
                        <a:pt x="454571" y="21080"/>
                      </a:lnTo>
                      <a:lnTo>
                        <a:pt x="453587" y="21748"/>
                      </a:lnTo>
                      <a:lnTo>
                        <a:pt x="452920" y="22732"/>
                      </a:lnTo>
                      <a:lnTo>
                        <a:pt x="452324" y="23618"/>
                      </a:lnTo>
                      <a:lnTo>
                        <a:pt x="452142" y="23363"/>
                      </a:lnTo>
                      <a:lnTo>
                        <a:pt x="446751" y="15786"/>
                      </a:lnTo>
                      <a:lnTo>
                        <a:pt x="446217" y="15033"/>
                      </a:lnTo>
                      <a:lnTo>
                        <a:pt x="445476" y="14474"/>
                      </a:lnTo>
                      <a:lnTo>
                        <a:pt x="439502" y="9933"/>
                      </a:lnTo>
                      <a:lnTo>
                        <a:pt x="437923" y="8731"/>
                      </a:lnTo>
                      <a:lnTo>
                        <a:pt x="435944" y="8694"/>
                      </a:lnTo>
                      <a:lnTo>
                        <a:pt x="424286" y="8451"/>
                      </a:lnTo>
                      <a:lnTo>
                        <a:pt x="421372" y="6023"/>
                      </a:lnTo>
                      <a:lnTo>
                        <a:pt x="419126" y="3157"/>
                      </a:lnTo>
                      <a:lnTo>
                        <a:pt x="417741" y="1384"/>
                      </a:lnTo>
                      <a:lnTo>
                        <a:pt x="415544" y="935"/>
                      </a:lnTo>
                      <a:lnTo>
                        <a:pt x="412617" y="340"/>
                      </a:lnTo>
                      <a:lnTo>
                        <a:pt x="410929" y="0"/>
                      </a:lnTo>
                      <a:lnTo>
                        <a:pt x="410929" y="0"/>
                      </a:lnTo>
                      <a:close/>
                    </a:path>
                  </a:pathLst>
                </a:custGeom>
                <a:solidFill>
                  <a:srgbClr val="FFFFFF"/>
                </a:solidFill>
                <a:ln w="12138" cap="flat">
                  <a:noFill/>
                  <a:prstDash val="solid"/>
                  <a:miter/>
                </a:ln>
              </p:spPr>
              <p:txBody>
                <a:bodyPr rtlCol="0" anchor="ctr"/>
                <a:lstStyle/>
                <a:p>
                  <a:endParaRPr lang="en-US"/>
                </a:p>
              </p:txBody>
            </p:sp>
          </p:grpSp>
          <p:grpSp>
            <p:nvGrpSpPr>
              <p:cNvPr id="277" name="Graphic 280">
                <a:extLst>
                  <a:ext uri="{FF2B5EF4-FFF2-40B4-BE49-F238E27FC236}">
                    <a16:creationId xmlns:a16="http://schemas.microsoft.com/office/drawing/2014/main" id="{0E210C8B-8429-4440-9E88-53FEB4E43276}"/>
                  </a:ext>
                </a:extLst>
              </p:cNvPr>
              <p:cNvGrpSpPr/>
              <p:nvPr/>
            </p:nvGrpSpPr>
            <p:grpSpPr>
              <a:xfrm>
                <a:off x="7387911" y="2918634"/>
                <a:ext cx="565994" cy="219459"/>
                <a:chOff x="7387911" y="2918634"/>
                <a:chExt cx="565994" cy="219459"/>
              </a:xfrm>
            </p:grpSpPr>
            <p:sp>
              <p:nvSpPr>
                <p:cNvPr id="296" name="Freeform: Shape 295">
                  <a:extLst>
                    <a:ext uri="{FF2B5EF4-FFF2-40B4-BE49-F238E27FC236}">
                      <a16:creationId xmlns:a16="http://schemas.microsoft.com/office/drawing/2014/main" id="{633DD3EF-F0A6-4817-8D4B-3719C293699F}"/>
                    </a:ext>
                  </a:extLst>
                </p:cNvPr>
                <p:cNvSpPr/>
                <p:nvPr/>
              </p:nvSpPr>
              <p:spPr>
                <a:xfrm>
                  <a:off x="7407243" y="2921670"/>
                  <a:ext cx="543396" cy="210886"/>
                </a:xfrm>
                <a:custGeom>
                  <a:avLst/>
                  <a:gdLst>
                    <a:gd name="connsiteX0" fmla="*/ 450831 w 543396"/>
                    <a:gd name="connsiteY0" fmla="*/ 207511 h 210886"/>
                    <a:gd name="connsiteX1" fmla="*/ 449106 w 543396"/>
                    <a:gd name="connsiteY1" fmla="*/ 207450 h 210886"/>
                    <a:gd name="connsiteX2" fmla="*/ 446083 w 543396"/>
                    <a:gd name="connsiteY2" fmla="*/ 206576 h 210886"/>
                    <a:gd name="connsiteX3" fmla="*/ 444480 w 543396"/>
                    <a:gd name="connsiteY3" fmla="*/ 204985 h 210886"/>
                    <a:gd name="connsiteX4" fmla="*/ 442197 w 543396"/>
                    <a:gd name="connsiteY4" fmla="*/ 201658 h 210886"/>
                    <a:gd name="connsiteX5" fmla="*/ 441432 w 543396"/>
                    <a:gd name="connsiteY5" fmla="*/ 201196 h 210886"/>
                    <a:gd name="connsiteX6" fmla="*/ 437207 w 543396"/>
                    <a:gd name="connsiteY6" fmla="*/ 199739 h 210886"/>
                    <a:gd name="connsiteX7" fmla="*/ 431560 w 543396"/>
                    <a:gd name="connsiteY7" fmla="*/ 198428 h 210886"/>
                    <a:gd name="connsiteX8" fmla="*/ 426108 w 543396"/>
                    <a:gd name="connsiteY8" fmla="*/ 198233 h 210886"/>
                    <a:gd name="connsiteX9" fmla="*/ 422113 w 543396"/>
                    <a:gd name="connsiteY9" fmla="*/ 199642 h 210886"/>
                    <a:gd name="connsiteX10" fmla="*/ 417923 w 543396"/>
                    <a:gd name="connsiteY10" fmla="*/ 200953 h 210886"/>
                    <a:gd name="connsiteX11" fmla="*/ 406788 w 543396"/>
                    <a:gd name="connsiteY11" fmla="*/ 199314 h 210886"/>
                    <a:gd name="connsiteX12" fmla="*/ 387554 w 543396"/>
                    <a:gd name="connsiteY12" fmla="*/ 201755 h 210886"/>
                    <a:gd name="connsiteX13" fmla="*/ 377840 w 543396"/>
                    <a:gd name="connsiteY13" fmla="*/ 200966 h 210886"/>
                    <a:gd name="connsiteX14" fmla="*/ 376674 w 543396"/>
                    <a:gd name="connsiteY14" fmla="*/ 201160 h 210886"/>
                    <a:gd name="connsiteX15" fmla="*/ 376128 w 543396"/>
                    <a:gd name="connsiteY15" fmla="*/ 201658 h 210886"/>
                    <a:gd name="connsiteX16" fmla="*/ 375690 w 543396"/>
                    <a:gd name="connsiteY16" fmla="*/ 203151 h 210886"/>
                    <a:gd name="connsiteX17" fmla="*/ 375387 w 543396"/>
                    <a:gd name="connsiteY17" fmla="*/ 203807 h 210886"/>
                    <a:gd name="connsiteX18" fmla="*/ 372242 w 543396"/>
                    <a:gd name="connsiteY18" fmla="*/ 206272 h 210886"/>
                    <a:gd name="connsiteX19" fmla="*/ 369048 w 543396"/>
                    <a:gd name="connsiteY19" fmla="*/ 205264 h 210886"/>
                    <a:gd name="connsiteX20" fmla="*/ 367567 w 543396"/>
                    <a:gd name="connsiteY20" fmla="*/ 204584 h 210886"/>
                    <a:gd name="connsiteX21" fmla="*/ 367129 w 543396"/>
                    <a:gd name="connsiteY21" fmla="*/ 206114 h 210886"/>
                    <a:gd name="connsiteX22" fmla="*/ 363887 w 543396"/>
                    <a:gd name="connsiteY22" fmla="*/ 209223 h 210886"/>
                    <a:gd name="connsiteX23" fmla="*/ 358265 w 543396"/>
                    <a:gd name="connsiteY23" fmla="*/ 210036 h 210886"/>
                    <a:gd name="connsiteX24" fmla="*/ 353214 w 543396"/>
                    <a:gd name="connsiteY24" fmla="*/ 209781 h 210886"/>
                    <a:gd name="connsiteX25" fmla="*/ 348794 w 543396"/>
                    <a:gd name="connsiteY25" fmla="*/ 208798 h 210886"/>
                    <a:gd name="connsiteX26" fmla="*/ 345272 w 543396"/>
                    <a:gd name="connsiteY26" fmla="*/ 206017 h 210886"/>
                    <a:gd name="connsiteX27" fmla="*/ 343135 w 543396"/>
                    <a:gd name="connsiteY27" fmla="*/ 202763 h 210886"/>
                    <a:gd name="connsiteX28" fmla="*/ 341763 w 543396"/>
                    <a:gd name="connsiteY28" fmla="*/ 202666 h 210886"/>
                    <a:gd name="connsiteX29" fmla="*/ 340828 w 543396"/>
                    <a:gd name="connsiteY29" fmla="*/ 203066 h 210886"/>
                    <a:gd name="connsiteX30" fmla="*/ 337914 w 543396"/>
                    <a:gd name="connsiteY30" fmla="*/ 205568 h 210886"/>
                    <a:gd name="connsiteX31" fmla="*/ 334999 w 543396"/>
                    <a:gd name="connsiteY31" fmla="*/ 206272 h 210886"/>
                    <a:gd name="connsiteX32" fmla="*/ 332692 w 543396"/>
                    <a:gd name="connsiteY32" fmla="*/ 206600 h 210886"/>
                    <a:gd name="connsiteX33" fmla="*/ 329401 w 543396"/>
                    <a:gd name="connsiteY33" fmla="*/ 207644 h 210886"/>
                    <a:gd name="connsiteX34" fmla="*/ 327106 w 543396"/>
                    <a:gd name="connsiteY34" fmla="*/ 208021 h 210886"/>
                    <a:gd name="connsiteX35" fmla="*/ 318995 w 543396"/>
                    <a:gd name="connsiteY35" fmla="*/ 207231 h 210886"/>
                    <a:gd name="connsiteX36" fmla="*/ 290751 w 543396"/>
                    <a:gd name="connsiteY36" fmla="*/ 198938 h 210886"/>
                    <a:gd name="connsiteX37" fmla="*/ 281898 w 543396"/>
                    <a:gd name="connsiteY37" fmla="*/ 194493 h 210886"/>
                    <a:gd name="connsiteX38" fmla="*/ 281328 w 543396"/>
                    <a:gd name="connsiteY38" fmla="*/ 194505 h 210886"/>
                    <a:gd name="connsiteX39" fmla="*/ 277782 w 543396"/>
                    <a:gd name="connsiteY39" fmla="*/ 196266 h 210886"/>
                    <a:gd name="connsiteX40" fmla="*/ 274625 w 543396"/>
                    <a:gd name="connsiteY40" fmla="*/ 196922 h 210886"/>
                    <a:gd name="connsiteX41" fmla="*/ 263648 w 543396"/>
                    <a:gd name="connsiteY41" fmla="*/ 196618 h 210886"/>
                    <a:gd name="connsiteX42" fmla="*/ 234177 w 543396"/>
                    <a:gd name="connsiteY42" fmla="*/ 201257 h 210886"/>
                    <a:gd name="connsiteX43" fmla="*/ 228737 w 543396"/>
                    <a:gd name="connsiteY43" fmla="*/ 203188 h 210886"/>
                    <a:gd name="connsiteX44" fmla="*/ 226514 w 543396"/>
                    <a:gd name="connsiteY44" fmla="*/ 203540 h 210886"/>
                    <a:gd name="connsiteX45" fmla="*/ 205337 w 543396"/>
                    <a:gd name="connsiteY45" fmla="*/ 206357 h 210886"/>
                    <a:gd name="connsiteX46" fmla="*/ 199351 w 543396"/>
                    <a:gd name="connsiteY46" fmla="*/ 205750 h 210886"/>
                    <a:gd name="connsiteX47" fmla="*/ 195647 w 543396"/>
                    <a:gd name="connsiteY47" fmla="*/ 204147 h 210886"/>
                    <a:gd name="connsiteX48" fmla="*/ 192805 w 543396"/>
                    <a:gd name="connsiteY48" fmla="*/ 202144 h 210886"/>
                    <a:gd name="connsiteX49" fmla="*/ 190668 w 543396"/>
                    <a:gd name="connsiteY49" fmla="*/ 200917 h 210886"/>
                    <a:gd name="connsiteX50" fmla="*/ 190268 w 543396"/>
                    <a:gd name="connsiteY50" fmla="*/ 200917 h 210886"/>
                    <a:gd name="connsiteX51" fmla="*/ 188410 w 543396"/>
                    <a:gd name="connsiteY51" fmla="*/ 202605 h 210886"/>
                    <a:gd name="connsiteX52" fmla="*/ 186018 w 543396"/>
                    <a:gd name="connsiteY52" fmla="*/ 204074 h 210886"/>
                    <a:gd name="connsiteX53" fmla="*/ 183747 w 543396"/>
                    <a:gd name="connsiteY53" fmla="*/ 204244 h 210886"/>
                    <a:gd name="connsiteX54" fmla="*/ 176060 w 543396"/>
                    <a:gd name="connsiteY54" fmla="*/ 203030 h 210886"/>
                    <a:gd name="connsiteX55" fmla="*/ 171276 w 543396"/>
                    <a:gd name="connsiteY55" fmla="*/ 201026 h 210886"/>
                    <a:gd name="connsiteX56" fmla="*/ 169467 w 543396"/>
                    <a:gd name="connsiteY56" fmla="*/ 200492 h 210886"/>
                    <a:gd name="connsiteX57" fmla="*/ 167645 w 543396"/>
                    <a:gd name="connsiteY57" fmla="*/ 200541 h 210886"/>
                    <a:gd name="connsiteX58" fmla="*/ 160930 w 543396"/>
                    <a:gd name="connsiteY58" fmla="*/ 202338 h 210886"/>
                    <a:gd name="connsiteX59" fmla="*/ 144562 w 543396"/>
                    <a:gd name="connsiteY59" fmla="*/ 201075 h 210886"/>
                    <a:gd name="connsiteX60" fmla="*/ 126359 w 543396"/>
                    <a:gd name="connsiteY60" fmla="*/ 204948 h 210886"/>
                    <a:gd name="connsiteX61" fmla="*/ 119061 w 543396"/>
                    <a:gd name="connsiteY61" fmla="*/ 204839 h 210886"/>
                    <a:gd name="connsiteX62" fmla="*/ 103445 w 543396"/>
                    <a:gd name="connsiteY62" fmla="*/ 198586 h 210886"/>
                    <a:gd name="connsiteX63" fmla="*/ 74521 w 543396"/>
                    <a:gd name="connsiteY63" fmla="*/ 192465 h 210886"/>
                    <a:gd name="connsiteX64" fmla="*/ 32980 w 543396"/>
                    <a:gd name="connsiteY64" fmla="*/ 175502 h 210886"/>
                    <a:gd name="connsiteX65" fmla="*/ 26593 w 543396"/>
                    <a:gd name="connsiteY65" fmla="*/ 175745 h 210886"/>
                    <a:gd name="connsiteX66" fmla="*/ 20072 w 543396"/>
                    <a:gd name="connsiteY66" fmla="*/ 178477 h 210886"/>
                    <a:gd name="connsiteX67" fmla="*/ 14875 w 543396"/>
                    <a:gd name="connsiteY67" fmla="*/ 177578 h 210886"/>
                    <a:gd name="connsiteX68" fmla="*/ 11985 w 543396"/>
                    <a:gd name="connsiteY68" fmla="*/ 172405 h 210886"/>
                    <a:gd name="connsiteX69" fmla="*/ 10018 w 543396"/>
                    <a:gd name="connsiteY69" fmla="*/ 164525 h 210886"/>
                    <a:gd name="connsiteX70" fmla="*/ 9314 w 543396"/>
                    <a:gd name="connsiteY70" fmla="*/ 157275 h 210886"/>
                    <a:gd name="connsiteX71" fmla="*/ 10370 w 543396"/>
                    <a:gd name="connsiteY71" fmla="*/ 148897 h 210886"/>
                    <a:gd name="connsiteX72" fmla="*/ 14693 w 543396"/>
                    <a:gd name="connsiteY72" fmla="*/ 133208 h 210886"/>
                    <a:gd name="connsiteX73" fmla="*/ 14936 w 543396"/>
                    <a:gd name="connsiteY73" fmla="*/ 118867 h 210886"/>
                    <a:gd name="connsiteX74" fmla="*/ 16733 w 543396"/>
                    <a:gd name="connsiteY74" fmla="*/ 104502 h 210886"/>
                    <a:gd name="connsiteX75" fmla="*/ 14851 w 543396"/>
                    <a:gd name="connsiteY75" fmla="*/ 97690 h 210886"/>
                    <a:gd name="connsiteX76" fmla="*/ 10734 w 543396"/>
                    <a:gd name="connsiteY76" fmla="*/ 88024 h 210886"/>
                    <a:gd name="connsiteX77" fmla="*/ 7128 w 543396"/>
                    <a:gd name="connsiteY77" fmla="*/ 69445 h 210886"/>
                    <a:gd name="connsiteX78" fmla="*/ 7844 w 543396"/>
                    <a:gd name="connsiteY78" fmla="*/ 63471 h 210886"/>
                    <a:gd name="connsiteX79" fmla="*/ 16271 w 543396"/>
                    <a:gd name="connsiteY79" fmla="*/ 48596 h 210886"/>
                    <a:gd name="connsiteX80" fmla="*/ 16466 w 543396"/>
                    <a:gd name="connsiteY80" fmla="*/ 47090 h 210886"/>
                    <a:gd name="connsiteX81" fmla="*/ 14304 w 543396"/>
                    <a:gd name="connsiteY81" fmla="*/ 46872 h 210886"/>
                    <a:gd name="connsiteX82" fmla="*/ 4432 w 543396"/>
                    <a:gd name="connsiteY82" fmla="*/ 41055 h 210886"/>
                    <a:gd name="connsiteX83" fmla="*/ 14511 w 543396"/>
                    <a:gd name="connsiteY83" fmla="*/ 37765 h 210886"/>
                    <a:gd name="connsiteX84" fmla="*/ 15300 w 543396"/>
                    <a:gd name="connsiteY84" fmla="*/ 36999 h 210886"/>
                    <a:gd name="connsiteX85" fmla="*/ 15385 w 543396"/>
                    <a:gd name="connsiteY85" fmla="*/ 36562 h 210886"/>
                    <a:gd name="connsiteX86" fmla="*/ 0 w 543396"/>
                    <a:gd name="connsiteY86" fmla="*/ 17389 h 210886"/>
                    <a:gd name="connsiteX87" fmla="*/ 19842 w 543396"/>
                    <a:gd name="connsiteY87" fmla="*/ 32543 h 210886"/>
                    <a:gd name="connsiteX88" fmla="*/ 52591 w 543396"/>
                    <a:gd name="connsiteY88" fmla="*/ 58068 h 210886"/>
                    <a:gd name="connsiteX89" fmla="*/ 67563 w 543396"/>
                    <a:gd name="connsiteY89" fmla="*/ 47989 h 210886"/>
                    <a:gd name="connsiteX90" fmla="*/ 68207 w 543396"/>
                    <a:gd name="connsiteY90" fmla="*/ 46702 h 210886"/>
                    <a:gd name="connsiteX91" fmla="*/ 77120 w 543396"/>
                    <a:gd name="connsiteY91" fmla="*/ 38894 h 210886"/>
                    <a:gd name="connsiteX92" fmla="*/ 90465 w 543396"/>
                    <a:gd name="connsiteY92" fmla="*/ 37376 h 210886"/>
                    <a:gd name="connsiteX93" fmla="*/ 95784 w 543396"/>
                    <a:gd name="connsiteY93" fmla="*/ 37412 h 210886"/>
                    <a:gd name="connsiteX94" fmla="*/ 104429 w 543396"/>
                    <a:gd name="connsiteY94" fmla="*/ 35045 h 210886"/>
                    <a:gd name="connsiteX95" fmla="*/ 106396 w 543396"/>
                    <a:gd name="connsiteY95" fmla="*/ 33915 h 210886"/>
                    <a:gd name="connsiteX96" fmla="*/ 115868 w 543396"/>
                    <a:gd name="connsiteY96" fmla="*/ 29884 h 210886"/>
                    <a:gd name="connsiteX97" fmla="*/ 125242 w 543396"/>
                    <a:gd name="connsiteY97" fmla="*/ 29204 h 210886"/>
                    <a:gd name="connsiteX98" fmla="*/ 133633 w 543396"/>
                    <a:gd name="connsiteY98" fmla="*/ 29313 h 210886"/>
                    <a:gd name="connsiteX99" fmla="*/ 143796 w 543396"/>
                    <a:gd name="connsiteY99" fmla="*/ 28366 h 210886"/>
                    <a:gd name="connsiteX100" fmla="*/ 156571 w 543396"/>
                    <a:gd name="connsiteY100" fmla="*/ 26459 h 210886"/>
                    <a:gd name="connsiteX101" fmla="*/ 169430 w 543396"/>
                    <a:gd name="connsiteY101" fmla="*/ 31814 h 210886"/>
                    <a:gd name="connsiteX102" fmla="*/ 171628 w 543396"/>
                    <a:gd name="connsiteY102" fmla="*/ 37570 h 210886"/>
                    <a:gd name="connsiteX103" fmla="*/ 172964 w 543396"/>
                    <a:gd name="connsiteY103" fmla="*/ 40448 h 210886"/>
                    <a:gd name="connsiteX104" fmla="*/ 178817 w 543396"/>
                    <a:gd name="connsiteY104" fmla="*/ 41832 h 210886"/>
                    <a:gd name="connsiteX105" fmla="*/ 181877 w 543396"/>
                    <a:gd name="connsiteY105" fmla="*/ 41407 h 210886"/>
                    <a:gd name="connsiteX106" fmla="*/ 186163 w 543396"/>
                    <a:gd name="connsiteY106" fmla="*/ 37837 h 210886"/>
                    <a:gd name="connsiteX107" fmla="*/ 197869 w 543396"/>
                    <a:gd name="connsiteY107" fmla="*/ 31122 h 210886"/>
                    <a:gd name="connsiteX108" fmla="*/ 204657 w 543396"/>
                    <a:gd name="connsiteY108" fmla="*/ 33393 h 210886"/>
                    <a:gd name="connsiteX109" fmla="*/ 208591 w 543396"/>
                    <a:gd name="connsiteY109" fmla="*/ 38602 h 210886"/>
                    <a:gd name="connsiteX110" fmla="*/ 210121 w 543396"/>
                    <a:gd name="connsiteY110" fmla="*/ 41128 h 210886"/>
                    <a:gd name="connsiteX111" fmla="*/ 215889 w 543396"/>
                    <a:gd name="connsiteY111" fmla="*/ 44346 h 210886"/>
                    <a:gd name="connsiteX112" fmla="*/ 220576 w 543396"/>
                    <a:gd name="connsiteY112" fmla="*/ 46690 h 210886"/>
                    <a:gd name="connsiteX113" fmla="*/ 223879 w 543396"/>
                    <a:gd name="connsiteY113" fmla="*/ 48815 h 210886"/>
                    <a:gd name="connsiteX114" fmla="*/ 235075 w 543396"/>
                    <a:gd name="connsiteY114" fmla="*/ 53016 h 210886"/>
                    <a:gd name="connsiteX115" fmla="*/ 237953 w 543396"/>
                    <a:gd name="connsiteY115" fmla="*/ 53235 h 210886"/>
                    <a:gd name="connsiteX116" fmla="*/ 254297 w 543396"/>
                    <a:gd name="connsiteY116" fmla="*/ 58990 h 210886"/>
                    <a:gd name="connsiteX117" fmla="*/ 256374 w 543396"/>
                    <a:gd name="connsiteY117" fmla="*/ 61018 h 210886"/>
                    <a:gd name="connsiteX118" fmla="*/ 265918 w 543396"/>
                    <a:gd name="connsiteY118" fmla="*/ 65584 h 210886"/>
                    <a:gd name="connsiteX119" fmla="*/ 265930 w 543396"/>
                    <a:gd name="connsiteY119" fmla="*/ 65584 h 210886"/>
                    <a:gd name="connsiteX120" fmla="*/ 275608 w 543396"/>
                    <a:gd name="connsiteY120" fmla="*/ 59342 h 210886"/>
                    <a:gd name="connsiteX121" fmla="*/ 276313 w 543396"/>
                    <a:gd name="connsiteY121" fmla="*/ 58347 h 210886"/>
                    <a:gd name="connsiteX122" fmla="*/ 282518 w 543396"/>
                    <a:gd name="connsiteY122" fmla="*/ 51146 h 210886"/>
                    <a:gd name="connsiteX123" fmla="*/ 288395 w 543396"/>
                    <a:gd name="connsiteY123" fmla="*/ 49531 h 210886"/>
                    <a:gd name="connsiteX124" fmla="*/ 291625 w 543396"/>
                    <a:gd name="connsiteY124" fmla="*/ 48827 h 210886"/>
                    <a:gd name="connsiteX125" fmla="*/ 291916 w 543396"/>
                    <a:gd name="connsiteY125" fmla="*/ 46762 h 210886"/>
                    <a:gd name="connsiteX126" fmla="*/ 292815 w 543396"/>
                    <a:gd name="connsiteY126" fmla="*/ 42464 h 210886"/>
                    <a:gd name="connsiteX127" fmla="*/ 295608 w 543396"/>
                    <a:gd name="connsiteY127" fmla="*/ 39185 h 210886"/>
                    <a:gd name="connsiteX128" fmla="*/ 296895 w 543396"/>
                    <a:gd name="connsiteY128" fmla="*/ 37886 h 210886"/>
                    <a:gd name="connsiteX129" fmla="*/ 298777 w 543396"/>
                    <a:gd name="connsiteY129" fmla="*/ 32762 h 210886"/>
                    <a:gd name="connsiteX130" fmla="*/ 310713 w 543396"/>
                    <a:gd name="connsiteY130" fmla="*/ 19004 h 210886"/>
                    <a:gd name="connsiteX131" fmla="*/ 315680 w 543396"/>
                    <a:gd name="connsiteY131" fmla="*/ 18360 h 210886"/>
                    <a:gd name="connsiteX132" fmla="*/ 329134 w 543396"/>
                    <a:gd name="connsiteY132" fmla="*/ 24614 h 210886"/>
                    <a:gd name="connsiteX133" fmla="*/ 337027 w 543396"/>
                    <a:gd name="connsiteY133" fmla="*/ 29568 h 210886"/>
                    <a:gd name="connsiteX134" fmla="*/ 341059 w 543396"/>
                    <a:gd name="connsiteY134" fmla="*/ 30163 h 210886"/>
                    <a:gd name="connsiteX135" fmla="*/ 350360 w 543396"/>
                    <a:gd name="connsiteY135" fmla="*/ 26229 h 210886"/>
                    <a:gd name="connsiteX136" fmla="*/ 356019 w 543396"/>
                    <a:gd name="connsiteY136" fmla="*/ 22695 h 210886"/>
                    <a:gd name="connsiteX137" fmla="*/ 369764 w 543396"/>
                    <a:gd name="connsiteY137" fmla="*/ 18603 h 210886"/>
                    <a:gd name="connsiteX138" fmla="*/ 383559 w 543396"/>
                    <a:gd name="connsiteY138" fmla="*/ 13867 h 210886"/>
                    <a:gd name="connsiteX139" fmla="*/ 388088 w 543396"/>
                    <a:gd name="connsiteY139" fmla="*/ 9994 h 210886"/>
                    <a:gd name="connsiteX140" fmla="*/ 398531 w 543396"/>
                    <a:gd name="connsiteY140" fmla="*/ 3242 h 210886"/>
                    <a:gd name="connsiteX141" fmla="*/ 400061 w 543396"/>
                    <a:gd name="connsiteY141" fmla="*/ 2720 h 210886"/>
                    <a:gd name="connsiteX142" fmla="*/ 412204 w 543396"/>
                    <a:gd name="connsiteY142" fmla="*/ 0 h 210886"/>
                    <a:gd name="connsiteX143" fmla="*/ 417693 w 543396"/>
                    <a:gd name="connsiteY143" fmla="*/ 814 h 210886"/>
                    <a:gd name="connsiteX144" fmla="*/ 427310 w 543396"/>
                    <a:gd name="connsiteY144" fmla="*/ 18906 h 210886"/>
                    <a:gd name="connsiteX145" fmla="*/ 428184 w 543396"/>
                    <a:gd name="connsiteY145" fmla="*/ 26593 h 210886"/>
                    <a:gd name="connsiteX146" fmla="*/ 429338 w 543396"/>
                    <a:gd name="connsiteY146" fmla="*/ 29167 h 210886"/>
                    <a:gd name="connsiteX147" fmla="*/ 427735 w 543396"/>
                    <a:gd name="connsiteY147" fmla="*/ 43156 h 210886"/>
                    <a:gd name="connsiteX148" fmla="*/ 425610 w 543396"/>
                    <a:gd name="connsiteY148" fmla="*/ 46434 h 210886"/>
                    <a:gd name="connsiteX149" fmla="*/ 417960 w 543396"/>
                    <a:gd name="connsiteY149" fmla="*/ 62998 h 210886"/>
                    <a:gd name="connsiteX150" fmla="*/ 413989 w 543396"/>
                    <a:gd name="connsiteY150" fmla="*/ 70162 h 210886"/>
                    <a:gd name="connsiteX151" fmla="*/ 411998 w 543396"/>
                    <a:gd name="connsiteY151" fmla="*/ 72554 h 210886"/>
                    <a:gd name="connsiteX152" fmla="*/ 412399 w 543396"/>
                    <a:gd name="connsiteY152" fmla="*/ 78747 h 210886"/>
                    <a:gd name="connsiteX153" fmla="*/ 414499 w 543396"/>
                    <a:gd name="connsiteY153" fmla="*/ 79852 h 210886"/>
                    <a:gd name="connsiteX154" fmla="*/ 419526 w 543396"/>
                    <a:gd name="connsiteY154" fmla="*/ 83616 h 210886"/>
                    <a:gd name="connsiteX155" fmla="*/ 420522 w 543396"/>
                    <a:gd name="connsiteY155" fmla="*/ 85462 h 210886"/>
                    <a:gd name="connsiteX156" fmla="*/ 420559 w 543396"/>
                    <a:gd name="connsiteY156" fmla="*/ 85462 h 210886"/>
                    <a:gd name="connsiteX157" fmla="*/ 422683 w 543396"/>
                    <a:gd name="connsiteY157" fmla="*/ 84903 h 210886"/>
                    <a:gd name="connsiteX158" fmla="*/ 434207 w 543396"/>
                    <a:gd name="connsiteY158" fmla="*/ 81005 h 210886"/>
                    <a:gd name="connsiteX159" fmla="*/ 435446 w 543396"/>
                    <a:gd name="connsiteY159" fmla="*/ 80787 h 210886"/>
                    <a:gd name="connsiteX160" fmla="*/ 443387 w 543396"/>
                    <a:gd name="connsiteY160" fmla="*/ 80277 h 210886"/>
                    <a:gd name="connsiteX161" fmla="*/ 445597 w 543396"/>
                    <a:gd name="connsiteY161" fmla="*/ 80362 h 210886"/>
                    <a:gd name="connsiteX162" fmla="*/ 447455 w 543396"/>
                    <a:gd name="connsiteY162" fmla="*/ 80544 h 210886"/>
                    <a:gd name="connsiteX163" fmla="*/ 450248 w 543396"/>
                    <a:gd name="connsiteY163" fmla="*/ 80763 h 210886"/>
                    <a:gd name="connsiteX164" fmla="*/ 452494 w 543396"/>
                    <a:gd name="connsiteY164" fmla="*/ 80119 h 210886"/>
                    <a:gd name="connsiteX165" fmla="*/ 454061 w 543396"/>
                    <a:gd name="connsiteY165" fmla="*/ 78868 h 210886"/>
                    <a:gd name="connsiteX166" fmla="*/ 463362 w 543396"/>
                    <a:gd name="connsiteY166" fmla="*/ 74873 h 210886"/>
                    <a:gd name="connsiteX167" fmla="*/ 472992 w 543396"/>
                    <a:gd name="connsiteY167" fmla="*/ 77278 h 210886"/>
                    <a:gd name="connsiteX168" fmla="*/ 480812 w 543396"/>
                    <a:gd name="connsiteY168" fmla="*/ 83264 h 210886"/>
                    <a:gd name="connsiteX169" fmla="*/ 483605 w 543396"/>
                    <a:gd name="connsiteY169" fmla="*/ 86190 h 210886"/>
                    <a:gd name="connsiteX170" fmla="*/ 485620 w 543396"/>
                    <a:gd name="connsiteY170" fmla="*/ 88340 h 210886"/>
                    <a:gd name="connsiteX171" fmla="*/ 490745 w 543396"/>
                    <a:gd name="connsiteY171" fmla="*/ 91278 h 210886"/>
                    <a:gd name="connsiteX172" fmla="*/ 492177 w 543396"/>
                    <a:gd name="connsiteY172" fmla="*/ 91643 h 210886"/>
                    <a:gd name="connsiteX173" fmla="*/ 499670 w 543396"/>
                    <a:gd name="connsiteY173" fmla="*/ 93270 h 210886"/>
                    <a:gd name="connsiteX174" fmla="*/ 500678 w 543396"/>
                    <a:gd name="connsiteY174" fmla="*/ 91886 h 210886"/>
                    <a:gd name="connsiteX175" fmla="*/ 505365 w 543396"/>
                    <a:gd name="connsiteY175" fmla="*/ 88631 h 210886"/>
                    <a:gd name="connsiteX176" fmla="*/ 506142 w 543396"/>
                    <a:gd name="connsiteY176" fmla="*/ 88631 h 210886"/>
                    <a:gd name="connsiteX177" fmla="*/ 507040 w 543396"/>
                    <a:gd name="connsiteY177" fmla="*/ 89056 h 210886"/>
                    <a:gd name="connsiteX178" fmla="*/ 509797 w 543396"/>
                    <a:gd name="connsiteY178" fmla="*/ 91667 h 210886"/>
                    <a:gd name="connsiteX179" fmla="*/ 511436 w 543396"/>
                    <a:gd name="connsiteY179" fmla="*/ 93707 h 210886"/>
                    <a:gd name="connsiteX180" fmla="*/ 514375 w 543396"/>
                    <a:gd name="connsiteY180" fmla="*/ 100556 h 210886"/>
                    <a:gd name="connsiteX181" fmla="*/ 510914 w 543396"/>
                    <a:gd name="connsiteY181" fmla="*/ 109675 h 210886"/>
                    <a:gd name="connsiteX182" fmla="*/ 509311 w 543396"/>
                    <a:gd name="connsiteY182" fmla="*/ 111764 h 210886"/>
                    <a:gd name="connsiteX183" fmla="*/ 508425 w 543396"/>
                    <a:gd name="connsiteY183" fmla="*/ 112808 h 210886"/>
                    <a:gd name="connsiteX184" fmla="*/ 509554 w 543396"/>
                    <a:gd name="connsiteY184" fmla="*/ 117872 h 210886"/>
                    <a:gd name="connsiteX185" fmla="*/ 516682 w 543396"/>
                    <a:gd name="connsiteY185" fmla="*/ 121575 h 210886"/>
                    <a:gd name="connsiteX186" fmla="*/ 522134 w 543396"/>
                    <a:gd name="connsiteY186" fmla="*/ 123579 h 210886"/>
                    <a:gd name="connsiteX187" fmla="*/ 524611 w 543396"/>
                    <a:gd name="connsiteY187" fmla="*/ 124841 h 210886"/>
                    <a:gd name="connsiteX188" fmla="*/ 529250 w 543396"/>
                    <a:gd name="connsiteY188" fmla="*/ 127464 h 210886"/>
                    <a:gd name="connsiteX189" fmla="*/ 534605 w 543396"/>
                    <a:gd name="connsiteY189" fmla="*/ 131508 h 210886"/>
                    <a:gd name="connsiteX190" fmla="*/ 535698 w 543396"/>
                    <a:gd name="connsiteY190" fmla="*/ 132686 h 210886"/>
                    <a:gd name="connsiteX191" fmla="*/ 538818 w 543396"/>
                    <a:gd name="connsiteY191" fmla="*/ 142169 h 210886"/>
                    <a:gd name="connsiteX192" fmla="*/ 540652 w 543396"/>
                    <a:gd name="connsiteY192" fmla="*/ 147403 h 210886"/>
                    <a:gd name="connsiteX193" fmla="*/ 542048 w 543396"/>
                    <a:gd name="connsiteY193" fmla="*/ 150718 h 210886"/>
                    <a:gd name="connsiteX194" fmla="*/ 543397 w 543396"/>
                    <a:gd name="connsiteY194" fmla="*/ 153997 h 210886"/>
                    <a:gd name="connsiteX195" fmla="*/ 541284 w 543396"/>
                    <a:gd name="connsiteY195" fmla="*/ 162910 h 210886"/>
                    <a:gd name="connsiteX196" fmla="*/ 537398 w 543396"/>
                    <a:gd name="connsiteY196" fmla="*/ 170912 h 210886"/>
                    <a:gd name="connsiteX197" fmla="*/ 533633 w 543396"/>
                    <a:gd name="connsiteY197" fmla="*/ 174300 h 210886"/>
                    <a:gd name="connsiteX198" fmla="*/ 531982 w 543396"/>
                    <a:gd name="connsiteY198" fmla="*/ 175575 h 210886"/>
                    <a:gd name="connsiteX199" fmla="*/ 530622 w 543396"/>
                    <a:gd name="connsiteY199" fmla="*/ 176801 h 210886"/>
                    <a:gd name="connsiteX200" fmla="*/ 527805 w 543396"/>
                    <a:gd name="connsiteY200" fmla="*/ 178671 h 210886"/>
                    <a:gd name="connsiteX201" fmla="*/ 525376 w 543396"/>
                    <a:gd name="connsiteY201" fmla="*/ 179084 h 210886"/>
                    <a:gd name="connsiteX202" fmla="*/ 524842 w 543396"/>
                    <a:gd name="connsiteY202" fmla="*/ 179497 h 210886"/>
                    <a:gd name="connsiteX203" fmla="*/ 523701 w 543396"/>
                    <a:gd name="connsiteY203" fmla="*/ 179752 h 210886"/>
                    <a:gd name="connsiteX204" fmla="*/ 520883 w 543396"/>
                    <a:gd name="connsiteY204" fmla="*/ 181585 h 210886"/>
                    <a:gd name="connsiteX205" fmla="*/ 519694 w 543396"/>
                    <a:gd name="connsiteY205" fmla="*/ 182557 h 210886"/>
                    <a:gd name="connsiteX206" fmla="*/ 516221 w 543396"/>
                    <a:gd name="connsiteY206" fmla="*/ 185338 h 210886"/>
                    <a:gd name="connsiteX207" fmla="*/ 513561 w 543396"/>
                    <a:gd name="connsiteY207" fmla="*/ 187754 h 210886"/>
                    <a:gd name="connsiteX208" fmla="*/ 509141 w 543396"/>
                    <a:gd name="connsiteY208" fmla="*/ 189673 h 210886"/>
                    <a:gd name="connsiteX209" fmla="*/ 506968 w 543396"/>
                    <a:gd name="connsiteY209" fmla="*/ 190377 h 210886"/>
                    <a:gd name="connsiteX210" fmla="*/ 502645 w 543396"/>
                    <a:gd name="connsiteY210" fmla="*/ 194457 h 210886"/>
                    <a:gd name="connsiteX211" fmla="*/ 498516 w 543396"/>
                    <a:gd name="connsiteY211" fmla="*/ 194748 h 210886"/>
                    <a:gd name="connsiteX212" fmla="*/ 494048 w 543396"/>
                    <a:gd name="connsiteY212" fmla="*/ 194518 h 210886"/>
                    <a:gd name="connsiteX213" fmla="*/ 493805 w 543396"/>
                    <a:gd name="connsiteY213" fmla="*/ 194518 h 210886"/>
                    <a:gd name="connsiteX214" fmla="*/ 485887 w 543396"/>
                    <a:gd name="connsiteY214" fmla="*/ 196230 h 210886"/>
                    <a:gd name="connsiteX215" fmla="*/ 477606 w 543396"/>
                    <a:gd name="connsiteY215" fmla="*/ 198246 h 210886"/>
                    <a:gd name="connsiteX216" fmla="*/ 475117 w 543396"/>
                    <a:gd name="connsiteY216" fmla="*/ 198112 h 210886"/>
                    <a:gd name="connsiteX217" fmla="*/ 473757 w 543396"/>
                    <a:gd name="connsiteY217" fmla="*/ 198282 h 210886"/>
                    <a:gd name="connsiteX218" fmla="*/ 473016 w 543396"/>
                    <a:gd name="connsiteY218" fmla="*/ 200273 h 210886"/>
                    <a:gd name="connsiteX219" fmla="*/ 470733 w 543396"/>
                    <a:gd name="connsiteY219" fmla="*/ 200322 h 210886"/>
                    <a:gd name="connsiteX220" fmla="*/ 468304 w 543396"/>
                    <a:gd name="connsiteY220" fmla="*/ 199848 h 210886"/>
                    <a:gd name="connsiteX221" fmla="*/ 462755 w 543396"/>
                    <a:gd name="connsiteY221" fmla="*/ 198877 h 210886"/>
                    <a:gd name="connsiteX222" fmla="*/ 456077 w 543396"/>
                    <a:gd name="connsiteY222" fmla="*/ 205859 h 210886"/>
                    <a:gd name="connsiteX223" fmla="*/ 455275 w 543396"/>
                    <a:gd name="connsiteY223" fmla="*/ 210886 h 210886"/>
                    <a:gd name="connsiteX224" fmla="*/ 450831 w 543396"/>
                    <a:gd name="connsiteY224" fmla="*/ 207511 h 210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543396" h="210886">
                      <a:moveTo>
                        <a:pt x="450831" y="207511"/>
                      </a:moveTo>
                      <a:lnTo>
                        <a:pt x="449106" y="207450"/>
                      </a:lnTo>
                      <a:lnTo>
                        <a:pt x="446083" y="206576"/>
                      </a:lnTo>
                      <a:lnTo>
                        <a:pt x="444480" y="204985"/>
                      </a:lnTo>
                      <a:lnTo>
                        <a:pt x="442197" y="201658"/>
                      </a:lnTo>
                      <a:lnTo>
                        <a:pt x="441432" y="201196"/>
                      </a:lnTo>
                      <a:lnTo>
                        <a:pt x="437207" y="199739"/>
                      </a:lnTo>
                      <a:lnTo>
                        <a:pt x="431560" y="198428"/>
                      </a:lnTo>
                      <a:lnTo>
                        <a:pt x="426108" y="198233"/>
                      </a:lnTo>
                      <a:lnTo>
                        <a:pt x="422113" y="199642"/>
                      </a:lnTo>
                      <a:lnTo>
                        <a:pt x="417923" y="200953"/>
                      </a:lnTo>
                      <a:lnTo>
                        <a:pt x="406788" y="199314"/>
                      </a:lnTo>
                      <a:lnTo>
                        <a:pt x="387554" y="201755"/>
                      </a:lnTo>
                      <a:lnTo>
                        <a:pt x="377840" y="200966"/>
                      </a:lnTo>
                      <a:lnTo>
                        <a:pt x="376674" y="201160"/>
                      </a:lnTo>
                      <a:lnTo>
                        <a:pt x="376128" y="201658"/>
                      </a:lnTo>
                      <a:lnTo>
                        <a:pt x="375690" y="203151"/>
                      </a:lnTo>
                      <a:lnTo>
                        <a:pt x="375387" y="203807"/>
                      </a:lnTo>
                      <a:lnTo>
                        <a:pt x="372242" y="206272"/>
                      </a:lnTo>
                      <a:lnTo>
                        <a:pt x="369048" y="205264"/>
                      </a:lnTo>
                      <a:lnTo>
                        <a:pt x="367567" y="204584"/>
                      </a:lnTo>
                      <a:lnTo>
                        <a:pt x="367129" y="206114"/>
                      </a:lnTo>
                      <a:lnTo>
                        <a:pt x="363887" y="209223"/>
                      </a:lnTo>
                      <a:lnTo>
                        <a:pt x="358265" y="210036"/>
                      </a:lnTo>
                      <a:lnTo>
                        <a:pt x="353214" y="209781"/>
                      </a:lnTo>
                      <a:lnTo>
                        <a:pt x="348794" y="208798"/>
                      </a:lnTo>
                      <a:lnTo>
                        <a:pt x="345272" y="206017"/>
                      </a:lnTo>
                      <a:lnTo>
                        <a:pt x="343135" y="202763"/>
                      </a:lnTo>
                      <a:lnTo>
                        <a:pt x="341763" y="202666"/>
                      </a:lnTo>
                      <a:lnTo>
                        <a:pt x="340828" y="203066"/>
                      </a:lnTo>
                      <a:lnTo>
                        <a:pt x="337914" y="205568"/>
                      </a:lnTo>
                      <a:lnTo>
                        <a:pt x="334999" y="206272"/>
                      </a:lnTo>
                      <a:lnTo>
                        <a:pt x="332692" y="206600"/>
                      </a:lnTo>
                      <a:lnTo>
                        <a:pt x="329401" y="207644"/>
                      </a:lnTo>
                      <a:lnTo>
                        <a:pt x="327106" y="208021"/>
                      </a:lnTo>
                      <a:lnTo>
                        <a:pt x="318995" y="207231"/>
                      </a:lnTo>
                      <a:lnTo>
                        <a:pt x="290751" y="198938"/>
                      </a:lnTo>
                      <a:lnTo>
                        <a:pt x="281898" y="194493"/>
                      </a:lnTo>
                      <a:lnTo>
                        <a:pt x="281328" y="194505"/>
                      </a:lnTo>
                      <a:lnTo>
                        <a:pt x="277782" y="196266"/>
                      </a:lnTo>
                      <a:lnTo>
                        <a:pt x="274625" y="196922"/>
                      </a:lnTo>
                      <a:lnTo>
                        <a:pt x="263648" y="196618"/>
                      </a:lnTo>
                      <a:lnTo>
                        <a:pt x="234177" y="201257"/>
                      </a:lnTo>
                      <a:lnTo>
                        <a:pt x="228737" y="203188"/>
                      </a:lnTo>
                      <a:lnTo>
                        <a:pt x="226514" y="203540"/>
                      </a:lnTo>
                      <a:lnTo>
                        <a:pt x="205337" y="206357"/>
                      </a:lnTo>
                      <a:lnTo>
                        <a:pt x="199351" y="205750"/>
                      </a:lnTo>
                      <a:lnTo>
                        <a:pt x="195647" y="204147"/>
                      </a:lnTo>
                      <a:lnTo>
                        <a:pt x="192805" y="202144"/>
                      </a:lnTo>
                      <a:lnTo>
                        <a:pt x="190668" y="200917"/>
                      </a:lnTo>
                      <a:lnTo>
                        <a:pt x="190268" y="200917"/>
                      </a:lnTo>
                      <a:lnTo>
                        <a:pt x="188410" y="202605"/>
                      </a:lnTo>
                      <a:lnTo>
                        <a:pt x="186018" y="204074"/>
                      </a:lnTo>
                      <a:lnTo>
                        <a:pt x="183747" y="204244"/>
                      </a:lnTo>
                      <a:lnTo>
                        <a:pt x="176060" y="203030"/>
                      </a:lnTo>
                      <a:lnTo>
                        <a:pt x="171276" y="201026"/>
                      </a:lnTo>
                      <a:lnTo>
                        <a:pt x="169467" y="200492"/>
                      </a:lnTo>
                      <a:lnTo>
                        <a:pt x="167645" y="200541"/>
                      </a:lnTo>
                      <a:lnTo>
                        <a:pt x="160930" y="202338"/>
                      </a:lnTo>
                      <a:lnTo>
                        <a:pt x="144562" y="201075"/>
                      </a:lnTo>
                      <a:lnTo>
                        <a:pt x="126359" y="204948"/>
                      </a:lnTo>
                      <a:lnTo>
                        <a:pt x="119061" y="204839"/>
                      </a:lnTo>
                      <a:lnTo>
                        <a:pt x="103445" y="198586"/>
                      </a:lnTo>
                      <a:lnTo>
                        <a:pt x="74521" y="192465"/>
                      </a:lnTo>
                      <a:lnTo>
                        <a:pt x="32980" y="175502"/>
                      </a:lnTo>
                      <a:lnTo>
                        <a:pt x="26593" y="175745"/>
                      </a:lnTo>
                      <a:lnTo>
                        <a:pt x="20072" y="178477"/>
                      </a:lnTo>
                      <a:lnTo>
                        <a:pt x="14875" y="177578"/>
                      </a:lnTo>
                      <a:lnTo>
                        <a:pt x="11985" y="172405"/>
                      </a:lnTo>
                      <a:lnTo>
                        <a:pt x="10018" y="164525"/>
                      </a:lnTo>
                      <a:lnTo>
                        <a:pt x="9314" y="157275"/>
                      </a:lnTo>
                      <a:lnTo>
                        <a:pt x="10370" y="148897"/>
                      </a:lnTo>
                      <a:lnTo>
                        <a:pt x="14693" y="133208"/>
                      </a:lnTo>
                      <a:lnTo>
                        <a:pt x="14936" y="118867"/>
                      </a:lnTo>
                      <a:lnTo>
                        <a:pt x="16733" y="104502"/>
                      </a:lnTo>
                      <a:lnTo>
                        <a:pt x="14851" y="97690"/>
                      </a:lnTo>
                      <a:lnTo>
                        <a:pt x="10734" y="88024"/>
                      </a:lnTo>
                      <a:lnTo>
                        <a:pt x="7128" y="69445"/>
                      </a:lnTo>
                      <a:lnTo>
                        <a:pt x="7844" y="63471"/>
                      </a:lnTo>
                      <a:lnTo>
                        <a:pt x="16271" y="48596"/>
                      </a:lnTo>
                      <a:lnTo>
                        <a:pt x="16466" y="47090"/>
                      </a:lnTo>
                      <a:lnTo>
                        <a:pt x="14304" y="46872"/>
                      </a:lnTo>
                      <a:lnTo>
                        <a:pt x="4432" y="41055"/>
                      </a:lnTo>
                      <a:lnTo>
                        <a:pt x="14511" y="37765"/>
                      </a:lnTo>
                      <a:lnTo>
                        <a:pt x="15300" y="36999"/>
                      </a:lnTo>
                      <a:lnTo>
                        <a:pt x="15385" y="36562"/>
                      </a:lnTo>
                      <a:lnTo>
                        <a:pt x="0" y="17389"/>
                      </a:lnTo>
                      <a:lnTo>
                        <a:pt x="19842" y="32543"/>
                      </a:lnTo>
                      <a:lnTo>
                        <a:pt x="52591" y="58068"/>
                      </a:lnTo>
                      <a:cubicBezTo>
                        <a:pt x="61164" y="57837"/>
                        <a:pt x="63823" y="55347"/>
                        <a:pt x="67563" y="47989"/>
                      </a:cubicBezTo>
                      <a:lnTo>
                        <a:pt x="68207" y="46702"/>
                      </a:lnTo>
                      <a:cubicBezTo>
                        <a:pt x="70149" y="42719"/>
                        <a:pt x="71449" y="40557"/>
                        <a:pt x="77120" y="38894"/>
                      </a:cubicBezTo>
                      <a:cubicBezTo>
                        <a:pt x="81430" y="37631"/>
                        <a:pt x="85571" y="37376"/>
                        <a:pt x="90465" y="37376"/>
                      </a:cubicBezTo>
                      <a:lnTo>
                        <a:pt x="95784" y="37412"/>
                      </a:lnTo>
                      <a:cubicBezTo>
                        <a:pt x="99353" y="37412"/>
                        <a:pt x="100580" y="37194"/>
                        <a:pt x="104429" y="35045"/>
                      </a:cubicBezTo>
                      <a:lnTo>
                        <a:pt x="106396" y="33915"/>
                      </a:lnTo>
                      <a:cubicBezTo>
                        <a:pt x="109274" y="32239"/>
                        <a:pt x="112249" y="30515"/>
                        <a:pt x="115868" y="29884"/>
                      </a:cubicBezTo>
                      <a:cubicBezTo>
                        <a:pt x="119025" y="29349"/>
                        <a:pt x="122146" y="29204"/>
                        <a:pt x="125242" y="29204"/>
                      </a:cubicBezTo>
                      <a:lnTo>
                        <a:pt x="133633" y="29313"/>
                      </a:lnTo>
                      <a:cubicBezTo>
                        <a:pt x="136608" y="29313"/>
                        <a:pt x="140154" y="29204"/>
                        <a:pt x="143796" y="28366"/>
                      </a:cubicBezTo>
                      <a:cubicBezTo>
                        <a:pt x="147610" y="27492"/>
                        <a:pt x="152114" y="26459"/>
                        <a:pt x="156571" y="26459"/>
                      </a:cubicBezTo>
                      <a:cubicBezTo>
                        <a:pt x="162351" y="26459"/>
                        <a:pt x="166674" y="28257"/>
                        <a:pt x="169430" y="31814"/>
                      </a:cubicBezTo>
                      <a:cubicBezTo>
                        <a:pt x="171106" y="34025"/>
                        <a:pt x="171397" y="36077"/>
                        <a:pt x="171628" y="37570"/>
                      </a:cubicBezTo>
                      <a:cubicBezTo>
                        <a:pt x="171847" y="39064"/>
                        <a:pt x="171920" y="39610"/>
                        <a:pt x="172964" y="40448"/>
                      </a:cubicBezTo>
                      <a:cubicBezTo>
                        <a:pt x="173826" y="41140"/>
                        <a:pt x="176121" y="41832"/>
                        <a:pt x="178817" y="41832"/>
                      </a:cubicBezTo>
                      <a:cubicBezTo>
                        <a:pt x="180043" y="41832"/>
                        <a:pt x="181148" y="41674"/>
                        <a:pt x="181877" y="41407"/>
                      </a:cubicBezTo>
                      <a:cubicBezTo>
                        <a:pt x="183043" y="40982"/>
                        <a:pt x="184633" y="39380"/>
                        <a:pt x="186163" y="37837"/>
                      </a:cubicBezTo>
                      <a:cubicBezTo>
                        <a:pt x="189126" y="34850"/>
                        <a:pt x="192818" y="31122"/>
                        <a:pt x="197869" y="31122"/>
                      </a:cubicBezTo>
                      <a:cubicBezTo>
                        <a:pt x="200128" y="31122"/>
                        <a:pt x="202398" y="31887"/>
                        <a:pt x="204657" y="33393"/>
                      </a:cubicBezTo>
                      <a:cubicBezTo>
                        <a:pt x="206794" y="34814"/>
                        <a:pt x="207790" y="36914"/>
                        <a:pt x="208591" y="38602"/>
                      </a:cubicBezTo>
                      <a:cubicBezTo>
                        <a:pt x="209077" y="39622"/>
                        <a:pt x="209538" y="40582"/>
                        <a:pt x="210121" y="41128"/>
                      </a:cubicBezTo>
                      <a:cubicBezTo>
                        <a:pt x="211445" y="42367"/>
                        <a:pt x="213704" y="43374"/>
                        <a:pt x="215889" y="44346"/>
                      </a:cubicBezTo>
                      <a:cubicBezTo>
                        <a:pt x="217565" y="45099"/>
                        <a:pt x="219192" y="45840"/>
                        <a:pt x="220576" y="46690"/>
                      </a:cubicBezTo>
                      <a:cubicBezTo>
                        <a:pt x="221839" y="47454"/>
                        <a:pt x="222908" y="48171"/>
                        <a:pt x="223879" y="48815"/>
                      </a:cubicBezTo>
                      <a:cubicBezTo>
                        <a:pt x="227643" y="51292"/>
                        <a:pt x="229526" y="52530"/>
                        <a:pt x="235075" y="53016"/>
                      </a:cubicBezTo>
                      <a:lnTo>
                        <a:pt x="237953" y="53235"/>
                      </a:lnTo>
                      <a:cubicBezTo>
                        <a:pt x="243854" y="53647"/>
                        <a:pt x="248942" y="54000"/>
                        <a:pt x="254297" y="58990"/>
                      </a:cubicBezTo>
                      <a:lnTo>
                        <a:pt x="256374" y="61018"/>
                      </a:lnTo>
                      <a:cubicBezTo>
                        <a:pt x="259446" y="64066"/>
                        <a:pt x="260842" y="65462"/>
                        <a:pt x="265918" y="65584"/>
                      </a:cubicBezTo>
                      <a:lnTo>
                        <a:pt x="265930" y="65584"/>
                      </a:lnTo>
                      <a:cubicBezTo>
                        <a:pt x="271225" y="65584"/>
                        <a:pt x="272779" y="63362"/>
                        <a:pt x="275608" y="59342"/>
                      </a:cubicBezTo>
                      <a:lnTo>
                        <a:pt x="276313" y="58347"/>
                      </a:lnTo>
                      <a:cubicBezTo>
                        <a:pt x="277199" y="57072"/>
                        <a:pt x="280332" y="52640"/>
                        <a:pt x="282518" y="51146"/>
                      </a:cubicBezTo>
                      <a:cubicBezTo>
                        <a:pt x="284400" y="49883"/>
                        <a:pt x="286525" y="49689"/>
                        <a:pt x="288395" y="49531"/>
                      </a:cubicBezTo>
                      <a:cubicBezTo>
                        <a:pt x="289706" y="49422"/>
                        <a:pt x="291066" y="49288"/>
                        <a:pt x="291625" y="48827"/>
                      </a:cubicBezTo>
                      <a:cubicBezTo>
                        <a:pt x="291819" y="48657"/>
                        <a:pt x="291880" y="47382"/>
                        <a:pt x="291916" y="46762"/>
                      </a:cubicBezTo>
                      <a:cubicBezTo>
                        <a:pt x="291989" y="45427"/>
                        <a:pt x="292086" y="43909"/>
                        <a:pt x="292815" y="42464"/>
                      </a:cubicBezTo>
                      <a:cubicBezTo>
                        <a:pt x="293471" y="41104"/>
                        <a:pt x="294600" y="40084"/>
                        <a:pt x="295608" y="39185"/>
                      </a:cubicBezTo>
                      <a:cubicBezTo>
                        <a:pt x="296069" y="38772"/>
                        <a:pt x="296761" y="38165"/>
                        <a:pt x="296895" y="37886"/>
                      </a:cubicBezTo>
                      <a:cubicBezTo>
                        <a:pt x="297684" y="36234"/>
                        <a:pt x="298231" y="34486"/>
                        <a:pt x="298777" y="32762"/>
                      </a:cubicBezTo>
                      <a:cubicBezTo>
                        <a:pt x="300441" y="27540"/>
                        <a:pt x="302505" y="21044"/>
                        <a:pt x="310713" y="19004"/>
                      </a:cubicBezTo>
                      <a:cubicBezTo>
                        <a:pt x="312462" y="18579"/>
                        <a:pt x="314126" y="18360"/>
                        <a:pt x="315680" y="18360"/>
                      </a:cubicBezTo>
                      <a:cubicBezTo>
                        <a:pt x="321897" y="18360"/>
                        <a:pt x="325746" y="21675"/>
                        <a:pt x="329134" y="24614"/>
                      </a:cubicBezTo>
                      <a:cubicBezTo>
                        <a:pt x="331587" y="26727"/>
                        <a:pt x="333906" y="28718"/>
                        <a:pt x="337027" y="29568"/>
                      </a:cubicBezTo>
                      <a:cubicBezTo>
                        <a:pt x="338496" y="29969"/>
                        <a:pt x="339820" y="30163"/>
                        <a:pt x="341059" y="30163"/>
                      </a:cubicBezTo>
                      <a:cubicBezTo>
                        <a:pt x="344677" y="30163"/>
                        <a:pt x="347191" y="28427"/>
                        <a:pt x="350360" y="26229"/>
                      </a:cubicBezTo>
                      <a:cubicBezTo>
                        <a:pt x="352109" y="25027"/>
                        <a:pt x="353918" y="23776"/>
                        <a:pt x="356019" y="22695"/>
                      </a:cubicBezTo>
                      <a:cubicBezTo>
                        <a:pt x="360463" y="20437"/>
                        <a:pt x="365199" y="19502"/>
                        <a:pt x="369764" y="18603"/>
                      </a:cubicBezTo>
                      <a:cubicBezTo>
                        <a:pt x="374925" y="17583"/>
                        <a:pt x="379783" y="16624"/>
                        <a:pt x="383559" y="13867"/>
                      </a:cubicBezTo>
                      <a:cubicBezTo>
                        <a:pt x="385405" y="12519"/>
                        <a:pt x="386801" y="11208"/>
                        <a:pt x="388088" y="9994"/>
                      </a:cubicBezTo>
                      <a:cubicBezTo>
                        <a:pt x="390820" y="7419"/>
                        <a:pt x="393395" y="4991"/>
                        <a:pt x="398531" y="3242"/>
                      </a:cubicBezTo>
                      <a:lnTo>
                        <a:pt x="400061" y="2720"/>
                      </a:lnTo>
                      <a:cubicBezTo>
                        <a:pt x="403692" y="1445"/>
                        <a:pt x="407796" y="0"/>
                        <a:pt x="412204" y="0"/>
                      </a:cubicBezTo>
                      <a:cubicBezTo>
                        <a:pt x="414098" y="0"/>
                        <a:pt x="415956" y="267"/>
                        <a:pt x="417693" y="814"/>
                      </a:cubicBezTo>
                      <a:cubicBezTo>
                        <a:pt x="427115" y="3752"/>
                        <a:pt x="427225" y="12507"/>
                        <a:pt x="427310" y="18906"/>
                      </a:cubicBezTo>
                      <a:cubicBezTo>
                        <a:pt x="427359" y="21906"/>
                        <a:pt x="427395" y="24723"/>
                        <a:pt x="428184" y="26593"/>
                      </a:cubicBezTo>
                      <a:lnTo>
                        <a:pt x="429338" y="29167"/>
                      </a:lnTo>
                      <a:cubicBezTo>
                        <a:pt x="432046" y="35129"/>
                        <a:pt x="431875" y="36562"/>
                        <a:pt x="427735" y="43156"/>
                      </a:cubicBezTo>
                      <a:lnTo>
                        <a:pt x="425610" y="46434"/>
                      </a:lnTo>
                      <a:cubicBezTo>
                        <a:pt x="422076" y="51790"/>
                        <a:pt x="418433" y="57315"/>
                        <a:pt x="417960" y="62998"/>
                      </a:cubicBezTo>
                      <a:cubicBezTo>
                        <a:pt x="417693" y="66398"/>
                        <a:pt x="415641" y="68486"/>
                        <a:pt x="413989" y="70162"/>
                      </a:cubicBezTo>
                      <a:cubicBezTo>
                        <a:pt x="413187" y="70975"/>
                        <a:pt x="412423" y="71753"/>
                        <a:pt x="411998" y="72554"/>
                      </a:cubicBezTo>
                      <a:cubicBezTo>
                        <a:pt x="411160" y="75905"/>
                        <a:pt x="410966" y="76865"/>
                        <a:pt x="412399" y="78747"/>
                      </a:cubicBezTo>
                      <a:cubicBezTo>
                        <a:pt x="412799" y="79293"/>
                        <a:pt x="413418" y="79512"/>
                        <a:pt x="414499" y="79852"/>
                      </a:cubicBezTo>
                      <a:cubicBezTo>
                        <a:pt x="416029" y="80350"/>
                        <a:pt x="418336" y="81090"/>
                        <a:pt x="419526" y="83616"/>
                      </a:cubicBezTo>
                      <a:cubicBezTo>
                        <a:pt x="419951" y="83835"/>
                        <a:pt x="420303" y="84855"/>
                        <a:pt x="420522" y="85462"/>
                      </a:cubicBezTo>
                      <a:cubicBezTo>
                        <a:pt x="420534" y="85462"/>
                        <a:pt x="420546" y="85462"/>
                        <a:pt x="420559" y="85462"/>
                      </a:cubicBezTo>
                      <a:cubicBezTo>
                        <a:pt x="421299" y="85462"/>
                        <a:pt x="422355" y="85098"/>
                        <a:pt x="422683" y="84903"/>
                      </a:cubicBezTo>
                      <a:cubicBezTo>
                        <a:pt x="426982" y="82985"/>
                        <a:pt x="430649" y="81977"/>
                        <a:pt x="434207" y="81005"/>
                      </a:cubicBezTo>
                      <a:lnTo>
                        <a:pt x="435446" y="80787"/>
                      </a:lnTo>
                      <a:cubicBezTo>
                        <a:pt x="438226" y="80532"/>
                        <a:pt x="440983" y="80277"/>
                        <a:pt x="443387" y="80277"/>
                      </a:cubicBezTo>
                      <a:cubicBezTo>
                        <a:pt x="444152" y="80277"/>
                        <a:pt x="444893" y="80301"/>
                        <a:pt x="445597" y="80362"/>
                      </a:cubicBezTo>
                      <a:lnTo>
                        <a:pt x="447455" y="80544"/>
                      </a:lnTo>
                      <a:cubicBezTo>
                        <a:pt x="448414" y="80653"/>
                        <a:pt x="449349" y="80763"/>
                        <a:pt x="450248" y="80763"/>
                      </a:cubicBezTo>
                      <a:cubicBezTo>
                        <a:pt x="451656" y="80763"/>
                        <a:pt x="452154" y="80447"/>
                        <a:pt x="452494" y="80119"/>
                      </a:cubicBezTo>
                      <a:lnTo>
                        <a:pt x="454061" y="78868"/>
                      </a:lnTo>
                      <a:cubicBezTo>
                        <a:pt x="456502" y="76974"/>
                        <a:pt x="458797" y="75189"/>
                        <a:pt x="463362" y="74873"/>
                      </a:cubicBezTo>
                      <a:cubicBezTo>
                        <a:pt x="466228" y="75068"/>
                        <a:pt x="470296" y="75383"/>
                        <a:pt x="472992" y="77278"/>
                      </a:cubicBezTo>
                      <a:cubicBezTo>
                        <a:pt x="475566" y="78638"/>
                        <a:pt x="478517" y="80896"/>
                        <a:pt x="480812" y="83264"/>
                      </a:cubicBezTo>
                      <a:cubicBezTo>
                        <a:pt x="481722" y="83847"/>
                        <a:pt x="482730" y="85086"/>
                        <a:pt x="483605" y="86190"/>
                      </a:cubicBezTo>
                      <a:cubicBezTo>
                        <a:pt x="484309" y="87053"/>
                        <a:pt x="484965" y="87878"/>
                        <a:pt x="485620" y="88340"/>
                      </a:cubicBezTo>
                      <a:cubicBezTo>
                        <a:pt x="487308" y="90380"/>
                        <a:pt x="488110" y="90623"/>
                        <a:pt x="490745" y="91278"/>
                      </a:cubicBezTo>
                      <a:lnTo>
                        <a:pt x="492177" y="91643"/>
                      </a:lnTo>
                      <a:cubicBezTo>
                        <a:pt x="493817" y="91716"/>
                        <a:pt x="497071" y="91958"/>
                        <a:pt x="499670" y="93270"/>
                      </a:cubicBezTo>
                      <a:cubicBezTo>
                        <a:pt x="499864" y="92893"/>
                        <a:pt x="500350" y="92298"/>
                        <a:pt x="500678" y="91886"/>
                      </a:cubicBezTo>
                      <a:cubicBezTo>
                        <a:pt x="502038" y="90210"/>
                        <a:pt x="503337" y="88631"/>
                        <a:pt x="505365" y="88631"/>
                      </a:cubicBezTo>
                      <a:lnTo>
                        <a:pt x="506142" y="88631"/>
                      </a:lnTo>
                      <a:lnTo>
                        <a:pt x="507040" y="89056"/>
                      </a:lnTo>
                      <a:lnTo>
                        <a:pt x="509797" y="91667"/>
                      </a:lnTo>
                      <a:cubicBezTo>
                        <a:pt x="510538" y="92626"/>
                        <a:pt x="510999" y="93185"/>
                        <a:pt x="511436" y="93707"/>
                      </a:cubicBezTo>
                      <a:cubicBezTo>
                        <a:pt x="512918" y="95480"/>
                        <a:pt x="514606" y="97496"/>
                        <a:pt x="514375" y="100556"/>
                      </a:cubicBezTo>
                      <a:cubicBezTo>
                        <a:pt x="514132" y="103361"/>
                        <a:pt x="513112" y="107186"/>
                        <a:pt x="510914" y="109675"/>
                      </a:cubicBezTo>
                      <a:cubicBezTo>
                        <a:pt x="510805" y="110173"/>
                        <a:pt x="509979" y="111047"/>
                        <a:pt x="509311" y="111764"/>
                      </a:cubicBezTo>
                      <a:cubicBezTo>
                        <a:pt x="508995" y="112091"/>
                        <a:pt x="508510" y="112601"/>
                        <a:pt x="508425" y="112808"/>
                      </a:cubicBezTo>
                      <a:cubicBezTo>
                        <a:pt x="508242" y="115249"/>
                        <a:pt x="508692" y="116536"/>
                        <a:pt x="509554" y="117872"/>
                      </a:cubicBezTo>
                      <a:cubicBezTo>
                        <a:pt x="510962" y="119924"/>
                        <a:pt x="513743" y="120725"/>
                        <a:pt x="516682" y="121575"/>
                      </a:cubicBezTo>
                      <a:cubicBezTo>
                        <a:pt x="518528" y="122109"/>
                        <a:pt x="520434" y="122656"/>
                        <a:pt x="522134" y="123579"/>
                      </a:cubicBezTo>
                      <a:lnTo>
                        <a:pt x="524611" y="124841"/>
                      </a:lnTo>
                      <a:cubicBezTo>
                        <a:pt x="526323" y="125679"/>
                        <a:pt x="527793" y="126420"/>
                        <a:pt x="529250" y="127464"/>
                      </a:cubicBezTo>
                      <a:cubicBezTo>
                        <a:pt x="531387" y="127950"/>
                        <a:pt x="533099" y="129844"/>
                        <a:pt x="534605" y="131508"/>
                      </a:cubicBezTo>
                      <a:lnTo>
                        <a:pt x="535698" y="132686"/>
                      </a:lnTo>
                      <a:cubicBezTo>
                        <a:pt x="538284" y="136232"/>
                        <a:pt x="539098" y="138879"/>
                        <a:pt x="538818" y="142169"/>
                      </a:cubicBezTo>
                      <a:cubicBezTo>
                        <a:pt x="539292" y="143821"/>
                        <a:pt x="539729" y="145946"/>
                        <a:pt x="540652" y="147403"/>
                      </a:cubicBezTo>
                      <a:cubicBezTo>
                        <a:pt x="541235" y="149018"/>
                        <a:pt x="541648" y="149868"/>
                        <a:pt x="542048" y="150718"/>
                      </a:cubicBezTo>
                      <a:cubicBezTo>
                        <a:pt x="542571" y="151811"/>
                        <a:pt x="543081" y="152916"/>
                        <a:pt x="543397" y="153997"/>
                      </a:cubicBezTo>
                      <a:cubicBezTo>
                        <a:pt x="543299" y="157542"/>
                        <a:pt x="542571" y="160080"/>
                        <a:pt x="541284" y="162910"/>
                      </a:cubicBezTo>
                      <a:cubicBezTo>
                        <a:pt x="540130" y="166115"/>
                        <a:pt x="539098" y="168957"/>
                        <a:pt x="537398" y="170912"/>
                      </a:cubicBezTo>
                      <a:cubicBezTo>
                        <a:pt x="536342" y="172503"/>
                        <a:pt x="534848" y="173498"/>
                        <a:pt x="533633" y="174300"/>
                      </a:cubicBezTo>
                      <a:cubicBezTo>
                        <a:pt x="532941" y="174761"/>
                        <a:pt x="532395" y="175113"/>
                        <a:pt x="531982" y="175575"/>
                      </a:cubicBezTo>
                      <a:cubicBezTo>
                        <a:pt x="531144" y="176291"/>
                        <a:pt x="530853" y="176570"/>
                        <a:pt x="530622" y="176801"/>
                      </a:cubicBezTo>
                      <a:cubicBezTo>
                        <a:pt x="530027" y="177384"/>
                        <a:pt x="529298" y="178113"/>
                        <a:pt x="527805" y="178671"/>
                      </a:cubicBezTo>
                      <a:cubicBezTo>
                        <a:pt x="526712" y="179036"/>
                        <a:pt x="525911" y="179072"/>
                        <a:pt x="525376" y="179084"/>
                      </a:cubicBezTo>
                      <a:lnTo>
                        <a:pt x="524842" y="179497"/>
                      </a:lnTo>
                      <a:lnTo>
                        <a:pt x="523701" y="179752"/>
                      </a:lnTo>
                      <a:cubicBezTo>
                        <a:pt x="522814" y="179946"/>
                        <a:pt x="521831" y="180772"/>
                        <a:pt x="520883" y="181585"/>
                      </a:cubicBezTo>
                      <a:lnTo>
                        <a:pt x="519694" y="182557"/>
                      </a:lnTo>
                      <a:cubicBezTo>
                        <a:pt x="517920" y="183565"/>
                        <a:pt x="517168" y="184354"/>
                        <a:pt x="516221" y="185338"/>
                      </a:cubicBezTo>
                      <a:cubicBezTo>
                        <a:pt x="515431" y="186151"/>
                        <a:pt x="514630" y="186965"/>
                        <a:pt x="513561" y="187754"/>
                      </a:cubicBezTo>
                      <a:cubicBezTo>
                        <a:pt x="512505" y="189029"/>
                        <a:pt x="510562" y="189393"/>
                        <a:pt x="509141" y="189673"/>
                      </a:cubicBezTo>
                      <a:cubicBezTo>
                        <a:pt x="508121" y="189867"/>
                        <a:pt x="507465" y="190001"/>
                        <a:pt x="506968" y="190377"/>
                      </a:cubicBezTo>
                      <a:cubicBezTo>
                        <a:pt x="506300" y="191846"/>
                        <a:pt x="505401" y="193874"/>
                        <a:pt x="502645" y="194457"/>
                      </a:cubicBezTo>
                      <a:cubicBezTo>
                        <a:pt x="501115" y="194688"/>
                        <a:pt x="499791" y="194748"/>
                        <a:pt x="498516" y="194748"/>
                      </a:cubicBezTo>
                      <a:cubicBezTo>
                        <a:pt x="496865" y="194748"/>
                        <a:pt x="495322" y="194627"/>
                        <a:pt x="494048" y="194518"/>
                      </a:cubicBezTo>
                      <a:cubicBezTo>
                        <a:pt x="493962" y="194518"/>
                        <a:pt x="493890" y="194518"/>
                        <a:pt x="493805" y="194518"/>
                      </a:cubicBezTo>
                      <a:cubicBezTo>
                        <a:pt x="490514" y="194518"/>
                        <a:pt x="488267" y="195343"/>
                        <a:pt x="485887" y="196230"/>
                      </a:cubicBezTo>
                      <a:cubicBezTo>
                        <a:pt x="483325" y="197177"/>
                        <a:pt x="480678" y="198148"/>
                        <a:pt x="477606" y="198246"/>
                      </a:cubicBezTo>
                      <a:cubicBezTo>
                        <a:pt x="476537" y="198185"/>
                        <a:pt x="475809" y="198112"/>
                        <a:pt x="475117" y="198112"/>
                      </a:cubicBezTo>
                      <a:cubicBezTo>
                        <a:pt x="474048" y="198112"/>
                        <a:pt x="473769" y="198282"/>
                        <a:pt x="473757" y="198282"/>
                      </a:cubicBezTo>
                      <a:lnTo>
                        <a:pt x="473016" y="200273"/>
                      </a:lnTo>
                      <a:lnTo>
                        <a:pt x="470733" y="200322"/>
                      </a:lnTo>
                      <a:cubicBezTo>
                        <a:pt x="470029" y="200322"/>
                        <a:pt x="469349" y="200128"/>
                        <a:pt x="468304" y="199848"/>
                      </a:cubicBezTo>
                      <a:cubicBezTo>
                        <a:pt x="466908" y="199460"/>
                        <a:pt x="464783" y="198877"/>
                        <a:pt x="462755" y="198877"/>
                      </a:cubicBezTo>
                      <a:cubicBezTo>
                        <a:pt x="459999" y="198877"/>
                        <a:pt x="457048" y="199703"/>
                        <a:pt x="456077" y="205859"/>
                      </a:cubicBezTo>
                      <a:lnTo>
                        <a:pt x="455275" y="210886"/>
                      </a:lnTo>
                      <a:lnTo>
                        <a:pt x="450831" y="207511"/>
                      </a:lnTo>
                      <a:close/>
                    </a:path>
                  </a:pathLst>
                </a:custGeom>
                <a:solidFill>
                  <a:srgbClr val="D7D7D2"/>
                </a:solidFill>
                <a:ln w="12138" cap="flat">
                  <a:noFill/>
                  <a:prstDash val="solid"/>
                  <a:miter/>
                </a:ln>
              </p:spPr>
              <p:txBody>
                <a:bodyPr rtlCol="0" anchor="ctr"/>
                <a:lstStyle/>
                <a:p>
                  <a:endParaRPr lang="en-US"/>
                </a:p>
              </p:txBody>
            </p:sp>
            <p:sp>
              <p:nvSpPr>
                <p:cNvPr id="297" name="Freeform: Shape 296">
                  <a:extLst>
                    <a:ext uri="{FF2B5EF4-FFF2-40B4-BE49-F238E27FC236}">
                      <a16:creationId xmlns:a16="http://schemas.microsoft.com/office/drawing/2014/main" id="{3BA05FA9-B953-40E8-8E32-927B46BA4C05}"/>
                    </a:ext>
                  </a:extLst>
                </p:cNvPr>
                <p:cNvSpPr/>
                <p:nvPr/>
              </p:nvSpPr>
              <p:spPr>
                <a:xfrm>
                  <a:off x="7387911" y="2918634"/>
                  <a:ext cx="565994" cy="219459"/>
                </a:xfrm>
                <a:custGeom>
                  <a:avLst/>
                  <a:gdLst>
                    <a:gd name="connsiteX0" fmla="*/ 431560 w 565994"/>
                    <a:gd name="connsiteY0" fmla="*/ 6071 h 219459"/>
                    <a:gd name="connsiteX1" fmla="*/ 436150 w 565994"/>
                    <a:gd name="connsiteY1" fmla="*/ 6751 h 219459"/>
                    <a:gd name="connsiteX2" fmla="*/ 444760 w 565994"/>
                    <a:gd name="connsiteY2" fmla="*/ 30831 h 219459"/>
                    <a:gd name="connsiteX3" fmla="*/ 444516 w 565994"/>
                    <a:gd name="connsiteY3" fmla="*/ 44589 h 219459"/>
                    <a:gd name="connsiteX4" fmla="*/ 434292 w 565994"/>
                    <a:gd name="connsiteY4" fmla="*/ 65790 h 219459"/>
                    <a:gd name="connsiteX5" fmla="*/ 428682 w 565994"/>
                    <a:gd name="connsiteY5" fmla="*/ 74145 h 219459"/>
                    <a:gd name="connsiteX6" fmla="*/ 429350 w 565994"/>
                    <a:gd name="connsiteY6" fmla="*/ 83628 h 219459"/>
                    <a:gd name="connsiteX7" fmla="*/ 436138 w 565994"/>
                    <a:gd name="connsiteY7" fmla="*/ 87939 h 219459"/>
                    <a:gd name="connsiteX8" fmla="*/ 438712 w 565994"/>
                    <a:gd name="connsiteY8" fmla="*/ 91278 h 219459"/>
                    <a:gd name="connsiteX9" fmla="*/ 439963 w 565994"/>
                    <a:gd name="connsiteY9" fmla="*/ 91533 h 219459"/>
                    <a:gd name="connsiteX10" fmla="*/ 443776 w 565994"/>
                    <a:gd name="connsiteY10" fmla="*/ 90416 h 219459"/>
                    <a:gd name="connsiteX11" fmla="*/ 454680 w 565994"/>
                    <a:gd name="connsiteY11" fmla="*/ 86870 h 219459"/>
                    <a:gd name="connsiteX12" fmla="*/ 462743 w 565994"/>
                    <a:gd name="connsiteY12" fmla="*/ 86336 h 219459"/>
                    <a:gd name="connsiteX13" fmla="*/ 464710 w 565994"/>
                    <a:gd name="connsiteY13" fmla="*/ 86409 h 219459"/>
                    <a:gd name="connsiteX14" fmla="*/ 469604 w 565994"/>
                    <a:gd name="connsiteY14" fmla="*/ 86822 h 219459"/>
                    <a:gd name="connsiteX15" fmla="*/ 474012 w 565994"/>
                    <a:gd name="connsiteY15" fmla="*/ 85256 h 219459"/>
                    <a:gd name="connsiteX16" fmla="*/ 482900 w 565994"/>
                    <a:gd name="connsiteY16" fmla="*/ 80933 h 219459"/>
                    <a:gd name="connsiteX17" fmla="*/ 490587 w 565994"/>
                    <a:gd name="connsiteY17" fmla="*/ 82790 h 219459"/>
                    <a:gd name="connsiteX18" fmla="*/ 497958 w 565994"/>
                    <a:gd name="connsiteY18" fmla="*/ 88401 h 219459"/>
                    <a:gd name="connsiteX19" fmla="*/ 503216 w 565994"/>
                    <a:gd name="connsiteY19" fmla="*/ 93853 h 219459"/>
                    <a:gd name="connsiteX20" fmla="*/ 510744 w 565994"/>
                    <a:gd name="connsiteY20" fmla="*/ 97605 h 219459"/>
                    <a:gd name="connsiteX21" fmla="*/ 518431 w 565994"/>
                    <a:gd name="connsiteY21" fmla="*/ 99463 h 219459"/>
                    <a:gd name="connsiteX22" fmla="*/ 519038 w 565994"/>
                    <a:gd name="connsiteY22" fmla="*/ 99657 h 219459"/>
                    <a:gd name="connsiteX23" fmla="*/ 524709 w 565994"/>
                    <a:gd name="connsiteY23" fmla="*/ 94703 h 219459"/>
                    <a:gd name="connsiteX24" fmla="*/ 524939 w 565994"/>
                    <a:gd name="connsiteY24" fmla="*/ 94751 h 219459"/>
                    <a:gd name="connsiteX25" fmla="*/ 526955 w 565994"/>
                    <a:gd name="connsiteY25" fmla="*/ 96804 h 219459"/>
                    <a:gd name="connsiteX26" fmla="*/ 530707 w 565994"/>
                    <a:gd name="connsiteY26" fmla="*/ 103385 h 219459"/>
                    <a:gd name="connsiteX27" fmla="*/ 527987 w 565994"/>
                    <a:gd name="connsiteY27" fmla="*/ 110719 h 219459"/>
                    <a:gd name="connsiteX28" fmla="*/ 524769 w 565994"/>
                    <a:gd name="connsiteY28" fmla="*/ 115516 h 219459"/>
                    <a:gd name="connsiteX29" fmla="*/ 526336 w 565994"/>
                    <a:gd name="connsiteY29" fmla="*/ 122559 h 219459"/>
                    <a:gd name="connsiteX30" fmla="*/ 540033 w 565994"/>
                    <a:gd name="connsiteY30" fmla="*/ 129310 h 219459"/>
                    <a:gd name="connsiteX31" fmla="*/ 546845 w 565994"/>
                    <a:gd name="connsiteY31" fmla="*/ 132989 h 219459"/>
                    <a:gd name="connsiteX32" fmla="*/ 552880 w 565994"/>
                    <a:gd name="connsiteY32" fmla="*/ 137859 h 219459"/>
                    <a:gd name="connsiteX33" fmla="*/ 555151 w 565994"/>
                    <a:gd name="connsiteY33" fmla="*/ 144962 h 219459"/>
                    <a:gd name="connsiteX34" fmla="*/ 557434 w 565994"/>
                    <a:gd name="connsiteY34" fmla="*/ 152066 h 219459"/>
                    <a:gd name="connsiteX35" fmla="*/ 559850 w 565994"/>
                    <a:gd name="connsiteY35" fmla="*/ 157907 h 219459"/>
                    <a:gd name="connsiteX36" fmla="*/ 557883 w 565994"/>
                    <a:gd name="connsiteY36" fmla="*/ 164682 h 219459"/>
                    <a:gd name="connsiteX37" fmla="*/ 554471 w 565994"/>
                    <a:gd name="connsiteY37" fmla="*/ 171956 h 219459"/>
                    <a:gd name="connsiteX38" fmla="*/ 549104 w 565994"/>
                    <a:gd name="connsiteY38" fmla="*/ 176570 h 219459"/>
                    <a:gd name="connsiteX39" fmla="*/ 546117 w 565994"/>
                    <a:gd name="connsiteY39" fmla="*/ 178865 h 219459"/>
                    <a:gd name="connsiteX40" fmla="*/ 542449 w 565994"/>
                    <a:gd name="connsiteY40" fmla="*/ 179825 h 219459"/>
                    <a:gd name="connsiteX41" fmla="*/ 537203 w 565994"/>
                    <a:gd name="connsiteY41" fmla="*/ 183188 h 219459"/>
                    <a:gd name="connsiteX42" fmla="*/ 531108 w 565994"/>
                    <a:gd name="connsiteY42" fmla="*/ 188361 h 219459"/>
                    <a:gd name="connsiteX43" fmla="*/ 524502 w 565994"/>
                    <a:gd name="connsiteY43" fmla="*/ 190984 h 219459"/>
                    <a:gd name="connsiteX44" fmla="*/ 521369 w 565994"/>
                    <a:gd name="connsiteY44" fmla="*/ 194518 h 219459"/>
                    <a:gd name="connsiteX45" fmla="*/ 517872 w 565994"/>
                    <a:gd name="connsiteY45" fmla="*/ 194748 h 219459"/>
                    <a:gd name="connsiteX46" fmla="*/ 513561 w 565994"/>
                    <a:gd name="connsiteY46" fmla="*/ 194530 h 219459"/>
                    <a:gd name="connsiteX47" fmla="*/ 512468 w 565994"/>
                    <a:gd name="connsiteY47" fmla="*/ 194493 h 219459"/>
                    <a:gd name="connsiteX48" fmla="*/ 496877 w 565994"/>
                    <a:gd name="connsiteY48" fmla="*/ 198258 h 219459"/>
                    <a:gd name="connsiteX49" fmla="*/ 494485 w 565994"/>
                    <a:gd name="connsiteY49" fmla="*/ 198124 h 219459"/>
                    <a:gd name="connsiteX50" fmla="*/ 490320 w 565994"/>
                    <a:gd name="connsiteY50" fmla="*/ 200261 h 219459"/>
                    <a:gd name="connsiteX51" fmla="*/ 490101 w 565994"/>
                    <a:gd name="connsiteY51" fmla="*/ 200334 h 219459"/>
                    <a:gd name="connsiteX52" fmla="*/ 482123 w 565994"/>
                    <a:gd name="connsiteY52" fmla="*/ 198889 h 219459"/>
                    <a:gd name="connsiteX53" fmla="*/ 472445 w 565994"/>
                    <a:gd name="connsiteY53" fmla="*/ 208433 h 219459"/>
                    <a:gd name="connsiteX54" fmla="*/ 471231 w 565994"/>
                    <a:gd name="connsiteY54" fmla="*/ 207511 h 219459"/>
                    <a:gd name="connsiteX55" fmla="*/ 468535 w 565994"/>
                    <a:gd name="connsiteY55" fmla="*/ 207413 h 219459"/>
                    <a:gd name="connsiteX56" fmla="*/ 467042 w 565994"/>
                    <a:gd name="connsiteY56" fmla="*/ 206916 h 219459"/>
                    <a:gd name="connsiteX57" fmla="*/ 465937 w 565994"/>
                    <a:gd name="connsiteY57" fmla="*/ 205823 h 219459"/>
                    <a:gd name="connsiteX58" fmla="*/ 464055 w 565994"/>
                    <a:gd name="connsiteY58" fmla="*/ 202981 h 219459"/>
                    <a:gd name="connsiteX59" fmla="*/ 462682 w 565994"/>
                    <a:gd name="connsiteY59" fmla="*/ 201852 h 219459"/>
                    <a:gd name="connsiteX60" fmla="*/ 457631 w 565994"/>
                    <a:gd name="connsiteY60" fmla="*/ 199909 h 219459"/>
                    <a:gd name="connsiteX61" fmla="*/ 451596 w 565994"/>
                    <a:gd name="connsiteY61" fmla="*/ 198476 h 219459"/>
                    <a:gd name="connsiteX62" fmla="*/ 445573 w 565994"/>
                    <a:gd name="connsiteY62" fmla="*/ 198209 h 219459"/>
                    <a:gd name="connsiteX63" fmla="*/ 440558 w 565994"/>
                    <a:gd name="connsiteY63" fmla="*/ 199739 h 219459"/>
                    <a:gd name="connsiteX64" fmla="*/ 437012 w 565994"/>
                    <a:gd name="connsiteY64" fmla="*/ 200856 h 219459"/>
                    <a:gd name="connsiteX65" fmla="*/ 426569 w 565994"/>
                    <a:gd name="connsiteY65" fmla="*/ 199314 h 219459"/>
                    <a:gd name="connsiteX66" fmla="*/ 406533 w 565994"/>
                    <a:gd name="connsiteY66" fmla="*/ 201743 h 219459"/>
                    <a:gd name="connsiteX67" fmla="*/ 397463 w 565994"/>
                    <a:gd name="connsiteY67" fmla="*/ 200941 h 219459"/>
                    <a:gd name="connsiteX68" fmla="*/ 394646 w 565994"/>
                    <a:gd name="connsiteY68" fmla="*/ 201318 h 219459"/>
                    <a:gd name="connsiteX69" fmla="*/ 393443 w 565994"/>
                    <a:gd name="connsiteY69" fmla="*/ 202411 h 219459"/>
                    <a:gd name="connsiteX70" fmla="*/ 392290 w 565994"/>
                    <a:gd name="connsiteY70" fmla="*/ 204851 h 219459"/>
                    <a:gd name="connsiteX71" fmla="*/ 390978 w 565994"/>
                    <a:gd name="connsiteY71" fmla="*/ 205884 h 219459"/>
                    <a:gd name="connsiteX72" fmla="*/ 389315 w 565994"/>
                    <a:gd name="connsiteY72" fmla="*/ 205361 h 219459"/>
                    <a:gd name="connsiteX73" fmla="*/ 386898 w 565994"/>
                    <a:gd name="connsiteY73" fmla="*/ 204220 h 219459"/>
                    <a:gd name="connsiteX74" fmla="*/ 384713 w 565994"/>
                    <a:gd name="connsiteY74" fmla="*/ 204281 h 219459"/>
                    <a:gd name="connsiteX75" fmla="*/ 383790 w 565994"/>
                    <a:gd name="connsiteY75" fmla="*/ 207486 h 219459"/>
                    <a:gd name="connsiteX76" fmla="*/ 381847 w 565994"/>
                    <a:gd name="connsiteY76" fmla="*/ 209356 h 219459"/>
                    <a:gd name="connsiteX77" fmla="*/ 377475 w 565994"/>
                    <a:gd name="connsiteY77" fmla="*/ 210036 h 219459"/>
                    <a:gd name="connsiteX78" fmla="*/ 372703 w 565994"/>
                    <a:gd name="connsiteY78" fmla="*/ 209806 h 219459"/>
                    <a:gd name="connsiteX79" fmla="*/ 369485 w 565994"/>
                    <a:gd name="connsiteY79" fmla="*/ 209053 h 219459"/>
                    <a:gd name="connsiteX80" fmla="*/ 366498 w 565994"/>
                    <a:gd name="connsiteY80" fmla="*/ 206685 h 219459"/>
                    <a:gd name="connsiteX81" fmla="*/ 365223 w 565994"/>
                    <a:gd name="connsiteY81" fmla="*/ 204414 h 219459"/>
                    <a:gd name="connsiteX82" fmla="*/ 363863 w 565994"/>
                    <a:gd name="connsiteY82" fmla="*/ 202860 h 219459"/>
                    <a:gd name="connsiteX83" fmla="*/ 360585 w 565994"/>
                    <a:gd name="connsiteY83" fmla="*/ 202629 h 219459"/>
                    <a:gd name="connsiteX84" fmla="*/ 358970 w 565994"/>
                    <a:gd name="connsiteY84" fmla="*/ 203321 h 219459"/>
                    <a:gd name="connsiteX85" fmla="*/ 355873 w 565994"/>
                    <a:gd name="connsiteY85" fmla="*/ 205823 h 219459"/>
                    <a:gd name="connsiteX86" fmla="*/ 353615 w 565994"/>
                    <a:gd name="connsiteY86" fmla="*/ 206357 h 219459"/>
                    <a:gd name="connsiteX87" fmla="*/ 351611 w 565994"/>
                    <a:gd name="connsiteY87" fmla="*/ 206624 h 219459"/>
                    <a:gd name="connsiteX88" fmla="*/ 347822 w 565994"/>
                    <a:gd name="connsiteY88" fmla="*/ 207790 h 219459"/>
                    <a:gd name="connsiteX89" fmla="*/ 345977 w 565994"/>
                    <a:gd name="connsiteY89" fmla="*/ 208057 h 219459"/>
                    <a:gd name="connsiteX90" fmla="*/ 338642 w 565994"/>
                    <a:gd name="connsiteY90" fmla="*/ 207256 h 219459"/>
                    <a:gd name="connsiteX91" fmla="*/ 310920 w 565994"/>
                    <a:gd name="connsiteY91" fmla="*/ 199071 h 219459"/>
                    <a:gd name="connsiteX92" fmla="*/ 301898 w 565994"/>
                    <a:gd name="connsiteY92" fmla="*/ 194481 h 219459"/>
                    <a:gd name="connsiteX93" fmla="*/ 299894 w 565994"/>
                    <a:gd name="connsiteY93" fmla="*/ 194542 h 219459"/>
                    <a:gd name="connsiteX94" fmla="*/ 295753 w 565994"/>
                    <a:gd name="connsiteY94" fmla="*/ 196594 h 219459"/>
                    <a:gd name="connsiteX95" fmla="*/ 293458 w 565994"/>
                    <a:gd name="connsiteY95" fmla="*/ 196971 h 219459"/>
                    <a:gd name="connsiteX96" fmla="*/ 283076 w 565994"/>
                    <a:gd name="connsiteY96" fmla="*/ 196631 h 219459"/>
                    <a:gd name="connsiteX97" fmla="*/ 253047 w 565994"/>
                    <a:gd name="connsiteY97" fmla="*/ 201306 h 219459"/>
                    <a:gd name="connsiteX98" fmla="*/ 247073 w 565994"/>
                    <a:gd name="connsiteY98" fmla="*/ 203370 h 219459"/>
                    <a:gd name="connsiteX99" fmla="*/ 245457 w 565994"/>
                    <a:gd name="connsiteY99" fmla="*/ 203576 h 219459"/>
                    <a:gd name="connsiteX100" fmla="*/ 224268 w 565994"/>
                    <a:gd name="connsiteY100" fmla="*/ 206393 h 219459"/>
                    <a:gd name="connsiteX101" fmla="*/ 219034 w 565994"/>
                    <a:gd name="connsiteY101" fmla="*/ 205786 h 219459"/>
                    <a:gd name="connsiteX102" fmla="*/ 216290 w 565994"/>
                    <a:gd name="connsiteY102" fmla="*/ 204463 h 219459"/>
                    <a:gd name="connsiteX103" fmla="*/ 213922 w 565994"/>
                    <a:gd name="connsiteY103" fmla="*/ 202738 h 219459"/>
                    <a:gd name="connsiteX104" fmla="*/ 211518 w 565994"/>
                    <a:gd name="connsiteY104" fmla="*/ 201342 h 219459"/>
                    <a:gd name="connsiteX105" fmla="*/ 208543 w 565994"/>
                    <a:gd name="connsiteY105" fmla="*/ 200966 h 219459"/>
                    <a:gd name="connsiteX106" fmla="*/ 207559 w 565994"/>
                    <a:gd name="connsiteY106" fmla="*/ 201476 h 219459"/>
                    <a:gd name="connsiteX107" fmla="*/ 205556 w 565994"/>
                    <a:gd name="connsiteY107" fmla="*/ 203552 h 219459"/>
                    <a:gd name="connsiteX108" fmla="*/ 204463 w 565994"/>
                    <a:gd name="connsiteY108" fmla="*/ 204147 h 219459"/>
                    <a:gd name="connsiteX109" fmla="*/ 202848 w 565994"/>
                    <a:gd name="connsiteY109" fmla="*/ 204268 h 219459"/>
                    <a:gd name="connsiteX110" fmla="*/ 195902 w 565994"/>
                    <a:gd name="connsiteY110" fmla="*/ 203091 h 219459"/>
                    <a:gd name="connsiteX111" fmla="*/ 191834 w 565994"/>
                    <a:gd name="connsiteY111" fmla="*/ 201306 h 219459"/>
                    <a:gd name="connsiteX112" fmla="*/ 189685 w 565994"/>
                    <a:gd name="connsiteY112" fmla="*/ 200650 h 219459"/>
                    <a:gd name="connsiteX113" fmla="*/ 187062 w 565994"/>
                    <a:gd name="connsiteY113" fmla="*/ 200565 h 219459"/>
                    <a:gd name="connsiteX114" fmla="*/ 179521 w 565994"/>
                    <a:gd name="connsiteY114" fmla="*/ 202459 h 219459"/>
                    <a:gd name="connsiteX115" fmla="*/ 164148 w 565994"/>
                    <a:gd name="connsiteY115" fmla="*/ 201111 h 219459"/>
                    <a:gd name="connsiteX116" fmla="*/ 145072 w 565994"/>
                    <a:gd name="connsiteY116" fmla="*/ 205046 h 219459"/>
                    <a:gd name="connsiteX117" fmla="*/ 138478 w 565994"/>
                    <a:gd name="connsiteY117" fmla="*/ 204864 h 219459"/>
                    <a:gd name="connsiteX118" fmla="*/ 123943 w 565994"/>
                    <a:gd name="connsiteY118" fmla="*/ 198841 h 219459"/>
                    <a:gd name="connsiteX119" fmla="*/ 94484 w 565994"/>
                    <a:gd name="connsiteY119" fmla="*/ 192551 h 219459"/>
                    <a:gd name="connsiteX120" fmla="*/ 52858 w 565994"/>
                    <a:gd name="connsiteY120" fmla="*/ 175490 h 219459"/>
                    <a:gd name="connsiteX121" fmla="*/ 45803 w 565994"/>
                    <a:gd name="connsiteY121" fmla="*/ 175757 h 219459"/>
                    <a:gd name="connsiteX122" fmla="*/ 39076 w 565994"/>
                    <a:gd name="connsiteY122" fmla="*/ 178392 h 219459"/>
                    <a:gd name="connsiteX123" fmla="*/ 36149 w 565994"/>
                    <a:gd name="connsiteY123" fmla="*/ 177882 h 219459"/>
                    <a:gd name="connsiteX124" fmla="*/ 33964 w 565994"/>
                    <a:gd name="connsiteY124" fmla="*/ 173972 h 219459"/>
                    <a:gd name="connsiteX125" fmla="*/ 32288 w 565994"/>
                    <a:gd name="connsiteY125" fmla="*/ 166880 h 219459"/>
                    <a:gd name="connsiteX126" fmla="*/ 31669 w 565994"/>
                    <a:gd name="connsiteY126" fmla="*/ 160044 h 219459"/>
                    <a:gd name="connsiteX127" fmla="*/ 32470 w 565994"/>
                    <a:gd name="connsiteY127" fmla="*/ 154312 h 219459"/>
                    <a:gd name="connsiteX128" fmla="*/ 32713 w 565994"/>
                    <a:gd name="connsiteY128" fmla="*/ 152297 h 219459"/>
                    <a:gd name="connsiteX129" fmla="*/ 34207 w 565994"/>
                    <a:gd name="connsiteY129" fmla="*/ 146990 h 219459"/>
                    <a:gd name="connsiteX130" fmla="*/ 36963 w 565994"/>
                    <a:gd name="connsiteY130" fmla="*/ 137057 h 219459"/>
                    <a:gd name="connsiteX131" fmla="*/ 37303 w 565994"/>
                    <a:gd name="connsiteY131" fmla="*/ 121976 h 219459"/>
                    <a:gd name="connsiteX132" fmla="*/ 39076 w 565994"/>
                    <a:gd name="connsiteY132" fmla="*/ 107914 h 219459"/>
                    <a:gd name="connsiteX133" fmla="*/ 37133 w 565994"/>
                    <a:gd name="connsiteY133" fmla="*/ 100009 h 219459"/>
                    <a:gd name="connsiteX134" fmla="*/ 32859 w 565994"/>
                    <a:gd name="connsiteY134" fmla="*/ 89882 h 219459"/>
                    <a:gd name="connsiteX135" fmla="*/ 29435 w 565994"/>
                    <a:gd name="connsiteY135" fmla="*/ 71910 h 219459"/>
                    <a:gd name="connsiteX136" fmla="*/ 30175 w 565994"/>
                    <a:gd name="connsiteY136" fmla="*/ 66944 h 219459"/>
                    <a:gd name="connsiteX137" fmla="*/ 38226 w 565994"/>
                    <a:gd name="connsiteY137" fmla="*/ 53162 h 219459"/>
                    <a:gd name="connsiteX138" fmla="*/ 39076 w 565994"/>
                    <a:gd name="connsiteY138" fmla="*/ 48390 h 219459"/>
                    <a:gd name="connsiteX139" fmla="*/ 37582 w 565994"/>
                    <a:gd name="connsiteY139" fmla="*/ 47248 h 219459"/>
                    <a:gd name="connsiteX140" fmla="*/ 34595 w 565994"/>
                    <a:gd name="connsiteY140" fmla="*/ 46957 h 219459"/>
                    <a:gd name="connsiteX141" fmla="*/ 31098 w 565994"/>
                    <a:gd name="connsiteY141" fmla="*/ 44892 h 219459"/>
                    <a:gd name="connsiteX142" fmla="*/ 34778 w 565994"/>
                    <a:gd name="connsiteY142" fmla="*/ 43690 h 219459"/>
                    <a:gd name="connsiteX143" fmla="*/ 37412 w 565994"/>
                    <a:gd name="connsiteY143" fmla="*/ 41565 h 219459"/>
                    <a:gd name="connsiteX144" fmla="*/ 37995 w 565994"/>
                    <a:gd name="connsiteY144" fmla="*/ 38833 h 219459"/>
                    <a:gd name="connsiteX145" fmla="*/ 37315 w 565994"/>
                    <a:gd name="connsiteY145" fmla="*/ 37995 h 219459"/>
                    <a:gd name="connsiteX146" fmla="*/ 70915 w 565994"/>
                    <a:gd name="connsiteY146" fmla="*/ 64175 h 219459"/>
                    <a:gd name="connsiteX147" fmla="*/ 89615 w 565994"/>
                    <a:gd name="connsiteY147" fmla="*/ 52421 h 219459"/>
                    <a:gd name="connsiteX148" fmla="*/ 97326 w 565994"/>
                    <a:gd name="connsiteY148" fmla="*/ 44856 h 219459"/>
                    <a:gd name="connsiteX149" fmla="*/ 109809 w 565994"/>
                    <a:gd name="connsiteY149" fmla="*/ 43460 h 219459"/>
                    <a:gd name="connsiteX150" fmla="*/ 111678 w 565994"/>
                    <a:gd name="connsiteY150" fmla="*/ 43472 h 219459"/>
                    <a:gd name="connsiteX151" fmla="*/ 115115 w 565994"/>
                    <a:gd name="connsiteY151" fmla="*/ 43496 h 219459"/>
                    <a:gd name="connsiteX152" fmla="*/ 125242 w 565994"/>
                    <a:gd name="connsiteY152" fmla="*/ 40740 h 219459"/>
                    <a:gd name="connsiteX153" fmla="*/ 135722 w 565994"/>
                    <a:gd name="connsiteY153" fmla="*/ 35931 h 219459"/>
                    <a:gd name="connsiteX154" fmla="*/ 144574 w 565994"/>
                    <a:gd name="connsiteY154" fmla="*/ 35299 h 219459"/>
                    <a:gd name="connsiteX155" fmla="*/ 152965 w 565994"/>
                    <a:gd name="connsiteY155" fmla="*/ 35409 h 219459"/>
                    <a:gd name="connsiteX156" fmla="*/ 163808 w 565994"/>
                    <a:gd name="connsiteY156" fmla="*/ 34389 h 219459"/>
                    <a:gd name="connsiteX157" fmla="*/ 175903 w 565994"/>
                    <a:gd name="connsiteY157" fmla="*/ 32555 h 219459"/>
                    <a:gd name="connsiteX158" fmla="*/ 186358 w 565994"/>
                    <a:gd name="connsiteY158" fmla="*/ 36732 h 219459"/>
                    <a:gd name="connsiteX159" fmla="*/ 190401 w 565994"/>
                    <a:gd name="connsiteY159" fmla="*/ 45888 h 219459"/>
                    <a:gd name="connsiteX160" fmla="*/ 198148 w 565994"/>
                    <a:gd name="connsiteY160" fmla="*/ 47928 h 219459"/>
                    <a:gd name="connsiteX161" fmla="*/ 202253 w 565994"/>
                    <a:gd name="connsiteY161" fmla="*/ 47321 h 219459"/>
                    <a:gd name="connsiteX162" fmla="*/ 217189 w 565994"/>
                    <a:gd name="connsiteY162" fmla="*/ 37218 h 219459"/>
                    <a:gd name="connsiteX163" fmla="*/ 222276 w 565994"/>
                    <a:gd name="connsiteY163" fmla="*/ 38979 h 219459"/>
                    <a:gd name="connsiteX164" fmla="*/ 227364 w 565994"/>
                    <a:gd name="connsiteY164" fmla="*/ 46410 h 219459"/>
                    <a:gd name="connsiteX165" fmla="*/ 238293 w 565994"/>
                    <a:gd name="connsiteY165" fmla="*/ 52336 h 219459"/>
                    <a:gd name="connsiteX166" fmla="*/ 254128 w 565994"/>
                    <a:gd name="connsiteY166" fmla="*/ 59100 h 219459"/>
                    <a:gd name="connsiteX167" fmla="*/ 271540 w 565994"/>
                    <a:gd name="connsiteY167" fmla="*/ 64273 h 219459"/>
                    <a:gd name="connsiteX168" fmla="*/ 285165 w 565994"/>
                    <a:gd name="connsiteY168" fmla="*/ 71680 h 219459"/>
                    <a:gd name="connsiteX169" fmla="*/ 285614 w 565994"/>
                    <a:gd name="connsiteY169" fmla="*/ 71680 h 219459"/>
                    <a:gd name="connsiteX170" fmla="*/ 298097 w 565994"/>
                    <a:gd name="connsiteY170" fmla="*/ 63155 h 219459"/>
                    <a:gd name="connsiteX171" fmla="*/ 303537 w 565994"/>
                    <a:gd name="connsiteY171" fmla="*/ 56695 h 219459"/>
                    <a:gd name="connsiteX172" fmla="*/ 312899 w 565994"/>
                    <a:gd name="connsiteY172" fmla="*/ 54170 h 219459"/>
                    <a:gd name="connsiteX173" fmla="*/ 314830 w 565994"/>
                    <a:gd name="connsiteY173" fmla="*/ 46860 h 219459"/>
                    <a:gd name="connsiteX174" fmla="*/ 318971 w 565994"/>
                    <a:gd name="connsiteY174" fmla="*/ 42209 h 219459"/>
                    <a:gd name="connsiteX175" fmla="*/ 330786 w 565994"/>
                    <a:gd name="connsiteY175" fmla="*/ 24978 h 219459"/>
                    <a:gd name="connsiteX176" fmla="*/ 335024 w 565994"/>
                    <a:gd name="connsiteY176" fmla="*/ 24419 h 219459"/>
                    <a:gd name="connsiteX177" fmla="*/ 355582 w 565994"/>
                    <a:gd name="connsiteY177" fmla="*/ 35518 h 219459"/>
                    <a:gd name="connsiteX178" fmla="*/ 360402 w 565994"/>
                    <a:gd name="connsiteY178" fmla="*/ 36222 h 219459"/>
                    <a:gd name="connsiteX179" fmla="*/ 376747 w 565994"/>
                    <a:gd name="connsiteY179" fmla="*/ 28427 h 219459"/>
                    <a:gd name="connsiteX180" fmla="*/ 404688 w 565994"/>
                    <a:gd name="connsiteY180" fmla="*/ 19344 h 219459"/>
                    <a:gd name="connsiteX181" fmla="*/ 418858 w 565994"/>
                    <a:gd name="connsiteY181" fmla="*/ 9131 h 219459"/>
                    <a:gd name="connsiteX182" fmla="*/ 431560 w 565994"/>
                    <a:gd name="connsiteY182" fmla="*/ 6071 h 219459"/>
                    <a:gd name="connsiteX183" fmla="*/ 431560 w 565994"/>
                    <a:gd name="connsiteY183" fmla="*/ 0 h 219459"/>
                    <a:gd name="connsiteX184" fmla="*/ 431560 w 565994"/>
                    <a:gd name="connsiteY184" fmla="*/ 0 h 219459"/>
                    <a:gd name="connsiteX185" fmla="*/ 418409 w 565994"/>
                    <a:gd name="connsiteY185" fmla="*/ 2890 h 219459"/>
                    <a:gd name="connsiteX186" fmla="*/ 416904 w 565994"/>
                    <a:gd name="connsiteY186" fmla="*/ 3412 h 219459"/>
                    <a:gd name="connsiteX187" fmla="*/ 405355 w 565994"/>
                    <a:gd name="connsiteY187" fmla="*/ 10819 h 219459"/>
                    <a:gd name="connsiteX188" fmla="*/ 401118 w 565994"/>
                    <a:gd name="connsiteY188" fmla="*/ 14462 h 219459"/>
                    <a:gd name="connsiteX189" fmla="*/ 388538 w 565994"/>
                    <a:gd name="connsiteY189" fmla="*/ 18664 h 219459"/>
                    <a:gd name="connsiteX190" fmla="*/ 374015 w 565994"/>
                    <a:gd name="connsiteY190" fmla="*/ 23023 h 219459"/>
                    <a:gd name="connsiteX191" fmla="*/ 368004 w 565994"/>
                    <a:gd name="connsiteY191" fmla="*/ 26763 h 219459"/>
                    <a:gd name="connsiteX192" fmla="*/ 360427 w 565994"/>
                    <a:gd name="connsiteY192" fmla="*/ 30151 h 219459"/>
                    <a:gd name="connsiteX193" fmla="*/ 357185 w 565994"/>
                    <a:gd name="connsiteY193" fmla="*/ 29665 h 219459"/>
                    <a:gd name="connsiteX194" fmla="*/ 350469 w 565994"/>
                    <a:gd name="connsiteY194" fmla="*/ 25342 h 219459"/>
                    <a:gd name="connsiteX195" fmla="*/ 335036 w 565994"/>
                    <a:gd name="connsiteY195" fmla="*/ 18360 h 219459"/>
                    <a:gd name="connsiteX196" fmla="*/ 329341 w 565994"/>
                    <a:gd name="connsiteY196" fmla="*/ 19101 h 219459"/>
                    <a:gd name="connsiteX197" fmla="*/ 315231 w 565994"/>
                    <a:gd name="connsiteY197" fmla="*/ 34899 h 219459"/>
                    <a:gd name="connsiteX198" fmla="*/ 313506 w 565994"/>
                    <a:gd name="connsiteY198" fmla="*/ 39610 h 219459"/>
                    <a:gd name="connsiteX199" fmla="*/ 313482 w 565994"/>
                    <a:gd name="connsiteY199" fmla="*/ 39574 h 219459"/>
                    <a:gd name="connsiteX200" fmla="*/ 312923 w 565994"/>
                    <a:gd name="connsiteY200" fmla="*/ 39974 h 219459"/>
                    <a:gd name="connsiteX201" fmla="*/ 309378 w 565994"/>
                    <a:gd name="connsiteY201" fmla="*/ 44261 h 219459"/>
                    <a:gd name="connsiteX202" fmla="*/ 308212 w 565994"/>
                    <a:gd name="connsiteY202" fmla="*/ 49519 h 219459"/>
                    <a:gd name="connsiteX203" fmla="*/ 307459 w 565994"/>
                    <a:gd name="connsiteY203" fmla="*/ 49580 h 219459"/>
                    <a:gd name="connsiteX204" fmla="*/ 300173 w 565994"/>
                    <a:gd name="connsiteY204" fmla="*/ 51680 h 219459"/>
                    <a:gd name="connsiteX205" fmla="*/ 293106 w 565994"/>
                    <a:gd name="connsiteY205" fmla="*/ 59743 h 219459"/>
                    <a:gd name="connsiteX206" fmla="*/ 292451 w 565994"/>
                    <a:gd name="connsiteY206" fmla="*/ 60666 h 219459"/>
                    <a:gd name="connsiteX207" fmla="*/ 285626 w 565994"/>
                    <a:gd name="connsiteY207" fmla="*/ 65633 h 219459"/>
                    <a:gd name="connsiteX208" fmla="*/ 277843 w 565994"/>
                    <a:gd name="connsiteY208" fmla="*/ 61941 h 219459"/>
                    <a:gd name="connsiteX209" fmla="*/ 275693 w 565994"/>
                    <a:gd name="connsiteY209" fmla="*/ 59853 h 219459"/>
                    <a:gd name="connsiteX210" fmla="*/ 257491 w 565994"/>
                    <a:gd name="connsiteY210" fmla="*/ 53283 h 219459"/>
                    <a:gd name="connsiteX211" fmla="*/ 254662 w 565994"/>
                    <a:gd name="connsiteY211" fmla="*/ 53065 h 219459"/>
                    <a:gd name="connsiteX212" fmla="*/ 244875 w 565994"/>
                    <a:gd name="connsiteY212" fmla="*/ 49349 h 219459"/>
                    <a:gd name="connsiteX213" fmla="*/ 241487 w 565994"/>
                    <a:gd name="connsiteY213" fmla="*/ 47175 h 219459"/>
                    <a:gd name="connsiteX214" fmla="*/ 236447 w 565994"/>
                    <a:gd name="connsiteY214" fmla="*/ 44650 h 219459"/>
                    <a:gd name="connsiteX215" fmla="*/ 231530 w 565994"/>
                    <a:gd name="connsiteY215" fmla="*/ 41978 h 219459"/>
                    <a:gd name="connsiteX216" fmla="*/ 230667 w 565994"/>
                    <a:gd name="connsiteY216" fmla="*/ 40363 h 219459"/>
                    <a:gd name="connsiteX217" fmla="*/ 225652 w 565994"/>
                    <a:gd name="connsiteY217" fmla="*/ 33915 h 219459"/>
                    <a:gd name="connsiteX218" fmla="*/ 217213 w 565994"/>
                    <a:gd name="connsiteY218" fmla="*/ 31147 h 219459"/>
                    <a:gd name="connsiteX219" fmla="*/ 203346 w 565994"/>
                    <a:gd name="connsiteY219" fmla="*/ 38760 h 219459"/>
                    <a:gd name="connsiteX220" fmla="*/ 200152 w 565994"/>
                    <a:gd name="connsiteY220" fmla="*/ 41626 h 219459"/>
                    <a:gd name="connsiteX221" fmla="*/ 198161 w 565994"/>
                    <a:gd name="connsiteY221" fmla="*/ 41857 h 219459"/>
                    <a:gd name="connsiteX222" fmla="*/ 194154 w 565994"/>
                    <a:gd name="connsiteY222" fmla="*/ 41104 h 219459"/>
                    <a:gd name="connsiteX223" fmla="*/ 193959 w 565994"/>
                    <a:gd name="connsiteY223" fmla="*/ 40193 h 219459"/>
                    <a:gd name="connsiteX224" fmla="*/ 191203 w 565994"/>
                    <a:gd name="connsiteY224" fmla="*/ 33065 h 219459"/>
                    <a:gd name="connsiteX225" fmla="*/ 175903 w 565994"/>
                    <a:gd name="connsiteY225" fmla="*/ 26484 h 219459"/>
                    <a:gd name="connsiteX226" fmla="*/ 162667 w 565994"/>
                    <a:gd name="connsiteY226" fmla="*/ 28427 h 219459"/>
                    <a:gd name="connsiteX227" fmla="*/ 152965 w 565994"/>
                    <a:gd name="connsiteY227" fmla="*/ 29337 h 219459"/>
                    <a:gd name="connsiteX228" fmla="*/ 148885 w 565994"/>
                    <a:gd name="connsiteY228" fmla="*/ 29289 h 219459"/>
                    <a:gd name="connsiteX229" fmla="*/ 144574 w 565994"/>
                    <a:gd name="connsiteY229" fmla="*/ 29228 h 219459"/>
                    <a:gd name="connsiteX230" fmla="*/ 134701 w 565994"/>
                    <a:gd name="connsiteY230" fmla="*/ 29957 h 219459"/>
                    <a:gd name="connsiteX231" fmla="*/ 124210 w 565994"/>
                    <a:gd name="connsiteY231" fmla="*/ 34352 h 219459"/>
                    <a:gd name="connsiteX232" fmla="*/ 122316 w 565994"/>
                    <a:gd name="connsiteY232" fmla="*/ 35433 h 219459"/>
                    <a:gd name="connsiteX233" fmla="*/ 115115 w 565994"/>
                    <a:gd name="connsiteY233" fmla="*/ 37437 h 219459"/>
                    <a:gd name="connsiteX234" fmla="*/ 113185 w 565994"/>
                    <a:gd name="connsiteY234" fmla="*/ 37425 h 219459"/>
                    <a:gd name="connsiteX235" fmla="*/ 111727 w 565994"/>
                    <a:gd name="connsiteY235" fmla="*/ 37412 h 219459"/>
                    <a:gd name="connsiteX236" fmla="*/ 109809 w 565994"/>
                    <a:gd name="connsiteY236" fmla="*/ 37400 h 219459"/>
                    <a:gd name="connsiteX237" fmla="*/ 95626 w 565994"/>
                    <a:gd name="connsiteY237" fmla="*/ 39040 h 219459"/>
                    <a:gd name="connsiteX238" fmla="*/ 84819 w 565994"/>
                    <a:gd name="connsiteY238" fmla="*/ 48426 h 219459"/>
                    <a:gd name="connsiteX239" fmla="*/ 84187 w 565994"/>
                    <a:gd name="connsiteY239" fmla="*/ 49701 h 219459"/>
                    <a:gd name="connsiteX240" fmla="*/ 72918 w 565994"/>
                    <a:gd name="connsiteY240" fmla="*/ 58055 h 219459"/>
                    <a:gd name="connsiteX241" fmla="*/ 41043 w 565994"/>
                    <a:gd name="connsiteY241" fmla="*/ 33211 h 219459"/>
                    <a:gd name="connsiteX242" fmla="*/ 0 w 565994"/>
                    <a:gd name="connsiteY242" fmla="*/ 1238 h 219459"/>
                    <a:gd name="connsiteX243" fmla="*/ 30175 w 565994"/>
                    <a:gd name="connsiteY243" fmla="*/ 38821 h 219459"/>
                    <a:gd name="connsiteX244" fmla="*/ 29204 w 565994"/>
                    <a:gd name="connsiteY244" fmla="*/ 39137 h 219459"/>
                    <a:gd name="connsiteX245" fmla="*/ 16417 w 565994"/>
                    <a:gd name="connsiteY245" fmla="*/ 43302 h 219459"/>
                    <a:gd name="connsiteX246" fmla="*/ 28002 w 565994"/>
                    <a:gd name="connsiteY246" fmla="*/ 50138 h 219459"/>
                    <a:gd name="connsiteX247" fmla="*/ 31499 w 565994"/>
                    <a:gd name="connsiteY247" fmla="*/ 52202 h 219459"/>
                    <a:gd name="connsiteX248" fmla="*/ 31693 w 565994"/>
                    <a:gd name="connsiteY248" fmla="*/ 52312 h 219459"/>
                    <a:gd name="connsiteX249" fmla="*/ 24917 w 565994"/>
                    <a:gd name="connsiteY249" fmla="*/ 63908 h 219459"/>
                    <a:gd name="connsiteX250" fmla="*/ 24322 w 565994"/>
                    <a:gd name="connsiteY250" fmla="*/ 64916 h 219459"/>
                    <a:gd name="connsiteX251" fmla="*/ 24152 w 565994"/>
                    <a:gd name="connsiteY251" fmla="*/ 66082 h 219459"/>
                    <a:gd name="connsiteX252" fmla="*/ 23412 w 565994"/>
                    <a:gd name="connsiteY252" fmla="*/ 71048 h 219459"/>
                    <a:gd name="connsiteX253" fmla="*/ 23254 w 565994"/>
                    <a:gd name="connsiteY253" fmla="*/ 72056 h 219459"/>
                    <a:gd name="connsiteX254" fmla="*/ 23448 w 565994"/>
                    <a:gd name="connsiteY254" fmla="*/ 73064 h 219459"/>
                    <a:gd name="connsiteX255" fmla="*/ 26872 w 565994"/>
                    <a:gd name="connsiteY255" fmla="*/ 91036 h 219459"/>
                    <a:gd name="connsiteX256" fmla="*/ 26994 w 565994"/>
                    <a:gd name="connsiteY256" fmla="*/ 91667 h 219459"/>
                    <a:gd name="connsiteX257" fmla="*/ 27249 w 565994"/>
                    <a:gd name="connsiteY257" fmla="*/ 92262 h 219459"/>
                    <a:gd name="connsiteX258" fmla="*/ 31341 w 565994"/>
                    <a:gd name="connsiteY258" fmla="*/ 101940 h 219459"/>
                    <a:gd name="connsiteX259" fmla="*/ 32895 w 565994"/>
                    <a:gd name="connsiteY259" fmla="*/ 108291 h 219459"/>
                    <a:gd name="connsiteX260" fmla="*/ 31256 w 565994"/>
                    <a:gd name="connsiteY260" fmla="*/ 121223 h 219459"/>
                    <a:gd name="connsiteX261" fmla="*/ 31220 w 565994"/>
                    <a:gd name="connsiteY261" fmla="*/ 121539 h 219459"/>
                    <a:gd name="connsiteX262" fmla="*/ 31207 w 565994"/>
                    <a:gd name="connsiteY262" fmla="*/ 121854 h 219459"/>
                    <a:gd name="connsiteX263" fmla="*/ 30892 w 565994"/>
                    <a:gd name="connsiteY263" fmla="*/ 136183 h 219459"/>
                    <a:gd name="connsiteX264" fmla="*/ 28342 w 565994"/>
                    <a:gd name="connsiteY264" fmla="*/ 145387 h 219459"/>
                    <a:gd name="connsiteX265" fmla="*/ 26848 w 565994"/>
                    <a:gd name="connsiteY265" fmla="*/ 150669 h 219459"/>
                    <a:gd name="connsiteX266" fmla="*/ 26715 w 565994"/>
                    <a:gd name="connsiteY266" fmla="*/ 151131 h 219459"/>
                    <a:gd name="connsiteX267" fmla="*/ 26666 w 565994"/>
                    <a:gd name="connsiteY267" fmla="*/ 151605 h 219459"/>
                    <a:gd name="connsiteX268" fmla="*/ 26423 w 565994"/>
                    <a:gd name="connsiteY268" fmla="*/ 153620 h 219459"/>
                    <a:gd name="connsiteX269" fmla="*/ 25634 w 565994"/>
                    <a:gd name="connsiteY269" fmla="*/ 159218 h 219459"/>
                    <a:gd name="connsiteX270" fmla="*/ 25537 w 565994"/>
                    <a:gd name="connsiteY270" fmla="*/ 159922 h 219459"/>
                    <a:gd name="connsiteX271" fmla="*/ 25597 w 565994"/>
                    <a:gd name="connsiteY271" fmla="*/ 160627 h 219459"/>
                    <a:gd name="connsiteX272" fmla="*/ 26229 w 565994"/>
                    <a:gd name="connsiteY272" fmla="*/ 167463 h 219459"/>
                    <a:gd name="connsiteX273" fmla="*/ 26265 w 565994"/>
                    <a:gd name="connsiteY273" fmla="*/ 167888 h 219459"/>
                    <a:gd name="connsiteX274" fmla="*/ 26374 w 565994"/>
                    <a:gd name="connsiteY274" fmla="*/ 168301 h 219459"/>
                    <a:gd name="connsiteX275" fmla="*/ 28050 w 565994"/>
                    <a:gd name="connsiteY275" fmla="*/ 175393 h 219459"/>
                    <a:gd name="connsiteX276" fmla="*/ 28244 w 565994"/>
                    <a:gd name="connsiteY276" fmla="*/ 176218 h 219459"/>
                    <a:gd name="connsiteX277" fmla="*/ 28658 w 565994"/>
                    <a:gd name="connsiteY277" fmla="*/ 176959 h 219459"/>
                    <a:gd name="connsiteX278" fmla="*/ 30843 w 565994"/>
                    <a:gd name="connsiteY278" fmla="*/ 180869 h 219459"/>
                    <a:gd name="connsiteX279" fmla="*/ 32252 w 565994"/>
                    <a:gd name="connsiteY279" fmla="*/ 183395 h 219459"/>
                    <a:gd name="connsiteX280" fmla="*/ 35093 w 565994"/>
                    <a:gd name="connsiteY280" fmla="*/ 183893 h 219459"/>
                    <a:gd name="connsiteX281" fmla="*/ 38020 w 565994"/>
                    <a:gd name="connsiteY281" fmla="*/ 184403 h 219459"/>
                    <a:gd name="connsiteX282" fmla="*/ 39695 w 565994"/>
                    <a:gd name="connsiteY282" fmla="*/ 184694 h 219459"/>
                    <a:gd name="connsiteX283" fmla="*/ 41286 w 565994"/>
                    <a:gd name="connsiteY283" fmla="*/ 184075 h 219459"/>
                    <a:gd name="connsiteX284" fmla="*/ 47054 w 565994"/>
                    <a:gd name="connsiteY284" fmla="*/ 181816 h 219459"/>
                    <a:gd name="connsiteX285" fmla="*/ 51778 w 565994"/>
                    <a:gd name="connsiteY285" fmla="*/ 181634 h 219459"/>
                    <a:gd name="connsiteX286" fmla="*/ 92177 w 565994"/>
                    <a:gd name="connsiteY286" fmla="*/ 198197 h 219459"/>
                    <a:gd name="connsiteX287" fmla="*/ 92675 w 565994"/>
                    <a:gd name="connsiteY287" fmla="*/ 198404 h 219459"/>
                    <a:gd name="connsiteX288" fmla="*/ 93209 w 565994"/>
                    <a:gd name="connsiteY288" fmla="*/ 198513 h 219459"/>
                    <a:gd name="connsiteX289" fmla="*/ 122122 w 565994"/>
                    <a:gd name="connsiteY289" fmla="*/ 204693 h 219459"/>
                    <a:gd name="connsiteX290" fmla="*/ 136147 w 565994"/>
                    <a:gd name="connsiteY290" fmla="*/ 210510 h 219459"/>
                    <a:gd name="connsiteX291" fmla="*/ 137179 w 565994"/>
                    <a:gd name="connsiteY291" fmla="*/ 210947 h 219459"/>
                    <a:gd name="connsiteX292" fmla="*/ 138308 w 565994"/>
                    <a:gd name="connsiteY292" fmla="*/ 210971 h 219459"/>
                    <a:gd name="connsiteX293" fmla="*/ 144902 w 565994"/>
                    <a:gd name="connsiteY293" fmla="*/ 211153 h 219459"/>
                    <a:gd name="connsiteX294" fmla="*/ 145606 w 565994"/>
                    <a:gd name="connsiteY294" fmla="*/ 211166 h 219459"/>
                    <a:gd name="connsiteX295" fmla="*/ 146298 w 565994"/>
                    <a:gd name="connsiteY295" fmla="*/ 211020 h 219459"/>
                    <a:gd name="connsiteX296" fmla="*/ 164513 w 565994"/>
                    <a:gd name="connsiteY296" fmla="*/ 207268 h 219459"/>
                    <a:gd name="connsiteX297" fmla="*/ 178987 w 565994"/>
                    <a:gd name="connsiteY297" fmla="*/ 208531 h 219459"/>
                    <a:gd name="connsiteX298" fmla="*/ 180007 w 565994"/>
                    <a:gd name="connsiteY298" fmla="*/ 208616 h 219459"/>
                    <a:gd name="connsiteX299" fmla="*/ 181003 w 565994"/>
                    <a:gd name="connsiteY299" fmla="*/ 208361 h 219459"/>
                    <a:gd name="connsiteX300" fmla="*/ 187718 w 565994"/>
                    <a:gd name="connsiteY300" fmla="*/ 206673 h 219459"/>
                    <a:gd name="connsiteX301" fmla="*/ 188677 w 565994"/>
                    <a:gd name="connsiteY301" fmla="*/ 206697 h 219459"/>
                    <a:gd name="connsiteX302" fmla="*/ 189721 w 565994"/>
                    <a:gd name="connsiteY302" fmla="*/ 207013 h 219459"/>
                    <a:gd name="connsiteX303" fmla="*/ 193461 w 565994"/>
                    <a:gd name="connsiteY303" fmla="*/ 208652 h 219459"/>
                    <a:gd name="connsiteX304" fmla="*/ 194154 w 565994"/>
                    <a:gd name="connsiteY304" fmla="*/ 208956 h 219459"/>
                    <a:gd name="connsiteX305" fmla="*/ 194906 w 565994"/>
                    <a:gd name="connsiteY305" fmla="*/ 209077 h 219459"/>
                    <a:gd name="connsiteX306" fmla="*/ 201852 w 565994"/>
                    <a:gd name="connsiteY306" fmla="*/ 210255 h 219459"/>
                    <a:gd name="connsiteX307" fmla="*/ 202581 w 565994"/>
                    <a:gd name="connsiteY307" fmla="*/ 210376 h 219459"/>
                    <a:gd name="connsiteX308" fmla="*/ 203309 w 565994"/>
                    <a:gd name="connsiteY308" fmla="*/ 210328 h 219459"/>
                    <a:gd name="connsiteX309" fmla="*/ 204924 w 565994"/>
                    <a:gd name="connsiteY309" fmla="*/ 210206 h 219459"/>
                    <a:gd name="connsiteX310" fmla="*/ 206236 w 565994"/>
                    <a:gd name="connsiteY310" fmla="*/ 210109 h 219459"/>
                    <a:gd name="connsiteX311" fmla="*/ 207389 w 565994"/>
                    <a:gd name="connsiteY311" fmla="*/ 209490 h 219459"/>
                    <a:gd name="connsiteX312" fmla="*/ 208482 w 565994"/>
                    <a:gd name="connsiteY312" fmla="*/ 208895 h 219459"/>
                    <a:gd name="connsiteX313" fmla="*/ 209296 w 565994"/>
                    <a:gd name="connsiteY313" fmla="*/ 208446 h 219459"/>
                    <a:gd name="connsiteX314" fmla="*/ 209952 w 565994"/>
                    <a:gd name="connsiteY314" fmla="*/ 207766 h 219459"/>
                    <a:gd name="connsiteX315" fmla="*/ 210158 w 565994"/>
                    <a:gd name="connsiteY315" fmla="*/ 207559 h 219459"/>
                    <a:gd name="connsiteX316" fmla="*/ 210632 w 565994"/>
                    <a:gd name="connsiteY316" fmla="*/ 207826 h 219459"/>
                    <a:gd name="connsiteX317" fmla="*/ 212756 w 565994"/>
                    <a:gd name="connsiteY317" fmla="*/ 209369 h 219459"/>
                    <a:gd name="connsiteX318" fmla="*/ 213194 w 565994"/>
                    <a:gd name="connsiteY318" fmla="*/ 209684 h 219459"/>
                    <a:gd name="connsiteX319" fmla="*/ 213679 w 565994"/>
                    <a:gd name="connsiteY319" fmla="*/ 209927 h 219459"/>
                    <a:gd name="connsiteX320" fmla="*/ 216424 w 565994"/>
                    <a:gd name="connsiteY320" fmla="*/ 211251 h 219459"/>
                    <a:gd name="connsiteX321" fmla="*/ 217346 w 565994"/>
                    <a:gd name="connsiteY321" fmla="*/ 211700 h 219459"/>
                    <a:gd name="connsiteX322" fmla="*/ 218366 w 565994"/>
                    <a:gd name="connsiteY322" fmla="*/ 211821 h 219459"/>
                    <a:gd name="connsiteX323" fmla="*/ 223600 w 565994"/>
                    <a:gd name="connsiteY323" fmla="*/ 212429 h 219459"/>
                    <a:gd name="connsiteX324" fmla="*/ 224353 w 565994"/>
                    <a:gd name="connsiteY324" fmla="*/ 212513 h 219459"/>
                    <a:gd name="connsiteX325" fmla="*/ 225106 w 565994"/>
                    <a:gd name="connsiteY325" fmla="*/ 212416 h 219459"/>
                    <a:gd name="connsiteX326" fmla="*/ 246295 w 565994"/>
                    <a:gd name="connsiteY326" fmla="*/ 209599 h 219459"/>
                    <a:gd name="connsiteX327" fmla="*/ 247886 w 565994"/>
                    <a:gd name="connsiteY327" fmla="*/ 209393 h 219459"/>
                    <a:gd name="connsiteX328" fmla="*/ 248505 w 565994"/>
                    <a:gd name="connsiteY328" fmla="*/ 209308 h 219459"/>
                    <a:gd name="connsiteX329" fmla="*/ 249100 w 565994"/>
                    <a:gd name="connsiteY329" fmla="*/ 209101 h 219459"/>
                    <a:gd name="connsiteX330" fmla="*/ 254564 w 565994"/>
                    <a:gd name="connsiteY330" fmla="*/ 207219 h 219459"/>
                    <a:gd name="connsiteX331" fmla="*/ 283489 w 565994"/>
                    <a:gd name="connsiteY331" fmla="*/ 202714 h 219459"/>
                    <a:gd name="connsiteX332" fmla="*/ 293313 w 565994"/>
                    <a:gd name="connsiteY332" fmla="*/ 203030 h 219459"/>
                    <a:gd name="connsiteX333" fmla="*/ 293920 w 565994"/>
                    <a:gd name="connsiteY333" fmla="*/ 203054 h 219459"/>
                    <a:gd name="connsiteX334" fmla="*/ 294503 w 565994"/>
                    <a:gd name="connsiteY334" fmla="*/ 202957 h 219459"/>
                    <a:gd name="connsiteX335" fmla="*/ 296798 w 565994"/>
                    <a:gd name="connsiteY335" fmla="*/ 202581 h 219459"/>
                    <a:gd name="connsiteX336" fmla="*/ 297696 w 565994"/>
                    <a:gd name="connsiteY336" fmla="*/ 202435 h 219459"/>
                    <a:gd name="connsiteX337" fmla="*/ 298498 w 565994"/>
                    <a:gd name="connsiteY337" fmla="*/ 202034 h 219459"/>
                    <a:gd name="connsiteX338" fmla="*/ 300987 w 565994"/>
                    <a:gd name="connsiteY338" fmla="*/ 200796 h 219459"/>
                    <a:gd name="connsiteX339" fmla="*/ 308224 w 565994"/>
                    <a:gd name="connsiteY339" fmla="*/ 204475 h 219459"/>
                    <a:gd name="connsiteX340" fmla="*/ 308722 w 565994"/>
                    <a:gd name="connsiteY340" fmla="*/ 204730 h 219459"/>
                    <a:gd name="connsiteX341" fmla="*/ 309256 w 565994"/>
                    <a:gd name="connsiteY341" fmla="*/ 204888 h 219459"/>
                    <a:gd name="connsiteX342" fmla="*/ 336979 w 565994"/>
                    <a:gd name="connsiteY342" fmla="*/ 213072 h 219459"/>
                    <a:gd name="connsiteX343" fmla="*/ 337501 w 565994"/>
                    <a:gd name="connsiteY343" fmla="*/ 213230 h 219459"/>
                    <a:gd name="connsiteX344" fmla="*/ 338047 w 565994"/>
                    <a:gd name="connsiteY344" fmla="*/ 213291 h 219459"/>
                    <a:gd name="connsiteX345" fmla="*/ 345382 w 565994"/>
                    <a:gd name="connsiteY345" fmla="*/ 214092 h 219459"/>
                    <a:gd name="connsiteX346" fmla="*/ 346147 w 565994"/>
                    <a:gd name="connsiteY346" fmla="*/ 214177 h 219459"/>
                    <a:gd name="connsiteX347" fmla="*/ 346899 w 565994"/>
                    <a:gd name="connsiteY347" fmla="*/ 214068 h 219459"/>
                    <a:gd name="connsiteX348" fmla="*/ 348745 w 565994"/>
                    <a:gd name="connsiteY348" fmla="*/ 213813 h 219459"/>
                    <a:gd name="connsiteX349" fmla="*/ 349207 w 565994"/>
                    <a:gd name="connsiteY349" fmla="*/ 213740 h 219459"/>
                    <a:gd name="connsiteX350" fmla="*/ 349656 w 565994"/>
                    <a:gd name="connsiteY350" fmla="*/ 213606 h 219459"/>
                    <a:gd name="connsiteX351" fmla="*/ 352959 w 565994"/>
                    <a:gd name="connsiteY351" fmla="*/ 212599 h 219459"/>
                    <a:gd name="connsiteX352" fmla="*/ 354465 w 565994"/>
                    <a:gd name="connsiteY352" fmla="*/ 212392 h 219459"/>
                    <a:gd name="connsiteX353" fmla="*/ 354768 w 565994"/>
                    <a:gd name="connsiteY353" fmla="*/ 212356 h 219459"/>
                    <a:gd name="connsiteX354" fmla="*/ 355059 w 565994"/>
                    <a:gd name="connsiteY354" fmla="*/ 212283 h 219459"/>
                    <a:gd name="connsiteX355" fmla="*/ 357318 w 565994"/>
                    <a:gd name="connsiteY355" fmla="*/ 211749 h 219459"/>
                    <a:gd name="connsiteX356" fmla="*/ 358654 w 565994"/>
                    <a:gd name="connsiteY356" fmla="*/ 211433 h 219459"/>
                    <a:gd name="connsiteX357" fmla="*/ 359710 w 565994"/>
                    <a:gd name="connsiteY357" fmla="*/ 210571 h 219459"/>
                    <a:gd name="connsiteX358" fmla="*/ 361095 w 565994"/>
                    <a:gd name="connsiteY358" fmla="*/ 209453 h 219459"/>
                    <a:gd name="connsiteX359" fmla="*/ 361240 w 565994"/>
                    <a:gd name="connsiteY359" fmla="*/ 209696 h 219459"/>
                    <a:gd name="connsiteX360" fmla="*/ 361823 w 565994"/>
                    <a:gd name="connsiteY360" fmla="*/ 210729 h 219459"/>
                    <a:gd name="connsiteX361" fmla="*/ 362758 w 565994"/>
                    <a:gd name="connsiteY361" fmla="*/ 211469 h 219459"/>
                    <a:gd name="connsiteX362" fmla="*/ 365745 w 565994"/>
                    <a:gd name="connsiteY362" fmla="*/ 213837 h 219459"/>
                    <a:gd name="connsiteX363" fmla="*/ 366814 w 565994"/>
                    <a:gd name="connsiteY363" fmla="*/ 214675 h 219459"/>
                    <a:gd name="connsiteX364" fmla="*/ 368125 w 565994"/>
                    <a:gd name="connsiteY364" fmla="*/ 214979 h 219459"/>
                    <a:gd name="connsiteX365" fmla="*/ 371343 w 565994"/>
                    <a:gd name="connsiteY365" fmla="*/ 215731 h 219459"/>
                    <a:gd name="connsiteX366" fmla="*/ 371890 w 565994"/>
                    <a:gd name="connsiteY366" fmla="*/ 215853 h 219459"/>
                    <a:gd name="connsiteX367" fmla="*/ 372436 w 565994"/>
                    <a:gd name="connsiteY367" fmla="*/ 215877 h 219459"/>
                    <a:gd name="connsiteX368" fmla="*/ 377208 w 565994"/>
                    <a:gd name="connsiteY368" fmla="*/ 216108 h 219459"/>
                    <a:gd name="connsiteX369" fmla="*/ 377791 w 565994"/>
                    <a:gd name="connsiteY369" fmla="*/ 216132 h 219459"/>
                    <a:gd name="connsiteX370" fmla="*/ 378374 w 565994"/>
                    <a:gd name="connsiteY370" fmla="*/ 216047 h 219459"/>
                    <a:gd name="connsiteX371" fmla="*/ 382733 w 565994"/>
                    <a:gd name="connsiteY371" fmla="*/ 215416 h 219459"/>
                    <a:gd name="connsiteX372" fmla="*/ 384664 w 565994"/>
                    <a:gd name="connsiteY372" fmla="*/ 215136 h 219459"/>
                    <a:gd name="connsiteX373" fmla="*/ 386073 w 565994"/>
                    <a:gd name="connsiteY373" fmla="*/ 213776 h 219459"/>
                    <a:gd name="connsiteX374" fmla="*/ 388016 w 565994"/>
                    <a:gd name="connsiteY374" fmla="*/ 211906 h 219459"/>
                    <a:gd name="connsiteX375" fmla="*/ 388441 w 565994"/>
                    <a:gd name="connsiteY375" fmla="*/ 211493 h 219459"/>
                    <a:gd name="connsiteX376" fmla="*/ 389181 w 565994"/>
                    <a:gd name="connsiteY376" fmla="*/ 211724 h 219459"/>
                    <a:gd name="connsiteX377" fmla="*/ 392229 w 565994"/>
                    <a:gd name="connsiteY377" fmla="*/ 212684 h 219459"/>
                    <a:gd name="connsiteX378" fmla="*/ 394743 w 565994"/>
                    <a:gd name="connsiteY378" fmla="*/ 210704 h 219459"/>
                    <a:gd name="connsiteX379" fmla="*/ 396054 w 565994"/>
                    <a:gd name="connsiteY379" fmla="*/ 209672 h 219459"/>
                    <a:gd name="connsiteX380" fmla="*/ 397184 w 565994"/>
                    <a:gd name="connsiteY380" fmla="*/ 208786 h 219459"/>
                    <a:gd name="connsiteX381" fmla="*/ 397803 w 565994"/>
                    <a:gd name="connsiteY381" fmla="*/ 207486 h 219459"/>
                    <a:gd name="connsiteX382" fmla="*/ 397985 w 565994"/>
                    <a:gd name="connsiteY382" fmla="*/ 207122 h 219459"/>
                    <a:gd name="connsiteX383" fmla="*/ 406024 w 565994"/>
                    <a:gd name="connsiteY383" fmla="*/ 207838 h 219459"/>
                    <a:gd name="connsiteX384" fmla="*/ 406655 w 565994"/>
                    <a:gd name="connsiteY384" fmla="*/ 207887 h 219459"/>
                    <a:gd name="connsiteX385" fmla="*/ 407298 w 565994"/>
                    <a:gd name="connsiteY385" fmla="*/ 207814 h 219459"/>
                    <a:gd name="connsiteX386" fmla="*/ 426521 w 565994"/>
                    <a:gd name="connsiteY386" fmla="*/ 205483 h 219459"/>
                    <a:gd name="connsiteX387" fmla="*/ 436162 w 565994"/>
                    <a:gd name="connsiteY387" fmla="*/ 206904 h 219459"/>
                    <a:gd name="connsiteX388" fmla="*/ 437546 w 565994"/>
                    <a:gd name="connsiteY388" fmla="*/ 207110 h 219459"/>
                    <a:gd name="connsiteX389" fmla="*/ 438870 w 565994"/>
                    <a:gd name="connsiteY389" fmla="*/ 206697 h 219459"/>
                    <a:gd name="connsiteX390" fmla="*/ 442416 w 565994"/>
                    <a:gd name="connsiteY390" fmla="*/ 205580 h 219459"/>
                    <a:gd name="connsiteX391" fmla="*/ 446375 w 565994"/>
                    <a:gd name="connsiteY391" fmla="*/ 204366 h 219459"/>
                    <a:gd name="connsiteX392" fmla="*/ 450783 w 565994"/>
                    <a:gd name="connsiteY392" fmla="*/ 204560 h 219459"/>
                    <a:gd name="connsiteX393" fmla="*/ 455858 w 565994"/>
                    <a:gd name="connsiteY393" fmla="*/ 205762 h 219459"/>
                    <a:gd name="connsiteX394" fmla="*/ 459574 w 565994"/>
                    <a:gd name="connsiteY394" fmla="*/ 207183 h 219459"/>
                    <a:gd name="connsiteX395" fmla="*/ 460910 w 565994"/>
                    <a:gd name="connsiteY395" fmla="*/ 209211 h 219459"/>
                    <a:gd name="connsiteX396" fmla="*/ 461250 w 565994"/>
                    <a:gd name="connsiteY396" fmla="*/ 209733 h 219459"/>
                    <a:gd name="connsiteX397" fmla="*/ 461699 w 565994"/>
                    <a:gd name="connsiteY397" fmla="*/ 210170 h 219459"/>
                    <a:gd name="connsiteX398" fmla="*/ 462804 w 565994"/>
                    <a:gd name="connsiteY398" fmla="*/ 211263 h 219459"/>
                    <a:gd name="connsiteX399" fmla="*/ 463812 w 565994"/>
                    <a:gd name="connsiteY399" fmla="*/ 212259 h 219459"/>
                    <a:gd name="connsiteX400" fmla="*/ 465147 w 565994"/>
                    <a:gd name="connsiteY400" fmla="*/ 212708 h 219459"/>
                    <a:gd name="connsiteX401" fmla="*/ 466641 w 565994"/>
                    <a:gd name="connsiteY401" fmla="*/ 213206 h 219459"/>
                    <a:gd name="connsiteX402" fmla="*/ 467467 w 565994"/>
                    <a:gd name="connsiteY402" fmla="*/ 213485 h 219459"/>
                    <a:gd name="connsiteX403" fmla="*/ 468341 w 565994"/>
                    <a:gd name="connsiteY403" fmla="*/ 213509 h 219459"/>
                    <a:gd name="connsiteX404" fmla="*/ 469094 w 565994"/>
                    <a:gd name="connsiteY404" fmla="*/ 213533 h 219459"/>
                    <a:gd name="connsiteX405" fmla="*/ 476853 w 565994"/>
                    <a:gd name="connsiteY405" fmla="*/ 219459 h 219459"/>
                    <a:gd name="connsiteX406" fmla="*/ 478456 w 565994"/>
                    <a:gd name="connsiteY406" fmla="*/ 209405 h 219459"/>
                    <a:gd name="connsiteX407" fmla="*/ 482135 w 565994"/>
                    <a:gd name="connsiteY407" fmla="*/ 204985 h 219459"/>
                    <a:gd name="connsiteX408" fmla="*/ 486883 w 565994"/>
                    <a:gd name="connsiteY408" fmla="*/ 205847 h 219459"/>
                    <a:gd name="connsiteX409" fmla="*/ 490126 w 565994"/>
                    <a:gd name="connsiteY409" fmla="*/ 206430 h 219459"/>
                    <a:gd name="connsiteX410" fmla="*/ 494035 w 565994"/>
                    <a:gd name="connsiteY410" fmla="*/ 206430 h 219459"/>
                    <a:gd name="connsiteX411" fmla="*/ 495140 w 565994"/>
                    <a:gd name="connsiteY411" fmla="*/ 204244 h 219459"/>
                    <a:gd name="connsiteX412" fmla="*/ 496403 w 565994"/>
                    <a:gd name="connsiteY412" fmla="*/ 204329 h 219459"/>
                    <a:gd name="connsiteX413" fmla="*/ 496731 w 565994"/>
                    <a:gd name="connsiteY413" fmla="*/ 204353 h 219459"/>
                    <a:gd name="connsiteX414" fmla="*/ 497059 w 565994"/>
                    <a:gd name="connsiteY414" fmla="*/ 204353 h 219459"/>
                    <a:gd name="connsiteX415" fmla="*/ 506312 w 565994"/>
                    <a:gd name="connsiteY415" fmla="*/ 202156 h 219459"/>
                    <a:gd name="connsiteX416" fmla="*/ 512481 w 565994"/>
                    <a:gd name="connsiteY416" fmla="*/ 200601 h 219459"/>
                    <a:gd name="connsiteX417" fmla="*/ 513100 w 565994"/>
                    <a:gd name="connsiteY417" fmla="*/ 200626 h 219459"/>
                    <a:gd name="connsiteX418" fmla="*/ 517896 w 565994"/>
                    <a:gd name="connsiteY418" fmla="*/ 200868 h 219459"/>
                    <a:gd name="connsiteX419" fmla="*/ 522243 w 565994"/>
                    <a:gd name="connsiteY419" fmla="*/ 200577 h 219459"/>
                    <a:gd name="connsiteX420" fmla="*/ 528582 w 565994"/>
                    <a:gd name="connsiteY420" fmla="*/ 195829 h 219459"/>
                    <a:gd name="connsiteX421" fmla="*/ 529080 w 565994"/>
                    <a:gd name="connsiteY421" fmla="*/ 195732 h 219459"/>
                    <a:gd name="connsiteX422" fmla="*/ 535163 w 565994"/>
                    <a:gd name="connsiteY422" fmla="*/ 192951 h 219459"/>
                    <a:gd name="connsiteX423" fmla="*/ 537762 w 565994"/>
                    <a:gd name="connsiteY423" fmla="*/ 190523 h 219459"/>
                    <a:gd name="connsiteX424" fmla="*/ 540154 w 565994"/>
                    <a:gd name="connsiteY424" fmla="*/ 188531 h 219459"/>
                    <a:gd name="connsiteX425" fmla="*/ 540543 w 565994"/>
                    <a:gd name="connsiteY425" fmla="*/ 188313 h 219459"/>
                    <a:gd name="connsiteX426" fmla="*/ 540895 w 565994"/>
                    <a:gd name="connsiteY426" fmla="*/ 188045 h 219459"/>
                    <a:gd name="connsiteX427" fmla="*/ 542207 w 565994"/>
                    <a:gd name="connsiteY427" fmla="*/ 186977 h 219459"/>
                    <a:gd name="connsiteX428" fmla="*/ 543773 w 565994"/>
                    <a:gd name="connsiteY428" fmla="*/ 185775 h 219459"/>
                    <a:gd name="connsiteX429" fmla="*/ 545097 w 565994"/>
                    <a:gd name="connsiteY429" fmla="*/ 185508 h 219459"/>
                    <a:gd name="connsiteX430" fmla="*/ 545521 w 565994"/>
                    <a:gd name="connsiteY430" fmla="*/ 185168 h 219459"/>
                    <a:gd name="connsiteX431" fmla="*/ 548047 w 565994"/>
                    <a:gd name="connsiteY431" fmla="*/ 184658 h 219459"/>
                    <a:gd name="connsiteX432" fmla="*/ 552127 w 565994"/>
                    <a:gd name="connsiteY432" fmla="*/ 182035 h 219459"/>
                    <a:gd name="connsiteX433" fmla="*/ 552795 w 565994"/>
                    <a:gd name="connsiteY433" fmla="*/ 181428 h 219459"/>
                    <a:gd name="connsiteX434" fmla="*/ 553220 w 565994"/>
                    <a:gd name="connsiteY434" fmla="*/ 181100 h 219459"/>
                    <a:gd name="connsiteX435" fmla="*/ 553597 w 565994"/>
                    <a:gd name="connsiteY435" fmla="*/ 180687 h 219459"/>
                    <a:gd name="connsiteX436" fmla="*/ 554677 w 565994"/>
                    <a:gd name="connsiteY436" fmla="*/ 179898 h 219459"/>
                    <a:gd name="connsiteX437" fmla="*/ 559280 w 565994"/>
                    <a:gd name="connsiteY437" fmla="*/ 175696 h 219459"/>
                    <a:gd name="connsiteX438" fmla="*/ 563250 w 565994"/>
                    <a:gd name="connsiteY438" fmla="*/ 167718 h 219459"/>
                    <a:gd name="connsiteX439" fmla="*/ 563566 w 565994"/>
                    <a:gd name="connsiteY439" fmla="*/ 166820 h 219459"/>
                    <a:gd name="connsiteX440" fmla="*/ 565885 w 565994"/>
                    <a:gd name="connsiteY440" fmla="*/ 158477 h 219459"/>
                    <a:gd name="connsiteX441" fmla="*/ 565994 w 565994"/>
                    <a:gd name="connsiteY441" fmla="*/ 157312 h 219459"/>
                    <a:gd name="connsiteX442" fmla="*/ 565655 w 565994"/>
                    <a:gd name="connsiteY442" fmla="*/ 156182 h 219459"/>
                    <a:gd name="connsiteX443" fmla="*/ 564149 w 565994"/>
                    <a:gd name="connsiteY443" fmla="*/ 152491 h 219459"/>
                    <a:gd name="connsiteX444" fmla="*/ 563263 w 565994"/>
                    <a:gd name="connsiteY444" fmla="*/ 150414 h 219459"/>
                    <a:gd name="connsiteX445" fmla="*/ 563019 w 565994"/>
                    <a:gd name="connsiteY445" fmla="*/ 149589 h 219459"/>
                    <a:gd name="connsiteX446" fmla="*/ 562558 w 565994"/>
                    <a:gd name="connsiteY446" fmla="*/ 148860 h 219459"/>
                    <a:gd name="connsiteX447" fmla="*/ 561247 w 565994"/>
                    <a:gd name="connsiteY447" fmla="*/ 144525 h 219459"/>
                    <a:gd name="connsiteX448" fmla="*/ 557822 w 565994"/>
                    <a:gd name="connsiteY448" fmla="*/ 134349 h 219459"/>
                    <a:gd name="connsiteX449" fmla="*/ 557555 w 565994"/>
                    <a:gd name="connsiteY449" fmla="*/ 133973 h 219459"/>
                    <a:gd name="connsiteX450" fmla="*/ 557240 w 565994"/>
                    <a:gd name="connsiteY450" fmla="*/ 133645 h 219459"/>
                    <a:gd name="connsiteX451" fmla="*/ 556219 w 565994"/>
                    <a:gd name="connsiteY451" fmla="*/ 132552 h 219459"/>
                    <a:gd name="connsiteX452" fmla="*/ 549602 w 565994"/>
                    <a:gd name="connsiteY452" fmla="*/ 127537 h 219459"/>
                    <a:gd name="connsiteX453" fmla="*/ 545303 w 565994"/>
                    <a:gd name="connsiteY453" fmla="*/ 125194 h 219459"/>
                    <a:gd name="connsiteX454" fmla="*/ 542899 w 565994"/>
                    <a:gd name="connsiteY454" fmla="*/ 123967 h 219459"/>
                    <a:gd name="connsiteX455" fmla="*/ 536876 w 565994"/>
                    <a:gd name="connsiteY455" fmla="*/ 121733 h 219459"/>
                    <a:gd name="connsiteX456" fmla="*/ 531363 w 565994"/>
                    <a:gd name="connsiteY456" fmla="*/ 119146 h 219459"/>
                    <a:gd name="connsiteX457" fmla="*/ 530792 w 565994"/>
                    <a:gd name="connsiteY457" fmla="*/ 116997 h 219459"/>
                    <a:gd name="connsiteX458" fmla="*/ 530877 w 565994"/>
                    <a:gd name="connsiteY458" fmla="*/ 116912 h 219459"/>
                    <a:gd name="connsiteX459" fmla="*/ 533051 w 565994"/>
                    <a:gd name="connsiteY459" fmla="*/ 114144 h 219459"/>
                    <a:gd name="connsiteX460" fmla="*/ 536767 w 565994"/>
                    <a:gd name="connsiteY460" fmla="*/ 103919 h 219459"/>
                    <a:gd name="connsiteX461" fmla="*/ 533136 w 565994"/>
                    <a:gd name="connsiteY461" fmla="*/ 94824 h 219459"/>
                    <a:gd name="connsiteX462" fmla="*/ 531885 w 565994"/>
                    <a:gd name="connsiteY462" fmla="*/ 93258 h 219459"/>
                    <a:gd name="connsiteX463" fmla="*/ 531630 w 565994"/>
                    <a:gd name="connsiteY463" fmla="*/ 92918 h 219459"/>
                    <a:gd name="connsiteX464" fmla="*/ 531351 w 565994"/>
                    <a:gd name="connsiteY464" fmla="*/ 92614 h 219459"/>
                    <a:gd name="connsiteX465" fmla="*/ 529226 w 565994"/>
                    <a:gd name="connsiteY465" fmla="*/ 90453 h 219459"/>
                    <a:gd name="connsiteX466" fmla="*/ 528607 w 565994"/>
                    <a:gd name="connsiteY466" fmla="*/ 89846 h 219459"/>
                    <a:gd name="connsiteX467" fmla="*/ 527854 w 565994"/>
                    <a:gd name="connsiteY467" fmla="*/ 89433 h 219459"/>
                    <a:gd name="connsiteX468" fmla="*/ 526494 w 565994"/>
                    <a:gd name="connsiteY468" fmla="*/ 88680 h 219459"/>
                    <a:gd name="connsiteX469" fmla="*/ 524721 w 565994"/>
                    <a:gd name="connsiteY469" fmla="*/ 88631 h 219459"/>
                    <a:gd name="connsiteX470" fmla="*/ 517981 w 565994"/>
                    <a:gd name="connsiteY470" fmla="*/ 92626 h 219459"/>
                    <a:gd name="connsiteX471" fmla="*/ 511740 w 565994"/>
                    <a:gd name="connsiteY471" fmla="*/ 91594 h 219459"/>
                    <a:gd name="connsiteX472" fmla="*/ 510829 w 565994"/>
                    <a:gd name="connsiteY472" fmla="*/ 91363 h 219459"/>
                    <a:gd name="connsiteX473" fmla="*/ 508146 w 565994"/>
                    <a:gd name="connsiteY473" fmla="*/ 90295 h 219459"/>
                    <a:gd name="connsiteX474" fmla="*/ 507551 w 565994"/>
                    <a:gd name="connsiteY474" fmla="*/ 89469 h 219459"/>
                    <a:gd name="connsiteX475" fmla="*/ 506713 w 565994"/>
                    <a:gd name="connsiteY475" fmla="*/ 88886 h 219459"/>
                    <a:gd name="connsiteX476" fmla="*/ 505328 w 565994"/>
                    <a:gd name="connsiteY476" fmla="*/ 87320 h 219459"/>
                    <a:gd name="connsiteX477" fmla="*/ 501989 w 565994"/>
                    <a:gd name="connsiteY477" fmla="*/ 83823 h 219459"/>
                    <a:gd name="connsiteX478" fmla="*/ 493756 w 565994"/>
                    <a:gd name="connsiteY478" fmla="*/ 77593 h 219459"/>
                    <a:gd name="connsiteX479" fmla="*/ 483398 w 565994"/>
                    <a:gd name="connsiteY479" fmla="*/ 74873 h 219459"/>
                    <a:gd name="connsiteX480" fmla="*/ 482949 w 565994"/>
                    <a:gd name="connsiteY480" fmla="*/ 74837 h 219459"/>
                    <a:gd name="connsiteX481" fmla="*/ 482500 w 565994"/>
                    <a:gd name="connsiteY481" fmla="*/ 74861 h 219459"/>
                    <a:gd name="connsiteX482" fmla="*/ 471559 w 565994"/>
                    <a:gd name="connsiteY482" fmla="*/ 79488 h 219459"/>
                    <a:gd name="connsiteX483" fmla="*/ 470381 w 565994"/>
                    <a:gd name="connsiteY483" fmla="*/ 80386 h 219459"/>
                    <a:gd name="connsiteX484" fmla="*/ 470004 w 565994"/>
                    <a:gd name="connsiteY484" fmla="*/ 80665 h 219459"/>
                    <a:gd name="connsiteX485" fmla="*/ 469677 w 565994"/>
                    <a:gd name="connsiteY485" fmla="*/ 81005 h 219459"/>
                    <a:gd name="connsiteX486" fmla="*/ 467163 w 565994"/>
                    <a:gd name="connsiteY486" fmla="*/ 80532 h 219459"/>
                    <a:gd name="connsiteX487" fmla="*/ 465208 w 565994"/>
                    <a:gd name="connsiteY487" fmla="*/ 80338 h 219459"/>
                    <a:gd name="connsiteX488" fmla="*/ 462755 w 565994"/>
                    <a:gd name="connsiteY488" fmla="*/ 80253 h 219459"/>
                    <a:gd name="connsiteX489" fmla="*/ 454535 w 565994"/>
                    <a:gd name="connsiteY489" fmla="*/ 80775 h 219459"/>
                    <a:gd name="connsiteX490" fmla="*/ 454000 w 565994"/>
                    <a:gd name="connsiteY490" fmla="*/ 80823 h 219459"/>
                    <a:gd name="connsiteX491" fmla="*/ 453089 w 565994"/>
                    <a:gd name="connsiteY491" fmla="*/ 81005 h 219459"/>
                    <a:gd name="connsiteX492" fmla="*/ 441432 w 565994"/>
                    <a:gd name="connsiteY492" fmla="*/ 84818 h 219459"/>
                    <a:gd name="connsiteX493" fmla="*/ 441177 w 565994"/>
                    <a:gd name="connsiteY493" fmla="*/ 84490 h 219459"/>
                    <a:gd name="connsiteX494" fmla="*/ 434790 w 565994"/>
                    <a:gd name="connsiteY494" fmla="*/ 79985 h 219459"/>
                    <a:gd name="connsiteX495" fmla="*/ 434049 w 565994"/>
                    <a:gd name="connsiteY495" fmla="*/ 79743 h 219459"/>
                    <a:gd name="connsiteX496" fmla="*/ 434304 w 565994"/>
                    <a:gd name="connsiteY496" fmla="*/ 76622 h 219459"/>
                    <a:gd name="connsiteX497" fmla="*/ 435531 w 565994"/>
                    <a:gd name="connsiteY497" fmla="*/ 75310 h 219459"/>
                    <a:gd name="connsiteX498" fmla="*/ 440352 w 565994"/>
                    <a:gd name="connsiteY498" fmla="*/ 66240 h 219459"/>
                    <a:gd name="connsiteX499" fmla="*/ 447504 w 565994"/>
                    <a:gd name="connsiteY499" fmla="*/ 51110 h 219459"/>
                    <a:gd name="connsiteX500" fmla="*/ 449665 w 565994"/>
                    <a:gd name="connsiteY500" fmla="*/ 47807 h 219459"/>
                    <a:gd name="connsiteX501" fmla="*/ 451463 w 565994"/>
                    <a:gd name="connsiteY501" fmla="*/ 30928 h 219459"/>
                    <a:gd name="connsiteX502" fmla="*/ 450345 w 565994"/>
                    <a:gd name="connsiteY502" fmla="*/ 28414 h 219459"/>
                    <a:gd name="connsiteX503" fmla="*/ 449702 w 565994"/>
                    <a:gd name="connsiteY503" fmla="*/ 21869 h 219459"/>
                    <a:gd name="connsiteX504" fmla="*/ 437947 w 565994"/>
                    <a:gd name="connsiteY504" fmla="*/ 923 h 219459"/>
                    <a:gd name="connsiteX505" fmla="*/ 431560 w 565994"/>
                    <a:gd name="connsiteY505" fmla="*/ 0 h 219459"/>
                    <a:gd name="connsiteX506" fmla="*/ 431560 w 565994"/>
                    <a:gd name="connsiteY506" fmla="*/ 0 h 219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Lst>
                  <a:rect l="l" t="t" r="r" b="b"/>
                  <a:pathLst>
                    <a:path w="565994" h="219459">
                      <a:moveTo>
                        <a:pt x="431560" y="6071"/>
                      </a:moveTo>
                      <a:cubicBezTo>
                        <a:pt x="433066" y="6071"/>
                        <a:pt x="434608" y="6266"/>
                        <a:pt x="436150" y="6751"/>
                      </a:cubicBezTo>
                      <a:cubicBezTo>
                        <a:pt x="447249" y="10212"/>
                        <a:pt x="441712" y="23715"/>
                        <a:pt x="444760" y="30831"/>
                      </a:cubicBezTo>
                      <a:cubicBezTo>
                        <a:pt x="447929" y="38214"/>
                        <a:pt x="448864" y="37667"/>
                        <a:pt x="444516" y="44589"/>
                      </a:cubicBezTo>
                      <a:cubicBezTo>
                        <a:pt x="440412" y="51073"/>
                        <a:pt x="434936" y="58080"/>
                        <a:pt x="434292" y="65790"/>
                      </a:cubicBezTo>
                      <a:cubicBezTo>
                        <a:pt x="434001" y="69542"/>
                        <a:pt x="430334" y="71109"/>
                        <a:pt x="428682" y="74145"/>
                      </a:cubicBezTo>
                      <a:cubicBezTo>
                        <a:pt x="427674" y="77848"/>
                        <a:pt x="426788" y="80277"/>
                        <a:pt x="429350" y="83628"/>
                      </a:cubicBezTo>
                      <a:cubicBezTo>
                        <a:pt x="431268" y="86300"/>
                        <a:pt x="434912" y="85328"/>
                        <a:pt x="436138" y="87939"/>
                      </a:cubicBezTo>
                      <a:cubicBezTo>
                        <a:pt x="437437" y="89299"/>
                        <a:pt x="436636" y="90489"/>
                        <a:pt x="438712" y="91278"/>
                      </a:cubicBezTo>
                      <a:cubicBezTo>
                        <a:pt x="439040" y="91461"/>
                        <a:pt x="439477" y="91533"/>
                        <a:pt x="439963" y="91533"/>
                      </a:cubicBezTo>
                      <a:cubicBezTo>
                        <a:pt x="441396" y="91533"/>
                        <a:pt x="443205" y="90841"/>
                        <a:pt x="443776" y="90416"/>
                      </a:cubicBezTo>
                      <a:cubicBezTo>
                        <a:pt x="447455" y="88826"/>
                        <a:pt x="451074" y="87854"/>
                        <a:pt x="454680" y="86870"/>
                      </a:cubicBezTo>
                      <a:cubicBezTo>
                        <a:pt x="457497" y="86603"/>
                        <a:pt x="460303" y="86336"/>
                        <a:pt x="462743" y="86336"/>
                      </a:cubicBezTo>
                      <a:cubicBezTo>
                        <a:pt x="463435" y="86336"/>
                        <a:pt x="464091" y="86361"/>
                        <a:pt x="464710" y="86409"/>
                      </a:cubicBezTo>
                      <a:cubicBezTo>
                        <a:pt x="466398" y="86543"/>
                        <a:pt x="468062" y="86822"/>
                        <a:pt x="469604" y="86822"/>
                      </a:cubicBezTo>
                      <a:cubicBezTo>
                        <a:pt x="471292" y="86822"/>
                        <a:pt x="472822" y="86482"/>
                        <a:pt x="474012" y="85256"/>
                      </a:cubicBezTo>
                      <a:cubicBezTo>
                        <a:pt x="477048" y="82985"/>
                        <a:pt x="478650" y="81212"/>
                        <a:pt x="482900" y="80933"/>
                      </a:cubicBezTo>
                      <a:cubicBezTo>
                        <a:pt x="485013" y="81103"/>
                        <a:pt x="488571" y="81382"/>
                        <a:pt x="490587" y="82790"/>
                      </a:cubicBezTo>
                      <a:cubicBezTo>
                        <a:pt x="493319" y="84272"/>
                        <a:pt x="495991" y="86361"/>
                        <a:pt x="497958" y="88401"/>
                      </a:cubicBezTo>
                      <a:cubicBezTo>
                        <a:pt x="499961" y="89821"/>
                        <a:pt x="501200" y="92444"/>
                        <a:pt x="503216" y="93853"/>
                      </a:cubicBezTo>
                      <a:cubicBezTo>
                        <a:pt x="505146" y="96524"/>
                        <a:pt x="507283" y="96694"/>
                        <a:pt x="510744" y="97605"/>
                      </a:cubicBezTo>
                      <a:cubicBezTo>
                        <a:pt x="512869" y="97763"/>
                        <a:pt x="516427" y="98042"/>
                        <a:pt x="518431" y="99463"/>
                      </a:cubicBezTo>
                      <a:cubicBezTo>
                        <a:pt x="518625" y="99596"/>
                        <a:pt x="518819" y="99657"/>
                        <a:pt x="519038" y="99657"/>
                      </a:cubicBezTo>
                      <a:cubicBezTo>
                        <a:pt x="520920" y="99657"/>
                        <a:pt x="523397" y="94703"/>
                        <a:pt x="524709" y="94703"/>
                      </a:cubicBezTo>
                      <a:cubicBezTo>
                        <a:pt x="524793" y="94703"/>
                        <a:pt x="524866" y="94715"/>
                        <a:pt x="524939" y="94751"/>
                      </a:cubicBezTo>
                      <a:cubicBezTo>
                        <a:pt x="525631" y="95431"/>
                        <a:pt x="526299" y="96124"/>
                        <a:pt x="526955" y="96804"/>
                      </a:cubicBezTo>
                      <a:cubicBezTo>
                        <a:pt x="528874" y="99463"/>
                        <a:pt x="530877" y="100884"/>
                        <a:pt x="530707" y="103385"/>
                      </a:cubicBezTo>
                      <a:cubicBezTo>
                        <a:pt x="530489" y="105886"/>
                        <a:pt x="529542" y="108946"/>
                        <a:pt x="527987" y="110719"/>
                      </a:cubicBezTo>
                      <a:cubicBezTo>
                        <a:pt x="527113" y="112541"/>
                        <a:pt x="524927" y="113634"/>
                        <a:pt x="524769" y="115516"/>
                      </a:cubicBezTo>
                      <a:cubicBezTo>
                        <a:pt x="524514" y="118637"/>
                        <a:pt x="525073" y="120579"/>
                        <a:pt x="526336" y="122559"/>
                      </a:cubicBezTo>
                      <a:cubicBezTo>
                        <a:pt x="529517" y="127209"/>
                        <a:pt x="535941" y="127088"/>
                        <a:pt x="540033" y="129310"/>
                      </a:cubicBezTo>
                      <a:cubicBezTo>
                        <a:pt x="542790" y="130779"/>
                        <a:pt x="544841" y="131569"/>
                        <a:pt x="546845" y="132989"/>
                      </a:cubicBezTo>
                      <a:cubicBezTo>
                        <a:pt x="549626" y="133840"/>
                        <a:pt x="550901" y="135831"/>
                        <a:pt x="552880" y="137859"/>
                      </a:cubicBezTo>
                      <a:cubicBezTo>
                        <a:pt x="554786" y="140530"/>
                        <a:pt x="555357" y="142461"/>
                        <a:pt x="555151" y="144962"/>
                      </a:cubicBezTo>
                      <a:cubicBezTo>
                        <a:pt x="555685" y="147525"/>
                        <a:pt x="556183" y="150074"/>
                        <a:pt x="557434" y="152066"/>
                      </a:cubicBezTo>
                      <a:cubicBezTo>
                        <a:pt x="557992" y="153997"/>
                        <a:pt x="559267" y="155988"/>
                        <a:pt x="559850" y="157907"/>
                      </a:cubicBezTo>
                      <a:cubicBezTo>
                        <a:pt x="559619" y="160420"/>
                        <a:pt x="558709" y="162861"/>
                        <a:pt x="557883" y="164682"/>
                      </a:cubicBezTo>
                      <a:cubicBezTo>
                        <a:pt x="556984" y="167123"/>
                        <a:pt x="556001" y="170195"/>
                        <a:pt x="554471" y="171956"/>
                      </a:cubicBezTo>
                      <a:cubicBezTo>
                        <a:pt x="552832" y="174360"/>
                        <a:pt x="550682" y="174822"/>
                        <a:pt x="549104" y="176570"/>
                      </a:cubicBezTo>
                      <a:cubicBezTo>
                        <a:pt x="547598" y="177724"/>
                        <a:pt x="547537" y="178343"/>
                        <a:pt x="546117" y="178865"/>
                      </a:cubicBezTo>
                      <a:cubicBezTo>
                        <a:pt x="544623" y="179376"/>
                        <a:pt x="543955" y="178696"/>
                        <a:pt x="542449" y="179825"/>
                      </a:cubicBezTo>
                      <a:cubicBezTo>
                        <a:pt x="540288" y="180274"/>
                        <a:pt x="538697" y="182047"/>
                        <a:pt x="537203" y="183188"/>
                      </a:cubicBezTo>
                      <a:cubicBezTo>
                        <a:pt x="534229" y="184840"/>
                        <a:pt x="533391" y="186661"/>
                        <a:pt x="531108" y="188361"/>
                      </a:cubicBezTo>
                      <a:cubicBezTo>
                        <a:pt x="529529" y="190134"/>
                        <a:pt x="526773" y="189284"/>
                        <a:pt x="524502" y="190984"/>
                      </a:cubicBezTo>
                      <a:cubicBezTo>
                        <a:pt x="522960" y="192125"/>
                        <a:pt x="523531" y="194056"/>
                        <a:pt x="521369" y="194518"/>
                      </a:cubicBezTo>
                      <a:cubicBezTo>
                        <a:pt x="520179" y="194688"/>
                        <a:pt x="519001" y="194748"/>
                        <a:pt x="517872" y="194748"/>
                      </a:cubicBezTo>
                      <a:cubicBezTo>
                        <a:pt x="516281" y="194748"/>
                        <a:pt x="514788" y="194627"/>
                        <a:pt x="513561" y="194530"/>
                      </a:cubicBezTo>
                      <a:cubicBezTo>
                        <a:pt x="513197" y="194505"/>
                        <a:pt x="512821" y="194493"/>
                        <a:pt x="512468" y="194493"/>
                      </a:cubicBezTo>
                      <a:cubicBezTo>
                        <a:pt x="506652" y="194493"/>
                        <a:pt x="502244" y="198088"/>
                        <a:pt x="496877" y="198258"/>
                      </a:cubicBezTo>
                      <a:cubicBezTo>
                        <a:pt x="496063" y="198197"/>
                        <a:pt x="495238" y="198124"/>
                        <a:pt x="494485" y="198124"/>
                      </a:cubicBezTo>
                      <a:cubicBezTo>
                        <a:pt x="492591" y="198124"/>
                        <a:pt x="490963" y="198513"/>
                        <a:pt x="490320" y="200261"/>
                      </a:cubicBezTo>
                      <a:cubicBezTo>
                        <a:pt x="490296" y="200310"/>
                        <a:pt x="490223" y="200334"/>
                        <a:pt x="490101" y="200334"/>
                      </a:cubicBezTo>
                      <a:cubicBezTo>
                        <a:pt x="489215" y="200334"/>
                        <a:pt x="485766" y="198889"/>
                        <a:pt x="482123" y="198889"/>
                      </a:cubicBezTo>
                      <a:cubicBezTo>
                        <a:pt x="478019" y="198889"/>
                        <a:pt x="473684" y="200711"/>
                        <a:pt x="472445" y="208433"/>
                      </a:cubicBezTo>
                      <a:lnTo>
                        <a:pt x="471231" y="207511"/>
                      </a:lnTo>
                      <a:lnTo>
                        <a:pt x="468535" y="207413"/>
                      </a:lnTo>
                      <a:lnTo>
                        <a:pt x="467042" y="206916"/>
                      </a:lnTo>
                      <a:lnTo>
                        <a:pt x="465937" y="205823"/>
                      </a:lnTo>
                      <a:lnTo>
                        <a:pt x="464055" y="202981"/>
                      </a:lnTo>
                      <a:lnTo>
                        <a:pt x="462682" y="201852"/>
                      </a:lnTo>
                      <a:lnTo>
                        <a:pt x="457631" y="199909"/>
                      </a:lnTo>
                      <a:lnTo>
                        <a:pt x="451596" y="198476"/>
                      </a:lnTo>
                      <a:lnTo>
                        <a:pt x="445573" y="198209"/>
                      </a:lnTo>
                      <a:lnTo>
                        <a:pt x="440558" y="199739"/>
                      </a:lnTo>
                      <a:lnTo>
                        <a:pt x="437012" y="200856"/>
                      </a:lnTo>
                      <a:lnTo>
                        <a:pt x="426569" y="199314"/>
                      </a:lnTo>
                      <a:lnTo>
                        <a:pt x="406533" y="201743"/>
                      </a:lnTo>
                      <a:lnTo>
                        <a:pt x="397463" y="200941"/>
                      </a:lnTo>
                      <a:lnTo>
                        <a:pt x="394646" y="201318"/>
                      </a:lnTo>
                      <a:lnTo>
                        <a:pt x="393443" y="202411"/>
                      </a:lnTo>
                      <a:lnTo>
                        <a:pt x="392290" y="204851"/>
                      </a:lnTo>
                      <a:lnTo>
                        <a:pt x="390978" y="205884"/>
                      </a:lnTo>
                      <a:lnTo>
                        <a:pt x="389315" y="205361"/>
                      </a:lnTo>
                      <a:lnTo>
                        <a:pt x="386898" y="204220"/>
                      </a:lnTo>
                      <a:lnTo>
                        <a:pt x="384713" y="204281"/>
                      </a:lnTo>
                      <a:lnTo>
                        <a:pt x="383790" y="207486"/>
                      </a:lnTo>
                      <a:lnTo>
                        <a:pt x="381847" y="209356"/>
                      </a:lnTo>
                      <a:lnTo>
                        <a:pt x="377475" y="210036"/>
                      </a:lnTo>
                      <a:lnTo>
                        <a:pt x="372703" y="209806"/>
                      </a:lnTo>
                      <a:lnTo>
                        <a:pt x="369485" y="209053"/>
                      </a:lnTo>
                      <a:lnTo>
                        <a:pt x="366498" y="206685"/>
                      </a:lnTo>
                      <a:lnTo>
                        <a:pt x="365223" y="204414"/>
                      </a:lnTo>
                      <a:lnTo>
                        <a:pt x="363863" y="202860"/>
                      </a:lnTo>
                      <a:lnTo>
                        <a:pt x="360585" y="202629"/>
                      </a:lnTo>
                      <a:lnTo>
                        <a:pt x="358970" y="203321"/>
                      </a:lnTo>
                      <a:lnTo>
                        <a:pt x="355873" y="205823"/>
                      </a:lnTo>
                      <a:lnTo>
                        <a:pt x="353615" y="206357"/>
                      </a:lnTo>
                      <a:lnTo>
                        <a:pt x="351611" y="206624"/>
                      </a:lnTo>
                      <a:lnTo>
                        <a:pt x="347822" y="207790"/>
                      </a:lnTo>
                      <a:lnTo>
                        <a:pt x="345977" y="208057"/>
                      </a:lnTo>
                      <a:lnTo>
                        <a:pt x="338642" y="207256"/>
                      </a:lnTo>
                      <a:lnTo>
                        <a:pt x="310920" y="199071"/>
                      </a:lnTo>
                      <a:lnTo>
                        <a:pt x="301898" y="194481"/>
                      </a:lnTo>
                      <a:lnTo>
                        <a:pt x="299894" y="194542"/>
                      </a:lnTo>
                      <a:lnTo>
                        <a:pt x="295753" y="196594"/>
                      </a:lnTo>
                      <a:lnTo>
                        <a:pt x="293458" y="196971"/>
                      </a:lnTo>
                      <a:lnTo>
                        <a:pt x="283076" y="196631"/>
                      </a:lnTo>
                      <a:lnTo>
                        <a:pt x="253047" y="201306"/>
                      </a:lnTo>
                      <a:lnTo>
                        <a:pt x="247073" y="203370"/>
                      </a:lnTo>
                      <a:lnTo>
                        <a:pt x="245457" y="203576"/>
                      </a:lnTo>
                      <a:lnTo>
                        <a:pt x="224268" y="206393"/>
                      </a:lnTo>
                      <a:lnTo>
                        <a:pt x="219034" y="205786"/>
                      </a:lnTo>
                      <a:lnTo>
                        <a:pt x="216290" y="204463"/>
                      </a:lnTo>
                      <a:lnTo>
                        <a:pt x="213922" y="202738"/>
                      </a:lnTo>
                      <a:lnTo>
                        <a:pt x="211518" y="201342"/>
                      </a:lnTo>
                      <a:lnTo>
                        <a:pt x="208543" y="200966"/>
                      </a:lnTo>
                      <a:lnTo>
                        <a:pt x="207559" y="201476"/>
                      </a:lnTo>
                      <a:lnTo>
                        <a:pt x="205556" y="203552"/>
                      </a:lnTo>
                      <a:lnTo>
                        <a:pt x="204463" y="204147"/>
                      </a:lnTo>
                      <a:lnTo>
                        <a:pt x="202848" y="204268"/>
                      </a:lnTo>
                      <a:lnTo>
                        <a:pt x="195902" y="203091"/>
                      </a:lnTo>
                      <a:lnTo>
                        <a:pt x="191834" y="201306"/>
                      </a:lnTo>
                      <a:lnTo>
                        <a:pt x="189685" y="200650"/>
                      </a:lnTo>
                      <a:lnTo>
                        <a:pt x="187062" y="200565"/>
                      </a:lnTo>
                      <a:lnTo>
                        <a:pt x="179521" y="202459"/>
                      </a:lnTo>
                      <a:lnTo>
                        <a:pt x="164148" y="201111"/>
                      </a:lnTo>
                      <a:lnTo>
                        <a:pt x="145072" y="205046"/>
                      </a:lnTo>
                      <a:lnTo>
                        <a:pt x="138478" y="204864"/>
                      </a:lnTo>
                      <a:lnTo>
                        <a:pt x="123943" y="198841"/>
                      </a:lnTo>
                      <a:lnTo>
                        <a:pt x="94484" y="192551"/>
                      </a:lnTo>
                      <a:lnTo>
                        <a:pt x="52858" y="175490"/>
                      </a:lnTo>
                      <a:lnTo>
                        <a:pt x="45803" y="175757"/>
                      </a:lnTo>
                      <a:lnTo>
                        <a:pt x="39076" y="178392"/>
                      </a:lnTo>
                      <a:lnTo>
                        <a:pt x="36149" y="177882"/>
                      </a:lnTo>
                      <a:lnTo>
                        <a:pt x="33964" y="173972"/>
                      </a:lnTo>
                      <a:lnTo>
                        <a:pt x="32288" y="166880"/>
                      </a:lnTo>
                      <a:lnTo>
                        <a:pt x="31669" y="160044"/>
                      </a:lnTo>
                      <a:lnTo>
                        <a:pt x="32470" y="154312"/>
                      </a:lnTo>
                      <a:lnTo>
                        <a:pt x="32713" y="152297"/>
                      </a:lnTo>
                      <a:lnTo>
                        <a:pt x="34207" y="146990"/>
                      </a:lnTo>
                      <a:lnTo>
                        <a:pt x="36963" y="137057"/>
                      </a:lnTo>
                      <a:lnTo>
                        <a:pt x="37303" y="121976"/>
                      </a:lnTo>
                      <a:lnTo>
                        <a:pt x="39076" y="107914"/>
                      </a:lnTo>
                      <a:lnTo>
                        <a:pt x="37133" y="100009"/>
                      </a:lnTo>
                      <a:lnTo>
                        <a:pt x="32859" y="89882"/>
                      </a:lnTo>
                      <a:lnTo>
                        <a:pt x="29435" y="71910"/>
                      </a:lnTo>
                      <a:lnTo>
                        <a:pt x="30175" y="66944"/>
                      </a:lnTo>
                      <a:lnTo>
                        <a:pt x="38226" y="53162"/>
                      </a:lnTo>
                      <a:lnTo>
                        <a:pt x="39076" y="48390"/>
                      </a:lnTo>
                      <a:lnTo>
                        <a:pt x="37582" y="47248"/>
                      </a:lnTo>
                      <a:lnTo>
                        <a:pt x="34595" y="46957"/>
                      </a:lnTo>
                      <a:lnTo>
                        <a:pt x="31098" y="44892"/>
                      </a:lnTo>
                      <a:lnTo>
                        <a:pt x="34778" y="43690"/>
                      </a:lnTo>
                      <a:lnTo>
                        <a:pt x="37412" y="41565"/>
                      </a:lnTo>
                      <a:lnTo>
                        <a:pt x="37995" y="38833"/>
                      </a:lnTo>
                      <a:lnTo>
                        <a:pt x="37315" y="37995"/>
                      </a:lnTo>
                      <a:lnTo>
                        <a:pt x="70915" y="64175"/>
                      </a:lnTo>
                      <a:cubicBezTo>
                        <a:pt x="81601" y="64115"/>
                        <a:pt x="85329" y="60848"/>
                        <a:pt x="89615" y="52421"/>
                      </a:cubicBezTo>
                      <a:cubicBezTo>
                        <a:pt x="91886" y="47928"/>
                        <a:pt x="92104" y="46386"/>
                        <a:pt x="97326" y="44856"/>
                      </a:cubicBezTo>
                      <a:cubicBezTo>
                        <a:pt x="101466" y="43654"/>
                        <a:pt x="105547" y="43460"/>
                        <a:pt x="109809" y="43460"/>
                      </a:cubicBezTo>
                      <a:cubicBezTo>
                        <a:pt x="110428" y="43460"/>
                        <a:pt x="111059" y="43460"/>
                        <a:pt x="111678" y="43472"/>
                      </a:cubicBezTo>
                      <a:cubicBezTo>
                        <a:pt x="113002" y="43484"/>
                        <a:pt x="114131" y="43496"/>
                        <a:pt x="115115" y="43496"/>
                      </a:cubicBezTo>
                      <a:cubicBezTo>
                        <a:pt x="119074" y="43496"/>
                        <a:pt x="120871" y="43180"/>
                        <a:pt x="125242" y="40740"/>
                      </a:cubicBezTo>
                      <a:cubicBezTo>
                        <a:pt x="128581" y="38894"/>
                        <a:pt x="131860" y="36599"/>
                        <a:pt x="135722" y="35931"/>
                      </a:cubicBezTo>
                      <a:cubicBezTo>
                        <a:pt x="138697" y="35421"/>
                        <a:pt x="141635" y="35299"/>
                        <a:pt x="144574" y="35299"/>
                      </a:cubicBezTo>
                      <a:cubicBezTo>
                        <a:pt x="147367" y="35299"/>
                        <a:pt x="150172" y="35409"/>
                        <a:pt x="152965" y="35409"/>
                      </a:cubicBezTo>
                      <a:cubicBezTo>
                        <a:pt x="156547" y="35409"/>
                        <a:pt x="160141" y="35227"/>
                        <a:pt x="163808" y="34389"/>
                      </a:cubicBezTo>
                      <a:cubicBezTo>
                        <a:pt x="167245" y="33599"/>
                        <a:pt x="171689" y="32555"/>
                        <a:pt x="175903" y="32555"/>
                      </a:cubicBezTo>
                      <a:cubicBezTo>
                        <a:pt x="180007" y="32555"/>
                        <a:pt x="183881" y="33551"/>
                        <a:pt x="186358" y="36732"/>
                      </a:cubicBezTo>
                      <a:cubicBezTo>
                        <a:pt x="188980" y="40193"/>
                        <a:pt x="186783" y="43010"/>
                        <a:pt x="190401" y="45888"/>
                      </a:cubicBezTo>
                      <a:cubicBezTo>
                        <a:pt x="192077" y="47224"/>
                        <a:pt x="195246" y="47928"/>
                        <a:pt x="198148" y="47928"/>
                      </a:cubicBezTo>
                      <a:cubicBezTo>
                        <a:pt x="199691" y="47928"/>
                        <a:pt x="201148" y="47722"/>
                        <a:pt x="202253" y="47321"/>
                      </a:cubicBezTo>
                      <a:cubicBezTo>
                        <a:pt x="206721" y="45694"/>
                        <a:pt x="210862" y="37218"/>
                        <a:pt x="217189" y="37218"/>
                      </a:cubicBezTo>
                      <a:cubicBezTo>
                        <a:pt x="218731" y="37218"/>
                        <a:pt x="220431" y="37728"/>
                        <a:pt x="222276" y="38979"/>
                      </a:cubicBezTo>
                      <a:cubicBezTo>
                        <a:pt x="224924" y="40740"/>
                        <a:pt x="225142" y="44346"/>
                        <a:pt x="227364" y="46410"/>
                      </a:cubicBezTo>
                      <a:cubicBezTo>
                        <a:pt x="230145" y="49009"/>
                        <a:pt x="235027" y="50320"/>
                        <a:pt x="238293" y="52336"/>
                      </a:cubicBezTo>
                      <a:cubicBezTo>
                        <a:pt x="244510" y="56161"/>
                        <a:pt x="246259" y="58420"/>
                        <a:pt x="254128" y="59100"/>
                      </a:cubicBezTo>
                      <a:cubicBezTo>
                        <a:pt x="261510" y="59731"/>
                        <a:pt x="266246" y="59330"/>
                        <a:pt x="271540" y="64273"/>
                      </a:cubicBezTo>
                      <a:cubicBezTo>
                        <a:pt x="276094" y="68535"/>
                        <a:pt x="277673" y="71510"/>
                        <a:pt x="285165" y="71680"/>
                      </a:cubicBezTo>
                      <a:cubicBezTo>
                        <a:pt x="285323" y="71680"/>
                        <a:pt x="285468" y="71680"/>
                        <a:pt x="285614" y="71680"/>
                      </a:cubicBezTo>
                      <a:cubicBezTo>
                        <a:pt x="292609" y="71680"/>
                        <a:pt x="294806" y="67794"/>
                        <a:pt x="298097" y="63155"/>
                      </a:cubicBezTo>
                      <a:cubicBezTo>
                        <a:pt x="299141" y="61638"/>
                        <a:pt x="301934" y="57788"/>
                        <a:pt x="303537" y="56695"/>
                      </a:cubicBezTo>
                      <a:cubicBezTo>
                        <a:pt x="306099" y="54971"/>
                        <a:pt x="310446" y="56258"/>
                        <a:pt x="312899" y="54170"/>
                      </a:cubicBezTo>
                      <a:cubicBezTo>
                        <a:pt x="314903" y="52421"/>
                        <a:pt x="313749" y="48997"/>
                        <a:pt x="314830" y="46860"/>
                      </a:cubicBezTo>
                      <a:cubicBezTo>
                        <a:pt x="315656" y="45135"/>
                        <a:pt x="318194" y="43848"/>
                        <a:pt x="318971" y="42209"/>
                      </a:cubicBezTo>
                      <a:cubicBezTo>
                        <a:pt x="322152" y="35579"/>
                        <a:pt x="321824" y="27188"/>
                        <a:pt x="330786" y="24978"/>
                      </a:cubicBezTo>
                      <a:cubicBezTo>
                        <a:pt x="332340" y="24589"/>
                        <a:pt x="333737" y="24419"/>
                        <a:pt x="335024" y="24419"/>
                      </a:cubicBezTo>
                      <a:cubicBezTo>
                        <a:pt x="344167" y="24419"/>
                        <a:pt x="347033" y="33187"/>
                        <a:pt x="355582" y="35518"/>
                      </a:cubicBezTo>
                      <a:cubicBezTo>
                        <a:pt x="357379" y="36004"/>
                        <a:pt x="358970" y="36222"/>
                        <a:pt x="360402" y="36222"/>
                      </a:cubicBezTo>
                      <a:cubicBezTo>
                        <a:pt x="367178" y="36222"/>
                        <a:pt x="370675" y="31535"/>
                        <a:pt x="376747" y="28427"/>
                      </a:cubicBezTo>
                      <a:cubicBezTo>
                        <a:pt x="385769" y="23849"/>
                        <a:pt x="396831" y="25075"/>
                        <a:pt x="404688" y="19344"/>
                      </a:cubicBezTo>
                      <a:cubicBezTo>
                        <a:pt x="410334" y="15227"/>
                        <a:pt x="411913" y="11499"/>
                        <a:pt x="418858" y="9131"/>
                      </a:cubicBezTo>
                      <a:cubicBezTo>
                        <a:pt x="422781" y="7820"/>
                        <a:pt x="427079" y="6071"/>
                        <a:pt x="431560" y="6071"/>
                      </a:cubicBezTo>
                      <a:moveTo>
                        <a:pt x="431560" y="0"/>
                      </a:moveTo>
                      <a:lnTo>
                        <a:pt x="431560" y="0"/>
                      </a:lnTo>
                      <a:cubicBezTo>
                        <a:pt x="426630" y="0"/>
                        <a:pt x="422258" y="1530"/>
                        <a:pt x="418409" y="2890"/>
                      </a:cubicBezTo>
                      <a:lnTo>
                        <a:pt x="416904" y="3412"/>
                      </a:lnTo>
                      <a:cubicBezTo>
                        <a:pt x="411136" y="5379"/>
                        <a:pt x="408064" y="8269"/>
                        <a:pt x="405355" y="10819"/>
                      </a:cubicBezTo>
                      <a:cubicBezTo>
                        <a:pt x="404141" y="11961"/>
                        <a:pt x="402854" y="13199"/>
                        <a:pt x="401118" y="14462"/>
                      </a:cubicBezTo>
                      <a:cubicBezTo>
                        <a:pt x="397888" y="16818"/>
                        <a:pt x="393334" y="17717"/>
                        <a:pt x="388538" y="18664"/>
                      </a:cubicBezTo>
                      <a:cubicBezTo>
                        <a:pt x="383984" y="19562"/>
                        <a:pt x="378823" y="20582"/>
                        <a:pt x="374015" y="23023"/>
                      </a:cubicBezTo>
                      <a:cubicBezTo>
                        <a:pt x="371671" y="24225"/>
                        <a:pt x="369716" y="25573"/>
                        <a:pt x="368004" y="26763"/>
                      </a:cubicBezTo>
                      <a:cubicBezTo>
                        <a:pt x="364774" y="28997"/>
                        <a:pt x="362977" y="30151"/>
                        <a:pt x="360427" y="30151"/>
                      </a:cubicBezTo>
                      <a:cubicBezTo>
                        <a:pt x="359480" y="30151"/>
                        <a:pt x="358387" y="29981"/>
                        <a:pt x="357185" y="29665"/>
                      </a:cubicBezTo>
                      <a:cubicBezTo>
                        <a:pt x="354720" y="28985"/>
                        <a:pt x="352752" y="27297"/>
                        <a:pt x="350469" y="25342"/>
                      </a:cubicBezTo>
                      <a:cubicBezTo>
                        <a:pt x="346863" y="22234"/>
                        <a:pt x="342370" y="18360"/>
                        <a:pt x="335036" y="18360"/>
                      </a:cubicBezTo>
                      <a:cubicBezTo>
                        <a:pt x="333239" y="18360"/>
                        <a:pt x="331308" y="18615"/>
                        <a:pt x="329341" y="19101"/>
                      </a:cubicBezTo>
                      <a:cubicBezTo>
                        <a:pt x="319468" y="21554"/>
                        <a:pt x="317016" y="29265"/>
                        <a:pt x="315231" y="34899"/>
                      </a:cubicBezTo>
                      <a:cubicBezTo>
                        <a:pt x="314684" y="36611"/>
                        <a:pt x="314174" y="38226"/>
                        <a:pt x="313506" y="39610"/>
                      </a:cubicBezTo>
                      <a:cubicBezTo>
                        <a:pt x="313519" y="39586"/>
                        <a:pt x="313506" y="39574"/>
                        <a:pt x="313482" y="39574"/>
                      </a:cubicBezTo>
                      <a:cubicBezTo>
                        <a:pt x="313409" y="39574"/>
                        <a:pt x="313166" y="39768"/>
                        <a:pt x="312923" y="39974"/>
                      </a:cubicBezTo>
                      <a:cubicBezTo>
                        <a:pt x="311819" y="40958"/>
                        <a:pt x="310313" y="42282"/>
                        <a:pt x="309378" y="44261"/>
                      </a:cubicBezTo>
                      <a:cubicBezTo>
                        <a:pt x="308443" y="46107"/>
                        <a:pt x="308297" y="48062"/>
                        <a:pt x="308212" y="49519"/>
                      </a:cubicBezTo>
                      <a:cubicBezTo>
                        <a:pt x="307957" y="49531"/>
                        <a:pt x="307678" y="49555"/>
                        <a:pt x="307459" y="49580"/>
                      </a:cubicBezTo>
                      <a:cubicBezTo>
                        <a:pt x="305443" y="49762"/>
                        <a:pt x="302675" y="50005"/>
                        <a:pt x="300173" y="51680"/>
                      </a:cubicBezTo>
                      <a:cubicBezTo>
                        <a:pt x="297672" y="53393"/>
                        <a:pt x="294673" y="57473"/>
                        <a:pt x="293106" y="59743"/>
                      </a:cubicBezTo>
                      <a:lnTo>
                        <a:pt x="292451" y="60666"/>
                      </a:lnTo>
                      <a:cubicBezTo>
                        <a:pt x="289633" y="64685"/>
                        <a:pt x="288844" y="65633"/>
                        <a:pt x="285626" y="65633"/>
                      </a:cubicBezTo>
                      <a:cubicBezTo>
                        <a:pt x="281449" y="65535"/>
                        <a:pt x="280769" y="64855"/>
                        <a:pt x="277843" y="61941"/>
                      </a:cubicBezTo>
                      <a:cubicBezTo>
                        <a:pt x="277175" y="61285"/>
                        <a:pt x="276483" y="60593"/>
                        <a:pt x="275693" y="59853"/>
                      </a:cubicBezTo>
                      <a:cubicBezTo>
                        <a:pt x="269561" y="54121"/>
                        <a:pt x="263708" y="53720"/>
                        <a:pt x="257491" y="53283"/>
                      </a:cubicBezTo>
                      <a:lnTo>
                        <a:pt x="254662" y="53065"/>
                      </a:lnTo>
                      <a:cubicBezTo>
                        <a:pt x="249877" y="52652"/>
                        <a:pt x="248517" y="51753"/>
                        <a:pt x="244875" y="49349"/>
                      </a:cubicBezTo>
                      <a:cubicBezTo>
                        <a:pt x="243879" y="48681"/>
                        <a:pt x="242774" y="47965"/>
                        <a:pt x="241487" y="47175"/>
                      </a:cubicBezTo>
                      <a:cubicBezTo>
                        <a:pt x="240005" y="46265"/>
                        <a:pt x="238244" y="45451"/>
                        <a:pt x="236447" y="44650"/>
                      </a:cubicBezTo>
                      <a:cubicBezTo>
                        <a:pt x="234589" y="43824"/>
                        <a:pt x="232476" y="42877"/>
                        <a:pt x="231530" y="41978"/>
                      </a:cubicBezTo>
                      <a:cubicBezTo>
                        <a:pt x="231335" y="41772"/>
                        <a:pt x="230934" y="40922"/>
                        <a:pt x="230667" y="40363"/>
                      </a:cubicBezTo>
                      <a:cubicBezTo>
                        <a:pt x="229756" y="38445"/>
                        <a:pt x="228494" y="35809"/>
                        <a:pt x="225652" y="33915"/>
                      </a:cubicBezTo>
                      <a:cubicBezTo>
                        <a:pt x="222920" y="32082"/>
                        <a:pt x="220079" y="31147"/>
                        <a:pt x="217213" y="31147"/>
                      </a:cubicBezTo>
                      <a:cubicBezTo>
                        <a:pt x="210886" y="31147"/>
                        <a:pt x="206527" y="35542"/>
                        <a:pt x="203346" y="38760"/>
                      </a:cubicBezTo>
                      <a:cubicBezTo>
                        <a:pt x="202325" y="39780"/>
                        <a:pt x="200796" y="41334"/>
                        <a:pt x="200152" y="41626"/>
                      </a:cubicBezTo>
                      <a:cubicBezTo>
                        <a:pt x="199933" y="41699"/>
                        <a:pt x="199253" y="41857"/>
                        <a:pt x="198161" y="41857"/>
                      </a:cubicBezTo>
                      <a:cubicBezTo>
                        <a:pt x="196157" y="41857"/>
                        <a:pt x="194554" y="41359"/>
                        <a:pt x="194154" y="41104"/>
                      </a:cubicBezTo>
                      <a:cubicBezTo>
                        <a:pt x="194020" y="40849"/>
                        <a:pt x="194008" y="40533"/>
                        <a:pt x="193959" y="40193"/>
                      </a:cubicBezTo>
                      <a:cubicBezTo>
                        <a:pt x="193716" y="38578"/>
                        <a:pt x="193328" y="35870"/>
                        <a:pt x="191203" y="33065"/>
                      </a:cubicBezTo>
                      <a:cubicBezTo>
                        <a:pt x="187803" y="28669"/>
                        <a:pt x="182666" y="26484"/>
                        <a:pt x="175903" y="26484"/>
                      </a:cubicBezTo>
                      <a:cubicBezTo>
                        <a:pt x="171094" y="26484"/>
                        <a:pt x="166225" y="27601"/>
                        <a:pt x="162667" y="28427"/>
                      </a:cubicBezTo>
                      <a:cubicBezTo>
                        <a:pt x="159109" y="29240"/>
                        <a:pt x="155782" y="29337"/>
                        <a:pt x="152965" y="29337"/>
                      </a:cubicBezTo>
                      <a:cubicBezTo>
                        <a:pt x="151605" y="29337"/>
                        <a:pt x="150233" y="29313"/>
                        <a:pt x="148885" y="29289"/>
                      </a:cubicBezTo>
                      <a:cubicBezTo>
                        <a:pt x="147452" y="29265"/>
                        <a:pt x="146007" y="29228"/>
                        <a:pt x="144574" y="29228"/>
                      </a:cubicBezTo>
                      <a:cubicBezTo>
                        <a:pt x="141927" y="29228"/>
                        <a:pt x="138429" y="29313"/>
                        <a:pt x="134701" y="29957"/>
                      </a:cubicBezTo>
                      <a:cubicBezTo>
                        <a:pt x="130524" y="30685"/>
                        <a:pt x="127173" y="32628"/>
                        <a:pt x="124210" y="34352"/>
                      </a:cubicBezTo>
                      <a:lnTo>
                        <a:pt x="122316" y="35433"/>
                      </a:lnTo>
                      <a:cubicBezTo>
                        <a:pt x="118855" y="37376"/>
                        <a:pt x="118090" y="37437"/>
                        <a:pt x="115115" y="37437"/>
                      </a:cubicBezTo>
                      <a:lnTo>
                        <a:pt x="113185" y="37425"/>
                      </a:lnTo>
                      <a:lnTo>
                        <a:pt x="111727" y="37412"/>
                      </a:lnTo>
                      <a:lnTo>
                        <a:pt x="109809" y="37400"/>
                      </a:lnTo>
                      <a:cubicBezTo>
                        <a:pt x="105352" y="37400"/>
                        <a:pt x="100544" y="37607"/>
                        <a:pt x="95626" y="39040"/>
                      </a:cubicBezTo>
                      <a:cubicBezTo>
                        <a:pt x="88862" y="41019"/>
                        <a:pt x="87041" y="43909"/>
                        <a:pt x="84819" y="48426"/>
                      </a:cubicBezTo>
                      <a:lnTo>
                        <a:pt x="84187" y="49701"/>
                      </a:lnTo>
                      <a:cubicBezTo>
                        <a:pt x="81091" y="55773"/>
                        <a:pt x="79366" y="57715"/>
                        <a:pt x="72918" y="58055"/>
                      </a:cubicBezTo>
                      <a:lnTo>
                        <a:pt x="41043" y="33211"/>
                      </a:lnTo>
                      <a:lnTo>
                        <a:pt x="0" y="1238"/>
                      </a:lnTo>
                      <a:lnTo>
                        <a:pt x="30175" y="38821"/>
                      </a:lnTo>
                      <a:lnTo>
                        <a:pt x="29204" y="39137"/>
                      </a:lnTo>
                      <a:lnTo>
                        <a:pt x="16417" y="43302"/>
                      </a:lnTo>
                      <a:lnTo>
                        <a:pt x="28002" y="50138"/>
                      </a:lnTo>
                      <a:lnTo>
                        <a:pt x="31499" y="52202"/>
                      </a:lnTo>
                      <a:lnTo>
                        <a:pt x="31693" y="52312"/>
                      </a:lnTo>
                      <a:lnTo>
                        <a:pt x="24917" y="63908"/>
                      </a:lnTo>
                      <a:lnTo>
                        <a:pt x="24322" y="64916"/>
                      </a:lnTo>
                      <a:lnTo>
                        <a:pt x="24152" y="66082"/>
                      </a:lnTo>
                      <a:lnTo>
                        <a:pt x="23412" y="71048"/>
                      </a:lnTo>
                      <a:lnTo>
                        <a:pt x="23254" y="72056"/>
                      </a:lnTo>
                      <a:lnTo>
                        <a:pt x="23448" y="73064"/>
                      </a:lnTo>
                      <a:lnTo>
                        <a:pt x="26872" y="91036"/>
                      </a:lnTo>
                      <a:lnTo>
                        <a:pt x="26994" y="91667"/>
                      </a:lnTo>
                      <a:lnTo>
                        <a:pt x="27249" y="92262"/>
                      </a:lnTo>
                      <a:lnTo>
                        <a:pt x="31341" y="101940"/>
                      </a:lnTo>
                      <a:lnTo>
                        <a:pt x="32895" y="108291"/>
                      </a:lnTo>
                      <a:lnTo>
                        <a:pt x="31256" y="121223"/>
                      </a:lnTo>
                      <a:lnTo>
                        <a:pt x="31220" y="121539"/>
                      </a:lnTo>
                      <a:lnTo>
                        <a:pt x="31207" y="121854"/>
                      </a:lnTo>
                      <a:lnTo>
                        <a:pt x="30892" y="136183"/>
                      </a:lnTo>
                      <a:lnTo>
                        <a:pt x="28342" y="145387"/>
                      </a:lnTo>
                      <a:lnTo>
                        <a:pt x="26848" y="150669"/>
                      </a:lnTo>
                      <a:lnTo>
                        <a:pt x="26715" y="151131"/>
                      </a:lnTo>
                      <a:lnTo>
                        <a:pt x="26666" y="151605"/>
                      </a:lnTo>
                      <a:lnTo>
                        <a:pt x="26423" y="153620"/>
                      </a:lnTo>
                      <a:lnTo>
                        <a:pt x="25634" y="159218"/>
                      </a:lnTo>
                      <a:lnTo>
                        <a:pt x="25537" y="159922"/>
                      </a:lnTo>
                      <a:lnTo>
                        <a:pt x="25597" y="160627"/>
                      </a:lnTo>
                      <a:lnTo>
                        <a:pt x="26229" y="167463"/>
                      </a:lnTo>
                      <a:lnTo>
                        <a:pt x="26265" y="167888"/>
                      </a:lnTo>
                      <a:lnTo>
                        <a:pt x="26374" y="168301"/>
                      </a:lnTo>
                      <a:lnTo>
                        <a:pt x="28050" y="175393"/>
                      </a:lnTo>
                      <a:lnTo>
                        <a:pt x="28244" y="176218"/>
                      </a:lnTo>
                      <a:lnTo>
                        <a:pt x="28658" y="176959"/>
                      </a:lnTo>
                      <a:lnTo>
                        <a:pt x="30843" y="180869"/>
                      </a:lnTo>
                      <a:lnTo>
                        <a:pt x="32252" y="183395"/>
                      </a:lnTo>
                      <a:lnTo>
                        <a:pt x="35093" y="183893"/>
                      </a:lnTo>
                      <a:lnTo>
                        <a:pt x="38020" y="184403"/>
                      </a:lnTo>
                      <a:lnTo>
                        <a:pt x="39695" y="184694"/>
                      </a:lnTo>
                      <a:lnTo>
                        <a:pt x="41286" y="184075"/>
                      </a:lnTo>
                      <a:lnTo>
                        <a:pt x="47054" y="181816"/>
                      </a:lnTo>
                      <a:lnTo>
                        <a:pt x="51778" y="181634"/>
                      </a:lnTo>
                      <a:lnTo>
                        <a:pt x="92177" y="198197"/>
                      </a:lnTo>
                      <a:lnTo>
                        <a:pt x="92675" y="198404"/>
                      </a:lnTo>
                      <a:lnTo>
                        <a:pt x="93209" y="198513"/>
                      </a:lnTo>
                      <a:lnTo>
                        <a:pt x="122122" y="204693"/>
                      </a:lnTo>
                      <a:lnTo>
                        <a:pt x="136147" y="210510"/>
                      </a:lnTo>
                      <a:lnTo>
                        <a:pt x="137179" y="210947"/>
                      </a:lnTo>
                      <a:lnTo>
                        <a:pt x="138308" y="210971"/>
                      </a:lnTo>
                      <a:lnTo>
                        <a:pt x="144902" y="211153"/>
                      </a:lnTo>
                      <a:lnTo>
                        <a:pt x="145606" y="211166"/>
                      </a:lnTo>
                      <a:lnTo>
                        <a:pt x="146298" y="211020"/>
                      </a:lnTo>
                      <a:lnTo>
                        <a:pt x="164513" y="207268"/>
                      </a:lnTo>
                      <a:lnTo>
                        <a:pt x="178987" y="208531"/>
                      </a:lnTo>
                      <a:lnTo>
                        <a:pt x="180007" y="208616"/>
                      </a:lnTo>
                      <a:lnTo>
                        <a:pt x="181003" y="208361"/>
                      </a:lnTo>
                      <a:lnTo>
                        <a:pt x="187718" y="206673"/>
                      </a:lnTo>
                      <a:lnTo>
                        <a:pt x="188677" y="206697"/>
                      </a:lnTo>
                      <a:lnTo>
                        <a:pt x="189721" y="207013"/>
                      </a:lnTo>
                      <a:lnTo>
                        <a:pt x="193461" y="208652"/>
                      </a:lnTo>
                      <a:lnTo>
                        <a:pt x="194154" y="208956"/>
                      </a:lnTo>
                      <a:lnTo>
                        <a:pt x="194906" y="209077"/>
                      </a:lnTo>
                      <a:lnTo>
                        <a:pt x="201852" y="210255"/>
                      </a:lnTo>
                      <a:lnTo>
                        <a:pt x="202581" y="210376"/>
                      </a:lnTo>
                      <a:lnTo>
                        <a:pt x="203309" y="210328"/>
                      </a:lnTo>
                      <a:lnTo>
                        <a:pt x="204924" y="210206"/>
                      </a:lnTo>
                      <a:lnTo>
                        <a:pt x="206236" y="210109"/>
                      </a:lnTo>
                      <a:lnTo>
                        <a:pt x="207389" y="209490"/>
                      </a:lnTo>
                      <a:lnTo>
                        <a:pt x="208482" y="208895"/>
                      </a:lnTo>
                      <a:lnTo>
                        <a:pt x="209296" y="208446"/>
                      </a:lnTo>
                      <a:lnTo>
                        <a:pt x="209952" y="207766"/>
                      </a:lnTo>
                      <a:lnTo>
                        <a:pt x="210158" y="207559"/>
                      </a:lnTo>
                      <a:lnTo>
                        <a:pt x="210632" y="207826"/>
                      </a:lnTo>
                      <a:lnTo>
                        <a:pt x="212756" y="209369"/>
                      </a:lnTo>
                      <a:lnTo>
                        <a:pt x="213194" y="209684"/>
                      </a:lnTo>
                      <a:lnTo>
                        <a:pt x="213679" y="209927"/>
                      </a:lnTo>
                      <a:lnTo>
                        <a:pt x="216424" y="211251"/>
                      </a:lnTo>
                      <a:lnTo>
                        <a:pt x="217346" y="211700"/>
                      </a:lnTo>
                      <a:lnTo>
                        <a:pt x="218366" y="211821"/>
                      </a:lnTo>
                      <a:lnTo>
                        <a:pt x="223600" y="212429"/>
                      </a:lnTo>
                      <a:lnTo>
                        <a:pt x="224353" y="212513"/>
                      </a:lnTo>
                      <a:lnTo>
                        <a:pt x="225106" y="212416"/>
                      </a:lnTo>
                      <a:lnTo>
                        <a:pt x="246295" y="209599"/>
                      </a:lnTo>
                      <a:lnTo>
                        <a:pt x="247886" y="209393"/>
                      </a:lnTo>
                      <a:lnTo>
                        <a:pt x="248505" y="209308"/>
                      </a:lnTo>
                      <a:lnTo>
                        <a:pt x="249100" y="209101"/>
                      </a:lnTo>
                      <a:lnTo>
                        <a:pt x="254564" y="207219"/>
                      </a:lnTo>
                      <a:lnTo>
                        <a:pt x="283489" y="202714"/>
                      </a:lnTo>
                      <a:lnTo>
                        <a:pt x="293313" y="203030"/>
                      </a:lnTo>
                      <a:lnTo>
                        <a:pt x="293920" y="203054"/>
                      </a:lnTo>
                      <a:lnTo>
                        <a:pt x="294503" y="202957"/>
                      </a:lnTo>
                      <a:lnTo>
                        <a:pt x="296798" y="202581"/>
                      </a:lnTo>
                      <a:lnTo>
                        <a:pt x="297696" y="202435"/>
                      </a:lnTo>
                      <a:lnTo>
                        <a:pt x="298498" y="202034"/>
                      </a:lnTo>
                      <a:lnTo>
                        <a:pt x="300987" y="200796"/>
                      </a:lnTo>
                      <a:lnTo>
                        <a:pt x="308224" y="204475"/>
                      </a:lnTo>
                      <a:lnTo>
                        <a:pt x="308722" y="204730"/>
                      </a:lnTo>
                      <a:lnTo>
                        <a:pt x="309256" y="204888"/>
                      </a:lnTo>
                      <a:lnTo>
                        <a:pt x="336979" y="213072"/>
                      </a:lnTo>
                      <a:lnTo>
                        <a:pt x="337501" y="213230"/>
                      </a:lnTo>
                      <a:lnTo>
                        <a:pt x="338047" y="213291"/>
                      </a:lnTo>
                      <a:lnTo>
                        <a:pt x="345382" y="214092"/>
                      </a:lnTo>
                      <a:lnTo>
                        <a:pt x="346147" y="214177"/>
                      </a:lnTo>
                      <a:lnTo>
                        <a:pt x="346899" y="214068"/>
                      </a:lnTo>
                      <a:lnTo>
                        <a:pt x="348745" y="213813"/>
                      </a:lnTo>
                      <a:lnTo>
                        <a:pt x="349207" y="213740"/>
                      </a:lnTo>
                      <a:lnTo>
                        <a:pt x="349656" y="213606"/>
                      </a:lnTo>
                      <a:lnTo>
                        <a:pt x="352959" y="212599"/>
                      </a:lnTo>
                      <a:lnTo>
                        <a:pt x="354465" y="212392"/>
                      </a:lnTo>
                      <a:lnTo>
                        <a:pt x="354768" y="212356"/>
                      </a:lnTo>
                      <a:lnTo>
                        <a:pt x="355059" y="212283"/>
                      </a:lnTo>
                      <a:lnTo>
                        <a:pt x="357318" y="211749"/>
                      </a:lnTo>
                      <a:lnTo>
                        <a:pt x="358654" y="211433"/>
                      </a:lnTo>
                      <a:lnTo>
                        <a:pt x="359710" y="210571"/>
                      </a:lnTo>
                      <a:lnTo>
                        <a:pt x="361095" y="209453"/>
                      </a:lnTo>
                      <a:lnTo>
                        <a:pt x="361240" y="209696"/>
                      </a:lnTo>
                      <a:lnTo>
                        <a:pt x="361823" y="210729"/>
                      </a:lnTo>
                      <a:lnTo>
                        <a:pt x="362758" y="211469"/>
                      </a:lnTo>
                      <a:lnTo>
                        <a:pt x="365745" y="213837"/>
                      </a:lnTo>
                      <a:lnTo>
                        <a:pt x="366814" y="214675"/>
                      </a:lnTo>
                      <a:lnTo>
                        <a:pt x="368125" y="214979"/>
                      </a:lnTo>
                      <a:lnTo>
                        <a:pt x="371343" y="215731"/>
                      </a:lnTo>
                      <a:lnTo>
                        <a:pt x="371890" y="215853"/>
                      </a:lnTo>
                      <a:lnTo>
                        <a:pt x="372436" y="215877"/>
                      </a:lnTo>
                      <a:lnTo>
                        <a:pt x="377208" y="216108"/>
                      </a:lnTo>
                      <a:lnTo>
                        <a:pt x="377791" y="216132"/>
                      </a:lnTo>
                      <a:lnTo>
                        <a:pt x="378374" y="216047"/>
                      </a:lnTo>
                      <a:lnTo>
                        <a:pt x="382733" y="215416"/>
                      </a:lnTo>
                      <a:lnTo>
                        <a:pt x="384664" y="215136"/>
                      </a:lnTo>
                      <a:lnTo>
                        <a:pt x="386073" y="213776"/>
                      </a:lnTo>
                      <a:lnTo>
                        <a:pt x="388016" y="211906"/>
                      </a:lnTo>
                      <a:lnTo>
                        <a:pt x="388441" y="211493"/>
                      </a:lnTo>
                      <a:lnTo>
                        <a:pt x="389181" y="211724"/>
                      </a:lnTo>
                      <a:lnTo>
                        <a:pt x="392229" y="212684"/>
                      </a:lnTo>
                      <a:lnTo>
                        <a:pt x="394743" y="210704"/>
                      </a:lnTo>
                      <a:lnTo>
                        <a:pt x="396054" y="209672"/>
                      </a:lnTo>
                      <a:lnTo>
                        <a:pt x="397184" y="208786"/>
                      </a:lnTo>
                      <a:lnTo>
                        <a:pt x="397803" y="207486"/>
                      </a:lnTo>
                      <a:lnTo>
                        <a:pt x="397985" y="207122"/>
                      </a:lnTo>
                      <a:lnTo>
                        <a:pt x="406024" y="207838"/>
                      </a:lnTo>
                      <a:lnTo>
                        <a:pt x="406655" y="207887"/>
                      </a:lnTo>
                      <a:lnTo>
                        <a:pt x="407298" y="207814"/>
                      </a:lnTo>
                      <a:lnTo>
                        <a:pt x="426521" y="205483"/>
                      </a:lnTo>
                      <a:lnTo>
                        <a:pt x="436162" y="206904"/>
                      </a:lnTo>
                      <a:lnTo>
                        <a:pt x="437546" y="207110"/>
                      </a:lnTo>
                      <a:lnTo>
                        <a:pt x="438870" y="206697"/>
                      </a:lnTo>
                      <a:lnTo>
                        <a:pt x="442416" y="205580"/>
                      </a:lnTo>
                      <a:lnTo>
                        <a:pt x="446375" y="204366"/>
                      </a:lnTo>
                      <a:lnTo>
                        <a:pt x="450783" y="204560"/>
                      </a:lnTo>
                      <a:lnTo>
                        <a:pt x="455858" y="205762"/>
                      </a:lnTo>
                      <a:lnTo>
                        <a:pt x="459574" y="207183"/>
                      </a:lnTo>
                      <a:lnTo>
                        <a:pt x="460910" y="209211"/>
                      </a:lnTo>
                      <a:lnTo>
                        <a:pt x="461250" y="209733"/>
                      </a:lnTo>
                      <a:lnTo>
                        <a:pt x="461699" y="210170"/>
                      </a:lnTo>
                      <a:lnTo>
                        <a:pt x="462804" y="211263"/>
                      </a:lnTo>
                      <a:lnTo>
                        <a:pt x="463812" y="212259"/>
                      </a:lnTo>
                      <a:lnTo>
                        <a:pt x="465147" y="212708"/>
                      </a:lnTo>
                      <a:lnTo>
                        <a:pt x="466641" y="213206"/>
                      </a:lnTo>
                      <a:lnTo>
                        <a:pt x="467467" y="213485"/>
                      </a:lnTo>
                      <a:lnTo>
                        <a:pt x="468341" y="213509"/>
                      </a:lnTo>
                      <a:lnTo>
                        <a:pt x="469094" y="213533"/>
                      </a:lnTo>
                      <a:lnTo>
                        <a:pt x="476853" y="219459"/>
                      </a:lnTo>
                      <a:lnTo>
                        <a:pt x="478456" y="209405"/>
                      </a:lnTo>
                      <a:cubicBezTo>
                        <a:pt x="479160" y="204985"/>
                        <a:pt x="480666" y="204985"/>
                        <a:pt x="482135" y="204985"/>
                      </a:cubicBezTo>
                      <a:cubicBezTo>
                        <a:pt x="483762" y="204985"/>
                        <a:pt x="485560" y="205483"/>
                        <a:pt x="486883" y="205847"/>
                      </a:cubicBezTo>
                      <a:cubicBezTo>
                        <a:pt x="488073" y="206175"/>
                        <a:pt x="489020" y="206430"/>
                        <a:pt x="490126" y="206430"/>
                      </a:cubicBezTo>
                      <a:lnTo>
                        <a:pt x="494035" y="206430"/>
                      </a:lnTo>
                      <a:lnTo>
                        <a:pt x="495140" y="204244"/>
                      </a:lnTo>
                      <a:cubicBezTo>
                        <a:pt x="495626" y="204256"/>
                        <a:pt x="496015" y="204293"/>
                        <a:pt x="496403" y="204329"/>
                      </a:cubicBezTo>
                      <a:lnTo>
                        <a:pt x="496731" y="204353"/>
                      </a:lnTo>
                      <a:lnTo>
                        <a:pt x="497059" y="204353"/>
                      </a:lnTo>
                      <a:cubicBezTo>
                        <a:pt x="500629" y="204244"/>
                        <a:pt x="503641" y="203127"/>
                        <a:pt x="506312" y="202156"/>
                      </a:cubicBezTo>
                      <a:cubicBezTo>
                        <a:pt x="508583" y="201318"/>
                        <a:pt x="510538" y="200601"/>
                        <a:pt x="512481" y="200601"/>
                      </a:cubicBezTo>
                      <a:lnTo>
                        <a:pt x="513100" y="200626"/>
                      </a:lnTo>
                      <a:cubicBezTo>
                        <a:pt x="514533" y="200735"/>
                        <a:pt x="516160" y="200868"/>
                        <a:pt x="517896" y="200868"/>
                      </a:cubicBezTo>
                      <a:cubicBezTo>
                        <a:pt x="519305" y="200868"/>
                        <a:pt x="520774" y="200784"/>
                        <a:pt x="522243" y="200577"/>
                      </a:cubicBezTo>
                      <a:cubicBezTo>
                        <a:pt x="526214" y="199751"/>
                        <a:pt x="527878" y="197238"/>
                        <a:pt x="528582" y="195829"/>
                      </a:cubicBezTo>
                      <a:cubicBezTo>
                        <a:pt x="528752" y="195793"/>
                        <a:pt x="528922" y="195768"/>
                        <a:pt x="529080" y="195732"/>
                      </a:cubicBezTo>
                      <a:cubicBezTo>
                        <a:pt x="530598" y="195441"/>
                        <a:pt x="533063" y="194979"/>
                        <a:pt x="535163" y="192951"/>
                      </a:cubicBezTo>
                      <a:cubicBezTo>
                        <a:pt x="536171" y="192150"/>
                        <a:pt x="536961" y="191348"/>
                        <a:pt x="537762" y="190523"/>
                      </a:cubicBezTo>
                      <a:cubicBezTo>
                        <a:pt x="538636" y="189624"/>
                        <a:pt x="539171" y="189078"/>
                        <a:pt x="540154" y="188531"/>
                      </a:cubicBezTo>
                      <a:lnTo>
                        <a:pt x="540543" y="188313"/>
                      </a:lnTo>
                      <a:lnTo>
                        <a:pt x="540895" y="188045"/>
                      </a:lnTo>
                      <a:cubicBezTo>
                        <a:pt x="541320" y="187718"/>
                        <a:pt x="541757" y="187353"/>
                        <a:pt x="542207" y="186977"/>
                      </a:cubicBezTo>
                      <a:cubicBezTo>
                        <a:pt x="542704" y="186552"/>
                        <a:pt x="543470" y="185908"/>
                        <a:pt x="543773" y="185775"/>
                      </a:cubicBezTo>
                      <a:lnTo>
                        <a:pt x="545097" y="185508"/>
                      </a:lnTo>
                      <a:lnTo>
                        <a:pt x="545521" y="185168"/>
                      </a:lnTo>
                      <a:cubicBezTo>
                        <a:pt x="546226" y="185119"/>
                        <a:pt x="547064" y="184985"/>
                        <a:pt x="548047" y="184658"/>
                      </a:cubicBezTo>
                      <a:cubicBezTo>
                        <a:pt x="550172" y="183880"/>
                        <a:pt x="551217" y="182933"/>
                        <a:pt x="552127" y="182035"/>
                      </a:cubicBezTo>
                      <a:cubicBezTo>
                        <a:pt x="552297" y="181865"/>
                        <a:pt x="552480" y="181670"/>
                        <a:pt x="552795" y="181428"/>
                      </a:cubicBezTo>
                      <a:lnTo>
                        <a:pt x="553220" y="181100"/>
                      </a:lnTo>
                      <a:lnTo>
                        <a:pt x="553597" y="180687"/>
                      </a:lnTo>
                      <a:cubicBezTo>
                        <a:pt x="553754" y="180517"/>
                        <a:pt x="554228" y="180201"/>
                        <a:pt x="554677" y="179898"/>
                      </a:cubicBezTo>
                      <a:cubicBezTo>
                        <a:pt x="555904" y="179096"/>
                        <a:pt x="557713" y="177882"/>
                        <a:pt x="559280" y="175696"/>
                      </a:cubicBezTo>
                      <a:cubicBezTo>
                        <a:pt x="561222" y="173340"/>
                        <a:pt x="562339" y="170232"/>
                        <a:pt x="563250" y="167718"/>
                      </a:cubicBezTo>
                      <a:lnTo>
                        <a:pt x="563566" y="166820"/>
                      </a:lnTo>
                      <a:cubicBezTo>
                        <a:pt x="564829" y="164088"/>
                        <a:pt x="565642" y="161234"/>
                        <a:pt x="565885" y="158477"/>
                      </a:cubicBezTo>
                      <a:lnTo>
                        <a:pt x="565994" y="157312"/>
                      </a:lnTo>
                      <a:lnTo>
                        <a:pt x="565655" y="156182"/>
                      </a:lnTo>
                      <a:cubicBezTo>
                        <a:pt x="565290" y="154968"/>
                        <a:pt x="564732" y="153730"/>
                        <a:pt x="564149" y="152491"/>
                      </a:cubicBezTo>
                      <a:cubicBezTo>
                        <a:pt x="563821" y="151787"/>
                        <a:pt x="563457" y="151107"/>
                        <a:pt x="563263" y="150414"/>
                      </a:cubicBezTo>
                      <a:lnTo>
                        <a:pt x="563019" y="149589"/>
                      </a:lnTo>
                      <a:lnTo>
                        <a:pt x="562558" y="148860"/>
                      </a:lnTo>
                      <a:cubicBezTo>
                        <a:pt x="561987" y="147949"/>
                        <a:pt x="561599" y="146249"/>
                        <a:pt x="561247" y="144525"/>
                      </a:cubicBezTo>
                      <a:cubicBezTo>
                        <a:pt x="561356" y="140919"/>
                        <a:pt x="560299" y="137822"/>
                        <a:pt x="557822" y="134349"/>
                      </a:cubicBezTo>
                      <a:lnTo>
                        <a:pt x="557555" y="133973"/>
                      </a:lnTo>
                      <a:lnTo>
                        <a:pt x="557240" y="133645"/>
                      </a:lnTo>
                      <a:lnTo>
                        <a:pt x="556219" y="132552"/>
                      </a:lnTo>
                      <a:cubicBezTo>
                        <a:pt x="554689" y="130852"/>
                        <a:pt x="552807" y="128776"/>
                        <a:pt x="549602" y="127537"/>
                      </a:cubicBezTo>
                      <a:cubicBezTo>
                        <a:pt x="548157" y="126590"/>
                        <a:pt x="546772" y="125910"/>
                        <a:pt x="545303" y="125194"/>
                      </a:cubicBezTo>
                      <a:cubicBezTo>
                        <a:pt x="544550" y="124829"/>
                        <a:pt x="543761" y="124441"/>
                        <a:pt x="542899" y="123967"/>
                      </a:cubicBezTo>
                      <a:cubicBezTo>
                        <a:pt x="540944" y="122911"/>
                        <a:pt x="538879" y="122304"/>
                        <a:pt x="536876" y="121733"/>
                      </a:cubicBezTo>
                      <a:cubicBezTo>
                        <a:pt x="533974" y="120895"/>
                        <a:pt x="532140" y="120300"/>
                        <a:pt x="531363" y="119146"/>
                      </a:cubicBezTo>
                      <a:cubicBezTo>
                        <a:pt x="531059" y="118649"/>
                        <a:pt x="530804" y="118151"/>
                        <a:pt x="530792" y="116997"/>
                      </a:cubicBezTo>
                      <a:cubicBezTo>
                        <a:pt x="530816" y="116973"/>
                        <a:pt x="530853" y="116936"/>
                        <a:pt x="530877" y="116912"/>
                      </a:cubicBezTo>
                      <a:cubicBezTo>
                        <a:pt x="531521" y="116232"/>
                        <a:pt x="532346" y="115358"/>
                        <a:pt x="533051" y="114144"/>
                      </a:cubicBezTo>
                      <a:cubicBezTo>
                        <a:pt x="536001" y="110367"/>
                        <a:pt x="536633" y="105413"/>
                        <a:pt x="536767" y="103919"/>
                      </a:cubicBezTo>
                      <a:cubicBezTo>
                        <a:pt x="537070" y="99560"/>
                        <a:pt x="534799" y="96828"/>
                        <a:pt x="533136" y="94824"/>
                      </a:cubicBezTo>
                      <a:cubicBezTo>
                        <a:pt x="532735" y="94351"/>
                        <a:pt x="532310" y="93841"/>
                        <a:pt x="531885" y="93258"/>
                      </a:cubicBezTo>
                      <a:lnTo>
                        <a:pt x="531630" y="92918"/>
                      </a:lnTo>
                      <a:lnTo>
                        <a:pt x="531351" y="92614"/>
                      </a:lnTo>
                      <a:cubicBezTo>
                        <a:pt x="530658" y="91898"/>
                        <a:pt x="529954" y="91169"/>
                        <a:pt x="529226" y="90453"/>
                      </a:cubicBezTo>
                      <a:lnTo>
                        <a:pt x="528607" y="89846"/>
                      </a:lnTo>
                      <a:lnTo>
                        <a:pt x="527854" y="89433"/>
                      </a:lnTo>
                      <a:lnTo>
                        <a:pt x="526494" y="88680"/>
                      </a:lnTo>
                      <a:lnTo>
                        <a:pt x="524721" y="88631"/>
                      </a:lnTo>
                      <a:cubicBezTo>
                        <a:pt x="521479" y="88631"/>
                        <a:pt x="519463" y="90829"/>
                        <a:pt x="517981" y="92626"/>
                      </a:cubicBezTo>
                      <a:cubicBezTo>
                        <a:pt x="515953" y="92007"/>
                        <a:pt x="513780" y="91764"/>
                        <a:pt x="511740" y="91594"/>
                      </a:cubicBezTo>
                      <a:lnTo>
                        <a:pt x="510829" y="91363"/>
                      </a:lnTo>
                      <a:cubicBezTo>
                        <a:pt x="508510" y="90793"/>
                        <a:pt x="508473" y="90732"/>
                        <a:pt x="508146" y="90295"/>
                      </a:cubicBezTo>
                      <a:lnTo>
                        <a:pt x="507551" y="89469"/>
                      </a:lnTo>
                      <a:lnTo>
                        <a:pt x="506713" y="88886"/>
                      </a:lnTo>
                      <a:cubicBezTo>
                        <a:pt x="506409" y="88668"/>
                        <a:pt x="505778" y="87890"/>
                        <a:pt x="505328" y="87320"/>
                      </a:cubicBezTo>
                      <a:cubicBezTo>
                        <a:pt x="504466" y="86251"/>
                        <a:pt x="503422" y="84952"/>
                        <a:pt x="501989" y="83823"/>
                      </a:cubicBezTo>
                      <a:cubicBezTo>
                        <a:pt x="499621" y="81443"/>
                        <a:pt x="496671" y="79196"/>
                        <a:pt x="493756" y="77593"/>
                      </a:cubicBezTo>
                      <a:cubicBezTo>
                        <a:pt x="490429" y="75420"/>
                        <a:pt x="486045" y="75080"/>
                        <a:pt x="483398" y="74873"/>
                      </a:cubicBezTo>
                      <a:lnTo>
                        <a:pt x="482949" y="74837"/>
                      </a:lnTo>
                      <a:lnTo>
                        <a:pt x="482500" y="74861"/>
                      </a:lnTo>
                      <a:cubicBezTo>
                        <a:pt x="477023" y="75238"/>
                        <a:pt x="474121" y="77496"/>
                        <a:pt x="471559" y="79488"/>
                      </a:cubicBezTo>
                      <a:lnTo>
                        <a:pt x="470381" y="80386"/>
                      </a:lnTo>
                      <a:lnTo>
                        <a:pt x="470004" y="80665"/>
                      </a:lnTo>
                      <a:lnTo>
                        <a:pt x="469677" y="81005"/>
                      </a:lnTo>
                      <a:cubicBezTo>
                        <a:pt x="468827" y="80738"/>
                        <a:pt x="468001" y="80629"/>
                        <a:pt x="467163" y="80532"/>
                      </a:cubicBezTo>
                      <a:lnTo>
                        <a:pt x="465208" y="80338"/>
                      </a:lnTo>
                      <a:cubicBezTo>
                        <a:pt x="464431" y="80277"/>
                        <a:pt x="463605" y="80253"/>
                        <a:pt x="462755" y="80253"/>
                      </a:cubicBezTo>
                      <a:cubicBezTo>
                        <a:pt x="460254" y="80253"/>
                        <a:pt x="457412" y="80508"/>
                        <a:pt x="454535" y="80775"/>
                      </a:cubicBezTo>
                      <a:lnTo>
                        <a:pt x="454000" y="80823"/>
                      </a:lnTo>
                      <a:lnTo>
                        <a:pt x="453089" y="81005"/>
                      </a:lnTo>
                      <a:cubicBezTo>
                        <a:pt x="449143" y="82086"/>
                        <a:pt x="445367" y="83118"/>
                        <a:pt x="441432" y="84818"/>
                      </a:cubicBezTo>
                      <a:cubicBezTo>
                        <a:pt x="441347" y="84709"/>
                        <a:pt x="441262" y="84588"/>
                        <a:pt x="441177" y="84490"/>
                      </a:cubicBezTo>
                      <a:cubicBezTo>
                        <a:pt x="439356" y="81455"/>
                        <a:pt x="436417" y="80508"/>
                        <a:pt x="434790" y="79985"/>
                      </a:cubicBezTo>
                      <a:cubicBezTo>
                        <a:pt x="434547" y="79901"/>
                        <a:pt x="434292" y="79840"/>
                        <a:pt x="434049" y="79743"/>
                      </a:cubicBezTo>
                      <a:cubicBezTo>
                        <a:pt x="433624" y="79136"/>
                        <a:pt x="433697" y="78820"/>
                        <a:pt x="434304" y="76622"/>
                      </a:cubicBezTo>
                      <a:cubicBezTo>
                        <a:pt x="434608" y="76245"/>
                        <a:pt x="435069" y="75772"/>
                        <a:pt x="435531" y="75310"/>
                      </a:cubicBezTo>
                      <a:cubicBezTo>
                        <a:pt x="437304" y="73501"/>
                        <a:pt x="440000" y="70745"/>
                        <a:pt x="440352" y="66240"/>
                      </a:cubicBezTo>
                      <a:cubicBezTo>
                        <a:pt x="440764" y="61358"/>
                        <a:pt x="444189" y="56149"/>
                        <a:pt x="447504" y="51110"/>
                      </a:cubicBezTo>
                      <a:cubicBezTo>
                        <a:pt x="448244" y="49993"/>
                        <a:pt x="448973" y="48887"/>
                        <a:pt x="449665" y="47807"/>
                      </a:cubicBezTo>
                      <a:cubicBezTo>
                        <a:pt x="454340" y="40363"/>
                        <a:pt x="454595" y="37837"/>
                        <a:pt x="451463" y="30928"/>
                      </a:cubicBezTo>
                      <a:lnTo>
                        <a:pt x="450345" y="28414"/>
                      </a:lnTo>
                      <a:cubicBezTo>
                        <a:pt x="449775" y="27103"/>
                        <a:pt x="449738" y="24322"/>
                        <a:pt x="449702" y="21869"/>
                      </a:cubicBezTo>
                      <a:cubicBezTo>
                        <a:pt x="449617" y="15373"/>
                        <a:pt x="449471" y="4517"/>
                        <a:pt x="437947" y="923"/>
                      </a:cubicBezTo>
                      <a:cubicBezTo>
                        <a:pt x="435919" y="316"/>
                        <a:pt x="433770" y="0"/>
                        <a:pt x="431560" y="0"/>
                      </a:cubicBezTo>
                      <a:lnTo>
                        <a:pt x="431560" y="0"/>
                      </a:lnTo>
                      <a:close/>
                    </a:path>
                  </a:pathLst>
                </a:custGeom>
                <a:solidFill>
                  <a:srgbClr val="FFFFFF"/>
                </a:solidFill>
                <a:ln w="12138" cap="flat">
                  <a:noFill/>
                  <a:prstDash val="solid"/>
                  <a:miter/>
                </a:ln>
              </p:spPr>
              <p:txBody>
                <a:bodyPr rtlCol="0" anchor="ctr"/>
                <a:lstStyle/>
                <a:p>
                  <a:endParaRPr lang="en-US"/>
                </a:p>
              </p:txBody>
            </p:sp>
          </p:grpSp>
          <p:grpSp>
            <p:nvGrpSpPr>
              <p:cNvPr id="278" name="Graphic 280">
                <a:extLst>
                  <a:ext uri="{FF2B5EF4-FFF2-40B4-BE49-F238E27FC236}">
                    <a16:creationId xmlns:a16="http://schemas.microsoft.com/office/drawing/2014/main" id="{49D775BB-E1DC-45B6-A72D-B31EF6FE75C5}"/>
                  </a:ext>
                </a:extLst>
              </p:cNvPr>
              <p:cNvGrpSpPr/>
              <p:nvPr/>
            </p:nvGrpSpPr>
            <p:grpSpPr>
              <a:xfrm>
                <a:off x="7664078" y="3213076"/>
                <a:ext cx="243207" cy="356188"/>
                <a:chOff x="7664078" y="3213076"/>
                <a:chExt cx="243207" cy="356188"/>
              </a:xfrm>
            </p:grpSpPr>
            <p:sp>
              <p:nvSpPr>
                <p:cNvPr id="294" name="Freeform: Shape 293">
                  <a:extLst>
                    <a:ext uri="{FF2B5EF4-FFF2-40B4-BE49-F238E27FC236}">
                      <a16:creationId xmlns:a16="http://schemas.microsoft.com/office/drawing/2014/main" id="{38F23559-14FB-4C6D-83B2-70828D99B66A}"/>
                    </a:ext>
                  </a:extLst>
                </p:cNvPr>
                <p:cNvSpPr/>
                <p:nvPr/>
              </p:nvSpPr>
              <p:spPr>
                <a:xfrm>
                  <a:off x="7667247" y="3223094"/>
                  <a:ext cx="237139" cy="342382"/>
                </a:xfrm>
                <a:custGeom>
                  <a:avLst/>
                  <a:gdLst>
                    <a:gd name="connsiteX0" fmla="*/ 84661 w 237139"/>
                    <a:gd name="connsiteY0" fmla="*/ 339007 h 342382"/>
                    <a:gd name="connsiteX1" fmla="*/ 84661 w 237139"/>
                    <a:gd name="connsiteY1" fmla="*/ 336675 h 342382"/>
                    <a:gd name="connsiteX2" fmla="*/ 84333 w 237139"/>
                    <a:gd name="connsiteY2" fmla="*/ 336056 h 342382"/>
                    <a:gd name="connsiteX3" fmla="*/ 82633 w 237139"/>
                    <a:gd name="connsiteY3" fmla="*/ 335254 h 342382"/>
                    <a:gd name="connsiteX4" fmla="*/ 80957 w 237139"/>
                    <a:gd name="connsiteY4" fmla="*/ 335060 h 342382"/>
                    <a:gd name="connsiteX5" fmla="*/ 77205 w 237139"/>
                    <a:gd name="connsiteY5" fmla="*/ 333749 h 342382"/>
                    <a:gd name="connsiteX6" fmla="*/ 74303 w 237139"/>
                    <a:gd name="connsiteY6" fmla="*/ 330567 h 342382"/>
                    <a:gd name="connsiteX7" fmla="*/ 72906 w 237139"/>
                    <a:gd name="connsiteY7" fmla="*/ 327580 h 342382"/>
                    <a:gd name="connsiteX8" fmla="*/ 72590 w 237139"/>
                    <a:gd name="connsiteY8" fmla="*/ 322407 h 342382"/>
                    <a:gd name="connsiteX9" fmla="*/ 71510 w 237139"/>
                    <a:gd name="connsiteY9" fmla="*/ 322128 h 342382"/>
                    <a:gd name="connsiteX10" fmla="*/ 70417 w 237139"/>
                    <a:gd name="connsiteY10" fmla="*/ 320744 h 342382"/>
                    <a:gd name="connsiteX11" fmla="*/ 69773 w 237139"/>
                    <a:gd name="connsiteY11" fmla="*/ 319384 h 342382"/>
                    <a:gd name="connsiteX12" fmla="*/ 68790 w 237139"/>
                    <a:gd name="connsiteY12" fmla="*/ 314320 h 342382"/>
                    <a:gd name="connsiteX13" fmla="*/ 64564 w 237139"/>
                    <a:gd name="connsiteY13" fmla="*/ 300161 h 342382"/>
                    <a:gd name="connsiteX14" fmla="*/ 63787 w 237139"/>
                    <a:gd name="connsiteY14" fmla="*/ 298498 h 342382"/>
                    <a:gd name="connsiteX15" fmla="*/ 62633 w 237139"/>
                    <a:gd name="connsiteY15" fmla="*/ 293216 h 342382"/>
                    <a:gd name="connsiteX16" fmla="*/ 59233 w 237139"/>
                    <a:gd name="connsiteY16" fmla="*/ 289949 h 342382"/>
                    <a:gd name="connsiteX17" fmla="*/ 58978 w 237139"/>
                    <a:gd name="connsiteY17" fmla="*/ 288419 h 342382"/>
                    <a:gd name="connsiteX18" fmla="*/ 58917 w 237139"/>
                    <a:gd name="connsiteY18" fmla="*/ 286877 h 342382"/>
                    <a:gd name="connsiteX19" fmla="*/ 58966 w 237139"/>
                    <a:gd name="connsiteY19" fmla="*/ 285893 h 342382"/>
                    <a:gd name="connsiteX20" fmla="*/ 57594 w 237139"/>
                    <a:gd name="connsiteY20" fmla="*/ 286573 h 342382"/>
                    <a:gd name="connsiteX21" fmla="*/ 55967 w 237139"/>
                    <a:gd name="connsiteY21" fmla="*/ 283683 h 342382"/>
                    <a:gd name="connsiteX22" fmla="*/ 53453 w 237139"/>
                    <a:gd name="connsiteY22" fmla="*/ 280162 h 342382"/>
                    <a:gd name="connsiteX23" fmla="*/ 51401 w 237139"/>
                    <a:gd name="connsiteY23" fmla="*/ 278717 h 342382"/>
                    <a:gd name="connsiteX24" fmla="*/ 49701 w 237139"/>
                    <a:gd name="connsiteY24" fmla="*/ 278765 h 342382"/>
                    <a:gd name="connsiteX25" fmla="*/ 48887 w 237139"/>
                    <a:gd name="connsiteY25" fmla="*/ 279895 h 342382"/>
                    <a:gd name="connsiteX26" fmla="*/ 48050 w 237139"/>
                    <a:gd name="connsiteY26" fmla="*/ 283878 h 342382"/>
                    <a:gd name="connsiteX27" fmla="*/ 48123 w 237139"/>
                    <a:gd name="connsiteY27" fmla="*/ 292062 h 342382"/>
                    <a:gd name="connsiteX28" fmla="*/ 51547 w 237139"/>
                    <a:gd name="connsiteY28" fmla="*/ 308030 h 342382"/>
                    <a:gd name="connsiteX29" fmla="*/ 50903 w 237139"/>
                    <a:gd name="connsiteY29" fmla="*/ 315498 h 342382"/>
                    <a:gd name="connsiteX30" fmla="*/ 50527 w 237139"/>
                    <a:gd name="connsiteY30" fmla="*/ 318995 h 342382"/>
                    <a:gd name="connsiteX31" fmla="*/ 39841 w 237139"/>
                    <a:gd name="connsiteY31" fmla="*/ 316214 h 342382"/>
                    <a:gd name="connsiteX32" fmla="*/ 34717 w 237139"/>
                    <a:gd name="connsiteY32" fmla="*/ 309414 h 342382"/>
                    <a:gd name="connsiteX33" fmla="*/ 31778 w 237139"/>
                    <a:gd name="connsiteY33" fmla="*/ 300319 h 342382"/>
                    <a:gd name="connsiteX34" fmla="*/ 27309 w 237139"/>
                    <a:gd name="connsiteY34" fmla="*/ 268019 h 342382"/>
                    <a:gd name="connsiteX35" fmla="*/ 26690 w 237139"/>
                    <a:gd name="connsiteY35" fmla="*/ 266683 h 342382"/>
                    <a:gd name="connsiteX36" fmla="*/ 25949 w 237139"/>
                    <a:gd name="connsiteY36" fmla="*/ 265590 h 342382"/>
                    <a:gd name="connsiteX37" fmla="*/ 25209 w 237139"/>
                    <a:gd name="connsiteY37" fmla="*/ 263113 h 342382"/>
                    <a:gd name="connsiteX38" fmla="*/ 24905 w 237139"/>
                    <a:gd name="connsiteY38" fmla="*/ 261765 h 342382"/>
                    <a:gd name="connsiteX39" fmla="*/ 27067 w 237139"/>
                    <a:gd name="connsiteY39" fmla="*/ 258839 h 342382"/>
                    <a:gd name="connsiteX40" fmla="*/ 27856 w 237139"/>
                    <a:gd name="connsiteY40" fmla="*/ 258049 h 342382"/>
                    <a:gd name="connsiteX41" fmla="*/ 24322 w 237139"/>
                    <a:gd name="connsiteY41" fmla="*/ 255645 h 342382"/>
                    <a:gd name="connsiteX42" fmla="*/ 22112 w 237139"/>
                    <a:gd name="connsiteY42" fmla="*/ 250995 h 342382"/>
                    <a:gd name="connsiteX43" fmla="*/ 19417 w 237139"/>
                    <a:gd name="connsiteY43" fmla="*/ 242130 h 342382"/>
                    <a:gd name="connsiteX44" fmla="*/ 18409 w 237139"/>
                    <a:gd name="connsiteY44" fmla="*/ 236921 h 342382"/>
                    <a:gd name="connsiteX45" fmla="*/ 18044 w 237139"/>
                    <a:gd name="connsiteY45" fmla="*/ 235707 h 342382"/>
                    <a:gd name="connsiteX46" fmla="*/ 17777 w 237139"/>
                    <a:gd name="connsiteY46" fmla="*/ 235391 h 342382"/>
                    <a:gd name="connsiteX47" fmla="*/ 14911 w 237139"/>
                    <a:gd name="connsiteY47" fmla="*/ 233654 h 342382"/>
                    <a:gd name="connsiteX48" fmla="*/ 12859 w 237139"/>
                    <a:gd name="connsiteY48" fmla="*/ 231821 h 342382"/>
                    <a:gd name="connsiteX49" fmla="*/ 10528 w 237139"/>
                    <a:gd name="connsiteY49" fmla="*/ 227789 h 342382"/>
                    <a:gd name="connsiteX50" fmla="*/ 8707 w 237139"/>
                    <a:gd name="connsiteY50" fmla="*/ 220576 h 342382"/>
                    <a:gd name="connsiteX51" fmla="*/ 7419 w 237139"/>
                    <a:gd name="connsiteY51" fmla="*/ 217516 h 342382"/>
                    <a:gd name="connsiteX52" fmla="*/ 2113 w 237139"/>
                    <a:gd name="connsiteY52" fmla="*/ 207887 h 342382"/>
                    <a:gd name="connsiteX53" fmla="*/ 959 w 237139"/>
                    <a:gd name="connsiteY53" fmla="*/ 203722 h 342382"/>
                    <a:gd name="connsiteX54" fmla="*/ 1530 w 237139"/>
                    <a:gd name="connsiteY54" fmla="*/ 197821 h 342382"/>
                    <a:gd name="connsiteX55" fmla="*/ 1834 w 237139"/>
                    <a:gd name="connsiteY55" fmla="*/ 195526 h 342382"/>
                    <a:gd name="connsiteX56" fmla="*/ 6484 w 237139"/>
                    <a:gd name="connsiteY56" fmla="*/ 194906 h 342382"/>
                    <a:gd name="connsiteX57" fmla="*/ 7759 w 237139"/>
                    <a:gd name="connsiteY57" fmla="*/ 194967 h 342382"/>
                    <a:gd name="connsiteX58" fmla="*/ 7881 w 237139"/>
                    <a:gd name="connsiteY58" fmla="*/ 194736 h 342382"/>
                    <a:gd name="connsiteX59" fmla="*/ 7699 w 237139"/>
                    <a:gd name="connsiteY59" fmla="*/ 194287 h 342382"/>
                    <a:gd name="connsiteX60" fmla="*/ 5890 w 237139"/>
                    <a:gd name="connsiteY60" fmla="*/ 193619 h 342382"/>
                    <a:gd name="connsiteX61" fmla="*/ 1214 w 237139"/>
                    <a:gd name="connsiteY61" fmla="*/ 191239 h 342382"/>
                    <a:gd name="connsiteX62" fmla="*/ 0 w 237139"/>
                    <a:gd name="connsiteY62" fmla="*/ 184488 h 342382"/>
                    <a:gd name="connsiteX63" fmla="*/ 2720 w 237139"/>
                    <a:gd name="connsiteY63" fmla="*/ 178610 h 342382"/>
                    <a:gd name="connsiteX64" fmla="*/ 6885 w 237139"/>
                    <a:gd name="connsiteY64" fmla="*/ 177190 h 342382"/>
                    <a:gd name="connsiteX65" fmla="*/ 11208 w 237139"/>
                    <a:gd name="connsiteY65" fmla="*/ 176728 h 342382"/>
                    <a:gd name="connsiteX66" fmla="*/ 12690 w 237139"/>
                    <a:gd name="connsiteY66" fmla="*/ 175854 h 342382"/>
                    <a:gd name="connsiteX67" fmla="*/ 14183 w 237139"/>
                    <a:gd name="connsiteY67" fmla="*/ 173268 h 342382"/>
                    <a:gd name="connsiteX68" fmla="*/ 17729 w 237139"/>
                    <a:gd name="connsiteY68" fmla="*/ 162946 h 342382"/>
                    <a:gd name="connsiteX69" fmla="*/ 18020 w 237139"/>
                    <a:gd name="connsiteY69" fmla="*/ 160493 h 342382"/>
                    <a:gd name="connsiteX70" fmla="*/ 17462 w 237139"/>
                    <a:gd name="connsiteY70" fmla="*/ 158623 h 342382"/>
                    <a:gd name="connsiteX71" fmla="*/ 15482 w 237139"/>
                    <a:gd name="connsiteY71" fmla="*/ 154397 h 342382"/>
                    <a:gd name="connsiteX72" fmla="*/ 15045 w 237139"/>
                    <a:gd name="connsiteY72" fmla="*/ 150597 h 342382"/>
                    <a:gd name="connsiteX73" fmla="*/ 15956 w 237139"/>
                    <a:gd name="connsiteY73" fmla="*/ 146796 h 342382"/>
                    <a:gd name="connsiteX74" fmla="*/ 22695 w 237139"/>
                    <a:gd name="connsiteY74" fmla="*/ 135066 h 342382"/>
                    <a:gd name="connsiteX75" fmla="*/ 24796 w 237139"/>
                    <a:gd name="connsiteY75" fmla="*/ 132164 h 342382"/>
                    <a:gd name="connsiteX76" fmla="*/ 27734 w 237139"/>
                    <a:gd name="connsiteY76" fmla="*/ 129504 h 342382"/>
                    <a:gd name="connsiteX77" fmla="*/ 32543 w 237139"/>
                    <a:gd name="connsiteY77" fmla="*/ 127392 h 342382"/>
                    <a:gd name="connsiteX78" fmla="*/ 36222 w 237139"/>
                    <a:gd name="connsiteY78" fmla="*/ 127695 h 342382"/>
                    <a:gd name="connsiteX79" fmla="*/ 38906 w 237139"/>
                    <a:gd name="connsiteY79" fmla="*/ 128739 h 342382"/>
                    <a:gd name="connsiteX80" fmla="*/ 39222 w 237139"/>
                    <a:gd name="connsiteY80" fmla="*/ 128521 h 342382"/>
                    <a:gd name="connsiteX81" fmla="*/ 40898 w 237139"/>
                    <a:gd name="connsiteY81" fmla="*/ 121587 h 342382"/>
                    <a:gd name="connsiteX82" fmla="*/ 41116 w 237139"/>
                    <a:gd name="connsiteY82" fmla="*/ 114605 h 342382"/>
                    <a:gd name="connsiteX83" fmla="*/ 43666 w 237139"/>
                    <a:gd name="connsiteY83" fmla="*/ 108376 h 342382"/>
                    <a:gd name="connsiteX84" fmla="*/ 44407 w 237139"/>
                    <a:gd name="connsiteY84" fmla="*/ 106736 h 342382"/>
                    <a:gd name="connsiteX85" fmla="*/ 53951 w 237139"/>
                    <a:gd name="connsiteY85" fmla="*/ 105947 h 342382"/>
                    <a:gd name="connsiteX86" fmla="*/ 69069 w 237139"/>
                    <a:gd name="connsiteY86" fmla="*/ 108995 h 342382"/>
                    <a:gd name="connsiteX87" fmla="*/ 75638 w 237139"/>
                    <a:gd name="connsiteY87" fmla="*/ 109505 h 342382"/>
                    <a:gd name="connsiteX88" fmla="*/ 82803 w 237139"/>
                    <a:gd name="connsiteY88" fmla="*/ 108618 h 342382"/>
                    <a:gd name="connsiteX89" fmla="*/ 86567 w 237139"/>
                    <a:gd name="connsiteY89" fmla="*/ 107441 h 342382"/>
                    <a:gd name="connsiteX90" fmla="*/ 87988 w 237139"/>
                    <a:gd name="connsiteY90" fmla="*/ 106457 h 342382"/>
                    <a:gd name="connsiteX91" fmla="*/ 89421 w 237139"/>
                    <a:gd name="connsiteY91" fmla="*/ 104198 h 342382"/>
                    <a:gd name="connsiteX92" fmla="*/ 90623 w 237139"/>
                    <a:gd name="connsiteY92" fmla="*/ 100592 h 342382"/>
                    <a:gd name="connsiteX93" fmla="*/ 92481 w 237139"/>
                    <a:gd name="connsiteY93" fmla="*/ 88522 h 342382"/>
                    <a:gd name="connsiteX94" fmla="*/ 94436 w 237139"/>
                    <a:gd name="connsiteY94" fmla="*/ 82754 h 342382"/>
                    <a:gd name="connsiteX95" fmla="*/ 100604 w 237139"/>
                    <a:gd name="connsiteY95" fmla="*/ 84964 h 342382"/>
                    <a:gd name="connsiteX96" fmla="*/ 104381 w 237139"/>
                    <a:gd name="connsiteY96" fmla="*/ 94229 h 342382"/>
                    <a:gd name="connsiteX97" fmla="*/ 105571 w 237139"/>
                    <a:gd name="connsiteY97" fmla="*/ 96281 h 342382"/>
                    <a:gd name="connsiteX98" fmla="*/ 107696 w 237139"/>
                    <a:gd name="connsiteY98" fmla="*/ 97605 h 342382"/>
                    <a:gd name="connsiteX99" fmla="*/ 109979 w 237139"/>
                    <a:gd name="connsiteY99" fmla="*/ 97921 h 342382"/>
                    <a:gd name="connsiteX100" fmla="*/ 111667 w 237139"/>
                    <a:gd name="connsiteY100" fmla="*/ 97301 h 342382"/>
                    <a:gd name="connsiteX101" fmla="*/ 112711 w 237139"/>
                    <a:gd name="connsiteY101" fmla="*/ 95844 h 342382"/>
                    <a:gd name="connsiteX102" fmla="*/ 112638 w 237139"/>
                    <a:gd name="connsiteY102" fmla="*/ 93416 h 342382"/>
                    <a:gd name="connsiteX103" fmla="*/ 111557 w 237139"/>
                    <a:gd name="connsiteY103" fmla="*/ 90161 h 342382"/>
                    <a:gd name="connsiteX104" fmla="*/ 110792 w 237139"/>
                    <a:gd name="connsiteY104" fmla="*/ 84733 h 342382"/>
                    <a:gd name="connsiteX105" fmla="*/ 114532 w 237139"/>
                    <a:gd name="connsiteY105" fmla="*/ 79512 h 342382"/>
                    <a:gd name="connsiteX106" fmla="*/ 128412 w 237139"/>
                    <a:gd name="connsiteY106" fmla="*/ 82402 h 342382"/>
                    <a:gd name="connsiteX107" fmla="*/ 131848 w 237139"/>
                    <a:gd name="connsiteY107" fmla="*/ 82572 h 342382"/>
                    <a:gd name="connsiteX108" fmla="*/ 133087 w 237139"/>
                    <a:gd name="connsiteY108" fmla="*/ 85644 h 342382"/>
                    <a:gd name="connsiteX109" fmla="*/ 133585 w 237139"/>
                    <a:gd name="connsiteY109" fmla="*/ 91072 h 342382"/>
                    <a:gd name="connsiteX110" fmla="*/ 133694 w 237139"/>
                    <a:gd name="connsiteY110" fmla="*/ 91400 h 342382"/>
                    <a:gd name="connsiteX111" fmla="*/ 138235 w 237139"/>
                    <a:gd name="connsiteY111" fmla="*/ 95796 h 342382"/>
                    <a:gd name="connsiteX112" fmla="*/ 140020 w 237139"/>
                    <a:gd name="connsiteY112" fmla="*/ 96245 h 342382"/>
                    <a:gd name="connsiteX113" fmla="*/ 140421 w 237139"/>
                    <a:gd name="connsiteY113" fmla="*/ 95990 h 342382"/>
                    <a:gd name="connsiteX114" fmla="*/ 141368 w 237139"/>
                    <a:gd name="connsiteY114" fmla="*/ 93452 h 342382"/>
                    <a:gd name="connsiteX115" fmla="*/ 145339 w 237139"/>
                    <a:gd name="connsiteY115" fmla="*/ 76901 h 342382"/>
                    <a:gd name="connsiteX116" fmla="*/ 145436 w 237139"/>
                    <a:gd name="connsiteY116" fmla="*/ 73550 h 342382"/>
                    <a:gd name="connsiteX117" fmla="*/ 143420 w 237139"/>
                    <a:gd name="connsiteY117" fmla="*/ 65912 h 342382"/>
                    <a:gd name="connsiteX118" fmla="*/ 144452 w 237139"/>
                    <a:gd name="connsiteY118" fmla="*/ 59889 h 342382"/>
                    <a:gd name="connsiteX119" fmla="*/ 151993 w 237139"/>
                    <a:gd name="connsiteY119" fmla="*/ 57533 h 342382"/>
                    <a:gd name="connsiteX120" fmla="*/ 154191 w 237139"/>
                    <a:gd name="connsiteY120" fmla="*/ 59440 h 342382"/>
                    <a:gd name="connsiteX121" fmla="*/ 153208 w 237139"/>
                    <a:gd name="connsiteY121" fmla="*/ 57885 h 342382"/>
                    <a:gd name="connsiteX122" fmla="*/ 153851 w 237139"/>
                    <a:gd name="connsiteY122" fmla="*/ 51522 h 342382"/>
                    <a:gd name="connsiteX123" fmla="*/ 172442 w 237139"/>
                    <a:gd name="connsiteY123" fmla="*/ 53053 h 342382"/>
                    <a:gd name="connsiteX124" fmla="*/ 177457 w 237139"/>
                    <a:gd name="connsiteY124" fmla="*/ 52627 h 342382"/>
                    <a:gd name="connsiteX125" fmla="*/ 180468 w 237139"/>
                    <a:gd name="connsiteY125" fmla="*/ 51146 h 342382"/>
                    <a:gd name="connsiteX126" fmla="*/ 183213 w 237139"/>
                    <a:gd name="connsiteY126" fmla="*/ 47540 h 342382"/>
                    <a:gd name="connsiteX127" fmla="*/ 183759 w 237139"/>
                    <a:gd name="connsiteY127" fmla="*/ 42743 h 342382"/>
                    <a:gd name="connsiteX128" fmla="*/ 182776 w 237139"/>
                    <a:gd name="connsiteY128" fmla="*/ 31183 h 342382"/>
                    <a:gd name="connsiteX129" fmla="*/ 183990 w 237139"/>
                    <a:gd name="connsiteY129" fmla="*/ 25573 h 342382"/>
                    <a:gd name="connsiteX130" fmla="*/ 186904 w 237139"/>
                    <a:gd name="connsiteY130" fmla="*/ 22756 h 342382"/>
                    <a:gd name="connsiteX131" fmla="*/ 190438 w 237139"/>
                    <a:gd name="connsiteY131" fmla="*/ 20631 h 342382"/>
                    <a:gd name="connsiteX132" fmla="*/ 192211 w 237139"/>
                    <a:gd name="connsiteY132" fmla="*/ 19210 h 342382"/>
                    <a:gd name="connsiteX133" fmla="*/ 194057 w 237139"/>
                    <a:gd name="connsiteY133" fmla="*/ 16526 h 342382"/>
                    <a:gd name="connsiteX134" fmla="*/ 194761 w 237139"/>
                    <a:gd name="connsiteY134" fmla="*/ 14219 h 342382"/>
                    <a:gd name="connsiteX135" fmla="*/ 195283 w 237139"/>
                    <a:gd name="connsiteY135" fmla="*/ 9629 h 342382"/>
                    <a:gd name="connsiteX136" fmla="*/ 196521 w 237139"/>
                    <a:gd name="connsiteY136" fmla="*/ 0 h 342382"/>
                    <a:gd name="connsiteX137" fmla="*/ 200990 w 237139"/>
                    <a:gd name="connsiteY137" fmla="*/ 8621 h 342382"/>
                    <a:gd name="connsiteX138" fmla="*/ 205653 w 237139"/>
                    <a:gd name="connsiteY138" fmla="*/ 12167 h 342382"/>
                    <a:gd name="connsiteX139" fmla="*/ 209223 w 237139"/>
                    <a:gd name="connsiteY139" fmla="*/ 14608 h 342382"/>
                    <a:gd name="connsiteX140" fmla="*/ 213910 w 237139"/>
                    <a:gd name="connsiteY140" fmla="*/ 25755 h 342382"/>
                    <a:gd name="connsiteX141" fmla="*/ 217079 w 237139"/>
                    <a:gd name="connsiteY141" fmla="*/ 33648 h 342382"/>
                    <a:gd name="connsiteX142" fmla="*/ 218828 w 237139"/>
                    <a:gd name="connsiteY142" fmla="*/ 45196 h 342382"/>
                    <a:gd name="connsiteX143" fmla="*/ 219472 w 237139"/>
                    <a:gd name="connsiteY143" fmla="*/ 52725 h 342382"/>
                    <a:gd name="connsiteX144" fmla="*/ 224681 w 237139"/>
                    <a:gd name="connsiteY144" fmla="*/ 58881 h 342382"/>
                    <a:gd name="connsiteX145" fmla="*/ 231627 w 237139"/>
                    <a:gd name="connsiteY145" fmla="*/ 72238 h 342382"/>
                    <a:gd name="connsiteX146" fmla="*/ 236253 w 237139"/>
                    <a:gd name="connsiteY146" fmla="*/ 93501 h 342382"/>
                    <a:gd name="connsiteX147" fmla="*/ 236751 w 237139"/>
                    <a:gd name="connsiteY147" fmla="*/ 97350 h 342382"/>
                    <a:gd name="connsiteX148" fmla="*/ 235597 w 237139"/>
                    <a:gd name="connsiteY148" fmla="*/ 121381 h 342382"/>
                    <a:gd name="connsiteX149" fmla="*/ 228117 w 237139"/>
                    <a:gd name="connsiteY149" fmla="*/ 133827 h 342382"/>
                    <a:gd name="connsiteX150" fmla="*/ 222689 w 237139"/>
                    <a:gd name="connsiteY150" fmla="*/ 140287 h 342382"/>
                    <a:gd name="connsiteX151" fmla="*/ 218561 w 237139"/>
                    <a:gd name="connsiteY151" fmla="*/ 151945 h 342382"/>
                    <a:gd name="connsiteX152" fmla="*/ 216072 w 237139"/>
                    <a:gd name="connsiteY152" fmla="*/ 160153 h 342382"/>
                    <a:gd name="connsiteX153" fmla="*/ 202908 w 237139"/>
                    <a:gd name="connsiteY153" fmla="*/ 204997 h 342382"/>
                    <a:gd name="connsiteX154" fmla="*/ 197457 w 237139"/>
                    <a:gd name="connsiteY154" fmla="*/ 197663 h 342382"/>
                    <a:gd name="connsiteX155" fmla="*/ 195064 w 237139"/>
                    <a:gd name="connsiteY155" fmla="*/ 189017 h 342382"/>
                    <a:gd name="connsiteX156" fmla="*/ 193109 w 237139"/>
                    <a:gd name="connsiteY156" fmla="*/ 186297 h 342382"/>
                    <a:gd name="connsiteX157" fmla="*/ 188009 w 237139"/>
                    <a:gd name="connsiteY157" fmla="*/ 188009 h 342382"/>
                    <a:gd name="connsiteX158" fmla="*/ 185496 w 237139"/>
                    <a:gd name="connsiteY158" fmla="*/ 190790 h 342382"/>
                    <a:gd name="connsiteX159" fmla="*/ 179606 w 237139"/>
                    <a:gd name="connsiteY159" fmla="*/ 198841 h 342382"/>
                    <a:gd name="connsiteX160" fmla="*/ 175308 w 237139"/>
                    <a:gd name="connsiteY160" fmla="*/ 202581 h 342382"/>
                    <a:gd name="connsiteX161" fmla="*/ 169139 w 237139"/>
                    <a:gd name="connsiteY161" fmla="*/ 204111 h 342382"/>
                    <a:gd name="connsiteX162" fmla="*/ 165193 w 237139"/>
                    <a:gd name="connsiteY162" fmla="*/ 202095 h 342382"/>
                    <a:gd name="connsiteX163" fmla="*/ 156450 w 237139"/>
                    <a:gd name="connsiteY163" fmla="*/ 192757 h 342382"/>
                    <a:gd name="connsiteX164" fmla="*/ 153790 w 237139"/>
                    <a:gd name="connsiteY164" fmla="*/ 188665 h 342382"/>
                    <a:gd name="connsiteX165" fmla="*/ 153135 w 237139"/>
                    <a:gd name="connsiteY165" fmla="*/ 187912 h 342382"/>
                    <a:gd name="connsiteX166" fmla="*/ 152953 w 237139"/>
                    <a:gd name="connsiteY166" fmla="*/ 188301 h 342382"/>
                    <a:gd name="connsiteX167" fmla="*/ 152880 w 237139"/>
                    <a:gd name="connsiteY167" fmla="*/ 191543 h 342382"/>
                    <a:gd name="connsiteX168" fmla="*/ 153159 w 237139"/>
                    <a:gd name="connsiteY168" fmla="*/ 198731 h 342382"/>
                    <a:gd name="connsiteX169" fmla="*/ 158028 w 237139"/>
                    <a:gd name="connsiteY169" fmla="*/ 221159 h 342382"/>
                    <a:gd name="connsiteX170" fmla="*/ 157773 w 237139"/>
                    <a:gd name="connsiteY170" fmla="*/ 230473 h 342382"/>
                    <a:gd name="connsiteX171" fmla="*/ 153123 w 237139"/>
                    <a:gd name="connsiteY171" fmla="*/ 238135 h 342382"/>
                    <a:gd name="connsiteX172" fmla="*/ 150269 w 237139"/>
                    <a:gd name="connsiteY172" fmla="*/ 241280 h 342382"/>
                    <a:gd name="connsiteX173" fmla="*/ 146820 w 237139"/>
                    <a:gd name="connsiteY173" fmla="*/ 243794 h 342382"/>
                    <a:gd name="connsiteX174" fmla="*/ 135855 w 237139"/>
                    <a:gd name="connsiteY174" fmla="*/ 248493 h 342382"/>
                    <a:gd name="connsiteX175" fmla="*/ 133682 w 237139"/>
                    <a:gd name="connsiteY175" fmla="*/ 250545 h 342382"/>
                    <a:gd name="connsiteX176" fmla="*/ 129225 w 237139"/>
                    <a:gd name="connsiteY176" fmla="*/ 256532 h 342382"/>
                    <a:gd name="connsiteX177" fmla="*/ 123979 w 237139"/>
                    <a:gd name="connsiteY177" fmla="*/ 265517 h 342382"/>
                    <a:gd name="connsiteX178" fmla="*/ 120895 w 237139"/>
                    <a:gd name="connsiteY178" fmla="*/ 274042 h 342382"/>
                    <a:gd name="connsiteX179" fmla="*/ 121830 w 237139"/>
                    <a:gd name="connsiteY179" fmla="*/ 281206 h 342382"/>
                    <a:gd name="connsiteX180" fmla="*/ 124356 w 237139"/>
                    <a:gd name="connsiteY180" fmla="*/ 286658 h 342382"/>
                    <a:gd name="connsiteX181" fmla="*/ 127367 w 237139"/>
                    <a:gd name="connsiteY181" fmla="*/ 300902 h 342382"/>
                    <a:gd name="connsiteX182" fmla="*/ 129662 w 237139"/>
                    <a:gd name="connsiteY182" fmla="*/ 306427 h 342382"/>
                    <a:gd name="connsiteX183" fmla="*/ 130694 w 237139"/>
                    <a:gd name="connsiteY183" fmla="*/ 310058 h 342382"/>
                    <a:gd name="connsiteX184" fmla="*/ 129553 w 237139"/>
                    <a:gd name="connsiteY184" fmla="*/ 312839 h 342382"/>
                    <a:gd name="connsiteX185" fmla="*/ 125303 w 237139"/>
                    <a:gd name="connsiteY185" fmla="*/ 317538 h 342382"/>
                    <a:gd name="connsiteX186" fmla="*/ 124246 w 237139"/>
                    <a:gd name="connsiteY186" fmla="*/ 317684 h 342382"/>
                    <a:gd name="connsiteX187" fmla="*/ 123081 w 237139"/>
                    <a:gd name="connsiteY187" fmla="*/ 317659 h 342382"/>
                    <a:gd name="connsiteX188" fmla="*/ 123044 w 237139"/>
                    <a:gd name="connsiteY188" fmla="*/ 318096 h 342382"/>
                    <a:gd name="connsiteX189" fmla="*/ 122911 w 237139"/>
                    <a:gd name="connsiteY189" fmla="*/ 318558 h 342382"/>
                    <a:gd name="connsiteX190" fmla="*/ 122413 w 237139"/>
                    <a:gd name="connsiteY190" fmla="*/ 319748 h 342382"/>
                    <a:gd name="connsiteX191" fmla="*/ 119244 w 237139"/>
                    <a:gd name="connsiteY191" fmla="*/ 324399 h 342382"/>
                    <a:gd name="connsiteX192" fmla="*/ 117677 w 237139"/>
                    <a:gd name="connsiteY192" fmla="*/ 326184 h 342382"/>
                    <a:gd name="connsiteX193" fmla="*/ 114277 w 237139"/>
                    <a:gd name="connsiteY193" fmla="*/ 329232 h 342382"/>
                    <a:gd name="connsiteX194" fmla="*/ 113136 w 237139"/>
                    <a:gd name="connsiteY194" fmla="*/ 330519 h 342382"/>
                    <a:gd name="connsiteX195" fmla="*/ 110173 w 237139"/>
                    <a:gd name="connsiteY195" fmla="*/ 332510 h 342382"/>
                    <a:gd name="connsiteX196" fmla="*/ 104114 w 237139"/>
                    <a:gd name="connsiteY196" fmla="*/ 333992 h 342382"/>
                    <a:gd name="connsiteX197" fmla="*/ 101952 w 237139"/>
                    <a:gd name="connsiteY197" fmla="*/ 334769 h 342382"/>
                    <a:gd name="connsiteX198" fmla="*/ 99657 w 237139"/>
                    <a:gd name="connsiteY198" fmla="*/ 335303 h 342382"/>
                    <a:gd name="connsiteX199" fmla="*/ 97690 w 237139"/>
                    <a:gd name="connsiteY199" fmla="*/ 334902 h 342382"/>
                    <a:gd name="connsiteX200" fmla="*/ 96063 w 237139"/>
                    <a:gd name="connsiteY200" fmla="*/ 334380 h 342382"/>
                    <a:gd name="connsiteX201" fmla="*/ 95771 w 237139"/>
                    <a:gd name="connsiteY201" fmla="*/ 334951 h 342382"/>
                    <a:gd name="connsiteX202" fmla="*/ 95225 w 237139"/>
                    <a:gd name="connsiteY202" fmla="*/ 336481 h 342382"/>
                    <a:gd name="connsiteX203" fmla="*/ 93270 w 237139"/>
                    <a:gd name="connsiteY203" fmla="*/ 339237 h 342382"/>
                    <a:gd name="connsiteX204" fmla="*/ 87514 w 237139"/>
                    <a:gd name="connsiteY204" fmla="*/ 342382 h 342382"/>
                    <a:gd name="connsiteX205" fmla="*/ 84661 w 237139"/>
                    <a:gd name="connsiteY205" fmla="*/ 339007 h 34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237139" h="342382">
                      <a:moveTo>
                        <a:pt x="84661" y="339007"/>
                      </a:moveTo>
                      <a:lnTo>
                        <a:pt x="84661" y="336675"/>
                      </a:lnTo>
                      <a:lnTo>
                        <a:pt x="84333" y="336056"/>
                      </a:lnTo>
                      <a:lnTo>
                        <a:pt x="82633" y="335254"/>
                      </a:lnTo>
                      <a:lnTo>
                        <a:pt x="80957" y="335060"/>
                      </a:lnTo>
                      <a:lnTo>
                        <a:pt x="77205" y="333749"/>
                      </a:lnTo>
                      <a:lnTo>
                        <a:pt x="74303" y="330567"/>
                      </a:lnTo>
                      <a:lnTo>
                        <a:pt x="72906" y="327580"/>
                      </a:lnTo>
                      <a:lnTo>
                        <a:pt x="72590" y="322407"/>
                      </a:lnTo>
                      <a:lnTo>
                        <a:pt x="71510" y="322128"/>
                      </a:lnTo>
                      <a:lnTo>
                        <a:pt x="70417" y="320744"/>
                      </a:lnTo>
                      <a:lnTo>
                        <a:pt x="69773" y="319384"/>
                      </a:lnTo>
                      <a:lnTo>
                        <a:pt x="68790" y="314320"/>
                      </a:lnTo>
                      <a:lnTo>
                        <a:pt x="64564" y="300161"/>
                      </a:lnTo>
                      <a:lnTo>
                        <a:pt x="63787" y="298498"/>
                      </a:lnTo>
                      <a:lnTo>
                        <a:pt x="62633" y="293216"/>
                      </a:lnTo>
                      <a:lnTo>
                        <a:pt x="59233" y="289949"/>
                      </a:lnTo>
                      <a:lnTo>
                        <a:pt x="58978" y="288419"/>
                      </a:lnTo>
                      <a:lnTo>
                        <a:pt x="58917" y="286877"/>
                      </a:lnTo>
                      <a:lnTo>
                        <a:pt x="58966" y="285893"/>
                      </a:lnTo>
                      <a:lnTo>
                        <a:pt x="57594" y="286573"/>
                      </a:lnTo>
                      <a:lnTo>
                        <a:pt x="55967" y="283683"/>
                      </a:lnTo>
                      <a:lnTo>
                        <a:pt x="53453" y="280162"/>
                      </a:lnTo>
                      <a:lnTo>
                        <a:pt x="51401" y="278717"/>
                      </a:lnTo>
                      <a:lnTo>
                        <a:pt x="49701" y="278765"/>
                      </a:lnTo>
                      <a:lnTo>
                        <a:pt x="48887" y="279895"/>
                      </a:lnTo>
                      <a:lnTo>
                        <a:pt x="48050" y="283878"/>
                      </a:lnTo>
                      <a:lnTo>
                        <a:pt x="48123" y="292062"/>
                      </a:lnTo>
                      <a:lnTo>
                        <a:pt x="51547" y="308030"/>
                      </a:lnTo>
                      <a:lnTo>
                        <a:pt x="50903" y="315498"/>
                      </a:lnTo>
                      <a:lnTo>
                        <a:pt x="50527" y="318995"/>
                      </a:lnTo>
                      <a:lnTo>
                        <a:pt x="39841" y="316214"/>
                      </a:lnTo>
                      <a:lnTo>
                        <a:pt x="34717" y="309414"/>
                      </a:lnTo>
                      <a:lnTo>
                        <a:pt x="31778" y="300319"/>
                      </a:lnTo>
                      <a:lnTo>
                        <a:pt x="27309" y="268019"/>
                      </a:lnTo>
                      <a:lnTo>
                        <a:pt x="26690" y="266683"/>
                      </a:lnTo>
                      <a:lnTo>
                        <a:pt x="25949" y="265590"/>
                      </a:lnTo>
                      <a:lnTo>
                        <a:pt x="25209" y="263113"/>
                      </a:lnTo>
                      <a:lnTo>
                        <a:pt x="24905" y="261765"/>
                      </a:lnTo>
                      <a:lnTo>
                        <a:pt x="27067" y="258839"/>
                      </a:lnTo>
                      <a:lnTo>
                        <a:pt x="27856" y="258049"/>
                      </a:lnTo>
                      <a:lnTo>
                        <a:pt x="24322" y="255645"/>
                      </a:lnTo>
                      <a:lnTo>
                        <a:pt x="22112" y="250995"/>
                      </a:lnTo>
                      <a:lnTo>
                        <a:pt x="19417" y="242130"/>
                      </a:lnTo>
                      <a:lnTo>
                        <a:pt x="18409" y="236921"/>
                      </a:lnTo>
                      <a:lnTo>
                        <a:pt x="18044" y="235707"/>
                      </a:lnTo>
                      <a:lnTo>
                        <a:pt x="17777" y="235391"/>
                      </a:lnTo>
                      <a:lnTo>
                        <a:pt x="14911" y="233654"/>
                      </a:lnTo>
                      <a:lnTo>
                        <a:pt x="12859" y="231821"/>
                      </a:lnTo>
                      <a:lnTo>
                        <a:pt x="10528" y="227789"/>
                      </a:lnTo>
                      <a:lnTo>
                        <a:pt x="8707" y="220576"/>
                      </a:lnTo>
                      <a:lnTo>
                        <a:pt x="7419" y="217516"/>
                      </a:lnTo>
                      <a:lnTo>
                        <a:pt x="2113" y="207887"/>
                      </a:lnTo>
                      <a:lnTo>
                        <a:pt x="959" y="203722"/>
                      </a:lnTo>
                      <a:lnTo>
                        <a:pt x="1530" y="197821"/>
                      </a:lnTo>
                      <a:lnTo>
                        <a:pt x="1834" y="195526"/>
                      </a:lnTo>
                      <a:lnTo>
                        <a:pt x="6484" y="194906"/>
                      </a:lnTo>
                      <a:lnTo>
                        <a:pt x="7759" y="194967"/>
                      </a:lnTo>
                      <a:lnTo>
                        <a:pt x="7881" y="194736"/>
                      </a:lnTo>
                      <a:lnTo>
                        <a:pt x="7699" y="194287"/>
                      </a:lnTo>
                      <a:lnTo>
                        <a:pt x="5890" y="193619"/>
                      </a:lnTo>
                      <a:lnTo>
                        <a:pt x="1214" y="191239"/>
                      </a:lnTo>
                      <a:lnTo>
                        <a:pt x="0" y="184488"/>
                      </a:lnTo>
                      <a:lnTo>
                        <a:pt x="2720" y="178610"/>
                      </a:lnTo>
                      <a:lnTo>
                        <a:pt x="6885" y="177190"/>
                      </a:lnTo>
                      <a:lnTo>
                        <a:pt x="11208" y="176728"/>
                      </a:lnTo>
                      <a:lnTo>
                        <a:pt x="12690" y="175854"/>
                      </a:lnTo>
                      <a:lnTo>
                        <a:pt x="14183" y="173268"/>
                      </a:lnTo>
                      <a:lnTo>
                        <a:pt x="17729" y="162946"/>
                      </a:lnTo>
                      <a:lnTo>
                        <a:pt x="18020" y="160493"/>
                      </a:lnTo>
                      <a:lnTo>
                        <a:pt x="17462" y="158623"/>
                      </a:lnTo>
                      <a:lnTo>
                        <a:pt x="15482" y="154397"/>
                      </a:lnTo>
                      <a:lnTo>
                        <a:pt x="15045" y="150597"/>
                      </a:lnTo>
                      <a:lnTo>
                        <a:pt x="15956" y="146796"/>
                      </a:lnTo>
                      <a:lnTo>
                        <a:pt x="22695" y="135066"/>
                      </a:lnTo>
                      <a:lnTo>
                        <a:pt x="24796" y="132164"/>
                      </a:lnTo>
                      <a:lnTo>
                        <a:pt x="27734" y="129504"/>
                      </a:lnTo>
                      <a:lnTo>
                        <a:pt x="32543" y="127392"/>
                      </a:lnTo>
                      <a:lnTo>
                        <a:pt x="36222" y="127695"/>
                      </a:lnTo>
                      <a:lnTo>
                        <a:pt x="38906" y="128739"/>
                      </a:lnTo>
                      <a:lnTo>
                        <a:pt x="39222" y="128521"/>
                      </a:lnTo>
                      <a:lnTo>
                        <a:pt x="40898" y="121587"/>
                      </a:lnTo>
                      <a:lnTo>
                        <a:pt x="41116" y="114605"/>
                      </a:lnTo>
                      <a:lnTo>
                        <a:pt x="43666" y="108376"/>
                      </a:lnTo>
                      <a:lnTo>
                        <a:pt x="44407" y="106736"/>
                      </a:lnTo>
                      <a:lnTo>
                        <a:pt x="53951" y="105947"/>
                      </a:lnTo>
                      <a:lnTo>
                        <a:pt x="69069" y="108995"/>
                      </a:lnTo>
                      <a:lnTo>
                        <a:pt x="75638" y="109505"/>
                      </a:lnTo>
                      <a:lnTo>
                        <a:pt x="82803" y="108618"/>
                      </a:lnTo>
                      <a:lnTo>
                        <a:pt x="86567" y="107441"/>
                      </a:lnTo>
                      <a:lnTo>
                        <a:pt x="87988" y="106457"/>
                      </a:lnTo>
                      <a:lnTo>
                        <a:pt x="89421" y="104198"/>
                      </a:lnTo>
                      <a:lnTo>
                        <a:pt x="90623" y="100592"/>
                      </a:lnTo>
                      <a:lnTo>
                        <a:pt x="92481" y="88522"/>
                      </a:lnTo>
                      <a:lnTo>
                        <a:pt x="94436" y="82754"/>
                      </a:lnTo>
                      <a:lnTo>
                        <a:pt x="100604" y="84964"/>
                      </a:lnTo>
                      <a:lnTo>
                        <a:pt x="104381" y="94229"/>
                      </a:lnTo>
                      <a:lnTo>
                        <a:pt x="105571" y="96281"/>
                      </a:lnTo>
                      <a:lnTo>
                        <a:pt x="107696" y="97605"/>
                      </a:lnTo>
                      <a:lnTo>
                        <a:pt x="109979" y="97921"/>
                      </a:lnTo>
                      <a:lnTo>
                        <a:pt x="111667" y="97301"/>
                      </a:lnTo>
                      <a:lnTo>
                        <a:pt x="112711" y="95844"/>
                      </a:lnTo>
                      <a:lnTo>
                        <a:pt x="112638" y="93416"/>
                      </a:lnTo>
                      <a:lnTo>
                        <a:pt x="111557" y="90161"/>
                      </a:lnTo>
                      <a:lnTo>
                        <a:pt x="110792" y="84733"/>
                      </a:lnTo>
                      <a:lnTo>
                        <a:pt x="114532" y="79512"/>
                      </a:lnTo>
                      <a:lnTo>
                        <a:pt x="128412" y="82402"/>
                      </a:lnTo>
                      <a:lnTo>
                        <a:pt x="131848" y="82572"/>
                      </a:lnTo>
                      <a:lnTo>
                        <a:pt x="133087" y="85644"/>
                      </a:lnTo>
                      <a:lnTo>
                        <a:pt x="133585" y="91072"/>
                      </a:lnTo>
                      <a:lnTo>
                        <a:pt x="133694" y="91400"/>
                      </a:lnTo>
                      <a:lnTo>
                        <a:pt x="138235" y="95796"/>
                      </a:lnTo>
                      <a:lnTo>
                        <a:pt x="140020" y="96245"/>
                      </a:lnTo>
                      <a:lnTo>
                        <a:pt x="140421" y="95990"/>
                      </a:lnTo>
                      <a:lnTo>
                        <a:pt x="141368" y="93452"/>
                      </a:lnTo>
                      <a:lnTo>
                        <a:pt x="145339" y="76901"/>
                      </a:lnTo>
                      <a:lnTo>
                        <a:pt x="145436" y="73550"/>
                      </a:lnTo>
                      <a:lnTo>
                        <a:pt x="143420" y="65912"/>
                      </a:lnTo>
                      <a:lnTo>
                        <a:pt x="144452" y="59889"/>
                      </a:lnTo>
                      <a:lnTo>
                        <a:pt x="151993" y="57533"/>
                      </a:lnTo>
                      <a:lnTo>
                        <a:pt x="154191" y="59440"/>
                      </a:lnTo>
                      <a:lnTo>
                        <a:pt x="153208" y="57885"/>
                      </a:lnTo>
                      <a:lnTo>
                        <a:pt x="153851" y="51522"/>
                      </a:lnTo>
                      <a:lnTo>
                        <a:pt x="172442" y="53053"/>
                      </a:lnTo>
                      <a:lnTo>
                        <a:pt x="177457" y="52627"/>
                      </a:lnTo>
                      <a:lnTo>
                        <a:pt x="180468" y="51146"/>
                      </a:lnTo>
                      <a:lnTo>
                        <a:pt x="183213" y="47540"/>
                      </a:lnTo>
                      <a:lnTo>
                        <a:pt x="183759" y="42743"/>
                      </a:lnTo>
                      <a:lnTo>
                        <a:pt x="182776" y="31183"/>
                      </a:lnTo>
                      <a:lnTo>
                        <a:pt x="183990" y="25573"/>
                      </a:lnTo>
                      <a:lnTo>
                        <a:pt x="186904" y="22756"/>
                      </a:lnTo>
                      <a:lnTo>
                        <a:pt x="190438" y="20631"/>
                      </a:lnTo>
                      <a:lnTo>
                        <a:pt x="192211" y="19210"/>
                      </a:lnTo>
                      <a:lnTo>
                        <a:pt x="194057" y="16526"/>
                      </a:lnTo>
                      <a:lnTo>
                        <a:pt x="194761" y="14219"/>
                      </a:lnTo>
                      <a:lnTo>
                        <a:pt x="195283" y="9629"/>
                      </a:lnTo>
                      <a:lnTo>
                        <a:pt x="196521" y="0"/>
                      </a:lnTo>
                      <a:lnTo>
                        <a:pt x="200990" y="8621"/>
                      </a:lnTo>
                      <a:cubicBezTo>
                        <a:pt x="202168" y="9945"/>
                        <a:pt x="203856" y="11026"/>
                        <a:pt x="205653" y="12167"/>
                      </a:cubicBezTo>
                      <a:cubicBezTo>
                        <a:pt x="206904" y="12957"/>
                        <a:pt x="208118" y="13734"/>
                        <a:pt x="209223" y="14608"/>
                      </a:cubicBezTo>
                      <a:cubicBezTo>
                        <a:pt x="212866" y="18336"/>
                        <a:pt x="213461" y="21699"/>
                        <a:pt x="213910" y="25755"/>
                      </a:cubicBezTo>
                      <a:cubicBezTo>
                        <a:pt x="214299" y="28427"/>
                        <a:pt x="215416" y="30770"/>
                        <a:pt x="217079" y="33648"/>
                      </a:cubicBezTo>
                      <a:cubicBezTo>
                        <a:pt x="219204" y="37376"/>
                        <a:pt x="218998" y="41529"/>
                        <a:pt x="218828" y="45196"/>
                      </a:cubicBezTo>
                      <a:cubicBezTo>
                        <a:pt x="218694" y="48013"/>
                        <a:pt x="218573" y="50685"/>
                        <a:pt x="219472" y="52725"/>
                      </a:cubicBezTo>
                      <a:cubicBezTo>
                        <a:pt x="220625" y="55372"/>
                        <a:pt x="222592" y="57072"/>
                        <a:pt x="224681" y="58881"/>
                      </a:cubicBezTo>
                      <a:cubicBezTo>
                        <a:pt x="228069" y="61820"/>
                        <a:pt x="231906" y="65135"/>
                        <a:pt x="231627" y="72238"/>
                      </a:cubicBezTo>
                      <a:cubicBezTo>
                        <a:pt x="234371" y="78468"/>
                        <a:pt x="235367" y="86433"/>
                        <a:pt x="236253" y="93501"/>
                      </a:cubicBezTo>
                      <a:lnTo>
                        <a:pt x="236751" y="97350"/>
                      </a:lnTo>
                      <a:cubicBezTo>
                        <a:pt x="237734" y="104575"/>
                        <a:pt x="236666" y="113537"/>
                        <a:pt x="235597" y="121381"/>
                      </a:cubicBezTo>
                      <a:cubicBezTo>
                        <a:pt x="234747" y="127574"/>
                        <a:pt x="231226" y="130901"/>
                        <a:pt x="228117" y="133827"/>
                      </a:cubicBezTo>
                      <a:cubicBezTo>
                        <a:pt x="226053" y="135770"/>
                        <a:pt x="224110" y="137604"/>
                        <a:pt x="222689" y="140287"/>
                      </a:cubicBezTo>
                      <a:cubicBezTo>
                        <a:pt x="220625" y="144234"/>
                        <a:pt x="219629" y="147986"/>
                        <a:pt x="218561" y="151945"/>
                      </a:cubicBezTo>
                      <a:cubicBezTo>
                        <a:pt x="217844" y="154616"/>
                        <a:pt x="217116" y="157324"/>
                        <a:pt x="216072" y="160153"/>
                      </a:cubicBezTo>
                      <a:lnTo>
                        <a:pt x="202908" y="204997"/>
                      </a:lnTo>
                      <a:lnTo>
                        <a:pt x="197457" y="197663"/>
                      </a:lnTo>
                      <a:lnTo>
                        <a:pt x="195064" y="189017"/>
                      </a:lnTo>
                      <a:lnTo>
                        <a:pt x="193109" y="186297"/>
                      </a:lnTo>
                      <a:lnTo>
                        <a:pt x="188009" y="188009"/>
                      </a:lnTo>
                      <a:lnTo>
                        <a:pt x="185496" y="190790"/>
                      </a:lnTo>
                      <a:lnTo>
                        <a:pt x="179606" y="198841"/>
                      </a:lnTo>
                      <a:lnTo>
                        <a:pt x="175308" y="202581"/>
                      </a:lnTo>
                      <a:lnTo>
                        <a:pt x="169139" y="204111"/>
                      </a:lnTo>
                      <a:lnTo>
                        <a:pt x="165193" y="202095"/>
                      </a:lnTo>
                      <a:lnTo>
                        <a:pt x="156450" y="192757"/>
                      </a:lnTo>
                      <a:lnTo>
                        <a:pt x="153790" y="188665"/>
                      </a:lnTo>
                      <a:lnTo>
                        <a:pt x="153135" y="187912"/>
                      </a:lnTo>
                      <a:lnTo>
                        <a:pt x="152953" y="188301"/>
                      </a:lnTo>
                      <a:lnTo>
                        <a:pt x="152880" y="191543"/>
                      </a:lnTo>
                      <a:lnTo>
                        <a:pt x="153159" y="198731"/>
                      </a:lnTo>
                      <a:lnTo>
                        <a:pt x="158028" y="221159"/>
                      </a:lnTo>
                      <a:lnTo>
                        <a:pt x="157773" y="230473"/>
                      </a:lnTo>
                      <a:lnTo>
                        <a:pt x="153123" y="238135"/>
                      </a:lnTo>
                      <a:lnTo>
                        <a:pt x="150269" y="241280"/>
                      </a:lnTo>
                      <a:lnTo>
                        <a:pt x="146820" y="243794"/>
                      </a:lnTo>
                      <a:lnTo>
                        <a:pt x="135855" y="248493"/>
                      </a:lnTo>
                      <a:lnTo>
                        <a:pt x="133682" y="250545"/>
                      </a:lnTo>
                      <a:lnTo>
                        <a:pt x="129225" y="256532"/>
                      </a:lnTo>
                      <a:lnTo>
                        <a:pt x="123979" y="265517"/>
                      </a:lnTo>
                      <a:lnTo>
                        <a:pt x="120895" y="274042"/>
                      </a:lnTo>
                      <a:lnTo>
                        <a:pt x="121830" y="281206"/>
                      </a:lnTo>
                      <a:lnTo>
                        <a:pt x="124356" y="286658"/>
                      </a:lnTo>
                      <a:lnTo>
                        <a:pt x="127367" y="300902"/>
                      </a:lnTo>
                      <a:lnTo>
                        <a:pt x="129662" y="306427"/>
                      </a:lnTo>
                      <a:lnTo>
                        <a:pt x="130694" y="310058"/>
                      </a:lnTo>
                      <a:lnTo>
                        <a:pt x="129553" y="312839"/>
                      </a:lnTo>
                      <a:lnTo>
                        <a:pt x="125303" y="317538"/>
                      </a:lnTo>
                      <a:lnTo>
                        <a:pt x="124246" y="317684"/>
                      </a:lnTo>
                      <a:lnTo>
                        <a:pt x="123081" y="317659"/>
                      </a:lnTo>
                      <a:lnTo>
                        <a:pt x="123044" y="318096"/>
                      </a:lnTo>
                      <a:lnTo>
                        <a:pt x="122911" y="318558"/>
                      </a:lnTo>
                      <a:lnTo>
                        <a:pt x="122413" y="319748"/>
                      </a:lnTo>
                      <a:lnTo>
                        <a:pt x="119244" y="324399"/>
                      </a:lnTo>
                      <a:lnTo>
                        <a:pt x="117677" y="326184"/>
                      </a:lnTo>
                      <a:lnTo>
                        <a:pt x="114277" y="329232"/>
                      </a:lnTo>
                      <a:lnTo>
                        <a:pt x="113136" y="330519"/>
                      </a:lnTo>
                      <a:lnTo>
                        <a:pt x="110173" y="332510"/>
                      </a:lnTo>
                      <a:lnTo>
                        <a:pt x="104114" y="333992"/>
                      </a:lnTo>
                      <a:lnTo>
                        <a:pt x="101952" y="334769"/>
                      </a:lnTo>
                      <a:lnTo>
                        <a:pt x="99657" y="335303"/>
                      </a:lnTo>
                      <a:lnTo>
                        <a:pt x="97690" y="334902"/>
                      </a:lnTo>
                      <a:lnTo>
                        <a:pt x="96063" y="334380"/>
                      </a:lnTo>
                      <a:lnTo>
                        <a:pt x="95771" y="334951"/>
                      </a:lnTo>
                      <a:lnTo>
                        <a:pt x="95225" y="336481"/>
                      </a:lnTo>
                      <a:lnTo>
                        <a:pt x="93270" y="339237"/>
                      </a:lnTo>
                      <a:lnTo>
                        <a:pt x="87514" y="342382"/>
                      </a:lnTo>
                      <a:lnTo>
                        <a:pt x="84661" y="339007"/>
                      </a:lnTo>
                      <a:close/>
                    </a:path>
                  </a:pathLst>
                </a:custGeom>
                <a:solidFill>
                  <a:srgbClr val="D7D7D2"/>
                </a:solidFill>
                <a:ln w="12138" cap="flat">
                  <a:noFill/>
                  <a:prstDash val="solid"/>
                  <a:miter/>
                </a:ln>
              </p:spPr>
              <p:txBody>
                <a:bodyPr rtlCol="0" anchor="ctr"/>
                <a:lstStyle/>
                <a:p>
                  <a:endParaRPr lang="en-US"/>
                </a:p>
              </p:txBody>
            </p:sp>
            <p:sp>
              <p:nvSpPr>
                <p:cNvPr id="295" name="Freeform: Shape 294">
                  <a:extLst>
                    <a:ext uri="{FF2B5EF4-FFF2-40B4-BE49-F238E27FC236}">
                      <a16:creationId xmlns:a16="http://schemas.microsoft.com/office/drawing/2014/main" id="{BED5C3DD-0D27-42F4-986C-E9210A6782CE}"/>
                    </a:ext>
                  </a:extLst>
                </p:cNvPr>
                <p:cNvSpPr/>
                <p:nvPr/>
              </p:nvSpPr>
              <p:spPr>
                <a:xfrm>
                  <a:off x="7664078" y="3213076"/>
                  <a:ext cx="243207" cy="356188"/>
                </a:xfrm>
                <a:custGeom>
                  <a:avLst/>
                  <a:gdLst>
                    <a:gd name="connsiteX0" fmla="*/ 201427 w 243207"/>
                    <a:gd name="connsiteY0" fmla="*/ 20048 h 356188"/>
                    <a:gd name="connsiteX1" fmla="*/ 201743 w 243207"/>
                    <a:gd name="connsiteY1" fmla="*/ 20667 h 356188"/>
                    <a:gd name="connsiteX2" fmla="*/ 210473 w 243207"/>
                    <a:gd name="connsiteY2" fmla="*/ 27018 h 356188"/>
                    <a:gd name="connsiteX3" fmla="*/ 214007 w 243207"/>
                    <a:gd name="connsiteY3" fmla="*/ 36113 h 356188"/>
                    <a:gd name="connsiteX4" fmla="*/ 217565 w 243207"/>
                    <a:gd name="connsiteY4" fmla="*/ 45196 h 356188"/>
                    <a:gd name="connsiteX5" fmla="*/ 219799 w 243207"/>
                    <a:gd name="connsiteY5" fmla="*/ 63957 h 356188"/>
                    <a:gd name="connsiteX6" fmla="*/ 231675 w 243207"/>
                    <a:gd name="connsiteY6" fmla="*/ 82827 h 356188"/>
                    <a:gd name="connsiteX7" fmla="*/ 236860 w 243207"/>
                    <a:gd name="connsiteY7" fmla="*/ 107769 h 356188"/>
                    <a:gd name="connsiteX8" fmla="*/ 235706 w 243207"/>
                    <a:gd name="connsiteY8" fmla="*/ 130974 h 356188"/>
                    <a:gd name="connsiteX9" fmla="*/ 223126 w 243207"/>
                    <a:gd name="connsiteY9" fmla="*/ 148872 h 356188"/>
                    <a:gd name="connsiteX10" fmla="*/ 216338 w 243207"/>
                    <a:gd name="connsiteY10" fmla="*/ 169115 h 356188"/>
                    <a:gd name="connsiteX11" fmla="*/ 204827 w 243207"/>
                    <a:gd name="connsiteY11" fmla="*/ 208312 h 356188"/>
                    <a:gd name="connsiteX12" fmla="*/ 203018 w 243207"/>
                    <a:gd name="connsiteY12" fmla="*/ 205871 h 356188"/>
                    <a:gd name="connsiteX13" fmla="*/ 201123 w 243207"/>
                    <a:gd name="connsiteY13" fmla="*/ 198294 h 356188"/>
                    <a:gd name="connsiteX14" fmla="*/ 197371 w 243207"/>
                    <a:gd name="connsiteY14" fmla="*/ 192721 h 356188"/>
                    <a:gd name="connsiteX15" fmla="*/ 189405 w 243207"/>
                    <a:gd name="connsiteY15" fmla="*/ 195392 h 356188"/>
                    <a:gd name="connsiteX16" fmla="*/ 186357 w 243207"/>
                    <a:gd name="connsiteY16" fmla="*/ 198756 h 356188"/>
                    <a:gd name="connsiteX17" fmla="*/ 180262 w 243207"/>
                    <a:gd name="connsiteY17" fmla="*/ 207025 h 356188"/>
                    <a:gd name="connsiteX18" fmla="*/ 176983 w 243207"/>
                    <a:gd name="connsiteY18" fmla="*/ 209781 h 356188"/>
                    <a:gd name="connsiteX19" fmla="*/ 172612 w 243207"/>
                    <a:gd name="connsiteY19" fmla="*/ 210874 h 356188"/>
                    <a:gd name="connsiteX20" fmla="*/ 169758 w 243207"/>
                    <a:gd name="connsiteY20" fmla="*/ 209405 h 356188"/>
                    <a:gd name="connsiteX21" fmla="*/ 161890 w 243207"/>
                    <a:gd name="connsiteY21" fmla="*/ 200735 h 356188"/>
                    <a:gd name="connsiteX22" fmla="*/ 159546 w 243207"/>
                    <a:gd name="connsiteY22" fmla="*/ 197043 h 356188"/>
                    <a:gd name="connsiteX23" fmla="*/ 157202 w 243207"/>
                    <a:gd name="connsiteY23" fmla="*/ 194311 h 356188"/>
                    <a:gd name="connsiteX24" fmla="*/ 154604 w 243207"/>
                    <a:gd name="connsiteY24" fmla="*/ 194421 h 356188"/>
                    <a:gd name="connsiteX25" fmla="*/ 153389 w 243207"/>
                    <a:gd name="connsiteY25" fmla="*/ 197043 h 356188"/>
                    <a:gd name="connsiteX26" fmla="*/ 153062 w 243207"/>
                    <a:gd name="connsiteY26" fmla="*/ 201318 h 356188"/>
                    <a:gd name="connsiteX27" fmla="*/ 153329 w 243207"/>
                    <a:gd name="connsiteY27" fmla="*/ 208858 h 356188"/>
                    <a:gd name="connsiteX28" fmla="*/ 158271 w 243207"/>
                    <a:gd name="connsiteY28" fmla="*/ 231809 h 356188"/>
                    <a:gd name="connsiteX29" fmla="*/ 157992 w 243207"/>
                    <a:gd name="connsiteY29" fmla="*/ 239580 h 356188"/>
                    <a:gd name="connsiteX30" fmla="*/ 153742 w 243207"/>
                    <a:gd name="connsiteY30" fmla="*/ 246562 h 356188"/>
                    <a:gd name="connsiteX31" fmla="*/ 151265 w 243207"/>
                    <a:gd name="connsiteY31" fmla="*/ 249209 h 356188"/>
                    <a:gd name="connsiteX32" fmla="*/ 148277 w 243207"/>
                    <a:gd name="connsiteY32" fmla="*/ 251322 h 356188"/>
                    <a:gd name="connsiteX33" fmla="*/ 137895 w 243207"/>
                    <a:gd name="connsiteY33" fmla="*/ 255694 h 356188"/>
                    <a:gd name="connsiteX34" fmla="*/ 134920 w 243207"/>
                    <a:gd name="connsiteY34" fmla="*/ 258244 h 356188"/>
                    <a:gd name="connsiteX35" fmla="*/ 130026 w 243207"/>
                    <a:gd name="connsiteY35" fmla="*/ 264704 h 356188"/>
                    <a:gd name="connsiteX36" fmla="*/ 124586 w 243207"/>
                    <a:gd name="connsiteY36" fmla="*/ 273981 h 356188"/>
                    <a:gd name="connsiteX37" fmla="*/ 121017 w 243207"/>
                    <a:gd name="connsiteY37" fmla="*/ 283708 h 356188"/>
                    <a:gd name="connsiteX38" fmla="*/ 122049 w 243207"/>
                    <a:gd name="connsiteY38" fmla="*/ 291600 h 356188"/>
                    <a:gd name="connsiteX39" fmla="*/ 124817 w 243207"/>
                    <a:gd name="connsiteY39" fmla="*/ 297891 h 356188"/>
                    <a:gd name="connsiteX40" fmla="*/ 127622 w 243207"/>
                    <a:gd name="connsiteY40" fmla="*/ 311527 h 356188"/>
                    <a:gd name="connsiteX41" fmla="*/ 130087 w 243207"/>
                    <a:gd name="connsiteY41" fmla="*/ 317586 h 356188"/>
                    <a:gd name="connsiteX42" fmla="*/ 130731 w 243207"/>
                    <a:gd name="connsiteY42" fmla="*/ 319881 h 356188"/>
                    <a:gd name="connsiteX43" fmla="*/ 129978 w 243207"/>
                    <a:gd name="connsiteY43" fmla="*/ 321703 h 356188"/>
                    <a:gd name="connsiteX44" fmla="*/ 127100 w 243207"/>
                    <a:gd name="connsiteY44" fmla="*/ 324678 h 356188"/>
                    <a:gd name="connsiteX45" fmla="*/ 126651 w 243207"/>
                    <a:gd name="connsiteY45" fmla="*/ 324739 h 356188"/>
                    <a:gd name="connsiteX46" fmla="*/ 124878 w 243207"/>
                    <a:gd name="connsiteY46" fmla="*/ 324605 h 356188"/>
                    <a:gd name="connsiteX47" fmla="*/ 124246 w 243207"/>
                    <a:gd name="connsiteY47" fmla="*/ 324617 h 356188"/>
                    <a:gd name="connsiteX48" fmla="*/ 123323 w 243207"/>
                    <a:gd name="connsiteY48" fmla="*/ 325406 h 356188"/>
                    <a:gd name="connsiteX49" fmla="*/ 123263 w 243207"/>
                    <a:gd name="connsiteY49" fmla="*/ 326354 h 356188"/>
                    <a:gd name="connsiteX50" fmla="*/ 123384 w 243207"/>
                    <a:gd name="connsiteY50" fmla="*/ 327264 h 356188"/>
                    <a:gd name="connsiteX51" fmla="*/ 123154 w 243207"/>
                    <a:gd name="connsiteY51" fmla="*/ 328041 h 356188"/>
                    <a:gd name="connsiteX52" fmla="*/ 119984 w 243207"/>
                    <a:gd name="connsiteY52" fmla="*/ 332692 h 356188"/>
                    <a:gd name="connsiteX53" fmla="*/ 118673 w 243207"/>
                    <a:gd name="connsiteY53" fmla="*/ 334161 h 356188"/>
                    <a:gd name="connsiteX54" fmla="*/ 115516 w 243207"/>
                    <a:gd name="connsiteY54" fmla="*/ 336967 h 356188"/>
                    <a:gd name="connsiteX55" fmla="*/ 114144 w 243207"/>
                    <a:gd name="connsiteY55" fmla="*/ 338496 h 356188"/>
                    <a:gd name="connsiteX56" fmla="*/ 111836 w 243207"/>
                    <a:gd name="connsiteY56" fmla="*/ 339929 h 356188"/>
                    <a:gd name="connsiteX57" fmla="*/ 106736 w 243207"/>
                    <a:gd name="connsiteY57" fmla="*/ 341022 h 356188"/>
                    <a:gd name="connsiteX58" fmla="*/ 104211 w 243207"/>
                    <a:gd name="connsiteY58" fmla="*/ 341909 h 356188"/>
                    <a:gd name="connsiteX59" fmla="*/ 102899 w 243207"/>
                    <a:gd name="connsiteY59" fmla="*/ 342200 h 356188"/>
                    <a:gd name="connsiteX60" fmla="*/ 101576 w 243207"/>
                    <a:gd name="connsiteY60" fmla="*/ 341933 h 356188"/>
                    <a:gd name="connsiteX61" fmla="*/ 100252 w 243207"/>
                    <a:gd name="connsiteY61" fmla="*/ 341484 h 356188"/>
                    <a:gd name="connsiteX62" fmla="*/ 98953 w 243207"/>
                    <a:gd name="connsiteY62" fmla="*/ 341216 h 356188"/>
                    <a:gd name="connsiteX63" fmla="*/ 97204 w 243207"/>
                    <a:gd name="connsiteY63" fmla="*/ 341909 h 356188"/>
                    <a:gd name="connsiteX64" fmla="*/ 96354 w 243207"/>
                    <a:gd name="connsiteY64" fmla="*/ 343548 h 356188"/>
                    <a:gd name="connsiteX65" fmla="*/ 95650 w 243207"/>
                    <a:gd name="connsiteY65" fmla="*/ 345406 h 356188"/>
                    <a:gd name="connsiteX66" fmla="*/ 94521 w 243207"/>
                    <a:gd name="connsiteY66" fmla="*/ 346875 h 356188"/>
                    <a:gd name="connsiteX67" fmla="*/ 91473 w 243207"/>
                    <a:gd name="connsiteY67" fmla="*/ 348539 h 356188"/>
                    <a:gd name="connsiteX68" fmla="*/ 90902 w 243207"/>
                    <a:gd name="connsiteY68" fmla="*/ 347883 h 356188"/>
                    <a:gd name="connsiteX69" fmla="*/ 90902 w 243207"/>
                    <a:gd name="connsiteY69" fmla="*/ 345928 h 356188"/>
                    <a:gd name="connsiteX70" fmla="*/ 89736 w 243207"/>
                    <a:gd name="connsiteY70" fmla="*/ 343754 h 356188"/>
                    <a:gd name="connsiteX71" fmla="*/ 87150 w 243207"/>
                    <a:gd name="connsiteY71" fmla="*/ 342516 h 356188"/>
                    <a:gd name="connsiteX72" fmla="*/ 84697 w 243207"/>
                    <a:gd name="connsiteY72" fmla="*/ 342079 h 356188"/>
                    <a:gd name="connsiteX73" fmla="*/ 82159 w 243207"/>
                    <a:gd name="connsiteY73" fmla="*/ 341156 h 356188"/>
                    <a:gd name="connsiteX74" fmla="*/ 79755 w 243207"/>
                    <a:gd name="connsiteY74" fmla="*/ 338521 h 356188"/>
                    <a:gd name="connsiteX75" fmla="*/ 78941 w 243207"/>
                    <a:gd name="connsiteY75" fmla="*/ 336456 h 356188"/>
                    <a:gd name="connsiteX76" fmla="*/ 78723 w 243207"/>
                    <a:gd name="connsiteY76" fmla="*/ 330628 h 356188"/>
                    <a:gd name="connsiteX77" fmla="*/ 78261 w 243207"/>
                    <a:gd name="connsiteY77" fmla="*/ 329911 h 356188"/>
                    <a:gd name="connsiteX78" fmla="*/ 76476 w 243207"/>
                    <a:gd name="connsiteY78" fmla="*/ 329450 h 356188"/>
                    <a:gd name="connsiteX79" fmla="*/ 75966 w 243207"/>
                    <a:gd name="connsiteY79" fmla="*/ 328794 h 356188"/>
                    <a:gd name="connsiteX80" fmla="*/ 74982 w 243207"/>
                    <a:gd name="connsiteY80" fmla="*/ 323731 h 356188"/>
                    <a:gd name="connsiteX81" fmla="*/ 70684 w 243207"/>
                    <a:gd name="connsiteY81" fmla="*/ 309293 h 356188"/>
                    <a:gd name="connsiteX82" fmla="*/ 69773 w 243207"/>
                    <a:gd name="connsiteY82" fmla="*/ 307253 h 356188"/>
                    <a:gd name="connsiteX83" fmla="*/ 68510 w 243207"/>
                    <a:gd name="connsiteY83" fmla="*/ 301169 h 356188"/>
                    <a:gd name="connsiteX84" fmla="*/ 68049 w 243207"/>
                    <a:gd name="connsiteY84" fmla="*/ 301108 h 356188"/>
                    <a:gd name="connsiteX85" fmla="*/ 65280 w 243207"/>
                    <a:gd name="connsiteY85" fmla="*/ 298449 h 356188"/>
                    <a:gd name="connsiteX86" fmla="*/ 65110 w 243207"/>
                    <a:gd name="connsiteY86" fmla="*/ 297441 h 356188"/>
                    <a:gd name="connsiteX87" fmla="*/ 65341 w 243207"/>
                    <a:gd name="connsiteY87" fmla="*/ 296276 h 356188"/>
                    <a:gd name="connsiteX88" fmla="*/ 65280 w 243207"/>
                    <a:gd name="connsiteY88" fmla="*/ 294940 h 356188"/>
                    <a:gd name="connsiteX89" fmla="*/ 64078 w 243207"/>
                    <a:gd name="connsiteY89" fmla="*/ 293361 h 356188"/>
                    <a:gd name="connsiteX90" fmla="*/ 64018 w 243207"/>
                    <a:gd name="connsiteY90" fmla="*/ 293531 h 356188"/>
                    <a:gd name="connsiteX91" fmla="*/ 63386 w 243207"/>
                    <a:gd name="connsiteY91" fmla="*/ 294903 h 356188"/>
                    <a:gd name="connsiteX92" fmla="*/ 63447 w 243207"/>
                    <a:gd name="connsiteY92" fmla="*/ 295073 h 356188"/>
                    <a:gd name="connsiteX93" fmla="*/ 61820 w 243207"/>
                    <a:gd name="connsiteY93" fmla="*/ 292183 h 356188"/>
                    <a:gd name="connsiteX94" fmla="*/ 59136 w 243207"/>
                    <a:gd name="connsiteY94" fmla="*/ 288395 h 356188"/>
                    <a:gd name="connsiteX95" fmla="*/ 55517 w 243207"/>
                    <a:gd name="connsiteY95" fmla="*/ 285638 h 356188"/>
                    <a:gd name="connsiteX96" fmla="*/ 51316 w 243207"/>
                    <a:gd name="connsiteY96" fmla="*/ 285772 h 356188"/>
                    <a:gd name="connsiteX97" fmla="*/ 49252 w 243207"/>
                    <a:gd name="connsiteY97" fmla="*/ 288625 h 356188"/>
                    <a:gd name="connsiteX98" fmla="*/ 48280 w 243207"/>
                    <a:gd name="connsiteY98" fmla="*/ 293240 h 356188"/>
                    <a:gd name="connsiteX99" fmla="*/ 48280 w 243207"/>
                    <a:gd name="connsiteY99" fmla="*/ 302056 h 356188"/>
                    <a:gd name="connsiteX100" fmla="*/ 51777 w 243207"/>
                    <a:gd name="connsiteY100" fmla="*/ 318655 h 356188"/>
                    <a:gd name="connsiteX101" fmla="*/ 51073 w 243207"/>
                    <a:gd name="connsiteY101" fmla="*/ 325164 h 356188"/>
                    <a:gd name="connsiteX102" fmla="*/ 44819 w 243207"/>
                    <a:gd name="connsiteY102" fmla="*/ 323536 h 356188"/>
                    <a:gd name="connsiteX103" fmla="*/ 40339 w 243207"/>
                    <a:gd name="connsiteY103" fmla="*/ 317586 h 356188"/>
                    <a:gd name="connsiteX104" fmla="*/ 37874 w 243207"/>
                    <a:gd name="connsiteY104" fmla="*/ 309439 h 356188"/>
                    <a:gd name="connsiteX105" fmla="*/ 33514 w 243207"/>
                    <a:gd name="connsiteY105" fmla="*/ 277600 h 356188"/>
                    <a:gd name="connsiteX106" fmla="*/ 32713 w 243207"/>
                    <a:gd name="connsiteY106" fmla="*/ 275560 h 356188"/>
                    <a:gd name="connsiteX107" fmla="*/ 31741 w 243207"/>
                    <a:gd name="connsiteY107" fmla="*/ 273981 h 356188"/>
                    <a:gd name="connsiteX108" fmla="*/ 31389 w 243207"/>
                    <a:gd name="connsiteY108" fmla="*/ 272427 h 356188"/>
                    <a:gd name="connsiteX109" fmla="*/ 32713 w 243207"/>
                    <a:gd name="connsiteY109" fmla="*/ 270617 h 356188"/>
                    <a:gd name="connsiteX110" fmla="*/ 34607 w 243207"/>
                    <a:gd name="connsiteY110" fmla="*/ 268808 h 356188"/>
                    <a:gd name="connsiteX111" fmla="*/ 35396 w 243207"/>
                    <a:gd name="connsiteY111" fmla="*/ 267230 h 356188"/>
                    <a:gd name="connsiteX112" fmla="*/ 34777 w 243207"/>
                    <a:gd name="connsiteY112" fmla="*/ 266088 h 356188"/>
                    <a:gd name="connsiteX113" fmla="*/ 32349 w 243207"/>
                    <a:gd name="connsiteY113" fmla="*/ 265445 h 356188"/>
                    <a:gd name="connsiteX114" fmla="*/ 29945 w 243207"/>
                    <a:gd name="connsiteY114" fmla="*/ 263647 h 356188"/>
                    <a:gd name="connsiteX115" fmla="*/ 28062 w 243207"/>
                    <a:gd name="connsiteY115" fmla="*/ 259677 h 356188"/>
                    <a:gd name="connsiteX116" fmla="*/ 25537 w 243207"/>
                    <a:gd name="connsiteY116" fmla="*/ 251237 h 356188"/>
                    <a:gd name="connsiteX117" fmla="*/ 24613 w 243207"/>
                    <a:gd name="connsiteY117" fmla="*/ 246332 h 356188"/>
                    <a:gd name="connsiteX118" fmla="*/ 24164 w 243207"/>
                    <a:gd name="connsiteY118" fmla="*/ 244814 h 356188"/>
                    <a:gd name="connsiteX119" fmla="*/ 22950 w 243207"/>
                    <a:gd name="connsiteY119" fmla="*/ 243004 h 356188"/>
                    <a:gd name="connsiteX120" fmla="*/ 19672 w 243207"/>
                    <a:gd name="connsiteY120" fmla="*/ 241025 h 356188"/>
                    <a:gd name="connsiteX121" fmla="*/ 18129 w 243207"/>
                    <a:gd name="connsiteY121" fmla="*/ 239580 h 356188"/>
                    <a:gd name="connsiteX122" fmla="*/ 16393 w 243207"/>
                    <a:gd name="connsiteY122" fmla="*/ 236338 h 356188"/>
                    <a:gd name="connsiteX123" fmla="*/ 14838 w 243207"/>
                    <a:gd name="connsiteY123" fmla="*/ 229854 h 356188"/>
                    <a:gd name="connsiteX124" fmla="*/ 13406 w 243207"/>
                    <a:gd name="connsiteY124" fmla="*/ 226344 h 356188"/>
                    <a:gd name="connsiteX125" fmla="*/ 7954 w 243207"/>
                    <a:gd name="connsiteY125" fmla="*/ 216411 h 356188"/>
                    <a:gd name="connsiteX126" fmla="*/ 7091 w 243207"/>
                    <a:gd name="connsiteY126" fmla="*/ 212963 h 356188"/>
                    <a:gd name="connsiteX127" fmla="*/ 7735 w 243207"/>
                    <a:gd name="connsiteY127" fmla="*/ 208203 h 356188"/>
                    <a:gd name="connsiteX128" fmla="*/ 10078 w 243207"/>
                    <a:gd name="connsiteY128" fmla="*/ 207887 h 356188"/>
                    <a:gd name="connsiteX129" fmla="*/ 12786 w 243207"/>
                    <a:gd name="connsiteY129" fmla="*/ 208081 h 356188"/>
                    <a:gd name="connsiteX130" fmla="*/ 14402 w 243207"/>
                    <a:gd name="connsiteY130" fmla="*/ 204876 h 356188"/>
                    <a:gd name="connsiteX131" fmla="*/ 13236 w 243207"/>
                    <a:gd name="connsiteY131" fmla="*/ 201888 h 356188"/>
                    <a:gd name="connsiteX132" fmla="*/ 10127 w 243207"/>
                    <a:gd name="connsiteY132" fmla="*/ 200759 h 356188"/>
                    <a:gd name="connsiteX133" fmla="*/ 7140 w 243207"/>
                    <a:gd name="connsiteY133" fmla="*/ 199217 h 356188"/>
                    <a:gd name="connsiteX134" fmla="*/ 6339 w 243207"/>
                    <a:gd name="connsiteY134" fmla="*/ 194882 h 356188"/>
                    <a:gd name="connsiteX135" fmla="*/ 8111 w 243207"/>
                    <a:gd name="connsiteY135" fmla="*/ 191057 h 356188"/>
                    <a:gd name="connsiteX136" fmla="*/ 11038 w 243207"/>
                    <a:gd name="connsiteY136" fmla="*/ 190061 h 356188"/>
                    <a:gd name="connsiteX137" fmla="*/ 14657 w 243207"/>
                    <a:gd name="connsiteY137" fmla="*/ 189745 h 356188"/>
                    <a:gd name="connsiteX138" fmla="*/ 18117 w 243207"/>
                    <a:gd name="connsiteY138" fmla="*/ 188045 h 356188"/>
                    <a:gd name="connsiteX139" fmla="*/ 19999 w 243207"/>
                    <a:gd name="connsiteY139" fmla="*/ 184779 h 356188"/>
                    <a:gd name="connsiteX140" fmla="*/ 23788 w 243207"/>
                    <a:gd name="connsiteY140" fmla="*/ 173948 h 356188"/>
                    <a:gd name="connsiteX141" fmla="*/ 24298 w 243207"/>
                    <a:gd name="connsiteY141" fmla="*/ 170220 h 356188"/>
                    <a:gd name="connsiteX142" fmla="*/ 23557 w 243207"/>
                    <a:gd name="connsiteY142" fmla="*/ 167755 h 356188"/>
                    <a:gd name="connsiteX143" fmla="*/ 21432 w 243207"/>
                    <a:gd name="connsiteY143" fmla="*/ 163128 h 356188"/>
                    <a:gd name="connsiteX144" fmla="*/ 21250 w 243207"/>
                    <a:gd name="connsiteY144" fmla="*/ 160396 h 356188"/>
                    <a:gd name="connsiteX145" fmla="*/ 22051 w 243207"/>
                    <a:gd name="connsiteY145" fmla="*/ 157640 h 356188"/>
                    <a:gd name="connsiteX146" fmla="*/ 28487 w 243207"/>
                    <a:gd name="connsiteY146" fmla="*/ 146589 h 356188"/>
                    <a:gd name="connsiteX147" fmla="*/ 30418 w 243207"/>
                    <a:gd name="connsiteY147" fmla="*/ 143942 h 356188"/>
                    <a:gd name="connsiteX148" fmla="*/ 32895 w 243207"/>
                    <a:gd name="connsiteY148" fmla="*/ 141793 h 356188"/>
                    <a:gd name="connsiteX149" fmla="*/ 36186 w 243207"/>
                    <a:gd name="connsiteY149" fmla="*/ 140469 h 356188"/>
                    <a:gd name="connsiteX150" fmla="*/ 38699 w 243207"/>
                    <a:gd name="connsiteY150" fmla="*/ 140676 h 356188"/>
                    <a:gd name="connsiteX151" fmla="*/ 39343 w 243207"/>
                    <a:gd name="connsiteY151" fmla="*/ 140931 h 356188"/>
                    <a:gd name="connsiteX152" fmla="*/ 40836 w 243207"/>
                    <a:gd name="connsiteY152" fmla="*/ 141538 h 356188"/>
                    <a:gd name="connsiteX153" fmla="*/ 42852 w 243207"/>
                    <a:gd name="connsiteY153" fmla="*/ 141854 h 356188"/>
                    <a:gd name="connsiteX154" fmla="*/ 45074 w 243207"/>
                    <a:gd name="connsiteY154" fmla="*/ 140397 h 356188"/>
                    <a:gd name="connsiteX155" fmla="*/ 47029 w 243207"/>
                    <a:gd name="connsiteY155" fmla="*/ 132297 h 356188"/>
                    <a:gd name="connsiteX156" fmla="*/ 47321 w 243207"/>
                    <a:gd name="connsiteY156" fmla="*/ 124720 h 356188"/>
                    <a:gd name="connsiteX157" fmla="*/ 49604 w 243207"/>
                    <a:gd name="connsiteY157" fmla="*/ 119608 h 356188"/>
                    <a:gd name="connsiteX158" fmla="*/ 57363 w 243207"/>
                    <a:gd name="connsiteY158" fmla="*/ 118964 h 356188"/>
                    <a:gd name="connsiteX159" fmla="*/ 71607 w 243207"/>
                    <a:gd name="connsiteY159" fmla="*/ 121964 h 356188"/>
                    <a:gd name="connsiteX160" fmla="*/ 78553 w 243207"/>
                    <a:gd name="connsiteY160" fmla="*/ 122534 h 356188"/>
                    <a:gd name="connsiteX161" fmla="*/ 86312 w 243207"/>
                    <a:gd name="connsiteY161" fmla="*/ 121636 h 356188"/>
                    <a:gd name="connsiteX162" fmla="*/ 90610 w 243207"/>
                    <a:gd name="connsiteY162" fmla="*/ 120349 h 356188"/>
                    <a:gd name="connsiteX163" fmla="*/ 93391 w 243207"/>
                    <a:gd name="connsiteY163" fmla="*/ 118600 h 356188"/>
                    <a:gd name="connsiteX164" fmla="*/ 95164 w 243207"/>
                    <a:gd name="connsiteY164" fmla="*/ 115844 h 356188"/>
                    <a:gd name="connsiteX165" fmla="*/ 96658 w 243207"/>
                    <a:gd name="connsiteY165" fmla="*/ 111618 h 356188"/>
                    <a:gd name="connsiteX166" fmla="*/ 98661 w 243207"/>
                    <a:gd name="connsiteY166" fmla="*/ 99013 h 356188"/>
                    <a:gd name="connsiteX167" fmla="*/ 99475 w 243207"/>
                    <a:gd name="connsiteY167" fmla="*/ 96658 h 356188"/>
                    <a:gd name="connsiteX168" fmla="*/ 101478 w 243207"/>
                    <a:gd name="connsiteY168" fmla="*/ 97374 h 356188"/>
                    <a:gd name="connsiteX169" fmla="*/ 104745 w 243207"/>
                    <a:gd name="connsiteY169" fmla="*/ 105389 h 356188"/>
                    <a:gd name="connsiteX170" fmla="*/ 106493 w 243207"/>
                    <a:gd name="connsiteY170" fmla="*/ 108461 h 356188"/>
                    <a:gd name="connsiteX171" fmla="*/ 109796 w 243207"/>
                    <a:gd name="connsiteY171" fmla="*/ 110537 h 356188"/>
                    <a:gd name="connsiteX172" fmla="*/ 113488 w 243207"/>
                    <a:gd name="connsiteY172" fmla="*/ 111047 h 356188"/>
                    <a:gd name="connsiteX173" fmla="*/ 116766 w 243207"/>
                    <a:gd name="connsiteY173" fmla="*/ 109833 h 356188"/>
                    <a:gd name="connsiteX174" fmla="*/ 118940 w 243207"/>
                    <a:gd name="connsiteY174" fmla="*/ 106797 h 356188"/>
                    <a:gd name="connsiteX175" fmla="*/ 118843 w 243207"/>
                    <a:gd name="connsiteY175" fmla="*/ 103349 h 356188"/>
                    <a:gd name="connsiteX176" fmla="*/ 117628 w 243207"/>
                    <a:gd name="connsiteY176" fmla="*/ 99305 h 356188"/>
                    <a:gd name="connsiteX177" fmla="*/ 117119 w 243207"/>
                    <a:gd name="connsiteY177" fmla="*/ 95541 h 356188"/>
                    <a:gd name="connsiteX178" fmla="*/ 119001 w 243207"/>
                    <a:gd name="connsiteY178" fmla="*/ 92906 h 356188"/>
                    <a:gd name="connsiteX179" fmla="*/ 130937 w 243207"/>
                    <a:gd name="connsiteY179" fmla="*/ 95395 h 356188"/>
                    <a:gd name="connsiteX180" fmla="*/ 132892 w 243207"/>
                    <a:gd name="connsiteY180" fmla="*/ 95516 h 356188"/>
                    <a:gd name="connsiteX181" fmla="*/ 133414 w 243207"/>
                    <a:gd name="connsiteY181" fmla="*/ 96804 h 356188"/>
                    <a:gd name="connsiteX182" fmla="*/ 133694 w 243207"/>
                    <a:gd name="connsiteY182" fmla="*/ 101284 h 356188"/>
                    <a:gd name="connsiteX183" fmla="*/ 134143 w 243207"/>
                    <a:gd name="connsiteY183" fmla="*/ 103057 h 356188"/>
                    <a:gd name="connsiteX184" fmla="*/ 139838 w 243207"/>
                    <a:gd name="connsiteY184" fmla="*/ 108570 h 356188"/>
                    <a:gd name="connsiteX185" fmla="*/ 143663 w 243207"/>
                    <a:gd name="connsiteY185" fmla="*/ 109529 h 356188"/>
                    <a:gd name="connsiteX186" fmla="*/ 146031 w 243207"/>
                    <a:gd name="connsiteY186" fmla="*/ 108060 h 356188"/>
                    <a:gd name="connsiteX187" fmla="*/ 147342 w 243207"/>
                    <a:gd name="connsiteY187" fmla="*/ 104551 h 356188"/>
                    <a:gd name="connsiteX188" fmla="*/ 151422 w 243207"/>
                    <a:gd name="connsiteY188" fmla="*/ 87648 h 356188"/>
                    <a:gd name="connsiteX189" fmla="*/ 151604 w 243207"/>
                    <a:gd name="connsiteY189" fmla="*/ 83713 h 356188"/>
                    <a:gd name="connsiteX190" fmla="*/ 149650 w 243207"/>
                    <a:gd name="connsiteY190" fmla="*/ 75821 h 356188"/>
                    <a:gd name="connsiteX191" fmla="*/ 150269 w 243207"/>
                    <a:gd name="connsiteY191" fmla="*/ 72262 h 356188"/>
                    <a:gd name="connsiteX192" fmla="*/ 154422 w 243207"/>
                    <a:gd name="connsiteY192" fmla="*/ 70963 h 356188"/>
                    <a:gd name="connsiteX193" fmla="*/ 156146 w 243207"/>
                    <a:gd name="connsiteY193" fmla="*/ 72457 h 356188"/>
                    <a:gd name="connsiteX194" fmla="*/ 160287 w 243207"/>
                    <a:gd name="connsiteY194" fmla="*/ 75238 h 356188"/>
                    <a:gd name="connsiteX195" fmla="*/ 163844 w 243207"/>
                    <a:gd name="connsiteY195" fmla="*/ 76622 h 356188"/>
                    <a:gd name="connsiteX196" fmla="*/ 163723 w 243207"/>
                    <a:gd name="connsiteY196" fmla="*/ 73914 h 356188"/>
                    <a:gd name="connsiteX197" fmla="*/ 159473 w 243207"/>
                    <a:gd name="connsiteY197" fmla="*/ 67175 h 356188"/>
                    <a:gd name="connsiteX198" fmla="*/ 159716 w 243207"/>
                    <a:gd name="connsiteY198" fmla="*/ 64819 h 356188"/>
                    <a:gd name="connsiteX199" fmla="*/ 175332 w 243207"/>
                    <a:gd name="connsiteY199" fmla="*/ 66106 h 356188"/>
                    <a:gd name="connsiteX200" fmla="*/ 180833 w 243207"/>
                    <a:gd name="connsiteY200" fmla="*/ 65681 h 356188"/>
                    <a:gd name="connsiteX201" fmla="*/ 185605 w 243207"/>
                    <a:gd name="connsiteY201" fmla="*/ 63580 h 356188"/>
                    <a:gd name="connsiteX202" fmla="*/ 189272 w 243207"/>
                    <a:gd name="connsiteY202" fmla="*/ 58735 h 356188"/>
                    <a:gd name="connsiteX203" fmla="*/ 189915 w 243207"/>
                    <a:gd name="connsiteY203" fmla="*/ 53113 h 356188"/>
                    <a:gd name="connsiteX204" fmla="*/ 188944 w 243207"/>
                    <a:gd name="connsiteY204" fmla="*/ 40970 h 356188"/>
                    <a:gd name="connsiteX205" fmla="*/ 189867 w 243207"/>
                    <a:gd name="connsiteY205" fmla="*/ 37169 h 356188"/>
                    <a:gd name="connsiteX206" fmla="*/ 192150 w 243207"/>
                    <a:gd name="connsiteY206" fmla="*/ 34959 h 356188"/>
                    <a:gd name="connsiteX207" fmla="*/ 195076 w 243207"/>
                    <a:gd name="connsiteY207" fmla="*/ 33296 h 356188"/>
                    <a:gd name="connsiteX208" fmla="*/ 197213 w 243207"/>
                    <a:gd name="connsiteY208" fmla="*/ 31632 h 356188"/>
                    <a:gd name="connsiteX209" fmla="*/ 197784 w 243207"/>
                    <a:gd name="connsiteY209" fmla="*/ 31147 h 356188"/>
                    <a:gd name="connsiteX210" fmla="*/ 199727 w 243207"/>
                    <a:gd name="connsiteY210" fmla="*/ 28244 h 356188"/>
                    <a:gd name="connsiteX211" fmla="*/ 200771 w 243207"/>
                    <a:gd name="connsiteY211" fmla="*/ 25233 h 356188"/>
                    <a:gd name="connsiteX212" fmla="*/ 201427 w 243207"/>
                    <a:gd name="connsiteY212" fmla="*/ 20048 h 356188"/>
                    <a:gd name="connsiteX213" fmla="*/ 197869 w 243207"/>
                    <a:gd name="connsiteY213" fmla="*/ 0 h 356188"/>
                    <a:gd name="connsiteX214" fmla="*/ 195404 w 243207"/>
                    <a:gd name="connsiteY214" fmla="*/ 19271 h 356188"/>
                    <a:gd name="connsiteX215" fmla="*/ 194821 w 243207"/>
                    <a:gd name="connsiteY215" fmla="*/ 23849 h 356188"/>
                    <a:gd name="connsiteX216" fmla="*/ 194238 w 243207"/>
                    <a:gd name="connsiteY216" fmla="*/ 25524 h 356188"/>
                    <a:gd name="connsiteX217" fmla="*/ 193194 w 243207"/>
                    <a:gd name="connsiteY217" fmla="*/ 27066 h 356188"/>
                    <a:gd name="connsiteX218" fmla="*/ 191688 w 243207"/>
                    <a:gd name="connsiteY218" fmla="*/ 28232 h 356188"/>
                    <a:gd name="connsiteX219" fmla="*/ 189138 w 243207"/>
                    <a:gd name="connsiteY219" fmla="*/ 29689 h 356188"/>
                    <a:gd name="connsiteX220" fmla="*/ 188471 w 243207"/>
                    <a:gd name="connsiteY220" fmla="*/ 30066 h 356188"/>
                    <a:gd name="connsiteX221" fmla="*/ 187912 w 243207"/>
                    <a:gd name="connsiteY221" fmla="*/ 30600 h 356188"/>
                    <a:gd name="connsiteX222" fmla="*/ 185629 w 243207"/>
                    <a:gd name="connsiteY222" fmla="*/ 32810 h 356188"/>
                    <a:gd name="connsiteX223" fmla="*/ 184366 w 243207"/>
                    <a:gd name="connsiteY223" fmla="*/ 34037 h 356188"/>
                    <a:gd name="connsiteX224" fmla="*/ 183941 w 243207"/>
                    <a:gd name="connsiteY224" fmla="*/ 35749 h 356188"/>
                    <a:gd name="connsiteX225" fmla="*/ 183018 w 243207"/>
                    <a:gd name="connsiteY225" fmla="*/ 39549 h 356188"/>
                    <a:gd name="connsiteX226" fmla="*/ 182787 w 243207"/>
                    <a:gd name="connsiteY226" fmla="*/ 40497 h 356188"/>
                    <a:gd name="connsiteX227" fmla="*/ 182873 w 243207"/>
                    <a:gd name="connsiteY227" fmla="*/ 41468 h 356188"/>
                    <a:gd name="connsiteX228" fmla="*/ 183795 w 243207"/>
                    <a:gd name="connsiteY228" fmla="*/ 53028 h 356188"/>
                    <a:gd name="connsiteX229" fmla="*/ 183407 w 243207"/>
                    <a:gd name="connsiteY229" fmla="*/ 56416 h 356188"/>
                    <a:gd name="connsiteX230" fmla="*/ 181695 w 243207"/>
                    <a:gd name="connsiteY230" fmla="*/ 58675 h 356188"/>
                    <a:gd name="connsiteX231" fmla="*/ 179315 w 243207"/>
                    <a:gd name="connsiteY231" fmla="*/ 59719 h 356188"/>
                    <a:gd name="connsiteX232" fmla="*/ 175332 w 243207"/>
                    <a:gd name="connsiteY232" fmla="*/ 60022 h 356188"/>
                    <a:gd name="connsiteX233" fmla="*/ 160202 w 243207"/>
                    <a:gd name="connsiteY233" fmla="*/ 58772 h 356188"/>
                    <a:gd name="connsiteX234" fmla="*/ 154264 w 243207"/>
                    <a:gd name="connsiteY234" fmla="*/ 58286 h 356188"/>
                    <a:gd name="connsiteX235" fmla="*/ 153669 w 243207"/>
                    <a:gd name="connsiteY235" fmla="*/ 64212 h 356188"/>
                    <a:gd name="connsiteX236" fmla="*/ 153596 w 243207"/>
                    <a:gd name="connsiteY236" fmla="*/ 64855 h 356188"/>
                    <a:gd name="connsiteX237" fmla="*/ 152600 w 243207"/>
                    <a:gd name="connsiteY237" fmla="*/ 65171 h 356188"/>
                    <a:gd name="connsiteX238" fmla="*/ 148447 w 243207"/>
                    <a:gd name="connsiteY238" fmla="*/ 66470 h 356188"/>
                    <a:gd name="connsiteX239" fmla="*/ 144914 w 243207"/>
                    <a:gd name="connsiteY239" fmla="*/ 67575 h 356188"/>
                    <a:gd name="connsiteX240" fmla="*/ 144282 w 243207"/>
                    <a:gd name="connsiteY240" fmla="*/ 71230 h 356188"/>
                    <a:gd name="connsiteX241" fmla="*/ 143663 w 243207"/>
                    <a:gd name="connsiteY241" fmla="*/ 74788 h 356188"/>
                    <a:gd name="connsiteX242" fmla="*/ 143432 w 243207"/>
                    <a:gd name="connsiteY242" fmla="*/ 76051 h 356188"/>
                    <a:gd name="connsiteX243" fmla="*/ 143736 w 243207"/>
                    <a:gd name="connsiteY243" fmla="*/ 77290 h 356188"/>
                    <a:gd name="connsiteX244" fmla="*/ 145484 w 243207"/>
                    <a:gd name="connsiteY244" fmla="*/ 84333 h 356188"/>
                    <a:gd name="connsiteX245" fmla="*/ 145375 w 243207"/>
                    <a:gd name="connsiteY245" fmla="*/ 86798 h 356188"/>
                    <a:gd name="connsiteX246" fmla="*/ 141708 w 243207"/>
                    <a:gd name="connsiteY246" fmla="*/ 101964 h 356188"/>
                    <a:gd name="connsiteX247" fmla="*/ 139668 w 243207"/>
                    <a:gd name="connsiteY247" fmla="*/ 99985 h 356188"/>
                    <a:gd name="connsiteX248" fmla="*/ 139437 w 243207"/>
                    <a:gd name="connsiteY248" fmla="*/ 96427 h 356188"/>
                    <a:gd name="connsiteX249" fmla="*/ 139377 w 243207"/>
                    <a:gd name="connsiteY249" fmla="*/ 95444 h 356188"/>
                    <a:gd name="connsiteX250" fmla="*/ 139012 w 243207"/>
                    <a:gd name="connsiteY250" fmla="*/ 94533 h 356188"/>
                    <a:gd name="connsiteX251" fmla="*/ 138490 w 243207"/>
                    <a:gd name="connsiteY251" fmla="*/ 93246 h 356188"/>
                    <a:gd name="connsiteX252" fmla="*/ 137057 w 243207"/>
                    <a:gd name="connsiteY252" fmla="*/ 89688 h 356188"/>
                    <a:gd name="connsiteX253" fmla="*/ 133232 w 243207"/>
                    <a:gd name="connsiteY253" fmla="*/ 89457 h 356188"/>
                    <a:gd name="connsiteX254" fmla="*/ 131714 w 243207"/>
                    <a:gd name="connsiteY254" fmla="*/ 89360 h 356188"/>
                    <a:gd name="connsiteX255" fmla="*/ 120203 w 243207"/>
                    <a:gd name="connsiteY255" fmla="*/ 86968 h 356188"/>
                    <a:gd name="connsiteX256" fmla="*/ 116341 w 243207"/>
                    <a:gd name="connsiteY256" fmla="*/ 86154 h 356188"/>
                    <a:gd name="connsiteX257" fmla="*/ 114046 w 243207"/>
                    <a:gd name="connsiteY257" fmla="*/ 89372 h 356188"/>
                    <a:gd name="connsiteX258" fmla="*/ 112164 w 243207"/>
                    <a:gd name="connsiteY258" fmla="*/ 92007 h 356188"/>
                    <a:gd name="connsiteX259" fmla="*/ 110756 w 243207"/>
                    <a:gd name="connsiteY259" fmla="*/ 93962 h 356188"/>
                    <a:gd name="connsiteX260" fmla="*/ 111083 w 243207"/>
                    <a:gd name="connsiteY260" fmla="*/ 96354 h 356188"/>
                    <a:gd name="connsiteX261" fmla="*/ 111594 w 243207"/>
                    <a:gd name="connsiteY261" fmla="*/ 100118 h 356188"/>
                    <a:gd name="connsiteX262" fmla="*/ 111654 w 243207"/>
                    <a:gd name="connsiteY262" fmla="*/ 100592 h 356188"/>
                    <a:gd name="connsiteX263" fmla="*/ 111800 w 243207"/>
                    <a:gd name="connsiteY263" fmla="*/ 101041 h 356188"/>
                    <a:gd name="connsiteX264" fmla="*/ 112771 w 243207"/>
                    <a:gd name="connsiteY264" fmla="*/ 104320 h 356188"/>
                    <a:gd name="connsiteX265" fmla="*/ 112784 w 243207"/>
                    <a:gd name="connsiteY265" fmla="*/ 104830 h 356188"/>
                    <a:gd name="connsiteX266" fmla="*/ 111909 w 243207"/>
                    <a:gd name="connsiteY266" fmla="*/ 104709 h 356188"/>
                    <a:gd name="connsiteX267" fmla="*/ 111011 w 243207"/>
                    <a:gd name="connsiteY267" fmla="*/ 104138 h 356188"/>
                    <a:gd name="connsiteX268" fmla="*/ 110221 w 243207"/>
                    <a:gd name="connsiteY268" fmla="*/ 102741 h 356188"/>
                    <a:gd name="connsiteX269" fmla="*/ 107100 w 243207"/>
                    <a:gd name="connsiteY269" fmla="*/ 95091 h 356188"/>
                    <a:gd name="connsiteX270" fmla="*/ 106081 w 243207"/>
                    <a:gd name="connsiteY270" fmla="*/ 92578 h 356188"/>
                    <a:gd name="connsiteX271" fmla="*/ 103531 w 243207"/>
                    <a:gd name="connsiteY271" fmla="*/ 91667 h 356188"/>
                    <a:gd name="connsiteX272" fmla="*/ 101527 w 243207"/>
                    <a:gd name="connsiteY272" fmla="*/ 90950 h 356188"/>
                    <a:gd name="connsiteX273" fmla="*/ 95747 w 243207"/>
                    <a:gd name="connsiteY273" fmla="*/ 88886 h 356188"/>
                    <a:gd name="connsiteX274" fmla="*/ 93731 w 243207"/>
                    <a:gd name="connsiteY274" fmla="*/ 94678 h 356188"/>
                    <a:gd name="connsiteX275" fmla="*/ 92917 w 243207"/>
                    <a:gd name="connsiteY275" fmla="*/ 97034 h 356188"/>
                    <a:gd name="connsiteX276" fmla="*/ 92736 w 243207"/>
                    <a:gd name="connsiteY276" fmla="*/ 97544 h 356188"/>
                    <a:gd name="connsiteX277" fmla="*/ 92651 w 243207"/>
                    <a:gd name="connsiteY277" fmla="*/ 98066 h 356188"/>
                    <a:gd name="connsiteX278" fmla="*/ 90744 w 243207"/>
                    <a:gd name="connsiteY278" fmla="*/ 110124 h 356188"/>
                    <a:gd name="connsiteX279" fmla="*/ 89663 w 243207"/>
                    <a:gd name="connsiteY279" fmla="*/ 113160 h 356188"/>
                    <a:gd name="connsiteX280" fmla="*/ 89008 w 243207"/>
                    <a:gd name="connsiteY280" fmla="*/ 114180 h 356188"/>
                    <a:gd name="connsiteX281" fmla="*/ 88073 w 243207"/>
                    <a:gd name="connsiteY281" fmla="*/ 114763 h 356188"/>
                    <a:gd name="connsiteX282" fmla="*/ 85085 w 243207"/>
                    <a:gd name="connsiteY282" fmla="*/ 115661 h 356188"/>
                    <a:gd name="connsiteX283" fmla="*/ 78456 w 243207"/>
                    <a:gd name="connsiteY283" fmla="*/ 116426 h 356188"/>
                    <a:gd name="connsiteX284" fmla="*/ 72493 w 243207"/>
                    <a:gd name="connsiteY284" fmla="*/ 115941 h 356188"/>
                    <a:gd name="connsiteX285" fmla="*/ 58626 w 243207"/>
                    <a:gd name="connsiteY285" fmla="*/ 113014 h 356188"/>
                    <a:gd name="connsiteX286" fmla="*/ 57752 w 243207"/>
                    <a:gd name="connsiteY286" fmla="*/ 112832 h 356188"/>
                    <a:gd name="connsiteX287" fmla="*/ 56877 w 243207"/>
                    <a:gd name="connsiteY287" fmla="*/ 112905 h 356188"/>
                    <a:gd name="connsiteX288" fmla="*/ 49118 w 243207"/>
                    <a:gd name="connsiteY288" fmla="*/ 113549 h 356188"/>
                    <a:gd name="connsiteX289" fmla="*/ 45536 w 243207"/>
                    <a:gd name="connsiteY289" fmla="*/ 113840 h 356188"/>
                    <a:gd name="connsiteX290" fmla="*/ 44079 w 243207"/>
                    <a:gd name="connsiteY290" fmla="*/ 117119 h 356188"/>
                    <a:gd name="connsiteX291" fmla="*/ 41796 w 243207"/>
                    <a:gd name="connsiteY291" fmla="*/ 122231 h 356188"/>
                    <a:gd name="connsiteX292" fmla="*/ 41310 w 243207"/>
                    <a:gd name="connsiteY292" fmla="*/ 123299 h 356188"/>
                    <a:gd name="connsiteX293" fmla="*/ 41261 w 243207"/>
                    <a:gd name="connsiteY293" fmla="*/ 124477 h 356188"/>
                    <a:gd name="connsiteX294" fmla="*/ 40994 w 243207"/>
                    <a:gd name="connsiteY294" fmla="*/ 131447 h 356188"/>
                    <a:gd name="connsiteX295" fmla="*/ 40217 w 243207"/>
                    <a:gd name="connsiteY295" fmla="*/ 134726 h 356188"/>
                    <a:gd name="connsiteX296" fmla="*/ 40120 w 243207"/>
                    <a:gd name="connsiteY296" fmla="*/ 134689 h 356188"/>
                    <a:gd name="connsiteX297" fmla="*/ 39221 w 243207"/>
                    <a:gd name="connsiteY297" fmla="*/ 134617 h 356188"/>
                    <a:gd name="connsiteX298" fmla="*/ 36708 w 243207"/>
                    <a:gd name="connsiteY298" fmla="*/ 134410 h 356188"/>
                    <a:gd name="connsiteX299" fmla="*/ 35275 w 243207"/>
                    <a:gd name="connsiteY299" fmla="*/ 134301 h 356188"/>
                    <a:gd name="connsiteX300" fmla="*/ 33952 w 243207"/>
                    <a:gd name="connsiteY300" fmla="*/ 134835 h 356188"/>
                    <a:gd name="connsiteX301" fmla="*/ 30661 w 243207"/>
                    <a:gd name="connsiteY301" fmla="*/ 136159 h 356188"/>
                    <a:gd name="connsiteX302" fmla="*/ 29714 w 243207"/>
                    <a:gd name="connsiteY302" fmla="*/ 136535 h 356188"/>
                    <a:gd name="connsiteX303" fmla="*/ 28949 w 243207"/>
                    <a:gd name="connsiteY303" fmla="*/ 137203 h 356188"/>
                    <a:gd name="connsiteX304" fmla="*/ 26472 w 243207"/>
                    <a:gd name="connsiteY304" fmla="*/ 139352 h 356188"/>
                    <a:gd name="connsiteX305" fmla="*/ 25962 w 243207"/>
                    <a:gd name="connsiteY305" fmla="*/ 139802 h 356188"/>
                    <a:gd name="connsiteX306" fmla="*/ 25561 w 243207"/>
                    <a:gd name="connsiteY306" fmla="*/ 140348 h 356188"/>
                    <a:gd name="connsiteX307" fmla="*/ 23630 w 243207"/>
                    <a:gd name="connsiteY307" fmla="*/ 142995 h 356188"/>
                    <a:gd name="connsiteX308" fmla="*/ 23436 w 243207"/>
                    <a:gd name="connsiteY308" fmla="*/ 143250 h 356188"/>
                    <a:gd name="connsiteX309" fmla="*/ 23278 w 243207"/>
                    <a:gd name="connsiteY309" fmla="*/ 143517 h 356188"/>
                    <a:gd name="connsiteX310" fmla="*/ 16842 w 243207"/>
                    <a:gd name="connsiteY310" fmla="*/ 154567 h 356188"/>
                    <a:gd name="connsiteX311" fmla="*/ 16466 w 243207"/>
                    <a:gd name="connsiteY311" fmla="*/ 155211 h 356188"/>
                    <a:gd name="connsiteX312" fmla="*/ 16259 w 243207"/>
                    <a:gd name="connsiteY312" fmla="*/ 155928 h 356188"/>
                    <a:gd name="connsiteX313" fmla="*/ 15458 w 243207"/>
                    <a:gd name="connsiteY313" fmla="*/ 158684 h 356188"/>
                    <a:gd name="connsiteX314" fmla="*/ 15154 w 243207"/>
                    <a:gd name="connsiteY314" fmla="*/ 159704 h 356188"/>
                    <a:gd name="connsiteX315" fmla="*/ 15227 w 243207"/>
                    <a:gd name="connsiteY315" fmla="*/ 160772 h 356188"/>
                    <a:gd name="connsiteX316" fmla="*/ 15409 w 243207"/>
                    <a:gd name="connsiteY316" fmla="*/ 163505 h 356188"/>
                    <a:gd name="connsiteX317" fmla="*/ 15482 w 243207"/>
                    <a:gd name="connsiteY317" fmla="*/ 164622 h 356188"/>
                    <a:gd name="connsiteX318" fmla="*/ 15956 w 243207"/>
                    <a:gd name="connsiteY318" fmla="*/ 165642 h 356188"/>
                    <a:gd name="connsiteX319" fmla="*/ 17899 w 243207"/>
                    <a:gd name="connsiteY319" fmla="*/ 169880 h 356188"/>
                    <a:gd name="connsiteX320" fmla="*/ 18141 w 243207"/>
                    <a:gd name="connsiteY320" fmla="*/ 170669 h 356188"/>
                    <a:gd name="connsiteX321" fmla="*/ 17886 w 243207"/>
                    <a:gd name="connsiteY321" fmla="*/ 172490 h 356188"/>
                    <a:gd name="connsiteX322" fmla="*/ 14486 w 243207"/>
                    <a:gd name="connsiteY322" fmla="*/ 182217 h 356188"/>
                    <a:gd name="connsiteX323" fmla="*/ 13806 w 243207"/>
                    <a:gd name="connsiteY323" fmla="*/ 183383 h 356188"/>
                    <a:gd name="connsiteX324" fmla="*/ 13029 w 243207"/>
                    <a:gd name="connsiteY324" fmla="*/ 183771 h 356188"/>
                    <a:gd name="connsiteX325" fmla="*/ 10504 w 243207"/>
                    <a:gd name="connsiteY325" fmla="*/ 184014 h 356188"/>
                    <a:gd name="connsiteX326" fmla="*/ 9763 w 243207"/>
                    <a:gd name="connsiteY326" fmla="*/ 184075 h 356188"/>
                    <a:gd name="connsiteX327" fmla="*/ 9059 w 243207"/>
                    <a:gd name="connsiteY327" fmla="*/ 184305 h 356188"/>
                    <a:gd name="connsiteX328" fmla="*/ 6132 w 243207"/>
                    <a:gd name="connsiteY328" fmla="*/ 185301 h 356188"/>
                    <a:gd name="connsiteX329" fmla="*/ 3667 w 243207"/>
                    <a:gd name="connsiteY329" fmla="*/ 186139 h 356188"/>
                    <a:gd name="connsiteX330" fmla="*/ 2574 w 243207"/>
                    <a:gd name="connsiteY330" fmla="*/ 188495 h 356188"/>
                    <a:gd name="connsiteX331" fmla="*/ 801 w 243207"/>
                    <a:gd name="connsiteY331" fmla="*/ 192320 h 356188"/>
                    <a:gd name="connsiteX332" fmla="*/ 0 w 243207"/>
                    <a:gd name="connsiteY332" fmla="*/ 194056 h 356188"/>
                    <a:gd name="connsiteX333" fmla="*/ 340 w 243207"/>
                    <a:gd name="connsiteY333" fmla="*/ 195938 h 356188"/>
                    <a:gd name="connsiteX334" fmla="*/ 1117 w 243207"/>
                    <a:gd name="connsiteY334" fmla="*/ 200273 h 356188"/>
                    <a:gd name="connsiteX335" fmla="*/ 1651 w 243207"/>
                    <a:gd name="connsiteY335" fmla="*/ 203224 h 356188"/>
                    <a:gd name="connsiteX336" fmla="*/ 2198 w 243207"/>
                    <a:gd name="connsiteY336" fmla="*/ 203504 h 356188"/>
                    <a:gd name="connsiteX337" fmla="*/ 1676 w 243207"/>
                    <a:gd name="connsiteY337" fmla="*/ 207377 h 356188"/>
                    <a:gd name="connsiteX338" fmla="*/ 1032 w 243207"/>
                    <a:gd name="connsiteY338" fmla="*/ 212137 h 356188"/>
                    <a:gd name="connsiteX339" fmla="*/ 862 w 243207"/>
                    <a:gd name="connsiteY339" fmla="*/ 213303 h 356188"/>
                    <a:gd name="connsiteX340" fmla="*/ 1141 w 243207"/>
                    <a:gd name="connsiteY340" fmla="*/ 214432 h 356188"/>
                    <a:gd name="connsiteX341" fmla="*/ 2003 w 243207"/>
                    <a:gd name="connsiteY341" fmla="*/ 217881 h 356188"/>
                    <a:gd name="connsiteX342" fmla="*/ 2198 w 243207"/>
                    <a:gd name="connsiteY342" fmla="*/ 218633 h 356188"/>
                    <a:gd name="connsiteX343" fmla="*/ 2574 w 243207"/>
                    <a:gd name="connsiteY343" fmla="*/ 219326 h 356188"/>
                    <a:gd name="connsiteX344" fmla="*/ 7868 w 243207"/>
                    <a:gd name="connsiteY344" fmla="*/ 228955 h 356188"/>
                    <a:gd name="connsiteX345" fmla="*/ 8998 w 243207"/>
                    <a:gd name="connsiteY345" fmla="*/ 231712 h 356188"/>
                    <a:gd name="connsiteX346" fmla="*/ 10443 w 243207"/>
                    <a:gd name="connsiteY346" fmla="*/ 237747 h 356188"/>
                    <a:gd name="connsiteX347" fmla="*/ 10625 w 243207"/>
                    <a:gd name="connsiteY347" fmla="*/ 238499 h 356188"/>
                    <a:gd name="connsiteX348" fmla="*/ 10989 w 243207"/>
                    <a:gd name="connsiteY348" fmla="*/ 239192 h 356188"/>
                    <a:gd name="connsiteX349" fmla="*/ 12726 w 243207"/>
                    <a:gd name="connsiteY349" fmla="*/ 242434 h 356188"/>
                    <a:gd name="connsiteX350" fmla="*/ 13199 w 243207"/>
                    <a:gd name="connsiteY350" fmla="*/ 243320 h 356188"/>
                    <a:gd name="connsiteX351" fmla="*/ 13940 w 243207"/>
                    <a:gd name="connsiteY351" fmla="*/ 244012 h 356188"/>
                    <a:gd name="connsiteX352" fmla="*/ 15482 w 243207"/>
                    <a:gd name="connsiteY352" fmla="*/ 245457 h 356188"/>
                    <a:gd name="connsiteX353" fmla="*/ 15944 w 243207"/>
                    <a:gd name="connsiteY353" fmla="*/ 245894 h 356188"/>
                    <a:gd name="connsiteX354" fmla="*/ 16490 w 243207"/>
                    <a:gd name="connsiteY354" fmla="*/ 246222 h 356188"/>
                    <a:gd name="connsiteX355" fmla="*/ 18579 w 243207"/>
                    <a:gd name="connsiteY355" fmla="*/ 247473 h 356188"/>
                    <a:gd name="connsiteX356" fmla="*/ 18664 w 243207"/>
                    <a:gd name="connsiteY356" fmla="*/ 247752 h 356188"/>
                    <a:gd name="connsiteX357" fmla="*/ 19526 w 243207"/>
                    <a:gd name="connsiteY357" fmla="*/ 252355 h 356188"/>
                    <a:gd name="connsiteX358" fmla="*/ 19586 w 243207"/>
                    <a:gd name="connsiteY358" fmla="*/ 252658 h 356188"/>
                    <a:gd name="connsiteX359" fmla="*/ 19672 w 243207"/>
                    <a:gd name="connsiteY359" fmla="*/ 252962 h 356188"/>
                    <a:gd name="connsiteX360" fmla="*/ 22209 w 243207"/>
                    <a:gd name="connsiteY360" fmla="*/ 261401 h 356188"/>
                    <a:gd name="connsiteX361" fmla="*/ 22343 w 243207"/>
                    <a:gd name="connsiteY361" fmla="*/ 261850 h 356188"/>
                    <a:gd name="connsiteX362" fmla="*/ 22537 w 243207"/>
                    <a:gd name="connsiteY362" fmla="*/ 262263 h 356188"/>
                    <a:gd name="connsiteX363" fmla="*/ 24419 w 243207"/>
                    <a:gd name="connsiteY363" fmla="*/ 266234 h 356188"/>
                    <a:gd name="connsiteX364" fmla="*/ 25075 w 243207"/>
                    <a:gd name="connsiteY364" fmla="*/ 267594 h 356188"/>
                    <a:gd name="connsiteX365" fmla="*/ 26289 w 243207"/>
                    <a:gd name="connsiteY365" fmla="*/ 268492 h 356188"/>
                    <a:gd name="connsiteX366" fmla="*/ 26545 w 243207"/>
                    <a:gd name="connsiteY366" fmla="*/ 268687 h 356188"/>
                    <a:gd name="connsiteX367" fmla="*/ 26447 w 243207"/>
                    <a:gd name="connsiteY367" fmla="*/ 268808 h 356188"/>
                    <a:gd name="connsiteX368" fmla="*/ 24808 w 243207"/>
                    <a:gd name="connsiteY368" fmla="*/ 271055 h 356188"/>
                    <a:gd name="connsiteX369" fmla="*/ 25427 w 243207"/>
                    <a:gd name="connsiteY369" fmla="*/ 273763 h 356188"/>
                    <a:gd name="connsiteX370" fmla="*/ 25779 w 243207"/>
                    <a:gd name="connsiteY370" fmla="*/ 275317 h 356188"/>
                    <a:gd name="connsiteX371" fmla="*/ 26010 w 243207"/>
                    <a:gd name="connsiteY371" fmla="*/ 276300 h 356188"/>
                    <a:gd name="connsiteX372" fmla="*/ 26532 w 243207"/>
                    <a:gd name="connsiteY372" fmla="*/ 277150 h 356188"/>
                    <a:gd name="connsiteX373" fmla="*/ 27225 w 243207"/>
                    <a:gd name="connsiteY373" fmla="*/ 278268 h 356188"/>
                    <a:gd name="connsiteX374" fmla="*/ 27564 w 243207"/>
                    <a:gd name="connsiteY374" fmla="*/ 279130 h 356188"/>
                    <a:gd name="connsiteX375" fmla="*/ 31839 w 243207"/>
                    <a:gd name="connsiteY375" fmla="*/ 310240 h 356188"/>
                    <a:gd name="connsiteX376" fmla="*/ 31899 w 243207"/>
                    <a:gd name="connsiteY376" fmla="*/ 310713 h 356188"/>
                    <a:gd name="connsiteX377" fmla="*/ 32045 w 243207"/>
                    <a:gd name="connsiteY377" fmla="*/ 311175 h 356188"/>
                    <a:gd name="connsiteX378" fmla="*/ 34510 w 243207"/>
                    <a:gd name="connsiteY378" fmla="*/ 319323 h 356188"/>
                    <a:gd name="connsiteX379" fmla="*/ 34814 w 243207"/>
                    <a:gd name="connsiteY379" fmla="*/ 320355 h 356188"/>
                    <a:gd name="connsiteX380" fmla="*/ 35469 w 243207"/>
                    <a:gd name="connsiteY380" fmla="*/ 321217 h 356188"/>
                    <a:gd name="connsiteX381" fmla="*/ 39950 w 243207"/>
                    <a:gd name="connsiteY381" fmla="*/ 327167 h 356188"/>
                    <a:gd name="connsiteX382" fmla="*/ 41213 w 243207"/>
                    <a:gd name="connsiteY382" fmla="*/ 328855 h 356188"/>
                    <a:gd name="connsiteX383" fmla="*/ 43265 w 243207"/>
                    <a:gd name="connsiteY383" fmla="*/ 329389 h 356188"/>
                    <a:gd name="connsiteX384" fmla="*/ 49519 w 243207"/>
                    <a:gd name="connsiteY384" fmla="*/ 331016 h 356188"/>
                    <a:gd name="connsiteX385" fmla="*/ 56343 w 243207"/>
                    <a:gd name="connsiteY385" fmla="*/ 332789 h 356188"/>
                    <a:gd name="connsiteX386" fmla="*/ 57096 w 243207"/>
                    <a:gd name="connsiteY386" fmla="*/ 325783 h 356188"/>
                    <a:gd name="connsiteX387" fmla="*/ 57800 w 243207"/>
                    <a:gd name="connsiteY387" fmla="*/ 319274 h 356188"/>
                    <a:gd name="connsiteX388" fmla="*/ 57909 w 243207"/>
                    <a:gd name="connsiteY388" fmla="*/ 318315 h 356188"/>
                    <a:gd name="connsiteX389" fmla="*/ 57703 w 243207"/>
                    <a:gd name="connsiteY389" fmla="*/ 317368 h 356188"/>
                    <a:gd name="connsiteX390" fmla="*/ 54339 w 243207"/>
                    <a:gd name="connsiteY390" fmla="*/ 301388 h 356188"/>
                    <a:gd name="connsiteX391" fmla="*/ 54339 w 243207"/>
                    <a:gd name="connsiteY391" fmla="*/ 293835 h 356188"/>
                    <a:gd name="connsiteX392" fmla="*/ 54607 w 243207"/>
                    <a:gd name="connsiteY392" fmla="*/ 292560 h 356188"/>
                    <a:gd name="connsiteX393" fmla="*/ 54692 w 243207"/>
                    <a:gd name="connsiteY393" fmla="*/ 292620 h 356188"/>
                    <a:gd name="connsiteX394" fmla="*/ 56659 w 243207"/>
                    <a:gd name="connsiteY394" fmla="*/ 295401 h 356188"/>
                    <a:gd name="connsiteX395" fmla="*/ 58128 w 243207"/>
                    <a:gd name="connsiteY395" fmla="*/ 298012 h 356188"/>
                    <a:gd name="connsiteX396" fmla="*/ 58954 w 243207"/>
                    <a:gd name="connsiteY396" fmla="*/ 297636 h 356188"/>
                    <a:gd name="connsiteX397" fmla="*/ 59088 w 243207"/>
                    <a:gd name="connsiteY397" fmla="*/ 298400 h 356188"/>
                    <a:gd name="connsiteX398" fmla="*/ 59258 w 243207"/>
                    <a:gd name="connsiteY398" fmla="*/ 299408 h 356188"/>
                    <a:gd name="connsiteX399" fmla="*/ 59585 w 243207"/>
                    <a:gd name="connsiteY399" fmla="*/ 301400 h 356188"/>
                    <a:gd name="connsiteX400" fmla="*/ 61030 w 243207"/>
                    <a:gd name="connsiteY400" fmla="*/ 302796 h 356188"/>
                    <a:gd name="connsiteX401" fmla="*/ 63010 w 243207"/>
                    <a:gd name="connsiteY401" fmla="*/ 304691 h 356188"/>
                    <a:gd name="connsiteX402" fmla="*/ 63787 w 243207"/>
                    <a:gd name="connsiteY402" fmla="*/ 308455 h 356188"/>
                    <a:gd name="connsiteX403" fmla="*/ 63920 w 243207"/>
                    <a:gd name="connsiteY403" fmla="*/ 309099 h 356188"/>
                    <a:gd name="connsiteX404" fmla="*/ 64187 w 243207"/>
                    <a:gd name="connsiteY404" fmla="*/ 309693 h 356188"/>
                    <a:gd name="connsiteX405" fmla="*/ 64940 w 243207"/>
                    <a:gd name="connsiteY405" fmla="*/ 311369 h 356188"/>
                    <a:gd name="connsiteX406" fmla="*/ 69117 w 243207"/>
                    <a:gd name="connsiteY406" fmla="*/ 325431 h 356188"/>
                    <a:gd name="connsiteX407" fmla="*/ 69955 w 243207"/>
                    <a:gd name="connsiteY407" fmla="*/ 329924 h 356188"/>
                    <a:gd name="connsiteX408" fmla="*/ 70235 w 243207"/>
                    <a:gd name="connsiteY408" fmla="*/ 331356 h 356188"/>
                    <a:gd name="connsiteX409" fmla="*/ 71133 w 243207"/>
                    <a:gd name="connsiteY409" fmla="*/ 332510 h 356188"/>
                    <a:gd name="connsiteX410" fmla="*/ 71643 w 243207"/>
                    <a:gd name="connsiteY410" fmla="*/ 333166 h 356188"/>
                    <a:gd name="connsiteX411" fmla="*/ 72748 w 243207"/>
                    <a:gd name="connsiteY411" fmla="*/ 334574 h 356188"/>
                    <a:gd name="connsiteX412" fmla="*/ 72821 w 243207"/>
                    <a:gd name="connsiteY412" fmla="*/ 336651 h 356188"/>
                    <a:gd name="connsiteX413" fmla="*/ 72869 w 243207"/>
                    <a:gd name="connsiteY413" fmla="*/ 337695 h 356188"/>
                    <a:gd name="connsiteX414" fmla="*/ 73246 w 243207"/>
                    <a:gd name="connsiteY414" fmla="*/ 338667 h 356188"/>
                    <a:gd name="connsiteX415" fmla="*/ 74060 w 243207"/>
                    <a:gd name="connsiteY415" fmla="*/ 340731 h 356188"/>
                    <a:gd name="connsiteX416" fmla="*/ 74473 w 243207"/>
                    <a:gd name="connsiteY416" fmla="*/ 341763 h 356188"/>
                    <a:gd name="connsiteX417" fmla="*/ 75225 w 243207"/>
                    <a:gd name="connsiteY417" fmla="*/ 342589 h 356188"/>
                    <a:gd name="connsiteX418" fmla="*/ 77630 w 243207"/>
                    <a:gd name="connsiteY418" fmla="*/ 345224 h 356188"/>
                    <a:gd name="connsiteX419" fmla="*/ 78637 w 243207"/>
                    <a:gd name="connsiteY419" fmla="*/ 346316 h 356188"/>
                    <a:gd name="connsiteX420" fmla="*/ 80034 w 243207"/>
                    <a:gd name="connsiteY420" fmla="*/ 346827 h 356188"/>
                    <a:gd name="connsiteX421" fmla="*/ 82572 w 243207"/>
                    <a:gd name="connsiteY421" fmla="*/ 347749 h 356188"/>
                    <a:gd name="connsiteX422" fmla="*/ 83058 w 243207"/>
                    <a:gd name="connsiteY422" fmla="*/ 347932 h 356188"/>
                    <a:gd name="connsiteX423" fmla="*/ 83580 w 243207"/>
                    <a:gd name="connsiteY423" fmla="*/ 348029 h 356188"/>
                    <a:gd name="connsiteX424" fmla="*/ 84782 w 243207"/>
                    <a:gd name="connsiteY424" fmla="*/ 348247 h 356188"/>
                    <a:gd name="connsiteX425" fmla="*/ 84782 w 243207"/>
                    <a:gd name="connsiteY425" fmla="*/ 350117 h 356188"/>
                    <a:gd name="connsiteX426" fmla="*/ 86263 w 243207"/>
                    <a:gd name="connsiteY426" fmla="*/ 351829 h 356188"/>
                    <a:gd name="connsiteX427" fmla="*/ 86834 w 243207"/>
                    <a:gd name="connsiteY427" fmla="*/ 352485 h 356188"/>
                    <a:gd name="connsiteX428" fmla="*/ 90040 w 243207"/>
                    <a:gd name="connsiteY428" fmla="*/ 356189 h 356188"/>
                    <a:gd name="connsiteX429" fmla="*/ 94338 w 243207"/>
                    <a:gd name="connsiteY429" fmla="*/ 353845 h 356188"/>
                    <a:gd name="connsiteX430" fmla="*/ 97386 w 243207"/>
                    <a:gd name="connsiteY430" fmla="*/ 352169 h 356188"/>
                    <a:gd name="connsiteX431" fmla="*/ 98515 w 243207"/>
                    <a:gd name="connsiteY431" fmla="*/ 351562 h 356188"/>
                    <a:gd name="connsiteX432" fmla="*/ 99281 w 243207"/>
                    <a:gd name="connsiteY432" fmla="*/ 350542 h 356188"/>
                    <a:gd name="connsiteX433" fmla="*/ 100410 w 243207"/>
                    <a:gd name="connsiteY433" fmla="*/ 349073 h 356188"/>
                    <a:gd name="connsiteX434" fmla="*/ 100956 w 243207"/>
                    <a:gd name="connsiteY434" fmla="*/ 348357 h 356188"/>
                    <a:gd name="connsiteX435" fmla="*/ 101090 w 243207"/>
                    <a:gd name="connsiteY435" fmla="*/ 348004 h 356188"/>
                    <a:gd name="connsiteX436" fmla="*/ 101636 w 243207"/>
                    <a:gd name="connsiteY436" fmla="*/ 348114 h 356188"/>
                    <a:gd name="connsiteX437" fmla="*/ 102911 w 243207"/>
                    <a:gd name="connsiteY437" fmla="*/ 348369 h 356188"/>
                    <a:gd name="connsiteX438" fmla="*/ 104174 w 243207"/>
                    <a:gd name="connsiteY438" fmla="*/ 348089 h 356188"/>
                    <a:gd name="connsiteX439" fmla="*/ 105498 w 243207"/>
                    <a:gd name="connsiteY439" fmla="*/ 347798 h 356188"/>
                    <a:gd name="connsiteX440" fmla="*/ 105826 w 243207"/>
                    <a:gd name="connsiteY440" fmla="*/ 347725 h 356188"/>
                    <a:gd name="connsiteX441" fmla="*/ 106154 w 243207"/>
                    <a:gd name="connsiteY441" fmla="*/ 347616 h 356188"/>
                    <a:gd name="connsiteX442" fmla="*/ 108327 w 243207"/>
                    <a:gd name="connsiteY442" fmla="*/ 346863 h 356188"/>
                    <a:gd name="connsiteX443" fmla="*/ 113051 w 243207"/>
                    <a:gd name="connsiteY443" fmla="*/ 345855 h 356188"/>
                    <a:gd name="connsiteX444" fmla="*/ 114083 w 243207"/>
                    <a:gd name="connsiteY444" fmla="*/ 345636 h 356188"/>
                    <a:gd name="connsiteX445" fmla="*/ 114981 w 243207"/>
                    <a:gd name="connsiteY445" fmla="*/ 345078 h 356188"/>
                    <a:gd name="connsiteX446" fmla="*/ 117289 w 243207"/>
                    <a:gd name="connsiteY446" fmla="*/ 343645 h 356188"/>
                    <a:gd name="connsiteX447" fmla="*/ 118029 w 243207"/>
                    <a:gd name="connsiteY447" fmla="*/ 343184 h 356188"/>
                    <a:gd name="connsiteX448" fmla="*/ 118612 w 243207"/>
                    <a:gd name="connsiteY448" fmla="*/ 342540 h 356188"/>
                    <a:gd name="connsiteX449" fmla="*/ 119766 w 243207"/>
                    <a:gd name="connsiteY449" fmla="*/ 341265 h 356188"/>
                    <a:gd name="connsiteX450" fmla="*/ 122656 w 243207"/>
                    <a:gd name="connsiteY450" fmla="*/ 338691 h 356188"/>
                    <a:gd name="connsiteX451" fmla="*/ 122911 w 243207"/>
                    <a:gd name="connsiteY451" fmla="*/ 338460 h 356188"/>
                    <a:gd name="connsiteX452" fmla="*/ 123141 w 243207"/>
                    <a:gd name="connsiteY452" fmla="*/ 338205 h 356188"/>
                    <a:gd name="connsiteX453" fmla="*/ 124465 w 243207"/>
                    <a:gd name="connsiteY453" fmla="*/ 336736 h 356188"/>
                    <a:gd name="connsiteX454" fmla="*/ 124720 w 243207"/>
                    <a:gd name="connsiteY454" fmla="*/ 336432 h 356188"/>
                    <a:gd name="connsiteX455" fmla="*/ 124951 w 243207"/>
                    <a:gd name="connsiteY455" fmla="*/ 336104 h 356188"/>
                    <a:gd name="connsiteX456" fmla="*/ 128120 w 243207"/>
                    <a:gd name="connsiteY456" fmla="*/ 331454 h 356188"/>
                    <a:gd name="connsiteX457" fmla="*/ 128666 w 243207"/>
                    <a:gd name="connsiteY457" fmla="*/ 330652 h 356188"/>
                    <a:gd name="connsiteX458" fmla="*/ 128691 w 243207"/>
                    <a:gd name="connsiteY458" fmla="*/ 330579 h 356188"/>
                    <a:gd name="connsiteX459" fmla="*/ 129492 w 243207"/>
                    <a:gd name="connsiteY459" fmla="*/ 330482 h 356188"/>
                    <a:gd name="connsiteX460" fmla="*/ 131411 w 243207"/>
                    <a:gd name="connsiteY460" fmla="*/ 328904 h 356188"/>
                    <a:gd name="connsiteX461" fmla="*/ 134289 w 243207"/>
                    <a:gd name="connsiteY461" fmla="*/ 325929 h 356188"/>
                    <a:gd name="connsiteX462" fmla="*/ 135090 w 243207"/>
                    <a:gd name="connsiteY462" fmla="*/ 325091 h 356188"/>
                    <a:gd name="connsiteX463" fmla="*/ 135539 w 243207"/>
                    <a:gd name="connsiteY463" fmla="*/ 324010 h 356188"/>
                    <a:gd name="connsiteX464" fmla="*/ 136292 w 243207"/>
                    <a:gd name="connsiteY464" fmla="*/ 322188 h 356188"/>
                    <a:gd name="connsiteX465" fmla="*/ 137069 w 243207"/>
                    <a:gd name="connsiteY465" fmla="*/ 320258 h 356188"/>
                    <a:gd name="connsiteX466" fmla="*/ 136511 w 243207"/>
                    <a:gd name="connsiteY466" fmla="*/ 318254 h 356188"/>
                    <a:gd name="connsiteX467" fmla="*/ 135867 w 243207"/>
                    <a:gd name="connsiteY467" fmla="*/ 315959 h 356188"/>
                    <a:gd name="connsiteX468" fmla="*/ 135770 w 243207"/>
                    <a:gd name="connsiteY468" fmla="*/ 315619 h 356188"/>
                    <a:gd name="connsiteX469" fmla="*/ 135636 w 243207"/>
                    <a:gd name="connsiteY469" fmla="*/ 315304 h 356188"/>
                    <a:gd name="connsiteX470" fmla="*/ 133378 w 243207"/>
                    <a:gd name="connsiteY470" fmla="*/ 309754 h 356188"/>
                    <a:gd name="connsiteX471" fmla="*/ 130670 w 243207"/>
                    <a:gd name="connsiteY471" fmla="*/ 296664 h 356188"/>
                    <a:gd name="connsiteX472" fmla="*/ 130548 w 243207"/>
                    <a:gd name="connsiteY472" fmla="*/ 296033 h 356188"/>
                    <a:gd name="connsiteX473" fmla="*/ 130293 w 243207"/>
                    <a:gd name="connsiteY473" fmla="*/ 295450 h 356188"/>
                    <a:gd name="connsiteX474" fmla="*/ 127877 w 243207"/>
                    <a:gd name="connsiteY474" fmla="*/ 289961 h 356188"/>
                    <a:gd name="connsiteX475" fmla="*/ 127148 w 243207"/>
                    <a:gd name="connsiteY475" fmla="*/ 284400 h 356188"/>
                    <a:gd name="connsiteX476" fmla="*/ 130014 w 243207"/>
                    <a:gd name="connsiteY476" fmla="*/ 276580 h 356188"/>
                    <a:gd name="connsiteX477" fmla="*/ 134993 w 243207"/>
                    <a:gd name="connsiteY477" fmla="*/ 268080 h 356188"/>
                    <a:gd name="connsiteX478" fmla="*/ 139291 w 243207"/>
                    <a:gd name="connsiteY478" fmla="*/ 262433 h 356188"/>
                    <a:gd name="connsiteX479" fmla="*/ 141052 w 243207"/>
                    <a:gd name="connsiteY479" fmla="*/ 260927 h 356188"/>
                    <a:gd name="connsiteX480" fmla="*/ 150572 w 243207"/>
                    <a:gd name="connsiteY480" fmla="*/ 256920 h 356188"/>
                    <a:gd name="connsiteX481" fmla="*/ 151179 w 243207"/>
                    <a:gd name="connsiteY481" fmla="*/ 256665 h 356188"/>
                    <a:gd name="connsiteX482" fmla="*/ 151714 w 243207"/>
                    <a:gd name="connsiteY482" fmla="*/ 256289 h 356188"/>
                    <a:gd name="connsiteX483" fmla="*/ 154701 w 243207"/>
                    <a:gd name="connsiteY483" fmla="*/ 254176 h 356188"/>
                    <a:gd name="connsiteX484" fmla="*/ 155211 w 243207"/>
                    <a:gd name="connsiteY484" fmla="*/ 253824 h 356188"/>
                    <a:gd name="connsiteX485" fmla="*/ 155636 w 243207"/>
                    <a:gd name="connsiteY485" fmla="*/ 253375 h 356188"/>
                    <a:gd name="connsiteX486" fmla="*/ 158113 w 243207"/>
                    <a:gd name="connsiteY486" fmla="*/ 250727 h 356188"/>
                    <a:gd name="connsiteX487" fmla="*/ 158538 w 243207"/>
                    <a:gd name="connsiteY487" fmla="*/ 250266 h 356188"/>
                    <a:gd name="connsiteX488" fmla="*/ 158866 w 243207"/>
                    <a:gd name="connsiteY488" fmla="*/ 249732 h 356188"/>
                    <a:gd name="connsiteX489" fmla="*/ 163116 w 243207"/>
                    <a:gd name="connsiteY489" fmla="*/ 242749 h 356188"/>
                    <a:gd name="connsiteX490" fmla="*/ 163930 w 243207"/>
                    <a:gd name="connsiteY490" fmla="*/ 241401 h 356188"/>
                    <a:gd name="connsiteX491" fmla="*/ 163990 w 243207"/>
                    <a:gd name="connsiteY491" fmla="*/ 239823 h 356188"/>
                    <a:gd name="connsiteX492" fmla="*/ 164269 w 243207"/>
                    <a:gd name="connsiteY492" fmla="*/ 232039 h 356188"/>
                    <a:gd name="connsiteX493" fmla="*/ 164294 w 243207"/>
                    <a:gd name="connsiteY493" fmla="*/ 231287 h 356188"/>
                    <a:gd name="connsiteX494" fmla="*/ 164124 w 243207"/>
                    <a:gd name="connsiteY494" fmla="*/ 230546 h 356188"/>
                    <a:gd name="connsiteX495" fmla="*/ 159303 w 243207"/>
                    <a:gd name="connsiteY495" fmla="*/ 208118 h 356188"/>
                    <a:gd name="connsiteX496" fmla="*/ 159267 w 243207"/>
                    <a:gd name="connsiteY496" fmla="*/ 206964 h 356188"/>
                    <a:gd name="connsiteX497" fmla="*/ 165193 w 243207"/>
                    <a:gd name="connsiteY497" fmla="*/ 213497 h 356188"/>
                    <a:gd name="connsiteX498" fmla="*/ 165945 w 243207"/>
                    <a:gd name="connsiteY498" fmla="*/ 214311 h 356188"/>
                    <a:gd name="connsiteX499" fmla="*/ 166929 w 243207"/>
                    <a:gd name="connsiteY499" fmla="*/ 214821 h 356188"/>
                    <a:gd name="connsiteX500" fmla="*/ 169770 w 243207"/>
                    <a:gd name="connsiteY500" fmla="*/ 216290 h 356188"/>
                    <a:gd name="connsiteX501" fmla="*/ 171798 w 243207"/>
                    <a:gd name="connsiteY501" fmla="*/ 217322 h 356188"/>
                    <a:gd name="connsiteX502" fmla="*/ 174020 w 243207"/>
                    <a:gd name="connsiteY502" fmla="*/ 216776 h 356188"/>
                    <a:gd name="connsiteX503" fmla="*/ 178392 w 243207"/>
                    <a:gd name="connsiteY503" fmla="*/ 215683 h 356188"/>
                    <a:gd name="connsiteX504" fmla="*/ 179752 w 243207"/>
                    <a:gd name="connsiteY504" fmla="*/ 215343 h 356188"/>
                    <a:gd name="connsiteX505" fmla="*/ 180833 w 243207"/>
                    <a:gd name="connsiteY505" fmla="*/ 214432 h 356188"/>
                    <a:gd name="connsiteX506" fmla="*/ 184111 w 243207"/>
                    <a:gd name="connsiteY506" fmla="*/ 211676 h 356188"/>
                    <a:gd name="connsiteX507" fmla="*/ 184670 w 243207"/>
                    <a:gd name="connsiteY507" fmla="*/ 211202 h 356188"/>
                    <a:gd name="connsiteX508" fmla="*/ 185095 w 243207"/>
                    <a:gd name="connsiteY508" fmla="*/ 210619 h 356188"/>
                    <a:gd name="connsiteX509" fmla="*/ 190984 w 243207"/>
                    <a:gd name="connsiteY509" fmla="*/ 202568 h 356188"/>
                    <a:gd name="connsiteX510" fmla="*/ 192757 w 243207"/>
                    <a:gd name="connsiteY510" fmla="*/ 200613 h 356188"/>
                    <a:gd name="connsiteX511" fmla="*/ 194845 w 243207"/>
                    <a:gd name="connsiteY511" fmla="*/ 199921 h 356188"/>
                    <a:gd name="connsiteX512" fmla="*/ 195416 w 243207"/>
                    <a:gd name="connsiteY512" fmla="*/ 200771 h 356188"/>
                    <a:gd name="connsiteX513" fmla="*/ 197056 w 243207"/>
                    <a:gd name="connsiteY513" fmla="*/ 207316 h 356188"/>
                    <a:gd name="connsiteX514" fmla="*/ 197347 w 243207"/>
                    <a:gd name="connsiteY514" fmla="*/ 208494 h 356188"/>
                    <a:gd name="connsiteX515" fmla="*/ 198075 w 243207"/>
                    <a:gd name="connsiteY515" fmla="*/ 209466 h 356188"/>
                    <a:gd name="connsiteX516" fmla="*/ 199885 w 243207"/>
                    <a:gd name="connsiteY516" fmla="*/ 211906 h 356188"/>
                    <a:gd name="connsiteX517" fmla="*/ 207159 w 243207"/>
                    <a:gd name="connsiteY517" fmla="*/ 221681 h 356188"/>
                    <a:gd name="connsiteX518" fmla="*/ 210583 w 243207"/>
                    <a:gd name="connsiteY518" fmla="*/ 210000 h 356188"/>
                    <a:gd name="connsiteX519" fmla="*/ 222094 w 243207"/>
                    <a:gd name="connsiteY519" fmla="*/ 170802 h 356188"/>
                    <a:gd name="connsiteX520" fmla="*/ 224535 w 243207"/>
                    <a:gd name="connsiteY520" fmla="*/ 162715 h 356188"/>
                    <a:gd name="connsiteX521" fmla="*/ 228421 w 243207"/>
                    <a:gd name="connsiteY521" fmla="*/ 151665 h 356188"/>
                    <a:gd name="connsiteX522" fmla="*/ 233229 w 243207"/>
                    <a:gd name="connsiteY522" fmla="*/ 146019 h 356188"/>
                    <a:gd name="connsiteX523" fmla="*/ 241632 w 243207"/>
                    <a:gd name="connsiteY523" fmla="*/ 131775 h 356188"/>
                    <a:gd name="connsiteX524" fmla="*/ 242786 w 243207"/>
                    <a:gd name="connsiteY524" fmla="*/ 106931 h 356188"/>
                    <a:gd name="connsiteX525" fmla="*/ 242300 w 243207"/>
                    <a:gd name="connsiteY525" fmla="*/ 103130 h 356188"/>
                    <a:gd name="connsiteX526" fmla="*/ 237710 w 243207"/>
                    <a:gd name="connsiteY526" fmla="*/ 81649 h 356188"/>
                    <a:gd name="connsiteX527" fmla="*/ 229708 w 243207"/>
                    <a:gd name="connsiteY527" fmla="*/ 66604 h 356188"/>
                    <a:gd name="connsiteX528" fmla="*/ 225288 w 243207"/>
                    <a:gd name="connsiteY528" fmla="*/ 61516 h 356188"/>
                    <a:gd name="connsiteX529" fmla="*/ 224912 w 243207"/>
                    <a:gd name="connsiteY529" fmla="*/ 55360 h 356188"/>
                    <a:gd name="connsiteX530" fmla="*/ 222774 w 243207"/>
                    <a:gd name="connsiteY530" fmla="*/ 42185 h 356188"/>
                    <a:gd name="connsiteX531" fmla="*/ 219945 w 243207"/>
                    <a:gd name="connsiteY531" fmla="*/ 35214 h 356188"/>
                    <a:gd name="connsiteX532" fmla="*/ 214784 w 243207"/>
                    <a:gd name="connsiteY532" fmla="*/ 22817 h 356188"/>
                    <a:gd name="connsiteX533" fmla="*/ 214493 w 243207"/>
                    <a:gd name="connsiteY533" fmla="*/ 22513 h 356188"/>
                    <a:gd name="connsiteX534" fmla="*/ 214177 w 243207"/>
                    <a:gd name="connsiteY534" fmla="*/ 22258 h 356188"/>
                    <a:gd name="connsiteX535" fmla="*/ 210352 w 243207"/>
                    <a:gd name="connsiteY535" fmla="*/ 19635 h 356188"/>
                    <a:gd name="connsiteX536" fmla="*/ 206624 w 243207"/>
                    <a:gd name="connsiteY536" fmla="*/ 17012 h 356188"/>
                    <a:gd name="connsiteX537" fmla="*/ 197869 w 243207"/>
                    <a:gd name="connsiteY537" fmla="*/ 0 h 356188"/>
                    <a:gd name="connsiteX538" fmla="*/ 197869 w 243207"/>
                    <a:gd name="connsiteY538" fmla="*/ 0 h 35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Lst>
                  <a:rect l="l" t="t" r="r" b="b"/>
                  <a:pathLst>
                    <a:path w="243207" h="356188">
                      <a:moveTo>
                        <a:pt x="201427" y="20048"/>
                      </a:moveTo>
                      <a:lnTo>
                        <a:pt x="201743" y="20667"/>
                      </a:lnTo>
                      <a:cubicBezTo>
                        <a:pt x="204341" y="23387"/>
                        <a:pt x="207790" y="24917"/>
                        <a:pt x="210473" y="27018"/>
                      </a:cubicBezTo>
                      <a:cubicBezTo>
                        <a:pt x="213096" y="29738"/>
                        <a:pt x="213594" y="32288"/>
                        <a:pt x="214007" y="36113"/>
                      </a:cubicBezTo>
                      <a:cubicBezTo>
                        <a:pt x="214481" y="39294"/>
                        <a:pt x="215671" y="41905"/>
                        <a:pt x="217565" y="45196"/>
                      </a:cubicBezTo>
                      <a:cubicBezTo>
                        <a:pt x="220746" y="50770"/>
                        <a:pt x="217310" y="58262"/>
                        <a:pt x="219799" y="63957"/>
                      </a:cubicBezTo>
                      <a:cubicBezTo>
                        <a:pt x="223357" y="72068"/>
                        <a:pt x="232476" y="72542"/>
                        <a:pt x="231675" y="82827"/>
                      </a:cubicBezTo>
                      <a:cubicBezTo>
                        <a:pt x="234990" y="89846"/>
                        <a:pt x="235816" y="100155"/>
                        <a:pt x="236860" y="107769"/>
                      </a:cubicBezTo>
                      <a:cubicBezTo>
                        <a:pt x="237819" y="114799"/>
                        <a:pt x="236666" y="123967"/>
                        <a:pt x="235706" y="130974"/>
                      </a:cubicBezTo>
                      <a:cubicBezTo>
                        <a:pt x="234504" y="139741"/>
                        <a:pt x="227121" y="141307"/>
                        <a:pt x="223126" y="148872"/>
                      </a:cubicBezTo>
                      <a:cubicBezTo>
                        <a:pt x="219483" y="155818"/>
                        <a:pt x="218949" y="162048"/>
                        <a:pt x="216338" y="169115"/>
                      </a:cubicBezTo>
                      <a:lnTo>
                        <a:pt x="204827" y="208312"/>
                      </a:lnTo>
                      <a:lnTo>
                        <a:pt x="203018" y="205871"/>
                      </a:lnTo>
                      <a:lnTo>
                        <a:pt x="201123" y="198294"/>
                      </a:lnTo>
                      <a:lnTo>
                        <a:pt x="197371" y="192721"/>
                      </a:lnTo>
                      <a:lnTo>
                        <a:pt x="189405" y="195392"/>
                      </a:lnTo>
                      <a:lnTo>
                        <a:pt x="186357" y="198756"/>
                      </a:lnTo>
                      <a:lnTo>
                        <a:pt x="180262" y="207025"/>
                      </a:lnTo>
                      <a:lnTo>
                        <a:pt x="176983" y="209781"/>
                      </a:lnTo>
                      <a:lnTo>
                        <a:pt x="172612" y="210874"/>
                      </a:lnTo>
                      <a:lnTo>
                        <a:pt x="169758" y="209405"/>
                      </a:lnTo>
                      <a:lnTo>
                        <a:pt x="161890" y="200735"/>
                      </a:lnTo>
                      <a:lnTo>
                        <a:pt x="159546" y="197043"/>
                      </a:lnTo>
                      <a:lnTo>
                        <a:pt x="157202" y="194311"/>
                      </a:lnTo>
                      <a:lnTo>
                        <a:pt x="154604" y="194421"/>
                      </a:lnTo>
                      <a:lnTo>
                        <a:pt x="153389" y="197043"/>
                      </a:lnTo>
                      <a:lnTo>
                        <a:pt x="153062" y="201318"/>
                      </a:lnTo>
                      <a:lnTo>
                        <a:pt x="153329" y="208858"/>
                      </a:lnTo>
                      <a:lnTo>
                        <a:pt x="158271" y="231809"/>
                      </a:lnTo>
                      <a:lnTo>
                        <a:pt x="157992" y="239580"/>
                      </a:lnTo>
                      <a:lnTo>
                        <a:pt x="153742" y="246562"/>
                      </a:lnTo>
                      <a:lnTo>
                        <a:pt x="151265" y="249209"/>
                      </a:lnTo>
                      <a:lnTo>
                        <a:pt x="148277" y="251322"/>
                      </a:lnTo>
                      <a:lnTo>
                        <a:pt x="137895" y="255694"/>
                      </a:lnTo>
                      <a:lnTo>
                        <a:pt x="134920" y="258244"/>
                      </a:lnTo>
                      <a:lnTo>
                        <a:pt x="130026" y="264704"/>
                      </a:lnTo>
                      <a:lnTo>
                        <a:pt x="124586" y="273981"/>
                      </a:lnTo>
                      <a:lnTo>
                        <a:pt x="121017" y="283708"/>
                      </a:lnTo>
                      <a:lnTo>
                        <a:pt x="122049" y="291600"/>
                      </a:lnTo>
                      <a:lnTo>
                        <a:pt x="124817" y="297891"/>
                      </a:lnTo>
                      <a:lnTo>
                        <a:pt x="127622" y="311527"/>
                      </a:lnTo>
                      <a:lnTo>
                        <a:pt x="130087" y="317586"/>
                      </a:lnTo>
                      <a:lnTo>
                        <a:pt x="130731" y="319881"/>
                      </a:lnTo>
                      <a:lnTo>
                        <a:pt x="129978" y="321703"/>
                      </a:lnTo>
                      <a:lnTo>
                        <a:pt x="127100" y="324678"/>
                      </a:lnTo>
                      <a:lnTo>
                        <a:pt x="126651" y="324739"/>
                      </a:lnTo>
                      <a:lnTo>
                        <a:pt x="124878" y="324605"/>
                      </a:lnTo>
                      <a:lnTo>
                        <a:pt x="124246" y="324617"/>
                      </a:lnTo>
                      <a:lnTo>
                        <a:pt x="123323" y="325406"/>
                      </a:lnTo>
                      <a:lnTo>
                        <a:pt x="123263" y="326354"/>
                      </a:lnTo>
                      <a:lnTo>
                        <a:pt x="123384" y="327264"/>
                      </a:lnTo>
                      <a:lnTo>
                        <a:pt x="123154" y="328041"/>
                      </a:lnTo>
                      <a:lnTo>
                        <a:pt x="119984" y="332692"/>
                      </a:lnTo>
                      <a:lnTo>
                        <a:pt x="118673" y="334161"/>
                      </a:lnTo>
                      <a:lnTo>
                        <a:pt x="115516" y="336967"/>
                      </a:lnTo>
                      <a:lnTo>
                        <a:pt x="114144" y="338496"/>
                      </a:lnTo>
                      <a:lnTo>
                        <a:pt x="111836" y="339929"/>
                      </a:lnTo>
                      <a:lnTo>
                        <a:pt x="106736" y="341022"/>
                      </a:lnTo>
                      <a:lnTo>
                        <a:pt x="104211" y="341909"/>
                      </a:lnTo>
                      <a:lnTo>
                        <a:pt x="102899" y="342200"/>
                      </a:lnTo>
                      <a:lnTo>
                        <a:pt x="101576" y="341933"/>
                      </a:lnTo>
                      <a:lnTo>
                        <a:pt x="100252" y="341484"/>
                      </a:lnTo>
                      <a:lnTo>
                        <a:pt x="98953" y="341216"/>
                      </a:lnTo>
                      <a:lnTo>
                        <a:pt x="97204" y="341909"/>
                      </a:lnTo>
                      <a:lnTo>
                        <a:pt x="96354" y="343548"/>
                      </a:lnTo>
                      <a:lnTo>
                        <a:pt x="95650" y="345406"/>
                      </a:lnTo>
                      <a:lnTo>
                        <a:pt x="94521" y="346875"/>
                      </a:lnTo>
                      <a:lnTo>
                        <a:pt x="91473" y="348539"/>
                      </a:lnTo>
                      <a:lnTo>
                        <a:pt x="90902" y="347883"/>
                      </a:lnTo>
                      <a:lnTo>
                        <a:pt x="90902" y="345928"/>
                      </a:lnTo>
                      <a:lnTo>
                        <a:pt x="89736" y="343754"/>
                      </a:lnTo>
                      <a:lnTo>
                        <a:pt x="87150" y="342516"/>
                      </a:lnTo>
                      <a:lnTo>
                        <a:pt x="84697" y="342079"/>
                      </a:lnTo>
                      <a:lnTo>
                        <a:pt x="82159" y="341156"/>
                      </a:lnTo>
                      <a:lnTo>
                        <a:pt x="79755" y="338521"/>
                      </a:lnTo>
                      <a:lnTo>
                        <a:pt x="78941" y="336456"/>
                      </a:lnTo>
                      <a:lnTo>
                        <a:pt x="78723" y="330628"/>
                      </a:lnTo>
                      <a:lnTo>
                        <a:pt x="78261" y="329911"/>
                      </a:lnTo>
                      <a:lnTo>
                        <a:pt x="76476" y="329450"/>
                      </a:lnTo>
                      <a:lnTo>
                        <a:pt x="75966" y="328794"/>
                      </a:lnTo>
                      <a:lnTo>
                        <a:pt x="74982" y="323731"/>
                      </a:lnTo>
                      <a:lnTo>
                        <a:pt x="70684" y="309293"/>
                      </a:lnTo>
                      <a:lnTo>
                        <a:pt x="69773" y="307253"/>
                      </a:lnTo>
                      <a:lnTo>
                        <a:pt x="68510" y="301169"/>
                      </a:lnTo>
                      <a:lnTo>
                        <a:pt x="68049" y="301108"/>
                      </a:lnTo>
                      <a:lnTo>
                        <a:pt x="65280" y="298449"/>
                      </a:lnTo>
                      <a:lnTo>
                        <a:pt x="65110" y="297441"/>
                      </a:lnTo>
                      <a:lnTo>
                        <a:pt x="65341" y="296276"/>
                      </a:lnTo>
                      <a:lnTo>
                        <a:pt x="65280" y="294940"/>
                      </a:lnTo>
                      <a:lnTo>
                        <a:pt x="64078" y="293361"/>
                      </a:lnTo>
                      <a:lnTo>
                        <a:pt x="64018" y="293531"/>
                      </a:lnTo>
                      <a:lnTo>
                        <a:pt x="63386" y="294903"/>
                      </a:lnTo>
                      <a:lnTo>
                        <a:pt x="63447" y="295073"/>
                      </a:lnTo>
                      <a:lnTo>
                        <a:pt x="61820" y="292183"/>
                      </a:lnTo>
                      <a:lnTo>
                        <a:pt x="59136" y="288395"/>
                      </a:lnTo>
                      <a:lnTo>
                        <a:pt x="55517" y="285638"/>
                      </a:lnTo>
                      <a:lnTo>
                        <a:pt x="51316" y="285772"/>
                      </a:lnTo>
                      <a:lnTo>
                        <a:pt x="49252" y="288625"/>
                      </a:lnTo>
                      <a:lnTo>
                        <a:pt x="48280" y="293240"/>
                      </a:lnTo>
                      <a:lnTo>
                        <a:pt x="48280" y="302056"/>
                      </a:lnTo>
                      <a:lnTo>
                        <a:pt x="51777" y="318655"/>
                      </a:lnTo>
                      <a:lnTo>
                        <a:pt x="51073" y="325164"/>
                      </a:lnTo>
                      <a:lnTo>
                        <a:pt x="44819" y="323536"/>
                      </a:lnTo>
                      <a:lnTo>
                        <a:pt x="40339" y="317586"/>
                      </a:lnTo>
                      <a:lnTo>
                        <a:pt x="37874" y="309439"/>
                      </a:lnTo>
                      <a:lnTo>
                        <a:pt x="33514" y="277600"/>
                      </a:lnTo>
                      <a:lnTo>
                        <a:pt x="32713" y="275560"/>
                      </a:lnTo>
                      <a:lnTo>
                        <a:pt x="31741" y="273981"/>
                      </a:lnTo>
                      <a:lnTo>
                        <a:pt x="31389" y="272427"/>
                      </a:lnTo>
                      <a:lnTo>
                        <a:pt x="32713" y="270617"/>
                      </a:lnTo>
                      <a:lnTo>
                        <a:pt x="34607" y="268808"/>
                      </a:lnTo>
                      <a:lnTo>
                        <a:pt x="35396" y="267230"/>
                      </a:lnTo>
                      <a:lnTo>
                        <a:pt x="34777" y="266088"/>
                      </a:lnTo>
                      <a:lnTo>
                        <a:pt x="32349" y="265445"/>
                      </a:lnTo>
                      <a:lnTo>
                        <a:pt x="29945" y="263647"/>
                      </a:lnTo>
                      <a:lnTo>
                        <a:pt x="28062" y="259677"/>
                      </a:lnTo>
                      <a:lnTo>
                        <a:pt x="25537" y="251237"/>
                      </a:lnTo>
                      <a:lnTo>
                        <a:pt x="24613" y="246332"/>
                      </a:lnTo>
                      <a:lnTo>
                        <a:pt x="24164" y="244814"/>
                      </a:lnTo>
                      <a:lnTo>
                        <a:pt x="22950" y="243004"/>
                      </a:lnTo>
                      <a:lnTo>
                        <a:pt x="19672" y="241025"/>
                      </a:lnTo>
                      <a:lnTo>
                        <a:pt x="18129" y="239580"/>
                      </a:lnTo>
                      <a:lnTo>
                        <a:pt x="16393" y="236338"/>
                      </a:lnTo>
                      <a:lnTo>
                        <a:pt x="14838" y="229854"/>
                      </a:lnTo>
                      <a:lnTo>
                        <a:pt x="13406" y="226344"/>
                      </a:lnTo>
                      <a:lnTo>
                        <a:pt x="7954" y="216411"/>
                      </a:lnTo>
                      <a:lnTo>
                        <a:pt x="7091" y="212963"/>
                      </a:lnTo>
                      <a:lnTo>
                        <a:pt x="7735" y="208203"/>
                      </a:lnTo>
                      <a:lnTo>
                        <a:pt x="10078" y="207887"/>
                      </a:lnTo>
                      <a:lnTo>
                        <a:pt x="12786" y="208081"/>
                      </a:lnTo>
                      <a:lnTo>
                        <a:pt x="14402" y="204876"/>
                      </a:lnTo>
                      <a:lnTo>
                        <a:pt x="13236" y="201888"/>
                      </a:lnTo>
                      <a:lnTo>
                        <a:pt x="10127" y="200759"/>
                      </a:lnTo>
                      <a:lnTo>
                        <a:pt x="7140" y="199217"/>
                      </a:lnTo>
                      <a:lnTo>
                        <a:pt x="6339" y="194882"/>
                      </a:lnTo>
                      <a:lnTo>
                        <a:pt x="8111" y="191057"/>
                      </a:lnTo>
                      <a:lnTo>
                        <a:pt x="11038" y="190061"/>
                      </a:lnTo>
                      <a:lnTo>
                        <a:pt x="14657" y="189745"/>
                      </a:lnTo>
                      <a:lnTo>
                        <a:pt x="18117" y="188045"/>
                      </a:lnTo>
                      <a:lnTo>
                        <a:pt x="19999" y="184779"/>
                      </a:lnTo>
                      <a:lnTo>
                        <a:pt x="23788" y="173948"/>
                      </a:lnTo>
                      <a:lnTo>
                        <a:pt x="24298" y="170220"/>
                      </a:lnTo>
                      <a:lnTo>
                        <a:pt x="23557" y="167755"/>
                      </a:lnTo>
                      <a:lnTo>
                        <a:pt x="21432" y="163128"/>
                      </a:lnTo>
                      <a:lnTo>
                        <a:pt x="21250" y="160396"/>
                      </a:lnTo>
                      <a:lnTo>
                        <a:pt x="22051" y="157640"/>
                      </a:lnTo>
                      <a:lnTo>
                        <a:pt x="28487" y="146589"/>
                      </a:lnTo>
                      <a:lnTo>
                        <a:pt x="30418" y="143942"/>
                      </a:lnTo>
                      <a:lnTo>
                        <a:pt x="32895" y="141793"/>
                      </a:lnTo>
                      <a:lnTo>
                        <a:pt x="36186" y="140469"/>
                      </a:lnTo>
                      <a:lnTo>
                        <a:pt x="38699" y="140676"/>
                      </a:lnTo>
                      <a:lnTo>
                        <a:pt x="39343" y="140931"/>
                      </a:lnTo>
                      <a:lnTo>
                        <a:pt x="40836" y="141538"/>
                      </a:lnTo>
                      <a:lnTo>
                        <a:pt x="42852" y="141854"/>
                      </a:lnTo>
                      <a:lnTo>
                        <a:pt x="45074" y="140397"/>
                      </a:lnTo>
                      <a:lnTo>
                        <a:pt x="47029" y="132297"/>
                      </a:lnTo>
                      <a:lnTo>
                        <a:pt x="47321" y="124720"/>
                      </a:lnTo>
                      <a:lnTo>
                        <a:pt x="49604" y="119608"/>
                      </a:lnTo>
                      <a:lnTo>
                        <a:pt x="57363" y="118964"/>
                      </a:lnTo>
                      <a:lnTo>
                        <a:pt x="71607" y="121964"/>
                      </a:lnTo>
                      <a:lnTo>
                        <a:pt x="78553" y="122534"/>
                      </a:lnTo>
                      <a:lnTo>
                        <a:pt x="86312" y="121636"/>
                      </a:lnTo>
                      <a:lnTo>
                        <a:pt x="90610" y="120349"/>
                      </a:lnTo>
                      <a:lnTo>
                        <a:pt x="93391" y="118600"/>
                      </a:lnTo>
                      <a:lnTo>
                        <a:pt x="95164" y="115844"/>
                      </a:lnTo>
                      <a:lnTo>
                        <a:pt x="96658" y="111618"/>
                      </a:lnTo>
                      <a:lnTo>
                        <a:pt x="98661" y="99013"/>
                      </a:lnTo>
                      <a:lnTo>
                        <a:pt x="99475" y="96658"/>
                      </a:lnTo>
                      <a:lnTo>
                        <a:pt x="101478" y="97374"/>
                      </a:lnTo>
                      <a:lnTo>
                        <a:pt x="104745" y="105389"/>
                      </a:lnTo>
                      <a:lnTo>
                        <a:pt x="106493" y="108461"/>
                      </a:lnTo>
                      <a:lnTo>
                        <a:pt x="109796" y="110537"/>
                      </a:lnTo>
                      <a:lnTo>
                        <a:pt x="113488" y="111047"/>
                      </a:lnTo>
                      <a:lnTo>
                        <a:pt x="116766" y="109833"/>
                      </a:lnTo>
                      <a:lnTo>
                        <a:pt x="118940" y="106797"/>
                      </a:lnTo>
                      <a:lnTo>
                        <a:pt x="118843" y="103349"/>
                      </a:lnTo>
                      <a:lnTo>
                        <a:pt x="117628" y="99305"/>
                      </a:lnTo>
                      <a:lnTo>
                        <a:pt x="117119" y="95541"/>
                      </a:lnTo>
                      <a:lnTo>
                        <a:pt x="119001" y="92906"/>
                      </a:lnTo>
                      <a:lnTo>
                        <a:pt x="130937" y="95395"/>
                      </a:lnTo>
                      <a:lnTo>
                        <a:pt x="132892" y="95516"/>
                      </a:lnTo>
                      <a:lnTo>
                        <a:pt x="133414" y="96804"/>
                      </a:lnTo>
                      <a:lnTo>
                        <a:pt x="133694" y="101284"/>
                      </a:lnTo>
                      <a:lnTo>
                        <a:pt x="134143" y="103057"/>
                      </a:lnTo>
                      <a:lnTo>
                        <a:pt x="139838" y="108570"/>
                      </a:lnTo>
                      <a:lnTo>
                        <a:pt x="143663" y="109529"/>
                      </a:lnTo>
                      <a:lnTo>
                        <a:pt x="146031" y="108060"/>
                      </a:lnTo>
                      <a:lnTo>
                        <a:pt x="147342" y="104551"/>
                      </a:lnTo>
                      <a:lnTo>
                        <a:pt x="151422" y="87648"/>
                      </a:lnTo>
                      <a:lnTo>
                        <a:pt x="151604" y="83713"/>
                      </a:lnTo>
                      <a:lnTo>
                        <a:pt x="149650" y="75821"/>
                      </a:lnTo>
                      <a:lnTo>
                        <a:pt x="150269" y="72262"/>
                      </a:lnTo>
                      <a:lnTo>
                        <a:pt x="154422" y="70963"/>
                      </a:lnTo>
                      <a:lnTo>
                        <a:pt x="156146" y="72457"/>
                      </a:lnTo>
                      <a:lnTo>
                        <a:pt x="160287" y="75238"/>
                      </a:lnTo>
                      <a:lnTo>
                        <a:pt x="163844" y="76622"/>
                      </a:lnTo>
                      <a:lnTo>
                        <a:pt x="163723" y="73914"/>
                      </a:lnTo>
                      <a:lnTo>
                        <a:pt x="159473" y="67175"/>
                      </a:lnTo>
                      <a:lnTo>
                        <a:pt x="159716" y="64819"/>
                      </a:lnTo>
                      <a:lnTo>
                        <a:pt x="175332" y="66106"/>
                      </a:lnTo>
                      <a:lnTo>
                        <a:pt x="180833" y="65681"/>
                      </a:lnTo>
                      <a:lnTo>
                        <a:pt x="185605" y="63580"/>
                      </a:lnTo>
                      <a:lnTo>
                        <a:pt x="189272" y="58735"/>
                      </a:lnTo>
                      <a:lnTo>
                        <a:pt x="189915" y="53113"/>
                      </a:lnTo>
                      <a:lnTo>
                        <a:pt x="188944" y="40970"/>
                      </a:lnTo>
                      <a:lnTo>
                        <a:pt x="189867" y="37169"/>
                      </a:lnTo>
                      <a:lnTo>
                        <a:pt x="192150" y="34959"/>
                      </a:lnTo>
                      <a:lnTo>
                        <a:pt x="195076" y="33296"/>
                      </a:lnTo>
                      <a:lnTo>
                        <a:pt x="197213" y="31632"/>
                      </a:lnTo>
                      <a:lnTo>
                        <a:pt x="197784" y="31147"/>
                      </a:lnTo>
                      <a:lnTo>
                        <a:pt x="199727" y="28244"/>
                      </a:lnTo>
                      <a:lnTo>
                        <a:pt x="200771" y="25233"/>
                      </a:lnTo>
                      <a:lnTo>
                        <a:pt x="201427" y="20048"/>
                      </a:lnTo>
                      <a:moveTo>
                        <a:pt x="197869" y="0"/>
                      </a:moveTo>
                      <a:lnTo>
                        <a:pt x="195404" y="19271"/>
                      </a:lnTo>
                      <a:lnTo>
                        <a:pt x="194821" y="23849"/>
                      </a:lnTo>
                      <a:lnTo>
                        <a:pt x="194238" y="25524"/>
                      </a:lnTo>
                      <a:lnTo>
                        <a:pt x="193194" y="27066"/>
                      </a:lnTo>
                      <a:lnTo>
                        <a:pt x="191688" y="28232"/>
                      </a:lnTo>
                      <a:lnTo>
                        <a:pt x="189138" y="29689"/>
                      </a:lnTo>
                      <a:lnTo>
                        <a:pt x="188471" y="30066"/>
                      </a:lnTo>
                      <a:lnTo>
                        <a:pt x="187912" y="30600"/>
                      </a:lnTo>
                      <a:lnTo>
                        <a:pt x="185629" y="32810"/>
                      </a:lnTo>
                      <a:lnTo>
                        <a:pt x="184366" y="34037"/>
                      </a:lnTo>
                      <a:lnTo>
                        <a:pt x="183941" y="35749"/>
                      </a:lnTo>
                      <a:lnTo>
                        <a:pt x="183018" y="39549"/>
                      </a:lnTo>
                      <a:lnTo>
                        <a:pt x="182787" y="40497"/>
                      </a:lnTo>
                      <a:lnTo>
                        <a:pt x="182873" y="41468"/>
                      </a:lnTo>
                      <a:lnTo>
                        <a:pt x="183795" y="53028"/>
                      </a:lnTo>
                      <a:lnTo>
                        <a:pt x="183407" y="56416"/>
                      </a:lnTo>
                      <a:lnTo>
                        <a:pt x="181695" y="58675"/>
                      </a:lnTo>
                      <a:lnTo>
                        <a:pt x="179315" y="59719"/>
                      </a:lnTo>
                      <a:lnTo>
                        <a:pt x="175332" y="60022"/>
                      </a:lnTo>
                      <a:lnTo>
                        <a:pt x="160202" y="58772"/>
                      </a:lnTo>
                      <a:lnTo>
                        <a:pt x="154264" y="58286"/>
                      </a:lnTo>
                      <a:lnTo>
                        <a:pt x="153669" y="64212"/>
                      </a:lnTo>
                      <a:lnTo>
                        <a:pt x="153596" y="64855"/>
                      </a:lnTo>
                      <a:lnTo>
                        <a:pt x="152600" y="65171"/>
                      </a:lnTo>
                      <a:lnTo>
                        <a:pt x="148447" y="66470"/>
                      </a:lnTo>
                      <a:lnTo>
                        <a:pt x="144914" y="67575"/>
                      </a:lnTo>
                      <a:lnTo>
                        <a:pt x="144282" y="71230"/>
                      </a:lnTo>
                      <a:lnTo>
                        <a:pt x="143663" y="74788"/>
                      </a:lnTo>
                      <a:lnTo>
                        <a:pt x="143432" y="76051"/>
                      </a:lnTo>
                      <a:lnTo>
                        <a:pt x="143736" y="77290"/>
                      </a:lnTo>
                      <a:lnTo>
                        <a:pt x="145484" y="84333"/>
                      </a:lnTo>
                      <a:lnTo>
                        <a:pt x="145375" y="86798"/>
                      </a:lnTo>
                      <a:lnTo>
                        <a:pt x="141708" y="101964"/>
                      </a:lnTo>
                      <a:lnTo>
                        <a:pt x="139668" y="99985"/>
                      </a:lnTo>
                      <a:lnTo>
                        <a:pt x="139437" y="96427"/>
                      </a:lnTo>
                      <a:lnTo>
                        <a:pt x="139377" y="95444"/>
                      </a:lnTo>
                      <a:lnTo>
                        <a:pt x="139012" y="94533"/>
                      </a:lnTo>
                      <a:lnTo>
                        <a:pt x="138490" y="93246"/>
                      </a:lnTo>
                      <a:lnTo>
                        <a:pt x="137057" y="89688"/>
                      </a:lnTo>
                      <a:lnTo>
                        <a:pt x="133232" y="89457"/>
                      </a:lnTo>
                      <a:lnTo>
                        <a:pt x="131714" y="89360"/>
                      </a:lnTo>
                      <a:lnTo>
                        <a:pt x="120203" y="86968"/>
                      </a:lnTo>
                      <a:lnTo>
                        <a:pt x="116341" y="86154"/>
                      </a:lnTo>
                      <a:lnTo>
                        <a:pt x="114046" y="89372"/>
                      </a:lnTo>
                      <a:lnTo>
                        <a:pt x="112164" y="92007"/>
                      </a:lnTo>
                      <a:lnTo>
                        <a:pt x="110756" y="93962"/>
                      </a:lnTo>
                      <a:lnTo>
                        <a:pt x="111083" y="96354"/>
                      </a:lnTo>
                      <a:lnTo>
                        <a:pt x="111594" y="100118"/>
                      </a:lnTo>
                      <a:lnTo>
                        <a:pt x="111654" y="100592"/>
                      </a:lnTo>
                      <a:lnTo>
                        <a:pt x="111800" y="101041"/>
                      </a:lnTo>
                      <a:lnTo>
                        <a:pt x="112771" y="104320"/>
                      </a:lnTo>
                      <a:lnTo>
                        <a:pt x="112784" y="104830"/>
                      </a:lnTo>
                      <a:lnTo>
                        <a:pt x="111909" y="104709"/>
                      </a:lnTo>
                      <a:lnTo>
                        <a:pt x="111011" y="104138"/>
                      </a:lnTo>
                      <a:lnTo>
                        <a:pt x="110221" y="102741"/>
                      </a:lnTo>
                      <a:lnTo>
                        <a:pt x="107100" y="95091"/>
                      </a:lnTo>
                      <a:lnTo>
                        <a:pt x="106081" y="92578"/>
                      </a:lnTo>
                      <a:lnTo>
                        <a:pt x="103531" y="91667"/>
                      </a:lnTo>
                      <a:lnTo>
                        <a:pt x="101527" y="90950"/>
                      </a:lnTo>
                      <a:lnTo>
                        <a:pt x="95747" y="88886"/>
                      </a:lnTo>
                      <a:lnTo>
                        <a:pt x="93731" y="94678"/>
                      </a:lnTo>
                      <a:lnTo>
                        <a:pt x="92917" y="97034"/>
                      </a:lnTo>
                      <a:lnTo>
                        <a:pt x="92736" y="97544"/>
                      </a:lnTo>
                      <a:lnTo>
                        <a:pt x="92651" y="98066"/>
                      </a:lnTo>
                      <a:lnTo>
                        <a:pt x="90744" y="110124"/>
                      </a:lnTo>
                      <a:lnTo>
                        <a:pt x="89663" y="113160"/>
                      </a:lnTo>
                      <a:lnTo>
                        <a:pt x="89008" y="114180"/>
                      </a:lnTo>
                      <a:lnTo>
                        <a:pt x="88073" y="114763"/>
                      </a:lnTo>
                      <a:lnTo>
                        <a:pt x="85085" y="115661"/>
                      </a:lnTo>
                      <a:lnTo>
                        <a:pt x="78456" y="116426"/>
                      </a:lnTo>
                      <a:lnTo>
                        <a:pt x="72493" y="115941"/>
                      </a:lnTo>
                      <a:lnTo>
                        <a:pt x="58626" y="113014"/>
                      </a:lnTo>
                      <a:lnTo>
                        <a:pt x="57752" y="112832"/>
                      </a:lnTo>
                      <a:lnTo>
                        <a:pt x="56877" y="112905"/>
                      </a:lnTo>
                      <a:lnTo>
                        <a:pt x="49118" y="113549"/>
                      </a:lnTo>
                      <a:lnTo>
                        <a:pt x="45536" y="113840"/>
                      </a:lnTo>
                      <a:lnTo>
                        <a:pt x="44079" y="117119"/>
                      </a:lnTo>
                      <a:lnTo>
                        <a:pt x="41796" y="122231"/>
                      </a:lnTo>
                      <a:lnTo>
                        <a:pt x="41310" y="123299"/>
                      </a:lnTo>
                      <a:lnTo>
                        <a:pt x="41261" y="124477"/>
                      </a:lnTo>
                      <a:lnTo>
                        <a:pt x="40994" y="131447"/>
                      </a:lnTo>
                      <a:lnTo>
                        <a:pt x="40217" y="134726"/>
                      </a:lnTo>
                      <a:lnTo>
                        <a:pt x="40120" y="134689"/>
                      </a:lnTo>
                      <a:lnTo>
                        <a:pt x="39221" y="134617"/>
                      </a:lnTo>
                      <a:lnTo>
                        <a:pt x="36708" y="134410"/>
                      </a:lnTo>
                      <a:lnTo>
                        <a:pt x="35275" y="134301"/>
                      </a:lnTo>
                      <a:lnTo>
                        <a:pt x="33952" y="134835"/>
                      </a:lnTo>
                      <a:lnTo>
                        <a:pt x="30661" y="136159"/>
                      </a:lnTo>
                      <a:lnTo>
                        <a:pt x="29714" y="136535"/>
                      </a:lnTo>
                      <a:lnTo>
                        <a:pt x="28949" y="137203"/>
                      </a:lnTo>
                      <a:lnTo>
                        <a:pt x="26472" y="139352"/>
                      </a:lnTo>
                      <a:lnTo>
                        <a:pt x="25962" y="139802"/>
                      </a:lnTo>
                      <a:lnTo>
                        <a:pt x="25561" y="140348"/>
                      </a:lnTo>
                      <a:lnTo>
                        <a:pt x="23630" y="142995"/>
                      </a:lnTo>
                      <a:lnTo>
                        <a:pt x="23436" y="143250"/>
                      </a:lnTo>
                      <a:lnTo>
                        <a:pt x="23278" y="143517"/>
                      </a:lnTo>
                      <a:lnTo>
                        <a:pt x="16842" y="154567"/>
                      </a:lnTo>
                      <a:lnTo>
                        <a:pt x="16466" y="155211"/>
                      </a:lnTo>
                      <a:lnTo>
                        <a:pt x="16259" y="155928"/>
                      </a:lnTo>
                      <a:lnTo>
                        <a:pt x="15458" y="158684"/>
                      </a:lnTo>
                      <a:lnTo>
                        <a:pt x="15154" y="159704"/>
                      </a:lnTo>
                      <a:lnTo>
                        <a:pt x="15227" y="160772"/>
                      </a:lnTo>
                      <a:lnTo>
                        <a:pt x="15409" y="163505"/>
                      </a:lnTo>
                      <a:lnTo>
                        <a:pt x="15482" y="164622"/>
                      </a:lnTo>
                      <a:lnTo>
                        <a:pt x="15956" y="165642"/>
                      </a:lnTo>
                      <a:lnTo>
                        <a:pt x="17899" y="169880"/>
                      </a:lnTo>
                      <a:lnTo>
                        <a:pt x="18141" y="170669"/>
                      </a:lnTo>
                      <a:lnTo>
                        <a:pt x="17886" y="172490"/>
                      </a:lnTo>
                      <a:lnTo>
                        <a:pt x="14486" y="182217"/>
                      </a:lnTo>
                      <a:lnTo>
                        <a:pt x="13806" y="183383"/>
                      </a:lnTo>
                      <a:lnTo>
                        <a:pt x="13029" y="183771"/>
                      </a:lnTo>
                      <a:lnTo>
                        <a:pt x="10504" y="184014"/>
                      </a:lnTo>
                      <a:lnTo>
                        <a:pt x="9763" y="184075"/>
                      </a:lnTo>
                      <a:lnTo>
                        <a:pt x="9059" y="184305"/>
                      </a:lnTo>
                      <a:lnTo>
                        <a:pt x="6132" y="185301"/>
                      </a:lnTo>
                      <a:lnTo>
                        <a:pt x="3667" y="186139"/>
                      </a:lnTo>
                      <a:lnTo>
                        <a:pt x="2574" y="188495"/>
                      </a:lnTo>
                      <a:lnTo>
                        <a:pt x="801" y="192320"/>
                      </a:lnTo>
                      <a:lnTo>
                        <a:pt x="0" y="194056"/>
                      </a:lnTo>
                      <a:lnTo>
                        <a:pt x="340" y="195938"/>
                      </a:lnTo>
                      <a:lnTo>
                        <a:pt x="1117" y="200273"/>
                      </a:lnTo>
                      <a:lnTo>
                        <a:pt x="1651" y="203224"/>
                      </a:lnTo>
                      <a:lnTo>
                        <a:pt x="2198" y="203504"/>
                      </a:lnTo>
                      <a:lnTo>
                        <a:pt x="1676" y="207377"/>
                      </a:lnTo>
                      <a:lnTo>
                        <a:pt x="1032" y="212137"/>
                      </a:lnTo>
                      <a:lnTo>
                        <a:pt x="862" y="213303"/>
                      </a:lnTo>
                      <a:lnTo>
                        <a:pt x="1141" y="214432"/>
                      </a:lnTo>
                      <a:lnTo>
                        <a:pt x="2003" y="217881"/>
                      </a:lnTo>
                      <a:lnTo>
                        <a:pt x="2198" y="218633"/>
                      </a:lnTo>
                      <a:lnTo>
                        <a:pt x="2574" y="219326"/>
                      </a:lnTo>
                      <a:lnTo>
                        <a:pt x="7868" y="228955"/>
                      </a:lnTo>
                      <a:lnTo>
                        <a:pt x="8998" y="231712"/>
                      </a:lnTo>
                      <a:lnTo>
                        <a:pt x="10443" y="237747"/>
                      </a:lnTo>
                      <a:lnTo>
                        <a:pt x="10625" y="238499"/>
                      </a:lnTo>
                      <a:lnTo>
                        <a:pt x="10989" y="239192"/>
                      </a:lnTo>
                      <a:lnTo>
                        <a:pt x="12726" y="242434"/>
                      </a:lnTo>
                      <a:lnTo>
                        <a:pt x="13199" y="243320"/>
                      </a:lnTo>
                      <a:lnTo>
                        <a:pt x="13940" y="244012"/>
                      </a:lnTo>
                      <a:lnTo>
                        <a:pt x="15482" y="245457"/>
                      </a:lnTo>
                      <a:lnTo>
                        <a:pt x="15944" y="245894"/>
                      </a:lnTo>
                      <a:lnTo>
                        <a:pt x="16490" y="246222"/>
                      </a:lnTo>
                      <a:lnTo>
                        <a:pt x="18579" y="247473"/>
                      </a:lnTo>
                      <a:lnTo>
                        <a:pt x="18664" y="247752"/>
                      </a:lnTo>
                      <a:lnTo>
                        <a:pt x="19526" y="252355"/>
                      </a:lnTo>
                      <a:lnTo>
                        <a:pt x="19586" y="252658"/>
                      </a:lnTo>
                      <a:lnTo>
                        <a:pt x="19672" y="252962"/>
                      </a:lnTo>
                      <a:lnTo>
                        <a:pt x="22209" y="261401"/>
                      </a:lnTo>
                      <a:lnTo>
                        <a:pt x="22343" y="261850"/>
                      </a:lnTo>
                      <a:lnTo>
                        <a:pt x="22537" y="262263"/>
                      </a:lnTo>
                      <a:lnTo>
                        <a:pt x="24419" y="266234"/>
                      </a:lnTo>
                      <a:lnTo>
                        <a:pt x="25075" y="267594"/>
                      </a:lnTo>
                      <a:lnTo>
                        <a:pt x="26289" y="268492"/>
                      </a:lnTo>
                      <a:lnTo>
                        <a:pt x="26545" y="268687"/>
                      </a:lnTo>
                      <a:lnTo>
                        <a:pt x="26447" y="268808"/>
                      </a:lnTo>
                      <a:lnTo>
                        <a:pt x="24808" y="271055"/>
                      </a:lnTo>
                      <a:lnTo>
                        <a:pt x="25427" y="273763"/>
                      </a:lnTo>
                      <a:lnTo>
                        <a:pt x="25779" y="275317"/>
                      </a:lnTo>
                      <a:lnTo>
                        <a:pt x="26010" y="276300"/>
                      </a:lnTo>
                      <a:lnTo>
                        <a:pt x="26532" y="277150"/>
                      </a:lnTo>
                      <a:lnTo>
                        <a:pt x="27225" y="278268"/>
                      </a:lnTo>
                      <a:lnTo>
                        <a:pt x="27564" y="279130"/>
                      </a:lnTo>
                      <a:lnTo>
                        <a:pt x="31839" y="310240"/>
                      </a:lnTo>
                      <a:lnTo>
                        <a:pt x="31899" y="310713"/>
                      </a:lnTo>
                      <a:lnTo>
                        <a:pt x="32045" y="311175"/>
                      </a:lnTo>
                      <a:lnTo>
                        <a:pt x="34510" y="319323"/>
                      </a:lnTo>
                      <a:lnTo>
                        <a:pt x="34814" y="320355"/>
                      </a:lnTo>
                      <a:lnTo>
                        <a:pt x="35469" y="321217"/>
                      </a:lnTo>
                      <a:lnTo>
                        <a:pt x="39950" y="327167"/>
                      </a:lnTo>
                      <a:lnTo>
                        <a:pt x="41213" y="328855"/>
                      </a:lnTo>
                      <a:lnTo>
                        <a:pt x="43265" y="329389"/>
                      </a:lnTo>
                      <a:lnTo>
                        <a:pt x="49519" y="331016"/>
                      </a:lnTo>
                      <a:lnTo>
                        <a:pt x="56343" y="332789"/>
                      </a:lnTo>
                      <a:lnTo>
                        <a:pt x="57096" y="325783"/>
                      </a:lnTo>
                      <a:lnTo>
                        <a:pt x="57800" y="319274"/>
                      </a:lnTo>
                      <a:lnTo>
                        <a:pt x="57909" y="318315"/>
                      </a:lnTo>
                      <a:lnTo>
                        <a:pt x="57703" y="317368"/>
                      </a:lnTo>
                      <a:lnTo>
                        <a:pt x="54339" y="301388"/>
                      </a:lnTo>
                      <a:lnTo>
                        <a:pt x="54339" y="293835"/>
                      </a:lnTo>
                      <a:lnTo>
                        <a:pt x="54607" y="292560"/>
                      </a:lnTo>
                      <a:lnTo>
                        <a:pt x="54692" y="292620"/>
                      </a:lnTo>
                      <a:lnTo>
                        <a:pt x="56659" y="295401"/>
                      </a:lnTo>
                      <a:lnTo>
                        <a:pt x="58128" y="298012"/>
                      </a:lnTo>
                      <a:lnTo>
                        <a:pt x="58954" y="297636"/>
                      </a:lnTo>
                      <a:lnTo>
                        <a:pt x="59088" y="298400"/>
                      </a:lnTo>
                      <a:lnTo>
                        <a:pt x="59258" y="299408"/>
                      </a:lnTo>
                      <a:lnTo>
                        <a:pt x="59585" y="301400"/>
                      </a:lnTo>
                      <a:lnTo>
                        <a:pt x="61030" y="302796"/>
                      </a:lnTo>
                      <a:lnTo>
                        <a:pt x="63010" y="304691"/>
                      </a:lnTo>
                      <a:lnTo>
                        <a:pt x="63787" y="308455"/>
                      </a:lnTo>
                      <a:lnTo>
                        <a:pt x="63920" y="309099"/>
                      </a:lnTo>
                      <a:lnTo>
                        <a:pt x="64187" y="309693"/>
                      </a:lnTo>
                      <a:lnTo>
                        <a:pt x="64940" y="311369"/>
                      </a:lnTo>
                      <a:lnTo>
                        <a:pt x="69117" y="325431"/>
                      </a:lnTo>
                      <a:lnTo>
                        <a:pt x="69955" y="329924"/>
                      </a:lnTo>
                      <a:lnTo>
                        <a:pt x="70235" y="331356"/>
                      </a:lnTo>
                      <a:lnTo>
                        <a:pt x="71133" y="332510"/>
                      </a:lnTo>
                      <a:lnTo>
                        <a:pt x="71643" y="333166"/>
                      </a:lnTo>
                      <a:lnTo>
                        <a:pt x="72748" y="334574"/>
                      </a:lnTo>
                      <a:lnTo>
                        <a:pt x="72821" y="336651"/>
                      </a:lnTo>
                      <a:lnTo>
                        <a:pt x="72869" y="337695"/>
                      </a:lnTo>
                      <a:lnTo>
                        <a:pt x="73246" y="338667"/>
                      </a:lnTo>
                      <a:lnTo>
                        <a:pt x="74060" y="340731"/>
                      </a:lnTo>
                      <a:lnTo>
                        <a:pt x="74473" y="341763"/>
                      </a:lnTo>
                      <a:lnTo>
                        <a:pt x="75225" y="342589"/>
                      </a:lnTo>
                      <a:lnTo>
                        <a:pt x="77630" y="345224"/>
                      </a:lnTo>
                      <a:lnTo>
                        <a:pt x="78637" y="346316"/>
                      </a:lnTo>
                      <a:lnTo>
                        <a:pt x="80034" y="346827"/>
                      </a:lnTo>
                      <a:lnTo>
                        <a:pt x="82572" y="347749"/>
                      </a:lnTo>
                      <a:lnTo>
                        <a:pt x="83058" y="347932"/>
                      </a:lnTo>
                      <a:lnTo>
                        <a:pt x="83580" y="348029"/>
                      </a:lnTo>
                      <a:lnTo>
                        <a:pt x="84782" y="348247"/>
                      </a:lnTo>
                      <a:lnTo>
                        <a:pt x="84782" y="350117"/>
                      </a:lnTo>
                      <a:lnTo>
                        <a:pt x="86263" y="351829"/>
                      </a:lnTo>
                      <a:lnTo>
                        <a:pt x="86834" y="352485"/>
                      </a:lnTo>
                      <a:lnTo>
                        <a:pt x="90040" y="356189"/>
                      </a:lnTo>
                      <a:lnTo>
                        <a:pt x="94338" y="353845"/>
                      </a:lnTo>
                      <a:lnTo>
                        <a:pt x="97386" y="352169"/>
                      </a:lnTo>
                      <a:lnTo>
                        <a:pt x="98515" y="351562"/>
                      </a:lnTo>
                      <a:lnTo>
                        <a:pt x="99281" y="350542"/>
                      </a:lnTo>
                      <a:lnTo>
                        <a:pt x="100410" y="349073"/>
                      </a:lnTo>
                      <a:lnTo>
                        <a:pt x="100956" y="348357"/>
                      </a:lnTo>
                      <a:lnTo>
                        <a:pt x="101090" y="348004"/>
                      </a:lnTo>
                      <a:lnTo>
                        <a:pt x="101636" y="348114"/>
                      </a:lnTo>
                      <a:lnTo>
                        <a:pt x="102911" y="348369"/>
                      </a:lnTo>
                      <a:lnTo>
                        <a:pt x="104174" y="348089"/>
                      </a:lnTo>
                      <a:lnTo>
                        <a:pt x="105498" y="347798"/>
                      </a:lnTo>
                      <a:lnTo>
                        <a:pt x="105826" y="347725"/>
                      </a:lnTo>
                      <a:lnTo>
                        <a:pt x="106154" y="347616"/>
                      </a:lnTo>
                      <a:lnTo>
                        <a:pt x="108327" y="346863"/>
                      </a:lnTo>
                      <a:lnTo>
                        <a:pt x="113051" y="345855"/>
                      </a:lnTo>
                      <a:lnTo>
                        <a:pt x="114083" y="345636"/>
                      </a:lnTo>
                      <a:lnTo>
                        <a:pt x="114981" y="345078"/>
                      </a:lnTo>
                      <a:lnTo>
                        <a:pt x="117289" y="343645"/>
                      </a:lnTo>
                      <a:lnTo>
                        <a:pt x="118029" y="343184"/>
                      </a:lnTo>
                      <a:lnTo>
                        <a:pt x="118612" y="342540"/>
                      </a:lnTo>
                      <a:lnTo>
                        <a:pt x="119766" y="341265"/>
                      </a:lnTo>
                      <a:lnTo>
                        <a:pt x="122656" y="338691"/>
                      </a:lnTo>
                      <a:lnTo>
                        <a:pt x="122911" y="338460"/>
                      </a:lnTo>
                      <a:lnTo>
                        <a:pt x="123141" y="338205"/>
                      </a:lnTo>
                      <a:lnTo>
                        <a:pt x="124465" y="336736"/>
                      </a:lnTo>
                      <a:lnTo>
                        <a:pt x="124720" y="336432"/>
                      </a:lnTo>
                      <a:lnTo>
                        <a:pt x="124951" y="336104"/>
                      </a:lnTo>
                      <a:lnTo>
                        <a:pt x="128120" y="331454"/>
                      </a:lnTo>
                      <a:lnTo>
                        <a:pt x="128666" y="330652"/>
                      </a:lnTo>
                      <a:lnTo>
                        <a:pt x="128691" y="330579"/>
                      </a:lnTo>
                      <a:lnTo>
                        <a:pt x="129492" y="330482"/>
                      </a:lnTo>
                      <a:lnTo>
                        <a:pt x="131411" y="328904"/>
                      </a:lnTo>
                      <a:lnTo>
                        <a:pt x="134289" y="325929"/>
                      </a:lnTo>
                      <a:lnTo>
                        <a:pt x="135090" y="325091"/>
                      </a:lnTo>
                      <a:lnTo>
                        <a:pt x="135539" y="324010"/>
                      </a:lnTo>
                      <a:lnTo>
                        <a:pt x="136292" y="322188"/>
                      </a:lnTo>
                      <a:lnTo>
                        <a:pt x="137069" y="320258"/>
                      </a:lnTo>
                      <a:lnTo>
                        <a:pt x="136511" y="318254"/>
                      </a:lnTo>
                      <a:lnTo>
                        <a:pt x="135867" y="315959"/>
                      </a:lnTo>
                      <a:lnTo>
                        <a:pt x="135770" y="315619"/>
                      </a:lnTo>
                      <a:lnTo>
                        <a:pt x="135636" y="315304"/>
                      </a:lnTo>
                      <a:lnTo>
                        <a:pt x="133378" y="309754"/>
                      </a:lnTo>
                      <a:lnTo>
                        <a:pt x="130670" y="296664"/>
                      </a:lnTo>
                      <a:lnTo>
                        <a:pt x="130548" y="296033"/>
                      </a:lnTo>
                      <a:lnTo>
                        <a:pt x="130293" y="295450"/>
                      </a:lnTo>
                      <a:lnTo>
                        <a:pt x="127877" y="289961"/>
                      </a:lnTo>
                      <a:lnTo>
                        <a:pt x="127148" y="284400"/>
                      </a:lnTo>
                      <a:lnTo>
                        <a:pt x="130014" y="276580"/>
                      </a:lnTo>
                      <a:lnTo>
                        <a:pt x="134993" y="268080"/>
                      </a:lnTo>
                      <a:lnTo>
                        <a:pt x="139291" y="262433"/>
                      </a:lnTo>
                      <a:lnTo>
                        <a:pt x="141052" y="260927"/>
                      </a:lnTo>
                      <a:lnTo>
                        <a:pt x="150572" y="256920"/>
                      </a:lnTo>
                      <a:lnTo>
                        <a:pt x="151179" y="256665"/>
                      </a:lnTo>
                      <a:lnTo>
                        <a:pt x="151714" y="256289"/>
                      </a:lnTo>
                      <a:lnTo>
                        <a:pt x="154701" y="254176"/>
                      </a:lnTo>
                      <a:lnTo>
                        <a:pt x="155211" y="253824"/>
                      </a:lnTo>
                      <a:lnTo>
                        <a:pt x="155636" y="253375"/>
                      </a:lnTo>
                      <a:lnTo>
                        <a:pt x="158113" y="250727"/>
                      </a:lnTo>
                      <a:lnTo>
                        <a:pt x="158538" y="250266"/>
                      </a:lnTo>
                      <a:lnTo>
                        <a:pt x="158866" y="249732"/>
                      </a:lnTo>
                      <a:lnTo>
                        <a:pt x="163116" y="242749"/>
                      </a:lnTo>
                      <a:lnTo>
                        <a:pt x="163930" y="241401"/>
                      </a:lnTo>
                      <a:lnTo>
                        <a:pt x="163990" y="239823"/>
                      </a:lnTo>
                      <a:lnTo>
                        <a:pt x="164269" y="232039"/>
                      </a:lnTo>
                      <a:lnTo>
                        <a:pt x="164294" y="231287"/>
                      </a:lnTo>
                      <a:lnTo>
                        <a:pt x="164124" y="230546"/>
                      </a:lnTo>
                      <a:lnTo>
                        <a:pt x="159303" y="208118"/>
                      </a:lnTo>
                      <a:lnTo>
                        <a:pt x="159267" y="206964"/>
                      </a:lnTo>
                      <a:lnTo>
                        <a:pt x="165193" y="213497"/>
                      </a:lnTo>
                      <a:lnTo>
                        <a:pt x="165945" y="214311"/>
                      </a:lnTo>
                      <a:lnTo>
                        <a:pt x="166929" y="214821"/>
                      </a:lnTo>
                      <a:lnTo>
                        <a:pt x="169770" y="216290"/>
                      </a:lnTo>
                      <a:lnTo>
                        <a:pt x="171798" y="217322"/>
                      </a:lnTo>
                      <a:lnTo>
                        <a:pt x="174020" y="216776"/>
                      </a:lnTo>
                      <a:lnTo>
                        <a:pt x="178392" y="215683"/>
                      </a:lnTo>
                      <a:lnTo>
                        <a:pt x="179752" y="215343"/>
                      </a:lnTo>
                      <a:lnTo>
                        <a:pt x="180833" y="214432"/>
                      </a:lnTo>
                      <a:lnTo>
                        <a:pt x="184111" y="211676"/>
                      </a:lnTo>
                      <a:lnTo>
                        <a:pt x="184670" y="211202"/>
                      </a:lnTo>
                      <a:lnTo>
                        <a:pt x="185095" y="210619"/>
                      </a:lnTo>
                      <a:lnTo>
                        <a:pt x="190984" y="202568"/>
                      </a:lnTo>
                      <a:lnTo>
                        <a:pt x="192757" y="200613"/>
                      </a:lnTo>
                      <a:lnTo>
                        <a:pt x="194845" y="199921"/>
                      </a:lnTo>
                      <a:lnTo>
                        <a:pt x="195416" y="200771"/>
                      </a:lnTo>
                      <a:lnTo>
                        <a:pt x="197056" y="207316"/>
                      </a:lnTo>
                      <a:lnTo>
                        <a:pt x="197347" y="208494"/>
                      </a:lnTo>
                      <a:lnTo>
                        <a:pt x="198075" y="209466"/>
                      </a:lnTo>
                      <a:lnTo>
                        <a:pt x="199885" y="211906"/>
                      </a:lnTo>
                      <a:lnTo>
                        <a:pt x="207159" y="221681"/>
                      </a:lnTo>
                      <a:lnTo>
                        <a:pt x="210583" y="210000"/>
                      </a:lnTo>
                      <a:lnTo>
                        <a:pt x="222094" y="170802"/>
                      </a:lnTo>
                      <a:cubicBezTo>
                        <a:pt x="223078" y="168180"/>
                        <a:pt x="223831" y="165399"/>
                        <a:pt x="224535" y="162715"/>
                      </a:cubicBezTo>
                      <a:cubicBezTo>
                        <a:pt x="225603" y="158745"/>
                        <a:pt x="226514" y="155320"/>
                        <a:pt x="228421" y="151665"/>
                      </a:cubicBezTo>
                      <a:cubicBezTo>
                        <a:pt x="229611" y="149443"/>
                        <a:pt x="231287" y="147852"/>
                        <a:pt x="233229" y="146019"/>
                      </a:cubicBezTo>
                      <a:cubicBezTo>
                        <a:pt x="236532" y="142910"/>
                        <a:pt x="240649" y="139037"/>
                        <a:pt x="241632" y="131775"/>
                      </a:cubicBezTo>
                      <a:cubicBezTo>
                        <a:pt x="242737" y="123737"/>
                        <a:pt x="243830" y="114544"/>
                        <a:pt x="242786" y="106931"/>
                      </a:cubicBezTo>
                      <a:lnTo>
                        <a:pt x="242300" y="103130"/>
                      </a:lnTo>
                      <a:cubicBezTo>
                        <a:pt x="241426" y="96087"/>
                        <a:pt x="240430" y="88170"/>
                        <a:pt x="237710" y="81649"/>
                      </a:cubicBezTo>
                      <a:cubicBezTo>
                        <a:pt x="237759" y="73574"/>
                        <a:pt x="233132" y="69567"/>
                        <a:pt x="229708" y="66604"/>
                      </a:cubicBezTo>
                      <a:cubicBezTo>
                        <a:pt x="227729" y="64892"/>
                        <a:pt x="226174" y="63532"/>
                        <a:pt x="225288" y="61516"/>
                      </a:cubicBezTo>
                      <a:cubicBezTo>
                        <a:pt x="224681" y="60132"/>
                        <a:pt x="224790" y="57813"/>
                        <a:pt x="224912" y="55360"/>
                      </a:cubicBezTo>
                      <a:cubicBezTo>
                        <a:pt x="225106" y="51486"/>
                        <a:pt x="225324" y="46665"/>
                        <a:pt x="222774" y="42185"/>
                      </a:cubicBezTo>
                      <a:cubicBezTo>
                        <a:pt x="220989" y="39088"/>
                        <a:pt x="220249" y="37267"/>
                        <a:pt x="219945" y="35214"/>
                      </a:cubicBezTo>
                      <a:cubicBezTo>
                        <a:pt x="219520" y="31147"/>
                        <a:pt x="218755" y="26945"/>
                        <a:pt x="214784" y="22817"/>
                      </a:cubicBezTo>
                      <a:lnTo>
                        <a:pt x="214493" y="22513"/>
                      </a:lnTo>
                      <a:lnTo>
                        <a:pt x="214177" y="22258"/>
                      </a:lnTo>
                      <a:cubicBezTo>
                        <a:pt x="212987" y="21323"/>
                        <a:pt x="211688" y="20485"/>
                        <a:pt x="210352" y="19635"/>
                      </a:cubicBezTo>
                      <a:cubicBezTo>
                        <a:pt x="208980" y="18761"/>
                        <a:pt x="207656" y="17923"/>
                        <a:pt x="206624" y="17012"/>
                      </a:cubicBezTo>
                      <a:lnTo>
                        <a:pt x="197869" y="0"/>
                      </a:lnTo>
                      <a:lnTo>
                        <a:pt x="197869" y="0"/>
                      </a:lnTo>
                      <a:close/>
                    </a:path>
                  </a:pathLst>
                </a:custGeom>
                <a:solidFill>
                  <a:srgbClr val="FFFFFF"/>
                </a:solidFill>
                <a:ln w="12138" cap="flat">
                  <a:noFill/>
                  <a:prstDash val="solid"/>
                  <a:miter/>
                </a:ln>
              </p:spPr>
              <p:txBody>
                <a:bodyPr rtlCol="0" anchor="ctr"/>
                <a:lstStyle/>
                <a:p>
                  <a:endParaRPr lang="en-US"/>
                </a:p>
              </p:txBody>
            </p:sp>
          </p:grpSp>
          <p:grpSp>
            <p:nvGrpSpPr>
              <p:cNvPr id="279" name="Graphic 280">
                <a:extLst>
                  <a:ext uri="{FF2B5EF4-FFF2-40B4-BE49-F238E27FC236}">
                    <a16:creationId xmlns:a16="http://schemas.microsoft.com/office/drawing/2014/main" id="{756DF22F-18AC-4BB9-811B-6185CFD64875}"/>
                  </a:ext>
                </a:extLst>
              </p:cNvPr>
              <p:cNvGrpSpPr/>
              <p:nvPr/>
            </p:nvGrpSpPr>
            <p:grpSpPr>
              <a:xfrm>
                <a:off x="7862214" y="3225535"/>
                <a:ext cx="250763" cy="539024"/>
                <a:chOff x="7862214" y="3225535"/>
                <a:chExt cx="250763" cy="539024"/>
              </a:xfrm>
            </p:grpSpPr>
            <p:sp>
              <p:nvSpPr>
                <p:cNvPr id="292" name="Freeform: Shape 291">
                  <a:extLst>
                    <a:ext uri="{FF2B5EF4-FFF2-40B4-BE49-F238E27FC236}">
                      <a16:creationId xmlns:a16="http://schemas.microsoft.com/office/drawing/2014/main" id="{AE2B680F-1707-4004-BF47-96956A012C0C}"/>
                    </a:ext>
                  </a:extLst>
                </p:cNvPr>
                <p:cNvSpPr/>
                <p:nvPr/>
              </p:nvSpPr>
              <p:spPr>
                <a:xfrm>
                  <a:off x="7865991" y="3228583"/>
                  <a:ext cx="242761" cy="531872"/>
                </a:xfrm>
                <a:custGeom>
                  <a:avLst/>
                  <a:gdLst>
                    <a:gd name="connsiteX0" fmla="*/ 126930 w 242761"/>
                    <a:gd name="connsiteY0" fmla="*/ 527344 h 531872"/>
                    <a:gd name="connsiteX1" fmla="*/ 125837 w 242761"/>
                    <a:gd name="connsiteY1" fmla="*/ 520653 h 531872"/>
                    <a:gd name="connsiteX2" fmla="*/ 124368 w 242761"/>
                    <a:gd name="connsiteY2" fmla="*/ 515346 h 531872"/>
                    <a:gd name="connsiteX3" fmla="*/ 121539 w 242761"/>
                    <a:gd name="connsiteY3" fmla="*/ 511946 h 531872"/>
                    <a:gd name="connsiteX4" fmla="*/ 109760 w 242761"/>
                    <a:gd name="connsiteY4" fmla="*/ 501006 h 531872"/>
                    <a:gd name="connsiteX5" fmla="*/ 98188 w 242761"/>
                    <a:gd name="connsiteY5" fmla="*/ 492627 h 531872"/>
                    <a:gd name="connsiteX6" fmla="*/ 96281 w 242761"/>
                    <a:gd name="connsiteY6" fmla="*/ 492214 h 531872"/>
                    <a:gd name="connsiteX7" fmla="*/ 95978 w 242761"/>
                    <a:gd name="connsiteY7" fmla="*/ 493586 h 531872"/>
                    <a:gd name="connsiteX8" fmla="*/ 96731 w 242761"/>
                    <a:gd name="connsiteY8" fmla="*/ 498128 h 531872"/>
                    <a:gd name="connsiteX9" fmla="*/ 96512 w 242761"/>
                    <a:gd name="connsiteY9" fmla="*/ 502293 h 531872"/>
                    <a:gd name="connsiteX10" fmla="*/ 94096 w 242761"/>
                    <a:gd name="connsiteY10" fmla="*/ 503786 h 531872"/>
                    <a:gd name="connsiteX11" fmla="*/ 93573 w 242761"/>
                    <a:gd name="connsiteY11" fmla="*/ 503847 h 531872"/>
                    <a:gd name="connsiteX12" fmla="*/ 93124 w 242761"/>
                    <a:gd name="connsiteY12" fmla="*/ 505340 h 531872"/>
                    <a:gd name="connsiteX13" fmla="*/ 93258 w 242761"/>
                    <a:gd name="connsiteY13" fmla="*/ 507380 h 531872"/>
                    <a:gd name="connsiteX14" fmla="*/ 93670 w 242761"/>
                    <a:gd name="connsiteY14" fmla="*/ 509651 h 531872"/>
                    <a:gd name="connsiteX15" fmla="*/ 93707 w 242761"/>
                    <a:gd name="connsiteY15" fmla="*/ 513598 h 531872"/>
                    <a:gd name="connsiteX16" fmla="*/ 91485 w 242761"/>
                    <a:gd name="connsiteY16" fmla="*/ 517763 h 531872"/>
                    <a:gd name="connsiteX17" fmla="*/ 88073 w 242761"/>
                    <a:gd name="connsiteY17" fmla="*/ 519621 h 531872"/>
                    <a:gd name="connsiteX18" fmla="*/ 85134 w 242761"/>
                    <a:gd name="connsiteY18" fmla="*/ 519876 h 531872"/>
                    <a:gd name="connsiteX19" fmla="*/ 84394 w 242761"/>
                    <a:gd name="connsiteY19" fmla="*/ 520131 h 531872"/>
                    <a:gd name="connsiteX20" fmla="*/ 82790 w 242761"/>
                    <a:gd name="connsiteY20" fmla="*/ 522086 h 531872"/>
                    <a:gd name="connsiteX21" fmla="*/ 81516 w 242761"/>
                    <a:gd name="connsiteY21" fmla="*/ 523446 h 531872"/>
                    <a:gd name="connsiteX22" fmla="*/ 79925 w 242761"/>
                    <a:gd name="connsiteY22" fmla="*/ 524745 h 531872"/>
                    <a:gd name="connsiteX23" fmla="*/ 78152 w 242761"/>
                    <a:gd name="connsiteY23" fmla="*/ 525789 h 531872"/>
                    <a:gd name="connsiteX24" fmla="*/ 72408 w 242761"/>
                    <a:gd name="connsiteY24" fmla="*/ 527926 h 531872"/>
                    <a:gd name="connsiteX25" fmla="*/ 72032 w 242761"/>
                    <a:gd name="connsiteY25" fmla="*/ 522110 h 531872"/>
                    <a:gd name="connsiteX26" fmla="*/ 71704 w 242761"/>
                    <a:gd name="connsiteY26" fmla="*/ 520823 h 531872"/>
                    <a:gd name="connsiteX27" fmla="*/ 69215 w 242761"/>
                    <a:gd name="connsiteY27" fmla="*/ 507745 h 531872"/>
                    <a:gd name="connsiteX28" fmla="*/ 64430 w 242761"/>
                    <a:gd name="connsiteY28" fmla="*/ 492955 h 531872"/>
                    <a:gd name="connsiteX29" fmla="*/ 69069 w 242761"/>
                    <a:gd name="connsiteY29" fmla="*/ 488984 h 531872"/>
                    <a:gd name="connsiteX30" fmla="*/ 72202 w 242761"/>
                    <a:gd name="connsiteY30" fmla="*/ 489008 h 531872"/>
                    <a:gd name="connsiteX31" fmla="*/ 72372 w 242761"/>
                    <a:gd name="connsiteY31" fmla="*/ 485900 h 531872"/>
                    <a:gd name="connsiteX32" fmla="*/ 61504 w 242761"/>
                    <a:gd name="connsiteY32" fmla="*/ 422186 h 531872"/>
                    <a:gd name="connsiteX33" fmla="*/ 61176 w 242761"/>
                    <a:gd name="connsiteY33" fmla="*/ 418555 h 531872"/>
                    <a:gd name="connsiteX34" fmla="*/ 58966 w 242761"/>
                    <a:gd name="connsiteY34" fmla="*/ 413248 h 531872"/>
                    <a:gd name="connsiteX35" fmla="*/ 58140 w 242761"/>
                    <a:gd name="connsiteY35" fmla="*/ 409460 h 531872"/>
                    <a:gd name="connsiteX36" fmla="*/ 58468 w 242761"/>
                    <a:gd name="connsiteY36" fmla="*/ 397268 h 531872"/>
                    <a:gd name="connsiteX37" fmla="*/ 57157 w 242761"/>
                    <a:gd name="connsiteY37" fmla="*/ 382442 h 531872"/>
                    <a:gd name="connsiteX38" fmla="*/ 56441 w 242761"/>
                    <a:gd name="connsiteY38" fmla="*/ 379916 h 531872"/>
                    <a:gd name="connsiteX39" fmla="*/ 54813 w 242761"/>
                    <a:gd name="connsiteY39" fmla="*/ 377864 h 531872"/>
                    <a:gd name="connsiteX40" fmla="*/ 50296 w 242761"/>
                    <a:gd name="connsiteY40" fmla="*/ 374160 h 531872"/>
                    <a:gd name="connsiteX41" fmla="*/ 47248 w 242761"/>
                    <a:gd name="connsiteY41" fmla="*/ 370165 h 531872"/>
                    <a:gd name="connsiteX42" fmla="*/ 45791 w 242761"/>
                    <a:gd name="connsiteY42" fmla="*/ 363535 h 531872"/>
                    <a:gd name="connsiteX43" fmla="*/ 44225 w 242761"/>
                    <a:gd name="connsiteY43" fmla="*/ 348769 h 531872"/>
                    <a:gd name="connsiteX44" fmla="*/ 42549 w 242761"/>
                    <a:gd name="connsiteY44" fmla="*/ 346729 h 531872"/>
                    <a:gd name="connsiteX45" fmla="*/ 36198 w 242761"/>
                    <a:gd name="connsiteY45" fmla="*/ 344204 h 531872"/>
                    <a:gd name="connsiteX46" fmla="*/ 32179 w 242761"/>
                    <a:gd name="connsiteY46" fmla="*/ 338254 h 531872"/>
                    <a:gd name="connsiteX47" fmla="*/ 30297 w 242761"/>
                    <a:gd name="connsiteY47" fmla="*/ 330519 h 531872"/>
                    <a:gd name="connsiteX48" fmla="*/ 30333 w 242761"/>
                    <a:gd name="connsiteY48" fmla="*/ 316105 h 531872"/>
                    <a:gd name="connsiteX49" fmla="*/ 25610 w 242761"/>
                    <a:gd name="connsiteY49" fmla="*/ 288662 h 531872"/>
                    <a:gd name="connsiteX50" fmla="*/ 25731 w 242761"/>
                    <a:gd name="connsiteY50" fmla="*/ 280223 h 531872"/>
                    <a:gd name="connsiteX51" fmla="*/ 26642 w 242761"/>
                    <a:gd name="connsiteY51" fmla="*/ 276531 h 531872"/>
                    <a:gd name="connsiteX52" fmla="*/ 30236 w 242761"/>
                    <a:gd name="connsiteY52" fmla="*/ 269112 h 531872"/>
                    <a:gd name="connsiteX53" fmla="*/ 31377 w 242761"/>
                    <a:gd name="connsiteY53" fmla="*/ 265870 h 531872"/>
                    <a:gd name="connsiteX54" fmla="*/ 31086 w 242761"/>
                    <a:gd name="connsiteY54" fmla="*/ 265056 h 531872"/>
                    <a:gd name="connsiteX55" fmla="*/ 30491 w 242761"/>
                    <a:gd name="connsiteY55" fmla="*/ 264218 h 531872"/>
                    <a:gd name="connsiteX56" fmla="*/ 29374 w 242761"/>
                    <a:gd name="connsiteY56" fmla="*/ 260551 h 531872"/>
                    <a:gd name="connsiteX57" fmla="*/ 29179 w 242761"/>
                    <a:gd name="connsiteY57" fmla="*/ 257819 h 531872"/>
                    <a:gd name="connsiteX58" fmla="*/ 29726 w 242761"/>
                    <a:gd name="connsiteY58" fmla="*/ 253472 h 531872"/>
                    <a:gd name="connsiteX59" fmla="*/ 27516 w 242761"/>
                    <a:gd name="connsiteY59" fmla="*/ 251590 h 531872"/>
                    <a:gd name="connsiteX60" fmla="*/ 25537 w 242761"/>
                    <a:gd name="connsiteY60" fmla="*/ 249003 h 531872"/>
                    <a:gd name="connsiteX61" fmla="*/ 25197 w 242761"/>
                    <a:gd name="connsiteY61" fmla="*/ 246963 h 531872"/>
                    <a:gd name="connsiteX62" fmla="*/ 25452 w 242761"/>
                    <a:gd name="connsiteY62" fmla="*/ 243417 h 531872"/>
                    <a:gd name="connsiteX63" fmla="*/ 25209 w 242761"/>
                    <a:gd name="connsiteY63" fmla="*/ 242810 h 531872"/>
                    <a:gd name="connsiteX64" fmla="*/ 24553 w 242761"/>
                    <a:gd name="connsiteY64" fmla="*/ 242106 h 531872"/>
                    <a:gd name="connsiteX65" fmla="*/ 22610 w 242761"/>
                    <a:gd name="connsiteY65" fmla="*/ 240430 h 531872"/>
                    <a:gd name="connsiteX66" fmla="*/ 21129 w 242761"/>
                    <a:gd name="connsiteY66" fmla="*/ 238245 h 531872"/>
                    <a:gd name="connsiteX67" fmla="*/ 19926 w 242761"/>
                    <a:gd name="connsiteY67" fmla="*/ 234553 h 531872"/>
                    <a:gd name="connsiteX68" fmla="*/ 18724 w 242761"/>
                    <a:gd name="connsiteY68" fmla="*/ 224401 h 531872"/>
                    <a:gd name="connsiteX69" fmla="*/ 11682 w 242761"/>
                    <a:gd name="connsiteY69" fmla="*/ 202374 h 531872"/>
                    <a:gd name="connsiteX70" fmla="*/ 11026 w 242761"/>
                    <a:gd name="connsiteY70" fmla="*/ 195089 h 531872"/>
                    <a:gd name="connsiteX71" fmla="*/ 13284 w 242761"/>
                    <a:gd name="connsiteY71" fmla="*/ 185678 h 531872"/>
                    <a:gd name="connsiteX72" fmla="*/ 12981 w 242761"/>
                    <a:gd name="connsiteY72" fmla="*/ 184136 h 531872"/>
                    <a:gd name="connsiteX73" fmla="*/ 11997 w 242761"/>
                    <a:gd name="connsiteY73" fmla="*/ 183601 h 531872"/>
                    <a:gd name="connsiteX74" fmla="*/ 11451 w 242761"/>
                    <a:gd name="connsiteY74" fmla="*/ 183917 h 531872"/>
                    <a:gd name="connsiteX75" fmla="*/ 9144 w 242761"/>
                    <a:gd name="connsiteY75" fmla="*/ 192696 h 531872"/>
                    <a:gd name="connsiteX76" fmla="*/ 3218 w 242761"/>
                    <a:gd name="connsiteY76" fmla="*/ 198331 h 531872"/>
                    <a:gd name="connsiteX77" fmla="*/ 291 w 242761"/>
                    <a:gd name="connsiteY77" fmla="*/ 194348 h 531872"/>
                    <a:gd name="connsiteX78" fmla="*/ 0 w 242761"/>
                    <a:gd name="connsiteY78" fmla="*/ 191944 h 531872"/>
                    <a:gd name="connsiteX79" fmla="*/ 11511 w 242761"/>
                    <a:gd name="connsiteY79" fmla="*/ 152746 h 531872"/>
                    <a:gd name="connsiteX80" fmla="*/ 13892 w 242761"/>
                    <a:gd name="connsiteY80" fmla="*/ 144877 h 531872"/>
                    <a:gd name="connsiteX81" fmla="*/ 18518 w 242761"/>
                    <a:gd name="connsiteY81" fmla="*/ 131957 h 531872"/>
                    <a:gd name="connsiteX82" fmla="*/ 25160 w 242761"/>
                    <a:gd name="connsiteY82" fmla="*/ 123907 h 531872"/>
                    <a:gd name="connsiteX83" fmla="*/ 30782 w 242761"/>
                    <a:gd name="connsiteY83" fmla="*/ 115054 h 531872"/>
                    <a:gd name="connsiteX84" fmla="*/ 31936 w 242761"/>
                    <a:gd name="connsiteY84" fmla="*/ 92675 h 531872"/>
                    <a:gd name="connsiteX85" fmla="*/ 31438 w 242761"/>
                    <a:gd name="connsiteY85" fmla="*/ 88765 h 531872"/>
                    <a:gd name="connsiteX86" fmla="*/ 27030 w 242761"/>
                    <a:gd name="connsiteY86" fmla="*/ 68620 h 531872"/>
                    <a:gd name="connsiteX87" fmla="*/ 26678 w 242761"/>
                    <a:gd name="connsiteY87" fmla="*/ 67891 h 531872"/>
                    <a:gd name="connsiteX88" fmla="*/ 26751 w 242761"/>
                    <a:gd name="connsiteY88" fmla="*/ 67090 h 531872"/>
                    <a:gd name="connsiteX89" fmla="*/ 21918 w 242761"/>
                    <a:gd name="connsiteY89" fmla="*/ 57958 h 531872"/>
                    <a:gd name="connsiteX90" fmla="*/ 19769 w 242761"/>
                    <a:gd name="connsiteY90" fmla="*/ 56027 h 531872"/>
                    <a:gd name="connsiteX91" fmla="*/ 12459 w 242761"/>
                    <a:gd name="connsiteY91" fmla="*/ 49045 h 531872"/>
                    <a:gd name="connsiteX92" fmla="*/ 31268 w 242761"/>
                    <a:gd name="connsiteY92" fmla="*/ 52458 h 531872"/>
                    <a:gd name="connsiteX93" fmla="*/ 32883 w 242761"/>
                    <a:gd name="connsiteY93" fmla="*/ 52603 h 531872"/>
                    <a:gd name="connsiteX94" fmla="*/ 48717 w 242761"/>
                    <a:gd name="connsiteY94" fmla="*/ 39598 h 531872"/>
                    <a:gd name="connsiteX95" fmla="*/ 50041 w 242761"/>
                    <a:gd name="connsiteY95" fmla="*/ 37400 h 531872"/>
                    <a:gd name="connsiteX96" fmla="*/ 59464 w 242761"/>
                    <a:gd name="connsiteY96" fmla="*/ 30758 h 531872"/>
                    <a:gd name="connsiteX97" fmla="*/ 71243 w 242761"/>
                    <a:gd name="connsiteY97" fmla="*/ 45220 h 531872"/>
                    <a:gd name="connsiteX98" fmla="*/ 78820 w 242761"/>
                    <a:gd name="connsiteY98" fmla="*/ 56574 h 531872"/>
                    <a:gd name="connsiteX99" fmla="*/ 80411 w 242761"/>
                    <a:gd name="connsiteY99" fmla="*/ 56416 h 531872"/>
                    <a:gd name="connsiteX100" fmla="*/ 85547 w 242761"/>
                    <a:gd name="connsiteY100" fmla="*/ 51182 h 531872"/>
                    <a:gd name="connsiteX101" fmla="*/ 89481 w 242761"/>
                    <a:gd name="connsiteY101" fmla="*/ 46471 h 531872"/>
                    <a:gd name="connsiteX102" fmla="*/ 102353 w 242761"/>
                    <a:gd name="connsiteY102" fmla="*/ 28900 h 531872"/>
                    <a:gd name="connsiteX103" fmla="*/ 105182 w 242761"/>
                    <a:gd name="connsiteY103" fmla="*/ 24067 h 531872"/>
                    <a:gd name="connsiteX104" fmla="*/ 108169 w 242761"/>
                    <a:gd name="connsiteY104" fmla="*/ 18311 h 531872"/>
                    <a:gd name="connsiteX105" fmla="*/ 125631 w 242761"/>
                    <a:gd name="connsiteY105" fmla="*/ 146 h 531872"/>
                    <a:gd name="connsiteX106" fmla="*/ 128035 w 242761"/>
                    <a:gd name="connsiteY106" fmla="*/ 0 h 531872"/>
                    <a:gd name="connsiteX107" fmla="*/ 136754 w 242761"/>
                    <a:gd name="connsiteY107" fmla="*/ 1032 h 531872"/>
                    <a:gd name="connsiteX108" fmla="*/ 141417 w 242761"/>
                    <a:gd name="connsiteY108" fmla="*/ 4129 h 531872"/>
                    <a:gd name="connsiteX109" fmla="*/ 143311 w 242761"/>
                    <a:gd name="connsiteY109" fmla="*/ 5707 h 531872"/>
                    <a:gd name="connsiteX110" fmla="*/ 156705 w 242761"/>
                    <a:gd name="connsiteY110" fmla="*/ 8804 h 531872"/>
                    <a:gd name="connsiteX111" fmla="*/ 161113 w 242761"/>
                    <a:gd name="connsiteY111" fmla="*/ 9350 h 531872"/>
                    <a:gd name="connsiteX112" fmla="*/ 161865 w 242761"/>
                    <a:gd name="connsiteY112" fmla="*/ 10649 h 531872"/>
                    <a:gd name="connsiteX113" fmla="*/ 163067 w 242761"/>
                    <a:gd name="connsiteY113" fmla="*/ 22319 h 531872"/>
                    <a:gd name="connsiteX114" fmla="*/ 163177 w 242761"/>
                    <a:gd name="connsiteY114" fmla="*/ 29665 h 531872"/>
                    <a:gd name="connsiteX115" fmla="*/ 165423 w 242761"/>
                    <a:gd name="connsiteY115" fmla="*/ 33636 h 531872"/>
                    <a:gd name="connsiteX116" fmla="*/ 168981 w 242761"/>
                    <a:gd name="connsiteY116" fmla="*/ 42160 h 531872"/>
                    <a:gd name="connsiteX117" fmla="*/ 167888 w 242761"/>
                    <a:gd name="connsiteY117" fmla="*/ 52725 h 531872"/>
                    <a:gd name="connsiteX118" fmla="*/ 168799 w 242761"/>
                    <a:gd name="connsiteY118" fmla="*/ 67624 h 531872"/>
                    <a:gd name="connsiteX119" fmla="*/ 170062 w 242761"/>
                    <a:gd name="connsiteY119" fmla="*/ 72433 h 531872"/>
                    <a:gd name="connsiteX120" fmla="*/ 170548 w 242761"/>
                    <a:gd name="connsiteY120" fmla="*/ 75055 h 531872"/>
                    <a:gd name="connsiteX121" fmla="*/ 173085 w 242761"/>
                    <a:gd name="connsiteY121" fmla="*/ 78128 h 531872"/>
                    <a:gd name="connsiteX122" fmla="*/ 173972 w 242761"/>
                    <a:gd name="connsiteY122" fmla="*/ 79075 h 531872"/>
                    <a:gd name="connsiteX123" fmla="*/ 174045 w 242761"/>
                    <a:gd name="connsiteY123" fmla="*/ 80532 h 531872"/>
                    <a:gd name="connsiteX124" fmla="*/ 174482 w 242761"/>
                    <a:gd name="connsiteY124" fmla="*/ 80775 h 531872"/>
                    <a:gd name="connsiteX125" fmla="*/ 175138 w 242761"/>
                    <a:gd name="connsiteY125" fmla="*/ 81564 h 531872"/>
                    <a:gd name="connsiteX126" fmla="*/ 177639 w 242761"/>
                    <a:gd name="connsiteY126" fmla="*/ 81698 h 531872"/>
                    <a:gd name="connsiteX127" fmla="*/ 179837 w 242761"/>
                    <a:gd name="connsiteY127" fmla="*/ 81758 h 531872"/>
                    <a:gd name="connsiteX128" fmla="*/ 181804 w 242761"/>
                    <a:gd name="connsiteY128" fmla="*/ 80823 h 531872"/>
                    <a:gd name="connsiteX129" fmla="*/ 184682 w 242761"/>
                    <a:gd name="connsiteY129" fmla="*/ 79063 h 531872"/>
                    <a:gd name="connsiteX130" fmla="*/ 187281 w 242761"/>
                    <a:gd name="connsiteY130" fmla="*/ 77011 h 531872"/>
                    <a:gd name="connsiteX131" fmla="*/ 192004 w 242761"/>
                    <a:gd name="connsiteY131" fmla="*/ 74060 h 531872"/>
                    <a:gd name="connsiteX132" fmla="*/ 197906 w 242761"/>
                    <a:gd name="connsiteY132" fmla="*/ 74388 h 531872"/>
                    <a:gd name="connsiteX133" fmla="*/ 199326 w 242761"/>
                    <a:gd name="connsiteY133" fmla="*/ 74254 h 531872"/>
                    <a:gd name="connsiteX134" fmla="*/ 201451 w 242761"/>
                    <a:gd name="connsiteY134" fmla="*/ 74060 h 531872"/>
                    <a:gd name="connsiteX135" fmla="*/ 212623 w 242761"/>
                    <a:gd name="connsiteY135" fmla="*/ 75602 h 531872"/>
                    <a:gd name="connsiteX136" fmla="*/ 219957 w 242761"/>
                    <a:gd name="connsiteY136" fmla="*/ 84831 h 531872"/>
                    <a:gd name="connsiteX137" fmla="*/ 220698 w 242761"/>
                    <a:gd name="connsiteY137" fmla="*/ 89542 h 531872"/>
                    <a:gd name="connsiteX138" fmla="*/ 226162 w 242761"/>
                    <a:gd name="connsiteY138" fmla="*/ 92481 h 531872"/>
                    <a:gd name="connsiteX139" fmla="*/ 231068 w 242761"/>
                    <a:gd name="connsiteY139" fmla="*/ 94970 h 531872"/>
                    <a:gd name="connsiteX140" fmla="*/ 234249 w 242761"/>
                    <a:gd name="connsiteY140" fmla="*/ 97459 h 531872"/>
                    <a:gd name="connsiteX141" fmla="*/ 237261 w 242761"/>
                    <a:gd name="connsiteY141" fmla="*/ 99281 h 531872"/>
                    <a:gd name="connsiteX142" fmla="*/ 240357 w 242761"/>
                    <a:gd name="connsiteY142" fmla="*/ 104842 h 531872"/>
                    <a:gd name="connsiteX143" fmla="*/ 240564 w 242761"/>
                    <a:gd name="connsiteY143" fmla="*/ 105692 h 531872"/>
                    <a:gd name="connsiteX144" fmla="*/ 241717 w 242761"/>
                    <a:gd name="connsiteY144" fmla="*/ 106919 h 531872"/>
                    <a:gd name="connsiteX145" fmla="*/ 241086 w 242761"/>
                    <a:gd name="connsiteY145" fmla="*/ 111509 h 531872"/>
                    <a:gd name="connsiteX146" fmla="*/ 240880 w 242761"/>
                    <a:gd name="connsiteY146" fmla="*/ 111484 h 531872"/>
                    <a:gd name="connsiteX147" fmla="*/ 242762 w 242761"/>
                    <a:gd name="connsiteY147" fmla="*/ 157518 h 531872"/>
                    <a:gd name="connsiteX148" fmla="*/ 235585 w 242761"/>
                    <a:gd name="connsiteY148" fmla="*/ 129201 h 531872"/>
                    <a:gd name="connsiteX149" fmla="*/ 234334 w 242761"/>
                    <a:gd name="connsiteY149" fmla="*/ 126092 h 531872"/>
                    <a:gd name="connsiteX150" fmla="*/ 228821 w 242761"/>
                    <a:gd name="connsiteY150" fmla="*/ 120932 h 531872"/>
                    <a:gd name="connsiteX151" fmla="*/ 226745 w 242761"/>
                    <a:gd name="connsiteY151" fmla="*/ 118382 h 531872"/>
                    <a:gd name="connsiteX152" fmla="*/ 221645 w 242761"/>
                    <a:gd name="connsiteY152" fmla="*/ 110610 h 531872"/>
                    <a:gd name="connsiteX153" fmla="*/ 219811 w 242761"/>
                    <a:gd name="connsiteY153" fmla="*/ 109578 h 531872"/>
                    <a:gd name="connsiteX154" fmla="*/ 217055 w 242761"/>
                    <a:gd name="connsiteY154" fmla="*/ 110561 h 531872"/>
                    <a:gd name="connsiteX155" fmla="*/ 215258 w 242761"/>
                    <a:gd name="connsiteY155" fmla="*/ 113002 h 531872"/>
                    <a:gd name="connsiteX156" fmla="*/ 214493 w 242761"/>
                    <a:gd name="connsiteY156" fmla="*/ 116548 h 531872"/>
                    <a:gd name="connsiteX157" fmla="*/ 214238 w 242761"/>
                    <a:gd name="connsiteY157" fmla="*/ 120846 h 531872"/>
                    <a:gd name="connsiteX158" fmla="*/ 214590 w 242761"/>
                    <a:gd name="connsiteY158" fmla="*/ 124623 h 531872"/>
                    <a:gd name="connsiteX159" fmla="*/ 215452 w 242761"/>
                    <a:gd name="connsiteY159" fmla="*/ 127598 h 531872"/>
                    <a:gd name="connsiteX160" fmla="*/ 216776 w 242761"/>
                    <a:gd name="connsiteY160" fmla="*/ 130379 h 531872"/>
                    <a:gd name="connsiteX161" fmla="*/ 220601 w 242761"/>
                    <a:gd name="connsiteY161" fmla="*/ 136547 h 531872"/>
                    <a:gd name="connsiteX162" fmla="*/ 221924 w 242761"/>
                    <a:gd name="connsiteY162" fmla="*/ 138150 h 531872"/>
                    <a:gd name="connsiteX163" fmla="*/ 222653 w 242761"/>
                    <a:gd name="connsiteY163" fmla="*/ 138660 h 531872"/>
                    <a:gd name="connsiteX164" fmla="*/ 224146 w 242761"/>
                    <a:gd name="connsiteY164" fmla="*/ 140931 h 531872"/>
                    <a:gd name="connsiteX165" fmla="*/ 225082 w 242761"/>
                    <a:gd name="connsiteY165" fmla="*/ 144987 h 531872"/>
                    <a:gd name="connsiteX166" fmla="*/ 224972 w 242761"/>
                    <a:gd name="connsiteY166" fmla="*/ 152734 h 531872"/>
                    <a:gd name="connsiteX167" fmla="*/ 227862 w 242761"/>
                    <a:gd name="connsiteY167" fmla="*/ 173960 h 531872"/>
                    <a:gd name="connsiteX168" fmla="*/ 233266 w 242761"/>
                    <a:gd name="connsiteY168" fmla="*/ 177578 h 531872"/>
                    <a:gd name="connsiteX169" fmla="*/ 234711 w 242761"/>
                    <a:gd name="connsiteY169" fmla="*/ 180323 h 531872"/>
                    <a:gd name="connsiteX170" fmla="*/ 237067 w 242761"/>
                    <a:gd name="connsiteY170" fmla="*/ 183480 h 531872"/>
                    <a:gd name="connsiteX171" fmla="*/ 238257 w 242761"/>
                    <a:gd name="connsiteY171" fmla="*/ 186273 h 531872"/>
                    <a:gd name="connsiteX172" fmla="*/ 238864 w 242761"/>
                    <a:gd name="connsiteY172" fmla="*/ 193729 h 531872"/>
                    <a:gd name="connsiteX173" fmla="*/ 232792 w 242761"/>
                    <a:gd name="connsiteY173" fmla="*/ 232683 h 531872"/>
                    <a:gd name="connsiteX174" fmla="*/ 232707 w 242761"/>
                    <a:gd name="connsiteY174" fmla="*/ 237807 h 531872"/>
                    <a:gd name="connsiteX175" fmla="*/ 233849 w 242761"/>
                    <a:gd name="connsiteY175" fmla="*/ 249015 h 531872"/>
                    <a:gd name="connsiteX176" fmla="*/ 234164 w 242761"/>
                    <a:gd name="connsiteY176" fmla="*/ 251055 h 531872"/>
                    <a:gd name="connsiteX177" fmla="*/ 234152 w 242761"/>
                    <a:gd name="connsiteY177" fmla="*/ 253411 h 531872"/>
                    <a:gd name="connsiteX178" fmla="*/ 233242 w 242761"/>
                    <a:gd name="connsiteY178" fmla="*/ 256168 h 531872"/>
                    <a:gd name="connsiteX179" fmla="*/ 229210 w 242761"/>
                    <a:gd name="connsiteY179" fmla="*/ 261887 h 531872"/>
                    <a:gd name="connsiteX180" fmla="*/ 228457 w 242761"/>
                    <a:gd name="connsiteY180" fmla="*/ 264364 h 531872"/>
                    <a:gd name="connsiteX181" fmla="*/ 228348 w 242761"/>
                    <a:gd name="connsiteY181" fmla="*/ 267011 h 531872"/>
                    <a:gd name="connsiteX182" fmla="*/ 229125 w 242761"/>
                    <a:gd name="connsiteY182" fmla="*/ 274856 h 531872"/>
                    <a:gd name="connsiteX183" fmla="*/ 227619 w 242761"/>
                    <a:gd name="connsiteY183" fmla="*/ 288796 h 531872"/>
                    <a:gd name="connsiteX184" fmla="*/ 227705 w 242761"/>
                    <a:gd name="connsiteY184" fmla="*/ 291503 h 531872"/>
                    <a:gd name="connsiteX185" fmla="*/ 228069 w 242761"/>
                    <a:gd name="connsiteY185" fmla="*/ 293422 h 531872"/>
                    <a:gd name="connsiteX186" fmla="*/ 228057 w 242761"/>
                    <a:gd name="connsiteY186" fmla="*/ 297186 h 531872"/>
                    <a:gd name="connsiteX187" fmla="*/ 219921 w 242761"/>
                    <a:gd name="connsiteY187" fmla="*/ 313106 h 531872"/>
                    <a:gd name="connsiteX188" fmla="*/ 216824 w 242761"/>
                    <a:gd name="connsiteY188" fmla="*/ 317246 h 531872"/>
                    <a:gd name="connsiteX189" fmla="*/ 212756 w 242761"/>
                    <a:gd name="connsiteY189" fmla="*/ 320792 h 531872"/>
                    <a:gd name="connsiteX190" fmla="*/ 207219 w 242761"/>
                    <a:gd name="connsiteY190" fmla="*/ 323597 h 531872"/>
                    <a:gd name="connsiteX191" fmla="*/ 199994 w 242761"/>
                    <a:gd name="connsiteY191" fmla="*/ 324265 h 531872"/>
                    <a:gd name="connsiteX192" fmla="*/ 195113 w 242761"/>
                    <a:gd name="connsiteY192" fmla="*/ 320416 h 531872"/>
                    <a:gd name="connsiteX193" fmla="*/ 191931 w 242761"/>
                    <a:gd name="connsiteY193" fmla="*/ 315801 h 531872"/>
                    <a:gd name="connsiteX194" fmla="*/ 190098 w 242761"/>
                    <a:gd name="connsiteY194" fmla="*/ 314174 h 531872"/>
                    <a:gd name="connsiteX195" fmla="*/ 188094 w 242761"/>
                    <a:gd name="connsiteY195" fmla="*/ 313689 h 531872"/>
                    <a:gd name="connsiteX196" fmla="*/ 185277 w 242761"/>
                    <a:gd name="connsiteY196" fmla="*/ 314696 h 531872"/>
                    <a:gd name="connsiteX197" fmla="*/ 183978 w 242761"/>
                    <a:gd name="connsiteY197" fmla="*/ 316736 h 531872"/>
                    <a:gd name="connsiteX198" fmla="*/ 183662 w 242761"/>
                    <a:gd name="connsiteY198" fmla="*/ 321254 h 531872"/>
                    <a:gd name="connsiteX199" fmla="*/ 184548 w 242761"/>
                    <a:gd name="connsiteY199" fmla="*/ 326026 h 531872"/>
                    <a:gd name="connsiteX200" fmla="*/ 185921 w 242761"/>
                    <a:gd name="connsiteY200" fmla="*/ 329693 h 531872"/>
                    <a:gd name="connsiteX201" fmla="*/ 189478 w 242761"/>
                    <a:gd name="connsiteY201" fmla="*/ 336396 h 531872"/>
                    <a:gd name="connsiteX202" fmla="*/ 190899 w 242761"/>
                    <a:gd name="connsiteY202" fmla="*/ 340925 h 531872"/>
                    <a:gd name="connsiteX203" fmla="*/ 190596 w 242761"/>
                    <a:gd name="connsiteY203" fmla="*/ 346487 h 531872"/>
                    <a:gd name="connsiteX204" fmla="*/ 187487 w 242761"/>
                    <a:gd name="connsiteY204" fmla="*/ 351222 h 531872"/>
                    <a:gd name="connsiteX205" fmla="*/ 180541 w 242761"/>
                    <a:gd name="connsiteY205" fmla="*/ 359322 h 531872"/>
                    <a:gd name="connsiteX206" fmla="*/ 179278 w 242761"/>
                    <a:gd name="connsiteY206" fmla="*/ 363001 h 531872"/>
                    <a:gd name="connsiteX207" fmla="*/ 178125 w 242761"/>
                    <a:gd name="connsiteY207" fmla="*/ 365964 h 531872"/>
                    <a:gd name="connsiteX208" fmla="*/ 176352 w 242761"/>
                    <a:gd name="connsiteY208" fmla="*/ 365187 h 531872"/>
                    <a:gd name="connsiteX209" fmla="*/ 172515 w 242761"/>
                    <a:gd name="connsiteY209" fmla="*/ 368502 h 531872"/>
                    <a:gd name="connsiteX210" fmla="*/ 171021 w 242761"/>
                    <a:gd name="connsiteY210" fmla="*/ 383073 h 531872"/>
                    <a:gd name="connsiteX211" fmla="*/ 171580 w 242761"/>
                    <a:gd name="connsiteY211" fmla="*/ 386461 h 531872"/>
                    <a:gd name="connsiteX212" fmla="*/ 172879 w 242761"/>
                    <a:gd name="connsiteY212" fmla="*/ 389533 h 531872"/>
                    <a:gd name="connsiteX213" fmla="*/ 176947 w 242761"/>
                    <a:gd name="connsiteY213" fmla="*/ 396394 h 531872"/>
                    <a:gd name="connsiteX214" fmla="*/ 178331 w 242761"/>
                    <a:gd name="connsiteY214" fmla="*/ 400960 h 531872"/>
                    <a:gd name="connsiteX215" fmla="*/ 178210 w 242761"/>
                    <a:gd name="connsiteY215" fmla="*/ 406230 h 531872"/>
                    <a:gd name="connsiteX216" fmla="*/ 176036 w 242761"/>
                    <a:gd name="connsiteY216" fmla="*/ 414621 h 531872"/>
                    <a:gd name="connsiteX217" fmla="*/ 176315 w 242761"/>
                    <a:gd name="connsiteY217" fmla="*/ 418312 h 531872"/>
                    <a:gd name="connsiteX218" fmla="*/ 178125 w 242761"/>
                    <a:gd name="connsiteY218" fmla="*/ 424044 h 531872"/>
                    <a:gd name="connsiteX219" fmla="*/ 179497 w 242761"/>
                    <a:gd name="connsiteY219" fmla="*/ 426776 h 531872"/>
                    <a:gd name="connsiteX220" fmla="*/ 186200 w 242761"/>
                    <a:gd name="connsiteY220" fmla="*/ 433527 h 531872"/>
                    <a:gd name="connsiteX221" fmla="*/ 188701 w 242761"/>
                    <a:gd name="connsiteY221" fmla="*/ 442319 h 531872"/>
                    <a:gd name="connsiteX222" fmla="*/ 190426 w 242761"/>
                    <a:gd name="connsiteY222" fmla="*/ 466046 h 531872"/>
                    <a:gd name="connsiteX223" fmla="*/ 190316 w 242761"/>
                    <a:gd name="connsiteY223" fmla="*/ 468390 h 531872"/>
                    <a:gd name="connsiteX224" fmla="*/ 188908 w 242761"/>
                    <a:gd name="connsiteY224" fmla="*/ 472725 h 531872"/>
                    <a:gd name="connsiteX225" fmla="*/ 186443 w 242761"/>
                    <a:gd name="connsiteY225" fmla="*/ 474157 h 531872"/>
                    <a:gd name="connsiteX226" fmla="*/ 183613 w 242761"/>
                    <a:gd name="connsiteY226" fmla="*/ 474837 h 531872"/>
                    <a:gd name="connsiteX227" fmla="*/ 181148 w 242761"/>
                    <a:gd name="connsiteY227" fmla="*/ 476027 h 531872"/>
                    <a:gd name="connsiteX228" fmla="*/ 185763 w 242761"/>
                    <a:gd name="connsiteY228" fmla="*/ 484224 h 531872"/>
                    <a:gd name="connsiteX229" fmla="*/ 176935 w 242761"/>
                    <a:gd name="connsiteY229" fmla="*/ 486883 h 531872"/>
                    <a:gd name="connsiteX230" fmla="*/ 173073 w 242761"/>
                    <a:gd name="connsiteY230" fmla="*/ 485244 h 531872"/>
                    <a:gd name="connsiteX231" fmla="*/ 169819 w 242761"/>
                    <a:gd name="connsiteY231" fmla="*/ 482876 h 531872"/>
                    <a:gd name="connsiteX232" fmla="*/ 167390 w 242761"/>
                    <a:gd name="connsiteY232" fmla="*/ 482342 h 531872"/>
                    <a:gd name="connsiteX233" fmla="*/ 162764 w 242761"/>
                    <a:gd name="connsiteY233" fmla="*/ 481565 h 531872"/>
                    <a:gd name="connsiteX234" fmla="*/ 162181 w 242761"/>
                    <a:gd name="connsiteY234" fmla="*/ 481662 h 531872"/>
                    <a:gd name="connsiteX235" fmla="*/ 161950 w 242761"/>
                    <a:gd name="connsiteY235" fmla="*/ 495553 h 531872"/>
                    <a:gd name="connsiteX236" fmla="*/ 162339 w 242761"/>
                    <a:gd name="connsiteY236" fmla="*/ 496075 h 531872"/>
                    <a:gd name="connsiteX237" fmla="*/ 163310 w 242761"/>
                    <a:gd name="connsiteY237" fmla="*/ 498832 h 531872"/>
                    <a:gd name="connsiteX238" fmla="*/ 157239 w 242761"/>
                    <a:gd name="connsiteY238" fmla="*/ 501273 h 531872"/>
                    <a:gd name="connsiteX239" fmla="*/ 155138 w 242761"/>
                    <a:gd name="connsiteY239" fmla="*/ 501771 h 531872"/>
                    <a:gd name="connsiteX240" fmla="*/ 154349 w 242761"/>
                    <a:gd name="connsiteY240" fmla="*/ 502390 h 531872"/>
                    <a:gd name="connsiteX241" fmla="*/ 151216 w 242761"/>
                    <a:gd name="connsiteY241" fmla="*/ 508364 h 531872"/>
                    <a:gd name="connsiteX242" fmla="*/ 151155 w 242761"/>
                    <a:gd name="connsiteY242" fmla="*/ 509967 h 531872"/>
                    <a:gd name="connsiteX243" fmla="*/ 151702 w 242761"/>
                    <a:gd name="connsiteY243" fmla="*/ 511533 h 531872"/>
                    <a:gd name="connsiteX244" fmla="*/ 152722 w 242761"/>
                    <a:gd name="connsiteY244" fmla="*/ 513343 h 531872"/>
                    <a:gd name="connsiteX245" fmla="*/ 153365 w 242761"/>
                    <a:gd name="connsiteY245" fmla="*/ 514970 h 531872"/>
                    <a:gd name="connsiteX246" fmla="*/ 153827 w 242761"/>
                    <a:gd name="connsiteY246" fmla="*/ 516743 h 531872"/>
                    <a:gd name="connsiteX247" fmla="*/ 153972 w 242761"/>
                    <a:gd name="connsiteY247" fmla="*/ 518722 h 531872"/>
                    <a:gd name="connsiteX248" fmla="*/ 153657 w 242761"/>
                    <a:gd name="connsiteY248" fmla="*/ 521394 h 531872"/>
                    <a:gd name="connsiteX249" fmla="*/ 153074 w 242761"/>
                    <a:gd name="connsiteY249" fmla="*/ 522195 h 531872"/>
                    <a:gd name="connsiteX250" fmla="*/ 152163 w 242761"/>
                    <a:gd name="connsiteY250" fmla="*/ 523239 h 531872"/>
                    <a:gd name="connsiteX251" fmla="*/ 149540 w 242761"/>
                    <a:gd name="connsiteY251" fmla="*/ 524794 h 531872"/>
                    <a:gd name="connsiteX252" fmla="*/ 148107 w 242761"/>
                    <a:gd name="connsiteY252" fmla="*/ 524891 h 531872"/>
                    <a:gd name="connsiteX253" fmla="*/ 146201 w 242761"/>
                    <a:gd name="connsiteY253" fmla="*/ 524636 h 531872"/>
                    <a:gd name="connsiteX254" fmla="*/ 144489 w 242761"/>
                    <a:gd name="connsiteY254" fmla="*/ 523834 h 531872"/>
                    <a:gd name="connsiteX255" fmla="*/ 143080 w 242761"/>
                    <a:gd name="connsiteY255" fmla="*/ 522219 h 531872"/>
                    <a:gd name="connsiteX256" fmla="*/ 140870 w 242761"/>
                    <a:gd name="connsiteY256" fmla="*/ 519062 h 531872"/>
                    <a:gd name="connsiteX257" fmla="*/ 139486 w 242761"/>
                    <a:gd name="connsiteY257" fmla="*/ 518309 h 531872"/>
                    <a:gd name="connsiteX258" fmla="*/ 138551 w 242761"/>
                    <a:gd name="connsiteY258" fmla="*/ 521126 h 531872"/>
                    <a:gd name="connsiteX259" fmla="*/ 136596 w 242761"/>
                    <a:gd name="connsiteY259" fmla="*/ 527550 h 531872"/>
                    <a:gd name="connsiteX260" fmla="*/ 131593 w 242761"/>
                    <a:gd name="connsiteY260" fmla="*/ 531873 h 531872"/>
                    <a:gd name="connsiteX261" fmla="*/ 126930 w 242761"/>
                    <a:gd name="connsiteY261" fmla="*/ 527344 h 531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242761" h="531872">
                      <a:moveTo>
                        <a:pt x="126930" y="527344"/>
                      </a:moveTo>
                      <a:lnTo>
                        <a:pt x="125837" y="520653"/>
                      </a:lnTo>
                      <a:lnTo>
                        <a:pt x="124368" y="515346"/>
                      </a:lnTo>
                      <a:lnTo>
                        <a:pt x="121539" y="511946"/>
                      </a:lnTo>
                      <a:lnTo>
                        <a:pt x="109760" y="501006"/>
                      </a:lnTo>
                      <a:lnTo>
                        <a:pt x="98188" y="492627"/>
                      </a:lnTo>
                      <a:lnTo>
                        <a:pt x="96281" y="492214"/>
                      </a:lnTo>
                      <a:lnTo>
                        <a:pt x="95978" y="493586"/>
                      </a:lnTo>
                      <a:lnTo>
                        <a:pt x="96731" y="498128"/>
                      </a:lnTo>
                      <a:lnTo>
                        <a:pt x="96512" y="502293"/>
                      </a:lnTo>
                      <a:lnTo>
                        <a:pt x="94096" y="503786"/>
                      </a:lnTo>
                      <a:lnTo>
                        <a:pt x="93573" y="503847"/>
                      </a:lnTo>
                      <a:lnTo>
                        <a:pt x="93124" y="505340"/>
                      </a:lnTo>
                      <a:lnTo>
                        <a:pt x="93258" y="507380"/>
                      </a:lnTo>
                      <a:lnTo>
                        <a:pt x="93670" y="509651"/>
                      </a:lnTo>
                      <a:lnTo>
                        <a:pt x="93707" y="513598"/>
                      </a:lnTo>
                      <a:lnTo>
                        <a:pt x="91485" y="517763"/>
                      </a:lnTo>
                      <a:lnTo>
                        <a:pt x="88073" y="519621"/>
                      </a:lnTo>
                      <a:lnTo>
                        <a:pt x="85134" y="519876"/>
                      </a:lnTo>
                      <a:lnTo>
                        <a:pt x="84394" y="520131"/>
                      </a:lnTo>
                      <a:lnTo>
                        <a:pt x="82790" y="522086"/>
                      </a:lnTo>
                      <a:lnTo>
                        <a:pt x="81516" y="523446"/>
                      </a:lnTo>
                      <a:lnTo>
                        <a:pt x="79925" y="524745"/>
                      </a:lnTo>
                      <a:lnTo>
                        <a:pt x="78152" y="525789"/>
                      </a:lnTo>
                      <a:lnTo>
                        <a:pt x="72408" y="527926"/>
                      </a:lnTo>
                      <a:lnTo>
                        <a:pt x="72032" y="522110"/>
                      </a:lnTo>
                      <a:lnTo>
                        <a:pt x="71704" y="520823"/>
                      </a:lnTo>
                      <a:lnTo>
                        <a:pt x="69215" y="507745"/>
                      </a:lnTo>
                      <a:lnTo>
                        <a:pt x="64430" y="492955"/>
                      </a:lnTo>
                      <a:lnTo>
                        <a:pt x="69069" y="488984"/>
                      </a:lnTo>
                      <a:lnTo>
                        <a:pt x="72202" y="489008"/>
                      </a:lnTo>
                      <a:lnTo>
                        <a:pt x="72372" y="485900"/>
                      </a:lnTo>
                      <a:lnTo>
                        <a:pt x="61504" y="422186"/>
                      </a:lnTo>
                      <a:lnTo>
                        <a:pt x="61176" y="418555"/>
                      </a:lnTo>
                      <a:lnTo>
                        <a:pt x="58966" y="413248"/>
                      </a:lnTo>
                      <a:lnTo>
                        <a:pt x="58140" y="409460"/>
                      </a:lnTo>
                      <a:lnTo>
                        <a:pt x="58468" y="397268"/>
                      </a:lnTo>
                      <a:lnTo>
                        <a:pt x="57157" y="382442"/>
                      </a:lnTo>
                      <a:lnTo>
                        <a:pt x="56441" y="379916"/>
                      </a:lnTo>
                      <a:lnTo>
                        <a:pt x="54813" y="377864"/>
                      </a:lnTo>
                      <a:lnTo>
                        <a:pt x="50296" y="374160"/>
                      </a:lnTo>
                      <a:lnTo>
                        <a:pt x="47248" y="370165"/>
                      </a:lnTo>
                      <a:lnTo>
                        <a:pt x="45791" y="363535"/>
                      </a:lnTo>
                      <a:lnTo>
                        <a:pt x="44225" y="348769"/>
                      </a:lnTo>
                      <a:lnTo>
                        <a:pt x="42549" y="346729"/>
                      </a:lnTo>
                      <a:lnTo>
                        <a:pt x="36198" y="344204"/>
                      </a:lnTo>
                      <a:lnTo>
                        <a:pt x="32179" y="338254"/>
                      </a:lnTo>
                      <a:lnTo>
                        <a:pt x="30297" y="330519"/>
                      </a:lnTo>
                      <a:lnTo>
                        <a:pt x="30333" y="316105"/>
                      </a:lnTo>
                      <a:lnTo>
                        <a:pt x="25610" y="288662"/>
                      </a:lnTo>
                      <a:lnTo>
                        <a:pt x="25731" y="280223"/>
                      </a:lnTo>
                      <a:lnTo>
                        <a:pt x="26642" y="276531"/>
                      </a:lnTo>
                      <a:lnTo>
                        <a:pt x="30236" y="269112"/>
                      </a:lnTo>
                      <a:lnTo>
                        <a:pt x="31377" y="265870"/>
                      </a:lnTo>
                      <a:lnTo>
                        <a:pt x="31086" y="265056"/>
                      </a:lnTo>
                      <a:lnTo>
                        <a:pt x="30491" y="264218"/>
                      </a:lnTo>
                      <a:lnTo>
                        <a:pt x="29374" y="260551"/>
                      </a:lnTo>
                      <a:lnTo>
                        <a:pt x="29179" y="257819"/>
                      </a:lnTo>
                      <a:lnTo>
                        <a:pt x="29726" y="253472"/>
                      </a:lnTo>
                      <a:lnTo>
                        <a:pt x="27516" y="251590"/>
                      </a:lnTo>
                      <a:lnTo>
                        <a:pt x="25537" y="249003"/>
                      </a:lnTo>
                      <a:lnTo>
                        <a:pt x="25197" y="246963"/>
                      </a:lnTo>
                      <a:lnTo>
                        <a:pt x="25452" y="243417"/>
                      </a:lnTo>
                      <a:lnTo>
                        <a:pt x="25209" y="242810"/>
                      </a:lnTo>
                      <a:lnTo>
                        <a:pt x="24553" y="242106"/>
                      </a:lnTo>
                      <a:lnTo>
                        <a:pt x="22610" y="240430"/>
                      </a:lnTo>
                      <a:lnTo>
                        <a:pt x="21129" y="238245"/>
                      </a:lnTo>
                      <a:lnTo>
                        <a:pt x="19926" y="234553"/>
                      </a:lnTo>
                      <a:lnTo>
                        <a:pt x="18724" y="224401"/>
                      </a:lnTo>
                      <a:lnTo>
                        <a:pt x="11682" y="202374"/>
                      </a:lnTo>
                      <a:lnTo>
                        <a:pt x="11026" y="195089"/>
                      </a:lnTo>
                      <a:lnTo>
                        <a:pt x="13284" y="185678"/>
                      </a:lnTo>
                      <a:lnTo>
                        <a:pt x="12981" y="184136"/>
                      </a:lnTo>
                      <a:lnTo>
                        <a:pt x="11997" y="183601"/>
                      </a:lnTo>
                      <a:lnTo>
                        <a:pt x="11451" y="183917"/>
                      </a:lnTo>
                      <a:lnTo>
                        <a:pt x="9144" y="192696"/>
                      </a:lnTo>
                      <a:lnTo>
                        <a:pt x="3218" y="198331"/>
                      </a:lnTo>
                      <a:lnTo>
                        <a:pt x="291" y="194348"/>
                      </a:lnTo>
                      <a:lnTo>
                        <a:pt x="0" y="191944"/>
                      </a:lnTo>
                      <a:lnTo>
                        <a:pt x="11511" y="152746"/>
                      </a:lnTo>
                      <a:cubicBezTo>
                        <a:pt x="12556" y="149893"/>
                        <a:pt x="13236" y="147367"/>
                        <a:pt x="13892" y="144877"/>
                      </a:cubicBezTo>
                      <a:cubicBezTo>
                        <a:pt x="14996" y="140761"/>
                        <a:pt x="16138" y="136511"/>
                        <a:pt x="18518" y="131957"/>
                      </a:cubicBezTo>
                      <a:cubicBezTo>
                        <a:pt x="20412" y="128375"/>
                        <a:pt x="22926" y="125995"/>
                        <a:pt x="25160" y="123907"/>
                      </a:cubicBezTo>
                      <a:cubicBezTo>
                        <a:pt x="27989" y="121235"/>
                        <a:pt x="30224" y="119134"/>
                        <a:pt x="30782" y="115054"/>
                      </a:cubicBezTo>
                      <a:cubicBezTo>
                        <a:pt x="31802" y="107623"/>
                        <a:pt x="32822" y="99135"/>
                        <a:pt x="31936" y="92675"/>
                      </a:cubicBezTo>
                      <a:lnTo>
                        <a:pt x="31438" y="88765"/>
                      </a:lnTo>
                      <a:cubicBezTo>
                        <a:pt x="30576" y="81880"/>
                        <a:pt x="29604" y="74072"/>
                        <a:pt x="27030" y="68620"/>
                      </a:cubicBezTo>
                      <a:lnTo>
                        <a:pt x="26678" y="67891"/>
                      </a:lnTo>
                      <a:lnTo>
                        <a:pt x="26751" y="67090"/>
                      </a:lnTo>
                      <a:cubicBezTo>
                        <a:pt x="27103" y="62475"/>
                        <a:pt x="25039" y="60678"/>
                        <a:pt x="21918" y="57958"/>
                      </a:cubicBezTo>
                      <a:cubicBezTo>
                        <a:pt x="21202" y="57339"/>
                        <a:pt x="20485" y="56695"/>
                        <a:pt x="19769" y="56027"/>
                      </a:cubicBezTo>
                      <a:lnTo>
                        <a:pt x="12459" y="49045"/>
                      </a:lnTo>
                      <a:lnTo>
                        <a:pt x="31268" y="52458"/>
                      </a:lnTo>
                      <a:cubicBezTo>
                        <a:pt x="31814" y="52555"/>
                        <a:pt x="32349" y="52603"/>
                        <a:pt x="32883" y="52603"/>
                      </a:cubicBezTo>
                      <a:cubicBezTo>
                        <a:pt x="39538" y="52603"/>
                        <a:pt x="45062" y="44771"/>
                        <a:pt x="48717" y="39598"/>
                      </a:cubicBezTo>
                      <a:cubicBezTo>
                        <a:pt x="49215" y="38870"/>
                        <a:pt x="49640" y="38129"/>
                        <a:pt x="50041" y="37400"/>
                      </a:cubicBezTo>
                      <a:cubicBezTo>
                        <a:pt x="51644" y="34607"/>
                        <a:pt x="53830" y="30770"/>
                        <a:pt x="59464" y="30758"/>
                      </a:cubicBezTo>
                      <a:cubicBezTo>
                        <a:pt x="67333" y="30758"/>
                        <a:pt x="69494" y="38785"/>
                        <a:pt x="71243" y="45220"/>
                      </a:cubicBezTo>
                      <a:cubicBezTo>
                        <a:pt x="73137" y="52287"/>
                        <a:pt x="74594" y="56574"/>
                        <a:pt x="78820" y="56574"/>
                      </a:cubicBezTo>
                      <a:cubicBezTo>
                        <a:pt x="79306" y="56574"/>
                        <a:pt x="79840" y="56525"/>
                        <a:pt x="80411" y="56416"/>
                      </a:cubicBezTo>
                      <a:cubicBezTo>
                        <a:pt x="81892" y="56149"/>
                        <a:pt x="84005" y="53271"/>
                        <a:pt x="85547" y="51182"/>
                      </a:cubicBezTo>
                      <a:cubicBezTo>
                        <a:pt x="86798" y="49495"/>
                        <a:pt x="88073" y="47746"/>
                        <a:pt x="89481" y="46471"/>
                      </a:cubicBezTo>
                      <a:cubicBezTo>
                        <a:pt x="95043" y="41505"/>
                        <a:pt x="98588" y="35385"/>
                        <a:pt x="102353" y="28900"/>
                      </a:cubicBezTo>
                      <a:lnTo>
                        <a:pt x="105182" y="24067"/>
                      </a:lnTo>
                      <a:cubicBezTo>
                        <a:pt x="106190" y="22392"/>
                        <a:pt x="107149" y="20400"/>
                        <a:pt x="108169" y="18311"/>
                      </a:cubicBezTo>
                      <a:cubicBezTo>
                        <a:pt x="111800" y="10856"/>
                        <a:pt x="116305" y="1566"/>
                        <a:pt x="125631" y="146"/>
                      </a:cubicBezTo>
                      <a:cubicBezTo>
                        <a:pt x="126214" y="49"/>
                        <a:pt x="127052" y="0"/>
                        <a:pt x="128035" y="0"/>
                      </a:cubicBezTo>
                      <a:cubicBezTo>
                        <a:pt x="130767" y="0"/>
                        <a:pt x="134787" y="389"/>
                        <a:pt x="136754" y="1032"/>
                      </a:cubicBezTo>
                      <a:cubicBezTo>
                        <a:pt x="139316" y="1906"/>
                        <a:pt x="140385" y="2951"/>
                        <a:pt x="141417" y="4129"/>
                      </a:cubicBezTo>
                      <a:cubicBezTo>
                        <a:pt x="141939" y="4711"/>
                        <a:pt x="142303" y="5137"/>
                        <a:pt x="143311" y="5707"/>
                      </a:cubicBezTo>
                      <a:cubicBezTo>
                        <a:pt x="146784" y="7662"/>
                        <a:pt x="152054" y="8269"/>
                        <a:pt x="156705" y="8804"/>
                      </a:cubicBezTo>
                      <a:lnTo>
                        <a:pt x="161113" y="9350"/>
                      </a:lnTo>
                      <a:lnTo>
                        <a:pt x="161865" y="10649"/>
                      </a:lnTo>
                      <a:cubicBezTo>
                        <a:pt x="164148" y="14596"/>
                        <a:pt x="163578" y="18700"/>
                        <a:pt x="163067" y="22319"/>
                      </a:cubicBezTo>
                      <a:cubicBezTo>
                        <a:pt x="162703" y="25002"/>
                        <a:pt x="162339" y="27528"/>
                        <a:pt x="163177" y="29665"/>
                      </a:cubicBezTo>
                      <a:cubicBezTo>
                        <a:pt x="163687" y="31025"/>
                        <a:pt x="164525" y="32288"/>
                        <a:pt x="165423" y="33636"/>
                      </a:cubicBezTo>
                      <a:cubicBezTo>
                        <a:pt x="166978" y="35967"/>
                        <a:pt x="168726" y="38627"/>
                        <a:pt x="168981" y="42160"/>
                      </a:cubicBezTo>
                      <a:cubicBezTo>
                        <a:pt x="169260" y="45779"/>
                        <a:pt x="168568" y="49313"/>
                        <a:pt x="167888" y="52725"/>
                      </a:cubicBezTo>
                      <a:cubicBezTo>
                        <a:pt x="166795" y="58250"/>
                        <a:pt x="165848" y="63010"/>
                        <a:pt x="168799" y="67624"/>
                      </a:cubicBezTo>
                      <a:cubicBezTo>
                        <a:pt x="169856" y="69312"/>
                        <a:pt x="169977" y="71036"/>
                        <a:pt x="170062" y="72433"/>
                      </a:cubicBezTo>
                      <a:cubicBezTo>
                        <a:pt x="170135" y="73428"/>
                        <a:pt x="170195" y="74278"/>
                        <a:pt x="170548" y="75055"/>
                      </a:cubicBezTo>
                      <a:cubicBezTo>
                        <a:pt x="170924" y="75833"/>
                        <a:pt x="172017" y="76998"/>
                        <a:pt x="173085" y="78128"/>
                      </a:cubicBezTo>
                      <a:lnTo>
                        <a:pt x="173972" y="79075"/>
                      </a:lnTo>
                      <a:lnTo>
                        <a:pt x="174045" y="80532"/>
                      </a:lnTo>
                      <a:lnTo>
                        <a:pt x="174482" y="80775"/>
                      </a:lnTo>
                      <a:lnTo>
                        <a:pt x="175138" y="81564"/>
                      </a:lnTo>
                      <a:cubicBezTo>
                        <a:pt x="175405" y="81661"/>
                        <a:pt x="176813" y="81686"/>
                        <a:pt x="177639" y="81698"/>
                      </a:cubicBezTo>
                      <a:cubicBezTo>
                        <a:pt x="177639" y="81698"/>
                        <a:pt x="179728" y="81758"/>
                        <a:pt x="179837" y="81758"/>
                      </a:cubicBezTo>
                      <a:cubicBezTo>
                        <a:pt x="180517" y="81758"/>
                        <a:pt x="180687" y="81649"/>
                        <a:pt x="181804" y="80823"/>
                      </a:cubicBezTo>
                      <a:cubicBezTo>
                        <a:pt x="182836" y="80046"/>
                        <a:pt x="183844" y="79512"/>
                        <a:pt x="184682" y="79063"/>
                      </a:cubicBezTo>
                      <a:cubicBezTo>
                        <a:pt x="186236" y="78055"/>
                        <a:pt x="186783" y="77508"/>
                        <a:pt x="187281" y="77011"/>
                      </a:cubicBezTo>
                      <a:cubicBezTo>
                        <a:pt x="188446" y="75857"/>
                        <a:pt x="189770" y="74533"/>
                        <a:pt x="192004" y="74060"/>
                      </a:cubicBezTo>
                      <a:cubicBezTo>
                        <a:pt x="192004" y="74060"/>
                        <a:pt x="197881" y="74388"/>
                        <a:pt x="197906" y="74388"/>
                      </a:cubicBezTo>
                      <a:cubicBezTo>
                        <a:pt x="198489" y="74388"/>
                        <a:pt x="198901" y="74315"/>
                        <a:pt x="199326" y="74254"/>
                      </a:cubicBezTo>
                      <a:cubicBezTo>
                        <a:pt x="200043" y="74157"/>
                        <a:pt x="200747" y="74060"/>
                        <a:pt x="201451" y="74060"/>
                      </a:cubicBezTo>
                      <a:cubicBezTo>
                        <a:pt x="205762" y="74375"/>
                        <a:pt x="209539" y="74667"/>
                        <a:pt x="212623" y="75602"/>
                      </a:cubicBezTo>
                      <a:cubicBezTo>
                        <a:pt x="214481" y="76088"/>
                        <a:pt x="220528" y="77666"/>
                        <a:pt x="219957" y="84831"/>
                      </a:cubicBezTo>
                      <a:cubicBezTo>
                        <a:pt x="219775" y="87502"/>
                        <a:pt x="219799" y="88619"/>
                        <a:pt x="220698" y="89542"/>
                      </a:cubicBezTo>
                      <a:cubicBezTo>
                        <a:pt x="222082" y="90659"/>
                        <a:pt x="224061" y="91546"/>
                        <a:pt x="226162" y="92481"/>
                      </a:cubicBezTo>
                      <a:cubicBezTo>
                        <a:pt x="227862" y="93234"/>
                        <a:pt x="229526" y="93998"/>
                        <a:pt x="231068" y="94970"/>
                      </a:cubicBezTo>
                      <a:cubicBezTo>
                        <a:pt x="232622" y="95820"/>
                        <a:pt x="233521" y="96731"/>
                        <a:pt x="234249" y="97459"/>
                      </a:cubicBezTo>
                      <a:cubicBezTo>
                        <a:pt x="235051" y="97787"/>
                        <a:pt x="236301" y="98443"/>
                        <a:pt x="237261" y="99281"/>
                      </a:cubicBezTo>
                      <a:cubicBezTo>
                        <a:pt x="239301" y="100471"/>
                        <a:pt x="239908" y="102972"/>
                        <a:pt x="240357" y="104842"/>
                      </a:cubicBezTo>
                      <a:cubicBezTo>
                        <a:pt x="240430" y="105134"/>
                        <a:pt x="240491" y="105437"/>
                        <a:pt x="240564" y="105692"/>
                      </a:cubicBezTo>
                      <a:cubicBezTo>
                        <a:pt x="241050" y="105996"/>
                        <a:pt x="241438" y="106421"/>
                        <a:pt x="241717" y="106919"/>
                      </a:cubicBezTo>
                      <a:cubicBezTo>
                        <a:pt x="242652" y="108691"/>
                        <a:pt x="241717" y="110391"/>
                        <a:pt x="241086" y="111509"/>
                      </a:cubicBezTo>
                      <a:lnTo>
                        <a:pt x="240880" y="111484"/>
                      </a:lnTo>
                      <a:lnTo>
                        <a:pt x="242762" y="157518"/>
                      </a:lnTo>
                      <a:lnTo>
                        <a:pt x="235585" y="129201"/>
                      </a:lnTo>
                      <a:lnTo>
                        <a:pt x="234334" y="126092"/>
                      </a:lnTo>
                      <a:lnTo>
                        <a:pt x="228821" y="120932"/>
                      </a:lnTo>
                      <a:lnTo>
                        <a:pt x="226745" y="118382"/>
                      </a:lnTo>
                      <a:lnTo>
                        <a:pt x="221645" y="110610"/>
                      </a:lnTo>
                      <a:lnTo>
                        <a:pt x="219811" y="109578"/>
                      </a:lnTo>
                      <a:lnTo>
                        <a:pt x="217055" y="110561"/>
                      </a:lnTo>
                      <a:lnTo>
                        <a:pt x="215258" y="113002"/>
                      </a:lnTo>
                      <a:lnTo>
                        <a:pt x="214493" y="116548"/>
                      </a:lnTo>
                      <a:lnTo>
                        <a:pt x="214238" y="120846"/>
                      </a:lnTo>
                      <a:lnTo>
                        <a:pt x="214590" y="124623"/>
                      </a:lnTo>
                      <a:lnTo>
                        <a:pt x="215452" y="127598"/>
                      </a:lnTo>
                      <a:lnTo>
                        <a:pt x="216776" y="130379"/>
                      </a:lnTo>
                      <a:lnTo>
                        <a:pt x="220601" y="136547"/>
                      </a:lnTo>
                      <a:lnTo>
                        <a:pt x="221924" y="138150"/>
                      </a:lnTo>
                      <a:lnTo>
                        <a:pt x="222653" y="138660"/>
                      </a:lnTo>
                      <a:lnTo>
                        <a:pt x="224146" y="140931"/>
                      </a:lnTo>
                      <a:lnTo>
                        <a:pt x="225082" y="144987"/>
                      </a:lnTo>
                      <a:lnTo>
                        <a:pt x="224972" y="152734"/>
                      </a:lnTo>
                      <a:lnTo>
                        <a:pt x="227862" y="173960"/>
                      </a:lnTo>
                      <a:lnTo>
                        <a:pt x="233266" y="177578"/>
                      </a:lnTo>
                      <a:lnTo>
                        <a:pt x="234711" y="180323"/>
                      </a:lnTo>
                      <a:lnTo>
                        <a:pt x="237067" y="183480"/>
                      </a:lnTo>
                      <a:lnTo>
                        <a:pt x="238257" y="186273"/>
                      </a:lnTo>
                      <a:lnTo>
                        <a:pt x="238864" y="193729"/>
                      </a:lnTo>
                      <a:lnTo>
                        <a:pt x="232792" y="232683"/>
                      </a:lnTo>
                      <a:lnTo>
                        <a:pt x="232707" y="237807"/>
                      </a:lnTo>
                      <a:lnTo>
                        <a:pt x="233849" y="249015"/>
                      </a:lnTo>
                      <a:lnTo>
                        <a:pt x="234164" y="251055"/>
                      </a:lnTo>
                      <a:lnTo>
                        <a:pt x="234152" y="253411"/>
                      </a:lnTo>
                      <a:lnTo>
                        <a:pt x="233242" y="256168"/>
                      </a:lnTo>
                      <a:lnTo>
                        <a:pt x="229210" y="261887"/>
                      </a:lnTo>
                      <a:lnTo>
                        <a:pt x="228457" y="264364"/>
                      </a:lnTo>
                      <a:lnTo>
                        <a:pt x="228348" y="267011"/>
                      </a:lnTo>
                      <a:lnTo>
                        <a:pt x="229125" y="274856"/>
                      </a:lnTo>
                      <a:lnTo>
                        <a:pt x="227619" y="288796"/>
                      </a:lnTo>
                      <a:lnTo>
                        <a:pt x="227705" y="291503"/>
                      </a:lnTo>
                      <a:lnTo>
                        <a:pt x="228069" y="293422"/>
                      </a:lnTo>
                      <a:lnTo>
                        <a:pt x="228057" y="297186"/>
                      </a:lnTo>
                      <a:lnTo>
                        <a:pt x="219921" y="313106"/>
                      </a:lnTo>
                      <a:lnTo>
                        <a:pt x="216824" y="317246"/>
                      </a:lnTo>
                      <a:lnTo>
                        <a:pt x="212756" y="320792"/>
                      </a:lnTo>
                      <a:lnTo>
                        <a:pt x="207219" y="323597"/>
                      </a:lnTo>
                      <a:lnTo>
                        <a:pt x="199994" y="324265"/>
                      </a:lnTo>
                      <a:lnTo>
                        <a:pt x="195113" y="320416"/>
                      </a:lnTo>
                      <a:lnTo>
                        <a:pt x="191931" y="315801"/>
                      </a:lnTo>
                      <a:lnTo>
                        <a:pt x="190098" y="314174"/>
                      </a:lnTo>
                      <a:lnTo>
                        <a:pt x="188094" y="313689"/>
                      </a:lnTo>
                      <a:lnTo>
                        <a:pt x="185277" y="314696"/>
                      </a:lnTo>
                      <a:lnTo>
                        <a:pt x="183978" y="316736"/>
                      </a:lnTo>
                      <a:lnTo>
                        <a:pt x="183662" y="321254"/>
                      </a:lnTo>
                      <a:lnTo>
                        <a:pt x="184548" y="326026"/>
                      </a:lnTo>
                      <a:lnTo>
                        <a:pt x="185921" y="329693"/>
                      </a:lnTo>
                      <a:lnTo>
                        <a:pt x="189478" y="336396"/>
                      </a:lnTo>
                      <a:lnTo>
                        <a:pt x="190899" y="340925"/>
                      </a:lnTo>
                      <a:lnTo>
                        <a:pt x="190596" y="346487"/>
                      </a:lnTo>
                      <a:lnTo>
                        <a:pt x="187487" y="351222"/>
                      </a:lnTo>
                      <a:lnTo>
                        <a:pt x="180541" y="359322"/>
                      </a:lnTo>
                      <a:lnTo>
                        <a:pt x="179278" y="363001"/>
                      </a:lnTo>
                      <a:lnTo>
                        <a:pt x="178125" y="365964"/>
                      </a:lnTo>
                      <a:lnTo>
                        <a:pt x="176352" y="365187"/>
                      </a:lnTo>
                      <a:lnTo>
                        <a:pt x="172515" y="368502"/>
                      </a:lnTo>
                      <a:lnTo>
                        <a:pt x="171021" y="383073"/>
                      </a:lnTo>
                      <a:lnTo>
                        <a:pt x="171580" y="386461"/>
                      </a:lnTo>
                      <a:lnTo>
                        <a:pt x="172879" y="389533"/>
                      </a:lnTo>
                      <a:lnTo>
                        <a:pt x="176947" y="396394"/>
                      </a:lnTo>
                      <a:lnTo>
                        <a:pt x="178331" y="400960"/>
                      </a:lnTo>
                      <a:lnTo>
                        <a:pt x="178210" y="406230"/>
                      </a:lnTo>
                      <a:lnTo>
                        <a:pt x="176036" y="414621"/>
                      </a:lnTo>
                      <a:lnTo>
                        <a:pt x="176315" y="418312"/>
                      </a:lnTo>
                      <a:lnTo>
                        <a:pt x="178125" y="424044"/>
                      </a:lnTo>
                      <a:lnTo>
                        <a:pt x="179497" y="426776"/>
                      </a:lnTo>
                      <a:lnTo>
                        <a:pt x="186200" y="433527"/>
                      </a:lnTo>
                      <a:lnTo>
                        <a:pt x="188701" y="442319"/>
                      </a:lnTo>
                      <a:lnTo>
                        <a:pt x="190426" y="466046"/>
                      </a:lnTo>
                      <a:lnTo>
                        <a:pt x="190316" y="468390"/>
                      </a:lnTo>
                      <a:lnTo>
                        <a:pt x="188908" y="472725"/>
                      </a:lnTo>
                      <a:lnTo>
                        <a:pt x="186443" y="474157"/>
                      </a:lnTo>
                      <a:lnTo>
                        <a:pt x="183613" y="474837"/>
                      </a:lnTo>
                      <a:lnTo>
                        <a:pt x="181148" y="476027"/>
                      </a:lnTo>
                      <a:lnTo>
                        <a:pt x="185763" y="484224"/>
                      </a:lnTo>
                      <a:lnTo>
                        <a:pt x="176935" y="486883"/>
                      </a:lnTo>
                      <a:lnTo>
                        <a:pt x="173073" y="485244"/>
                      </a:lnTo>
                      <a:lnTo>
                        <a:pt x="169819" y="482876"/>
                      </a:lnTo>
                      <a:lnTo>
                        <a:pt x="167390" y="482342"/>
                      </a:lnTo>
                      <a:lnTo>
                        <a:pt x="162764" y="481565"/>
                      </a:lnTo>
                      <a:lnTo>
                        <a:pt x="162181" y="481662"/>
                      </a:lnTo>
                      <a:lnTo>
                        <a:pt x="161950" y="495553"/>
                      </a:lnTo>
                      <a:lnTo>
                        <a:pt x="162339" y="496075"/>
                      </a:lnTo>
                      <a:lnTo>
                        <a:pt x="163310" y="498832"/>
                      </a:lnTo>
                      <a:lnTo>
                        <a:pt x="157239" y="501273"/>
                      </a:lnTo>
                      <a:lnTo>
                        <a:pt x="155138" y="501771"/>
                      </a:lnTo>
                      <a:lnTo>
                        <a:pt x="154349" y="502390"/>
                      </a:lnTo>
                      <a:lnTo>
                        <a:pt x="151216" y="508364"/>
                      </a:lnTo>
                      <a:lnTo>
                        <a:pt x="151155" y="509967"/>
                      </a:lnTo>
                      <a:lnTo>
                        <a:pt x="151702" y="511533"/>
                      </a:lnTo>
                      <a:lnTo>
                        <a:pt x="152722" y="513343"/>
                      </a:lnTo>
                      <a:lnTo>
                        <a:pt x="153365" y="514970"/>
                      </a:lnTo>
                      <a:lnTo>
                        <a:pt x="153827" y="516743"/>
                      </a:lnTo>
                      <a:lnTo>
                        <a:pt x="153972" y="518722"/>
                      </a:lnTo>
                      <a:lnTo>
                        <a:pt x="153657" y="521394"/>
                      </a:lnTo>
                      <a:lnTo>
                        <a:pt x="153074" y="522195"/>
                      </a:lnTo>
                      <a:lnTo>
                        <a:pt x="152163" y="523239"/>
                      </a:lnTo>
                      <a:lnTo>
                        <a:pt x="149540" y="524794"/>
                      </a:lnTo>
                      <a:lnTo>
                        <a:pt x="148107" y="524891"/>
                      </a:lnTo>
                      <a:lnTo>
                        <a:pt x="146201" y="524636"/>
                      </a:lnTo>
                      <a:lnTo>
                        <a:pt x="144489" y="523834"/>
                      </a:lnTo>
                      <a:lnTo>
                        <a:pt x="143080" y="522219"/>
                      </a:lnTo>
                      <a:lnTo>
                        <a:pt x="140870" y="519062"/>
                      </a:lnTo>
                      <a:lnTo>
                        <a:pt x="139486" y="518309"/>
                      </a:lnTo>
                      <a:lnTo>
                        <a:pt x="138551" y="521126"/>
                      </a:lnTo>
                      <a:lnTo>
                        <a:pt x="136596" y="527550"/>
                      </a:lnTo>
                      <a:lnTo>
                        <a:pt x="131593" y="531873"/>
                      </a:lnTo>
                      <a:lnTo>
                        <a:pt x="126930" y="527344"/>
                      </a:lnTo>
                      <a:close/>
                    </a:path>
                  </a:pathLst>
                </a:custGeom>
                <a:solidFill>
                  <a:srgbClr val="D7D7D2"/>
                </a:solidFill>
                <a:ln w="12138" cap="flat">
                  <a:noFill/>
                  <a:prstDash val="solid"/>
                  <a:miter/>
                </a:ln>
              </p:spPr>
              <p:txBody>
                <a:bodyPr rtlCol="0" anchor="ctr"/>
                <a:lstStyle/>
                <a:p>
                  <a:endParaRPr lang="en-US"/>
                </a:p>
              </p:txBody>
            </p:sp>
            <p:sp>
              <p:nvSpPr>
                <p:cNvPr id="293" name="Freeform: Shape 292">
                  <a:extLst>
                    <a:ext uri="{FF2B5EF4-FFF2-40B4-BE49-F238E27FC236}">
                      <a16:creationId xmlns:a16="http://schemas.microsoft.com/office/drawing/2014/main" id="{1BB7C506-AAE1-48F9-9A0D-97565ADBD84D}"/>
                    </a:ext>
                  </a:extLst>
                </p:cNvPr>
                <p:cNvSpPr/>
                <p:nvPr/>
              </p:nvSpPr>
              <p:spPr>
                <a:xfrm>
                  <a:off x="7862214" y="3225535"/>
                  <a:ext cx="250763" cy="539024"/>
                </a:xfrm>
                <a:custGeom>
                  <a:avLst/>
                  <a:gdLst>
                    <a:gd name="connsiteX0" fmla="*/ 131800 w 250763"/>
                    <a:gd name="connsiteY0" fmla="*/ 6071 h 539024"/>
                    <a:gd name="connsiteX1" fmla="*/ 139583 w 250763"/>
                    <a:gd name="connsiteY1" fmla="*/ 6958 h 539024"/>
                    <a:gd name="connsiteX2" fmla="*/ 145582 w 250763"/>
                    <a:gd name="connsiteY2" fmla="*/ 11390 h 539024"/>
                    <a:gd name="connsiteX3" fmla="*/ 162995 w 250763"/>
                    <a:gd name="connsiteY3" fmla="*/ 15203 h 539024"/>
                    <a:gd name="connsiteX4" fmla="*/ 164100 w 250763"/>
                    <a:gd name="connsiteY4" fmla="*/ 33806 h 539024"/>
                    <a:gd name="connsiteX5" fmla="*/ 169710 w 250763"/>
                    <a:gd name="connsiteY5" fmla="*/ 45439 h 539024"/>
                    <a:gd name="connsiteX6" fmla="*/ 169989 w 250763"/>
                    <a:gd name="connsiteY6" fmla="*/ 72311 h 539024"/>
                    <a:gd name="connsiteX7" fmla="*/ 171543 w 250763"/>
                    <a:gd name="connsiteY7" fmla="*/ 79366 h 539024"/>
                    <a:gd name="connsiteX8" fmla="*/ 174773 w 250763"/>
                    <a:gd name="connsiteY8" fmla="*/ 83410 h 539024"/>
                    <a:gd name="connsiteX9" fmla="*/ 176692 w 250763"/>
                    <a:gd name="connsiteY9" fmla="*/ 86688 h 539024"/>
                    <a:gd name="connsiteX10" fmla="*/ 183018 w 250763"/>
                    <a:gd name="connsiteY10" fmla="*/ 87830 h 539024"/>
                    <a:gd name="connsiteX11" fmla="*/ 183698 w 250763"/>
                    <a:gd name="connsiteY11" fmla="*/ 87854 h 539024"/>
                    <a:gd name="connsiteX12" fmla="*/ 187390 w 250763"/>
                    <a:gd name="connsiteY12" fmla="*/ 86288 h 539024"/>
                    <a:gd name="connsiteX13" fmla="*/ 191106 w 250763"/>
                    <a:gd name="connsiteY13" fmla="*/ 84065 h 539024"/>
                    <a:gd name="connsiteX14" fmla="*/ 196400 w 250763"/>
                    <a:gd name="connsiteY14" fmla="*/ 80070 h 539024"/>
                    <a:gd name="connsiteX15" fmla="*/ 201354 w 250763"/>
                    <a:gd name="connsiteY15" fmla="*/ 80459 h 539024"/>
                    <a:gd name="connsiteX16" fmla="*/ 201779 w 250763"/>
                    <a:gd name="connsiteY16" fmla="*/ 80471 h 539024"/>
                    <a:gd name="connsiteX17" fmla="*/ 205216 w 250763"/>
                    <a:gd name="connsiteY17" fmla="*/ 80143 h 539024"/>
                    <a:gd name="connsiteX18" fmla="*/ 205628 w 250763"/>
                    <a:gd name="connsiteY18" fmla="*/ 80156 h 539024"/>
                    <a:gd name="connsiteX19" fmla="*/ 215489 w 250763"/>
                    <a:gd name="connsiteY19" fmla="*/ 81552 h 539024"/>
                    <a:gd name="connsiteX20" fmla="*/ 220698 w 250763"/>
                    <a:gd name="connsiteY20" fmla="*/ 87636 h 539024"/>
                    <a:gd name="connsiteX21" fmla="*/ 222265 w 250763"/>
                    <a:gd name="connsiteY21" fmla="*/ 94690 h 539024"/>
                    <a:gd name="connsiteX22" fmla="*/ 233205 w 250763"/>
                    <a:gd name="connsiteY22" fmla="*/ 100592 h 539024"/>
                    <a:gd name="connsiteX23" fmla="*/ 235889 w 250763"/>
                    <a:gd name="connsiteY23" fmla="*/ 102693 h 539024"/>
                    <a:gd name="connsiteX24" fmla="*/ 239252 w 250763"/>
                    <a:gd name="connsiteY24" fmla="*/ 104854 h 539024"/>
                    <a:gd name="connsiteX25" fmla="*/ 242458 w 250763"/>
                    <a:gd name="connsiteY25" fmla="*/ 111254 h 539024"/>
                    <a:gd name="connsiteX26" fmla="*/ 241620 w 250763"/>
                    <a:gd name="connsiteY26" fmla="*/ 115042 h 539024"/>
                    <a:gd name="connsiteX27" fmla="*/ 242300 w 250763"/>
                    <a:gd name="connsiteY27" fmla="*/ 131544 h 539024"/>
                    <a:gd name="connsiteX28" fmla="*/ 242069 w 250763"/>
                    <a:gd name="connsiteY28" fmla="*/ 130658 h 539024"/>
                    <a:gd name="connsiteX29" fmla="*/ 240880 w 250763"/>
                    <a:gd name="connsiteY29" fmla="*/ 127962 h 539024"/>
                    <a:gd name="connsiteX30" fmla="*/ 234723 w 250763"/>
                    <a:gd name="connsiteY30" fmla="*/ 121866 h 539024"/>
                    <a:gd name="connsiteX31" fmla="*/ 232890 w 250763"/>
                    <a:gd name="connsiteY31" fmla="*/ 119572 h 539024"/>
                    <a:gd name="connsiteX32" fmla="*/ 227559 w 250763"/>
                    <a:gd name="connsiteY32" fmla="*/ 111411 h 539024"/>
                    <a:gd name="connsiteX33" fmla="*/ 223867 w 250763"/>
                    <a:gd name="connsiteY33" fmla="*/ 109347 h 539024"/>
                    <a:gd name="connsiteX34" fmla="*/ 218937 w 250763"/>
                    <a:gd name="connsiteY34" fmla="*/ 111096 h 539024"/>
                    <a:gd name="connsiteX35" fmla="*/ 216594 w 250763"/>
                    <a:gd name="connsiteY35" fmla="*/ 114289 h 539024"/>
                    <a:gd name="connsiteX36" fmla="*/ 215331 w 250763"/>
                    <a:gd name="connsiteY36" fmla="*/ 118819 h 539024"/>
                    <a:gd name="connsiteX37" fmla="*/ 215258 w 250763"/>
                    <a:gd name="connsiteY37" fmla="*/ 119912 h 539024"/>
                    <a:gd name="connsiteX38" fmla="*/ 214979 w 250763"/>
                    <a:gd name="connsiteY38" fmla="*/ 123712 h 539024"/>
                    <a:gd name="connsiteX39" fmla="*/ 215331 w 250763"/>
                    <a:gd name="connsiteY39" fmla="*/ 127962 h 539024"/>
                    <a:gd name="connsiteX40" fmla="*/ 216290 w 250763"/>
                    <a:gd name="connsiteY40" fmla="*/ 131484 h 539024"/>
                    <a:gd name="connsiteX41" fmla="*/ 217784 w 250763"/>
                    <a:gd name="connsiteY41" fmla="*/ 134726 h 539024"/>
                    <a:gd name="connsiteX42" fmla="*/ 221791 w 250763"/>
                    <a:gd name="connsiteY42" fmla="*/ 141222 h 539024"/>
                    <a:gd name="connsiteX43" fmla="*/ 223345 w 250763"/>
                    <a:gd name="connsiteY43" fmla="*/ 143141 h 539024"/>
                    <a:gd name="connsiteX44" fmla="*/ 224511 w 250763"/>
                    <a:gd name="connsiteY44" fmla="*/ 144088 h 539024"/>
                    <a:gd name="connsiteX45" fmla="*/ 225264 w 250763"/>
                    <a:gd name="connsiteY45" fmla="*/ 145460 h 539024"/>
                    <a:gd name="connsiteX46" fmla="*/ 225895 w 250763"/>
                    <a:gd name="connsiteY46" fmla="*/ 148654 h 539024"/>
                    <a:gd name="connsiteX47" fmla="*/ 225725 w 250763"/>
                    <a:gd name="connsiteY47" fmla="*/ 155745 h 539024"/>
                    <a:gd name="connsiteX48" fmla="*/ 228834 w 250763"/>
                    <a:gd name="connsiteY48" fmla="*/ 178805 h 539024"/>
                    <a:gd name="connsiteX49" fmla="*/ 234735 w 250763"/>
                    <a:gd name="connsiteY49" fmla="*/ 182763 h 539024"/>
                    <a:gd name="connsiteX50" fmla="*/ 235828 w 250763"/>
                    <a:gd name="connsiteY50" fmla="*/ 184828 h 539024"/>
                    <a:gd name="connsiteX51" fmla="*/ 238414 w 250763"/>
                    <a:gd name="connsiteY51" fmla="*/ 188361 h 539024"/>
                    <a:gd name="connsiteX52" fmla="*/ 239216 w 250763"/>
                    <a:gd name="connsiteY52" fmla="*/ 190462 h 539024"/>
                    <a:gd name="connsiteX53" fmla="*/ 239617 w 250763"/>
                    <a:gd name="connsiteY53" fmla="*/ 197007 h 539024"/>
                    <a:gd name="connsiteX54" fmla="*/ 233581 w 250763"/>
                    <a:gd name="connsiteY54" fmla="*/ 235306 h 539024"/>
                    <a:gd name="connsiteX55" fmla="*/ 233460 w 250763"/>
                    <a:gd name="connsiteY55" fmla="*/ 240843 h 539024"/>
                    <a:gd name="connsiteX56" fmla="*/ 234614 w 250763"/>
                    <a:gd name="connsiteY56" fmla="*/ 252415 h 539024"/>
                    <a:gd name="connsiteX57" fmla="*/ 234954 w 250763"/>
                    <a:gd name="connsiteY57" fmla="*/ 254625 h 539024"/>
                    <a:gd name="connsiteX58" fmla="*/ 234905 w 250763"/>
                    <a:gd name="connsiteY58" fmla="*/ 256435 h 539024"/>
                    <a:gd name="connsiteX59" fmla="*/ 234213 w 250763"/>
                    <a:gd name="connsiteY59" fmla="*/ 258122 h 539024"/>
                    <a:gd name="connsiteX60" fmla="*/ 230534 w 250763"/>
                    <a:gd name="connsiteY60" fmla="*/ 263210 h 539024"/>
                    <a:gd name="connsiteX61" fmla="*/ 229368 w 250763"/>
                    <a:gd name="connsiteY61" fmla="*/ 266428 h 539024"/>
                    <a:gd name="connsiteX62" fmla="*/ 229101 w 250763"/>
                    <a:gd name="connsiteY62" fmla="*/ 269865 h 539024"/>
                    <a:gd name="connsiteX63" fmla="*/ 229878 w 250763"/>
                    <a:gd name="connsiteY63" fmla="*/ 278231 h 539024"/>
                    <a:gd name="connsiteX64" fmla="*/ 228385 w 250763"/>
                    <a:gd name="connsiteY64" fmla="*/ 291552 h 539024"/>
                    <a:gd name="connsiteX65" fmla="*/ 228445 w 250763"/>
                    <a:gd name="connsiteY65" fmla="*/ 294648 h 539024"/>
                    <a:gd name="connsiteX66" fmla="*/ 228858 w 250763"/>
                    <a:gd name="connsiteY66" fmla="*/ 297028 h 539024"/>
                    <a:gd name="connsiteX67" fmla="*/ 228810 w 250763"/>
                    <a:gd name="connsiteY67" fmla="*/ 299505 h 539024"/>
                    <a:gd name="connsiteX68" fmla="*/ 220989 w 250763"/>
                    <a:gd name="connsiteY68" fmla="*/ 314806 h 539024"/>
                    <a:gd name="connsiteX69" fmla="*/ 218185 w 250763"/>
                    <a:gd name="connsiteY69" fmla="*/ 318485 h 539024"/>
                    <a:gd name="connsiteX70" fmla="*/ 214566 w 250763"/>
                    <a:gd name="connsiteY70" fmla="*/ 321569 h 539024"/>
                    <a:gd name="connsiteX71" fmla="*/ 209672 w 250763"/>
                    <a:gd name="connsiteY71" fmla="*/ 323961 h 539024"/>
                    <a:gd name="connsiteX72" fmla="*/ 204754 w 250763"/>
                    <a:gd name="connsiteY72" fmla="*/ 324253 h 539024"/>
                    <a:gd name="connsiteX73" fmla="*/ 200784 w 250763"/>
                    <a:gd name="connsiteY73" fmla="*/ 321120 h 539024"/>
                    <a:gd name="connsiteX74" fmla="*/ 198270 w 250763"/>
                    <a:gd name="connsiteY74" fmla="*/ 317234 h 539024"/>
                    <a:gd name="connsiteX75" fmla="*/ 195331 w 250763"/>
                    <a:gd name="connsiteY75" fmla="*/ 314478 h 539024"/>
                    <a:gd name="connsiteX76" fmla="*/ 191713 w 250763"/>
                    <a:gd name="connsiteY76" fmla="*/ 313603 h 539024"/>
                    <a:gd name="connsiteX77" fmla="*/ 187062 w 250763"/>
                    <a:gd name="connsiteY77" fmla="*/ 315255 h 539024"/>
                    <a:gd name="connsiteX78" fmla="*/ 184779 w 250763"/>
                    <a:gd name="connsiteY78" fmla="*/ 318825 h 539024"/>
                    <a:gd name="connsiteX79" fmla="*/ 184415 w 250763"/>
                    <a:gd name="connsiteY79" fmla="*/ 324107 h 539024"/>
                    <a:gd name="connsiteX80" fmla="*/ 185338 w 250763"/>
                    <a:gd name="connsiteY80" fmla="*/ 329596 h 539024"/>
                    <a:gd name="connsiteX81" fmla="*/ 186843 w 250763"/>
                    <a:gd name="connsiteY81" fmla="*/ 333785 h 539024"/>
                    <a:gd name="connsiteX82" fmla="*/ 190584 w 250763"/>
                    <a:gd name="connsiteY82" fmla="*/ 340876 h 539024"/>
                    <a:gd name="connsiteX83" fmla="*/ 191786 w 250763"/>
                    <a:gd name="connsiteY83" fmla="*/ 344859 h 539024"/>
                    <a:gd name="connsiteX84" fmla="*/ 191434 w 250763"/>
                    <a:gd name="connsiteY84" fmla="*/ 348502 h 539024"/>
                    <a:gd name="connsiteX85" fmla="*/ 188738 w 250763"/>
                    <a:gd name="connsiteY85" fmla="*/ 352619 h 539024"/>
                    <a:gd name="connsiteX86" fmla="*/ 182023 w 250763"/>
                    <a:gd name="connsiteY86" fmla="*/ 360402 h 539024"/>
                    <a:gd name="connsiteX87" fmla="*/ 180250 w 250763"/>
                    <a:gd name="connsiteY87" fmla="*/ 364956 h 539024"/>
                    <a:gd name="connsiteX88" fmla="*/ 179618 w 250763"/>
                    <a:gd name="connsiteY88" fmla="*/ 364677 h 539024"/>
                    <a:gd name="connsiteX89" fmla="*/ 173413 w 250763"/>
                    <a:gd name="connsiteY89" fmla="*/ 370044 h 539024"/>
                    <a:gd name="connsiteX90" fmla="*/ 171786 w 250763"/>
                    <a:gd name="connsiteY90" fmla="*/ 385805 h 539024"/>
                    <a:gd name="connsiteX91" fmla="*/ 172369 w 250763"/>
                    <a:gd name="connsiteY91" fmla="*/ 389934 h 539024"/>
                    <a:gd name="connsiteX92" fmla="*/ 173851 w 250763"/>
                    <a:gd name="connsiteY92" fmla="*/ 393698 h 539024"/>
                    <a:gd name="connsiteX93" fmla="*/ 178125 w 250763"/>
                    <a:gd name="connsiteY93" fmla="*/ 400984 h 539024"/>
                    <a:gd name="connsiteX94" fmla="*/ 179218 w 250763"/>
                    <a:gd name="connsiteY94" fmla="*/ 404846 h 539024"/>
                    <a:gd name="connsiteX95" fmla="*/ 178975 w 250763"/>
                    <a:gd name="connsiteY95" fmla="*/ 409120 h 539024"/>
                    <a:gd name="connsiteX96" fmla="*/ 176910 w 250763"/>
                    <a:gd name="connsiteY96" fmla="*/ 416903 h 539024"/>
                    <a:gd name="connsiteX97" fmla="*/ 177093 w 250763"/>
                    <a:gd name="connsiteY97" fmla="*/ 421494 h 539024"/>
                    <a:gd name="connsiteX98" fmla="*/ 179036 w 250763"/>
                    <a:gd name="connsiteY98" fmla="*/ 427978 h 539024"/>
                    <a:gd name="connsiteX99" fmla="*/ 180590 w 250763"/>
                    <a:gd name="connsiteY99" fmla="*/ 431171 h 539024"/>
                    <a:gd name="connsiteX100" fmla="*/ 187305 w 250763"/>
                    <a:gd name="connsiteY100" fmla="*/ 438154 h 539024"/>
                    <a:gd name="connsiteX101" fmla="*/ 189600 w 250763"/>
                    <a:gd name="connsiteY101" fmla="*/ 446216 h 539024"/>
                    <a:gd name="connsiteX102" fmla="*/ 191215 w 250763"/>
                    <a:gd name="connsiteY102" fmla="*/ 469324 h 539024"/>
                    <a:gd name="connsiteX103" fmla="*/ 191093 w 250763"/>
                    <a:gd name="connsiteY103" fmla="*/ 471267 h 539024"/>
                    <a:gd name="connsiteX104" fmla="*/ 190231 w 250763"/>
                    <a:gd name="connsiteY104" fmla="*/ 473732 h 539024"/>
                    <a:gd name="connsiteX105" fmla="*/ 188738 w 250763"/>
                    <a:gd name="connsiteY105" fmla="*/ 474595 h 539024"/>
                    <a:gd name="connsiteX106" fmla="*/ 186904 w 250763"/>
                    <a:gd name="connsiteY106" fmla="*/ 474910 h 539024"/>
                    <a:gd name="connsiteX107" fmla="*/ 182824 w 250763"/>
                    <a:gd name="connsiteY107" fmla="*/ 476732 h 539024"/>
                    <a:gd name="connsiteX108" fmla="*/ 181901 w 250763"/>
                    <a:gd name="connsiteY108" fmla="*/ 476586 h 539024"/>
                    <a:gd name="connsiteX109" fmla="*/ 181683 w 250763"/>
                    <a:gd name="connsiteY109" fmla="*/ 476902 h 539024"/>
                    <a:gd name="connsiteX110" fmla="*/ 181622 w 250763"/>
                    <a:gd name="connsiteY110" fmla="*/ 479330 h 539024"/>
                    <a:gd name="connsiteX111" fmla="*/ 185058 w 250763"/>
                    <a:gd name="connsiteY111" fmla="*/ 485450 h 539024"/>
                    <a:gd name="connsiteX112" fmla="*/ 180918 w 250763"/>
                    <a:gd name="connsiteY112" fmla="*/ 486701 h 539024"/>
                    <a:gd name="connsiteX113" fmla="*/ 178064 w 250763"/>
                    <a:gd name="connsiteY113" fmla="*/ 485487 h 539024"/>
                    <a:gd name="connsiteX114" fmla="*/ 175478 w 250763"/>
                    <a:gd name="connsiteY114" fmla="*/ 483507 h 539024"/>
                    <a:gd name="connsiteX115" fmla="*/ 172090 w 250763"/>
                    <a:gd name="connsiteY115" fmla="*/ 482475 h 539024"/>
                    <a:gd name="connsiteX116" fmla="*/ 167099 w 250763"/>
                    <a:gd name="connsiteY116" fmla="*/ 481613 h 539024"/>
                    <a:gd name="connsiteX117" fmla="*/ 165326 w 250763"/>
                    <a:gd name="connsiteY117" fmla="*/ 481735 h 539024"/>
                    <a:gd name="connsiteX118" fmla="*/ 163128 w 250763"/>
                    <a:gd name="connsiteY118" fmla="*/ 482585 h 539024"/>
                    <a:gd name="connsiteX119" fmla="*/ 162740 w 250763"/>
                    <a:gd name="connsiteY119" fmla="*/ 483714 h 539024"/>
                    <a:gd name="connsiteX120" fmla="*/ 163019 w 250763"/>
                    <a:gd name="connsiteY120" fmla="*/ 485147 h 539024"/>
                    <a:gd name="connsiteX121" fmla="*/ 162740 w 250763"/>
                    <a:gd name="connsiteY121" fmla="*/ 498528 h 539024"/>
                    <a:gd name="connsiteX122" fmla="*/ 163310 w 250763"/>
                    <a:gd name="connsiteY122" fmla="*/ 500131 h 539024"/>
                    <a:gd name="connsiteX123" fmla="*/ 159935 w 250763"/>
                    <a:gd name="connsiteY123" fmla="*/ 501491 h 539024"/>
                    <a:gd name="connsiteX124" fmla="*/ 157628 w 250763"/>
                    <a:gd name="connsiteY124" fmla="*/ 502001 h 539024"/>
                    <a:gd name="connsiteX125" fmla="*/ 155806 w 250763"/>
                    <a:gd name="connsiteY125" fmla="*/ 503434 h 539024"/>
                    <a:gd name="connsiteX126" fmla="*/ 152370 w 250763"/>
                    <a:gd name="connsiteY126" fmla="*/ 509979 h 539024"/>
                    <a:gd name="connsiteX127" fmla="*/ 152005 w 250763"/>
                    <a:gd name="connsiteY127" fmla="*/ 512566 h 539024"/>
                    <a:gd name="connsiteX128" fmla="*/ 152588 w 250763"/>
                    <a:gd name="connsiteY128" fmla="*/ 515213 h 539024"/>
                    <a:gd name="connsiteX129" fmla="*/ 153851 w 250763"/>
                    <a:gd name="connsiteY129" fmla="*/ 517738 h 539024"/>
                    <a:gd name="connsiteX130" fmla="*/ 154373 w 250763"/>
                    <a:gd name="connsiteY130" fmla="*/ 519086 h 539024"/>
                    <a:gd name="connsiteX131" fmla="*/ 154713 w 250763"/>
                    <a:gd name="connsiteY131" fmla="*/ 520483 h 539024"/>
                    <a:gd name="connsiteX132" fmla="*/ 154774 w 250763"/>
                    <a:gd name="connsiteY132" fmla="*/ 521867 h 539024"/>
                    <a:gd name="connsiteX133" fmla="*/ 154580 w 250763"/>
                    <a:gd name="connsiteY133" fmla="*/ 523239 h 539024"/>
                    <a:gd name="connsiteX134" fmla="*/ 154252 w 250763"/>
                    <a:gd name="connsiteY134" fmla="*/ 523701 h 539024"/>
                    <a:gd name="connsiteX135" fmla="*/ 153851 w 250763"/>
                    <a:gd name="connsiteY135" fmla="*/ 524101 h 539024"/>
                    <a:gd name="connsiteX136" fmla="*/ 152528 w 250763"/>
                    <a:gd name="connsiteY136" fmla="*/ 524818 h 539024"/>
                    <a:gd name="connsiteX137" fmla="*/ 151325 w 250763"/>
                    <a:gd name="connsiteY137" fmla="*/ 524903 h 539024"/>
                    <a:gd name="connsiteX138" fmla="*/ 150184 w 250763"/>
                    <a:gd name="connsiteY138" fmla="*/ 524368 h 539024"/>
                    <a:gd name="connsiteX139" fmla="*/ 149201 w 250763"/>
                    <a:gd name="connsiteY139" fmla="*/ 523239 h 539024"/>
                    <a:gd name="connsiteX140" fmla="*/ 146796 w 250763"/>
                    <a:gd name="connsiteY140" fmla="*/ 519766 h 539024"/>
                    <a:gd name="connsiteX141" fmla="*/ 143687 w 250763"/>
                    <a:gd name="connsiteY141" fmla="*/ 518030 h 539024"/>
                    <a:gd name="connsiteX142" fmla="*/ 140919 w 250763"/>
                    <a:gd name="connsiteY142" fmla="*/ 518892 h 539024"/>
                    <a:gd name="connsiteX143" fmla="*/ 139498 w 250763"/>
                    <a:gd name="connsiteY143" fmla="*/ 523191 h 539024"/>
                    <a:gd name="connsiteX144" fmla="*/ 137774 w 250763"/>
                    <a:gd name="connsiteY144" fmla="*/ 528849 h 539024"/>
                    <a:gd name="connsiteX145" fmla="*/ 135527 w 250763"/>
                    <a:gd name="connsiteY145" fmla="*/ 530780 h 539024"/>
                    <a:gd name="connsiteX146" fmla="*/ 133572 w 250763"/>
                    <a:gd name="connsiteY146" fmla="*/ 528886 h 539024"/>
                    <a:gd name="connsiteX147" fmla="*/ 132650 w 250763"/>
                    <a:gd name="connsiteY147" fmla="*/ 523191 h 539024"/>
                    <a:gd name="connsiteX148" fmla="*/ 131107 w 250763"/>
                    <a:gd name="connsiteY148" fmla="*/ 517568 h 539024"/>
                    <a:gd name="connsiteX149" fmla="*/ 127768 w 250763"/>
                    <a:gd name="connsiteY149" fmla="*/ 513148 h 539024"/>
                    <a:gd name="connsiteX150" fmla="*/ 115650 w 250763"/>
                    <a:gd name="connsiteY150" fmla="*/ 501807 h 539024"/>
                    <a:gd name="connsiteX151" fmla="*/ 103773 w 250763"/>
                    <a:gd name="connsiteY151" fmla="*/ 493185 h 539024"/>
                    <a:gd name="connsiteX152" fmla="*/ 99232 w 250763"/>
                    <a:gd name="connsiteY152" fmla="*/ 491923 h 539024"/>
                    <a:gd name="connsiteX153" fmla="*/ 97386 w 250763"/>
                    <a:gd name="connsiteY153" fmla="*/ 493355 h 539024"/>
                    <a:gd name="connsiteX154" fmla="*/ 96816 w 250763"/>
                    <a:gd name="connsiteY154" fmla="*/ 495942 h 539024"/>
                    <a:gd name="connsiteX155" fmla="*/ 97520 w 250763"/>
                    <a:gd name="connsiteY155" fmla="*/ 501515 h 539024"/>
                    <a:gd name="connsiteX156" fmla="*/ 97386 w 250763"/>
                    <a:gd name="connsiteY156" fmla="*/ 503543 h 539024"/>
                    <a:gd name="connsiteX157" fmla="*/ 96549 w 250763"/>
                    <a:gd name="connsiteY157" fmla="*/ 504066 h 539024"/>
                    <a:gd name="connsiteX158" fmla="*/ 95638 w 250763"/>
                    <a:gd name="connsiteY158" fmla="*/ 503835 h 539024"/>
                    <a:gd name="connsiteX159" fmla="*/ 95164 w 250763"/>
                    <a:gd name="connsiteY159" fmla="*/ 503628 h 539024"/>
                    <a:gd name="connsiteX160" fmla="*/ 94023 w 250763"/>
                    <a:gd name="connsiteY160" fmla="*/ 507466 h 539024"/>
                    <a:gd name="connsiteX161" fmla="*/ 94023 w 250763"/>
                    <a:gd name="connsiteY161" fmla="*/ 510368 h 539024"/>
                    <a:gd name="connsiteX162" fmla="*/ 94472 w 250763"/>
                    <a:gd name="connsiteY162" fmla="*/ 513124 h 539024"/>
                    <a:gd name="connsiteX163" fmla="*/ 94472 w 250763"/>
                    <a:gd name="connsiteY163" fmla="*/ 515832 h 539024"/>
                    <a:gd name="connsiteX164" fmla="*/ 93039 w 250763"/>
                    <a:gd name="connsiteY164" fmla="*/ 518528 h 539024"/>
                    <a:gd name="connsiteX165" fmla="*/ 90975 w 250763"/>
                    <a:gd name="connsiteY165" fmla="*/ 519657 h 539024"/>
                    <a:gd name="connsiteX166" fmla="*/ 88680 w 250763"/>
                    <a:gd name="connsiteY166" fmla="*/ 519863 h 539024"/>
                    <a:gd name="connsiteX167" fmla="*/ 86397 w 250763"/>
                    <a:gd name="connsiteY167" fmla="*/ 520580 h 539024"/>
                    <a:gd name="connsiteX168" fmla="*/ 84260 w 250763"/>
                    <a:gd name="connsiteY168" fmla="*/ 523191 h 539024"/>
                    <a:gd name="connsiteX169" fmla="*/ 83118 w 250763"/>
                    <a:gd name="connsiteY169" fmla="*/ 524405 h 539024"/>
                    <a:gd name="connsiteX170" fmla="*/ 81856 w 250763"/>
                    <a:gd name="connsiteY170" fmla="*/ 525413 h 539024"/>
                    <a:gd name="connsiteX171" fmla="*/ 80483 w 250763"/>
                    <a:gd name="connsiteY171" fmla="*/ 526178 h 539024"/>
                    <a:gd name="connsiteX172" fmla="*/ 78990 w 250763"/>
                    <a:gd name="connsiteY172" fmla="*/ 526724 h 539024"/>
                    <a:gd name="connsiteX173" fmla="*/ 78868 w 250763"/>
                    <a:gd name="connsiteY173" fmla="*/ 524951 h 539024"/>
                    <a:gd name="connsiteX174" fmla="*/ 78480 w 250763"/>
                    <a:gd name="connsiteY174" fmla="*/ 523191 h 539024"/>
                    <a:gd name="connsiteX175" fmla="*/ 76003 w 250763"/>
                    <a:gd name="connsiteY175" fmla="*/ 510210 h 539024"/>
                    <a:gd name="connsiteX176" fmla="*/ 71753 w 250763"/>
                    <a:gd name="connsiteY176" fmla="*/ 496986 h 539024"/>
                    <a:gd name="connsiteX177" fmla="*/ 73999 w 250763"/>
                    <a:gd name="connsiteY177" fmla="*/ 495067 h 539024"/>
                    <a:gd name="connsiteX178" fmla="*/ 76804 w 250763"/>
                    <a:gd name="connsiteY178" fmla="*/ 495092 h 539024"/>
                    <a:gd name="connsiteX179" fmla="*/ 78929 w 250763"/>
                    <a:gd name="connsiteY179" fmla="*/ 494120 h 539024"/>
                    <a:gd name="connsiteX180" fmla="*/ 79209 w 250763"/>
                    <a:gd name="connsiteY180" fmla="*/ 489118 h 539024"/>
                    <a:gd name="connsiteX181" fmla="*/ 68304 w 250763"/>
                    <a:gd name="connsiteY181" fmla="*/ 424723 h 539024"/>
                    <a:gd name="connsiteX182" fmla="*/ 68013 w 250763"/>
                    <a:gd name="connsiteY182" fmla="*/ 421336 h 539024"/>
                    <a:gd name="connsiteX183" fmla="*/ 65608 w 250763"/>
                    <a:gd name="connsiteY183" fmla="*/ 415191 h 539024"/>
                    <a:gd name="connsiteX184" fmla="*/ 64928 w 250763"/>
                    <a:gd name="connsiteY184" fmla="*/ 411900 h 539024"/>
                    <a:gd name="connsiteX185" fmla="*/ 65317 w 250763"/>
                    <a:gd name="connsiteY185" fmla="*/ 400413 h 539024"/>
                    <a:gd name="connsiteX186" fmla="*/ 63993 w 250763"/>
                    <a:gd name="connsiteY186" fmla="*/ 385223 h 539024"/>
                    <a:gd name="connsiteX187" fmla="*/ 63204 w 250763"/>
                    <a:gd name="connsiteY187" fmla="*/ 382187 h 539024"/>
                    <a:gd name="connsiteX188" fmla="*/ 61140 w 250763"/>
                    <a:gd name="connsiteY188" fmla="*/ 379187 h 539024"/>
                    <a:gd name="connsiteX189" fmla="*/ 56088 w 250763"/>
                    <a:gd name="connsiteY189" fmla="*/ 374889 h 539024"/>
                    <a:gd name="connsiteX190" fmla="*/ 53891 w 250763"/>
                    <a:gd name="connsiteY190" fmla="*/ 371926 h 539024"/>
                    <a:gd name="connsiteX191" fmla="*/ 52579 w 250763"/>
                    <a:gd name="connsiteY191" fmla="*/ 365927 h 539024"/>
                    <a:gd name="connsiteX192" fmla="*/ 50976 w 250763"/>
                    <a:gd name="connsiteY192" fmla="*/ 350591 h 539024"/>
                    <a:gd name="connsiteX193" fmla="*/ 48220 w 250763"/>
                    <a:gd name="connsiteY193" fmla="*/ 347239 h 539024"/>
                    <a:gd name="connsiteX194" fmla="*/ 42003 w 250763"/>
                    <a:gd name="connsiteY194" fmla="*/ 344774 h 539024"/>
                    <a:gd name="connsiteX195" fmla="*/ 38505 w 250763"/>
                    <a:gd name="connsiteY195" fmla="*/ 339601 h 539024"/>
                    <a:gd name="connsiteX196" fmla="*/ 37073 w 250763"/>
                    <a:gd name="connsiteY196" fmla="*/ 332935 h 539024"/>
                    <a:gd name="connsiteX197" fmla="*/ 37182 w 250763"/>
                    <a:gd name="connsiteY197" fmla="*/ 319189 h 539024"/>
                    <a:gd name="connsiteX198" fmla="*/ 32422 w 250763"/>
                    <a:gd name="connsiteY198" fmla="*/ 291188 h 539024"/>
                    <a:gd name="connsiteX199" fmla="*/ 32592 w 250763"/>
                    <a:gd name="connsiteY199" fmla="*/ 283319 h 539024"/>
                    <a:gd name="connsiteX200" fmla="*/ 33393 w 250763"/>
                    <a:gd name="connsiteY200" fmla="*/ 280368 h 539024"/>
                    <a:gd name="connsiteX201" fmla="*/ 36781 w 250763"/>
                    <a:gd name="connsiteY201" fmla="*/ 273483 h 539024"/>
                    <a:gd name="connsiteX202" fmla="*/ 38044 w 250763"/>
                    <a:gd name="connsiteY202" fmla="*/ 269913 h 539024"/>
                    <a:gd name="connsiteX203" fmla="*/ 37923 w 250763"/>
                    <a:gd name="connsiteY203" fmla="*/ 267910 h 539024"/>
                    <a:gd name="connsiteX204" fmla="*/ 37060 w 250763"/>
                    <a:gd name="connsiteY204" fmla="*/ 265991 h 539024"/>
                    <a:gd name="connsiteX205" fmla="*/ 36089 w 250763"/>
                    <a:gd name="connsiteY205" fmla="*/ 262712 h 539024"/>
                    <a:gd name="connsiteX206" fmla="*/ 36028 w 250763"/>
                    <a:gd name="connsiteY206" fmla="*/ 260757 h 539024"/>
                    <a:gd name="connsiteX207" fmla="*/ 36550 w 250763"/>
                    <a:gd name="connsiteY207" fmla="*/ 256860 h 539024"/>
                    <a:gd name="connsiteX208" fmla="*/ 36368 w 250763"/>
                    <a:gd name="connsiteY208" fmla="*/ 255050 h 539024"/>
                    <a:gd name="connsiteX209" fmla="*/ 35664 w 250763"/>
                    <a:gd name="connsiteY209" fmla="*/ 254067 h 539024"/>
                    <a:gd name="connsiteX210" fmla="*/ 33138 w 250763"/>
                    <a:gd name="connsiteY210" fmla="*/ 252184 h 539024"/>
                    <a:gd name="connsiteX211" fmla="*/ 32227 w 250763"/>
                    <a:gd name="connsiteY211" fmla="*/ 250861 h 539024"/>
                    <a:gd name="connsiteX212" fmla="*/ 31997 w 250763"/>
                    <a:gd name="connsiteY212" fmla="*/ 249501 h 539024"/>
                    <a:gd name="connsiteX213" fmla="*/ 32276 w 250763"/>
                    <a:gd name="connsiteY213" fmla="*/ 246757 h 539024"/>
                    <a:gd name="connsiteX214" fmla="*/ 31997 w 250763"/>
                    <a:gd name="connsiteY214" fmla="*/ 245263 h 539024"/>
                    <a:gd name="connsiteX215" fmla="*/ 30965 w 250763"/>
                    <a:gd name="connsiteY215" fmla="*/ 243563 h 539024"/>
                    <a:gd name="connsiteX216" fmla="*/ 28500 w 250763"/>
                    <a:gd name="connsiteY216" fmla="*/ 241244 h 539024"/>
                    <a:gd name="connsiteX217" fmla="*/ 27516 w 250763"/>
                    <a:gd name="connsiteY217" fmla="*/ 239665 h 539024"/>
                    <a:gd name="connsiteX218" fmla="*/ 26666 w 250763"/>
                    <a:gd name="connsiteY218" fmla="*/ 236739 h 539024"/>
                    <a:gd name="connsiteX219" fmla="*/ 25561 w 250763"/>
                    <a:gd name="connsiteY219" fmla="*/ 227085 h 539024"/>
                    <a:gd name="connsiteX220" fmla="*/ 18397 w 250763"/>
                    <a:gd name="connsiteY220" fmla="*/ 204487 h 539024"/>
                    <a:gd name="connsiteX221" fmla="*/ 17875 w 250763"/>
                    <a:gd name="connsiteY221" fmla="*/ 197881 h 539024"/>
                    <a:gd name="connsiteX222" fmla="*/ 20048 w 250763"/>
                    <a:gd name="connsiteY222" fmla="*/ 189466 h 539024"/>
                    <a:gd name="connsiteX223" fmla="*/ 19660 w 250763"/>
                    <a:gd name="connsiteY223" fmla="*/ 186005 h 539024"/>
                    <a:gd name="connsiteX224" fmla="*/ 19599 w 250763"/>
                    <a:gd name="connsiteY224" fmla="*/ 185228 h 539024"/>
                    <a:gd name="connsiteX225" fmla="*/ 15762 w 250763"/>
                    <a:gd name="connsiteY225" fmla="*/ 183152 h 539024"/>
                    <a:gd name="connsiteX226" fmla="*/ 12653 w 250763"/>
                    <a:gd name="connsiteY226" fmla="*/ 184961 h 539024"/>
                    <a:gd name="connsiteX227" fmla="*/ 10249 w 250763"/>
                    <a:gd name="connsiteY227" fmla="*/ 194117 h 539024"/>
                    <a:gd name="connsiteX228" fmla="*/ 7444 w 250763"/>
                    <a:gd name="connsiteY228" fmla="*/ 196788 h 539024"/>
                    <a:gd name="connsiteX229" fmla="*/ 6727 w 250763"/>
                    <a:gd name="connsiteY229" fmla="*/ 195817 h 539024"/>
                    <a:gd name="connsiteX230" fmla="*/ 18239 w 250763"/>
                    <a:gd name="connsiteY230" fmla="*/ 156620 h 539024"/>
                    <a:gd name="connsiteX231" fmla="*/ 25027 w 250763"/>
                    <a:gd name="connsiteY231" fmla="*/ 136377 h 539024"/>
                    <a:gd name="connsiteX232" fmla="*/ 37607 w 250763"/>
                    <a:gd name="connsiteY232" fmla="*/ 118479 h 539024"/>
                    <a:gd name="connsiteX233" fmla="*/ 38760 w 250763"/>
                    <a:gd name="connsiteY233" fmla="*/ 95273 h 539024"/>
                    <a:gd name="connsiteX234" fmla="*/ 33575 w 250763"/>
                    <a:gd name="connsiteY234" fmla="*/ 70332 h 539024"/>
                    <a:gd name="connsiteX235" fmla="*/ 25670 w 250763"/>
                    <a:gd name="connsiteY235" fmla="*/ 56841 h 539024"/>
                    <a:gd name="connsiteX236" fmla="*/ 34523 w 250763"/>
                    <a:gd name="connsiteY236" fmla="*/ 58444 h 539024"/>
                    <a:gd name="connsiteX237" fmla="*/ 36684 w 250763"/>
                    <a:gd name="connsiteY237" fmla="*/ 58638 h 539024"/>
                    <a:gd name="connsiteX238" fmla="*/ 55007 w 250763"/>
                    <a:gd name="connsiteY238" fmla="*/ 44322 h 539024"/>
                    <a:gd name="connsiteX239" fmla="*/ 63289 w 250763"/>
                    <a:gd name="connsiteY239" fmla="*/ 36781 h 539024"/>
                    <a:gd name="connsiteX240" fmla="*/ 63301 w 250763"/>
                    <a:gd name="connsiteY240" fmla="*/ 36781 h 539024"/>
                    <a:gd name="connsiteX241" fmla="*/ 82633 w 250763"/>
                    <a:gd name="connsiteY241" fmla="*/ 62597 h 539024"/>
                    <a:gd name="connsiteX242" fmla="*/ 84758 w 250763"/>
                    <a:gd name="connsiteY242" fmla="*/ 62390 h 539024"/>
                    <a:gd name="connsiteX243" fmla="*/ 95322 w 250763"/>
                    <a:gd name="connsiteY243" fmla="*/ 51717 h 539024"/>
                    <a:gd name="connsiteX244" fmla="*/ 111594 w 250763"/>
                    <a:gd name="connsiteY244" fmla="*/ 28621 h 539024"/>
                    <a:gd name="connsiteX245" fmla="*/ 129905 w 250763"/>
                    <a:gd name="connsiteY245" fmla="*/ 6132 h 539024"/>
                    <a:gd name="connsiteX246" fmla="*/ 131800 w 250763"/>
                    <a:gd name="connsiteY246" fmla="*/ 6071 h 539024"/>
                    <a:gd name="connsiteX247" fmla="*/ 131800 w 250763"/>
                    <a:gd name="connsiteY247" fmla="*/ 0 h 539024"/>
                    <a:gd name="connsiteX248" fmla="*/ 131800 w 250763"/>
                    <a:gd name="connsiteY248" fmla="*/ 0 h 539024"/>
                    <a:gd name="connsiteX249" fmla="*/ 128897 w 250763"/>
                    <a:gd name="connsiteY249" fmla="*/ 194 h 539024"/>
                    <a:gd name="connsiteX250" fmla="*/ 109202 w 250763"/>
                    <a:gd name="connsiteY250" fmla="*/ 20024 h 539024"/>
                    <a:gd name="connsiteX251" fmla="*/ 106348 w 250763"/>
                    <a:gd name="connsiteY251" fmla="*/ 25537 h 539024"/>
                    <a:gd name="connsiteX252" fmla="*/ 103482 w 250763"/>
                    <a:gd name="connsiteY252" fmla="*/ 30418 h 539024"/>
                    <a:gd name="connsiteX253" fmla="*/ 91230 w 250763"/>
                    <a:gd name="connsiteY253" fmla="*/ 47236 h 539024"/>
                    <a:gd name="connsiteX254" fmla="*/ 86870 w 250763"/>
                    <a:gd name="connsiteY254" fmla="*/ 52409 h 539024"/>
                    <a:gd name="connsiteX255" fmla="*/ 83313 w 250763"/>
                    <a:gd name="connsiteY255" fmla="*/ 56562 h 539024"/>
                    <a:gd name="connsiteX256" fmla="*/ 83203 w 250763"/>
                    <a:gd name="connsiteY256" fmla="*/ 56550 h 539024"/>
                    <a:gd name="connsiteX257" fmla="*/ 82584 w 250763"/>
                    <a:gd name="connsiteY257" fmla="*/ 56574 h 539024"/>
                    <a:gd name="connsiteX258" fmla="*/ 77933 w 250763"/>
                    <a:gd name="connsiteY258" fmla="*/ 47467 h 539024"/>
                    <a:gd name="connsiteX259" fmla="*/ 63253 w 250763"/>
                    <a:gd name="connsiteY259" fmla="*/ 30758 h 539024"/>
                    <a:gd name="connsiteX260" fmla="*/ 51170 w 250763"/>
                    <a:gd name="connsiteY260" fmla="*/ 38942 h 539024"/>
                    <a:gd name="connsiteX261" fmla="*/ 49980 w 250763"/>
                    <a:gd name="connsiteY261" fmla="*/ 40909 h 539024"/>
                    <a:gd name="connsiteX262" fmla="*/ 36635 w 250763"/>
                    <a:gd name="connsiteY262" fmla="*/ 52615 h 539024"/>
                    <a:gd name="connsiteX263" fmla="*/ 35567 w 250763"/>
                    <a:gd name="connsiteY263" fmla="*/ 52518 h 539024"/>
                    <a:gd name="connsiteX264" fmla="*/ 26702 w 250763"/>
                    <a:gd name="connsiteY264" fmla="*/ 50903 h 539024"/>
                    <a:gd name="connsiteX265" fmla="*/ 6812 w 250763"/>
                    <a:gd name="connsiteY265" fmla="*/ 47297 h 539024"/>
                    <a:gd name="connsiteX266" fmla="*/ 21420 w 250763"/>
                    <a:gd name="connsiteY266" fmla="*/ 61261 h 539024"/>
                    <a:gd name="connsiteX267" fmla="*/ 23679 w 250763"/>
                    <a:gd name="connsiteY267" fmla="*/ 63289 h 539024"/>
                    <a:gd name="connsiteX268" fmla="*/ 27479 w 250763"/>
                    <a:gd name="connsiteY268" fmla="*/ 69895 h 539024"/>
                    <a:gd name="connsiteX269" fmla="*/ 27346 w 250763"/>
                    <a:gd name="connsiteY269" fmla="*/ 71510 h 539024"/>
                    <a:gd name="connsiteX270" fmla="*/ 28038 w 250763"/>
                    <a:gd name="connsiteY270" fmla="*/ 72967 h 539024"/>
                    <a:gd name="connsiteX271" fmla="*/ 32191 w 250763"/>
                    <a:gd name="connsiteY271" fmla="*/ 92189 h 539024"/>
                    <a:gd name="connsiteX272" fmla="*/ 32701 w 250763"/>
                    <a:gd name="connsiteY272" fmla="*/ 96136 h 539024"/>
                    <a:gd name="connsiteX273" fmla="*/ 31547 w 250763"/>
                    <a:gd name="connsiteY273" fmla="*/ 117689 h 539024"/>
                    <a:gd name="connsiteX274" fmla="*/ 26836 w 250763"/>
                    <a:gd name="connsiteY274" fmla="*/ 124744 h 539024"/>
                    <a:gd name="connsiteX275" fmla="*/ 19599 w 250763"/>
                    <a:gd name="connsiteY275" fmla="*/ 133584 h 539024"/>
                    <a:gd name="connsiteX276" fmla="*/ 14730 w 250763"/>
                    <a:gd name="connsiteY276" fmla="*/ 147148 h 539024"/>
                    <a:gd name="connsiteX277" fmla="*/ 12495 w 250763"/>
                    <a:gd name="connsiteY277" fmla="*/ 154555 h 539024"/>
                    <a:gd name="connsiteX278" fmla="*/ 850 w 250763"/>
                    <a:gd name="connsiteY278" fmla="*/ 194141 h 539024"/>
                    <a:gd name="connsiteX279" fmla="*/ 0 w 250763"/>
                    <a:gd name="connsiteY279" fmla="*/ 197031 h 539024"/>
                    <a:gd name="connsiteX280" fmla="*/ 1785 w 250763"/>
                    <a:gd name="connsiteY280" fmla="*/ 199460 h 539024"/>
                    <a:gd name="connsiteX281" fmla="*/ 2501 w 250763"/>
                    <a:gd name="connsiteY281" fmla="*/ 200431 h 539024"/>
                    <a:gd name="connsiteX282" fmla="*/ 6581 w 250763"/>
                    <a:gd name="connsiteY282" fmla="*/ 205981 h 539024"/>
                    <a:gd name="connsiteX283" fmla="*/ 11560 w 250763"/>
                    <a:gd name="connsiteY283" fmla="*/ 201245 h 539024"/>
                    <a:gd name="connsiteX284" fmla="*/ 11973 w 250763"/>
                    <a:gd name="connsiteY284" fmla="*/ 200856 h 539024"/>
                    <a:gd name="connsiteX285" fmla="*/ 12301 w 250763"/>
                    <a:gd name="connsiteY285" fmla="*/ 205021 h 539024"/>
                    <a:gd name="connsiteX286" fmla="*/ 12349 w 250763"/>
                    <a:gd name="connsiteY286" fmla="*/ 205713 h 539024"/>
                    <a:gd name="connsiteX287" fmla="*/ 12568 w 250763"/>
                    <a:gd name="connsiteY287" fmla="*/ 206369 h 539024"/>
                    <a:gd name="connsiteX288" fmla="*/ 19550 w 250763"/>
                    <a:gd name="connsiteY288" fmla="*/ 228409 h 539024"/>
                    <a:gd name="connsiteX289" fmla="*/ 20582 w 250763"/>
                    <a:gd name="connsiteY289" fmla="*/ 237479 h 539024"/>
                    <a:gd name="connsiteX290" fmla="*/ 20643 w 250763"/>
                    <a:gd name="connsiteY290" fmla="*/ 237989 h 539024"/>
                    <a:gd name="connsiteX291" fmla="*/ 20789 w 250763"/>
                    <a:gd name="connsiteY291" fmla="*/ 238487 h 539024"/>
                    <a:gd name="connsiteX292" fmla="*/ 21639 w 250763"/>
                    <a:gd name="connsiteY292" fmla="*/ 241414 h 539024"/>
                    <a:gd name="connsiteX293" fmla="*/ 21882 w 250763"/>
                    <a:gd name="connsiteY293" fmla="*/ 242215 h 539024"/>
                    <a:gd name="connsiteX294" fmla="*/ 22331 w 250763"/>
                    <a:gd name="connsiteY294" fmla="*/ 242932 h 539024"/>
                    <a:gd name="connsiteX295" fmla="*/ 23315 w 250763"/>
                    <a:gd name="connsiteY295" fmla="*/ 244510 h 539024"/>
                    <a:gd name="connsiteX296" fmla="*/ 23727 w 250763"/>
                    <a:gd name="connsiteY296" fmla="*/ 245178 h 539024"/>
                    <a:gd name="connsiteX297" fmla="*/ 24298 w 250763"/>
                    <a:gd name="connsiteY297" fmla="*/ 245712 h 539024"/>
                    <a:gd name="connsiteX298" fmla="*/ 26071 w 250763"/>
                    <a:gd name="connsiteY298" fmla="*/ 247388 h 539024"/>
                    <a:gd name="connsiteX299" fmla="*/ 25913 w 250763"/>
                    <a:gd name="connsiteY299" fmla="*/ 248918 h 539024"/>
                    <a:gd name="connsiteX300" fmla="*/ 25828 w 250763"/>
                    <a:gd name="connsiteY300" fmla="*/ 249732 h 539024"/>
                    <a:gd name="connsiteX301" fmla="*/ 25962 w 250763"/>
                    <a:gd name="connsiteY301" fmla="*/ 250533 h 539024"/>
                    <a:gd name="connsiteX302" fmla="*/ 26192 w 250763"/>
                    <a:gd name="connsiteY302" fmla="*/ 251893 h 539024"/>
                    <a:gd name="connsiteX303" fmla="*/ 26423 w 250763"/>
                    <a:gd name="connsiteY303" fmla="*/ 253229 h 539024"/>
                    <a:gd name="connsiteX304" fmla="*/ 27188 w 250763"/>
                    <a:gd name="connsiteY304" fmla="*/ 254346 h 539024"/>
                    <a:gd name="connsiteX305" fmla="*/ 28099 w 250763"/>
                    <a:gd name="connsiteY305" fmla="*/ 255669 h 539024"/>
                    <a:gd name="connsiteX306" fmla="*/ 28669 w 250763"/>
                    <a:gd name="connsiteY306" fmla="*/ 256495 h 539024"/>
                    <a:gd name="connsiteX307" fmla="*/ 29459 w 250763"/>
                    <a:gd name="connsiteY307" fmla="*/ 257090 h 539024"/>
                    <a:gd name="connsiteX308" fmla="*/ 30260 w 250763"/>
                    <a:gd name="connsiteY308" fmla="*/ 257685 h 539024"/>
                    <a:gd name="connsiteX309" fmla="*/ 29957 w 250763"/>
                    <a:gd name="connsiteY309" fmla="*/ 259992 h 539024"/>
                    <a:gd name="connsiteX310" fmla="*/ 29884 w 250763"/>
                    <a:gd name="connsiteY310" fmla="*/ 260490 h 539024"/>
                    <a:gd name="connsiteX311" fmla="*/ 29896 w 250763"/>
                    <a:gd name="connsiteY311" fmla="*/ 260988 h 539024"/>
                    <a:gd name="connsiteX312" fmla="*/ 29957 w 250763"/>
                    <a:gd name="connsiteY312" fmla="*/ 262943 h 539024"/>
                    <a:gd name="connsiteX313" fmla="*/ 29981 w 250763"/>
                    <a:gd name="connsiteY313" fmla="*/ 263732 h 539024"/>
                    <a:gd name="connsiteX314" fmla="*/ 30212 w 250763"/>
                    <a:gd name="connsiteY314" fmla="*/ 264485 h 539024"/>
                    <a:gd name="connsiteX315" fmla="*/ 31183 w 250763"/>
                    <a:gd name="connsiteY315" fmla="*/ 267764 h 539024"/>
                    <a:gd name="connsiteX316" fmla="*/ 31305 w 250763"/>
                    <a:gd name="connsiteY316" fmla="*/ 268165 h 539024"/>
                    <a:gd name="connsiteX317" fmla="*/ 31475 w 250763"/>
                    <a:gd name="connsiteY317" fmla="*/ 268541 h 539024"/>
                    <a:gd name="connsiteX318" fmla="*/ 31803 w 250763"/>
                    <a:gd name="connsiteY318" fmla="*/ 269257 h 539024"/>
                    <a:gd name="connsiteX319" fmla="*/ 31123 w 250763"/>
                    <a:gd name="connsiteY319" fmla="*/ 271164 h 539024"/>
                    <a:gd name="connsiteX320" fmla="*/ 27880 w 250763"/>
                    <a:gd name="connsiteY320" fmla="*/ 277733 h 539024"/>
                    <a:gd name="connsiteX321" fmla="*/ 27625 w 250763"/>
                    <a:gd name="connsiteY321" fmla="*/ 278255 h 539024"/>
                    <a:gd name="connsiteX322" fmla="*/ 27467 w 250763"/>
                    <a:gd name="connsiteY322" fmla="*/ 278814 h 539024"/>
                    <a:gd name="connsiteX323" fmla="*/ 26666 w 250763"/>
                    <a:gd name="connsiteY323" fmla="*/ 281765 h 539024"/>
                    <a:gd name="connsiteX324" fmla="*/ 26460 w 250763"/>
                    <a:gd name="connsiteY324" fmla="*/ 282493 h 539024"/>
                    <a:gd name="connsiteX325" fmla="*/ 26447 w 250763"/>
                    <a:gd name="connsiteY325" fmla="*/ 283246 h 539024"/>
                    <a:gd name="connsiteX326" fmla="*/ 26277 w 250763"/>
                    <a:gd name="connsiteY326" fmla="*/ 291115 h 539024"/>
                    <a:gd name="connsiteX327" fmla="*/ 26265 w 250763"/>
                    <a:gd name="connsiteY327" fmla="*/ 291698 h 539024"/>
                    <a:gd name="connsiteX328" fmla="*/ 26362 w 250763"/>
                    <a:gd name="connsiteY328" fmla="*/ 292256 h 539024"/>
                    <a:gd name="connsiteX329" fmla="*/ 31037 w 250763"/>
                    <a:gd name="connsiteY329" fmla="*/ 319736 h 539024"/>
                    <a:gd name="connsiteX330" fmla="*/ 30940 w 250763"/>
                    <a:gd name="connsiteY330" fmla="*/ 332911 h 539024"/>
                    <a:gd name="connsiteX331" fmla="*/ 30940 w 250763"/>
                    <a:gd name="connsiteY331" fmla="*/ 333579 h 539024"/>
                    <a:gd name="connsiteX332" fmla="*/ 31074 w 250763"/>
                    <a:gd name="connsiteY332" fmla="*/ 334234 h 539024"/>
                    <a:gd name="connsiteX333" fmla="*/ 32507 w 250763"/>
                    <a:gd name="connsiteY333" fmla="*/ 340901 h 539024"/>
                    <a:gd name="connsiteX334" fmla="*/ 32762 w 250763"/>
                    <a:gd name="connsiteY334" fmla="*/ 342054 h 539024"/>
                    <a:gd name="connsiteX335" fmla="*/ 33429 w 250763"/>
                    <a:gd name="connsiteY335" fmla="*/ 343038 h 539024"/>
                    <a:gd name="connsiteX336" fmla="*/ 36927 w 250763"/>
                    <a:gd name="connsiteY336" fmla="*/ 348211 h 539024"/>
                    <a:gd name="connsiteX337" fmla="*/ 37971 w 250763"/>
                    <a:gd name="connsiteY337" fmla="*/ 349753 h 539024"/>
                    <a:gd name="connsiteX338" fmla="*/ 39720 w 250763"/>
                    <a:gd name="connsiteY338" fmla="*/ 350445 h 539024"/>
                    <a:gd name="connsiteX339" fmla="*/ 44480 w 250763"/>
                    <a:gd name="connsiteY339" fmla="*/ 352327 h 539024"/>
                    <a:gd name="connsiteX340" fmla="*/ 45087 w 250763"/>
                    <a:gd name="connsiteY340" fmla="*/ 353056 h 539024"/>
                    <a:gd name="connsiteX341" fmla="*/ 46495 w 250763"/>
                    <a:gd name="connsiteY341" fmla="*/ 366583 h 539024"/>
                    <a:gd name="connsiteX342" fmla="*/ 46532 w 250763"/>
                    <a:gd name="connsiteY342" fmla="*/ 366923 h 539024"/>
                    <a:gd name="connsiteX343" fmla="*/ 46605 w 250763"/>
                    <a:gd name="connsiteY343" fmla="*/ 367263 h 539024"/>
                    <a:gd name="connsiteX344" fmla="*/ 47916 w 250763"/>
                    <a:gd name="connsiteY344" fmla="*/ 373262 h 539024"/>
                    <a:gd name="connsiteX345" fmla="*/ 48183 w 250763"/>
                    <a:gd name="connsiteY345" fmla="*/ 374525 h 539024"/>
                    <a:gd name="connsiteX346" fmla="*/ 48948 w 250763"/>
                    <a:gd name="connsiteY346" fmla="*/ 375569 h 539024"/>
                    <a:gd name="connsiteX347" fmla="*/ 51146 w 250763"/>
                    <a:gd name="connsiteY347" fmla="*/ 378532 h 539024"/>
                    <a:gd name="connsiteX348" fmla="*/ 51559 w 250763"/>
                    <a:gd name="connsiteY348" fmla="*/ 379090 h 539024"/>
                    <a:gd name="connsiteX349" fmla="*/ 52093 w 250763"/>
                    <a:gd name="connsiteY349" fmla="*/ 379540 h 539024"/>
                    <a:gd name="connsiteX350" fmla="*/ 56538 w 250763"/>
                    <a:gd name="connsiteY350" fmla="*/ 383316 h 539024"/>
                    <a:gd name="connsiteX351" fmla="*/ 57533 w 250763"/>
                    <a:gd name="connsiteY351" fmla="*/ 384785 h 539024"/>
                    <a:gd name="connsiteX352" fmla="*/ 57934 w 250763"/>
                    <a:gd name="connsiteY352" fmla="*/ 386291 h 539024"/>
                    <a:gd name="connsiteX353" fmla="*/ 59185 w 250763"/>
                    <a:gd name="connsiteY353" fmla="*/ 400608 h 539024"/>
                    <a:gd name="connsiteX354" fmla="*/ 58808 w 250763"/>
                    <a:gd name="connsiteY354" fmla="*/ 411731 h 539024"/>
                    <a:gd name="connsiteX355" fmla="*/ 58784 w 250763"/>
                    <a:gd name="connsiteY355" fmla="*/ 412459 h 539024"/>
                    <a:gd name="connsiteX356" fmla="*/ 58942 w 250763"/>
                    <a:gd name="connsiteY356" fmla="*/ 413163 h 539024"/>
                    <a:gd name="connsiteX357" fmla="*/ 59610 w 250763"/>
                    <a:gd name="connsiteY357" fmla="*/ 416454 h 539024"/>
                    <a:gd name="connsiteX358" fmla="*/ 59719 w 250763"/>
                    <a:gd name="connsiteY358" fmla="*/ 416964 h 539024"/>
                    <a:gd name="connsiteX359" fmla="*/ 59913 w 250763"/>
                    <a:gd name="connsiteY359" fmla="*/ 417450 h 539024"/>
                    <a:gd name="connsiteX360" fmla="*/ 62002 w 250763"/>
                    <a:gd name="connsiteY360" fmla="*/ 422781 h 539024"/>
                    <a:gd name="connsiteX361" fmla="*/ 62233 w 250763"/>
                    <a:gd name="connsiteY361" fmla="*/ 425294 h 539024"/>
                    <a:gd name="connsiteX362" fmla="*/ 73015 w 250763"/>
                    <a:gd name="connsiteY362" fmla="*/ 489032 h 539024"/>
                    <a:gd name="connsiteX363" fmla="*/ 71753 w 250763"/>
                    <a:gd name="connsiteY363" fmla="*/ 489020 h 539024"/>
                    <a:gd name="connsiteX364" fmla="*/ 70028 w 250763"/>
                    <a:gd name="connsiteY364" fmla="*/ 490502 h 539024"/>
                    <a:gd name="connsiteX365" fmla="*/ 67782 w 250763"/>
                    <a:gd name="connsiteY365" fmla="*/ 492420 h 539024"/>
                    <a:gd name="connsiteX366" fmla="*/ 64722 w 250763"/>
                    <a:gd name="connsiteY366" fmla="*/ 495055 h 539024"/>
                    <a:gd name="connsiteX367" fmla="*/ 65961 w 250763"/>
                    <a:gd name="connsiteY367" fmla="*/ 498893 h 539024"/>
                    <a:gd name="connsiteX368" fmla="*/ 70089 w 250763"/>
                    <a:gd name="connsiteY368" fmla="*/ 511764 h 539024"/>
                    <a:gd name="connsiteX369" fmla="*/ 72493 w 250763"/>
                    <a:gd name="connsiteY369" fmla="*/ 524381 h 539024"/>
                    <a:gd name="connsiteX370" fmla="*/ 72821 w 250763"/>
                    <a:gd name="connsiteY370" fmla="*/ 525862 h 539024"/>
                    <a:gd name="connsiteX371" fmla="*/ 72906 w 250763"/>
                    <a:gd name="connsiteY371" fmla="*/ 527174 h 539024"/>
                    <a:gd name="connsiteX372" fmla="*/ 73453 w 250763"/>
                    <a:gd name="connsiteY372" fmla="*/ 535249 h 539024"/>
                    <a:gd name="connsiteX373" fmla="*/ 81054 w 250763"/>
                    <a:gd name="connsiteY373" fmla="*/ 532468 h 539024"/>
                    <a:gd name="connsiteX374" fmla="*/ 82548 w 250763"/>
                    <a:gd name="connsiteY374" fmla="*/ 531921 h 539024"/>
                    <a:gd name="connsiteX375" fmla="*/ 82997 w 250763"/>
                    <a:gd name="connsiteY375" fmla="*/ 531751 h 539024"/>
                    <a:gd name="connsiteX376" fmla="*/ 83422 w 250763"/>
                    <a:gd name="connsiteY376" fmla="*/ 531509 h 539024"/>
                    <a:gd name="connsiteX377" fmla="*/ 84794 w 250763"/>
                    <a:gd name="connsiteY377" fmla="*/ 530743 h 539024"/>
                    <a:gd name="connsiteX378" fmla="*/ 85219 w 250763"/>
                    <a:gd name="connsiteY378" fmla="*/ 530501 h 539024"/>
                    <a:gd name="connsiteX379" fmla="*/ 85596 w 250763"/>
                    <a:gd name="connsiteY379" fmla="*/ 530197 h 539024"/>
                    <a:gd name="connsiteX380" fmla="*/ 86859 w 250763"/>
                    <a:gd name="connsiteY380" fmla="*/ 529189 h 539024"/>
                    <a:gd name="connsiteX381" fmla="*/ 87198 w 250763"/>
                    <a:gd name="connsiteY381" fmla="*/ 528922 h 539024"/>
                    <a:gd name="connsiteX382" fmla="*/ 87502 w 250763"/>
                    <a:gd name="connsiteY382" fmla="*/ 528606 h 539024"/>
                    <a:gd name="connsiteX383" fmla="*/ 88644 w 250763"/>
                    <a:gd name="connsiteY383" fmla="*/ 527392 h 539024"/>
                    <a:gd name="connsiteX384" fmla="*/ 89882 w 250763"/>
                    <a:gd name="connsiteY384" fmla="*/ 525898 h 539024"/>
                    <a:gd name="connsiteX385" fmla="*/ 91485 w 250763"/>
                    <a:gd name="connsiteY385" fmla="*/ 525753 h 539024"/>
                    <a:gd name="connsiteX386" fmla="*/ 92748 w 250763"/>
                    <a:gd name="connsiteY386" fmla="*/ 525643 h 539024"/>
                    <a:gd name="connsiteX387" fmla="*/ 93865 w 250763"/>
                    <a:gd name="connsiteY387" fmla="*/ 525024 h 539024"/>
                    <a:gd name="connsiteX388" fmla="*/ 95929 w 250763"/>
                    <a:gd name="connsiteY388" fmla="*/ 523895 h 539024"/>
                    <a:gd name="connsiteX389" fmla="*/ 97532 w 250763"/>
                    <a:gd name="connsiteY389" fmla="*/ 523033 h 539024"/>
                    <a:gd name="connsiteX390" fmla="*/ 98382 w 250763"/>
                    <a:gd name="connsiteY390" fmla="*/ 521430 h 539024"/>
                    <a:gd name="connsiteX391" fmla="*/ 99815 w 250763"/>
                    <a:gd name="connsiteY391" fmla="*/ 518734 h 539024"/>
                    <a:gd name="connsiteX392" fmla="*/ 100531 w 250763"/>
                    <a:gd name="connsiteY392" fmla="*/ 517398 h 539024"/>
                    <a:gd name="connsiteX393" fmla="*/ 100531 w 250763"/>
                    <a:gd name="connsiteY393" fmla="*/ 515880 h 539024"/>
                    <a:gd name="connsiteX394" fmla="*/ 100531 w 250763"/>
                    <a:gd name="connsiteY394" fmla="*/ 513173 h 539024"/>
                    <a:gd name="connsiteX395" fmla="*/ 100531 w 250763"/>
                    <a:gd name="connsiteY395" fmla="*/ 512675 h 539024"/>
                    <a:gd name="connsiteX396" fmla="*/ 100446 w 250763"/>
                    <a:gd name="connsiteY396" fmla="*/ 512189 h 539024"/>
                    <a:gd name="connsiteX397" fmla="*/ 100082 w 250763"/>
                    <a:gd name="connsiteY397" fmla="*/ 509918 h 539024"/>
                    <a:gd name="connsiteX398" fmla="*/ 100082 w 250763"/>
                    <a:gd name="connsiteY398" fmla="*/ 509044 h 539024"/>
                    <a:gd name="connsiteX399" fmla="*/ 100580 w 250763"/>
                    <a:gd name="connsiteY399" fmla="*/ 508740 h 539024"/>
                    <a:gd name="connsiteX400" fmla="*/ 103239 w 250763"/>
                    <a:gd name="connsiteY400" fmla="*/ 507089 h 539024"/>
                    <a:gd name="connsiteX401" fmla="*/ 103446 w 250763"/>
                    <a:gd name="connsiteY401" fmla="*/ 503968 h 539024"/>
                    <a:gd name="connsiteX402" fmla="*/ 103579 w 250763"/>
                    <a:gd name="connsiteY402" fmla="*/ 501940 h 539024"/>
                    <a:gd name="connsiteX403" fmla="*/ 103616 w 250763"/>
                    <a:gd name="connsiteY403" fmla="*/ 501358 h 539024"/>
                    <a:gd name="connsiteX404" fmla="*/ 103543 w 250763"/>
                    <a:gd name="connsiteY404" fmla="*/ 500787 h 539024"/>
                    <a:gd name="connsiteX405" fmla="*/ 103507 w 250763"/>
                    <a:gd name="connsiteY405" fmla="*/ 500520 h 539024"/>
                    <a:gd name="connsiteX406" fmla="*/ 111776 w 250763"/>
                    <a:gd name="connsiteY406" fmla="*/ 506530 h 539024"/>
                    <a:gd name="connsiteX407" fmla="*/ 123239 w 250763"/>
                    <a:gd name="connsiteY407" fmla="*/ 517253 h 539024"/>
                    <a:gd name="connsiteX408" fmla="*/ 125558 w 250763"/>
                    <a:gd name="connsiteY408" fmla="*/ 520325 h 539024"/>
                    <a:gd name="connsiteX409" fmla="*/ 126712 w 250763"/>
                    <a:gd name="connsiteY409" fmla="*/ 524514 h 539024"/>
                    <a:gd name="connsiteX410" fmla="*/ 127586 w 250763"/>
                    <a:gd name="connsiteY410" fmla="*/ 529881 h 539024"/>
                    <a:gd name="connsiteX411" fmla="*/ 127901 w 250763"/>
                    <a:gd name="connsiteY411" fmla="*/ 531861 h 539024"/>
                    <a:gd name="connsiteX412" fmla="*/ 129347 w 250763"/>
                    <a:gd name="connsiteY412" fmla="*/ 533269 h 539024"/>
                    <a:gd name="connsiteX413" fmla="*/ 131302 w 250763"/>
                    <a:gd name="connsiteY413" fmla="*/ 535164 h 539024"/>
                    <a:gd name="connsiteX414" fmla="*/ 135284 w 250763"/>
                    <a:gd name="connsiteY414" fmla="*/ 539025 h 539024"/>
                    <a:gd name="connsiteX415" fmla="*/ 139486 w 250763"/>
                    <a:gd name="connsiteY415" fmla="*/ 535394 h 539024"/>
                    <a:gd name="connsiteX416" fmla="*/ 141732 w 250763"/>
                    <a:gd name="connsiteY416" fmla="*/ 533463 h 539024"/>
                    <a:gd name="connsiteX417" fmla="*/ 143068 w 250763"/>
                    <a:gd name="connsiteY417" fmla="*/ 532310 h 539024"/>
                    <a:gd name="connsiteX418" fmla="*/ 143578 w 250763"/>
                    <a:gd name="connsiteY418" fmla="*/ 530622 h 539024"/>
                    <a:gd name="connsiteX419" fmla="*/ 144610 w 250763"/>
                    <a:gd name="connsiteY419" fmla="*/ 527222 h 539024"/>
                    <a:gd name="connsiteX420" fmla="*/ 144610 w 250763"/>
                    <a:gd name="connsiteY420" fmla="*/ 527234 h 539024"/>
                    <a:gd name="connsiteX421" fmla="*/ 145594 w 250763"/>
                    <a:gd name="connsiteY421" fmla="*/ 528363 h 539024"/>
                    <a:gd name="connsiteX422" fmla="*/ 146432 w 250763"/>
                    <a:gd name="connsiteY422" fmla="*/ 529323 h 539024"/>
                    <a:gd name="connsiteX423" fmla="*/ 147597 w 250763"/>
                    <a:gd name="connsiteY423" fmla="*/ 529869 h 539024"/>
                    <a:gd name="connsiteX424" fmla="*/ 148739 w 250763"/>
                    <a:gd name="connsiteY424" fmla="*/ 530403 h 539024"/>
                    <a:gd name="connsiteX425" fmla="*/ 150160 w 250763"/>
                    <a:gd name="connsiteY425" fmla="*/ 531071 h 539024"/>
                    <a:gd name="connsiteX426" fmla="*/ 151726 w 250763"/>
                    <a:gd name="connsiteY426" fmla="*/ 530962 h 539024"/>
                    <a:gd name="connsiteX427" fmla="*/ 152928 w 250763"/>
                    <a:gd name="connsiteY427" fmla="*/ 530877 h 539024"/>
                    <a:gd name="connsiteX428" fmla="*/ 154228 w 250763"/>
                    <a:gd name="connsiteY428" fmla="*/ 530780 h 539024"/>
                    <a:gd name="connsiteX429" fmla="*/ 155381 w 250763"/>
                    <a:gd name="connsiteY429" fmla="*/ 530161 h 539024"/>
                    <a:gd name="connsiteX430" fmla="*/ 156705 w 250763"/>
                    <a:gd name="connsiteY430" fmla="*/ 529444 h 539024"/>
                    <a:gd name="connsiteX431" fmla="*/ 157494 w 250763"/>
                    <a:gd name="connsiteY431" fmla="*/ 529031 h 539024"/>
                    <a:gd name="connsiteX432" fmla="*/ 158125 w 250763"/>
                    <a:gd name="connsiteY432" fmla="*/ 528388 h 539024"/>
                    <a:gd name="connsiteX433" fmla="*/ 158477 w 250763"/>
                    <a:gd name="connsiteY433" fmla="*/ 528048 h 539024"/>
                    <a:gd name="connsiteX434" fmla="*/ 159170 w 250763"/>
                    <a:gd name="connsiteY434" fmla="*/ 527246 h 539024"/>
                    <a:gd name="connsiteX435" fmla="*/ 160044 w 250763"/>
                    <a:gd name="connsiteY435" fmla="*/ 526020 h 539024"/>
                    <a:gd name="connsiteX436" fmla="*/ 160578 w 250763"/>
                    <a:gd name="connsiteY436" fmla="*/ 524065 h 539024"/>
                    <a:gd name="connsiteX437" fmla="*/ 160772 w 250763"/>
                    <a:gd name="connsiteY437" fmla="*/ 522693 h 539024"/>
                    <a:gd name="connsiteX438" fmla="*/ 160845 w 250763"/>
                    <a:gd name="connsiteY438" fmla="*/ 522146 h 539024"/>
                    <a:gd name="connsiteX439" fmla="*/ 160821 w 250763"/>
                    <a:gd name="connsiteY439" fmla="*/ 521600 h 539024"/>
                    <a:gd name="connsiteX440" fmla="*/ 160772 w 250763"/>
                    <a:gd name="connsiteY440" fmla="*/ 520215 h 539024"/>
                    <a:gd name="connsiteX441" fmla="*/ 160736 w 250763"/>
                    <a:gd name="connsiteY441" fmla="*/ 519608 h 539024"/>
                    <a:gd name="connsiteX442" fmla="*/ 160590 w 250763"/>
                    <a:gd name="connsiteY442" fmla="*/ 519026 h 539024"/>
                    <a:gd name="connsiteX443" fmla="*/ 160250 w 250763"/>
                    <a:gd name="connsiteY443" fmla="*/ 517629 h 539024"/>
                    <a:gd name="connsiteX444" fmla="*/ 160153 w 250763"/>
                    <a:gd name="connsiteY444" fmla="*/ 517253 h 539024"/>
                    <a:gd name="connsiteX445" fmla="*/ 160020 w 250763"/>
                    <a:gd name="connsiteY445" fmla="*/ 516901 h 539024"/>
                    <a:gd name="connsiteX446" fmla="*/ 159498 w 250763"/>
                    <a:gd name="connsiteY446" fmla="*/ 515553 h 539024"/>
                    <a:gd name="connsiteX447" fmla="*/ 158332 w 250763"/>
                    <a:gd name="connsiteY447" fmla="*/ 513197 h 539024"/>
                    <a:gd name="connsiteX448" fmla="*/ 158138 w 250763"/>
                    <a:gd name="connsiteY448" fmla="*/ 512335 h 539024"/>
                    <a:gd name="connsiteX449" fmla="*/ 158198 w 250763"/>
                    <a:gd name="connsiteY449" fmla="*/ 511886 h 539024"/>
                    <a:gd name="connsiteX450" fmla="*/ 160457 w 250763"/>
                    <a:gd name="connsiteY450" fmla="*/ 507587 h 539024"/>
                    <a:gd name="connsiteX451" fmla="*/ 161222 w 250763"/>
                    <a:gd name="connsiteY451" fmla="*/ 507417 h 539024"/>
                    <a:gd name="connsiteX452" fmla="*/ 161720 w 250763"/>
                    <a:gd name="connsiteY452" fmla="*/ 507308 h 539024"/>
                    <a:gd name="connsiteX453" fmla="*/ 162193 w 250763"/>
                    <a:gd name="connsiteY453" fmla="*/ 507113 h 539024"/>
                    <a:gd name="connsiteX454" fmla="*/ 165569 w 250763"/>
                    <a:gd name="connsiteY454" fmla="*/ 505753 h 539024"/>
                    <a:gd name="connsiteX455" fmla="*/ 170961 w 250763"/>
                    <a:gd name="connsiteY455" fmla="*/ 503568 h 539024"/>
                    <a:gd name="connsiteX456" fmla="*/ 169005 w 250763"/>
                    <a:gd name="connsiteY456" fmla="*/ 498079 h 539024"/>
                    <a:gd name="connsiteX457" fmla="*/ 168811 w 250763"/>
                    <a:gd name="connsiteY457" fmla="*/ 497533 h 539024"/>
                    <a:gd name="connsiteX458" fmla="*/ 169018 w 250763"/>
                    <a:gd name="connsiteY458" fmla="*/ 488110 h 539024"/>
                    <a:gd name="connsiteX459" fmla="*/ 170669 w 250763"/>
                    <a:gd name="connsiteY459" fmla="*/ 488389 h 539024"/>
                    <a:gd name="connsiteX460" fmla="*/ 172649 w 250763"/>
                    <a:gd name="connsiteY460" fmla="*/ 488996 h 539024"/>
                    <a:gd name="connsiteX461" fmla="*/ 174373 w 250763"/>
                    <a:gd name="connsiteY461" fmla="*/ 490295 h 539024"/>
                    <a:gd name="connsiteX462" fmla="*/ 174980 w 250763"/>
                    <a:gd name="connsiteY462" fmla="*/ 490769 h 539024"/>
                    <a:gd name="connsiteX463" fmla="*/ 175696 w 250763"/>
                    <a:gd name="connsiteY463" fmla="*/ 491072 h 539024"/>
                    <a:gd name="connsiteX464" fmla="*/ 178550 w 250763"/>
                    <a:gd name="connsiteY464" fmla="*/ 492287 h 539024"/>
                    <a:gd name="connsiteX465" fmla="*/ 180578 w 250763"/>
                    <a:gd name="connsiteY465" fmla="*/ 493137 h 539024"/>
                    <a:gd name="connsiteX466" fmla="*/ 182678 w 250763"/>
                    <a:gd name="connsiteY466" fmla="*/ 492493 h 539024"/>
                    <a:gd name="connsiteX467" fmla="*/ 186807 w 250763"/>
                    <a:gd name="connsiteY467" fmla="*/ 491243 h 539024"/>
                    <a:gd name="connsiteX468" fmla="*/ 194068 w 250763"/>
                    <a:gd name="connsiteY468" fmla="*/ 489057 h 539024"/>
                    <a:gd name="connsiteX469" fmla="*/ 190353 w 250763"/>
                    <a:gd name="connsiteY469" fmla="*/ 482451 h 539024"/>
                    <a:gd name="connsiteX470" fmla="*/ 189321 w 250763"/>
                    <a:gd name="connsiteY470" fmla="*/ 480618 h 539024"/>
                    <a:gd name="connsiteX471" fmla="*/ 189782 w 250763"/>
                    <a:gd name="connsiteY471" fmla="*/ 480532 h 539024"/>
                    <a:gd name="connsiteX472" fmla="*/ 190851 w 250763"/>
                    <a:gd name="connsiteY472" fmla="*/ 480350 h 539024"/>
                    <a:gd name="connsiteX473" fmla="*/ 191786 w 250763"/>
                    <a:gd name="connsiteY473" fmla="*/ 479804 h 539024"/>
                    <a:gd name="connsiteX474" fmla="*/ 193279 w 250763"/>
                    <a:gd name="connsiteY474" fmla="*/ 478942 h 539024"/>
                    <a:gd name="connsiteX475" fmla="*/ 195210 w 250763"/>
                    <a:gd name="connsiteY475" fmla="*/ 477812 h 539024"/>
                    <a:gd name="connsiteX476" fmla="*/ 195963 w 250763"/>
                    <a:gd name="connsiteY476" fmla="*/ 475699 h 539024"/>
                    <a:gd name="connsiteX477" fmla="*/ 196825 w 250763"/>
                    <a:gd name="connsiteY477" fmla="*/ 473235 h 539024"/>
                    <a:gd name="connsiteX478" fmla="*/ 197104 w 250763"/>
                    <a:gd name="connsiteY478" fmla="*/ 472433 h 539024"/>
                    <a:gd name="connsiteX479" fmla="*/ 197153 w 250763"/>
                    <a:gd name="connsiteY479" fmla="*/ 471595 h 539024"/>
                    <a:gd name="connsiteX480" fmla="*/ 197274 w 250763"/>
                    <a:gd name="connsiteY480" fmla="*/ 469652 h 539024"/>
                    <a:gd name="connsiteX481" fmla="*/ 197299 w 250763"/>
                    <a:gd name="connsiteY481" fmla="*/ 469264 h 539024"/>
                    <a:gd name="connsiteX482" fmla="*/ 197274 w 250763"/>
                    <a:gd name="connsiteY482" fmla="*/ 468863 h 539024"/>
                    <a:gd name="connsiteX483" fmla="*/ 195659 w 250763"/>
                    <a:gd name="connsiteY483" fmla="*/ 445755 h 539024"/>
                    <a:gd name="connsiteX484" fmla="*/ 195611 w 250763"/>
                    <a:gd name="connsiteY484" fmla="*/ 445124 h 539024"/>
                    <a:gd name="connsiteX485" fmla="*/ 195428 w 250763"/>
                    <a:gd name="connsiteY485" fmla="*/ 444516 h 539024"/>
                    <a:gd name="connsiteX486" fmla="*/ 193133 w 250763"/>
                    <a:gd name="connsiteY486" fmla="*/ 436454 h 539024"/>
                    <a:gd name="connsiteX487" fmla="*/ 192721 w 250763"/>
                    <a:gd name="connsiteY487" fmla="*/ 434996 h 539024"/>
                    <a:gd name="connsiteX488" fmla="*/ 191676 w 250763"/>
                    <a:gd name="connsiteY488" fmla="*/ 433904 h 539024"/>
                    <a:gd name="connsiteX489" fmla="*/ 185629 w 250763"/>
                    <a:gd name="connsiteY489" fmla="*/ 427614 h 539024"/>
                    <a:gd name="connsiteX490" fmla="*/ 184718 w 250763"/>
                    <a:gd name="connsiteY490" fmla="*/ 425719 h 539024"/>
                    <a:gd name="connsiteX491" fmla="*/ 183128 w 250763"/>
                    <a:gd name="connsiteY491" fmla="*/ 420437 h 539024"/>
                    <a:gd name="connsiteX492" fmla="*/ 183018 w 250763"/>
                    <a:gd name="connsiteY492" fmla="*/ 417535 h 539024"/>
                    <a:gd name="connsiteX493" fmla="*/ 184840 w 250763"/>
                    <a:gd name="connsiteY493" fmla="*/ 410626 h 539024"/>
                    <a:gd name="connsiteX494" fmla="*/ 184998 w 250763"/>
                    <a:gd name="connsiteY494" fmla="*/ 410031 h 539024"/>
                    <a:gd name="connsiteX495" fmla="*/ 185034 w 250763"/>
                    <a:gd name="connsiteY495" fmla="*/ 409411 h 539024"/>
                    <a:gd name="connsiteX496" fmla="*/ 185277 w 250763"/>
                    <a:gd name="connsiteY496" fmla="*/ 405137 h 539024"/>
                    <a:gd name="connsiteX497" fmla="*/ 185338 w 250763"/>
                    <a:gd name="connsiteY497" fmla="*/ 404129 h 539024"/>
                    <a:gd name="connsiteX498" fmla="*/ 185070 w 250763"/>
                    <a:gd name="connsiteY498" fmla="*/ 403158 h 539024"/>
                    <a:gd name="connsiteX499" fmla="*/ 183978 w 250763"/>
                    <a:gd name="connsiteY499" fmla="*/ 399296 h 539024"/>
                    <a:gd name="connsiteX500" fmla="*/ 183759 w 250763"/>
                    <a:gd name="connsiteY500" fmla="*/ 398543 h 539024"/>
                    <a:gd name="connsiteX501" fmla="*/ 183371 w 250763"/>
                    <a:gd name="connsiteY501" fmla="*/ 397875 h 539024"/>
                    <a:gd name="connsiteX502" fmla="*/ 179339 w 250763"/>
                    <a:gd name="connsiteY502" fmla="*/ 391003 h 539024"/>
                    <a:gd name="connsiteX503" fmla="*/ 178295 w 250763"/>
                    <a:gd name="connsiteY503" fmla="*/ 388343 h 539024"/>
                    <a:gd name="connsiteX504" fmla="*/ 177918 w 250763"/>
                    <a:gd name="connsiteY504" fmla="*/ 385660 h 539024"/>
                    <a:gd name="connsiteX505" fmla="*/ 179218 w 250763"/>
                    <a:gd name="connsiteY505" fmla="*/ 373031 h 539024"/>
                    <a:gd name="connsiteX506" fmla="*/ 180675 w 250763"/>
                    <a:gd name="connsiteY506" fmla="*/ 371756 h 539024"/>
                    <a:gd name="connsiteX507" fmla="*/ 183589 w 250763"/>
                    <a:gd name="connsiteY507" fmla="*/ 373043 h 539024"/>
                    <a:gd name="connsiteX508" fmla="*/ 185896 w 250763"/>
                    <a:gd name="connsiteY508" fmla="*/ 367130 h 539024"/>
                    <a:gd name="connsiteX509" fmla="*/ 187293 w 250763"/>
                    <a:gd name="connsiteY509" fmla="*/ 363547 h 539024"/>
                    <a:gd name="connsiteX510" fmla="*/ 193328 w 250763"/>
                    <a:gd name="connsiteY510" fmla="*/ 356553 h 539024"/>
                    <a:gd name="connsiteX511" fmla="*/ 193583 w 250763"/>
                    <a:gd name="connsiteY511" fmla="*/ 356249 h 539024"/>
                    <a:gd name="connsiteX512" fmla="*/ 193801 w 250763"/>
                    <a:gd name="connsiteY512" fmla="*/ 355922 h 539024"/>
                    <a:gd name="connsiteX513" fmla="*/ 196497 w 250763"/>
                    <a:gd name="connsiteY513" fmla="*/ 351805 h 539024"/>
                    <a:gd name="connsiteX514" fmla="*/ 197311 w 250763"/>
                    <a:gd name="connsiteY514" fmla="*/ 350554 h 539024"/>
                    <a:gd name="connsiteX515" fmla="*/ 197468 w 250763"/>
                    <a:gd name="connsiteY515" fmla="*/ 349061 h 539024"/>
                    <a:gd name="connsiteX516" fmla="*/ 197821 w 250763"/>
                    <a:gd name="connsiteY516" fmla="*/ 345418 h 539024"/>
                    <a:gd name="connsiteX517" fmla="*/ 197930 w 250763"/>
                    <a:gd name="connsiteY517" fmla="*/ 344228 h 539024"/>
                    <a:gd name="connsiteX518" fmla="*/ 197590 w 250763"/>
                    <a:gd name="connsiteY518" fmla="*/ 343074 h 539024"/>
                    <a:gd name="connsiteX519" fmla="*/ 196388 w 250763"/>
                    <a:gd name="connsiteY519" fmla="*/ 339091 h 539024"/>
                    <a:gd name="connsiteX520" fmla="*/ 196218 w 250763"/>
                    <a:gd name="connsiteY520" fmla="*/ 338533 h 539024"/>
                    <a:gd name="connsiteX521" fmla="*/ 195951 w 250763"/>
                    <a:gd name="connsiteY521" fmla="*/ 338023 h 539024"/>
                    <a:gd name="connsiteX522" fmla="*/ 192417 w 250763"/>
                    <a:gd name="connsiteY522" fmla="*/ 331308 h 539024"/>
                    <a:gd name="connsiteX523" fmla="*/ 191227 w 250763"/>
                    <a:gd name="connsiteY523" fmla="*/ 328029 h 539024"/>
                    <a:gd name="connsiteX524" fmla="*/ 190511 w 250763"/>
                    <a:gd name="connsiteY524" fmla="*/ 323791 h 539024"/>
                    <a:gd name="connsiteX525" fmla="*/ 190729 w 250763"/>
                    <a:gd name="connsiteY525" fmla="*/ 320768 h 539024"/>
                    <a:gd name="connsiteX526" fmla="*/ 191045 w 250763"/>
                    <a:gd name="connsiteY526" fmla="*/ 320258 h 539024"/>
                    <a:gd name="connsiteX527" fmla="*/ 192041 w 250763"/>
                    <a:gd name="connsiteY527" fmla="*/ 319906 h 539024"/>
                    <a:gd name="connsiteX528" fmla="*/ 192332 w 250763"/>
                    <a:gd name="connsiteY528" fmla="*/ 319979 h 539024"/>
                    <a:gd name="connsiteX529" fmla="*/ 193571 w 250763"/>
                    <a:gd name="connsiteY529" fmla="*/ 321132 h 539024"/>
                    <a:gd name="connsiteX530" fmla="*/ 195683 w 250763"/>
                    <a:gd name="connsiteY530" fmla="*/ 324399 h 539024"/>
                    <a:gd name="connsiteX531" fmla="*/ 196230 w 250763"/>
                    <a:gd name="connsiteY531" fmla="*/ 325248 h 539024"/>
                    <a:gd name="connsiteX532" fmla="*/ 197019 w 250763"/>
                    <a:gd name="connsiteY532" fmla="*/ 325868 h 539024"/>
                    <a:gd name="connsiteX533" fmla="*/ 200990 w 250763"/>
                    <a:gd name="connsiteY533" fmla="*/ 329001 h 539024"/>
                    <a:gd name="connsiteX534" fmla="*/ 202799 w 250763"/>
                    <a:gd name="connsiteY534" fmla="*/ 330434 h 539024"/>
                    <a:gd name="connsiteX535" fmla="*/ 205094 w 250763"/>
                    <a:gd name="connsiteY535" fmla="*/ 330300 h 539024"/>
                    <a:gd name="connsiteX536" fmla="*/ 210012 w 250763"/>
                    <a:gd name="connsiteY536" fmla="*/ 330009 h 539024"/>
                    <a:gd name="connsiteX537" fmla="*/ 211239 w 250763"/>
                    <a:gd name="connsiteY537" fmla="*/ 329936 h 539024"/>
                    <a:gd name="connsiteX538" fmla="*/ 212331 w 250763"/>
                    <a:gd name="connsiteY538" fmla="*/ 329401 h 539024"/>
                    <a:gd name="connsiteX539" fmla="*/ 217225 w 250763"/>
                    <a:gd name="connsiteY539" fmla="*/ 327009 h 539024"/>
                    <a:gd name="connsiteX540" fmla="*/ 217917 w 250763"/>
                    <a:gd name="connsiteY540" fmla="*/ 326669 h 539024"/>
                    <a:gd name="connsiteX541" fmla="*/ 218500 w 250763"/>
                    <a:gd name="connsiteY541" fmla="*/ 326171 h 539024"/>
                    <a:gd name="connsiteX542" fmla="*/ 222119 w 250763"/>
                    <a:gd name="connsiteY542" fmla="*/ 323087 h 539024"/>
                    <a:gd name="connsiteX543" fmla="*/ 222617 w 250763"/>
                    <a:gd name="connsiteY543" fmla="*/ 322662 h 539024"/>
                    <a:gd name="connsiteX544" fmla="*/ 223005 w 250763"/>
                    <a:gd name="connsiteY544" fmla="*/ 322152 h 539024"/>
                    <a:gd name="connsiteX545" fmla="*/ 225810 w 250763"/>
                    <a:gd name="connsiteY545" fmla="*/ 318473 h 539024"/>
                    <a:gd name="connsiteX546" fmla="*/ 226138 w 250763"/>
                    <a:gd name="connsiteY546" fmla="*/ 318036 h 539024"/>
                    <a:gd name="connsiteX547" fmla="*/ 226393 w 250763"/>
                    <a:gd name="connsiteY547" fmla="*/ 317550 h 539024"/>
                    <a:gd name="connsiteX548" fmla="*/ 234213 w 250763"/>
                    <a:gd name="connsiteY548" fmla="*/ 302250 h 539024"/>
                    <a:gd name="connsiteX549" fmla="*/ 234857 w 250763"/>
                    <a:gd name="connsiteY549" fmla="*/ 300999 h 539024"/>
                    <a:gd name="connsiteX550" fmla="*/ 234881 w 250763"/>
                    <a:gd name="connsiteY550" fmla="*/ 299603 h 539024"/>
                    <a:gd name="connsiteX551" fmla="*/ 234930 w 250763"/>
                    <a:gd name="connsiteY551" fmla="*/ 297125 h 539024"/>
                    <a:gd name="connsiteX552" fmla="*/ 234941 w 250763"/>
                    <a:gd name="connsiteY552" fmla="*/ 296543 h 539024"/>
                    <a:gd name="connsiteX553" fmla="*/ 234832 w 250763"/>
                    <a:gd name="connsiteY553" fmla="*/ 295972 h 539024"/>
                    <a:gd name="connsiteX554" fmla="*/ 234505 w 250763"/>
                    <a:gd name="connsiteY554" fmla="*/ 294053 h 539024"/>
                    <a:gd name="connsiteX555" fmla="*/ 234468 w 250763"/>
                    <a:gd name="connsiteY555" fmla="*/ 291807 h 539024"/>
                    <a:gd name="connsiteX556" fmla="*/ 235913 w 250763"/>
                    <a:gd name="connsiteY556" fmla="*/ 278887 h 539024"/>
                    <a:gd name="connsiteX557" fmla="*/ 235986 w 250763"/>
                    <a:gd name="connsiteY557" fmla="*/ 278268 h 539024"/>
                    <a:gd name="connsiteX558" fmla="*/ 235925 w 250763"/>
                    <a:gd name="connsiteY558" fmla="*/ 277648 h 539024"/>
                    <a:gd name="connsiteX559" fmla="*/ 235185 w 250763"/>
                    <a:gd name="connsiteY559" fmla="*/ 269804 h 539024"/>
                    <a:gd name="connsiteX560" fmla="*/ 235355 w 250763"/>
                    <a:gd name="connsiteY560" fmla="*/ 267703 h 539024"/>
                    <a:gd name="connsiteX561" fmla="*/ 235949 w 250763"/>
                    <a:gd name="connsiteY561" fmla="*/ 266052 h 539024"/>
                    <a:gd name="connsiteX562" fmla="*/ 239131 w 250763"/>
                    <a:gd name="connsiteY562" fmla="*/ 261656 h 539024"/>
                    <a:gd name="connsiteX563" fmla="*/ 239556 w 250763"/>
                    <a:gd name="connsiteY563" fmla="*/ 261073 h 539024"/>
                    <a:gd name="connsiteX564" fmla="*/ 239823 w 250763"/>
                    <a:gd name="connsiteY564" fmla="*/ 260393 h 539024"/>
                    <a:gd name="connsiteX565" fmla="*/ 240515 w 250763"/>
                    <a:gd name="connsiteY565" fmla="*/ 258705 h 539024"/>
                    <a:gd name="connsiteX566" fmla="*/ 240928 w 250763"/>
                    <a:gd name="connsiteY566" fmla="*/ 257685 h 539024"/>
                    <a:gd name="connsiteX567" fmla="*/ 240964 w 250763"/>
                    <a:gd name="connsiteY567" fmla="*/ 256580 h 539024"/>
                    <a:gd name="connsiteX568" fmla="*/ 241013 w 250763"/>
                    <a:gd name="connsiteY568" fmla="*/ 254771 h 539024"/>
                    <a:gd name="connsiteX569" fmla="*/ 241025 w 250763"/>
                    <a:gd name="connsiteY569" fmla="*/ 254224 h 539024"/>
                    <a:gd name="connsiteX570" fmla="*/ 240940 w 250763"/>
                    <a:gd name="connsiteY570" fmla="*/ 253678 h 539024"/>
                    <a:gd name="connsiteX571" fmla="*/ 240600 w 250763"/>
                    <a:gd name="connsiteY571" fmla="*/ 251468 h 539024"/>
                    <a:gd name="connsiteX572" fmla="*/ 239532 w 250763"/>
                    <a:gd name="connsiteY572" fmla="*/ 240600 h 539024"/>
                    <a:gd name="connsiteX573" fmla="*/ 239629 w 250763"/>
                    <a:gd name="connsiteY573" fmla="*/ 235828 h 539024"/>
                    <a:gd name="connsiteX574" fmla="*/ 245603 w 250763"/>
                    <a:gd name="connsiteY574" fmla="*/ 197930 h 539024"/>
                    <a:gd name="connsiteX575" fmla="*/ 245700 w 250763"/>
                    <a:gd name="connsiteY575" fmla="*/ 197274 h 539024"/>
                    <a:gd name="connsiteX576" fmla="*/ 245664 w 250763"/>
                    <a:gd name="connsiteY576" fmla="*/ 196606 h 539024"/>
                    <a:gd name="connsiteX577" fmla="*/ 245263 w 250763"/>
                    <a:gd name="connsiteY577" fmla="*/ 190061 h 539024"/>
                    <a:gd name="connsiteX578" fmla="*/ 245202 w 250763"/>
                    <a:gd name="connsiteY578" fmla="*/ 189126 h 539024"/>
                    <a:gd name="connsiteX579" fmla="*/ 244875 w 250763"/>
                    <a:gd name="connsiteY579" fmla="*/ 188252 h 539024"/>
                    <a:gd name="connsiteX580" fmla="*/ 244073 w 250763"/>
                    <a:gd name="connsiteY580" fmla="*/ 186151 h 539024"/>
                    <a:gd name="connsiteX581" fmla="*/ 243794 w 250763"/>
                    <a:gd name="connsiteY581" fmla="*/ 185398 h 539024"/>
                    <a:gd name="connsiteX582" fmla="*/ 243308 w 250763"/>
                    <a:gd name="connsiteY582" fmla="*/ 184743 h 539024"/>
                    <a:gd name="connsiteX583" fmla="*/ 240989 w 250763"/>
                    <a:gd name="connsiteY583" fmla="*/ 181573 h 539024"/>
                    <a:gd name="connsiteX584" fmla="*/ 240115 w 250763"/>
                    <a:gd name="connsiteY584" fmla="*/ 179898 h 539024"/>
                    <a:gd name="connsiteX585" fmla="*/ 239386 w 250763"/>
                    <a:gd name="connsiteY585" fmla="*/ 178537 h 539024"/>
                    <a:gd name="connsiteX586" fmla="*/ 238123 w 250763"/>
                    <a:gd name="connsiteY586" fmla="*/ 177688 h 539024"/>
                    <a:gd name="connsiteX587" fmla="*/ 234492 w 250763"/>
                    <a:gd name="connsiteY587" fmla="*/ 175259 h 539024"/>
                    <a:gd name="connsiteX588" fmla="*/ 231809 w 250763"/>
                    <a:gd name="connsiteY588" fmla="*/ 155381 h 539024"/>
                    <a:gd name="connsiteX589" fmla="*/ 231967 w 250763"/>
                    <a:gd name="connsiteY589" fmla="*/ 148775 h 539024"/>
                    <a:gd name="connsiteX590" fmla="*/ 231979 w 250763"/>
                    <a:gd name="connsiteY590" fmla="*/ 148107 h 539024"/>
                    <a:gd name="connsiteX591" fmla="*/ 231845 w 250763"/>
                    <a:gd name="connsiteY591" fmla="*/ 147452 h 539024"/>
                    <a:gd name="connsiteX592" fmla="*/ 231214 w 250763"/>
                    <a:gd name="connsiteY592" fmla="*/ 144258 h 539024"/>
                    <a:gd name="connsiteX593" fmla="*/ 231032 w 250763"/>
                    <a:gd name="connsiteY593" fmla="*/ 143347 h 539024"/>
                    <a:gd name="connsiteX594" fmla="*/ 230582 w 250763"/>
                    <a:gd name="connsiteY594" fmla="*/ 142534 h 539024"/>
                    <a:gd name="connsiteX595" fmla="*/ 229842 w 250763"/>
                    <a:gd name="connsiteY595" fmla="*/ 141162 h 539024"/>
                    <a:gd name="connsiteX596" fmla="*/ 229271 w 250763"/>
                    <a:gd name="connsiteY596" fmla="*/ 140117 h 539024"/>
                    <a:gd name="connsiteX597" fmla="*/ 228348 w 250763"/>
                    <a:gd name="connsiteY597" fmla="*/ 139364 h 539024"/>
                    <a:gd name="connsiteX598" fmla="*/ 227668 w 250763"/>
                    <a:gd name="connsiteY598" fmla="*/ 138818 h 539024"/>
                    <a:gd name="connsiteX599" fmla="*/ 226757 w 250763"/>
                    <a:gd name="connsiteY599" fmla="*/ 137689 h 539024"/>
                    <a:gd name="connsiteX600" fmla="*/ 223139 w 250763"/>
                    <a:gd name="connsiteY600" fmla="*/ 131836 h 539024"/>
                    <a:gd name="connsiteX601" fmla="*/ 222009 w 250763"/>
                    <a:gd name="connsiteY601" fmla="*/ 129383 h 539024"/>
                    <a:gd name="connsiteX602" fmla="*/ 221317 w 250763"/>
                    <a:gd name="connsiteY602" fmla="*/ 126881 h 539024"/>
                    <a:gd name="connsiteX603" fmla="*/ 221062 w 250763"/>
                    <a:gd name="connsiteY603" fmla="*/ 123664 h 539024"/>
                    <a:gd name="connsiteX604" fmla="*/ 221317 w 250763"/>
                    <a:gd name="connsiteY604" fmla="*/ 120349 h 539024"/>
                    <a:gd name="connsiteX605" fmla="*/ 221341 w 250763"/>
                    <a:gd name="connsiteY605" fmla="*/ 119826 h 539024"/>
                    <a:gd name="connsiteX606" fmla="*/ 222131 w 250763"/>
                    <a:gd name="connsiteY606" fmla="*/ 116973 h 539024"/>
                    <a:gd name="connsiteX607" fmla="*/ 222714 w 250763"/>
                    <a:gd name="connsiteY607" fmla="*/ 116184 h 539024"/>
                    <a:gd name="connsiteX608" fmla="*/ 223297 w 250763"/>
                    <a:gd name="connsiteY608" fmla="*/ 115977 h 539024"/>
                    <a:gd name="connsiteX609" fmla="*/ 227802 w 250763"/>
                    <a:gd name="connsiteY609" fmla="*/ 122874 h 539024"/>
                    <a:gd name="connsiteX610" fmla="*/ 229987 w 250763"/>
                    <a:gd name="connsiteY610" fmla="*/ 125643 h 539024"/>
                    <a:gd name="connsiteX611" fmla="*/ 230218 w 250763"/>
                    <a:gd name="connsiteY611" fmla="*/ 125910 h 539024"/>
                    <a:gd name="connsiteX612" fmla="*/ 230473 w 250763"/>
                    <a:gd name="connsiteY612" fmla="*/ 126165 h 539024"/>
                    <a:gd name="connsiteX613" fmla="*/ 235804 w 250763"/>
                    <a:gd name="connsiteY613" fmla="*/ 131447 h 539024"/>
                    <a:gd name="connsiteX614" fmla="*/ 236314 w 250763"/>
                    <a:gd name="connsiteY614" fmla="*/ 132613 h 539024"/>
                    <a:gd name="connsiteX615" fmla="*/ 236423 w 250763"/>
                    <a:gd name="connsiteY615" fmla="*/ 133014 h 539024"/>
                    <a:gd name="connsiteX616" fmla="*/ 250764 w 250763"/>
                    <a:gd name="connsiteY616" fmla="*/ 189648 h 539024"/>
                    <a:gd name="connsiteX617" fmla="*/ 248384 w 250763"/>
                    <a:gd name="connsiteY617" fmla="*/ 131277 h 539024"/>
                    <a:gd name="connsiteX618" fmla="*/ 247740 w 250763"/>
                    <a:gd name="connsiteY618" fmla="*/ 115637 h 539024"/>
                    <a:gd name="connsiteX619" fmla="*/ 248165 w 250763"/>
                    <a:gd name="connsiteY619" fmla="*/ 108558 h 539024"/>
                    <a:gd name="connsiteX620" fmla="*/ 246781 w 250763"/>
                    <a:gd name="connsiteY620" fmla="*/ 105959 h 539024"/>
                    <a:gd name="connsiteX621" fmla="*/ 242822 w 250763"/>
                    <a:gd name="connsiteY621" fmla="*/ 99864 h 539024"/>
                    <a:gd name="connsiteX622" fmla="*/ 239556 w 250763"/>
                    <a:gd name="connsiteY622" fmla="*/ 97763 h 539024"/>
                    <a:gd name="connsiteX623" fmla="*/ 236168 w 250763"/>
                    <a:gd name="connsiteY623" fmla="*/ 95273 h 539024"/>
                    <a:gd name="connsiteX624" fmla="*/ 231177 w 250763"/>
                    <a:gd name="connsiteY624" fmla="*/ 92748 h 539024"/>
                    <a:gd name="connsiteX625" fmla="*/ 226660 w 250763"/>
                    <a:gd name="connsiteY625" fmla="*/ 90392 h 539024"/>
                    <a:gd name="connsiteX626" fmla="*/ 226770 w 250763"/>
                    <a:gd name="connsiteY626" fmla="*/ 88230 h 539024"/>
                    <a:gd name="connsiteX627" fmla="*/ 217055 w 250763"/>
                    <a:gd name="connsiteY627" fmla="*/ 75662 h 539024"/>
                    <a:gd name="connsiteX628" fmla="*/ 206139 w 250763"/>
                    <a:gd name="connsiteY628" fmla="*/ 74084 h 539024"/>
                    <a:gd name="connsiteX629" fmla="*/ 205896 w 250763"/>
                    <a:gd name="connsiteY629" fmla="*/ 74072 h 539024"/>
                    <a:gd name="connsiteX630" fmla="*/ 205228 w 250763"/>
                    <a:gd name="connsiteY630" fmla="*/ 74060 h 539024"/>
                    <a:gd name="connsiteX631" fmla="*/ 202678 w 250763"/>
                    <a:gd name="connsiteY631" fmla="*/ 74278 h 539024"/>
                    <a:gd name="connsiteX632" fmla="*/ 201791 w 250763"/>
                    <a:gd name="connsiteY632" fmla="*/ 74388 h 539024"/>
                    <a:gd name="connsiteX633" fmla="*/ 196861 w 250763"/>
                    <a:gd name="connsiteY633" fmla="*/ 73999 h 539024"/>
                    <a:gd name="connsiteX634" fmla="*/ 195999 w 250763"/>
                    <a:gd name="connsiteY634" fmla="*/ 73938 h 539024"/>
                    <a:gd name="connsiteX635" fmla="*/ 195149 w 250763"/>
                    <a:gd name="connsiteY635" fmla="*/ 74120 h 539024"/>
                    <a:gd name="connsiteX636" fmla="*/ 188920 w 250763"/>
                    <a:gd name="connsiteY636" fmla="*/ 77885 h 539024"/>
                    <a:gd name="connsiteX637" fmla="*/ 187499 w 250763"/>
                    <a:gd name="connsiteY637" fmla="*/ 79184 h 539024"/>
                    <a:gd name="connsiteX638" fmla="*/ 187062 w 250763"/>
                    <a:gd name="connsiteY638" fmla="*/ 79403 h 539024"/>
                    <a:gd name="connsiteX639" fmla="*/ 183771 w 250763"/>
                    <a:gd name="connsiteY639" fmla="*/ 81430 h 539024"/>
                    <a:gd name="connsiteX640" fmla="*/ 183358 w 250763"/>
                    <a:gd name="connsiteY640" fmla="*/ 81746 h 539024"/>
                    <a:gd name="connsiteX641" fmla="*/ 181476 w 250763"/>
                    <a:gd name="connsiteY641" fmla="*/ 81685 h 539024"/>
                    <a:gd name="connsiteX642" fmla="*/ 181282 w 250763"/>
                    <a:gd name="connsiteY642" fmla="*/ 81685 h 539024"/>
                    <a:gd name="connsiteX643" fmla="*/ 180990 w 250763"/>
                    <a:gd name="connsiteY643" fmla="*/ 81685 h 539024"/>
                    <a:gd name="connsiteX644" fmla="*/ 181027 w 250763"/>
                    <a:gd name="connsiteY644" fmla="*/ 81139 h 539024"/>
                    <a:gd name="connsiteX645" fmla="*/ 179242 w 250763"/>
                    <a:gd name="connsiteY645" fmla="*/ 79245 h 539024"/>
                    <a:gd name="connsiteX646" fmla="*/ 177044 w 250763"/>
                    <a:gd name="connsiteY646" fmla="*/ 76695 h 539024"/>
                    <a:gd name="connsiteX647" fmla="*/ 176898 w 250763"/>
                    <a:gd name="connsiteY647" fmla="*/ 75286 h 539024"/>
                    <a:gd name="connsiteX648" fmla="*/ 175162 w 250763"/>
                    <a:gd name="connsiteY648" fmla="*/ 69081 h 539024"/>
                    <a:gd name="connsiteX649" fmla="*/ 174652 w 250763"/>
                    <a:gd name="connsiteY649" fmla="*/ 56380 h 539024"/>
                    <a:gd name="connsiteX650" fmla="*/ 175805 w 250763"/>
                    <a:gd name="connsiteY650" fmla="*/ 44990 h 539024"/>
                    <a:gd name="connsiteX651" fmla="*/ 171738 w 250763"/>
                    <a:gd name="connsiteY651" fmla="*/ 35032 h 539024"/>
                    <a:gd name="connsiteX652" fmla="*/ 169819 w 250763"/>
                    <a:gd name="connsiteY652" fmla="*/ 31705 h 539024"/>
                    <a:gd name="connsiteX653" fmla="*/ 169880 w 250763"/>
                    <a:gd name="connsiteY653" fmla="*/ 25804 h 539024"/>
                    <a:gd name="connsiteX654" fmla="*/ 168301 w 250763"/>
                    <a:gd name="connsiteY654" fmla="*/ 12204 h 539024"/>
                    <a:gd name="connsiteX655" fmla="*/ 166795 w 250763"/>
                    <a:gd name="connsiteY655" fmla="*/ 9605 h 539024"/>
                    <a:gd name="connsiteX656" fmla="*/ 163820 w 250763"/>
                    <a:gd name="connsiteY656" fmla="*/ 9216 h 539024"/>
                    <a:gd name="connsiteX657" fmla="*/ 160870 w 250763"/>
                    <a:gd name="connsiteY657" fmla="*/ 8852 h 539024"/>
                    <a:gd name="connsiteX658" fmla="*/ 148605 w 250763"/>
                    <a:gd name="connsiteY658" fmla="*/ 6120 h 539024"/>
                    <a:gd name="connsiteX659" fmla="*/ 147500 w 250763"/>
                    <a:gd name="connsiteY659" fmla="*/ 5185 h 539024"/>
                    <a:gd name="connsiteX660" fmla="*/ 141599 w 250763"/>
                    <a:gd name="connsiteY660" fmla="*/ 1226 h 539024"/>
                    <a:gd name="connsiteX661" fmla="*/ 131800 w 250763"/>
                    <a:gd name="connsiteY661" fmla="*/ 0 h 539024"/>
                    <a:gd name="connsiteX662" fmla="*/ 131800 w 250763"/>
                    <a:gd name="connsiteY662" fmla="*/ 0 h 53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Lst>
                  <a:rect l="l" t="t" r="r" b="b"/>
                  <a:pathLst>
                    <a:path w="250763" h="539024">
                      <a:moveTo>
                        <a:pt x="131800" y="6071"/>
                      </a:moveTo>
                      <a:cubicBezTo>
                        <a:pt x="134349" y="6071"/>
                        <a:pt x="138017" y="6448"/>
                        <a:pt x="139583" y="6958"/>
                      </a:cubicBezTo>
                      <a:cubicBezTo>
                        <a:pt x="143129" y="8172"/>
                        <a:pt x="142352" y="9569"/>
                        <a:pt x="145582" y="11390"/>
                      </a:cubicBezTo>
                      <a:cubicBezTo>
                        <a:pt x="150390" y="14098"/>
                        <a:pt x="157409" y="14474"/>
                        <a:pt x="162995" y="15203"/>
                      </a:cubicBezTo>
                      <a:cubicBezTo>
                        <a:pt x="166298" y="20946"/>
                        <a:pt x="161732" y="27674"/>
                        <a:pt x="164100" y="33806"/>
                      </a:cubicBezTo>
                      <a:cubicBezTo>
                        <a:pt x="165654" y="37947"/>
                        <a:pt x="169382" y="40861"/>
                        <a:pt x="169710" y="45439"/>
                      </a:cubicBezTo>
                      <a:cubicBezTo>
                        <a:pt x="170390" y="54291"/>
                        <a:pt x="164330" y="63435"/>
                        <a:pt x="169989" y="72311"/>
                      </a:cubicBezTo>
                      <a:cubicBezTo>
                        <a:pt x="171252" y="74302"/>
                        <a:pt x="170341" y="76743"/>
                        <a:pt x="171543" y="79366"/>
                      </a:cubicBezTo>
                      <a:cubicBezTo>
                        <a:pt x="172187" y="80678"/>
                        <a:pt x="173486" y="82038"/>
                        <a:pt x="174773" y="83410"/>
                      </a:cubicBezTo>
                      <a:cubicBezTo>
                        <a:pt x="174700" y="84661"/>
                        <a:pt x="175320" y="85960"/>
                        <a:pt x="176692" y="86688"/>
                      </a:cubicBezTo>
                      <a:cubicBezTo>
                        <a:pt x="177979" y="88061"/>
                        <a:pt x="180869" y="87660"/>
                        <a:pt x="183018" y="87830"/>
                      </a:cubicBezTo>
                      <a:cubicBezTo>
                        <a:pt x="183261" y="87842"/>
                        <a:pt x="183480" y="87854"/>
                        <a:pt x="183698" y="87854"/>
                      </a:cubicBezTo>
                      <a:cubicBezTo>
                        <a:pt x="185301" y="87854"/>
                        <a:pt x="186054" y="87283"/>
                        <a:pt x="187390" y="86288"/>
                      </a:cubicBezTo>
                      <a:cubicBezTo>
                        <a:pt x="188908" y="85146"/>
                        <a:pt x="190353" y="84636"/>
                        <a:pt x="191106" y="84065"/>
                      </a:cubicBezTo>
                      <a:cubicBezTo>
                        <a:pt x="193388" y="82353"/>
                        <a:pt x="194251" y="80532"/>
                        <a:pt x="196400" y="80070"/>
                      </a:cubicBezTo>
                      <a:cubicBezTo>
                        <a:pt x="197845" y="80180"/>
                        <a:pt x="199958" y="80338"/>
                        <a:pt x="201354" y="80459"/>
                      </a:cubicBezTo>
                      <a:cubicBezTo>
                        <a:pt x="201500" y="80471"/>
                        <a:pt x="201634" y="80471"/>
                        <a:pt x="201779" y="80471"/>
                      </a:cubicBezTo>
                      <a:cubicBezTo>
                        <a:pt x="202933" y="80471"/>
                        <a:pt x="204086" y="80143"/>
                        <a:pt x="205216" y="80143"/>
                      </a:cubicBezTo>
                      <a:cubicBezTo>
                        <a:pt x="205349" y="80143"/>
                        <a:pt x="205483" y="80143"/>
                        <a:pt x="205628" y="80156"/>
                      </a:cubicBezTo>
                      <a:cubicBezTo>
                        <a:pt x="209174" y="80435"/>
                        <a:pt x="212732" y="80714"/>
                        <a:pt x="215489" y="81552"/>
                      </a:cubicBezTo>
                      <a:cubicBezTo>
                        <a:pt x="218998" y="82475"/>
                        <a:pt x="220989" y="83883"/>
                        <a:pt x="220698" y="87636"/>
                      </a:cubicBezTo>
                      <a:cubicBezTo>
                        <a:pt x="220528" y="90137"/>
                        <a:pt x="220309" y="92638"/>
                        <a:pt x="222265" y="94690"/>
                      </a:cubicBezTo>
                      <a:cubicBezTo>
                        <a:pt x="225628" y="97471"/>
                        <a:pt x="229781" y="98418"/>
                        <a:pt x="233205" y="100592"/>
                      </a:cubicBezTo>
                      <a:cubicBezTo>
                        <a:pt x="234553" y="101345"/>
                        <a:pt x="235209" y="102013"/>
                        <a:pt x="235889" y="102693"/>
                      </a:cubicBezTo>
                      <a:cubicBezTo>
                        <a:pt x="237249" y="103433"/>
                        <a:pt x="238621" y="104162"/>
                        <a:pt x="239252" y="104854"/>
                      </a:cubicBezTo>
                      <a:cubicBezTo>
                        <a:pt x="241317" y="105644"/>
                        <a:pt x="241025" y="111144"/>
                        <a:pt x="242458" y="111254"/>
                      </a:cubicBezTo>
                      <a:cubicBezTo>
                        <a:pt x="243818" y="111363"/>
                        <a:pt x="240928" y="114350"/>
                        <a:pt x="241620" y="115042"/>
                      </a:cubicBezTo>
                      <a:lnTo>
                        <a:pt x="242300" y="131544"/>
                      </a:lnTo>
                      <a:lnTo>
                        <a:pt x="242069" y="130658"/>
                      </a:lnTo>
                      <a:lnTo>
                        <a:pt x="240880" y="127962"/>
                      </a:lnTo>
                      <a:lnTo>
                        <a:pt x="234723" y="121866"/>
                      </a:lnTo>
                      <a:lnTo>
                        <a:pt x="232890" y="119572"/>
                      </a:lnTo>
                      <a:lnTo>
                        <a:pt x="227559" y="111411"/>
                      </a:lnTo>
                      <a:lnTo>
                        <a:pt x="223867" y="109347"/>
                      </a:lnTo>
                      <a:lnTo>
                        <a:pt x="218937" y="111096"/>
                      </a:lnTo>
                      <a:lnTo>
                        <a:pt x="216594" y="114289"/>
                      </a:lnTo>
                      <a:lnTo>
                        <a:pt x="215331" y="118819"/>
                      </a:lnTo>
                      <a:lnTo>
                        <a:pt x="215258" y="119912"/>
                      </a:lnTo>
                      <a:lnTo>
                        <a:pt x="214979" y="123712"/>
                      </a:lnTo>
                      <a:lnTo>
                        <a:pt x="215331" y="127962"/>
                      </a:lnTo>
                      <a:lnTo>
                        <a:pt x="216290" y="131484"/>
                      </a:lnTo>
                      <a:lnTo>
                        <a:pt x="217784" y="134726"/>
                      </a:lnTo>
                      <a:lnTo>
                        <a:pt x="221791" y="141222"/>
                      </a:lnTo>
                      <a:lnTo>
                        <a:pt x="223345" y="143141"/>
                      </a:lnTo>
                      <a:lnTo>
                        <a:pt x="224511" y="144088"/>
                      </a:lnTo>
                      <a:lnTo>
                        <a:pt x="225264" y="145460"/>
                      </a:lnTo>
                      <a:lnTo>
                        <a:pt x="225895" y="148654"/>
                      </a:lnTo>
                      <a:lnTo>
                        <a:pt x="225725" y="155745"/>
                      </a:lnTo>
                      <a:lnTo>
                        <a:pt x="228834" y="178805"/>
                      </a:lnTo>
                      <a:lnTo>
                        <a:pt x="234735" y="182763"/>
                      </a:lnTo>
                      <a:lnTo>
                        <a:pt x="235828" y="184828"/>
                      </a:lnTo>
                      <a:lnTo>
                        <a:pt x="238414" y="188361"/>
                      </a:lnTo>
                      <a:lnTo>
                        <a:pt x="239216" y="190462"/>
                      </a:lnTo>
                      <a:lnTo>
                        <a:pt x="239617" y="197007"/>
                      </a:lnTo>
                      <a:lnTo>
                        <a:pt x="233581" y="235306"/>
                      </a:lnTo>
                      <a:lnTo>
                        <a:pt x="233460" y="240843"/>
                      </a:lnTo>
                      <a:lnTo>
                        <a:pt x="234614" y="252415"/>
                      </a:lnTo>
                      <a:lnTo>
                        <a:pt x="234954" y="254625"/>
                      </a:lnTo>
                      <a:lnTo>
                        <a:pt x="234905" y="256435"/>
                      </a:lnTo>
                      <a:lnTo>
                        <a:pt x="234213" y="258122"/>
                      </a:lnTo>
                      <a:lnTo>
                        <a:pt x="230534" y="263210"/>
                      </a:lnTo>
                      <a:lnTo>
                        <a:pt x="229368" y="266428"/>
                      </a:lnTo>
                      <a:lnTo>
                        <a:pt x="229101" y="269865"/>
                      </a:lnTo>
                      <a:lnTo>
                        <a:pt x="229878" y="278231"/>
                      </a:lnTo>
                      <a:lnTo>
                        <a:pt x="228385" y="291552"/>
                      </a:lnTo>
                      <a:lnTo>
                        <a:pt x="228445" y="294648"/>
                      </a:lnTo>
                      <a:lnTo>
                        <a:pt x="228858" y="297028"/>
                      </a:lnTo>
                      <a:lnTo>
                        <a:pt x="228810" y="299505"/>
                      </a:lnTo>
                      <a:lnTo>
                        <a:pt x="220989" y="314806"/>
                      </a:lnTo>
                      <a:lnTo>
                        <a:pt x="218185" y="318485"/>
                      </a:lnTo>
                      <a:lnTo>
                        <a:pt x="214566" y="321569"/>
                      </a:lnTo>
                      <a:lnTo>
                        <a:pt x="209672" y="323961"/>
                      </a:lnTo>
                      <a:lnTo>
                        <a:pt x="204754" y="324253"/>
                      </a:lnTo>
                      <a:lnTo>
                        <a:pt x="200784" y="321120"/>
                      </a:lnTo>
                      <a:lnTo>
                        <a:pt x="198270" y="317234"/>
                      </a:lnTo>
                      <a:lnTo>
                        <a:pt x="195331" y="314478"/>
                      </a:lnTo>
                      <a:lnTo>
                        <a:pt x="191713" y="313603"/>
                      </a:lnTo>
                      <a:lnTo>
                        <a:pt x="187062" y="315255"/>
                      </a:lnTo>
                      <a:lnTo>
                        <a:pt x="184779" y="318825"/>
                      </a:lnTo>
                      <a:lnTo>
                        <a:pt x="184415" y="324107"/>
                      </a:lnTo>
                      <a:lnTo>
                        <a:pt x="185338" y="329596"/>
                      </a:lnTo>
                      <a:lnTo>
                        <a:pt x="186843" y="333785"/>
                      </a:lnTo>
                      <a:lnTo>
                        <a:pt x="190584" y="340876"/>
                      </a:lnTo>
                      <a:lnTo>
                        <a:pt x="191786" y="344859"/>
                      </a:lnTo>
                      <a:lnTo>
                        <a:pt x="191434" y="348502"/>
                      </a:lnTo>
                      <a:lnTo>
                        <a:pt x="188738" y="352619"/>
                      </a:lnTo>
                      <a:lnTo>
                        <a:pt x="182023" y="360402"/>
                      </a:lnTo>
                      <a:lnTo>
                        <a:pt x="180250" y="364956"/>
                      </a:lnTo>
                      <a:lnTo>
                        <a:pt x="179618" y="364677"/>
                      </a:lnTo>
                      <a:lnTo>
                        <a:pt x="173413" y="370044"/>
                      </a:lnTo>
                      <a:lnTo>
                        <a:pt x="171786" y="385805"/>
                      </a:lnTo>
                      <a:lnTo>
                        <a:pt x="172369" y="389934"/>
                      </a:lnTo>
                      <a:lnTo>
                        <a:pt x="173851" y="393698"/>
                      </a:lnTo>
                      <a:lnTo>
                        <a:pt x="178125" y="400984"/>
                      </a:lnTo>
                      <a:lnTo>
                        <a:pt x="179218" y="404846"/>
                      </a:lnTo>
                      <a:lnTo>
                        <a:pt x="178975" y="409120"/>
                      </a:lnTo>
                      <a:lnTo>
                        <a:pt x="176910" y="416903"/>
                      </a:lnTo>
                      <a:lnTo>
                        <a:pt x="177093" y="421494"/>
                      </a:lnTo>
                      <a:lnTo>
                        <a:pt x="179036" y="427978"/>
                      </a:lnTo>
                      <a:lnTo>
                        <a:pt x="180590" y="431171"/>
                      </a:lnTo>
                      <a:lnTo>
                        <a:pt x="187305" y="438154"/>
                      </a:lnTo>
                      <a:lnTo>
                        <a:pt x="189600" y="446216"/>
                      </a:lnTo>
                      <a:lnTo>
                        <a:pt x="191215" y="469324"/>
                      </a:lnTo>
                      <a:lnTo>
                        <a:pt x="191093" y="471267"/>
                      </a:lnTo>
                      <a:lnTo>
                        <a:pt x="190231" y="473732"/>
                      </a:lnTo>
                      <a:lnTo>
                        <a:pt x="188738" y="474595"/>
                      </a:lnTo>
                      <a:lnTo>
                        <a:pt x="186904" y="474910"/>
                      </a:lnTo>
                      <a:lnTo>
                        <a:pt x="182824" y="476732"/>
                      </a:lnTo>
                      <a:lnTo>
                        <a:pt x="181901" y="476586"/>
                      </a:lnTo>
                      <a:lnTo>
                        <a:pt x="181683" y="476902"/>
                      </a:lnTo>
                      <a:lnTo>
                        <a:pt x="181622" y="479330"/>
                      </a:lnTo>
                      <a:lnTo>
                        <a:pt x="185058" y="485450"/>
                      </a:lnTo>
                      <a:lnTo>
                        <a:pt x="180918" y="486701"/>
                      </a:lnTo>
                      <a:lnTo>
                        <a:pt x="178064" y="485487"/>
                      </a:lnTo>
                      <a:lnTo>
                        <a:pt x="175478" y="483507"/>
                      </a:lnTo>
                      <a:lnTo>
                        <a:pt x="172090" y="482475"/>
                      </a:lnTo>
                      <a:lnTo>
                        <a:pt x="167099" y="481613"/>
                      </a:lnTo>
                      <a:lnTo>
                        <a:pt x="165326" y="481735"/>
                      </a:lnTo>
                      <a:lnTo>
                        <a:pt x="163128" y="482585"/>
                      </a:lnTo>
                      <a:lnTo>
                        <a:pt x="162740" y="483714"/>
                      </a:lnTo>
                      <a:lnTo>
                        <a:pt x="163019" y="485147"/>
                      </a:lnTo>
                      <a:lnTo>
                        <a:pt x="162740" y="498528"/>
                      </a:lnTo>
                      <a:lnTo>
                        <a:pt x="163310" y="500131"/>
                      </a:lnTo>
                      <a:lnTo>
                        <a:pt x="159935" y="501491"/>
                      </a:lnTo>
                      <a:lnTo>
                        <a:pt x="157628" y="502001"/>
                      </a:lnTo>
                      <a:lnTo>
                        <a:pt x="155806" y="503434"/>
                      </a:lnTo>
                      <a:lnTo>
                        <a:pt x="152370" y="509979"/>
                      </a:lnTo>
                      <a:lnTo>
                        <a:pt x="152005" y="512566"/>
                      </a:lnTo>
                      <a:lnTo>
                        <a:pt x="152588" y="515213"/>
                      </a:lnTo>
                      <a:lnTo>
                        <a:pt x="153851" y="517738"/>
                      </a:lnTo>
                      <a:lnTo>
                        <a:pt x="154373" y="519086"/>
                      </a:lnTo>
                      <a:lnTo>
                        <a:pt x="154713" y="520483"/>
                      </a:lnTo>
                      <a:lnTo>
                        <a:pt x="154774" y="521867"/>
                      </a:lnTo>
                      <a:lnTo>
                        <a:pt x="154580" y="523239"/>
                      </a:lnTo>
                      <a:lnTo>
                        <a:pt x="154252" y="523701"/>
                      </a:lnTo>
                      <a:lnTo>
                        <a:pt x="153851" y="524101"/>
                      </a:lnTo>
                      <a:lnTo>
                        <a:pt x="152528" y="524818"/>
                      </a:lnTo>
                      <a:lnTo>
                        <a:pt x="151325" y="524903"/>
                      </a:lnTo>
                      <a:lnTo>
                        <a:pt x="150184" y="524368"/>
                      </a:lnTo>
                      <a:lnTo>
                        <a:pt x="149201" y="523239"/>
                      </a:lnTo>
                      <a:lnTo>
                        <a:pt x="146796" y="519766"/>
                      </a:lnTo>
                      <a:lnTo>
                        <a:pt x="143687" y="518030"/>
                      </a:lnTo>
                      <a:lnTo>
                        <a:pt x="140919" y="518892"/>
                      </a:lnTo>
                      <a:lnTo>
                        <a:pt x="139498" y="523191"/>
                      </a:lnTo>
                      <a:lnTo>
                        <a:pt x="137774" y="528849"/>
                      </a:lnTo>
                      <a:lnTo>
                        <a:pt x="135527" y="530780"/>
                      </a:lnTo>
                      <a:lnTo>
                        <a:pt x="133572" y="528886"/>
                      </a:lnTo>
                      <a:lnTo>
                        <a:pt x="132650" y="523191"/>
                      </a:lnTo>
                      <a:lnTo>
                        <a:pt x="131107" y="517568"/>
                      </a:lnTo>
                      <a:lnTo>
                        <a:pt x="127768" y="513148"/>
                      </a:lnTo>
                      <a:lnTo>
                        <a:pt x="115650" y="501807"/>
                      </a:lnTo>
                      <a:lnTo>
                        <a:pt x="103773" y="493185"/>
                      </a:lnTo>
                      <a:lnTo>
                        <a:pt x="99232" y="491923"/>
                      </a:lnTo>
                      <a:lnTo>
                        <a:pt x="97386" y="493355"/>
                      </a:lnTo>
                      <a:lnTo>
                        <a:pt x="96816" y="495942"/>
                      </a:lnTo>
                      <a:lnTo>
                        <a:pt x="97520" y="501515"/>
                      </a:lnTo>
                      <a:lnTo>
                        <a:pt x="97386" y="503543"/>
                      </a:lnTo>
                      <a:lnTo>
                        <a:pt x="96549" y="504066"/>
                      </a:lnTo>
                      <a:lnTo>
                        <a:pt x="95638" y="503835"/>
                      </a:lnTo>
                      <a:lnTo>
                        <a:pt x="95164" y="503628"/>
                      </a:lnTo>
                      <a:lnTo>
                        <a:pt x="94023" y="507466"/>
                      </a:lnTo>
                      <a:lnTo>
                        <a:pt x="94023" y="510368"/>
                      </a:lnTo>
                      <a:lnTo>
                        <a:pt x="94472" y="513124"/>
                      </a:lnTo>
                      <a:lnTo>
                        <a:pt x="94472" y="515832"/>
                      </a:lnTo>
                      <a:lnTo>
                        <a:pt x="93039" y="518528"/>
                      </a:lnTo>
                      <a:lnTo>
                        <a:pt x="90975" y="519657"/>
                      </a:lnTo>
                      <a:lnTo>
                        <a:pt x="88680" y="519863"/>
                      </a:lnTo>
                      <a:lnTo>
                        <a:pt x="86397" y="520580"/>
                      </a:lnTo>
                      <a:lnTo>
                        <a:pt x="84260" y="523191"/>
                      </a:lnTo>
                      <a:lnTo>
                        <a:pt x="83118" y="524405"/>
                      </a:lnTo>
                      <a:lnTo>
                        <a:pt x="81856" y="525413"/>
                      </a:lnTo>
                      <a:lnTo>
                        <a:pt x="80483" y="526178"/>
                      </a:lnTo>
                      <a:lnTo>
                        <a:pt x="78990" y="526724"/>
                      </a:lnTo>
                      <a:lnTo>
                        <a:pt x="78868" y="524951"/>
                      </a:lnTo>
                      <a:lnTo>
                        <a:pt x="78480" y="523191"/>
                      </a:lnTo>
                      <a:lnTo>
                        <a:pt x="76003" y="510210"/>
                      </a:lnTo>
                      <a:lnTo>
                        <a:pt x="71753" y="496986"/>
                      </a:lnTo>
                      <a:lnTo>
                        <a:pt x="73999" y="495067"/>
                      </a:lnTo>
                      <a:lnTo>
                        <a:pt x="76804" y="495092"/>
                      </a:lnTo>
                      <a:lnTo>
                        <a:pt x="78929" y="494120"/>
                      </a:lnTo>
                      <a:lnTo>
                        <a:pt x="79209" y="489118"/>
                      </a:lnTo>
                      <a:lnTo>
                        <a:pt x="68304" y="424723"/>
                      </a:lnTo>
                      <a:lnTo>
                        <a:pt x="68013" y="421336"/>
                      </a:lnTo>
                      <a:lnTo>
                        <a:pt x="65608" y="415191"/>
                      </a:lnTo>
                      <a:lnTo>
                        <a:pt x="64928" y="411900"/>
                      </a:lnTo>
                      <a:lnTo>
                        <a:pt x="65317" y="400413"/>
                      </a:lnTo>
                      <a:lnTo>
                        <a:pt x="63993" y="385223"/>
                      </a:lnTo>
                      <a:lnTo>
                        <a:pt x="63204" y="382187"/>
                      </a:lnTo>
                      <a:lnTo>
                        <a:pt x="61140" y="379187"/>
                      </a:lnTo>
                      <a:lnTo>
                        <a:pt x="56088" y="374889"/>
                      </a:lnTo>
                      <a:lnTo>
                        <a:pt x="53891" y="371926"/>
                      </a:lnTo>
                      <a:lnTo>
                        <a:pt x="52579" y="365927"/>
                      </a:lnTo>
                      <a:lnTo>
                        <a:pt x="50976" y="350591"/>
                      </a:lnTo>
                      <a:lnTo>
                        <a:pt x="48220" y="347239"/>
                      </a:lnTo>
                      <a:lnTo>
                        <a:pt x="42003" y="344774"/>
                      </a:lnTo>
                      <a:lnTo>
                        <a:pt x="38505" y="339601"/>
                      </a:lnTo>
                      <a:lnTo>
                        <a:pt x="37073" y="332935"/>
                      </a:lnTo>
                      <a:lnTo>
                        <a:pt x="37182" y="319189"/>
                      </a:lnTo>
                      <a:lnTo>
                        <a:pt x="32422" y="291188"/>
                      </a:lnTo>
                      <a:lnTo>
                        <a:pt x="32592" y="283319"/>
                      </a:lnTo>
                      <a:lnTo>
                        <a:pt x="33393" y="280368"/>
                      </a:lnTo>
                      <a:lnTo>
                        <a:pt x="36781" y="273483"/>
                      </a:lnTo>
                      <a:lnTo>
                        <a:pt x="38044" y="269913"/>
                      </a:lnTo>
                      <a:lnTo>
                        <a:pt x="37923" y="267910"/>
                      </a:lnTo>
                      <a:lnTo>
                        <a:pt x="37060" y="265991"/>
                      </a:lnTo>
                      <a:lnTo>
                        <a:pt x="36089" y="262712"/>
                      </a:lnTo>
                      <a:lnTo>
                        <a:pt x="36028" y="260757"/>
                      </a:lnTo>
                      <a:lnTo>
                        <a:pt x="36550" y="256860"/>
                      </a:lnTo>
                      <a:lnTo>
                        <a:pt x="36368" y="255050"/>
                      </a:lnTo>
                      <a:lnTo>
                        <a:pt x="35664" y="254067"/>
                      </a:lnTo>
                      <a:lnTo>
                        <a:pt x="33138" y="252184"/>
                      </a:lnTo>
                      <a:lnTo>
                        <a:pt x="32227" y="250861"/>
                      </a:lnTo>
                      <a:lnTo>
                        <a:pt x="31997" y="249501"/>
                      </a:lnTo>
                      <a:lnTo>
                        <a:pt x="32276" y="246757"/>
                      </a:lnTo>
                      <a:lnTo>
                        <a:pt x="31997" y="245263"/>
                      </a:lnTo>
                      <a:lnTo>
                        <a:pt x="30965" y="243563"/>
                      </a:lnTo>
                      <a:lnTo>
                        <a:pt x="28500" y="241244"/>
                      </a:lnTo>
                      <a:lnTo>
                        <a:pt x="27516" y="239665"/>
                      </a:lnTo>
                      <a:lnTo>
                        <a:pt x="26666" y="236739"/>
                      </a:lnTo>
                      <a:lnTo>
                        <a:pt x="25561" y="227085"/>
                      </a:lnTo>
                      <a:lnTo>
                        <a:pt x="18397" y="204487"/>
                      </a:lnTo>
                      <a:lnTo>
                        <a:pt x="17875" y="197881"/>
                      </a:lnTo>
                      <a:lnTo>
                        <a:pt x="20048" y="189466"/>
                      </a:lnTo>
                      <a:lnTo>
                        <a:pt x="19660" y="186005"/>
                      </a:lnTo>
                      <a:lnTo>
                        <a:pt x="19599" y="185228"/>
                      </a:lnTo>
                      <a:lnTo>
                        <a:pt x="15762" y="183152"/>
                      </a:lnTo>
                      <a:lnTo>
                        <a:pt x="12653" y="184961"/>
                      </a:lnTo>
                      <a:lnTo>
                        <a:pt x="10249" y="194117"/>
                      </a:lnTo>
                      <a:lnTo>
                        <a:pt x="7444" y="196788"/>
                      </a:lnTo>
                      <a:lnTo>
                        <a:pt x="6727" y="195817"/>
                      </a:lnTo>
                      <a:lnTo>
                        <a:pt x="18239" y="156620"/>
                      </a:lnTo>
                      <a:cubicBezTo>
                        <a:pt x="20850" y="149552"/>
                        <a:pt x="21384" y="143323"/>
                        <a:pt x="25027" y="136377"/>
                      </a:cubicBezTo>
                      <a:cubicBezTo>
                        <a:pt x="29022" y="128800"/>
                        <a:pt x="36417" y="127246"/>
                        <a:pt x="37607" y="118479"/>
                      </a:cubicBezTo>
                      <a:cubicBezTo>
                        <a:pt x="38566" y="111472"/>
                        <a:pt x="39720" y="102304"/>
                        <a:pt x="38760" y="95273"/>
                      </a:cubicBezTo>
                      <a:cubicBezTo>
                        <a:pt x="37716" y="87660"/>
                        <a:pt x="36902" y="77350"/>
                        <a:pt x="33575" y="70332"/>
                      </a:cubicBezTo>
                      <a:cubicBezTo>
                        <a:pt x="34158" y="62925"/>
                        <a:pt x="29592" y="60593"/>
                        <a:pt x="25670" y="56841"/>
                      </a:cubicBezTo>
                      <a:lnTo>
                        <a:pt x="34523" y="58444"/>
                      </a:lnTo>
                      <a:cubicBezTo>
                        <a:pt x="35263" y="58577"/>
                        <a:pt x="35967" y="58638"/>
                        <a:pt x="36684" y="58638"/>
                      </a:cubicBezTo>
                      <a:cubicBezTo>
                        <a:pt x="44917" y="58638"/>
                        <a:pt x="51037" y="49968"/>
                        <a:pt x="55007" y="44322"/>
                      </a:cubicBezTo>
                      <a:cubicBezTo>
                        <a:pt x="57436" y="40825"/>
                        <a:pt x="58250" y="36793"/>
                        <a:pt x="63289" y="36781"/>
                      </a:cubicBezTo>
                      <a:lnTo>
                        <a:pt x="63301" y="36781"/>
                      </a:lnTo>
                      <a:cubicBezTo>
                        <a:pt x="74752" y="36781"/>
                        <a:pt x="69409" y="62597"/>
                        <a:pt x="82633" y="62597"/>
                      </a:cubicBezTo>
                      <a:cubicBezTo>
                        <a:pt x="83289" y="62597"/>
                        <a:pt x="83993" y="62536"/>
                        <a:pt x="84758" y="62390"/>
                      </a:cubicBezTo>
                      <a:cubicBezTo>
                        <a:pt x="88923" y="61637"/>
                        <a:pt x="92031" y="54680"/>
                        <a:pt x="95322" y="51717"/>
                      </a:cubicBezTo>
                      <a:cubicBezTo>
                        <a:pt x="102693" y="45135"/>
                        <a:pt x="106724" y="36659"/>
                        <a:pt x="111594" y="28621"/>
                      </a:cubicBezTo>
                      <a:cubicBezTo>
                        <a:pt x="116086" y="21177"/>
                        <a:pt x="119790" y="7662"/>
                        <a:pt x="129905" y="6132"/>
                      </a:cubicBezTo>
                      <a:cubicBezTo>
                        <a:pt x="130330" y="6108"/>
                        <a:pt x="131010" y="6071"/>
                        <a:pt x="131800" y="6071"/>
                      </a:cubicBezTo>
                      <a:moveTo>
                        <a:pt x="131800" y="0"/>
                      </a:moveTo>
                      <a:lnTo>
                        <a:pt x="131800" y="0"/>
                      </a:lnTo>
                      <a:cubicBezTo>
                        <a:pt x="130622" y="0"/>
                        <a:pt x="129614" y="73"/>
                        <a:pt x="128897" y="194"/>
                      </a:cubicBezTo>
                      <a:cubicBezTo>
                        <a:pt x="118029" y="1846"/>
                        <a:pt x="112930" y="12349"/>
                        <a:pt x="109202" y="20024"/>
                      </a:cubicBezTo>
                      <a:cubicBezTo>
                        <a:pt x="108230" y="22027"/>
                        <a:pt x="107307" y="23934"/>
                        <a:pt x="106348" y="25537"/>
                      </a:cubicBezTo>
                      <a:cubicBezTo>
                        <a:pt x="105377" y="27139"/>
                        <a:pt x="104429" y="28779"/>
                        <a:pt x="103482" y="30418"/>
                      </a:cubicBezTo>
                      <a:cubicBezTo>
                        <a:pt x="99851" y="36684"/>
                        <a:pt x="96427" y="42597"/>
                        <a:pt x="91230" y="47236"/>
                      </a:cubicBezTo>
                      <a:cubicBezTo>
                        <a:pt x="89566" y="48730"/>
                        <a:pt x="88194" y="50600"/>
                        <a:pt x="86870" y="52409"/>
                      </a:cubicBezTo>
                      <a:cubicBezTo>
                        <a:pt x="85851" y="53805"/>
                        <a:pt x="84126" y="56125"/>
                        <a:pt x="83313" y="56562"/>
                      </a:cubicBezTo>
                      <a:cubicBezTo>
                        <a:pt x="83301" y="56550"/>
                        <a:pt x="83264" y="56550"/>
                        <a:pt x="83203" y="56550"/>
                      </a:cubicBezTo>
                      <a:cubicBezTo>
                        <a:pt x="83058" y="56550"/>
                        <a:pt x="82815" y="56574"/>
                        <a:pt x="82584" y="56574"/>
                      </a:cubicBezTo>
                      <a:cubicBezTo>
                        <a:pt x="80872" y="56574"/>
                        <a:pt x="79828" y="54534"/>
                        <a:pt x="77933" y="47467"/>
                      </a:cubicBezTo>
                      <a:cubicBezTo>
                        <a:pt x="76148" y="40812"/>
                        <a:pt x="73428" y="30758"/>
                        <a:pt x="63253" y="30758"/>
                      </a:cubicBezTo>
                      <a:cubicBezTo>
                        <a:pt x="55821" y="30770"/>
                        <a:pt x="52895" y="35882"/>
                        <a:pt x="51170" y="38942"/>
                      </a:cubicBezTo>
                      <a:cubicBezTo>
                        <a:pt x="50806" y="39586"/>
                        <a:pt x="50418" y="40254"/>
                        <a:pt x="49980" y="40909"/>
                      </a:cubicBezTo>
                      <a:cubicBezTo>
                        <a:pt x="46896" y="45281"/>
                        <a:pt x="41711" y="52615"/>
                        <a:pt x="36635" y="52615"/>
                      </a:cubicBezTo>
                      <a:cubicBezTo>
                        <a:pt x="36283" y="52615"/>
                        <a:pt x="35919" y="52591"/>
                        <a:pt x="35567" y="52518"/>
                      </a:cubicBezTo>
                      <a:lnTo>
                        <a:pt x="26702" y="50903"/>
                      </a:lnTo>
                      <a:lnTo>
                        <a:pt x="6812" y="47297"/>
                      </a:lnTo>
                      <a:lnTo>
                        <a:pt x="21420" y="61261"/>
                      </a:lnTo>
                      <a:cubicBezTo>
                        <a:pt x="22173" y="61977"/>
                        <a:pt x="22926" y="62633"/>
                        <a:pt x="23679" y="63289"/>
                      </a:cubicBezTo>
                      <a:cubicBezTo>
                        <a:pt x="26884" y="66070"/>
                        <a:pt x="27710" y="66932"/>
                        <a:pt x="27479" y="69895"/>
                      </a:cubicBezTo>
                      <a:lnTo>
                        <a:pt x="27346" y="71510"/>
                      </a:lnTo>
                      <a:lnTo>
                        <a:pt x="28038" y="72967"/>
                      </a:lnTo>
                      <a:cubicBezTo>
                        <a:pt x="30406" y="77970"/>
                        <a:pt x="31353" y="85523"/>
                        <a:pt x="32191" y="92189"/>
                      </a:cubicBezTo>
                      <a:lnTo>
                        <a:pt x="32701" y="96136"/>
                      </a:lnTo>
                      <a:cubicBezTo>
                        <a:pt x="33599" y="102729"/>
                        <a:pt x="32264" y="112456"/>
                        <a:pt x="31547" y="117689"/>
                      </a:cubicBezTo>
                      <a:cubicBezTo>
                        <a:pt x="31159" y="120567"/>
                        <a:pt x="29750" y="122012"/>
                        <a:pt x="26836" y="124744"/>
                      </a:cubicBezTo>
                      <a:cubicBezTo>
                        <a:pt x="24553" y="126881"/>
                        <a:pt x="21724" y="129553"/>
                        <a:pt x="19599" y="133584"/>
                      </a:cubicBezTo>
                      <a:cubicBezTo>
                        <a:pt x="17049" y="138442"/>
                        <a:pt x="15871" y="142874"/>
                        <a:pt x="14730" y="147148"/>
                      </a:cubicBezTo>
                      <a:cubicBezTo>
                        <a:pt x="14086" y="149552"/>
                        <a:pt x="13442" y="152005"/>
                        <a:pt x="12495" y="154555"/>
                      </a:cubicBezTo>
                      <a:lnTo>
                        <a:pt x="850" y="194141"/>
                      </a:lnTo>
                      <a:lnTo>
                        <a:pt x="0" y="197031"/>
                      </a:lnTo>
                      <a:lnTo>
                        <a:pt x="1785" y="199460"/>
                      </a:lnTo>
                      <a:lnTo>
                        <a:pt x="2501" y="200431"/>
                      </a:lnTo>
                      <a:lnTo>
                        <a:pt x="6581" y="205981"/>
                      </a:lnTo>
                      <a:lnTo>
                        <a:pt x="11560" y="201245"/>
                      </a:lnTo>
                      <a:lnTo>
                        <a:pt x="11973" y="200856"/>
                      </a:lnTo>
                      <a:lnTo>
                        <a:pt x="12301" y="205021"/>
                      </a:lnTo>
                      <a:lnTo>
                        <a:pt x="12349" y="205713"/>
                      </a:lnTo>
                      <a:lnTo>
                        <a:pt x="12568" y="206369"/>
                      </a:lnTo>
                      <a:lnTo>
                        <a:pt x="19550" y="228409"/>
                      </a:lnTo>
                      <a:lnTo>
                        <a:pt x="20582" y="237479"/>
                      </a:lnTo>
                      <a:lnTo>
                        <a:pt x="20643" y="237989"/>
                      </a:lnTo>
                      <a:lnTo>
                        <a:pt x="20789" y="238487"/>
                      </a:lnTo>
                      <a:lnTo>
                        <a:pt x="21639" y="241414"/>
                      </a:lnTo>
                      <a:lnTo>
                        <a:pt x="21882" y="242215"/>
                      </a:lnTo>
                      <a:lnTo>
                        <a:pt x="22331" y="242932"/>
                      </a:lnTo>
                      <a:lnTo>
                        <a:pt x="23315" y="244510"/>
                      </a:lnTo>
                      <a:lnTo>
                        <a:pt x="23727" y="245178"/>
                      </a:lnTo>
                      <a:lnTo>
                        <a:pt x="24298" y="245712"/>
                      </a:lnTo>
                      <a:lnTo>
                        <a:pt x="26071" y="247388"/>
                      </a:lnTo>
                      <a:lnTo>
                        <a:pt x="25913" y="248918"/>
                      </a:lnTo>
                      <a:lnTo>
                        <a:pt x="25828" y="249732"/>
                      </a:lnTo>
                      <a:lnTo>
                        <a:pt x="25962" y="250533"/>
                      </a:lnTo>
                      <a:lnTo>
                        <a:pt x="26192" y="251893"/>
                      </a:lnTo>
                      <a:lnTo>
                        <a:pt x="26423" y="253229"/>
                      </a:lnTo>
                      <a:lnTo>
                        <a:pt x="27188" y="254346"/>
                      </a:lnTo>
                      <a:lnTo>
                        <a:pt x="28099" y="255669"/>
                      </a:lnTo>
                      <a:lnTo>
                        <a:pt x="28669" y="256495"/>
                      </a:lnTo>
                      <a:lnTo>
                        <a:pt x="29459" y="257090"/>
                      </a:lnTo>
                      <a:lnTo>
                        <a:pt x="30260" y="257685"/>
                      </a:lnTo>
                      <a:lnTo>
                        <a:pt x="29957" y="259992"/>
                      </a:lnTo>
                      <a:lnTo>
                        <a:pt x="29884" y="260490"/>
                      </a:lnTo>
                      <a:lnTo>
                        <a:pt x="29896" y="260988"/>
                      </a:lnTo>
                      <a:lnTo>
                        <a:pt x="29957" y="262943"/>
                      </a:lnTo>
                      <a:lnTo>
                        <a:pt x="29981" y="263732"/>
                      </a:lnTo>
                      <a:lnTo>
                        <a:pt x="30212" y="264485"/>
                      </a:lnTo>
                      <a:lnTo>
                        <a:pt x="31183" y="267764"/>
                      </a:lnTo>
                      <a:lnTo>
                        <a:pt x="31305" y="268165"/>
                      </a:lnTo>
                      <a:lnTo>
                        <a:pt x="31475" y="268541"/>
                      </a:lnTo>
                      <a:lnTo>
                        <a:pt x="31803" y="269257"/>
                      </a:lnTo>
                      <a:lnTo>
                        <a:pt x="31123" y="271164"/>
                      </a:lnTo>
                      <a:lnTo>
                        <a:pt x="27880" y="277733"/>
                      </a:lnTo>
                      <a:lnTo>
                        <a:pt x="27625" y="278255"/>
                      </a:lnTo>
                      <a:lnTo>
                        <a:pt x="27467" y="278814"/>
                      </a:lnTo>
                      <a:lnTo>
                        <a:pt x="26666" y="281765"/>
                      </a:lnTo>
                      <a:lnTo>
                        <a:pt x="26460" y="282493"/>
                      </a:lnTo>
                      <a:lnTo>
                        <a:pt x="26447" y="283246"/>
                      </a:lnTo>
                      <a:lnTo>
                        <a:pt x="26277" y="291115"/>
                      </a:lnTo>
                      <a:lnTo>
                        <a:pt x="26265" y="291698"/>
                      </a:lnTo>
                      <a:lnTo>
                        <a:pt x="26362" y="292256"/>
                      </a:lnTo>
                      <a:lnTo>
                        <a:pt x="31037" y="319736"/>
                      </a:lnTo>
                      <a:lnTo>
                        <a:pt x="30940" y="332911"/>
                      </a:lnTo>
                      <a:lnTo>
                        <a:pt x="30940" y="333579"/>
                      </a:lnTo>
                      <a:lnTo>
                        <a:pt x="31074" y="334234"/>
                      </a:lnTo>
                      <a:lnTo>
                        <a:pt x="32507" y="340901"/>
                      </a:lnTo>
                      <a:lnTo>
                        <a:pt x="32762" y="342054"/>
                      </a:lnTo>
                      <a:lnTo>
                        <a:pt x="33429" y="343038"/>
                      </a:lnTo>
                      <a:lnTo>
                        <a:pt x="36927" y="348211"/>
                      </a:lnTo>
                      <a:lnTo>
                        <a:pt x="37971" y="349753"/>
                      </a:lnTo>
                      <a:lnTo>
                        <a:pt x="39720" y="350445"/>
                      </a:lnTo>
                      <a:lnTo>
                        <a:pt x="44480" y="352327"/>
                      </a:lnTo>
                      <a:lnTo>
                        <a:pt x="45087" y="353056"/>
                      </a:lnTo>
                      <a:lnTo>
                        <a:pt x="46495" y="366583"/>
                      </a:lnTo>
                      <a:lnTo>
                        <a:pt x="46532" y="366923"/>
                      </a:lnTo>
                      <a:lnTo>
                        <a:pt x="46605" y="367263"/>
                      </a:lnTo>
                      <a:lnTo>
                        <a:pt x="47916" y="373262"/>
                      </a:lnTo>
                      <a:lnTo>
                        <a:pt x="48183" y="374525"/>
                      </a:lnTo>
                      <a:lnTo>
                        <a:pt x="48948" y="375569"/>
                      </a:lnTo>
                      <a:lnTo>
                        <a:pt x="51146" y="378532"/>
                      </a:lnTo>
                      <a:lnTo>
                        <a:pt x="51559" y="379090"/>
                      </a:lnTo>
                      <a:lnTo>
                        <a:pt x="52093" y="379540"/>
                      </a:lnTo>
                      <a:lnTo>
                        <a:pt x="56538" y="383316"/>
                      </a:lnTo>
                      <a:lnTo>
                        <a:pt x="57533" y="384785"/>
                      </a:lnTo>
                      <a:lnTo>
                        <a:pt x="57934" y="386291"/>
                      </a:lnTo>
                      <a:lnTo>
                        <a:pt x="59185" y="400608"/>
                      </a:lnTo>
                      <a:lnTo>
                        <a:pt x="58808" y="411731"/>
                      </a:lnTo>
                      <a:lnTo>
                        <a:pt x="58784" y="412459"/>
                      </a:lnTo>
                      <a:lnTo>
                        <a:pt x="58942" y="413163"/>
                      </a:lnTo>
                      <a:lnTo>
                        <a:pt x="59610" y="416454"/>
                      </a:lnTo>
                      <a:lnTo>
                        <a:pt x="59719" y="416964"/>
                      </a:lnTo>
                      <a:lnTo>
                        <a:pt x="59913" y="417450"/>
                      </a:lnTo>
                      <a:lnTo>
                        <a:pt x="62002" y="422781"/>
                      </a:lnTo>
                      <a:lnTo>
                        <a:pt x="62233" y="425294"/>
                      </a:lnTo>
                      <a:lnTo>
                        <a:pt x="73015" y="489032"/>
                      </a:lnTo>
                      <a:lnTo>
                        <a:pt x="71753" y="489020"/>
                      </a:lnTo>
                      <a:lnTo>
                        <a:pt x="70028" y="490502"/>
                      </a:lnTo>
                      <a:lnTo>
                        <a:pt x="67782" y="492420"/>
                      </a:lnTo>
                      <a:lnTo>
                        <a:pt x="64722" y="495055"/>
                      </a:lnTo>
                      <a:lnTo>
                        <a:pt x="65961" y="498893"/>
                      </a:lnTo>
                      <a:lnTo>
                        <a:pt x="70089" y="511764"/>
                      </a:lnTo>
                      <a:lnTo>
                        <a:pt x="72493" y="524381"/>
                      </a:lnTo>
                      <a:lnTo>
                        <a:pt x="72821" y="525862"/>
                      </a:lnTo>
                      <a:lnTo>
                        <a:pt x="72906" y="527174"/>
                      </a:lnTo>
                      <a:lnTo>
                        <a:pt x="73453" y="535249"/>
                      </a:lnTo>
                      <a:lnTo>
                        <a:pt x="81054" y="532468"/>
                      </a:lnTo>
                      <a:lnTo>
                        <a:pt x="82548" y="531921"/>
                      </a:lnTo>
                      <a:lnTo>
                        <a:pt x="82997" y="531751"/>
                      </a:lnTo>
                      <a:lnTo>
                        <a:pt x="83422" y="531509"/>
                      </a:lnTo>
                      <a:lnTo>
                        <a:pt x="84794" y="530743"/>
                      </a:lnTo>
                      <a:lnTo>
                        <a:pt x="85219" y="530501"/>
                      </a:lnTo>
                      <a:lnTo>
                        <a:pt x="85596" y="530197"/>
                      </a:lnTo>
                      <a:lnTo>
                        <a:pt x="86859" y="529189"/>
                      </a:lnTo>
                      <a:lnTo>
                        <a:pt x="87198" y="528922"/>
                      </a:lnTo>
                      <a:lnTo>
                        <a:pt x="87502" y="528606"/>
                      </a:lnTo>
                      <a:lnTo>
                        <a:pt x="88644" y="527392"/>
                      </a:lnTo>
                      <a:lnTo>
                        <a:pt x="89882" y="525898"/>
                      </a:lnTo>
                      <a:lnTo>
                        <a:pt x="91485" y="525753"/>
                      </a:lnTo>
                      <a:lnTo>
                        <a:pt x="92748" y="525643"/>
                      </a:lnTo>
                      <a:lnTo>
                        <a:pt x="93865" y="525024"/>
                      </a:lnTo>
                      <a:lnTo>
                        <a:pt x="95929" y="523895"/>
                      </a:lnTo>
                      <a:lnTo>
                        <a:pt x="97532" y="523033"/>
                      </a:lnTo>
                      <a:lnTo>
                        <a:pt x="98382" y="521430"/>
                      </a:lnTo>
                      <a:lnTo>
                        <a:pt x="99815" y="518734"/>
                      </a:lnTo>
                      <a:lnTo>
                        <a:pt x="100531" y="517398"/>
                      </a:lnTo>
                      <a:lnTo>
                        <a:pt x="100531" y="515880"/>
                      </a:lnTo>
                      <a:lnTo>
                        <a:pt x="100531" y="513173"/>
                      </a:lnTo>
                      <a:lnTo>
                        <a:pt x="100531" y="512675"/>
                      </a:lnTo>
                      <a:lnTo>
                        <a:pt x="100446" y="512189"/>
                      </a:lnTo>
                      <a:lnTo>
                        <a:pt x="100082" y="509918"/>
                      </a:lnTo>
                      <a:lnTo>
                        <a:pt x="100082" y="509044"/>
                      </a:lnTo>
                      <a:lnTo>
                        <a:pt x="100580" y="508740"/>
                      </a:lnTo>
                      <a:lnTo>
                        <a:pt x="103239" y="507089"/>
                      </a:lnTo>
                      <a:lnTo>
                        <a:pt x="103446" y="503968"/>
                      </a:lnTo>
                      <a:lnTo>
                        <a:pt x="103579" y="501940"/>
                      </a:lnTo>
                      <a:lnTo>
                        <a:pt x="103616" y="501358"/>
                      </a:lnTo>
                      <a:lnTo>
                        <a:pt x="103543" y="500787"/>
                      </a:lnTo>
                      <a:lnTo>
                        <a:pt x="103507" y="500520"/>
                      </a:lnTo>
                      <a:lnTo>
                        <a:pt x="111776" y="506530"/>
                      </a:lnTo>
                      <a:lnTo>
                        <a:pt x="123239" y="517253"/>
                      </a:lnTo>
                      <a:lnTo>
                        <a:pt x="125558" y="520325"/>
                      </a:lnTo>
                      <a:lnTo>
                        <a:pt x="126712" y="524514"/>
                      </a:lnTo>
                      <a:lnTo>
                        <a:pt x="127586" y="529881"/>
                      </a:lnTo>
                      <a:lnTo>
                        <a:pt x="127901" y="531861"/>
                      </a:lnTo>
                      <a:lnTo>
                        <a:pt x="129347" y="533269"/>
                      </a:lnTo>
                      <a:lnTo>
                        <a:pt x="131302" y="535164"/>
                      </a:lnTo>
                      <a:lnTo>
                        <a:pt x="135284" y="539025"/>
                      </a:lnTo>
                      <a:lnTo>
                        <a:pt x="139486" y="535394"/>
                      </a:lnTo>
                      <a:lnTo>
                        <a:pt x="141732" y="533463"/>
                      </a:lnTo>
                      <a:lnTo>
                        <a:pt x="143068" y="532310"/>
                      </a:lnTo>
                      <a:lnTo>
                        <a:pt x="143578" y="530622"/>
                      </a:lnTo>
                      <a:lnTo>
                        <a:pt x="144610" y="527222"/>
                      </a:lnTo>
                      <a:lnTo>
                        <a:pt x="144610" y="527234"/>
                      </a:lnTo>
                      <a:lnTo>
                        <a:pt x="145594" y="528363"/>
                      </a:lnTo>
                      <a:lnTo>
                        <a:pt x="146432" y="529323"/>
                      </a:lnTo>
                      <a:lnTo>
                        <a:pt x="147597" y="529869"/>
                      </a:lnTo>
                      <a:lnTo>
                        <a:pt x="148739" y="530403"/>
                      </a:lnTo>
                      <a:lnTo>
                        <a:pt x="150160" y="531071"/>
                      </a:lnTo>
                      <a:lnTo>
                        <a:pt x="151726" y="530962"/>
                      </a:lnTo>
                      <a:lnTo>
                        <a:pt x="152928" y="530877"/>
                      </a:lnTo>
                      <a:lnTo>
                        <a:pt x="154228" y="530780"/>
                      </a:lnTo>
                      <a:lnTo>
                        <a:pt x="155381" y="530161"/>
                      </a:lnTo>
                      <a:lnTo>
                        <a:pt x="156705" y="529444"/>
                      </a:lnTo>
                      <a:lnTo>
                        <a:pt x="157494" y="529031"/>
                      </a:lnTo>
                      <a:lnTo>
                        <a:pt x="158125" y="528388"/>
                      </a:lnTo>
                      <a:lnTo>
                        <a:pt x="158477" y="528048"/>
                      </a:lnTo>
                      <a:lnTo>
                        <a:pt x="159170" y="527246"/>
                      </a:lnTo>
                      <a:lnTo>
                        <a:pt x="160044" y="526020"/>
                      </a:lnTo>
                      <a:lnTo>
                        <a:pt x="160578" y="524065"/>
                      </a:lnTo>
                      <a:lnTo>
                        <a:pt x="160772" y="522693"/>
                      </a:lnTo>
                      <a:lnTo>
                        <a:pt x="160845" y="522146"/>
                      </a:lnTo>
                      <a:lnTo>
                        <a:pt x="160821" y="521600"/>
                      </a:lnTo>
                      <a:lnTo>
                        <a:pt x="160772" y="520215"/>
                      </a:lnTo>
                      <a:lnTo>
                        <a:pt x="160736" y="519608"/>
                      </a:lnTo>
                      <a:lnTo>
                        <a:pt x="160590" y="519026"/>
                      </a:lnTo>
                      <a:lnTo>
                        <a:pt x="160250" y="517629"/>
                      </a:lnTo>
                      <a:lnTo>
                        <a:pt x="160153" y="517253"/>
                      </a:lnTo>
                      <a:lnTo>
                        <a:pt x="160020" y="516901"/>
                      </a:lnTo>
                      <a:lnTo>
                        <a:pt x="159498" y="515553"/>
                      </a:lnTo>
                      <a:lnTo>
                        <a:pt x="158332" y="513197"/>
                      </a:lnTo>
                      <a:lnTo>
                        <a:pt x="158138" y="512335"/>
                      </a:lnTo>
                      <a:lnTo>
                        <a:pt x="158198" y="511886"/>
                      </a:lnTo>
                      <a:lnTo>
                        <a:pt x="160457" y="507587"/>
                      </a:lnTo>
                      <a:lnTo>
                        <a:pt x="161222" y="507417"/>
                      </a:lnTo>
                      <a:lnTo>
                        <a:pt x="161720" y="507308"/>
                      </a:lnTo>
                      <a:lnTo>
                        <a:pt x="162193" y="507113"/>
                      </a:lnTo>
                      <a:lnTo>
                        <a:pt x="165569" y="505753"/>
                      </a:lnTo>
                      <a:lnTo>
                        <a:pt x="170961" y="503568"/>
                      </a:lnTo>
                      <a:lnTo>
                        <a:pt x="169005" y="498079"/>
                      </a:lnTo>
                      <a:lnTo>
                        <a:pt x="168811" y="497533"/>
                      </a:lnTo>
                      <a:lnTo>
                        <a:pt x="169018" y="488110"/>
                      </a:lnTo>
                      <a:lnTo>
                        <a:pt x="170669" y="488389"/>
                      </a:lnTo>
                      <a:lnTo>
                        <a:pt x="172649" y="488996"/>
                      </a:lnTo>
                      <a:lnTo>
                        <a:pt x="174373" y="490295"/>
                      </a:lnTo>
                      <a:lnTo>
                        <a:pt x="174980" y="490769"/>
                      </a:lnTo>
                      <a:lnTo>
                        <a:pt x="175696" y="491072"/>
                      </a:lnTo>
                      <a:lnTo>
                        <a:pt x="178550" y="492287"/>
                      </a:lnTo>
                      <a:lnTo>
                        <a:pt x="180578" y="493137"/>
                      </a:lnTo>
                      <a:lnTo>
                        <a:pt x="182678" y="492493"/>
                      </a:lnTo>
                      <a:lnTo>
                        <a:pt x="186807" y="491243"/>
                      </a:lnTo>
                      <a:lnTo>
                        <a:pt x="194068" y="489057"/>
                      </a:lnTo>
                      <a:lnTo>
                        <a:pt x="190353" y="482451"/>
                      </a:lnTo>
                      <a:lnTo>
                        <a:pt x="189321" y="480618"/>
                      </a:lnTo>
                      <a:lnTo>
                        <a:pt x="189782" y="480532"/>
                      </a:lnTo>
                      <a:lnTo>
                        <a:pt x="190851" y="480350"/>
                      </a:lnTo>
                      <a:lnTo>
                        <a:pt x="191786" y="479804"/>
                      </a:lnTo>
                      <a:lnTo>
                        <a:pt x="193279" y="478942"/>
                      </a:lnTo>
                      <a:lnTo>
                        <a:pt x="195210" y="477812"/>
                      </a:lnTo>
                      <a:lnTo>
                        <a:pt x="195963" y="475699"/>
                      </a:lnTo>
                      <a:lnTo>
                        <a:pt x="196825" y="473235"/>
                      </a:lnTo>
                      <a:lnTo>
                        <a:pt x="197104" y="472433"/>
                      </a:lnTo>
                      <a:lnTo>
                        <a:pt x="197153" y="471595"/>
                      </a:lnTo>
                      <a:lnTo>
                        <a:pt x="197274" y="469652"/>
                      </a:lnTo>
                      <a:lnTo>
                        <a:pt x="197299" y="469264"/>
                      </a:lnTo>
                      <a:lnTo>
                        <a:pt x="197274" y="468863"/>
                      </a:lnTo>
                      <a:lnTo>
                        <a:pt x="195659" y="445755"/>
                      </a:lnTo>
                      <a:lnTo>
                        <a:pt x="195611" y="445124"/>
                      </a:lnTo>
                      <a:lnTo>
                        <a:pt x="195428" y="444516"/>
                      </a:lnTo>
                      <a:lnTo>
                        <a:pt x="193133" y="436454"/>
                      </a:lnTo>
                      <a:lnTo>
                        <a:pt x="192721" y="434996"/>
                      </a:lnTo>
                      <a:lnTo>
                        <a:pt x="191676" y="433904"/>
                      </a:lnTo>
                      <a:lnTo>
                        <a:pt x="185629" y="427614"/>
                      </a:lnTo>
                      <a:lnTo>
                        <a:pt x="184718" y="425719"/>
                      </a:lnTo>
                      <a:lnTo>
                        <a:pt x="183128" y="420437"/>
                      </a:lnTo>
                      <a:lnTo>
                        <a:pt x="183018" y="417535"/>
                      </a:lnTo>
                      <a:lnTo>
                        <a:pt x="184840" y="410626"/>
                      </a:lnTo>
                      <a:lnTo>
                        <a:pt x="184998" y="410031"/>
                      </a:lnTo>
                      <a:lnTo>
                        <a:pt x="185034" y="409411"/>
                      </a:lnTo>
                      <a:lnTo>
                        <a:pt x="185277" y="405137"/>
                      </a:lnTo>
                      <a:lnTo>
                        <a:pt x="185338" y="404129"/>
                      </a:lnTo>
                      <a:lnTo>
                        <a:pt x="185070" y="403158"/>
                      </a:lnTo>
                      <a:lnTo>
                        <a:pt x="183978" y="399296"/>
                      </a:lnTo>
                      <a:lnTo>
                        <a:pt x="183759" y="398543"/>
                      </a:lnTo>
                      <a:lnTo>
                        <a:pt x="183371" y="397875"/>
                      </a:lnTo>
                      <a:lnTo>
                        <a:pt x="179339" y="391003"/>
                      </a:lnTo>
                      <a:lnTo>
                        <a:pt x="178295" y="388343"/>
                      </a:lnTo>
                      <a:lnTo>
                        <a:pt x="177918" y="385660"/>
                      </a:lnTo>
                      <a:lnTo>
                        <a:pt x="179218" y="373031"/>
                      </a:lnTo>
                      <a:lnTo>
                        <a:pt x="180675" y="371756"/>
                      </a:lnTo>
                      <a:lnTo>
                        <a:pt x="183589" y="373043"/>
                      </a:lnTo>
                      <a:lnTo>
                        <a:pt x="185896" y="367130"/>
                      </a:lnTo>
                      <a:lnTo>
                        <a:pt x="187293" y="363547"/>
                      </a:lnTo>
                      <a:lnTo>
                        <a:pt x="193328" y="356553"/>
                      </a:lnTo>
                      <a:lnTo>
                        <a:pt x="193583" y="356249"/>
                      </a:lnTo>
                      <a:lnTo>
                        <a:pt x="193801" y="355922"/>
                      </a:lnTo>
                      <a:lnTo>
                        <a:pt x="196497" y="351805"/>
                      </a:lnTo>
                      <a:lnTo>
                        <a:pt x="197311" y="350554"/>
                      </a:lnTo>
                      <a:lnTo>
                        <a:pt x="197468" y="349061"/>
                      </a:lnTo>
                      <a:lnTo>
                        <a:pt x="197821" y="345418"/>
                      </a:lnTo>
                      <a:lnTo>
                        <a:pt x="197930" y="344228"/>
                      </a:lnTo>
                      <a:lnTo>
                        <a:pt x="197590" y="343074"/>
                      </a:lnTo>
                      <a:lnTo>
                        <a:pt x="196388" y="339091"/>
                      </a:lnTo>
                      <a:lnTo>
                        <a:pt x="196218" y="338533"/>
                      </a:lnTo>
                      <a:lnTo>
                        <a:pt x="195951" y="338023"/>
                      </a:lnTo>
                      <a:lnTo>
                        <a:pt x="192417" y="331308"/>
                      </a:lnTo>
                      <a:lnTo>
                        <a:pt x="191227" y="328029"/>
                      </a:lnTo>
                      <a:lnTo>
                        <a:pt x="190511" y="323791"/>
                      </a:lnTo>
                      <a:lnTo>
                        <a:pt x="190729" y="320768"/>
                      </a:lnTo>
                      <a:lnTo>
                        <a:pt x="191045" y="320258"/>
                      </a:lnTo>
                      <a:lnTo>
                        <a:pt x="192041" y="319906"/>
                      </a:lnTo>
                      <a:lnTo>
                        <a:pt x="192332" y="319979"/>
                      </a:lnTo>
                      <a:lnTo>
                        <a:pt x="193571" y="321132"/>
                      </a:lnTo>
                      <a:lnTo>
                        <a:pt x="195683" y="324399"/>
                      </a:lnTo>
                      <a:lnTo>
                        <a:pt x="196230" y="325248"/>
                      </a:lnTo>
                      <a:lnTo>
                        <a:pt x="197019" y="325868"/>
                      </a:lnTo>
                      <a:lnTo>
                        <a:pt x="200990" y="329001"/>
                      </a:lnTo>
                      <a:lnTo>
                        <a:pt x="202799" y="330434"/>
                      </a:lnTo>
                      <a:lnTo>
                        <a:pt x="205094" y="330300"/>
                      </a:lnTo>
                      <a:lnTo>
                        <a:pt x="210012" y="330009"/>
                      </a:lnTo>
                      <a:lnTo>
                        <a:pt x="211239" y="329936"/>
                      </a:lnTo>
                      <a:lnTo>
                        <a:pt x="212331" y="329401"/>
                      </a:lnTo>
                      <a:lnTo>
                        <a:pt x="217225" y="327009"/>
                      </a:lnTo>
                      <a:lnTo>
                        <a:pt x="217917" y="326669"/>
                      </a:lnTo>
                      <a:lnTo>
                        <a:pt x="218500" y="326171"/>
                      </a:lnTo>
                      <a:lnTo>
                        <a:pt x="222119" y="323087"/>
                      </a:lnTo>
                      <a:lnTo>
                        <a:pt x="222617" y="322662"/>
                      </a:lnTo>
                      <a:lnTo>
                        <a:pt x="223005" y="322152"/>
                      </a:lnTo>
                      <a:lnTo>
                        <a:pt x="225810" y="318473"/>
                      </a:lnTo>
                      <a:lnTo>
                        <a:pt x="226138" y="318036"/>
                      </a:lnTo>
                      <a:lnTo>
                        <a:pt x="226393" y="317550"/>
                      </a:lnTo>
                      <a:lnTo>
                        <a:pt x="234213" y="302250"/>
                      </a:lnTo>
                      <a:lnTo>
                        <a:pt x="234857" y="300999"/>
                      </a:lnTo>
                      <a:lnTo>
                        <a:pt x="234881" y="299603"/>
                      </a:lnTo>
                      <a:lnTo>
                        <a:pt x="234930" y="297125"/>
                      </a:lnTo>
                      <a:lnTo>
                        <a:pt x="234941" y="296543"/>
                      </a:lnTo>
                      <a:lnTo>
                        <a:pt x="234832" y="295972"/>
                      </a:lnTo>
                      <a:lnTo>
                        <a:pt x="234505" y="294053"/>
                      </a:lnTo>
                      <a:lnTo>
                        <a:pt x="234468" y="291807"/>
                      </a:lnTo>
                      <a:lnTo>
                        <a:pt x="235913" y="278887"/>
                      </a:lnTo>
                      <a:lnTo>
                        <a:pt x="235986" y="278268"/>
                      </a:lnTo>
                      <a:lnTo>
                        <a:pt x="235925" y="277648"/>
                      </a:lnTo>
                      <a:lnTo>
                        <a:pt x="235185" y="269804"/>
                      </a:lnTo>
                      <a:lnTo>
                        <a:pt x="235355" y="267703"/>
                      </a:lnTo>
                      <a:lnTo>
                        <a:pt x="235949" y="266052"/>
                      </a:lnTo>
                      <a:lnTo>
                        <a:pt x="239131" y="261656"/>
                      </a:lnTo>
                      <a:lnTo>
                        <a:pt x="239556" y="261073"/>
                      </a:lnTo>
                      <a:lnTo>
                        <a:pt x="239823" y="260393"/>
                      </a:lnTo>
                      <a:lnTo>
                        <a:pt x="240515" y="258705"/>
                      </a:lnTo>
                      <a:lnTo>
                        <a:pt x="240928" y="257685"/>
                      </a:lnTo>
                      <a:lnTo>
                        <a:pt x="240964" y="256580"/>
                      </a:lnTo>
                      <a:lnTo>
                        <a:pt x="241013" y="254771"/>
                      </a:lnTo>
                      <a:lnTo>
                        <a:pt x="241025" y="254224"/>
                      </a:lnTo>
                      <a:lnTo>
                        <a:pt x="240940" y="253678"/>
                      </a:lnTo>
                      <a:lnTo>
                        <a:pt x="240600" y="251468"/>
                      </a:lnTo>
                      <a:lnTo>
                        <a:pt x="239532" y="240600"/>
                      </a:lnTo>
                      <a:lnTo>
                        <a:pt x="239629" y="235828"/>
                      </a:lnTo>
                      <a:lnTo>
                        <a:pt x="245603" y="197930"/>
                      </a:lnTo>
                      <a:lnTo>
                        <a:pt x="245700" y="197274"/>
                      </a:lnTo>
                      <a:lnTo>
                        <a:pt x="245664" y="196606"/>
                      </a:lnTo>
                      <a:lnTo>
                        <a:pt x="245263" y="190061"/>
                      </a:lnTo>
                      <a:lnTo>
                        <a:pt x="245202" y="189126"/>
                      </a:lnTo>
                      <a:lnTo>
                        <a:pt x="244875" y="188252"/>
                      </a:lnTo>
                      <a:lnTo>
                        <a:pt x="244073" y="186151"/>
                      </a:lnTo>
                      <a:lnTo>
                        <a:pt x="243794" y="185398"/>
                      </a:lnTo>
                      <a:lnTo>
                        <a:pt x="243308" y="184743"/>
                      </a:lnTo>
                      <a:lnTo>
                        <a:pt x="240989" y="181573"/>
                      </a:lnTo>
                      <a:lnTo>
                        <a:pt x="240115" y="179898"/>
                      </a:lnTo>
                      <a:lnTo>
                        <a:pt x="239386" y="178537"/>
                      </a:lnTo>
                      <a:lnTo>
                        <a:pt x="238123" y="177688"/>
                      </a:lnTo>
                      <a:lnTo>
                        <a:pt x="234492" y="175259"/>
                      </a:lnTo>
                      <a:lnTo>
                        <a:pt x="231809" y="155381"/>
                      </a:lnTo>
                      <a:lnTo>
                        <a:pt x="231967" y="148775"/>
                      </a:lnTo>
                      <a:lnTo>
                        <a:pt x="231979" y="148107"/>
                      </a:lnTo>
                      <a:lnTo>
                        <a:pt x="231845" y="147452"/>
                      </a:lnTo>
                      <a:lnTo>
                        <a:pt x="231214" y="144258"/>
                      </a:lnTo>
                      <a:lnTo>
                        <a:pt x="231032" y="143347"/>
                      </a:lnTo>
                      <a:lnTo>
                        <a:pt x="230582" y="142534"/>
                      </a:lnTo>
                      <a:lnTo>
                        <a:pt x="229842" y="141162"/>
                      </a:lnTo>
                      <a:lnTo>
                        <a:pt x="229271" y="140117"/>
                      </a:lnTo>
                      <a:lnTo>
                        <a:pt x="228348" y="139364"/>
                      </a:lnTo>
                      <a:lnTo>
                        <a:pt x="227668" y="138818"/>
                      </a:lnTo>
                      <a:lnTo>
                        <a:pt x="226757" y="137689"/>
                      </a:lnTo>
                      <a:lnTo>
                        <a:pt x="223139" y="131836"/>
                      </a:lnTo>
                      <a:lnTo>
                        <a:pt x="222009" y="129383"/>
                      </a:lnTo>
                      <a:lnTo>
                        <a:pt x="221317" y="126881"/>
                      </a:lnTo>
                      <a:lnTo>
                        <a:pt x="221062" y="123664"/>
                      </a:lnTo>
                      <a:lnTo>
                        <a:pt x="221317" y="120349"/>
                      </a:lnTo>
                      <a:lnTo>
                        <a:pt x="221341" y="119826"/>
                      </a:lnTo>
                      <a:lnTo>
                        <a:pt x="222131" y="116973"/>
                      </a:lnTo>
                      <a:lnTo>
                        <a:pt x="222714" y="116184"/>
                      </a:lnTo>
                      <a:lnTo>
                        <a:pt x="223297" y="115977"/>
                      </a:lnTo>
                      <a:lnTo>
                        <a:pt x="227802" y="122874"/>
                      </a:lnTo>
                      <a:lnTo>
                        <a:pt x="229987" y="125643"/>
                      </a:lnTo>
                      <a:lnTo>
                        <a:pt x="230218" y="125910"/>
                      </a:lnTo>
                      <a:lnTo>
                        <a:pt x="230473" y="126165"/>
                      </a:lnTo>
                      <a:lnTo>
                        <a:pt x="235804" y="131447"/>
                      </a:lnTo>
                      <a:lnTo>
                        <a:pt x="236314" y="132613"/>
                      </a:lnTo>
                      <a:lnTo>
                        <a:pt x="236423" y="133014"/>
                      </a:lnTo>
                      <a:lnTo>
                        <a:pt x="250764" y="189648"/>
                      </a:lnTo>
                      <a:lnTo>
                        <a:pt x="248384" y="131277"/>
                      </a:lnTo>
                      <a:lnTo>
                        <a:pt x="247740" y="115637"/>
                      </a:lnTo>
                      <a:cubicBezTo>
                        <a:pt x="248651" y="113864"/>
                        <a:pt x="249622" y="111290"/>
                        <a:pt x="248165" y="108558"/>
                      </a:cubicBezTo>
                      <a:lnTo>
                        <a:pt x="246781" y="105959"/>
                      </a:lnTo>
                      <a:cubicBezTo>
                        <a:pt x="246235" y="103980"/>
                        <a:pt x="245227" y="101393"/>
                        <a:pt x="242822" y="99864"/>
                      </a:cubicBezTo>
                      <a:cubicBezTo>
                        <a:pt x="241851" y="99050"/>
                        <a:pt x="240709" y="98382"/>
                        <a:pt x="239556" y="97763"/>
                      </a:cubicBezTo>
                      <a:cubicBezTo>
                        <a:pt x="238791" y="97022"/>
                        <a:pt x="237759" y="96160"/>
                        <a:pt x="236168" y="95273"/>
                      </a:cubicBezTo>
                      <a:cubicBezTo>
                        <a:pt x="234687" y="94326"/>
                        <a:pt x="232890" y="93525"/>
                        <a:pt x="231177" y="92748"/>
                      </a:cubicBezTo>
                      <a:cubicBezTo>
                        <a:pt x="229441" y="91983"/>
                        <a:pt x="227911" y="91290"/>
                        <a:pt x="226660" y="90392"/>
                      </a:cubicBezTo>
                      <a:cubicBezTo>
                        <a:pt x="226648" y="90028"/>
                        <a:pt x="226721" y="88959"/>
                        <a:pt x="226770" y="88230"/>
                      </a:cubicBezTo>
                      <a:cubicBezTo>
                        <a:pt x="227122" y="83677"/>
                        <a:pt x="225725" y="77933"/>
                        <a:pt x="217055" y="75662"/>
                      </a:cubicBezTo>
                      <a:cubicBezTo>
                        <a:pt x="213886" y="74691"/>
                        <a:pt x="209952" y="74388"/>
                        <a:pt x="206139" y="74084"/>
                      </a:cubicBezTo>
                      <a:lnTo>
                        <a:pt x="205896" y="74072"/>
                      </a:lnTo>
                      <a:lnTo>
                        <a:pt x="205228" y="74060"/>
                      </a:lnTo>
                      <a:cubicBezTo>
                        <a:pt x="204390" y="74060"/>
                        <a:pt x="203528" y="74157"/>
                        <a:pt x="202678" y="74278"/>
                      </a:cubicBezTo>
                      <a:cubicBezTo>
                        <a:pt x="202386" y="74315"/>
                        <a:pt x="202083" y="74388"/>
                        <a:pt x="201791" y="74388"/>
                      </a:cubicBezTo>
                      <a:lnTo>
                        <a:pt x="196861" y="73999"/>
                      </a:lnTo>
                      <a:lnTo>
                        <a:pt x="195999" y="73938"/>
                      </a:lnTo>
                      <a:lnTo>
                        <a:pt x="195149" y="74120"/>
                      </a:lnTo>
                      <a:cubicBezTo>
                        <a:pt x="192041" y="74788"/>
                        <a:pt x="190243" y="76573"/>
                        <a:pt x="188920" y="77885"/>
                      </a:cubicBezTo>
                      <a:cubicBezTo>
                        <a:pt x="188519" y="78298"/>
                        <a:pt x="188082" y="78747"/>
                        <a:pt x="187499" y="79184"/>
                      </a:cubicBezTo>
                      <a:lnTo>
                        <a:pt x="187062" y="79403"/>
                      </a:lnTo>
                      <a:cubicBezTo>
                        <a:pt x="186103" y="79913"/>
                        <a:pt x="184949" y="80532"/>
                        <a:pt x="183771" y="81430"/>
                      </a:cubicBezTo>
                      <a:cubicBezTo>
                        <a:pt x="183613" y="81540"/>
                        <a:pt x="183492" y="81649"/>
                        <a:pt x="183358" y="81746"/>
                      </a:cubicBezTo>
                      <a:cubicBezTo>
                        <a:pt x="182654" y="81710"/>
                        <a:pt x="182083" y="81698"/>
                        <a:pt x="181476" y="81685"/>
                      </a:cubicBezTo>
                      <a:cubicBezTo>
                        <a:pt x="181416" y="81685"/>
                        <a:pt x="181343" y="81685"/>
                        <a:pt x="181282" y="81685"/>
                      </a:cubicBezTo>
                      <a:cubicBezTo>
                        <a:pt x="181185" y="81685"/>
                        <a:pt x="181076" y="81685"/>
                        <a:pt x="180990" y="81685"/>
                      </a:cubicBezTo>
                      <a:lnTo>
                        <a:pt x="181027" y="81139"/>
                      </a:lnTo>
                      <a:lnTo>
                        <a:pt x="179242" y="79245"/>
                      </a:lnTo>
                      <a:cubicBezTo>
                        <a:pt x="178380" y="78322"/>
                        <a:pt x="177299" y="77168"/>
                        <a:pt x="177044" y="76695"/>
                      </a:cubicBezTo>
                      <a:cubicBezTo>
                        <a:pt x="176983" y="76573"/>
                        <a:pt x="176947" y="75942"/>
                        <a:pt x="176898" y="75286"/>
                      </a:cubicBezTo>
                      <a:cubicBezTo>
                        <a:pt x="176789" y="73744"/>
                        <a:pt x="176631" y="71400"/>
                        <a:pt x="175162" y="69081"/>
                      </a:cubicBezTo>
                      <a:cubicBezTo>
                        <a:pt x="172952" y="65633"/>
                        <a:pt x="173535" y="62014"/>
                        <a:pt x="174652" y="56380"/>
                      </a:cubicBezTo>
                      <a:cubicBezTo>
                        <a:pt x="175369" y="52773"/>
                        <a:pt x="176109" y="49033"/>
                        <a:pt x="175805" y="44990"/>
                      </a:cubicBezTo>
                      <a:cubicBezTo>
                        <a:pt x="175490" y="40679"/>
                        <a:pt x="173413" y="37546"/>
                        <a:pt x="171738" y="35032"/>
                      </a:cubicBezTo>
                      <a:cubicBezTo>
                        <a:pt x="170948" y="33830"/>
                        <a:pt x="170195" y="32713"/>
                        <a:pt x="169819" y="31705"/>
                      </a:cubicBezTo>
                      <a:cubicBezTo>
                        <a:pt x="169260" y="30236"/>
                        <a:pt x="169552" y="28184"/>
                        <a:pt x="169880" y="25804"/>
                      </a:cubicBezTo>
                      <a:cubicBezTo>
                        <a:pt x="170426" y="21906"/>
                        <a:pt x="171094" y="17049"/>
                        <a:pt x="168301" y="12204"/>
                      </a:cubicBezTo>
                      <a:lnTo>
                        <a:pt x="166795" y="9605"/>
                      </a:lnTo>
                      <a:lnTo>
                        <a:pt x="163820" y="9216"/>
                      </a:lnTo>
                      <a:lnTo>
                        <a:pt x="160870" y="8852"/>
                      </a:lnTo>
                      <a:cubicBezTo>
                        <a:pt x="156510" y="8342"/>
                        <a:pt x="151544" y="7784"/>
                        <a:pt x="148605" y="6120"/>
                      </a:cubicBezTo>
                      <a:cubicBezTo>
                        <a:pt x="148059" y="5804"/>
                        <a:pt x="147938" y="5671"/>
                        <a:pt x="147500" y="5185"/>
                      </a:cubicBezTo>
                      <a:cubicBezTo>
                        <a:pt x="146274" y="3789"/>
                        <a:pt x="144805" y="2331"/>
                        <a:pt x="141599" y="1226"/>
                      </a:cubicBezTo>
                      <a:cubicBezTo>
                        <a:pt x="138806" y="316"/>
                        <a:pt x="134228" y="0"/>
                        <a:pt x="131800" y="0"/>
                      </a:cubicBezTo>
                      <a:lnTo>
                        <a:pt x="131800" y="0"/>
                      </a:lnTo>
                      <a:close/>
                    </a:path>
                  </a:pathLst>
                </a:custGeom>
                <a:solidFill>
                  <a:srgbClr val="FFFFFF"/>
                </a:solidFill>
                <a:ln w="12138" cap="flat">
                  <a:noFill/>
                  <a:prstDash val="solid"/>
                  <a:miter/>
                </a:ln>
              </p:spPr>
              <p:txBody>
                <a:bodyPr rtlCol="0" anchor="ctr"/>
                <a:lstStyle/>
                <a:p>
                  <a:endParaRPr lang="en-US"/>
                </a:p>
              </p:txBody>
            </p:sp>
          </p:grpSp>
          <p:grpSp>
            <p:nvGrpSpPr>
              <p:cNvPr id="280" name="Graphic 280">
                <a:extLst>
                  <a:ext uri="{FF2B5EF4-FFF2-40B4-BE49-F238E27FC236}">
                    <a16:creationId xmlns:a16="http://schemas.microsoft.com/office/drawing/2014/main" id="{C86C24F8-5984-4AD6-AE80-EFC9EF5C1795}"/>
                  </a:ext>
                </a:extLst>
              </p:cNvPr>
              <p:cNvGrpSpPr/>
              <p:nvPr/>
            </p:nvGrpSpPr>
            <p:grpSpPr>
              <a:xfrm>
                <a:off x="8015664" y="2981838"/>
                <a:ext cx="350433" cy="408306"/>
                <a:chOff x="8015664" y="2981838"/>
                <a:chExt cx="350433" cy="408306"/>
              </a:xfrm>
            </p:grpSpPr>
            <p:sp>
              <p:nvSpPr>
                <p:cNvPr id="290" name="Freeform: Shape 289">
                  <a:extLst>
                    <a:ext uri="{FF2B5EF4-FFF2-40B4-BE49-F238E27FC236}">
                      <a16:creationId xmlns:a16="http://schemas.microsoft.com/office/drawing/2014/main" id="{F08FA0F0-C93F-478E-B785-99FD55A32C9B}"/>
                    </a:ext>
                  </a:extLst>
                </p:cNvPr>
                <p:cNvSpPr/>
                <p:nvPr/>
              </p:nvSpPr>
              <p:spPr>
                <a:xfrm>
                  <a:off x="8020838" y="2984850"/>
                  <a:ext cx="341204" cy="402186"/>
                </a:xfrm>
                <a:custGeom>
                  <a:avLst/>
                  <a:gdLst>
                    <a:gd name="connsiteX0" fmla="*/ 204669 w 341204"/>
                    <a:gd name="connsiteY0" fmla="*/ 401871 h 402186"/>
                    <a:gd name="connsiteX1" fmla="*/ 201208 w 341204"/>
                    <a:gd name="connsiteY1" fmla="*/ 397960 h 402186"/>
                    <a:gd name="connsiteX2" fmla="*/ 198318 w 341204"/>
                    <a:gd name="connsiteY2" fmla="*/ 394063 h 402186"/>
                    <a:gd name="connsiteX3" fmla="*/ 195902 w 341204"/>
                    <a:gd name="connsiteY3" fmla="*/ 392302 h 402186"/>
                    <a:gd name="connsiteX4" fmla="*/ 185604 w 341204"/>
                    <a:gd name="connsiteY4" fmla="*/ 386801 h 402186"/>
                    <a:gd name="connsiteX5" fmla="*/ 182204 w 341204"/>
                    <a:gd name="connsiteY5" fmla="*/ 386340 h 402186"/>
                    <a:gd name="connsiteX6" fmla="*/ 175587 w 341204"/>
                    <a:gd name="connsiteY6" fmla="*/ 384737 h 402186"/>
                    <a:gd name="connsiteX7" fmla="*/ 169892 w 341204"/>
                    <a:gd name="connsiteY7" fmla="*/ 382612 h 402186"/>
                    <a:gd name="connsiteX8" fmla="*/ 164828 w 341204"/>
                    <a:gd name="connsiteY8" fmla="*/ 381470 h 402186"/>
                    <a:gd name="connsiteX9" fmla="*/ 150135 w 341204"/>
                    <a:gd name="connsiteY9" fmla="*/ 383462 h 402186"/>
                    <a:gd name="connsiteX10" fmla="*/ 144695 w 341204"/>
                    <a:gd name="connsiteY10" fmla="*/ 380912 h 402186"/>
                    <a:gd name="connsiteX11" fmla="*/ 137409 w 341204"/>
                    <a:gd name="connsiteY11" fmla="*/ 371185 h 402186"/>
                    <a:gd name="connsiteX12" fmla="*/ 132261 w 341204"/>
                    <a:gd name="connsiteY12" fmla="*/ 369437 h 402186"/>
                    <a:gd name="connsiteX13" fmla="*/ 123409 w 341204"/>
                    <a:gd name="connsiteY13" fmla="*/ 368453 h 402186"/>
                    <a:gd name="connsiteX14" fmla="*/ 115661 w 341204"/>
                    <a:gd name="connsiteY14" fmla="*/ 368866 h 402186"/>
                    <a:gd name="connsiteX15" fmla="*/ 112723 w 341204"/>
                    <a:gd name="connsiteY15" fmla="*/ 370615 h 402186"/>
                    <a:gd name="connsiteX16" fmla="*/ 112589 w 341204"/>
                    <a:gd name="connsiteY16" fmla="*/ 371052 h 402186"/>
                    <a:gd name="connsiteX17" fmla="*/ 111788 w 341204"/>
                    <a:gd name="connsiteY17" fmla="*/ 372922 h 402186"/>
                    <a:gd name="connsiteX18" fmla="*/ 110573 w 341204"/>
                    <a:gd name="connsiteY18" fmla="*/ 374743 h 402186"/>
                    <a:gd name="connsiteX19" fmla="*/ 108485 w 341204"/>
                    <a:gd name="connsiteY19" fmla="*/ 376759 h 402186"/>
                    <a:gd name="connsiteX20" fmla="*/ 104283 w 341204"/>
                    <a:gd name="connsiteY20" fmla="*/ 377791 h 402186"/>
                    <a:gd name="connsiteX21" fmla="*/ 101964 w 341204"/>
                    <a:gd name="connsiteY21" fmla="*/ 375666 h 402186"/>
                    <a:gd name="connsiteX22" fmla="*/ 101332 w 341204"/>
                    <a:gd name="connsiteY22" fmla="*/ 374816 h 402186"/>
                    <a:gd name="connsiteX23" fmla="*/ 99633 w 341204"/>
                    <a:gd name="connsiteY23" fmla="*/ 375399 h 402186"/>
                    <a:gd name="connsiteX24" fmla="*/ 93768 w 341204"/>
                    <a:gd name="connsiteY24" fmla="*/ 378750 h 402186"/>
                    <a:gd name="connsiteX25" fmla="*/ 89141 w 341204"/>
                    <a:gd name="connsiteY25" fmla="*/ 379115 h 402186"/>
                    <a:gd name="connsiteX26" fmla="*/ 83871 w 341204"/>
                    <a:gd name="connsiteY26" fmla="*/ 378447 h 402186"/>
                    <a:gd name="connsiteX27" fmla="*/ 81297 w 341204"/>
                    <a:gd name="connsiteY27" fmla="*/ 375204 h 402186"/>
                    <a:gd name="connsiteX28" fmla="*/ 80714 w 341204"/>
                    <a:gd name="connsiteY28" fmla="*/ 372946 h 402186"/>
                    <a:gd name="connsiteX29" fmla="*/ 79973 w 341204"/>
                    <a:gd name="connsiteY29" fmla="*/ 356468 h 402186"/>
                    <a:gd name="connsiteX30" fmla="*/ 80568 w 341204"/>
                    <a:gd name="connsiteY30" fmla="*/ 352910 h 402186"/>
                    <a:gd name="connsiteX31" fmla="*/ 79572 w 341204"/>
                    <a:gd name="connsiteY31" fmla="*/ 350008 h 402186"/>
                    <a:gd name="connsiteX32" fmla="*/ 78941 w 341204"/>
                    <a:gd name="connsiteY32" fmla="*/ 347956 h 402186"/>
                    <a:gd name="connsiteX33" fmla="*/ 75808 w 341204"/>
                    <a:gd name="connsiteY33" fmla="*/ 346049 h 402186"/>
                    <a:gd name="connsiteX34" fmla="*/ 73088 w 341204"/>
                    <a:gd name="connsiteY34" fmla="*/ 343936 h 402186"/>
                    <a:gd name="connsiteX35" fmla="*/ 68789 w 341204"/>
                    <a:gd name="connsiteY35" fmla="*/ 341763 h 402186"/>
                    <a:gd name="connsiteX36" fmla="*/ 61674 w 341204"/>
                    <a:gd name="connsiteY36" fmla="*/ 337719 h 402186"/>
                    <a:gd name="connsiteX37" fmla="*/ 58990 w 341204"/>
                    <a:gd name="connsiteY37" fmla="*/ 328333 h 402186"/>
                    <a:gd name="connsiteX38" fmla="*/ 56064 w 341204"/>
                    <a:gd name="connsiteY38" fmla="*/ 325188 h 402186"/>
                    <a:gd name="connsiteX39" fmla="*/ 46738 w 341204"/>
                    <a:gd name="connsiteY39" fmla="*/ 323888 h 402186"/>
                    <a:gd name="connsiteX40" fmla="*/ 46641 w 341204"/>
                    <a:gd name="connsiteY40" fmla="*/ 323888 h 402186"/>
                    <a:gd name="connsiteX41" fmla="*/ 45269 w 341204"/>
                    <a:gd name="connsiteY41" fmla="*/ 324010 h 402186"/>
                    <a:gd name="connsiteX42" fmla="*/ 43107 w 341204"/>
                    <a:gd name="connsiteY42" fmla="*/ 324204 h 402186"/>
                    <a:gd name="connsiteX43" fmla="*/ 37497 w 341204"/>
                    <a:gd name="connsiteY43" fmla="*/ 323791 h 402186"/>
                    <a:gd name="connsiteX44" fmla="*/ 36659 w 341204"/>
                    <a:gd name="connsiteY44" fmla="*/ 325054 h 402186"/>
                    <a:gd name="connsiteX45" fmla="*/ 34255 w 341204"/>
                    <a:gd name="connsiteY45" fmla="*/ 327191 h 402186"/>
                    <a:gd name="connsiteX46" fmla="*/ 32592 w 341204"/>
                    <a:gd name="connsiteY46" fmla="*/ 328187 h 402186"/>
                    <a:gd name="connsiteX47" fmla="*/ 30552 w 341204"/>
                    <a:gd name="connsiteY47" fmla="*/ 329414 h 402186"/>
                    <a:gd name="connsiteX48" fmla="*/ 25039 w 341204"/>
                    <a:gd name="connsiteY48" fmla="*/ 331587 h 402186"/>
                    <a:gd name="connsiteX49" fmla="*/ 22659 w 341204"/>
                    <a:gd name="connsiteY49" fmla="*/ 331502 h 402186"/>
                    <a:gd name="connsiteX50" fmla="*/ 15834 w 341204"/>
                    <a:gd name="connsiteY50" fmla="*/ 329462 h 402186"/>
                    <a:gd name="connsiteX51" fmla="*/ 13163 w 341204"/>
                    <a:gd name="connsiteY51" fmla="*/ 325394 h 402186"/>
                    <a:gd name="connsiteX52" fmla="*/ 10163 w 341204"/>
                    <a:gd name="connsiteY52" fmla="*/ 321399 h 402186"/>
                    <a:gd name="connsiteX53" fmla="*/ 9107 w 341204"/>
                    <a:gd name="connsiteY53" fmla="*/ 316591 h 402186"/>
                    <a:gd name="connsiteX54" fmla="*/ 8767 w 341204"/>
                    <a:gd name="connsiteY54" fmla="*/ 314623 h 402186"/>
                    <a:gd name="connsiteX55" fmla="*/ 7031 w 341204"/>
                    <a:gd name="connsiteY55" fmla="*/ 295292 h 402186"/>
                    <a:gd name="connsiteX56" fmla="*/ 8026 w 341204"/>
                    <a:gd name="connsiteY56" fmla="*/ 286367 h 402186"/>
                    <a:gd name="connsiteX57" fmla="*/ 5452 w 341204"/>
                    <a:gd name="connsiteY57" fmla="*/ 280745 h 402186"/>
                    <a:gd name="connsiteX58" fmla="*/ 2598 w 341204"/>
                    <a:gd name="connsiteY58" fmla="*/ 275572 h 402186"/>
                    <a:gd name="connsiteX59" fmla="*/ 2161 w 341204"/>
                    <a:gd name="connsiteY59" fmla="*/ 265226 h 402186"/>
                    <a:gd name="connsiteX60" fmla="*/ 2258 w 341204"/>
                    <a:gd name="connsiteY60" fmla="*/ 258681 h 402186"/>
                    <a:gd name="connsiteX61" fmla="*/ 0 w 341204"/>
                    <a:gd name="connsiteY61" fmla="*/ 258377 h 402186"/>
                    <a:gd name="connsiteX62" fmla="*/ 704 w 341204"/>
                    <a:gd name="connsiteY62" fmla="*/ 254625 h 402186"/>
                    <a:gd name="connsiteX63" fmla="*/ 2793 w 341204"/>
                    <a:gd name="connsiteY63" fmla="*/ 249683 h 402186"/>
                    <a:gd name="connsiteX64" fmla="*/ 2222 w 341204"/>
                    <a:gd name="connsiteY64" fmla="*/ 246963 h 402186"/>
                    <a:gd name="connsiteX65" fmla="*/ 1809 w 341204"/>
                    <a:gd name="connsiteY65" fmla="*/ 241766 h 402186"/>
                    <a:gd name="connsiteX66" fmla="*/ 9204 w 341204"/>
                    <a:gd name="connsiteY66" fmla="*/ 232537 h 402186"/>
                    <a:gd name="connsiteX67" fmla="*/ 14486 w 341204"/>
                    <a:gd name="connsiteY67" fmla="*/ 216314 h 402186"/>
                    <a:gd name="connsiteX68" fmla="*/ 14450 w 341204"/>
                    <a:gd name="connsiteY68" fmla="*/ 213072 h 402186"/>
                    <a:gd name="connsiteX69" fmla="*/ 14438 w 341204"/>
                    <a:gd name="connsiteY69" fmla="*/ 208118 h 402186"/>
                    <a:gd name="connsiteX70" fmla="*/ 15944 w 341204"/>
                    <a:gd name="connsiteY70" fmla="*/ 198768 h 402186"/>
                    <a:gd name="connsiteX71" fmla="*/ 17267 w 341204"/>
                    <a:gd name="connsiteY71" fmla="*/ 191749 h 402186"/>
                    <a:gd name="connsiteX72" fmla="*/ 19283 w 341204"/>
                    <a:gd name="connsiteY72" fmla="*/ 188410 h 402186"/>
                    <a:gd name="connsiteX73" fmla="*/ 20242 w 341204"/>
                    <a:gd name="connsiteY73" fmla="*/ 187244 h 402186"/>
                    <a:gd name="connsiteX74" fmla="*/ 21311 w 341204"/>
                    <a:gd name="connsiteY74" fmla="*/ 185483 h 402186"/>
                    <a:gd name="connsiteX75" fmla="*/ 23363 w 341204"/>
                    <a:gd name="connsiteY75" fmla="*/ 182484 h 402186"/>
                    <a:gd name="connsiteX76" fmla="*/ 28803 w 341204"/>
                    <a:gd name="connsiteY76" fmla="*/ 176388 h 402186"/>
                    <a:gd name="connsiteX77" fmla="*/ 30600 w 341204"/>
                    <a:gd name="connsiteY77" fmla="*/ 174688 h 402186"/>
                    <a:gd name="connsiteX78" fmla="*/ 38614 w 341204"/>
                    <a:gd name="connsiteY78" fmla="*/ 166832 h 402186"/>
                    <a:gd name="connsiteX79" fmla="*/ 44929 w 341204"/>
                    <a:gd name="connsiteY79" fmla="*/ 158902 h 402186"/>
                    <a:gd name="connsiteX80" fmla="*/ 47515 w 341204"/>
                    <a:gd name="connsiteY80" fmla="*/ 149795 h 402186"/>
                    <a:gd name="connsiteX81" fmla="*/ 48669 w 341204"/>
                    <a:gd name="connsiteY81" fmla="*/ 143299 h 402186"/>
                    <a:gd name="connsiteX82" fmla="*/ 53453 w 341204"/>
                    <a:gd name="connsiteY82" fmla="*/ 127646 h 402186"/>
                    <a:gd name="connsiteX83" fmla="*/ 74108 w 341204"/>
                    <a:gd name="connsiteY83" fmla="*/ 92808 h 402186"/>
                    <a:gd name="connsiteX84" fmla="*/ 77326 w 341204"/>
                    <a:gd name="connsiteY84" fmla="*/ 89845 h 402186"/>
                    <a:gd name="connsiteX85" fmla="*/ 81710 w 341204"/>
                    <a:gd name="connsiteY85" fmla="*/ 85328 h 402186"/>
                    <a:gd name="connsiteX86" fmla="*/ 81807 w 341204"/>
                    <a:gd name="connsiteY86" fmla="*/ 82487 h 402186"/>
                    <a:gd name="connsiteX87" fmla="*/ 84636 w 341204"/>
                    <a:gd name="connsiteY87" fmla="*/ 82450 h 402186"/>
                    <a:gd name="connsiteX88" fmla="*/ 98224 w 341204"/>
                    <a:gd name="connsiteY88" fmla="*/ 82025 h 402186"/>
                    <a:gd name="connsiteX89" fmla="*/ 101806 w 341204"/>
                    <a:gd name="connsiteY89" fmla="*/ 82147 h 402186"/>
                    <a:gd name="connsiteX90" fmla="*/ 105789 w 341204"/>
                    <a:gd name="connsiteY90" fmla="*/ 82110 h 402186"/>
                    <a:gd name="connsiteX91" fmla="*/ 108497 w 341204"/>
                    <a:gd name="connsiteY91" fmla="*/ 82196 h 402186"/>
                    <a:gd name="connsiteX92" fmla="*/ 112735 w 341204"/>
                    <a:gd name="connsiteY92" fmla="*/ 82523 h 402186"/>
                    <a:gd name="connsiteX93" fmla="*/ 119778 w 341204"/>
                    <a:gd name="connsiteY93" fmla="*/ 85389 h 402186"/>
                    <a:gd name="connsiteX94" fmla="*/ 123785 w 341204"/>
                    <a:gd name="connsiteY94" fmla="*/ 87162 h 402186"/>
                    <a:gd name="connsiteX95" fmla="*/ 123834 w 341204"/>
                    <a:gd name="connsiteY95" fmla="*/ 87162 h 402186"/>
                    <a:gd name="connsiteX96" fmla="*/ 129686 w 341204"/>
                    <a:gd name="connsiteY96" fmla="*/ 85875 h 402186"/>
                    <a:gd name="connsiteX97" fmla="*/ 131314 w 341204"/>
                    <a:gd name="connsiteY97" fmla="*/ 83507 h 402186"/>
                    <a:gd name="connsiteX98" fmla="*/ 132042 w 341204"/>
                    <a:gd name="connsiteY98" fmla="*/ 81005 h 402186"/>
                    <a:gd name="connsiteX99" fmla="*/ 138199 w 341204"/>
                    <a:gd name="connsiteY99" fmla="*/ 73003 h 402186"/>
                    <a:gd name="connsiteX100" fmla="*/ 139401 w 341204"/>
                    <a:gd name="connsiteY100" fmla="*/ 71303 h 402186"/>
                    <a:gd name="connsiteX101" fmla="*/ 143274 w 341204"/>
                    <a:gd name="connsiteY101" fmla="*/ 66786 h 402186"/>
                    <a:gd name="connsiteX102" fmla="*/ 147658 w 341204"/>
                    <a:gd name="connsiteY102" fmla="*/ 62913 h 402186"/>
                    <a:gd name="connsiteX103" fmla="*/ 148654 w 341204"/>
                    <a:gd name="connsiteY103" fmla="*/ 59124 h 402186"/>
                    <a:gd name="connsiteX104" fmla="*/ 150427 w 341204"/>
                    <a:gd name="connsiteY104" fmla="*/ 55857 h 402186"/>
                    <a:gd name="connsiteX105" fmla="*/ 150803 w 341204"/>
                    <a:gd name="connsiteY105" fmla="*/ 52894 h 402186"/>
                    <a:gd name="connsiteX106" fmla="*/ 151653 w 341204"/>
                    <a:gd name="connsiteY106" fmla="*/ 47649 h 402186"/>
                    <a:gd name="connsiteX107" fmla="*/ 152102 w 341204"/>
                    <a:gd name="connsiteY107" fmla="*/ 46022 h 402186"/>
                    <a:gd name="connsiteX108" fmla="*/ 156935 w 341204"/>
                    <a:gd name="connsiteY108" fmla="*/ 37667 h 402186"/>
                    <a:gd name="connsiteX109" fmla="*/ 159594 w 341204"/>
                    <a:gd name="connsiteY109" fmla="*/ 35385 h 402186"/>
                    <a:gd name="connsiteX110" fmla="*/ 161865 w 341204"/>
                    <a:gd name="connsiteY110" fmla="*/ 33466 h 402186"/>
                    <a:gd name="connsiteX111" fmla="*/ 162982 w 341204"/>
                    <a:gd name="connsiteY111" fmla="*/ 32337 h 402186"/>
                    <a:gd name="connsiteX112" fmla="*/ 164622 w 341204"/>
                    <a:gd name="connsiteY112" fmla="*/ 30734 h 402186"/>
                    <a:gd name="connsiteX113" fmla="*/ 169916 w 341204"/>
                    <a:gd name="connsiteY113" fmla="*/ 29179 h 402186"/>
                    <a:gd name="connsiteX114" fmla="*/ 174057 w 341204"/>
                    <a:gd name="connsiteY114" fmla="*/ 29446 h 402186"/>
                    <a:gd name="connsiteX115" fmla="*/ 177360 w 341204"/>
                    <a:gd name="connsiteY115" fmla="*/ 29702 h 402186"/>
                    <a:gd name="connsiteX116" fmla="*/ 178890 w 341204"/>
                    <a:gd name="connsiteY116" fmla="*/ 29070 h 402186"/>
                    <a:gd name="connsiteX117" fmla="*/ 183965 w 341204"/>
                    <a:gd name="connsiteY117" fmla="*/ 27783 h 402186"/>
                    <a:gd name="connsiteX118" fmla="*/ 186795 w 341204"/>
                    <a:gd name="connsiteY118" fmla="*/ 27819 h 402186"/>
                    <a:gd name="connsiteX119" fmla="*/ 193242 w 341204"/>
                    <a:gd name="connsiteY119" fmla="*/ 28560 h 402186"/>
                    <a:gd name="connsiteX120" fmla="*/ 193498 w 341204"/>
                    <a:gd name="connsiteY120" fmla="*/ 28657 h 402186"/>
                    <a:gd name="connsiteX121" fmla="*/ 194457 w 341204"/>
                    <a:gd name="connsiteY121" fmla="*/ 29228 h 402186"/>
                    <a:gd name="connsiteX122" fmla="*/ 196570 w 341204"/>
                    <a:gd name="connsiteY122" fmla="*/ 29969 h 402186"/>
                    <a:gd name="connsiteX123" fmla="*/ 212793 w 341204"/>
                    <a:gd name="connsiteY123" fmla="*/ 31232 h 402186"/>
                    <a:gd name="connsiteX124" fmla="*/ 214942 w 341204"/>
                    <a:gd name="connsiteY124" fmla="*/ 31341 h 402186"/>
                    <a:gd name="connsiteX125" fmla="*/ 224061 w 341204"/>
                    <a:gd name="connsiteY125" fmla="*/ 32810 h 402186"/>
                    <a:gd name="connsiteX126" fmla="*/ 228105 w 341204"/>
                    <a:gd name="connsiteY126" fmla="*/ 36319 h 402186"/>
                    <a:gd name="connsiteX127" fmla="*/ 230133 w 341204"/>
                    <a:gd name="connsiteY127" fmla="*/ 37024 h 402186"/>
                    <a:gd name="connsiteX128" fmla="*/ 230776 w 341204"/>
                    <a:gd name="connsiteY128" fmla="*/ 37072 h 402186"/>
                    <a:gd name="connsiteX129" fmla="*/ 231347 w 341204"/>
                    <a:gd name="connsiteY129" fmla="*/ 37364 h 402186"/>
                    <a:gd name="connsiteX130" fmla="*/ 234334 w 341204"/>
                    <a:gd name="connsiteY130" fmla="*/ 37971 h 402186"/>
                    <a:gd name="connsiteX131" fmla="*/ 235002 w 341204"/>
                    <a:gd name="connsiteY131" fmla="*/ 38019 h 402186"/>
                    <a:gd name="connsiteX132" fmla="*/ 235597 w 341204"/>
                    <a:gd name="connsiteY132" fmla="*/ 38347 h 402186"/>
                    <a:gd name="connsiteX133" fmla="*/ 238924 w 341204"/>
                    <a:gd name="connsiteY133" fmla="*/ 40946 h 402186"/>
                    <a:gd name="connsiteX134" fmla="*/ 250254 w 341204"/>
                    <a:gd name="connsiteY134" fmla="*/ 43047 h 402186"/>
                    <a:gd name="connsiteX135" fmla="*/ 253144 w 341204"/>
                    <a:gd name="connsiteY135" fmla="*/ 43241 h 402186"/>
                    <a:gd name="connsiteX136" fmla="*/ 255645 w 341204"/>
                    <a:gd name="connsiteY136" fmla="*/ 43557 h 402186"/>
                    <a:gd name="connsiteX137" fmla="*/ 259810 w 341204"/>
                    <a:gd name="connsiteY137" fmla="*/ 43994 h 402186"/>
                    <a:gd name="connsiteX138" fmla="*/ 263672 w 341204"/>
                    <a:gd name="connsiteY138" fmla="*/ 43071 h 402186"/>
                    <a:gd name="connsiteX139" fmla="*/ 267327 w 341204"/>
                    <a:gd name="connsiteY139" fmla="*/ 41966 h 402186"/>
                    <a:gd name="connsiteX140" fmla="*/ 269622 w 341204"/>
                    <a:gd name="connsiteY140" fmla="*/ 41589 h 402186"/>
                    <a:gd name="connsiteX141" fmla="*/ 270217 w 341204"/>
                    <a:gd name="connsiteY141" fmla="*/ 41067 h 402186"/>
                    <a:gd name="connsiteX142" fmla="*/ 273568 w 341204"/>
                    <a:gd name="connsiteY142" fmla="*/ 38833 h 402186"/>
                    <a:gd name="connsiteX143" fmla="*/ 278377 w 341204"/>
                    <a:gd name="connsiteY143" fmla="*/ 36623 h 402186"/>
                    <a:gd name="connsiteX144" fmla="*/ 280672 w 341204"/>
                    <a:gd name="connsiteY144" fmla="*/ 35749 h 402186"/>
                    <a:gd name="connsiteX145" fmla="*/ 282688 w 341204"/>
                    <a:gd name="connsiteY145" fmla="*/ 32385 h 402186"/>
                    <a:gd name="connsiteX146" fmla="*/ 283185 w 341204"/>
                    <a:gd name="connsiteY146" fmla="*/ 30843 h 402186"/>
                    <a:gd name="connsiteX147" fmla="*/ 284934 w 341204"/>
                    <a:gd name="connsiteY147" fmla="*/ 25779 h 402186"/>
                    <a:gd name="connsiteX148" fmla="*/ 285905 w 341204"/>
                    <a:gd name="connsiteY148" fmla="*/ 23533 h 402186"/>
                    <a:gd name="connsiteX149" fmla="*/ 288492 w 341204"/>
                    <a:gd name="connsiteY149" fmla="*/ 18749 h 402186"/>
                    <a:gd name="connsiteX150" fmla="*/ 290301 w 341204"/>
                    <a:gd name="connsiteY150" fmla="*/ 15215 h 402186"/>
                    <a:gd name="connsiteX151" fmla="*/ 291855 w 341204"/>
                    <a:gd name="connsiteY151" fmla="*/ 12932 h 402186"/>
                    <a:gd name="connsiteX152" fmla="*/ 294199 w 341204"/>
                    <a:gd name="connsiteY152" fmla="*/ 9010 h 402186"/>
                    <a:gd name="connsiteX153" fmla="*/ 301157 w 341204"/>
                    <a:gd name="connsiteY153" fmla="*/ 1918 h 402186"/>
                    <a:gd name="connsiteX154" fmla="*/ 310422 w 341204"/>
                    <a:gd name="connsiteY154" fmla="*/ 0 h 402186"/>
                    <a:gd name="connsiteX155" fmla="*/ 312729 w 341204"/>
                    <a:gd name="connsiteY155" fmla="*/ 97 h 402186"/>
                    <a:gd name="connsiteX156" fmla="*/ 319905 w 341204"/>
                    <a:gd name="connsiteY156" fmla="*/ 4359 h 402186"/>
                    <a:gd name="connsiteX157" fmla="*/ 320743 w 341204"/>
                    <a:gd name="connsiteY157" fmla="*/ 5282 h 402186"/>
                    <a:gd name="connsiteX158" fmla="*/ 323743 w 341204"/>
                    <a:gd name="connsiteY158" fmla="*/ 15397 h 402186"/>
                    <a:gd name="connsiteX159" fmla="*/ 323354 w 341204"/>
                    <a:gd name="connsiteY159" fmla="*/ 16672 h 402186"/>
                    <a:gd name="connsiteX160" fmla="*/ 321763 w 341204"/>
                    <a:gd name="connsiteY160" fmla="*/ 23387 h 402186"/>
                    <a:gd name="connsiteX161" fmla="*/ 319444 w 341204"/>
                    <a:gd name="connsiteY161" fmla="*/ 28414 h 402186"/>
                    <a:gd name="connsiteX162" fmla="*/ 318279 w 341204"/>
                    <a:gd name="connsiteY162" fmla="*/ 30199 h 402186"/>
                    <a:gd name="connsiteX163" fmla="*/ 318011 w 341204"/>
                    <a:gd name="connsiteY163" fmla="*/ 35008 h 402186"/>
                    <a:gd name="connsiteX164" fmla="*/ 317647 w 341204"/>
                    <a:gd name="connsiteY164" fmla="*/ 37825 h 402186"/>
                    <a:gd name="connsiteX165" fmla="*/ 317307 w 341204"/>
                    <a:gd name="connsiteY165" fmla="*/ 43107 h 402186"/>
                    <a:gd name="connsiteX166" fmla="*/ 318970 w 341204"/>
                    <a:gd name="connsiteY166" fmla="*/ 44492 h 402186"/>
                    <a:gd name="connsiteX167" fmla="*/ 321096 w 341204"/>
                    <a:gd name="connsiteY167" fmla="*/ 46216 h 402186"/>
                    <a:gd name="connsiteX168" fmla="*/ 322225 w 341204"/>
                    <a:gd name="connsiteY168" fmla="*/ 47090 h 402186"/>
                    <a:gd name="connsiteX169" fmla="*/ 327810 w 341204"/>
                    <a:gd name="connsiteY169" fmla="*/ 50430 h 402186"/>
                    <a:gd name="connsiteX170" fmla="*/ 328539 w 341204"/>
                    <a:gd name="connsiteY170" fmla="*/ 50624 h 402186"/>
                    <a:gd name="connsiteX171" fmla="*/ 341204 w 341204"/>
                    <a:gd name="connsiteY171" fmla="*/ 62220 h 402186"/>
                    <a:gd name="connsiteX172" fmla="*/ 336699 w 341204"/>
                    <a:gd name="connsiteY172" fmla="*/ 69336 h 402186"/>
                    <a:gd name="connsiteX173" fmla="*/ 332668 w 341204"/>
                    <a:gd name="connsiteY173" fmla="*/ 72700 h 402186"/>
                    <a:gd name="connsiteX174" fmla="*/ 328151 w 341204"/>
                    <a:gd name="connsiteY174" fmla="*/ 74242 h 402186"/>
                    <a:gd name="connsiteX175" fmla="*/ 321181 w 341204"/>
                    <a:gd name="connsiteY175" fmla="*/ 75104 h 402186"/>
                    <a:gd name="connsiteX176" fmla="*/ 318218 w 341204"/>
                    <a:gd name="connsiteY176" fmla="*/ 76233 h 402186"/>
                    <a:gd name="connsiteX177" fmla="*/ 312839 w 341204"/>
                    <a:gd name="connsiteY177" fmla="*/ 80034 h 402186"/>
                    <a:gd name="connsiteX178" fmla="*/ 311576 w 341204"/>
                    <a:gd name="connsiteY178" fmla="*/ 81406 h 402186"/>
                    <a:gd name="connsiteX179" fmla="*/ 307848 w 341204"/>
                    <a:gd name="connsiteY179" fmla="*/ 85256 h 402186"/>
                    <a:gd name="connsiteX180" fmla="*/ 304010 w 341204"/>
                    <a:gd name="connsiteY180" fmla="*/ 91327 h 402186"/>
                    <a:gd name="connsiteX181" fmla="*/ 293689 w 341204"/>
                    <a:gd name="connsiteY181" fmla="*/ 119972 h 402186"/>
                    <a:gd name="connsiteX182" fmla="*/ 294162 w 341204"/>
                    <a:gd name="connsiteY182" fmla="*/ 126712 h 402186"/>
                    <a:gd name="connsiteX183" fmla="*/ 297514 w 341204"/>
                    <a:gd name="connsiteY183" fmla="*/ 131338 h 402186"/>
                    <a:gd name="connsiteX184" fmla="*/ 303416 w 341204"/>
                    <a:gd name="connsiteY184" fmla="*/ 133463 h 402186"/>
                    <a:gd name="connsiteX185" fmla="*/ 310543 w 341204"/>
                    <a:gd name="connsiteY185" fmla="*/ 134799 h 402186"/>
                    <a:gd name="connsiteX186" fmla="*/ 318837 w 341204"/>
                    <a:gd name="connsiteY186" fmla="*/ 138539 h 402186"/>
                    <a:gd name="connsiteX187" fmla="*/ 322589 w 341204"/>
                    <a:gd name="connsiteY187" fmla="*/ 145096 h 402186"/>
                    <a:gd name="connsiteX188" fmla="*/ 324277 w 341204"/>
                    <a:gd name="connsiteY188" fmla="*/ 154446 h 402186"/>
                    <a:gd name="connsiteX189" fmla="*/ 323245 w 341204"/>
                    <a:gd name="connsiteY189" fmla="*/ 164355 h 402186"/>
                    <a:gd name="connsiteX190" fmla="*/ 319444 w 341204"/>
                    <a:gd name="connsiteY190" fmla="*/ 171033 h 402186"/>
                    <a:gd name="connsiteX191" fmla="*/ 316615 w 341204"/>
                    <a:gd name="connsiteY191" fmla="*/ 174858 h 402186"/>
                    <a:gd name="connsiteX192" fmla="*/ 313251 w 341204"/>
                    <a:gd name="connsiteY192" fmla="*/ 191276 h 402186"/>
                    <a:gd name="connsiteX193" fmla="*/ 309924 w 341204"/>
                    <a:gd name="connsiteY193" fmla="*/ 197408 h 402186"/>
                    <a:gd name="connsiteX194" fmla="*/ 302626 w 341204"/>
                    <a:gd name="connsiteY194" fmla="*/ 207025 h 402186"/>
                    <a:gd name="connsiteX195" fmla="*/ 301667 w 341204"/>
                    <a:gd name="connsiteY195" fmla="*/ 212246 h 402186"/>
                    <a:gd name="connsiteX196" fmla="*/ 301715 w 341204"/>
                    <a:gd name="connsiteY196" fmla="*/ 215258 h 402186"/>
                    <a:gd name="connsiteX197" fmla="*/ 300962 w 341204"/>
                    <a:gd name="connsiteY197" fmla="*/ 219544 h 402186"/>
                    <a:gd name="connsiteX198" fmla="*/ 299263 w 341204"/>
                    <a:gd name="connsiteY198" fmla="*/ 223624 h 402186"/>
                    <a:gd name="connsiteX199" fmla="*/ 296591 w 341204"/>
                    <a:gd name="connsiteY199" fmla="*/ 227049 h 402186"/>
                    <a:gd name="connsiteX200" fmla="*/ 293179 w 341204"/>
                    <a:gd name="connsiteY200" fmla="*/ 229247 h 402186"/>
                    <a:gd name="connsiteX201" fmla="*/ 289755 w 341204"/>
                    <a:gd name="connsiteY201" fmla="*/ 229939 h 402186"/>
                    <a:gd name="connsiteX202" fmla="*/ 286974 w 341204"/>
                    <a:gd name="connsiteY202" fmla="*/ 229939 h 402186"/>
                    <a:gd name="connsiteX203" fmla="*/ 286306 w 341204"/>
                    <a:gd name="connsiteY203" fmla="*/ 230072 h 402186"/>
                    <a:gd name="connsiteX204" fmla="*/ 285444 w 341204"/>
                    <a:gd name="connsiteY204" fmla="*/ 231881 h 402186"/>
                    <a:gd name="connsiteX205" fmla="*/ 281692 w 341204"/>
                    <a:gd name="connsiteY205" fmla="*/ 245069 h 402186"/>
                    <a:gd name="connsiteX206" fmla="*/ 278838 w 341204"/>
                    <a:gd name="connsiteY206" fmla="*/ 250946 h 402186"/>
                    <a:gd name="connsiteX207" fmla="*/ 269719 w 341204"/>
                    <a:gd name="connsiteY207" fmla="*/ 256653 h 402186"/>
                    <a:gd name="connsiteX208" fmla="*/ 268055 w 341204"/>
                    <a:gd name="connsiteY208" fmla="*/ 258377 h 402186"/>
                    <a:gd name="connsiteX209" fmla="*/ 267217 w 341204"/>
                    <a:gd name="connsiteY209" fmla="*/ 260442 h 402186"/>
                    <a:gd name="connsiteX210" fmla="*/ 264546 w 341204"/>
                    <a:gd name="connsiteY210" fmla="*/ 271140 h 402186"/>
                    <a:gd name="connsiteX211" fmla="*/ 260611 w 341204"/>
                    <a:gd name="connsiteY211" fmla="*/ 273532 h 402186"/>
                    <a:gd name="connsiteX212" fmla="*/ 258826 w 341204"/>
                    <a:gd name="connsiteY212" fmla="*/ 275013 h 402186"/>
                    <a:gd name="connsiteX213" fmla="*/ 258669 w 341204"/>
                    <a:gd name="connsiteY213" fmla="*/ 275475 h 402186"/>
                    <a:gd name="connsiteX214" fmla="*/ 258171 w 341204"/>
                    <a:gd name="connsiteY214" fmla="*/ 284145 h 402186"/>
                    <a:gd name="connsiteX215" fmla="*/ 255888 w 341204"/>
                    <a:gd name="connsiteY215" fmla="*/ 287180 h 402186"/>
                    <a:gd name="connsiteX216" fmla="*/ 252901 w 341204"/>
                    <a:gd name="connsiteY216" fmla="*/ 289439 h 402186"/>
                    <a:gd name="connsiteX217" fmla="*/ 252221 w 341204"/>
                    <a:gd name="connsiteY217" fmla="*/ 290240 h 402186"/>
                    <a:gd name="connsiteX218" fmla="*/ 252609 w 341204"/>
                    <a:gd name="connsiteY218" fmla="*/ 293337 h 402186"/>
                    <a:gd name="connsiteX219" fmla="*/ 252464 w 341204"/>
                    <a:gd name="connsiteY219" fmla="*/ 295851 h 402186"/>
                    <a:gd name="connsiteX220" fmla="*/ 252354 w 341204"/>
                    <a:gd name="connsiteY220" fmla="*/ 296737 h 402186"/>
                    <a:gd name="connsiteX221" fmla="*/ 250509 w 341204"/>
                    <a:gd name="connsiteY221" fmla="*/ 299056 h 402186"/>
                    <a:gd name="connsiteX222" fmla="*/ 245943 w 341204"/>
                    <a:gd name="connsiteY222" fmla="*/ 302347 h 402186"/>
                    <a:gd name="connsiteX223" fmla="*/ 245190 w 341204"/>
                    <a:gd name="connsiteY223" fmla="*/ 303464 h 402186"/>
                    <a:gd name="connsiteX224" fmla="*/ 244692 w 341204"/>
                    <a:gd name="connsiteY224" fmla="*/ 305626 h 402186"/>
                    <a:gd name="connsiteX225" fmla="*/ 244267 w 341204"/>
                    <a:gd name="connsiteY225" fmla="*/ 311648 h 402186"/>
                    <a:gd name="connsiteX226" fmla="*/ 243405 w 341204"/>
                    <a:gd name="connsiteY226" fmla="*/ 315413 h 402186"/>
                    <a:gd name="connsiteX227" fmla="*/ 234104 w 341204"/>
                    <a:gd name="connsiteY227" fmla="*/ 337003 h 402186"/>
                    <a:gd name="connsiteX228" fmla="*/ 231978 w 341204"/>
                    <a:gd name="connsiteY228" fmla="*/ 344167 h 402186"/>
                    <a:gd name="connsiteX229" fmla="*/ 231408 w 341204"/>
                    <a:gd name="connsiteY229" fmla="*/ 350736 h 402186"/>
                    <a:gd name="connsiteX230" fmla="*/ 230363 w 341204"/>
                    <a:gd name="connsiteY230" fmla="*/ 355339 h 402186"/>
                    <a:gd name="connsiteX231" fmla="*/ 227898 w 341204"/>
                    <a:gd name="connsiteY231" fmla="*/ 358180 h 402186"/>
                    <a:gd name="connsiteX232" fmla="*/ 227546 w 341204"/>
                    <a:gd name="connsiteY232" fmla="*/ 359322 h 402186"/>
                    <a:gd name="connsiteX233" fmla="*/ 226806 w 341204"/>
                    <a:gd name="connsiteY233" fmla="*/ 366110 h 402186"/>
                    <a:gd name="connsiteX234" fmla="*/ 225895 w 341204"/>
                    <a:gd name="connsiteY234" fmla="*/ 369935 h 402186"/>
                    <a:gd name="connsiteX235" fmla="*/ 217031 w 341204"/>
                    <a:gd name="connsiteY235" fmla="*/ 381616 h 402186"/>
                    <a:gd name="connsiteX236" fmla="*/ 215525 w 341204"/>
                    <a:gd name="connsiteY236" fmla="*/ 385004 h 402186"/>
                    <a:gd name="connsiteX237" fmla="*/ 215500 w 341204"/>
                    <a:gd name="connsiteY237" fmla="*/ 387906 h 402186"/>
                    <a:gd name="connsiteX238" fmla="*/ 215792 w 341204"/>
                    <a:gd name="connsiteY238" fmla="*/ 391804 h 402186"/>
                    <a:gd name="connsiteX239" fmla="*/ 215051 w 341204"/>
                    <a:gd name="connsiteY239" fmla="*/ 397426 h 402186"/>
                    <a:gd name="connsiteX240" fmla="*/ 210546 w 341204"/>
                    <a:gd name="connsiteY240" fmla="*/ 402186 h 402186"/>
                    <a:gd name="connsiteX241" fmla="*/ 204669 w 341204"/>
                    <a:gd name="connsiteY241" fmla="*/ 401871 h 40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Lst>
                  <a:rect l="l" t="t" r="r" b="b"/>
                  <a:pathLst>
                    <a:path w="341204" h="402186">
                      <a:moveTo>
                        <a:pt x="204669" y="401871"/>
                      </a:moveTo>
                      <a:lnTo>
                        <a:pt x="201208" y="397960"/>
                      </a:lnTo>
                      <a:lnTo>
                        <a:pt x="198318" y="394063"/>
                      </a:lnTo>
                      <a:lnTo>
                        <a:pt x="195902" y="392302"/>
                      </a:lnTo>
                      <a:lnTo>
                        <a:pt x="185604" y="386801"/>
                      </a:lnTo>
                      <a:lnTo>
                        <a:pt x="182204" y="386340"/>
                      </a:lnTo>
                      <a:lnTo>
                        <a:pt x="175587" y="384737"/>
                      </a:lnTo>
                      <a:lnTo>
                        <a:pt x="169892" y="382612"/>
                      </a:lnTo>
                      <a:lnTo>
                        <a:pt x="164828" y="381470"/>
                      </a:lnTo>
                      <a:lnTo>
                        <a:pt x="150135" y="383462"/>
                      </a:lnTo>
                      <a:lnTo>
                        <a:pt x="144695" y="380912"/>
                      </a:lnTo>
                      <a:lnTo>
                        <a:pt x="137409" y="371185"/>
                      </a:lnTo>
                      <a:lnTo>
                        <a:pt x="132261" y="369437"/>
                      </a:lnTo>
                      <a:lnTo>
                        <a:pt x="123409" y="368453"/>
                      </a:lnTo>
                      <a:lnTo>
                        <a:pt x="115661" y="368866"/>
                      </a:lnTo>
                      <a:lnTo>
                        <a:pt x="112723" y="370615"/>
                      </a:lnTo>
                      <a:lnTo>
                        <a:pt x="112589" y="371052"/>
                      </a:lnTo>
                      <a:lnTo>
                        <a:pt x="111788" y="372922"/>
                      </a:lnTo>
                      <a:lnTo>
                        <a:pt x="110573" y="374743"/>
                      </a:lnTo>
                      <a:lnTo>
                        <a:pt x="108485" y="376759"/>
                      </a:lnTo>
                      <a:lnTo>
                        <a:pt x="104283" y="377791"/>
                      </a:lnTo>
                      <a:lnTo>
                        <a:pt x="101964" y="375666"/>
                      </a:lnTo>
                      <a:lnTo>
                        <a:pt x="101332" y="374816"/>
                      </a:lnTo>
                      <a:lnTo>
                        <a:pt x="99633" y="375399"/>
                      </a:lnTo>
                      <a:lnTo>
                        <a:pt x="93768" y="378750"/>
                      </a:lnTo>
                      <a:lnTo>
                        <a:pt x="89141" y="379115"/>
                      </a:lnTo>
                      <a:lnTo>
                        <a:pt x="83871" y="378447"/>
                      </a:lnTo>
                      <a:lnTo>
                        <a:pt x="81297" y="375204"/>
                      </a:lnTo>
                      <a:lnTo>
                        <a:pt x="80714" y="372946"/>
                      </a:lnTo>
                      <a:lnTo>
                        <a:pt x="79973" y="356468"/>
                      </a:lnTo>
                      <a:cubicBezTo>
                        <a:pt x="79560" y="355181"/>
                        <a:pt x="80082" y="353845"/>
                        <a:pt x="80568" y="352910"/>
                      </a:cubicBezTo>
                      <a:cubicBezTo>
                        <a:pt x="80058" y="351975"/>
                        <a:pt x="79791" y="350882"/>
                        <a:pt x="79572" y="350008"/>
                      </a:cubicBezTo>
                      <a:cubicBezTo>
                        <a:pt x="79415" y="349352"/>
                        <a:pt x="79160" y="348272"/>
                        <a:pt x="78941" y="347956"/>
                      </a:cubicBezTo>
                      <a:cubicBezTo>
                        <a:pt x="78055" y="347252"/>
                        <a:pt x="76646" y="346499"/>
                        <a:pt x="75808" y="346049"/>
                      </a:cubicBezTo>
                      <a:cubicBezTo>
                        <a:pt x="74473" y="344884"/>
                        <a:pt x="74035" y="344459"/>
                        <a:pt x="73088" y="343936"/>
                      </a:cubicBezTo>
                      <a:cubicBezTo>
                        <a:pt x="71643" y="343026"/>
                        <a:pt x="70222" y="342407"/>
                        <a:pt x="68789" y="341763"/>
                      </a:cubicBezTo>
                      <a:cubicBezTo>
                        <a:pt x="66519" y="340755"/>
                        <a:pt x="63969" y="339614"/>
                        <a:pt x="61674" y="337719"/>
                      </a:cubicBezTo>
                      <a:cubicBezTo>
                        <a:pt x="58577" y="334514"/>
                        <a:pt x="58832" y="330931"/>
                        <a:pt x="58990" y="328333"/>
                      </a:cubicBezTo>
                      <a:cubicBezTo>
                        <a:pt x="59124" y="326706"/>
                        <a:pt x="59185" y="326001"/>
                        <a:pt x="56064" y="325188"/>
                      </a:cubicBezTo>
                      <a:cubicBezTo>
                        <a:pt x="53501" y="324411"/>
                        <a:pt x="50077" y="324144"/>
                        <a:pt x="46738" y="323888"/>
                      </a:cubicBezTo>
                      <a:cubicBezTo>
                        <a:pt x="46714" y="323888"/>
                        <a:pt x="46677" y="323888"/>
                        <a:pt x="46641" y="323888"/>
                      </a:cubicBezTo>
                      <a:cubicBezTo>
                        <a:pt x="46070" y="323888"/>
                        <a:pt x="45669" y="323949"/>
                        <a:pt x="45269" y="324010"/>
                      </a:cubicBezTo>
                      <a:cubicBezTo>
                        <a:pt x="44552" y="324107"/>
                        <a:pt x="43836" y="324204"/>
                        <a:pt x="43107" y="324204"/>
                      </a:cubicBezTo>
                      <a:lnTo>
                        <a:pt x="37497" y="323791"/>
                      </a:lnTo>
                      <a:cubicBezTo>
                        <a:pt x="37910" y="323828"/>
                        <a:pt x="37533" y="324168"/>
                        <a:pt x="36659" y="325054"/>
                      </a:cubicBezTo>
                      <a:cubicBezTo>
                        <a:pt x="35979" y="325734"/>
                        <a:pt x="35226" y="326463"/>
                        <a:pt x="34255" y="327191"/>
                      </a:cubicBezTo>
                      <a:cubicBezTo>
                        <a:pt x="33866" y="327495"/>
                        <a:pt x="33284" y="327823"/>
                        <a:pt x="32592" y="328187"/>
                      </a:cubicBezTo>
                      <a:cubicBezTo>
                        <a:pt x="32009" y="328491"/>
                        <a:pt x="31292" y="328867"/>
                        <a:pt x="30552" y="329414"/>
                      </a:cubicBezTo>
                      <a:cubicBezTo>
                        <a:pt x="29046" y="330543"/>
                        <a:pt x="27649" y="331587"/>
                        <a:pt x="25039" y="331587"/>
                      </a:cubicBezTo>
                      <a:lnTo>
                        <a:pt x="22659" y="331502"/>
                      </a:lnTo>
                      <a:cubicBezTo>
                        <a:pt x="20436" y="331478"/>
                        <a:pt x="17692" y="331441"/>
                        <a:pt x="15834" y="329462"/>
                      </a:cubicBezTo>
                      <a:cubicBezTo>
                        <a:pt x="14584" y="328952"/>
                        <a:pt x="13478" y="327337"/>
                        <a:pt x="13163" y="325394"/>
                      </a:cubicBezTo>
                      <a:cubicBezTo>
                        <a:pt x="11936" y="324083"/>
                        <a:pt x="10843" y="322796"/>
                        <a:pt x="10163" y="321399"/>
                      </a:cubicBezTo>
                      <a:cubicBezTo>
                        <a:pt x="9314" y="319553"/>
                        <a:pt x="9204" y="317914"/>
                        <a:pt x="9107" y="316591"/>
                      </a:cubicBezTo>
                      <a:cubicBezTo>
                        <a:pt x="9046" y="315704"/>
                        <a:pt x="8998" y="315000"/>
                        <a:pt x="8767" y="314623"/>
                      </a:cubicBezTo>
                      <a:cubicBezTo>
                        <a:pt x="4517" y="307969"/>
                        <a:pt x="5853" y="301230"/>
                        <a:pt x="7031" y="295292"/>
                      </a:cubicBezTo>
                      <a:cubicBezTo>
                        <a:pt x="7650" y="292147"/>
                        <a:pt x="8245" y="289172"/>
                        <a:pt x="8026" y="286367"/>
                      </a:cubicBezTo>
                      <a:cubicBezTo>
                        <a:pt x="7881" y="284400"/>
                        <a:pt x="6763" y="282712"/>
                        <a:pt x="5452" y="280745"/>
                      </a:cubicBezTo>
                      <a:cubicBezTo>
                        <a:pt x="4420" y="279178"/>
                        <a:pt x="3339" y="277551"/>
                        <a:pt x="2598" y="275572"/>
                      </a:cubicBezTo>
                      <a:cubicBezTo>
                        <a:pt x="1226" y="271990"/>
                        <a:pt x="1724" y="268395"/>
                        <a:pt x="2161" y="265226"/>
                      </a:cubicBezTo>
                      <a:cubicBezTo>
                        <a:pt x="2501" y="262761"/>
                        <a:pt x="2817" y="260575"/>
                        <a:pt x="2258" y="258681"/>
                      </a:cubicBezTo>
                      <a:lnTo>
                        <a:pt x="0" y="258377"/>
                      </a:lnTo>
                      <a:lnTo>
                        <a:pt x="704" y="254625"/>
                      </a:lnTo>
                      <a:lnTo>
                        <a:pt x="2793" y="249683"/>
                      </a:lnTo>
                      <a:cubicBezTo>
                        <a:pt x="2647" y="249452"/>
                        <a:pt x="2453" y="248299"/>
                        <a:pt x="2222" y="246963"/>
                      </a:cubicBezTo>
                      <a:cubicBezTo>
                        <a:pt x="1955" y="245445"/>
                        <a:pt x="1651" y="243709"/>
                        <a:pt x="1809" y="241766"/>
                      </a:cubicBezTo>
                      <a:cubicBezTo>
                        <a:pt x="3181" y="237115"/>
                        <a:pt x="6666" y="234468"/>
                        <a:pt x="9204" y="232537"/>
                      </a:cubicBezTo>
                      <a:cubicBezTo>
                        <a:pt x="12798" y="228421"/>
                        <a:pt x="13964" y="223029"/>
                        <a:pt x="14486" y="216314"/>
                      </a:cubicBezTo>
                      <a:cubicBezTo>
                        <a:pt x="14571" y="215246"/>
                        <a:pt x="14511" y="214189"/>
                        <a:pt x="14450" y="213072"/>
                      </a:cubicBezTo>
                      <a:cubicBezTo>
                        <a:pt x="14365" y="211542"/>
                        <a:pt x="14280" y="209915"/>
                        <a:pt x="14438" y="208118"/>
                      </a:cubicBezTo>
                      <a:cubicBezTo>
                        <a:pt x="14632" y="205203"/>
                        <a:pt x="14948" y="202022"/>
                        <a:pt x="15944" y="198768"/>
                      </a:cubicBezTo>
                      <a:cubicBezTo>
                        <a:pt x="15968" y="197529"/>
                        <a:pt x="16186" y="194663"/>
                        <a:pt x="17267" y="191749"/>
                      </a:cubicBezTo>
                      <a:cubicBezTo>
                        <a:pt x="17182" y="190753"/>
                        <a:pt x="18409" y="189393"/>
                        <a:pt x="19283" y="188410"/>
                      </a:cubicBezTo>
                      <a:lnTo>
                        <a:pt x="20242" y="187244"/>
                      </a:lnTo>
                      <a:cubicBezTo>
                        <a:pt x="20679" y="186734"/>
                        <a:pt x="20983" y="186163"/>
                        <a:pt x="21311" y="185483"/>
                      </a:cubicBezTo>
                      <a:cubicBezTo>
                        <a:pt x="21772" y="184560"/>
                        <a:pt x="22331" y="183456"/>
                        <a:pt x="23363" y="182484"/>
                      </a:cubicBezTo>
                      <a:cubicBezTo>
                        <a:pt x="24832" y="180043"/>
                        <a:pt x="26945" y="178113"/>
                        <a:pt x="28803" y="176388"/>
                      </a:cubicBezTo>
                      <a:lnTo>
                        <a:pt x="30600" y="174688"/>
                      </a:lnTo>
                      <a:cubicBezTo>
                        <a:pt x="32907" y="171713"/>
                        <a:pt x="35457" y="169212"/>
                        <a:pt x="38614" y="166832"/>
                      </a:cubicBezTo>
                      <a:cubicBezTo>
                        <a:pt x="40752" y="165229"/>
                        <a:pt x="42876" y="162557"/>
                        <a:pt x="44929" y="158902"/>
                      </a:cubicBezTo>
                      <a:cubicBezTo>
                        <a:pt x="46750" y="156158"/>
                        <a:pt x="47127" y="153074"/>
                        <a:pt x="47515" y="149795"/>
                      </a:cubicBezTo>
                      <a:cubicBezTo>
                        <a:pt x="47770" y="147609"/>
                        <a:pt x="48061" y="145412"/>
                        <a:pt x="48669" y="143299"/>
                      </a:cubicBezTo>
                      <a:cubicBezTo>
                        <a:pt x="49579" y="140166"/>
                        <a:pt x="53453" y="127646"/>
                        <a:pt x="53453" y="127646"/>
                      </a:cubicBezTo>
                      <a:cubicBezTo>
                        <a:pt x="56804" y="116317"/>
                        <a:pt x="63568" y="104915"/>
                        <a:pt x="74108" y="92808"/>
                      </a:cubicBezTo>
                      <a:cubicBezTo>
                        <a:pt x="74849" y="91958"/>
                        <a:pt x="76027" y="90938"/>
                        <a:pt x="77326" y="89845"/>
                      </a:cubicBezTo>
                      <a:cubicBezTo>
                        <a:pt x="78674" y="88716"/>
                        <a:pt x="81503" y="86348"/>
                        <a:pt x="81710" y="85328"/>
                      </a:cubicBezTo>
                      <a:lnTo>
                        <a:pt x="81807" y="82487"/>
                      </a:lnTo>
                      <a:lnTo>
                        <a:pt x="84636" y="82450"/>
                      </a:lnTo>
                      <a:lnTo>
                        <a:pt x="98224" y="82025"/>
                      </a:lnTo>
                      <a:cubicBezTo>
                        <a:pt x="99645" y="82123"/>
                        <a:pt x="100738" y="82147"/>
                        <a:pt x="101806" y="82147"/>
                      </a:cubicBezTo>
                      <a:lnTo>
                        <a:pt x="105789" y="82110"/>
                      </a:lnTo>
                      <a:cubicBezTo>
                        <a:pt x="106736" y="82110"/>
                        <a:pt x="107647" y="82123"/>
                        <a:pt x="108497" y="82196"/>
                      </a:cubicBezTo>
                      <a:lnTo>
                        <a:pt x="112735" y="82523"/>
                      </a:lnTo>
                      <a:cubicBezTo>
                        <a:pt x="115588" y="82766"/>
                        <a:pt x="117483" y="83762"/>
                        <a:pt x="119778" y="85389"/>
                      </a:cubicBezTo>
                      <a:cubicBezTo>
                        <a:pt x="121405" y="86312"/>
                        <a:pt x="122716" y="87077"/>
                        <a:pt x="123785" y="87162"/>
                      </a:cubicBezTo>
                      <a:cubicBezTo>
                        <a:pt x="123809" y="87162"/>
                        <a:pt x="123821" y="87162"/>
                        <a:pt x="123834" y="87162"/>
                      </a:cubicBezTo>
                      <a:cubicBezTo>
                        <a:pt x="126104" y="87162"/>
                        <a:pt x="129031" y="86361"/>
                        <a:pt x="129686" y="85875"/>
                      </a:cubicBezTo>
                      <a:cubicBezTo>
                        <a:pt x="130840" y="85328"/>
                        <a:pt x="130973" y="85134"/>
                        <a:pt x="131314" y="83507"/>
                      </a:cubicBezTo>
                      <a:cubicBezTo>
                        <a:pt x="131472" y="82730"/>
                        <a:pt x="131653" y="81856"/>
                        <a:pt x="132042" y="81005"/>
                      </a:cubicBezTo>
                      <a:cubicBezTo>
                        <a:pt x="133973" y="77533"/>
                        <a:pt x="135685" y="75541"/>
                        <a:pt x="138199" y="73003"/>
                      </a:cubicBezTo>
                      <a:cubicBezTo>
                        <a:pt x="138563" y="72590"/>
                        <a:pt x="138964" y="71959"/>
                        <a:pt x="139401" y="71303"/>
                      </a:cubicBezTo>
                      <a:cubicBezTo>
                        <a:pt x="140299" y="69919"/>
                        <a:pt x="141441" y="68195"/>
                        <a:pt x="143274" y="66786"/>
                      </a:cubicBezTo>
                      <a:cubicBezTo>
                        <a:pt x="144950" y="65912"/>
                        <a:pt x="146990" y="64710"/>
                        <a:pt x="147658" y="62913"/>
                      </a:cubicBezTo>
                      <a:cubicBezTo>
                        <a:pt x="147548" y="62621"/>
                        <a:pt x="147634" y="60897"/>
                        <a:pt x="148654" y="59124"/>
                      </a:cubicBezTo>
                      <a:cubicBezTo>
                        <a:pt x="148957" y="58092"/>
                        <a:pt x="149637" y="57072"/>
                        <a:pt x="150427" y="55857"/>
                      </a:cubicBezTo>
                      <a:cubicBezTo>
                        <a:pt x="150609" y="55360"/>
                        <a:pt x="150694" y="54157"/>
                        <a:pt x="150803" y="52894"/>
                      </a:cubicBezTo>
                      <a:cubicBezTo>
                        <a:pt x="150924" y="51304"/>
                        <a:pt x="151058" y="49507"/>
                        <a:pt x="151653" y="47649"/>
                      </a:cubicBezTo>
                      <a:lnTo>
                        <a:pt x="152102" y="46022"/>
                      </a:lnTo>
                      <a:cubicBezTo>
                        <a:pt x="152807" y="43399"/>
                        <a:pt x="153669" y="40132"/>
                        <a:pt x="156935" y="37667"/>
                      </a:cubicBezTo>
                      <a:cubicBezTo>
                        <a:pt x="157421" y="37036"/>
                        <a:pt x="158502" y="36198"/>
                        <a:pt x="159594" y="35385"/>
                      </a:cubicBezTo>
                      <a:cubicBezTo>
                        <a:pt x="160384" y="34789"/>
                        <a:pt x="161197" y="34207"/>
                        <a:pt x="161865" y="33466"/>
                      </a:cubicBezTo>
                      <a:lnTo>
                        <a:pt x="162982" y="32337"/>
                      </a:lnTo>
                      <a:cubicBezTo>
                        <a:pt x="163529" y="31729"/>
                        <a:pt x="164099" y="31122"/>
                        <a:pt x="164622" y="30734"/>
                      </a:cubicBezTo>
                      <a:cubicBezTo>
                        <a:pt x="165994" y="29689"/>
                        <a:pt x="167730" y="29179"/>
                        <a:pt x="169916" y="29179"/>
                      </a:cubicBezTo>
                      <a:cubicBezTo>
                        <a:pt x="170572" y="29179"/>
                        <a:pt x="174057" y="29446"/>
                        <a:pt x="174057" y="29446"/>
                      </a:cubicBezTo>
                      <a:lnTo>
                        <a:pt x="177360" y="29702"/>
                      </a:lnTo>
                      <a:cubicBezTo>
                        <a:pt x="177275" y="29592"/>
                        <a:pt x="178064" y="29337"/>
                        <a:pt x="178890" y="29070"/>
                      </a:cubicBezTo>
                      <a:cubicBezTo>
                        <a:pt x="180419" y="28572"/>
                        <a:pt x="182071" y="28062"/>
                        <a:pt x="183965" y="27783"/>
                      </a:cubicBezTo>
                      <a:cubicBezTo>
                        <a:pt x="185265" y="27807"/>
                        <a:pt x="186005" y="27807"/>
                        <a:pt x="186795" y="27819"/>
                      </a:cubicBezTo>
                      <a:cubicBezTo>
                        <a:pt x="188920" y="27819"/>
                        <a:pt x="191336" y="27832"/>
                        <a:pt x="193242" y="28560"/>
                      </a:cubicBezTo>
                      <a:lnTo>
                        <a:pt x="193498" y="28657"/>
                      </a:lnTo>
                      <a:lnTo>
                        <a:pt x="194457" y="29228"/>
                      </a:lnTo>
                      <a:cubicBezTo>
                        <a:pt x="195271" y="29726"/>
                        <a:pt x="195550" y="29884"/>
                        <a:pt x="196570" y="29969"/>
                      </a:cubicBezTo>
                      <a:lnTo>
                        <a:pt x="212793" y="31232"/>
                      </a:lnTo>
                      <a:lnTo>
                        <a:pt x="214942" y="31341"/>
                      </a:lnTo>
                      <a:cubicBezTo>
                        <a:pt x="217832" y="31450"/>
                        <a:pt x="221378" y="31584"/>
                        <a:pt x="224061" y="32810"/>
                      </a:cubicBezTo>
                      <a:cubicBezTo>
                        <a:pt x="226259" y="33272"/>
                        <a:pt x="227388" y="34959"/>
                        <a:pt x="228105" y="36319"/>
                      </a:cubicBezTo>
                      <a:cubicBezTo>
                        <a:pt x="229052" y="36854"/>
                        <a:pt x="229368" y="36975"/>
                        <a:pt x="230133" y="37024"/>
                      </a:cubicBezTo>
                      <a:lnTo>
                        <a:pt x="230776" y="37072"/>
                      </a:lnTo>
                      <a:lnTo>
                        <a:pt x="231347" y="37364"/>
                      </a:lnTo>
                      <a:cubicBezTo>
                        <a:pt x="232124" y="37789"/>
                        <a:pt x="233047" y="37874"/>
                        <a:pt x="234334" y="37971"/>
                      </a:cubicBezTo>
                      <a:lnTo>
                        <a:pt x="235002" y="38019"/>
                      </a:lnTo>
                      <a:lnTo>
                        <a:pt x="235597" y="38347"/>
                      </a:lnTo>
                      <a:cubicBezTo>
                        <a:pt x="237309" y="39294"/>
                        <a:pt x="238208" y="40205"/>
                        <a:pt x="238924" y="40946"/>
                      </a:cubicBezTo>
                      <a:cubicBezTo>
                        <a:pt x="241705" y="42525"/>
                        <a:pt x="245846" y="42780"/>
                        <a:pt x="250254" y="43047"/>
                      </a:cubicBezTo>
                      <a:lnTo>
                        <a:pt x="253144" y="43241"/>
                      </a:lnTo>
                      <a:cubicBezTo>
                        <a:pt x="253860" y="43289"/>
                        <a:pt x="254710" y="43423"/>
                        <a:pt x="255645" y="43557"/>
                      </a:cubicBezTo>
                      <a:cubicBezTo>
                        <a:pt x="256920" y="43751"/>
                        <a:pt x="258402" y="43994"/>
                        <a:pt x="259810" y="43994"/>
                      </a:cubicBezTo>
                      <a:cubicBezTo>
                        <a:pt x="261753" y="43751"/>
                        <a:pt x="262712" y="43411"/>
                        <a:pt x="263672" y="43071"/>
                      </a:cubicBezTo>
                      <a:cubicBezTo>
                        <a:pt x="264886" y="42646"/>
                        <a:pt x="266100" y="42221"/>
                        <a:pt x="267327" y="41966"/>
                      </a:cubicBezTo>
                      <a:cubicBezTo>
                        <a:pt x="267327" y="41966"/>
                        <a:pt x="269343" y="41638"/>
                        <a:pt x="269622" y="41589"/>
                      </a:cubicBezTo>
                      <a:cubicBezTo>
                        <a:pt x="269840" y="41407"/>
                        <a:pt x="270023" y="41237"/>
                        <a:pt x="270217" y="41067"/>
                      </a:cubicBezTo>
                      <a:cubicBezTo>
                        <a:pt x="271091" y="40278"/>
                        <a:pt x="272087" y="39367"/>
                        <a:pt x="273568" y="38833"/>
                      </a:cubicBezTo>
                      <a:cubicBezTo>
                        <a:pt x="274612" y="37874"/>
                        <a:pt x="276604" y="37206"/>
                        <a:pt x="278377" y="36623"/>
                      </a:cubicBezTo>
                      <a:cubicBezTo>
                        <a:pt x="279178" y="36356"/>
                        <a:pt x="279979" y="36101"/>
                        <a:pt x="280672" y="35749"/>
                      </a:cubicBezTo>
                      <a:cubicBezTo>
                        <a:pt x="281801" y="35117"/>
                        <a:pt x="282105" y="34255"/>
                        <a:pt x="282688" y="32385"/>
                      </a:cubicBezTo>
                      <a:lnTo>
                        <a:pt x="283185" y="30843"/>
                      </a:lnTo>
                      <a:cubicBezTo>
                        <a:pt x="283210" y="29446"/>
                        <a:pt x="284120" y="27492"/>
                        <a:pt x="284934" y="25779"/>
                      </a:cubicBezTo>
                      <a:cubicBezTo>
                        <a:pt x="285274" y="25026"/>
                        <a:pt x="285638" y="24286"/>
                        <a:pt x="285905" y="23533"/>
                      </a:cubicBezTo>
                      <a:cubicBezTo>
                        <a:pt x="287120" y="21554"/>
                        <a:pt x="287775" y="20206"/>
                        <a:pt x="288492" y="18749"/>
                      </a:cubicBezTo>
                      <a:cubicBezTo>
                        <a:pt x="289038" y="17644"/>
                        <a:pt x="289609" y="16478"/>
                        <a:pt x="290301" y="15215"/>
                      </a:cubicBezTo>
                      <a:lnTo>
                        <a:pt x="291855" y="12932"/>
                      </a:lnTo>
                      <a:cubicBezTo>
                        <a:pt x="292839" y="11548"/>
                        <a:pt x="293677" y="10358"/>
                        <a:pt x="294199" y="9010"/>
                      </a:cubicBezTo>
                      <a:cubicBezTo>
                        <a:pt x="295340" y="5149"/>
                        <a:pt x="298303" y="3509"/>
                        <a:pt x="301157" y="1918"/>
                      </a:cubicBezTo>
                      <a:cubicBezTo>
                        <a:pt x="304909" y="449"/>
                        <a:pt x="307520" y="0"/>
                        <a:pt x="310422" y="0"/>
                      </a:cubicBezTo>
                      <a:cubicBezTo>
                        <a:pt x="311175" y="0"/>
                        <a:pt x="311940" y="24"/>
                        <a:pt x="312729" y="97"/>
                      </a:cubicBezTo>
                      <a:cubicBezTo>
                        <a:pt x="316311" y="389"/>
                        <a:pt x="318218" y="2501"/>
                        <a:pt x="319905" y="4359"/>
                      </a:cubicBezTo>
                      <a:lnTo>
                        <a:pt x="320743" y="5282"/>
                      </a:lnTo>
                      <a:cubicBezTo>
                        <a:pt x="323828" y="8464"/>
                        <a:pt x="325139" y="10904"/>
                        <a:pt x="323743" y="15397"/>
                      </a:cubicBezTo>
                      <a:lnTo>
                        <a:pt x="323354" y="16672"/>
                      </a:lnTo>
                      <a:cubicBezTo>
                        <a:pt x="322589" y="19113"/>
                        <a:pt x="321970" y="21032"/>
                        <a:pt x="321763" y="23387"/>
                      </a:cubicBezTo>
                      <a:cubicBezTo>
                        <a:pt x="321569" y="25719"/>
                        <a:pt x="320343" y="27273"/>
                        <a:pt x="319444" y="28414"/>
                      </a:cubicBezTo>
                      <a:cubicBezTo>
                        <a:pt x="318934" y="29058"/>
                        <a:pt x="318509" y="29604"/>
                        <a:pt x="318279" y="30199"/>
                      </a:cubicBezTo>
                      <a:lnTo>
                        <a:pt x="318011" y="35008"/>
                      </a:lnTo>
                      <a:cubicBezTo>
                        <a:pt x="317951" y="35882"/>
                        <a:pt x="317793" y="36829"/>
                        <a:pt x="317647" y="37825"/>
                      </a:cubicBezTo>
                      <a:cubicBezTo>
                        <a:pt x="317368" y="39586"/>
                        <a:pt x="317064" y="41395"/>
                        <a:pt x="317307" y="43107"/>
                      </a:cubicBezTo>
                      <a:cubicBezTo>
                        <a:pt x="317416" y="43387"/>
                        <a:pt x="318387" y="44079"/>
                        <a:pt x="318970" y="44492"/>
                      </a:cubicBezTo>
                      <a:cubicBezTo>
                        <a:pt x="319796" y="45087"/>
                        <a:pt x="320574" y="45670"/>
                        <a:pt x="321096" y="46216"/>
                      </a:cubicBezTo>
                      <a:lnTo>
                        <a:pt x="322225" y="47090"/>
                      </a:lnTo>
                      <a:cubicBezTo>
                        <a:pt x="324168" y="48693"/>
                        <a:pt x="325576" y="49847"/>
                        <a:pt x="327810" y="50430"/>
                      </a:cubicBezTo>
                      <a:lnTo>
                        <a:pt x="328539" y="50624"/>
                      </a:lnTo>
                      <a:lnTo>
                        <a:pt x="341204" y="62220"/>
                      </a:lnTo>
                      <a:lnTo>
                        <a:pt x="336699" y="69336"/>
                      </a:lnTo>
                      <a:lnTo>
                        <a:pt x="332668" y="72700"/>
                      </a:lnTo>
                      <a:lnTo>
                        <a:pt x="328151" y="74242"/>
                      </a:lnTo>
                      <a:lnTo>
                        <a:pt x="321181" y="75104"/>
                      </a:lnTo>
                      <a:lnTo>
                        <a:pt x="318218" y="76233"/>
                      </a:lnTo>
                      <a:lnTo>
                        <a:pt x="312839" y="80034"/>
                      </a:lnTo>
                      <a:lnTo>
                        <a:pt x="311576" y="81406"/>
                      </a:lnTo>
                      <a:lnTo>
                        <a:pt x="307848" y="85256"/>
                      </a:lnTo>
                      <a:lnTo>
                        <a:pt x="304010" y="91327"/>
                      </a:lnTo>
                      <a:lnTo>
                        <a:pt x="293689" y="119972"/>
                      </a:lnTo>
                      <a:lnTo>
                        <a:pt x="294162" y="126712"/>
                      </a:lnTo>
                      <a:lnTo>
                        <a:pt x="297514" y="131338"/>
                      </a:lnTo>
                      <a:lnTo>
                        <a:pt x="303416" y="133463"/>
                      </a:lnTo>
                      <a:lnTo>
                        <a:pt x="310543" y="134799"/>
                      </a:lnTo>
                      <a:lnTo>
                        <a:pt x="318837" y="138539"/>
                      </a:lnTo>
                      <a:lnTo>
                        <a:pt x="322589" y="145096"/>
                      </a:lnTo>
                      <a:lnTo>
                        <a:pt x="324277" y="154446"/>
                      </a:lnTo>
                      <a:lnTo>
                        <a:pt x="323245" y="164355"/>
                      </a:lnTo>
                      <a:lnTo>
                        <a:pt x="319444" y="171033"/>
                      </a:lnTo>
                      <a:lnTo>
                        <a:pt x="316615" y="174858"/>
                      </a:lnTo>
                      <a:lnTo>
                        <a:pt x="313251" y="191276"/>
                      </a:lnTo>
                      <a:lnTo>
                        <a:pt x="309924" y="197408"/>
                      </a:lnTo>
                      <a:lnTo>
                        <a:pt x="302626" y="207025"/>
                      </a:lnTo>
                      <a:lnTo>
                        <a:pt x="301667" y="212246"/>
                      </a:lnTo>
                      <a:lnTo>
                        <a:pt x="301715" y="215258"/>
                      </a:lnTo>
                      <a:lnTo>
                        <a:pt x="300962" y="219544"/>
                      </a:lnTo>
                      <a:lnTo>
                        <a:pt x="299263" y="223624"/>
                      </a:lnTo>
                      <a:lnTo>
                        <a:pt x="296591" y="227049"/>
                      </a:lnTo>
                      <a:lnTo>
                        <a:pt x="293179" y="229247"/>
                      </a:lnTo>
                      <a:lnTo>
                        <a:pt x="289755" y="229939"/>
                      </a:lnTo>
                      <a:lnTo>
                        <a:pt x="286974" y="229939"/>
                      </a:lnTo>
                      <a:lnTo>
                        <a:pt x="286306" y="230072"/>
                      </a:lnTo>
                      <a:lnTo>
                        <a:pt x="285444" y="231881"/>
                      </a:lnTo>
                      <a:lnTo>
                        <a:pt x="281692" y="245069"/>
                      </a:lnTo>
                      <a:lnTo>
                        <a:pt x="278838" y="250946"/>
                      </a:lnTo>
                      <a:lnTo>
                        <a:pt x="269719" y="256653"/>
                      </a:lnTo>
                      <a:lnTo>
                        <a:pt x="268055" y="258377"/>
                      </a:lnTo>
                      <a:lnTo>
                        <a:pt x="267217" y="260442"/>
                      </a:lnTo>
                      <a:lnTo>
                        <a:pt x="264546" y="271140"/>
                      </a:lnTo>
                      <a:lnTo>
                        <a:pt x="260611" y="273532"/>
                      </a:lnTo>
                      <a:lnTo>
                        <a:pt x="258826" y="275013"/>
                      </a:lnTo>
                      <a:lnTo>
                        <a:pt x="258669" y="275475"/>
                      </a:lnTo>
                      <a:lnTo>
                        <a:pt x="258171" y="284145"/>
                      </a:lnTo>
                      <a:lnTo>
                        <a:pt x="255888" y="287180"/>
                      </a:lnTo>
                      <a:lnTo>
                        <a:pt x="252901" y="289439"/>
                      </a:lnTo>
                      <a:lnTo>
                        <a:pt x="252221" y="290240"/>
                      </a:lnTo>
                      <a:lnTo>
                        <a:pt x="252609" y="293337"/>
                      </a:lnTo>
                      <a:lnTo>
                        <a:pt x="252464" y="295851"/>
                      </a:lnTo>
                      <a:lnTo>
                        <a:pt x="252354" y="296737"/>
                      </a:lnTo>
                      <a:lnTo>
                        <a:pt x="250509" y="299056"/>
                      </a:lnTo>
                      <a:lnTo>
                        <a:pt x="245943" y="302347"/>
                      </a:lnTo>
                      <a:lnTo>
                        <a:pt x="245190" y="303464"/>
                      </a:lnTo>
                      <a:lnTo>
                        <a:pt x="244692" y="305626"/>
                      </a:lnTo>
                      <a:lnTo>
                        <a:pt x="244267" y="311648"/>
                      </a:lnTo>
                      <a:lnTo>
                        <a:pt x="243405" y="315413"/>
                      </a:lnTo>
                      <a:lnTo>
                        <a:pt x="234104" y="337003"/>
                      </a:lnTo>
                      <a:lnTo>
                        <a:pt x="231978" y="344167"/>
                      </a:lnTo>
                      <a:lnTo>
                        <a:pt x="231408" y="350736"/>
                      </a:lnTo>
                      <a:lnTo>
                        <a:pt x="230363" y="355339"/>
                      </a:lnTo>
                      <a:lnTo>
                        <a:pt x="227898" y="358180"/>
                      </a:lnTo>
                      <a:lnTo>
                        <a:pt x="227546" y="359322"/>
                      </a:lnTo>
                      <a:lnTo>
                        <a:pt x="226806" y="366110"/>
                      </a:lnTo>
                      <a:lnTo>
                        <a:pt x="225895" y="369935"/>
                      </a:lnTo>
                      <a:lnTo>
                        <a:pt x="217031" y="381616"/>
                      </a:lnTo>
                      <a:lnTo>
                        <a:pt x="215525" y="385004"/>
                      </a:lnTo>
                      <a:lnTo>
                        <a:pt x="215500" y="387906"/>
                      </a:lnTo>
                      <a:lnTo>
                        <a:pt x="215792" y="391804"/>
                      </a:lnTo>
                      <a:lnTo>
                        <a:pt x="215051" y="397426"/>
                      </a:lnTo>
                      <a:lnTo>
                        <a:pt x="210546" y="402186"/>
                      </a:lnTo>
                      <a:lnTo>
                        <a:pt x="204669" y="401871"/>
                      </a:lnTo>
                      <a:close/>
                    </a:path>
                  </a:pathLst>
                </a:custGeom>
                <a:solidFill>
                  <a:srgbClr val="D7D7D2"/>
                </a:solidFill>
                <a:ln w="12138" cap="flat">
                  <a:noFill/>
                  <a:prstDash val="solid"/>
                  <a:miter/>
                </a:ln>
              </p:spPr>
              <p:txBody>
                <a:bodyPr rtlCol="0" anchor="ctr"/>
                <a:lstStyle/>
                <a:p>
                  <a:endParaRPr lang="en-US"/>
                </a:p>
              </p:txBody>
            </p:sp>
            <p:sp>
              <p:nvSpPr>
                <p:cNvPr id="291" name="Freeform: Shape 290">
                  <a:extLst>
                    <a:ext uri="{FF2B5EF4-FFF2-40B4-BE49-F238E27FC236}">
                      <a16:creationId xmlns:a16="http://schemas.microsoft.com/office/drawing/2014/main" id="{0DDBF671-F06A-465E-891F-B914C7DDC946}"/>
                    </a:ext>
                  </a:extLst>
                </p:cNvPr>
                <p:cNvSpPr/>
                <p:nvPr/>
              </p:nvSpPr>
              <p:spPr>
                <a:xfrm>
                  <a:off x="8015664" y="2981838"/>
                  <a:ext cx="350433" cy="408306"/>
                </a:xfrm>
                <a:custGeom>
                  <a:avLst/>
                  <a:gdLst>
                    <a:gd name="connsiteX0" fmla="*/ 315632 w 350433"/>
                    <a:gd name="connsiteY0" fmla="*/ 6071 h 408306"/>
                    <a:gd name="connsiteX1" fmla="*/ 317708 w 350433"/>
                    <a:gd name="connsiteY1" fmla="*/ 6156 h 408306"/>
                    <a:gd name="connsiteX2" fmla="*/ 323767 w 350433"/>
                    <a:gd name="connsiteY2" fmla="*/ 10406 h 408306"/>
                    <a:gd name="connsiteX3" fmla="*/ 326062 w 350433"/>
                    <a:gd name="connsiteY3" fmla="*/ 17522 h 408306"/>
                    <a:gd name="connsiteX4" fmla="*/ 323949 w 350433"/>
                    <a:gd name="connsiteY4" fmla="*/ 26156 h 408306"/>
                    <a:gd name="connsiteX5" fmla="*/ 320647 w 350433"/>
                    <a:gd name="connsiteY5" fmla="*/ 32179 h 408306"/>
                    <a:gd name="connsiteX6" fmla="*/ 320197 w 350433"/>
                    <a:gd name="connsiteY6" fmla="*/ 37813 h 408306"/>
                    <a:gd name="connsiteX7" fmla="*/ 319505 w 350433"/>
                    <a:gd name="connsiteY7" fmla="*/ 46568 h 408306"/>
                    <a:gd name="connsiteX8" fmla="*/ 324095 w 350433"/>
                    <a:gd name="connsiteY8" fmla="*/ 51340 h 408306"/>
                    <a:gd name="connsiteX9" fmla="*/ 332231 w 350433"/>
                    <a:gd name="connsiteY9" fmla="*/ 56392 h 408306"/>
                    <a:gd name="connsiteX10" fmla="*/ 342467 w 350433"/>
                    <a:gd name="connsiteY10" fmla="*/ 65754 h 408306"/>
                    <a:gd name="connsiteX11" fmla="*/ 339322 w 350433"/>
                    <a:gd name="connsiteY11" fmla="*/ 70720 h 408306"/>
                    <a:gd name="connsiteX12" fmla="*/ 335995 w 350433"/>
                    <a:gd name="connsiteY12" fmla="*/ 73307 h 408306"/>
                    <a:gd name="connsiteX13" fmla="*/ 332486 w 350433"/>
                    <a:gd name="connsiteY13" fmla="*/ 74339 h 408306"/>
                    <a:gd name="connsiteX14" fmla="*/ 326014 w 350433"/>
                    <a:gd name="connsiteY14" fmla="*/ 75092 h 408306"/>
                    <a:gd name="connsiteX15" fmla="*/ 322383 w 350433"/>
                    <a:gd name="connsiteY15" fmla="*/ 76379 h 408306"/>
                    <a:gd name="connsiteX16" fmla="*/ 316299 w 350433"/>
                    <a:gd name="connsiteY16" fmla="*/ 80544 h 408306"/>
                    <a:gd name="connsiteX17" fmla="*/ 314575 w 350433"/>
                    <a:gd name="connsiteY17" fmla="*/ 82317 h 408306"/>
                    <a:gd name="connsiteX18" fmla="*/ 310847 w 350433"/>
                    <a:gd name="connsiteY18" fmla="*/ 86166 h 408306"/>
                    <a:gd name="connsiteX19" fmla="*/ 306634 w 350433"/>
                    <a:gd name="connsiteY19" fmla="*/ 92711 h 408306"/>
                    <a:gd name="connsiteX20" fmla="*/ 295790 w 350433"/>
                    <a:gd name="connsiteY20" fmla="*/ 122571 h 408306"/>
                    <a:gd name="connsiteX21" fmla="*/ 296373 w 350433"/>
                    <a:gd name="connsiteY21" fmla="*/ 130816 h 408306"/>
                    <a:gd name="connsiteX22" fmla="*/ 300781 w 350433"/>
                    <a:gd name="connsiteY22" fmla="*/ 136900 h 408306"/>
                    <a:gd name="connsiteX23" fmla="*/ 307569 w 350433"/>
                    <a:gd name="connsiteY23" fmla="*/ 139340 h 408306"/>
                    <a:gd name="connsiteX24" fmla="*/ 315146 w 350433"/>
                    <a:gd name="connsiteY24" fmla="*/ 140809 h 408306"/>
                    <a:gd name="connsiteX25" fmla="*/ 321861 w 350433"/>
                    <a:gd name="connsiteY25" fmla="*/ 143906 h 408306"/>
                    <a:gd name="connsiteX26" fmla="*/ 325139 w 350433"/>
                    <a:gd name="connsiteY26" fmla="*/ 149625 h 408306"/>
                    <a:gd name="connsiteX27" fmla="*/ 326451 w 350433"/>
                    <a:gd name="connsiteY27" fmla="*/ 157943 h 408306"/>
                    <a:gd name="connsiteX28" fmla="*/ 325480 w 350433"/>
                    <a:gd name="connsiteY28" fmla="*/ 166419 h 408306"/>
                    <a:gd name="connsiteX29" fmla="*/ 321982 w 350433"/>
                    <a:gd name="connsiteY29" fmla="*/ 172563 h 408306"/>
                    <a:gd name="connsiteX30" fmla="*/ 318947 w 350433"/>
                    <a:gd name="connsiteY30" fmla="*/ 176619 h 408306"/>
                    <a:gd name="connsiteX31" fmla="*/ 315437 w 350433"/>
                    <a:gd name="connsiteY31" fmla="*/ 193692 h 408306"/>
                    <a:gd name="connsiteX32" fmla="*/ 312450 w 350433"/>
                    <a:gd name="connsiteY32" fmla="*/ 198938 h 408306"/>
                    <a:gd name="connsiteX33" fmla="*/ 304933 w 350433"/>
                    <a:gd name="connsiteY33" fmla="*/ 208786 h 408306"/>
                    <a:gd name="connsiteX34" fmla="*/ 303841 w 350433"/>
                    <a:gd name="connsiteY34" fmla="*/ 214711 h 408306"/>
                    <a:gd name="connsiteX35" fmla="*/ 303841 w 350433"/>
                    <a:gd name="connsiteY35" fmla="*/ 218269 h 408306"/>
                    <a:gd name="connsiteX36" fmla="*/ 303137 w 350433"/>
                    <a:gd name="connsiteY36" fmla="*/ 221997 h 408306"/>
                    <a:gd name="connsiteX37" fmla="*/ 301643 w 350433"/>
                    <a:gd name="connsiteY37" fmla="*/ 225421 h 408306"/>
                    <a:gd name="connsiteX38" fmla="*/ 299409 w 350433"/>
                    <a:gd name="connsiteY38" fmla="*/ 228141 h 408306"/>
                    <a:gd name="connsiteX39" fmla="*/ 296822 w 350433"/>
                    <a:gd name="connsiteY39" fmla="*/ 229635 h 408306"/>
                    <a:gd name="connsiteX40" fmla="*/ 294515 w 350433"/>
                    <a:gd name="connsiteY40" fmla="*/ 229951 h 408306"/>
                    <a:gd name="connsiteX41" fmla="*/ 292184 w 350433"/>
                    <a:gd name="connsiteY41" fmla="*/ 229927 h 408306"/>
                    <a:gd name="connsiteX42" fmla="*/ 289403 w 350433"/>
                    <a:gd name="connsiteY42" fmla="*/ 230412 h 408306"/>
                    <a:gd name="connsiteX43" fmla="*/ 287873 w 350433"/>
                    <a:gd name="connsiteY43" fmla="*/ 233594 h 408306"/>
                    <a:gd name="connsiteX44" fmla="*/ 283951 w 350433"/>
                    <a:gd name="connsiteY44" fmla="*/ 247267 h 408306"/>
                    <a:gd name="connsiteX45" fmla="*/ 281668 w 350433"/>
                    <a:gd name="connsiteY45" fmla="*/ 251869 h 408306"/>
                    <a:gd name="connsiteX46" fmla="*/ 273277 w 350433"/>
                    <a:gd name="connsiteY46" fmla="*/ 257115 h 408306"/>
                    <a:gd name="connsiteX47" fmla="*/ 271103 w 350433"/>
                    <a:gd name="connsiteY47" fmla="*/ 259240 h 408306"/>
                    <a:gd name="connsiteX48" fmla="*/ 269670 w 350433"/>
                    <a:gd name="connsiteY48" fmla="*/ 262117 h 408306"/>
                    <a:gd name="connsiteX49" fmla="*/ 267084 w 350433"/>
                    <a:gd name="connsiteY49" fmla="*/ 272220 h 408306"/>
                    <a:gd name="connsiteX50" fmla="*/ 264206 w 350433"/>
                    <a:gd name="connsiteY50" fmla="*/ 273969 h 408306"/>
                    <a:gd name="connsiteX51" fmla="*/ 262081 w 350433"/>
                    <a:gd name="connsiteY51" fmla="*/ 275693 h 408306"/>
                    <a:gd name="connsiteX52" fmla="*/ 260818 w 350433"/>
                    <a:gd name="connsiteY52" fmla="*/ 278049 h 408306"/>
                    <a:gd name="connsiteX53" fmla="*/ 260357 w 350433"/>
                    <a:gd name="connsiteY53" fmla="*/ 286088 h 408306"/>
                    <a:gd name="connsiteX54" fmla="*/ 258620 w 350433"/>
                    <a:gd name="connsiteY54" fmla="*/ 288383 h 408306"/>
                    <a:gd name="connsiteX55" fmla="*/ 256338 w 350433"/>
                    <a:gd name="connsiteY55" fmla="*/ 289961 h 408306"/>
                    <a:gd name="connsiteX56" fmla="*/ 254273 w 350433"/>
                    <a:gd name="connsiteY56" fmla="*/ 292256 h 408306"/>
                    <a:gd name="connsiteX57" fmla="*/ 254152 w 350433"/>
                    <a:gd name="connsiteY57" fmla="*/ 293434 h 408306"/>
                    <a:gd name="connsiteX58" fmla="*/ 254783 w 350433"/>
                    <a:gd name="connsiteY58" fmla="*/ 296907 h 408306"/>
                    <a:gd name="connsiteX59" fmla="*/ 254601 w 350433"/>
                    <a:gd name="connsiteY59" fmla="*/ 298546 h 408306"/>
                    <a:gd name="connsiteX60" fmla="*/ 253302 w 350433"/>
                    <a:gd name="connsiteY60" fmla="*/ 300173 h 408306"/>
                    <a:gd name="connsiteX61" fmla="*/ 249392 w 350433"/>
                    <a:gd name="connsiteY61" fmla="*/ 302869 h 408306"/>
                    <a:gd name="connsiteX62" fmla="*/ 248008 w 350433"/>
                    <a:gd name="connsiteY62" fmla="*/ 304569 h 408306"/>
                    <a:gd name="connsiteX63" fmla="*/ 246975 w 350433"/>
                    <a:gd name="connsiteY63" fmla="*/ 307702 h 408306"/>
                    <a:gd name="connsiteX64" fmla="*/ 246405 w 350433"/>
                    <a:gd name="connsiteY64" fmla="*/ 314417 h 408306"/>
                    <a:gd name="connsiteX65" fmla="*/ 245615 w 350433"/>
                    <a:gd name="connsiteY65" fmla="*/ 317732 h 408306"/>
                    <a:gd name="connsiteX66" fmla="*/ 236484 w 350433"/>
                    <a:gd name="connsiteY66" fmla="*/ 338824 h 408306"/>
                    <a:gd name="connsiteX67" fmla="*/ 234237 w 350433"/>
                    <a:gd name="connsiteY67" fmla="*/ 346316 h 408306"/>
                    <a:gd name="connsiteX68" fmla="*/ 233545 w 350433"/>
                    <a:gd name="connsiteY68" fmla="*/ 353469 h 408306"/>
                    <a:gd name="connsiteX69" fmla="*/ 232744 w 350433"/>
                    <a:gd name="connsiteY69" fmla="*/ 356942 h 408306"/>
                    <a:gd name="connsiteX70" fmla="*/ 230777 w 350433"/>
                    <a:gd name="connsiteY70" fmla="*/ 359212 h 408306"/>
                    <a:gd name="connsiteX71" fmla="*/ 229939 w 350433"/>
                    <a:gd name="connsiteY71" fmla="*/ 361107 h 408306"/>
                    <a:gd name="connsiteX72" fmla="*/ 228967 w 350433"/>
                    <a:gd name="connsiteY72" fmla="*/ 368744 h 408306"/>
                    <a:gd name="connsiteX73" fmla="*/ 228263 w 350433"/>
                    <a:gd name="connsiteY73" fmla="*/ 371622 h 408306"/>
                    <a:gd name="connsiteX74" fmla="*/ 219775 w 350433"/>
                    <a:gd name="connsiteY74" fmla="*/ 382806 h 408306"/>
                    <a:gd name="connsiteX75" fmla="*/ 217941 w 350433"/>
                    <a:gd name="connsiteY75" fmla="*/ 386740 h 408306"/>
                    <a:gd name="connsiteX76" fmla="*/ 217650 w 350433"/>
                    <a:gd name="connsiteY76" fmla="*/ 390711 h 408306"/>
                    <a:gd name="connsiteX77" fmla="*/ 217941 w 350433"/>
                    <a:gd name="connsiteY77" fmla="*/ 395046 h 408306"/>
                    <a:gd name="connsiteX78" fmla="*/ 217359 w 350433"/>
                    <a:gd name="connsiteY78" fmla="*/ 399065 h 408306"/>
                    <a:gd name="connsiteX79" fmla="*/ 216788 w 350433"/>
                    <a:gd name="connsiteY79" fmla="*/ 399660 h 408306"/>
                    <a:gd name="connsiteX80" fmla="*/ 214493 w 350433"/>
                    <a:gd name="connsiteY80" fmla="*/ 402101 h 408306"/>
                    <a:gd name="connsiteX81" fmla="*/ 211275 w 350433"/>
                    <a:gd name="connsiteY81" fmla="*/ 401907 h 408306"/>
                    <a:gd name="connsiteX82" fmla="*/ 208640 w 350433"/>
                    <a:gd name="connsiteY82" fmla="*/ 398944 h 408306"/>
                    <a:gd name="connsiteX83" fmla="*/ 205920 w 350433"/>
                    <a:gd name="connsiteY83" fmla="*/ 395265 h 408306"/>
                    <a:gd name="connsiteX84" fmla="*/ 202933 w 350433"/>
                    <a:gd name="connsiteY84" fmla="*/ 392921 h 408306"/>
                    <a:gd name="connsiteX85" fmla="*/ 192211 w 350433"/>
                    <a:gd name="connsiteY85" fmla="*/ 387141 h 408306"/>
                    <a:gd name="connsiteX86" fmla="*/ 187900 w 350433"/>
                    <a:gd name="connsiteY86" fmla="*/ 386364 h 408306"/>
                    <a:gd name="connsiteX87" fmla="*/ 181476 w 350433"/>
                    <a:gd name="connsiteY87" fmla="*/ 384798 h 408306"/>
                    <a:gd name="connsiteX88" fmla="*/ 176133 w 350433"/>
                    <a:gd name="connsiteY88" fmla="*/ 382782 h 408306"/>
                    <a:gd name="connsiteX89" fmla="*/ 170693 w 350433"/>
                    <a:gd name="connsiteY89" fmla="*/ 381519 h 408306"/>
                    <a:gd name="connsiteX90" fmla="*/ 155806 w 350433"/>
                    <a:gd name="connsiteY90" fmla="*/ 383352 h 408306"/>
                    <a:gd name="connsiteX91" fmla="*/ 151848 w 350433"/>
                    <a:gd name="connsiteY91" fmla="*/ 381495 h 408306"/>
                    <a:gd name="connsiteX92" fmla="*/ 144452 w 350433"/>
                    <a:gd name="connsiteY92" fmla="*/ 371622 h 408306"/>
                    <a:gd name="connsiteX93" fmla="*/ 138418 w 350433"/>
                    <a:gd name="connsiteY93" fmla="*/ 369570 h 408306"/>
                    <a:gd name="connsiteX94" fmla="*/ 128946 w 350433"/>
                    <a:gd name="connsiteY94" fmla="*/ 368453 h 408306"/>
                    <a:gd name="connsiteX95" fmla="*/ 119936 w 350433"/>
                    <a:gd name="connsiteY95" fmla="*/ 368890 h 408306"/>
                    <a:gd name="connsiteX96" fmla="*/ 115346 w 350433"/>
                    <a:gd name="connsiteY96" fmla="*/ 371622 h 408306"/>
                    <a:gd name="connsiteX97" fmla="*/ 114872 w 350433"/>
                    <a:gd name="connsiteY97" fmla="*/ 373189 h 408306"/>
                    <a:gd name="connsiteX98" fmla="*/ 114192 w 350433"/>
                    <a:gd name="connsiteY98" fmla="*/ 374707 h 408306"/>
                    <a:gd name="connsiteX99" fmla="*/ 113269 w 350433"/>
                    <a:gd name="connsiteY99" fmla="*/ 376030 h 408306"/>
                    <a:gd name="connsiteX100" fmla="*/ 112189 w 350433"/>
                    <a:gd name="connsiteY100" fmla="*/ 377014 h 408306"/>
                    <a:gd name="connsiteX101" fmla="*/ 110331 w 350433"/>
                    <a:gd name="connsiteY101" fmla="*/ 377475 h 408306"/>
                    <a:gd name="connsiteX102" fmla="*/ 109202 w 350433"/>
                    <a:gd name="connsiteY102" fmla="*/ 376443 h 408306"/>
                    <a:gd name="connsiteX103" fmla="*/ 108206 w 350433"/>
                    <a:gd name="connsiteY103" fmla="*/ 375047 h 408306"/>
                    <a:gd name="connsiteX104" fmla="*/ 107004 w 350433"/>
                    <a:gd name="connsiteY104" fmla="*/ 374464 h 408306"/>
                    <a:gd name="connsiteX105" fmla="*/ 103822 w 350433"/>
                    <a:gd name="connsiteY105" fmla="*/ 375557 h 408306"/>
                    <a:gd name="connsiteX106" fmla="*/ 98030 w 350433"/>
                    <a:gd name="connsiteY106" fmla="*/ 378799 h 408306"/>
                    <a:gd name="connsiteX107" fmla="*/ 94071 w 350433"/>
                    <a:gd name="connsiteY107" fmla="*/ 379115 h 408306"/>
                    <a:gd name="connsiteX108" fmla="*/ 90671 w 350433"/>
                    <a:gd name="connsiteY108" fmla="*/ 378629 h 408306"/>
                    <a:gd name="connsiteX109" fmla="*/ 89251 w 350433"/>
                    <a:gd name="connsiteY109" fmla="*/ 376844 h 408306"/>
                    <a:gd name="connsiteX110" fmla="*/ 88838 w 350433"/>
                    <a:gd name="connsiteY110" fmla="*/ 375217 h 408306"/>
                    <a:gd name="connsiteX111" fmla="*/ 88158 w 350433"/>
                    <a:gd name="connsiteY111" fmla="*/ 358715 h 408306"/>
                    <a:gd name="connsiteX112" fmla="*/ 88996 w 350433"/>
                    <a:gd name="connsiteY112" fmla="*/ 354926 h 408306"/>
                    <a:gd name="connsiteX113" fmla="*/ 85790 w 350433"/>
                    <a:gd name="connsiteY113" fmla="*/ 348527 h 408306"/>
                    <a:gd name="connsiteX114" fmla="*/ 82427 w 350433"/>
                    <a:gd name="connsiteY114" fmla="*/ 346365 h 408306"/>
                    <a:gd name="connsiteX115" fmla="*/ 79743 w 350433"/>
                    <a:gd name="connsiteY115" fmla="*/ 344264 h 408306"/>
                    <a:gd name="connsiteX116" fmla="*/ 68802 w 350433"/>
                    <a:gd name="connsiteY116" fmla="*/ 338363 h 408306"/>
                    <a:gd name="connsiteX117" fmla="*/ 67236 w 350433"/>
                    <a:gd name="connsiteY117" fmla="*/ 331308 h 408306"/>
                    <a:gd name="connsiteX118" fmla="*/ 62026 w 350433"/>
                    <a:gd name="connsiteY118" fmla="*/ 325224 h 408306"/>
                    <a:gd name="connsiteX119" fmla="*/ 52166 w 350433"/>
                    <a:gd name="connsiteY119" fmla="*/ 323828 h 408306"/>
                    <a:gd name="connsiteX120" fmla="*/ 51753 w 350433"/>
                    <a:gd name="connsiteY120" fmla="*/ 323816 h 408306"/>
                    <a:gd name="connsiteX121" fmla="*/ 48317 w 350433"/>
                    <a:gd name="connsiteY121" fmla="*/ 324144 h 408306"/>
                    <a:gd name="connsiteX122" fmla="*/ 47892 w 350433"/>
                    <a:gd name="connsiteY122" fmla="*/ 324131 h 408306"/>
                    <a:gd name="connsiteX123" fmla="*/ 42938 w 350433"/>
                    <a:gd name="connsiteY123" fmla="*/ 323743 h 408306"/>
                    <a:gd name="connsiteX124" fmla="*/ 37643 w 350433"/>
                    <a:gd name="connsiteY124" fmla="*/ 327738 h 408306"/>
                    <a:gd name="connsiteX125" fmla="*/ 33927 w 350433"/>
                    <a:gd name="connsiteY125" fmla="*/ 329960 h 408306"/>
                    <a:gd name="connsiteX126" fmla="*/ 30236 w 350433"/>
                    <a:gd name="connsiteY126" fmla="*/ 331527 h 408306"/>
                    <a:gd name="connsiteX127" fmla="*/ 29556 w 350433"/>
                    <a:gd name="connsiteY127" fmla="*/ 331502 h 408306"/>
                    <a:gd name="connsiteX128" fmla="*/ 23230 w 350433"/>
                    <a:gd name="connsiteY128" fmla="*/ 330361 h 408306"/>
                    <a:gd name="connsiteX129" fmla="*/ 21311 w 350433"/>
                    <a:gd name="connsiteY129" fmla="*/ 327082 h 408306"/>
                    <a:gd name="connsiteX130" fmla="*/ 18081 w 350433"/>
                    <a:gd name="connsiteY130" fmla="*/ 323039 h 408306"/>
                    <a:gd name="connsiteX131" fmla="*/ 16527 w 350433"/>
                    <a:gd name="connsiteY131" fmla="*/ 315983 h 408306"/>
                    <a:gd name="connsiteX132" fmla="*/ 16247 w 350433"/>
                    <a:gd name="connsiteY132" fmla="*/ 289111 h 408306"/>
                    <a:gd name="connsiteX133" fmla="*/ 10637 w 350433"/>
                    <a:gd name="connsiteY133" fmla="*/ 277478 h 408306"/>
                    <a:gd name="connsiteX134" fmla="*/ 9532 w 350433"/>
                    <a:gd name="connsiteY134" fmla="*/ 258875 h 408306"/>
                    <a:gd name="connsiteX135" fmla="*/ 8694 w 350433"/>
                    <a:gd name="connsiteY135" fmla="*/ 258778 h 408306"/>
                    <a:gd name="connsiteX136" fmla="*/ 10783 w 350433"/>
                    <a:gd name="connsiteY136" fmla="*/ 253836 h 408306"/>
                    <a:gd name="connsiteX137" fmla="*/ 10030 w 350433"/>
                    <a:gd name="connsiteY137" fmla="*/ 244972 h 408306"/>
                    <a:gd name="connsiteX138" fmla="*/ 16296 w 350433"/>
                    <a:gd name="connsiteY138" fmla="*/ 237892 h 408306"/>
                    <a:gd name="connsiteX139" fmla="*/ 22708 w 350433"/>
                    <a:gd name="connsiteY139" fmla="*/ 219520 h 408306"/>
                    <a:gd name="connsiteX140" fmla="*/ 22659 w 350433"/>
                    <a:gd name="connsiteY140" fmla="*/ 211348 h 408306"/>
                    <a:gd name="connsiteX141" fmla="*/ 24043 w 350433"/>
                    <a:gd name="connsiteY141" fmla="*/ 202641 h 408306"/>
                    <a:gd name="connsiteX142" fmla="*/ 25306 w 350433"/>
                    <a:gd name="connsiteY142" fmla="*/ 195805 h 408306"/>
                    <a:gd name="connsiteX143" fmla="*/ 27710 w 350433"/>
                    <a:gd name="connsiteY143" fmla="*/ 192223 h 408306"/>
                    <a:gd name="connsiteX144" fmla="*/ 30928 w 350433"/>
                    <a:gd name="connsiteY144" fmla="*/ 187438 h 408306"/>
                    <a:gd name="connsiteX145" fmla="*/ 37947 w 350433"/>
                    <a:gd name="connsiteY145" fmla="*/ 179825 h 408306"/>
                    <a:gd name="connsiteX146" fmla="*/ 45645 w 350433"/>
                    <a:gd name="connsiteY146" fmla="*/ 172235 h 408306"/>
                    <a:gd name="connsiteX147" fmla="*/ 52773 w 350433"/>
                    <a:gd name="connsiteY147" fmla="*/ 163359 h 408306"/>
                    <a:gd name="connsiteX148" fmla="*/ 56781 w 350433"/>
                    <a:gd name="connsiteY148" fmla="*/ 147112 h 408306"/>
                    <a:gd name="connsiteX149" fmla="*/ 61553 w 350433"/>
                    <a:gd name="connsiteY149" fmla="*/ 131496 h 408306"/>
                    <a:gd name="connsiteX150" fmla="*/ 81589 w 350433"/>
                    <a:gd name="connsiteY150" fmla="*/ 97775 h 408306"/>
                    <a:gd name="connsiteX151" fmla="*/ 89931 w 350433"/>
                    <a:gd name="connsiteY151" fmla="*/ 88461 h 408306"/>
                    <a:gd name="connsiteX152" fmla="*/ 103519 w 350433"/>
                    <a:gd name="connsiteY152" fmla="*/ 88036 h 408306"/>
                    <a:gd name="connsiteX153" fmla="*/ 107004 w 350433"/>
                    <a:gd name="connsiteY153" fmla="*/ 88158 h 408306"/>
                    <a:gd name="connsiteX154" fmla="*/ 110987 w 350433"/>
                    <a:gd name="connsiteY154" fmla="*/ 88121 h 408306"/>
                    <a:gd name="connsiteX155" fmla="*/ 113452 w 350433"/>
                    <a:gd name="connsiteY155" fmla="*/ 88194 h 408306"/>
                    <a:gd name="connsiteX156" fmla="*/ 117702 w 350433"/>
                    <a:gd name="connsiteY156" fmla="*/ 88534 h 408306"/>
                    <a:gd name="connsiteX157" fmla="*/ 123202 w 350433"/>
                    <a:gd name="connsiteY157" fmla="*/ 90841 h 408306"/>
                    <a:gd name="connsiteX158" fmla="*/ 128740 w 350433"/>
                    <a:gd name="connsiteY158" fmla="*/ 93173 h 408306"/>
                    <a:gd name="connsiteX159" fmla="*/ 129286 w 350433"/>
                    <a:gd name="connsiteY159" fmla="*/ 93185 h 408306"/>
                    <a:gd name="connsiteX160" fmla="*/ 136705 w 350433"/>
                    <a:gd name="connsiteY160" fmla="*/ 91278 h 408306"/>
                    <a:gd name="connsiteX161" fmla="*/ 139996 w 350433"/>
                    <a:gd name="connsiteY161" fmla="*/ 85256 h 408306"/>
                    <a:gd name="connsiteX162" fmla="*/ 145546 w 350433"/>
                    <a:gd name="connsiteY162" fmla="*/ 78140 h 408306"/>
                    <a:gd name="connsiteX163" fmla="*/ 150306 w 350433"/>
                    <a:gd name="connsiteY163" fmla="*/ 72214 h 408306"/>
                    <a:gd name="connsiteX164" fmla="*/ 155697 w 350433"/>
                    <a:gd name="connsiteY164" fmla="*/ 66980 h 408306"/>
                    <a:gd name="connsiteX165" fmla="*/ 156705 w 350433"/>
                    <a:gd name="connsiteY165" fmla="*/ 63277 h 408306"/>
                    <a:gd name="connsiteX166" fmla="*/ 158332 w 350433"/>
                    <a:gd name="connsiteY166" fmla="*/ 60265 h 408306"/>
                    <a:gd name="connsiteX167" fmla="*/ 159753 w 350433"/>
                    <a:gd name="connsiteY167" fmla="*/ 51559 h 408306"/>
                    <a:gd name="connsiteX168" fmla="*/ 163978 w 350433"/>
                    <a:gd name="connsiteY168" fmla="*/ 43083 h 408306"/>
                    <a:gd name="connsiteX169" fmla="*/ 169333 w 350433"/>
                    <a:gd name="connsiteY169" fmla="*/ 38469 h 408306"/>
                    <a:gd name="connsiteX170" fmla="*/ 171641 w 350433"/>
                    <a:gd name="connsiteY170" fmla="*/ 36149 h 408306"/>
                    <a:gd name="connsiteX171" fmla="*/ 175101 w 350433"/>
                    <a:gd name="connsiteY171" fmla="*/ 35202 h 408306"/>
                    <a:gd name="connsiteX172" fmla="*/ 176680 w 350433"/>
                    <a:gd name="connsiteY172" fmla="*/ 35275 h 408306"/>
                    <a:gd name="connsiteX173" fmla="*/ 182326 w 350433"/>
                    <a:gd name="connsiteY173" fmla="*/ 35725 h 408306"/>
                    <a:gd name="connsiteX174" fmla="*/ 189600 w 350433"/>
                    <a:gd name="connsiteY174" fmla="*/ 33769 h 408306"/>
                    <a:gd name="connsiteX175" fmla="*/ 197384 w 350433"/>
                    <a:gd name="connsiteY175" fmla="*/ 34377 h 408306"/>
                    <a:gd name="connsiteX176" fmla="*/ 201549 w 350433"/>
                    <a:gd name="connsiteY176" fmla="*/ 35967 h 408306"/>
                    <a:gd name="connsiteX177" fmla="*/ 206491 w 350433"/>
                    <a:gd name="connsiteY177" fmla="*/ 36356 h 408306"/>
                    <a:gd name="connsiteX178" fmla="*/ 217772 w 350433"/>
                    <a:gd name="connsiteY178" fmla="*/ 37230 h 408306"/>
                    <a:gd name="connsiteX179" fmla="*/ 228348 w 350433"/>
                    <a:gd name="connsiteY179" fmla="*/ 38712 h 408306"/>
                    <a:gd name="connsiteX180" fmla="*/ 231020 w 350433"/>
                    <a:gd name="connsiteY180" fmla="*/ 41456 h 408306"/>
                    <a:gd name="connsiteX181" fmla="*/ 235124 w 350433"/>
                    <a:gd name="connsiteY181" fmla="*/ 43022 h 408306"/>
                    <a:gd name="connsiteX182" fmla="*/ 239338 w 350433"/>
                    <a:gd name="connsiteY182" fmla="*/ 43982 h 408306"/>
                    <a:gd name="connsiteX183" fmla="*/ 242021 w 350433"/>
                    <a:gd name="connsiteY183" fmla="*/ 46094 h 408306"/>
                    <a:gd name="connsiteX184" fmla="*/ 258123 w 350433"/>
                    <a:gd name="connsiteY184" fmla="*/ 49252 h 408306"/>
                    <a:gd name="connsiteX185" fmla="*/ 265020 w 350433"/>
                    <a:gd name="connsiteY185" fmla="*/ 50017 h 408306"/>
                    <a:gd name="connsiteX186" fmla="*/ 266623 w 350433"/>
                    <a:gd name="connsiteY186" fmla="*/ 49920 h 408306"/>
                    <a:gd name="connsiteX187" fmla="*/ 273168 w 350433"/>
                    <a:gd name="connsiteY187" fmla="*/ 47916 h 408306"/>
                    <a:gd name="connsiteX188" fmla="*/ 273289 w 350433"/>
                    <a:gd name="connsiteY188" fmla="*/ 47916 h 408306"/>
                    <a:gd name="connsiteX189" fmla="*/ 275900 w 350433"/>
                    <a:gd name="connsiteY189" fmla="*/ 47503 h 408306"/>
                    <a:gd name="connsiteX190" fmla="*/ 276034 w 350433"/>
                    <a:gd name="connsiteY190" fmla="*/ 47503 h 408306"/>
                    <a:gd name="connsiteX191" fmla="*/ 279822 w 350433"/>
                    <a:gd name="connsiteY191" fmla="*/ 44662 h 408306"/>
                    <a:gd name="connsiteX192" fmla="*/ 287217 w 350433"/>
                    <a:gd name="connsiteY192" fmla="*/ 41456 h 408306"/>
                    <a:gd name="connsiteX193" fmla="*/ 291273 w 350433"/>
                    <a:gd name="connsiteY193" fmla="*/ 34850 h 408306"/>
                    <a:gd name="connsiteX194" fmla="*/ 293993 w 350433"/>
                    <a:gd name="connsiteY194" fmla="*/ 27516 h 408306"/>
                    <a:gd name="connsiteX195" fmla="*/ 298194 w 350433"/>
                    <a:gd name="connsiteY195" fmla="*/ 19659 h 408306"/>
                    <a:gd name="connsiteX196" fmla="*/ 302274 w 350433"/>
                    <a:gd name="connsiteY196" fmla="*/ 13054 h 408306"/>
                    <a:gd name="connsiteX197" fmla="*/ 308406 w 350433"/>
                    <a:gd name="connsiteY197" fmla="*/ 7249 h 408306"/>
                    <a:gd name="connsiteX198" fmla="*/ 315632 w 350433"/>
                    <a:gd name="connsiteY198" fmla="*/ 6071 h 408306"/>
                    <a:gd name="connsiteX199" fmla="*/ 315632 w 350433"/>
                    <a:gd name="connsiteY199" fmla="*/ 0 h 408306"/>
                    <a:gd name="connsiteX200" fmla="*/ 306366 w 350433"/>
                    <a:gd name="connsiteY200" fmla="*/ 1578 h 408306"/>
                    <a:gd name="connsiteX201" fmla="*/ 305869 w 350433"/>
                    <a:gd name="connsiteY201" fmla="*/ 1749 h 408306"/>
                    <a:gd name="connsiteX202" fmla="*/ 305407 w 350433"/>
                    <a:gd name="connsiteY202" fmla="*/ 2004 h 408306"/>
                    <a:gd name="connsiteX203" fmla="*/ 296421 w 350433"/>
                    <a:gd name="connsiteY203" fmla="*/ 11378 h 408306"/>
                    <a:gd name="connsiteX204" fmla="*/ 294600 w 350433"/>
                    <a:gd name="connsiteY204" fmla="*/ 14195 h 408306"/>
                    <a:gd name="connsiteX205" fmla="*/ 293082 w 350433"/>
                    <a:gd name="connsiteY205" fmla="*/ 16405 h 408306"/>
                    <a:gd name="connsiteX206" fmla="*/ 290969 w 350433"/>
                    <a:gd name="connsiteY206" fmla="*/ 20424 h 408306"/>
                    <a:gd name="connsiteX207" fmla="*/ 288917 w 350433"/>
                    <a:gd name="connsiteY207" fmla="*/ 24213 h 408306"/>
                    <a:gd name="connsiteX208" fmla="*/ 288504 w 350433"/>
                    <a:gd name="connsiteY208" fmla="*/ 24832 h 408306"/>
                    <a:gd name="connsiteX209" fmla="*/ 288249 w 350433"/>
                    <a:gd name="connsiteY209" fmla="*/ 25524 h 408306"/>
                    <a:gd name="connsiteX210" fmla="*/ 287387 w 350433"/>
                    <a:gd name="connsiteY210" fmla="*/ 27516 h 408306"/>
                    <a:gd name="connsiteX211" fmla="*/ 285311 w 350433"/>
                    <a:gd name="connsiteY211" fmla="*/ 33539 h 408306"/>
                    <a:gd name="connsiteX212" fmla="*/ 284995 w 350433"/>
                    <a:gd name="connsiteY212" fmla="*/ 34534 h 408306"/>
                    <a:gd name="connsiteX213" fmla="*/ 284424 w 350433"/>
                    <a:gd name="connsiteY213" fmla="*/ 36101 h 408306"/>
                    <a:gd name="connsiteX214" fmla="*/ 282615 w 350433"/>
                    <a:gd name="connsiteY214" fmla="*/ 36769 h 408306"/>
                    <a:gd name="connsiteX215" fmla="*/ 276823 w 350433"/>
                    <a:gd name="connsiteY215" fmla="*/ 39392 h 408306"/>
                    <a:gd name="connsiteX216" fmla="*/ 273435 w 350433"/>
                    <a:gd name="connsiteY216" fmla="*/ 41808 h 408306"/>
                    <a:gd name="connsiteX217" fmla="*/ 273338 w 350433"/>
                    <a:gd name="connsiteY217" fmla="*/ 41820 h 408306"/>
                    <a:gd name="connsiteX218" fmla="*/ 272463 w 350433"/>
                    <a:gd name="connsiteY218" fmla="*/ 41747 h 408306"/>
                    <a:gd name="connsiteX219" fmla="*/ 271905 w 350433"/>
                    <a:gd name="connsiteY219" fmla="*/ 42014 h 408306"/>
                    <a:gd name="connsiteX220" fmla="*/ 267861 w 350433"/>
                    <a:gd name="connsiteY220" fmla="*/ 43229 h 408306"/>
                    <a:gd name="connsiteX221" fmla="*/ 265384 w 350433"/>
                    <a:gd name="connsiteY221" fmla="*/ 44006 h 408306"/>
                    <a:gd name="connsiteX222" fmla="*/ 265275 w 350433"/>
                    <a:gd name="connsiteY222" fmla="*/ 43982 h 408306"/>
                    <a:gd name="connsiteX223" fmla="*/ 265020 w 350433"/>
                    <a:gd name="connsiteY223" fmla="*/ 43982 h 408306"/>
                    <a:gd name="connsiteX224" fmla="*/ 261316 w 350433"/>
                    <a:gd name="connsiteY224" fmla="*/ 43581 h 408306"/>
                    <a:gd name="connsiteX225" fmla="*/ 258560 w 350433"/>
                    <a:gd name="connsiteY225" fmla="*/ 43229 h 408306"/>
                    <a:gd name="connsiteX226" fmla="*/ 255633 w 350433"/>
                    <a:gd name="connsiteY226" fmla="*/ 43034 h 408306"/>
                    <a:gd name="connsiteX227" fmla="*/ 245713 w 350433"/>
                    <a:gd name="connsiteY227" fmla="*/ 41249 h 408306"/>
                    <a:gd name="connsiteX228" fmla="*/ 242276 w 350433"/>
                    <a:gd name="connsiteY228" fmla="*/ 38712 h 408306"/>
                    <a:gd name="connsiteX229" fmla="*/ 241098 w 350433"/>
                    <a:gd name="connsiteY229" fmla="*/ 38068 h 408306"/>
                    <a:gd name="connsiteX230" fmla="*/ 239763 w 350433"/>
                    <a:gd name="connsiteY230" fmla="*/ 37971 h 408306"/>
                    <a:gd name="connsiteX231" fmla="*/ 237989 w 350433"/>
                    <a:gd name="connsiteY231" fmla="*/ 37716 h 408306"/>
                    <a:gd name="connsiteX232" fmla="*/ 236860 w 350433"/>
                    <a:gd name="connsiteY232" fmla="*/ 37109 h 408306"/>
                    <a:gd name="connsiteX233" fmla="*/ 235597 w 350433"/>
                    <a:gd name="connsiteY233" fmla="*/ 37012 h 408306"/>
                    <a:gd name="connsiteX234" fmla="*/ 235464 w 350433"/>
                    <a:gd name="connsiteY234" fmla="*/ 36963 h 408306"/>
                    <a:gd name="connsiteX235" fmla="*/ 230242 w 350433"/>
                    <a:gd name="connsiteY235" fmla="*/ 32932 h 408306"/>
                    <a:gd name="connsiteX236" fmla="*/ 220273 w 350433"/>
                    <a:gd name="connsiteY236" fmla="*/ 31329 h 408306"/>
                    <a:gd name="connsiteX237" fmla="*/ 218269 w 350433"/>
                    <a:gd name="connsiteY237" fmla="*/ 31232 h 408306"/>
                    <a:gd name="connsiteX238" fmla="*/ 212696 w 350433"/>
                    <a:gd name="connsiteY238" fmla="*/ 30794 h 408306"/>
                    <a:gd name="connsiteX239" fmla="*/ 206964 w 350433"/>
                    <a:gd name="connsiteY239" fmla="*/ 30345 h 408306"/>
                    <a:gd name="connsiteX240" fmla="*/ 203941 w 350433"/>
                    <a:gd name="connsiteY240" fmla="*/ 30102 h 408306"/>
                    <a:gd name="connsiteX241" fmla="*/ 202046 w 350433"/>
                    <a:gd name="connsiteY241" fmla="*/ 29944 h 408306"/>
                    <a:gd name="connsiteX242" fmla="*/ 201257 w 350433"/>
                    <a:gd name="connsiteY242" fmla="*/ 29629 h 408306"/>
                    <a:gd name="connsiteX243" fmla="*/ 200358 w 350433"/>
                    <a:gd name="connsiteY243" fmla="*/ 29106 h 408306"/>
                    <a:gd name="connsiteX244" fmla="*/ 199970 w 350433"/>
                    <a:gd name="connsiteY244" fmla="*/ 28888 h 408306"/>
                    <a:gd name="connsiteX245" fmla="*/ 199545 w 350433"/>
                    <a:gd name="connsiteY245" fmla="*/ 28730 h 408306"/>
                    <a:gd name="connsiteX246" fmla="*/ 192041 w 350433"/>
                    <a:gd name="connsiteY246" fmla="*/ 27795 h 408306"/>
                    <a:gd name="connsiteX247" fmla="*/ 190146 w 350433"/>
                    <a:gd name="connsiteY247" fmla="*/ 27759 h 408306"/>
                    <a:gd name="connsiteX248" fmla="*/ 189454 w 350433"/>
                    <a:gd name="connsiteY248" fmla="*/ 27698 h 408306"/>
                    <a:gd name="connsiteX249" fmla="*/ 188762 w 350433"/>
                    <a:gd name="connsiteY249" fmla="*/ 27795 h 408306"/>
                    <a:gd name="connsiteX250" fmla="*/ 183176 w 350433"/>
                    <a:gd name="connsiteY250" fmla="*/ 29204 h 408306"/>
                    <a:gd name="connsiteX251" fmla="*/ 181853 w 350433"/>
                    <a:gd name="connsiteY251" fmla="*/ 29629 h 408306"/>
                    <a:gd name="connsiteX252" fmla="*/ 179533 w 350433"/>
                    <a:gd name="connsiteY252" fmla="*/ 29446 h 408306"/>
                    <a:gd name="connsiteX253" fmla="*/ 177202 w 350433"/>
                    <a:gd name="connsiteY253" fmla="*/ 29264 h 408306"/>
                    <a:gd name="connsiteX254" fmla="*/ 175150 w 350433"/>
                    <a:gd name="connsiteY254" fmla="*/ 29167 h 408306"/>
                    <a:gd name="connsiteX255" fmla="*/ 167998 w 350433"/>
                    <a:gd name="connsiteY255" fmla="*/ 31365 h 408306"/>
                    <a:gd name="connsiteX256" fmla="*/ 165958 w 350433"/>
                    <a:gd name="connsiteY256" fmla="*/ 33345 h 408306"/>
                    <a:gd name="connsiteX257" fmla="*/ 165484 w 350433"/>
                    <a:gd name="connsiteY257" fmla="*/ 33854 h 408306"/>
                    <a:gd name="connsiteX258" fmla="*/ 165302 w 350433"/>
                    <a:gd name="connsiteY258" fmla="*/ 34025 h 408306"/>
                    <a:gd name="connsiteX259" fmla="*/ 164828 w 350433"/>
                    <a:gd name="connsiteY259" fmla="*/ 34474 h 408306"/>
                    <a:gd name="connsiteX260" fmla="*/ 163019 w 350433"/>
                    <a:gd name="connsiteY260" fmla="*/ 35992 h 408306"/>
                    <a:gd name="connsiteX261" fmla="*/ 159898 w 350433"/>
                    <a:gd name="connsiteY261" fmla="*/ 38639 h 408306"/>
                    <a:gd name="connsiteX262" fmla="*/ 154410 w 350433"/>
                    <a:gd name="connsiteY262" fmla="*/ 48292 h 408306"/>
                    <a:gd name="connsiteX263" fmla="*/ 153997 w 350433"/>
                    <a:gd name="connsiteY263" fmla="*/ 49810 h 408306"/>
                    <a:gd name="connsiteX264" fmla="*/ 153026 w 350433"/>
                    <a:gd name="connsiteY264" fmla="*/ 55687 h 408306"/>
                    <a:gd name="connsiteX265" fmla="*/ 152795 w 350433"/>
                    <a:gd name="connsiteY265" fmla="*/ 57728 h 408306"/>
                    <a:gd name="connsiteX266" fmla="*/ 151083 w 350433"/>
                    <a:gd name="connsiteY266" fmla="*/ 60945 h 408306"/>
                    <a:gd name="connsiteX267" fmla="*/ 149783 w 350433"/>
                    <a:gd name="connsiteY267" fmla="*/ 65305 h 408306"/>
                    <a:gd name="connsiteX268" fmla="*/ 147707 w 350433"/>
                    <a:gd name="connsiteY268" fmla="*/ 66774 h 408306"/>
                    <a:gd name="connsiteX269" fmla="*/ 147148 w 350433"/>
                    <a:gd name="connsiteY269" fmla="*/ 67041 h 408306"/>
                    <a:gd name="connsiteX270" fmla="*/ 146662 w 350433"/>
                    <a:gd name="connsiteY270" fmla="*/ 67405 h 408306"/>
                    <a:gd name="connsiteX271" fmla="*/ 142085 w 350433"/>
                    <a:gd name="connsiteY271" fmla="*/ 72675 h 408306"/>
                    <a:gd name="connsiteX272" fmla="*/ 141028 w 350433"/>
                    <a:gd name="connsiteY272" fmla="*/ 74169 h 408306"/>
                    <a:gd name="connsiteX273" fmla="*/ 134726 w 350433"/>
                    <a:gd name="connsiteY273" fmla="*/ 82329 h 408306"/>
                    <a:gd name="connsiteX274" fmla="*/ 133560 w 350433"/>
                    <a:gd name="connsiteY274" fmla="*/ 85911 h 408306"/>
                    <a:gd name="connsiteX275" fmla="*/ 133524 w 350433"/>
                    <a:gd name="connsiteY275" fmla="*/ 86142 h 408306"/>
                    <a:gd name="connsiteX276" fmla="*/ 133087 w 350433"/>
                    <a:gd name="connsiteY276" fmla="*/ 86470 h 408306"/>
                    <a:gd name="connsiteX277" fmla="*/ 129310 w 350433"/>
                    <a:gd name="connsiteY277" fmla="*/ 87162 h 408306"/>
                    <a:gd name="connsiteX278" fmla="*/ 127088 w 350433"/>
                    <a:gd name="connsiteY278" fmla="*/ 86105 h 408306"/>
                    <a:gd name="connsiteX279" fmla="*/ 126493 w 350433"/>
                    <a:gd name="connsiteY279" fmla="*/ 85765 h 408306"/>
                    <a:gd name="connsiteX280" fmla="*/ 118212 w 350433"/>
                    <a:gd name="connsiteY280" fmla="*/ 82523 h 408306"/>
                    <a:gd name="connsiteX281" fmla="*/ 114970 w 350433"/>
                    <a:gd name="connsiteY281" fmla="*/ 82268 h 408306"/>
                    <a:gd name="connsiteX282" fmla="*/ 113949 w 350433"/>
                    <a:gd name="connsiteY282" fmla="*/ 82183 h 408306"/>
                    <a:gd name="connsiteX283" fmla="*/ 110999 w 350433"/>
                    <a:gd name="connsiteY283" fmla="*/ 82086 h 408306"/>
                    <a:gd name="connsiteX284" fmla="*/ 109007 w 350433"/>
                    <a:gd name="connsiteY284" fmla="*/ 82098 h 408306"/>
                    <a:gd name="connsiteX285" fmla="*/ 107016 w 350433"/>
                    <a:gd name="connsiteY285" fmla="*/ 82110 h 408306"/>
                    <a:gd name="connsiteX286" fmla="*/ 104017 w 350433"/>
                    <a:gd name="connsiteY286" fmla="*/ 82013 h 408306"/>
                    <a:gd name="connsiteX287" fmla="*/ 103689 w 350433"/>
                    <a:gd name="connsiteY287" fmla="*/ 81989 h 408306"/>
                    <a:gd name="connsiteX288" fmla="*/ 103349 w 350433"/>
                    <a:gd name="connsiteY288" fmla="*/ 82001 h 408306"/>
                    <a:gd name="connsiteX289" fmla="*/ 89761 w 350433"/>
                    <a:gd name="connsiteY289" fmla="*/ 82426 h 408306"/>
                    <a:gd name="connsiteX290" fmla="*/ 84066 w 350433"/>
                    <a:gd name="connsiteY290" fmla="*/ 82608 h 408306"/>
                    <a:gd name="connsiteX291" fmla="*/ 83908 w 350433"/>
                    <a:gd name="connsiteY291" fmla="*/ 87490 h 408306"/>
                    <a:gd name="connsiteX292" fmla="*/ 80593 w 350433"/>
                    <a:gd name="connsiteY292" fmla="*/ 90538 h 408306"/>
                    <a:gd name="connsiteX293" fmla="*/ 77023 w 350433"/>
                    <a:gd name="connsiteY293" fmla="*/ 93828 h 408306"/>
                    <a:gd name="connsiteX294" fmla="*/ 55748 w 350433"/>
                    <a:gd name="connsiteY294" fmla="*/ 129796 h 408306"/>
                    <a:gd name="connsiteX295" fmla="*/ 53854 w 350433"/>
                    <a:gd name="connsiteY295" fmla="*/ 135952 h 408306"/>
                    <a:gd name="connsiteX296" fmla="*/ 50988 w 350433"/>
                    <a:gd name="connsiteY296" fmla="*/ 145424 h 408306"/>
                    <a:gd name="connsiteX297" fmla="*/ 49725 w 350433"/>
                    <a:gd name="connsiteY297" fmla="*/ 152430 h 408306"/>
                    <a:gd name="connsiteX298" fmla="*/ 47746 w 350433"/>
                    <a:gd name="connsiteY298" fmla="*/ 160008 h 408306"/>
                    <a:gd name="connsiteX299" fmla="*/ 42015 w 350433"/>
                    <a:gd name="connsiteY299" fmla="*/ 167402 h 408306"/>
                    <a:gd name="connsiteX300" fmla="*/ 33442 w 350433"/>
                    <a:gd name="connsiteY300" fmla="*/ 175769 h 408306"/>
                    <a:gd name="connsiteX301" fmla="*/ 31972 w 350433"/>
                    <a:gd name="connsiteY301" fmla="*/ 177153 h 408306"/>
                    <a:gd name="connsiteX302" fmla="*/ 26192 w 350433"/>
                    <a:gd name="connsiteY302" fmla="*/ 183577 h 408306"/>
                    <a:gd name="connsiteX303" fmla="*/ 23812 w 350433"/>
                    <a:gd name="connsiteY303" fmla="*/ 187123 h 408306"/>
                    <a:gd name="connsiteX304" fmla="*/ 23169 w 350433"/>
                    <a:gd name="connsiteY304" fmla="*/ 188228 h 408306"/>
                    <a:gd name="connsiteX305" fmla="*/ 22914 w 350433"/>
                    <a:gd name="connsiteY305" fmla="*/ 188519 h 408306"/>
                    <a:gd name="connsiteX306" fmla="*/ 22683 w 350433"/>
                    <a:gd name="connsiteY306" fmla="*/ 188835 h 408306"/>
                    <a:gd name="connsiteX307" fmla="*/ 22222 w 350433"/>
                    <a:gd name="connsiteY307" fmla="*/ 189369 h 408306"/>
                    <a:gd name="connsiteX308" fmla="*/ 19417 w 350433"/>
                    <a:gd name="connsiteY308" fmla="*/ 194299 h 408306"/>
                    <a:gd name="connsiteX309" fmla="*/ 18057 w 350433"/>
                    <a:gd name="connsiteY309" fmla="*/ 201548 h 408306"/>
                    <a:gd name="connsiteX310" fmla="*/ 16612 w 350433"/>
                    <a:gd name="connsiteY310" fmla="*/ 210947 h 408306"/>
                    <a:gd name="connsiteX311" fmla="*/ 16624 w 350433"/>
                    <a:gd name="connsiteY311" fmla="*/ 216217 h 408306"/>
                    <a:gd name="connsiteX312" fmla="*/ 16672 w 350433"/>
                    <a:gd name="connsiteY312" fmla="*/ 219010 h 408306"/>
                    <a:gd name="connsiteX313" fmla="*/ 12119 w 350433"/>
                    <a:gd name="connsiteY313" fmla="*/ 233448 h 408306"/>
                    <a:gd name="connsiteX314" fmla="*/ 4250 w 350433"/>
                    <a:gd name="connsiteY314" fmla="*/ 243162 h 408306"/>
                    <a:gd name="connsiteX315" fmla="*/ 4044 w 350433"/>
                    <a:gd name="connsiteY315" fmla="*/ 243830 h 408306"/>
                    <a:gd name="connsiteX316" fmla="*/ 3983 w 350433"/>
                    <a:gd name="connsiteY316" fmla="*/ 244522 h 408306"/>
                    <a:gd name="connsiteX317" fmla="*/ 4432 w 350433"/>
                    <a:gd name="connsiteY317" fmla="*/ 250460 h 408306"/>
                    <a:gd name="connsiteX318" fmla="*/ 4736 w 350433"/>
                    <a:gd name="connsiteY318" fmla="*/ 252585 h 408306"/>
                    <a:gd name="connsiteX319" fmla="*/ 3109 w 350433"/>
                    <a:gd name="connsiteY319" fmla="*/ 256410 h 408306"/>
                    <a:gd name="connsiteX320" fmla="*/ 0 w 350433"/>
                    <a:gd name="connsiteY320" fmla="*/ 263757 h 408306"/>
                    <a:gd name="connsiteX321" fmla="*/ 4724 w 350433"/>
                    <a:gd name="connsiteY321" fmla="*/ 264376 h 408306"/>
                    <a:gd name="connsiteX322" fmla="*/ 4372 w 350433"/>
                    <a:gd name="connsiteY322" fmla="*/ 267776 h 408306"/>
                    <a:gd name="connsiteX323" fmla="*/ 4991 w 350433"/>
                    <a:gd name="connsiteY323" fmla="*/ 279652 h 408306"/>
                    <a:gd name="connsiteX324" fmla="*/ 8148 w 350433"/>
                    <a:gd name="connsiteY324" fmla="*/ 285383 h 408306"/>
                    <a:gd name="connsiteX325" fmla="*/ 10212 w 350433"/>
                    <a:gd name="connsiteY325" fmla="*/ 289536 h 408306"/>
                    <a:gd name="connsiteX326" fmla="*/ 9265 w 350433"/>
                    <a:gd name="connsiteY326" fmla="*/ 297672 h 408306"/>
                    <a:gd name="connsiteX327" fmla="*/ 11451 w 350433"/>
                    <a:gd name="connsiteY327" fmla="*/ 319238 h 408306"/>
                    <a:gd name="connsiteX328" fmla="*/ 11366 w 350433"/>
                    <a:gd name="connsiteY328" fmla="*/ 319189 h 408306"/>
                    <a:gd name="connsiteX329" fmla="*/ 11305 w 350433"/>
                    <a:gd name="connsiteY329" fmla="*/ 319760 h 408306"/>
                    <a:gd name="connsiteX330" fmla="*/ 12580 w 350433"/>
                    <a:gd name="connsiteY330" fmla="*/ 325552 h 408306"/>
                    <a:gd name="connsiteX331" fmla="*/ 15604 w 350433"/>
                    <a:gd name="connsiteY331" fmla="*/ 329814 h 408306"/>
                    <a:gd name="connsiteX332" fmla="*/ 19611 w 350433"/>
                    <a:gd name="connsiteY332" fmla="*/ 335242 h 408306"/>
                    <a:gd name="connsiteX333" fmla="*/ 27844 w 350433"/>
                    <a:gd name="connsiteY333" fmla="*/ 337501 h 408306"/>
                    <a:gd name="connsiteX334" fmla="*/ 29119 w 350433"/>
                    <a:gd name="connsiteY334" fmla="*/ 337537 h 408306"/>
                    <a:gd name="connsiteX335" fmla="*/ 30260 w 350433"/>
                    <a:gd name="connsiteY335" fmla="*/ 337586 h 408306"/>
                    <a:gd name="connsiteX336" fmla="*/ 37582 w 350433"/>
                    <a:gd name="connsiteY336" fmla="*/ 334817 h 408306"/>
                    <a:gd name="connsiteX337" fmla="*/ 39234 w 350433"/>
                    <a:gd name="connsiteY337" fmla="*/ 333834 h 408306"/>
                    <a:gd name="connsiteX338" fmla="*/ 41347 w 350433"/>
                    <a:gd name="connsiteY338" fmla="*/ 332559 h 408306"/>
                    <a:gd name="connsiteX339" fmla="*/ 44030 w 350433"/>
                    <a:gd name="connsiteY339" fmla="*/ 330179 h 408306"/>
                    <a:gd name="connsiteX340" fmla="*/ 44285 w 350433"/>
                    <a:gd name="connsiteY340" fmla="*/ 329924 h 408306"/>
                    <a:gd name="connsiteX341" fmla="*/ 47443 w 350433"/>
                    <a:gd name="connsiteY341" fmla="*/ 330179 h 408306"/>
                    <a:gd name="connsiteX342" fmla="*/ 47685 w 350433"/>
                    <a:gd name="connsiteY342" fmla="*/ 330191 h 408306"/>
                    <a:gd name="connsiteX343" fmla="*/ 48365 w 350433"/>
                    <a:gd name="connsiteY343" fmla="*/ 330203 h 408306"/>
                    <a:gd name="connsiteX344" fmla="*/ 50952 w 350433"/>
                    <a:gd name="connsiteY344" fmla="*/ 329972 h 408306"/>
                    <a:gd name="connsiteX345" fmla="*/ 51802 w 350433"/>
                    <a:gd name="connsiteY345" fmla="*/ 329875 h 408306"/>
                    <a:gd name="connsiteX346" fmla="*/ 60314 w 350433"/>
                    <a:gd name="connsiteY346" fmla="*/ 331029 h 408306"/>
                    <a:gd name="connsiteX347" fmla="*/ 61188 w 350433"/>
                    <a:gd name="connsiteY347" fmla="*/ 331284 h 408306"/>
                    <a:gd name="connsiteX348" fmla="*/ 64467 w 350433"/>
                    <a:gd name="connsiteY348" fmla="*/ 342552 h 408306"/>
                    <a:gd name="connsiteX349" fmla="*/ 64722 w 350433"/>
                    <a:gd name="connsiteY349" fmla="*/ 342807 h 408306"/>
                    <a:gd name="connsiteX350" fmla="*/ 64989 w 350433"/>
                    <a:gd name="connsiteY350" fmla="*/ 343038 h 408306"/>
                    <a:gd name="connsiteX351" fmla="*/ 72809 w 350433"/>
                    <a:gd name="connsiteY351" fmla="*/ 347507 h 408306"/>
                    <a:gd name="connsiteX352" fmla="*/ 76562 w 350433"/>
                    <a:gd name="connsiteY352" fmla="*/ 349376 h 408306"/>
                    <a:gd name="connsiteX353" fmla="*/ 78140 w 350433"/>
                    <a:gd name="connsiteY353" fmla="*/ 350579 h 408306"/>
                    <a:gd name="connsiteX354" fmla="*/ 78783 w 350433"/>
                    <a:gd name="connsiteY354" fmla="*/ 351222 h 408306"/>
                    <a:gd name="connsiteX355" fmla="*/ 79609 w 350433"/>
                    <a:gd name="connsiteY355" fmla="*/ 351684 h 408306"/>
                    <a:gd name="connsiteX356" fmla="*/ 81649 w 350433"/>
                    <a:gd name="connsiteY356" fmla="*/ 352862 h 408306"/>
                    <a:gd name="connsiteX357" fmla="*/ 81686 w 350433"/>
                    <a:gd name="connsiteY357" fmla="*/ 352898 h 408306"/>
                    <a:gd name="connsiteX358" fmla="*/ 81880 w 350433"/>
                    <a:gd name="connsiteY358" fmla="*/ 353687 h 408306"/>
                    <a:gd name="connsiteX359" fmla="*/ 82572 w 350433"/>
                    <a:gd name="connsiteY359" fmla="*/ 355995 h 408306"/>
                    <a:gd name="connsiteX360" fmla="*/ 82196 w 350433"/>
                    <a:gd name="connsiteY360" fmla="*/ 359601 h 408306"/>
                    <a:gd name="connsiteX361" fmla="*/ 82839 w 350433"/>
                    <a:gd name="connsiteY361" fmla="*/ 375423 h 408306"/>
                    <a:gd name="connsiteX362" fmla="*/ 82876 w 350433"/>
                    <a:gd name="connsiteY362" fmla="*/ 376055 h 408306"/>
                    <a:gd name="connsiteX363" fmla="*/ 83034 w 350433"/>
                    <a:gd name="connsiteY363" fmla="*/ 376674 h 408306"/>
                    <a:gd name="connsiteX364" fmla="*/ 83446 w 350433"/>
                    <a:gd name="connsiteY364" fmla="*/ 378301 h 408306"/>
                    <a:gd name="connsiteX365" fmla="*/ 83762 w 350433"/>
                    <a:gd name="connsiteY365" fmla="*/ 379564 h 408306"/>
                    <a:gd name="connsiteX366" fmla="*/ 84564 w 350433"/>
                    <a:gd name="connsiteY366" fmla="*/ 380572 h 408306"/>
                    <a:gd name="connsiteX367" fmla="*/ 85984 w 350433"/>
                    <a:gd name="connsiteY367" fmla="*/ 382357 h 408306"/>
                    <a:gd name="connsiteX368" fmla="*/ 87490 w 350433"/>
                    <a:gd name="connsiteY368" fmla="*/ 384251 h 408306"/>
                    <a:gd name="connsiteX369" fmla="*/ 89882 w 350433"/>
                    <a:gd name="connsiteY369" fmla="*/ 384591 h 408306"/>
                    <a:gd name="connsiteX370" fmla="*/ 93282 w 350433"/>
                    <a:gd name="connsiteY370" fmla="*/ 385077 h 408306"/>
                    <a:gd name="connsiteX371" fmla="*/ 93950 w 350433"/>
                    <a:gd name="connsiteY371" fmla="*/ 385174 h 408306"/>
                    <a:gd name="connsiteX372" fmla="*/ 94618 w 350433"/>
                    <a:gd name="connsiteY372" fmla="*/ 385125 h 408306"/>
                    <a:gd name="connsiteX373" fmla="*/ 98577 w 350433"/>
                    <a:gd name="connsiteY373" fmla="*/ 384810 h 408306"/>
                    <a:gd name="connsiteX374" fmla="*/ 99900 w 350433"/>
                    <a:gd name="connsiteY374" fmla="*/ 384700 h 408306"/>
                    <a:gd name="connsiteX375" fmla="*/ 101066 w 350433"/>
                    <a:gd name="connsiteY375" fmla="*/ 384045 h 408306"/>
                    <a:gd name="connsiteX376" fmla="*/ 105741 w 350433"/>
                    <a:gd name="connsiteY376" fmla="*/ 381434 h 408306"/>
                    <a:gd name="connsiteX377" fmla="*/ 106275 w 350433"/>
                    <a:gd name="connsiteY377" fmla="*/ 381920 h 408306"/>
                    <a:gd name="connsiteX378" fmla="*/ 108679 w 350433"/>
                    <a:gd name="connsiteY378" fmla="*/ 384118 h 408306"/>
                    <a:gd name="connsiteX379" fmla="*/ 111837 w 350433"/>
                    <a:gd name="connsiteY379" fmla="*/ 383340 h 408306"/>
                    <a:gd name="connsiteX380" fmla="*/ 113694 w 350433"/>
                    <a:gd name="connsiteY380" fmla="*/ 382879 h 408306"/>
                    <a:gd name="connsiteX381" fmla="*/ 115188 w 350433"/>
                    <a:gd name="connsiteY381" fmla="*/ 382503 h 408306"/>
                    <a:gd name="connsiteX382" fmla="*/ 116330 w 350433"/>
                    <a:gd name="connsiteY382" fmla="*/ 381470 h 408306"/>
                    <a:gd name="connsiteX383" fmla="*/ 117410 w 350433"/>
                    <a:gd name="connsiteY383" fmla="*/ 380487 h 408306"/>
                    <a:gd name="connsiteX384" fmla="*/ 117908 w 350433"/>
                    <a:gd name="connsiteY384" fmla="*/ 380025 h 408306"/>
                    <a:gd name="connsiteX385" fmla="*/ 118297 w 350433"/>
                    <a:gd name="connsiteY385" fmla="*/ 379479 h 408306"/>
                    <a:gd name="connsiteX386" fmla="*/ 119220 w 350433"/>
                    <a:gd name="connsiteY386" fmla="*/ 378155 h 408306"/>
                    <a:gd name="connsiteX387" fmla="*/ 119547 w 350433"/>
                    <a:gd name="connsiteY387" fmla="*/ 377670 h 408306"/>
                    <a:gd name="connsiteX388" fmla="*/ 119790 w 350433"/>
                    <a:gd name="connsiteY388" fmla="*/ 377147 h 408306"/>
                    <a:gd name="connsiteX389" fmla="*/ 120458 w 350433"/>
                    <a:gd name="connsiteY389" fmla="*/ 375642 h 408306"/>
                    <a:gd name="connsiteX390" fmla="*/ 121782 w 350433"/>
                    <a:gd name="connsiteY390" fmla="*/ 374852 h 408306"/>
                    <a:gd name="connsiteX391" fmla="*/ 128776 w 350433"/>
                    <a:gd name="connsiteY391" fmla="*/ 374512 h 408306"/>
                    <a:gd name="connsiteX392" fmla="*/ 137118 w 350433"/>
                    <a:gd name="connsiteY392" fmla="*/ 375496 h 408306"/>
                    <a:gd name="connsiteX393" fmla="*/ 140773 w 350433"/>
                    <a:gd name="connsiteY393" fmla="*/ 376747 h 408306"/>
                    <a:gd name="connsiteX394" fmla="*/ 147051 w 350433"/>
                    <a:gd name="connsiteY394" fmla="*/ 385113 h 408306"/>
                    <a:gd name="connsiteX395" fmla="*/ 147962 w 350433"/>
                    <a:gd name="connsiteY395" fmla="*/ 386328 h 408306"/>
                    <a:gd name="connsiteX396" fmla="*/ 149334 w 350433"/>
                    <a:gd name="connsiteY396" fmla="*/ 386971 h 408306"/>
                    <a:gd name="connsiteX397" fmla="*/ 153293 w 350433"/>
                    <a:gd name="connsiteY397" fmla="*/ 388829 h 408306"/>
                    <a:gd name="connsiteX398" fmla="*/ 154871 w 350433"/>
                    <a:gd name="connsiteY398" fmla="*/ 389570 h 408306"/>
                    <a:gd name="connsiteX399" fmla="*/ 156620 w 350433"/>
                    <a:gd name="connsiteY399" fmla="*/ 389351 h 408306"/>
                    <a:gd name="connsiteX400" fmla="*/ 170438 w 350433"/>
                    <a:gd name="connsiteY400" fmla="*/ 387651 h 408306"/>
                    <a:gd name="connsiteX401" fmla="*/ 174434 w 350433"/>
                    <a:gd name="connsiteY401" fmla="*/ 388574 h 408306"/>
                    <a:gd name="connsiteX402" fmla="*/ 179400 w 350433"/>
                    <a:gd name="connsiteY402" fmla="*/ 390444 h 408306"/>
                    <a:gd name="connsiteX403" fmla="*/ 179752 w 350433"/>
                    <a:gd name="connsiteY403" fmla="*/ 390578 h 408306"/>
                    <a:gd name="connsiteX404" fmla="*/ 180104 w 350433"/>
                    <a:gd name="connsiteY404" fmla="*/ 390663 h 408306"/>
                    <a:gd name="connsiteX405" fmla="*/ 186528 w 350433"/>
                    <a:gd name="connsiteY405" fmla="*/ 392229 h 408306"/>
                    <a:gd name="connsiteX406" fmla="*/ 190244 w 350433"/>
                    <a:gd name="connsiteY406" fmla="*/ 392909 h 408306"/>
                    <a:gd name="connsiteX407" fmla="*/ 199654 w 350433"/>
                    <a:gd name="connsiteY407" fmla="*/ 397985 h 408306"/>
                    <a:gd name="connsiteX408" fmla="*/ 201585 w 350433"/>
                    <a:gd name="connsiteY408" fmla="*/ 399503 h 408306"/>
                    <a:gd name="connsiteX409" fmla="*/ 203819 w 350433"/>
                    <a:gd name="connsiteY409" fmla="*/ 402526 h 408306"/>
                    <a:gd name="connsiteX410" fmla="*/ 206794 w 350433"/>
                    <a:gd name="connsiteY410" fmla="*/ 405914 h 408306"/>
                    <a:gd name="connsiteX411" fmla="*/ 208470 w 350433"/>
                    <a:gd name="connsiteY411" fmla="*/ 407796 h 408306"/>
                    <a:gd name="connsiteX412" fmla="*/ 210984 w 350433"/>
                    <a:gd name="connsiteY412" fmla="*/ 407942 h 408306"/>
                    <a:gd name="connsiteX413" fmla="*/ 214202 w 350433"/>
                    <a:gd name="connsiteY413" fmla="*/ 408136 h 408306"/>
                    <a:gd name="connsiteX414" fmla="*/ 217019 w 350433"/>
                    <a:gd name="connsiteY414" fmla="*/ 408306 h 408306"/>
                    <a:gd name="connsiteX415" fmla="*/ 218962 w 350433"/>
                    <a:gd name="connsiteY415" fmla="*/ 406254 h 408306"/>
                    <a:gd name="connsiteX416" fmla="*/ 221257 w 350433"/>
                    <a:gd name="connsiteY416" fmla="*/ 403813 h 408306"/>
                    <a:gd name="connsiteX417" fmla="*/ 221815 w 350433"/>
                    <a:gd name="connsiteY417" fmla="*/ 403231 h 408306"/>
                    <a:gd name="connsiteX418" fmla="*/ 223139 w 350433"/>
                    <a:gd name="connsiteY418" fmla="*/ 401822 h 408306"/>
                    <a:gd name="connsiteX419" fmla="*/ 223418 w 350433"/>
                    <a:gd name="connsiteY419" fmla="*/ 399903 h 408306"/>
                    <a:gd name="connsiteX420" fmla="*/ 224001 w 350433"/>
                    <a:gd name="connsiteY420" fmla="*/ 395884 h 408306"/>
                    <a:gd name="connsiteX421" fmla="*/ 224098 w 350433"/>
                    <a:gd name="connsiteY421" fmla="*/ 395252 h 408306"/>
                    <a:gd name="connsiteX422" fmla="*/ 224050 w 350433"/>
                    <a:gd name="connsiteY422" fmla="*/ 394609 h 408306"/>
                    <a:gd name="connsiteX423" fmla="*/ 223782 w 350433"/>
                    <a:gd name="connsiteY423" fmla="*/ 390711 h 408306"/>
                    <a:gd name="connsiteX424" fmla="*/ 223977 w 350433"/>
                    <a:gd name="connsiteY424" fmla="*/ 388283 h 408306"/>
                    <a:gd name="connsiteX425" fmla="*/ 225069 w 350433"/>
                    <a:gd name="connsiteY425" fmla="*/ 385939 h 408306"/>
                    <a:gd name="connsiteX426" fmla="*/ 233169 w 350433"/>
                    <a:gd name="connsiteY426" fmla="*/ 375277 h 408306"/>
                    <a:gd name="connsiteX427" fmla="*/ 233922 w 350433"/>
                    <a:gd name="connsiteY427" fmla="*/ 374270 h 408306"/>
                    <a:gd name="connsiteX428" fmla="*/ 234225 w 350433"/>
                    <a:gd name="connsiteY428" fmla="*/ 373043 h 408306"/>
                    <a:gd name="connsiteX429" fmla="*/ 234930 w 350433"/>
                    <a:gd name="connsiteY429" fmla="*/ 370165 h 408306"/>
                    <a:gd name="connsiteX430" fmla="*/ 235002 w 350433"/>
                    <a:gd name="connsiteY430" fmla="*/ 369837 h 408306"/>
                    <a:gd name="connsiteX431" fmla="*/ 235051 w 350433"/>
                    <a:gd name="connsiteY431" fmla="*/ 369497 h 408306"/>
                    <a:gd name="connsiteX432" fmla="*/ 235901 w 350433"/>
                    <a:gd name="connsiteY432" fmla="*/ 362746 h 408306"/>
                    <a:gd name="connsiteX433" fmla="*/ 236022 w 350433"/>
                    <a:gd name="connsiteY433" fmla="*/ 362491 h 408306"/>
                    <a:gd name="connsiteX434" fmla="*/ 237395 w 350433"/>
                    <a:gd name="connsiteY434" fmla="*/ 360900 h 408306"/>
                    <a:gd name="connsiteX435" fmla="*/ 238378 w 350433"/>
                    <a:gd name="connsiteY435" fmla="*/ 359759 h 408306"/>
                    <a:gd name="connsiteX436" fmla="*/ 238718 w 350433"/>
                    <a:gd name="connsiteY436" fmla="*/ 358289 h 408306"/>
                    <a:gd name="connsiteX437" fmla="*/ 239520 w 350433"/>
                    <a:gd name="connsiteY437" fmla="*/ 354817 h 408306"/>
                    <a:gd name="connsiteX438" fmla="*/ 239605 w 350433"/>
                    <a:gd name="connsiteY438" fmla="*/ 354428 h 408306"/>
                    <a:gd name="connsiteX439" fmla="*/ 239653 w 350433"/>
                    <a:gd name="connsiteY439" fmla="*/ 354027 h 408306"/>
                    <a:gd name="connsiteX440" fmla="*/ 240285 w 350433"/>
                    <a:gd name="connsiteY440" fmla="*/ 347470 h 408306"/>
                    <a:gd name="connsiteX441" fmla="*/ 242252 w 350433"/>
                    <a:gd name="connsiteY441" fmla="*/ 340889 h 408306"/>
                    <a:gd name="connsiteX442" fmla="*/ 251237 w 350433"/>
                    <a:gd name="connsiteY442" fmla="*/ 320136 h 408306"/>
                    <a:gd name="connsiteX443" fmla="*/ 251444 w 350433"/>
                    <a:gd name="connsiteY443" fmla="*/ 319651 h 408306"/>
                    <a:gd name="connsiteX444" fmla="*/ 251578 w 350433"/>
                    <a:gd name="connsiteY444" fmla="*/ 319141 h 408306"/>
                    <a:gd name="connsiteX445" fmla="*/ 252367 w 350433"/>
                    <a:gd name="connsiteY445" fmla="*/ 315826 h 408306"/>
                    <a:gd name="connsiteX446" fmla="*/ 252476 w 350433"/>
                    <a:gd name="connsiteY446" fmla="*/ 315376 h 408306"/>
                    <a:gd name="connsiteX447" fmla="*/ 252513 w 350433"/>
                    <a:gd name="connsiteY447" fmla="*/ 314915 h 408306"/>
                    <a:gd name="connsiteX448" fmla="*/ 253022 w 350433"/>
                    <a:gd name="connsiteY448" fmla="*/ 308904 h 408306"/>
                    <a:gd name="connsiteX449" fmla="*/ 253484 w 350433"/>
                    <a:gd name="connsiteY449" fmla="*/ 307520 h 408306"/>
                    <a:gd name="connsiteX450" fmla="*/ 253618 w 350433"/>
                    <a:gd name="connsiteY450" fmla="*/ 307362 h 408306"/>
                    <a:gd name="connsiteX451" fmla="*/ 256823 w 350433"/>
                    <a:gd name="connsiteY451" fmla="*/ 305152 h 408306"/>
                    <a:gd name="connsiteX452" fmla="*/ 257552 w 350433"/>
                    <a:gd name="connsiteY452" fmla="*/ 304642 h 408306"/>
                    <a:gd name="connsiteX453" fmla="*/ 258110 w 350433"/>
                    <a:gd name="connsiteY453" fmla="*/ 303950 h 408306"/>
                    <a:gd name="connsiteX454" fmla="*/ 259410 w 350433"/>
                    <a:gd name="connsiteY454" fmla="*/ 302323 h 408306"/>
                    <a:gd name="connsiteX455" fmla="*/ 260527 w 350433"/>
                    <a:gd name="connsiteY455" fmla="*/ 300938 h 408306"/>
                    <a:gd name="connsiteX456" fmla="*/ 260721 w 350433"/>
                    <a:gd name="connsiteY456" fmla="*/ 299165 h 408306"/>
                    <a:gd name="connsiteX457" fmla="*/ 260903 w 350433"/>
                    <a:gd name="connsiteY457" fmla="*/ 297526 h 408306"/>
                    <a:gd name="connsiteX458" fmla="*/ 261001 w 350433"/>
                    <a:gd name="connsiteY458" fmla="*/ 296652 h 408306"/>
                    <a:gd name="connsiteX459" fmla="*/ 260843 w 350433"/>
                    <a:gd name="connsiteY459" fmla="*/ 295790 h 408306"/>
                    <a:gd name="connsiteX460" fmla="*/ 260588 w 350433"/>
                    <a:gd name="connsiteY460" fmla="*/ 294430 h 408306"/>
                    <a:gd name="connsiteX461" fmla="*/ 262154 w 350433"/>
                    <a:gd name="connsiteY461" fmla="*/ 293349 h 408306"/>
                    <a:gd name="connsiteX462" fmla="*/ 262955 w 350433"/>
                    <a:gd name="connsiteY462" fmla="*/ 292791 h 408306"/>
                    <a:gd name="connsiteX463" fmla="*/ 263550 w 350433"/>
                    <a:gd name="connsiteY463" fmla="*/ 292013 h 408306"/>
                    <a:gd name="connsiteX464" fmla="*/ 265287 w 350433"/>
                    <a:gd name="connsiteY464" fmla="*/ 289718 h 408306"/>
                    <a:gd name="connsiteX465" fmla="*/ 266392 w 350433"/>
                    <a:gd name="connsiteY465" fmla="*/ 288249 h 408306"/>
                    <a:gd name="connsiteX466" fmla="*/ 266501 w 350433"/>
                    <a:gd name="connsiteY466" fmla="*/ 286415 h 408306"/>
                    <a:gd name="connsiteX467" fmla="*/ 266890 w 350433"/>
                    <a:gd name="connsiteY467" fmla="*/ 279712 h 408306"/>
                    <a:gd name="connsiteX468" fmla="*/ 266938 w 350433"/>
                    <a:gd name="connsiteY468" fmla="*/ 279615 h 408306"/>
                    <a:gd name="connsiteX469" fmla="*/ 267788 w 350433"/>
                    <a:gd name="connsiteY469" fmla="*/ 278923 h 408306"/>
                    <a:gd name="connsiteX470" fmla="*/ 270314 w 350433"/>
                    <a:gd name="connsiteY470" fmla="*/ 277393 h 408306"/>
                    <a:gd name="connsiteX471" fmla="*/ 272427 w 350433"/>
                    <a:gd name="connsiteY471" fmla="*/ 276118 h 408306"/>
                    <a:gd name="connsiteX472" fmla="*/ 273046 w 350433"/>
                    <a:gd name="connsiteY472" fmla="*/ 273714 h 408306"/>
                    <a:gd name="connsiteX473" fmla="*/ 275463 w 350433"/>
                    <a:gd name="connsiteY473" fmla="*/ 264230 h 408306"/>
                    <a:gd name="connsiteX474" fmla="*/ 276167 w 350433"/>
                    <a:gd name="connsiteY474" fmla="*/ 262846 h 408306"/>
                    <a:gd name="connsiteX475" fmla="*/ 277138 w 350433"/>
                    <a:gd name="connsiteY475" fmla="*/ 261887 h 408306"/>
                    <a:gd name="connsiteX476" fmla="*/ 284971 w 350433"/>
                    <a:gd name="connsiteY476" fmla="*/ 256993 h 408306"/>
                    <a:gd name="connsiteX477" fmla="*/ 286428 w 350433"/>
                    <a:gd name="connsiteY477" fmla="*/ 256082 h 408306"/>
                    <a:gd name="connsiteX478" fmla="*/ 287193 w 350433"/>
                    <a:gd name="connsiteY478" fmla="*/ 254540 h 408306"/>
                    <a:gd name="connsiteX479" fmla="*/ 289476 w 350433"/>
                    <a:gd name="connsiteY479" fmla="*/ 249938 h 408306"/>
                    <a:gd name="connsiteX480" fmla="*/ 289718 w 350433"/>
                    <a:gd name="connsiteY480" fmla="*/ 249440 h 408306"/>
                    <a:gd name="connsiteX481" fmla="*/ 289876 w 350433"/>
                    <a:gd name="connsiteY481" fmla="*/ 248918 h 408306"/>
                    <a:gd name="connsiteX482" fmla="*/ 293592 w 350433"/>
                    <a:gd name="connsiteY482" fmla="*/ 235986 h 408306"/>
                    <a:gd name="connsiteX483" fmla="*/ 294551 w 350433"/>
                    <a:gd name="connsiteY483" fmla="*/ 235998 h 408306"/>
                    <a:gd name="connsiteX484" fmla="*/ 294988 w 350433"/>
                    <a:gd name="connsiteY484" fmla="*/ 235998 h 408306"/>
                    <a:gd name="connsiteX485" fmla="*/ 295426 w 350433"/>
                    <a:gd name="connsiteY485" fmla="*/ 235937 h 408306"/>
                    <a:gd name="connsiteX486" fmla="*/ 297733 w 350433"/>
                    <a:gd name="connsiteY486" fmla="*/ 235621 h 408306"/>
                    <a:gd name="connsiteX487" fmla="*/ 298923 w 350433"/>
                    <a:gd name="connsiteY487" fmla="*/ 235452 h 408306"/>
                    <a:gd name="connsiteX488" fmla="*/ 299955 w 350433"/>
                    <a:gd name="connsiteY488" fmla="*/ 234856 h 408306"/>
                    <a:gd name="connsiteX489" fmla="*/ 302541 w 350433"/>
                    <a:gd name="connsiteY489" fmla="*/ 233363 h 408306"/>
                    <a:gd name="connsiteX490" fmla="*/ 303501 w 350433"/>
                    <a:gd name="connsiteY490" fmla="*/ 232804 h 408306"/>
                    <a:gd name="connsiteX491" fmla="*/ 304205 w 350433"/>
                    <a:gd name="connsiteY491" fmla="*/ 231954 h 408306"/>
                    <a:gd name="connsiteX492" fmla="*/ 306439 w 350433"/>
                    <a:gd name="connsiteY492" fmla="*/ 229234 h 408306"/>
                    <a:gd name="connsiteX493" fmla="*/ 306973 w 350433"/>
                    <a:gd name="connsiteY493" fmla="*/ 228579 h 408306"/>
                    <a:gd name="connsiteX494" fmla="*/ 307301 w 350433"/>
                    <a:gd name="connsiteY494" fmla="*/ 227814 h 408306"/>
                    <a:gd name="connsiteX495" fmla="*/ 308795 w 350433"/>
                    <a:gd name="connsiteY495" fmla="*/ 224389 h 408306"/>
                    <a:gd name="connsiteX496" fmla="*/ 309062 w 350433"/>
                    <a:gd name="connsiteY496" fmla="*/ 223758 h 408306"/>
                    <a:gd name="connsiteX497" fmla="*/ 309196 w 350433"/>
                    <a:gd name="connsiteY497" fmla="*/ 223078 h 408306"/>
                    <a:gd name="connsiteX498" fmla="*/ 309900 w 350433"/>
                    <a:gd name="connsiteY498" fmla="*/ 219350 h 408306"/>
                    <a:gd name="connsiteX499" fmla="*/ 310009 w 350433"/>
                    <a:gd name="connsiteY499" fmla="*/ 218791 h 408306"/>
                    <a:gd name="connsiteX500" fmla="*/ 310009 w 350433"/>
                    <a:gd name="connsiteY500" fmla="*/ 218233 h 408306"/>
                    <a:gd name="connsiteX501" fmla="*/ 310009 w 350433"/>
                    <a:gd name="connsiteY501" fmla="*/ 215233 h 408306"/>
                    <a:gd name="connsiteX502" fmla="*/ 310738 w 350433"/>
                    <a:gd name="connsiteY502" fmla="*/ 211275 h 408306"/>
                    <a:gd name="connsiteX503" fmla="*/ 317380 w 350433"/>
                    <a:gd name="connsiteY503" fmla="*/ 202581 h 408306"/>
                    <a:gd name="connsiteX504" fmla="*/ 317635 w 350433"/>
                    <a:gd name="connsiteY504" fmla="*/ 202265 h 408306"/>
                    <a:gd name="connsiteX505" fmla="*/ 317842 w 350433"/>
                    <a:gd name="connsiteY505" fmla="*/ 201913 h 408306"/>
                    <a:gd name="connsiteX506" fmla="*/ 320829 w 350433"/>
                    <a:gd name="connsiteY506" fmla="*/ 196667 h 408306"/>
                    <a:gd name="connsiteX507" fmla="*/ 321302 w 350433"/>
                    <a:gd name="connsiteY507" fmla="*/ 195829 h 408306"/>
                    <a:gd name="connsiteX508" fmla="*/ 321497 w 350433"/>
                    <a:gd name="connsiteY508" fmla="*/ 194882 h 408306"/>
                    <a:gd name="connsiteX509" fmla="*/ 324739 w 350433"/>
                    <a:gd name="connsiteY509" fmla="*/ 179145 h 408306"/>
                    <a:gd name="connsiteX510" fmla="*/ 326973 w 350433"/>
                    <a:gd name="connsiteY510" fmla="*/ 176182 h 408306"/>
                    <a:gd name="connsiteX511" fmla="*/ 327204 w 350433"/>
                    <a:gd name="connsiteY511" fmla="*/ 175878 h 408306"/>
                    <a:gd name="connsiteX512" fmla="*/ 327398 w 350433"/>
                    <a:gd name="connsiteY512" fmla="*/ 175550 h 408306"/>
                    <a:gd name="connsiteX513" fmla="*/ 330895 w 350433"/>
                    <a:gd name="connsiteY513" fmla="*/ 169406 h 408306"/>
                    <a:gd name="connsiteX514" fmla="*/ 331515 w 350433"/>
                    <a:gd name="connsiteY514" fmla="*/ 168325 h 408306"/>
                    <a:gd name="connsiteX515" fmla="*/ 331660 w 350433"/>
                    <a:gd name="connsiteY515" fmla="*/ 167087 h 408306"/>
                    <a:gd name="connsiteX516" fmla="*/ 332632 w 350433"/>
                    <a:gd name="connsiteY516" fmla="*/ 158611 h 408306"/>
                    <a:gd name="connsiteX517" fmla="*/ 332729 w 350433"/>
                    <a:gd name="connsiteY517" fmla="*/ 157785 h 408306"/>
                    <a:gd name="connsiteX518" fmla="*/ 332595 w 350433"/>
                    <a:gd name="connsiteY518" fmla="*/ 156972 h 408306"/>
                    <a:gd name="connsiteX519" fmla="*/ 331284 w 350433"/>
                    <a:gd name="connsiteY519" fmla="*/ 148654 h 408306"/>
                    <a:gd name="connsiteX520" fmla="*/ 331101 w 350433"/>
                    <a:gd name="connsiteY520" fmla="*/ 147549 h 408306"/>
                    <a:gd name="connsiteX521" fmla="*/ 330543 w 350433"/>
                    <a:gd name="connsiteY521" fmla="*/ 146577 h 408306"/>
                    <a:gd name="connsiteX522" fmla="*/ 327265 w 350433"/>
                    <a:gd name="connsiteY522" fmla="*/ 140858 h 408306"/>
                    <a:gd name="connsiteX523" fmla="*/ 326305 w 350433"/>
                    <a:gd name="connsiteY523" fmla="*/ 139182 h 408306"/>
                    <a:gd name="connsiteX524" fmla="*/ 324545 w 350433"/>
                    <a:gd name="connsiteY524" fmla="*/ 138369 h 408306"/>
                    <a:gd name="connsiteX525" fmla="*/ 317829 w 350433"/>
                    <a:gd name="connsiteY525" fmla="*/ 135272 h 408306"/>
                    <a:gd name="connsiteX526" fmla="*/ 317149 w 350433"/>
                    <a:gd name="connsiteY526" fmla="*/ 134969 h 408306"/>
                    <a:gd name="connsiteX527" fmla="*/ 316421 w 350433"/>
                    <a:gd name="connsiteY527" fmla="*/ 134835 h 408306"/>
                    <a:gd name="connsiteX528" fmla="*/ 309305 w 350433"/>
                    <a:gd name="connsiteY528" fmla="*/ 133463 h 408306"/>
                    <a:gd name="connsiteX529" fmla="*/ 304727 w 350433"/>
                    <a:gd name="connsiteY529" fmla="*/ 131812 h 408306"/>
                    <a:gd name="connsiteX530" fmla="*/ 302432 w 350433"/>
                    <a:gd name="connsiteY530" fmla="*/ 128642 h 408306"/>
                    <a:gd name="connsiteX531" fmla="*/ 302068 w 350433"/>
                    <a:gd name="connsiteY531" fmla="*/ 123409 h 408306"/>
                    <a:gd name="connsiteX532" fmla="*/ 312244 w 350433"/>
                    <a:gd name="connsiteY532" fmla="*/ 95395 h 408306"/>
                    <a:gd name="connsiteX533" fmla="*/ 315753 w 350433"/>
                    <a:gd name="connsiteY533" fmla="*/ 89930 h 408306"/>
                    <a:gd name="connsiteX534" fmla="*/ 319056 w 350433"/>
                    <a:gd name="connsiteY534" fmla="*/ 86518 h 408306"/>
                    <a:gd name="connsiteX535" fmla="*/ 320343 w 350433"/>
                    <a:gd name="connsiteY535" fmla="*/ 85195 h 408306"/>
                    <a:gd name="connsiteX536" fmla="*/ 325261 w 350433"/>
                    <a:gd name="connsiteY536" fmla="*/ 81831 h 408306"/>
                    <a:gd name="connsiteX537" fmla="*/ 327507 w 350433"/>
                    <a:gd name="connsiteY537" fmla="*/ 81042 h 408306"/>
                    <a:gd name="connsiteX538" fmla="*/ 333299 w 350433"/>
                    <a:gd name="connsiteY538" fmla="*/ 80362 h 408306"/>
                    <a:gd name="connsiteX539" fmla="*/ 333810 w 350433"/>
                    <a:gd name="connsiteY539" fmla="*/ 80301 h 408306"/>
                    <a:gd name="connsiteX540" fmla="*/ 334307 w 350433"/>
                    <a:gd name="connsiteY540" fmla="*/ 80156 h 408306"/>
                    <a:gd name="connsiteX541" fmla="*/ 337817 w 350433"/>
                    <a:gd name="connsiteY541" fmla="*/ 79123 h 408306"/>
                    <a:gd name="connsiteX542" fmla="*/ 338934 w 350433"/>
                    <a:gd name="connsiteY542" fmla="*/ 78808 h 408306"/>
                    <a:gd name="connsiteX543" fmla="*/ 339833 w 350433"/>
                    <a:gd name="connsiteY543" fmla="*/ 78091 h 408306"/>
                    <a:gd name="connsiteX544" fmla="*/ 343160 w 350433"/>
                    <a:gd name="connsiteY544" fmla="*/ 75505 h 408306"/>
                    <a:gd name="connsiteX545" fmla="*/ 343997 w 350433"/>
                    <a:gd name="connsiteY545" fmla="*/ 74861 h 408306"/>
                    <a:gd name="connsiteX546" fmla="*/ 344568 w 350433"/>
                    <a:gd name="connsiteY546" fmla="*/ 73962 h 408306"/>
                    <a:gd name="connsiteX547" fmla="*/ 347713 w 350433"/>
                    <a:gd name="connsiteY547" fmla="*/ 68996 h 408306"/>
                    <a:gd name="connsiteX548" fmla="*/ 350433 w 350433"/>
                    <a:gd name="connsiteY548" fmla="*/ 64697 h 408306"/>
                    <a:gd name="connsiteX549" fmla="*/ 346681 w 350433"/>
                    <a:gd name="connsiteY549" fmla="*/ 61273 h 408306"/>
                    <a:gd name="connsiteX550" fmla="*/ 336444 w 350433"/>
                    <a:gd name="connsiteY550" fmla="*/ 51911 h 408306"/>
                    <a:gd name="connsiteX551" fmla="*/ 335328 w 350433"/>
                    <a:gd name="connsiteY551" fmla="*/ 50903 h 408306"/>
                    <a:gd name="connsiteX552" fmla="*/ 333882 w 350433"/>
                    <a:gd name="connsiteY552" fmla="*/ 50527 h 408306"/>
                    <a:gd name="connsiteX553" fmla="*/ 329450 w 350433"/>
                    <a:gd name="connsiteY553" fmla="*/ 47770 h 408306"/>
                    <a:gd name="connsiteX554" fmla="*/ 328224 w 350433"/>
                    <a:gd name="connsiteY554" fmla="*/ 46787 h 408306"/>
                    <a:gd name="connsiteX555" fmla="*/ 326026 w 350433"/>
                    <a:gd name="connsiteY555" fmla="*/ 45050 h 408306"/>
                    <a:gd name="connsiteX556" fmla="*/ 325564 w 350433"/>
                    <a:gd name="connsiteY556" fmla="*/ 44722 h 408306"/>
                    <a:gd name="connsiteX557" fmla="*/ 325941 w 350433"/>
                    <a:gd name="connsiteY557" fmla="*/ 41347 h 408306"/>
                    <a:gd name="connsiteX558" fmla="*/ 326354 w 350433"/>
                    <a:gd name="connsiteY558" fmla="*/ 38274 h 408306"/>
                    <a:gd name="connsiteX559" fmla="*/ 326694 w 350433"/>
                    <a:gd name="connsiteY559" fmla="*/ 33891 h 408306"/>
                    <a:gd name="connsiteX560" fmla="*/ 327131 w 350433"/>
                    <a:gd name="connsiteY560" fmla="*/ 33332 h 408306"/>
                    <a:gd name="connsiteX561" fmla="*/ 330094 w 350433"/>
                    <a:gd name="connsiteY561" fmla="*/ 26642 h 408306"/>
                    <a:gd name="connsiteX562" fmla="*/ 331551 w 350433"/>
                    <a:gd name="connsiteY562" fmla="*/ 20606 h 408306"/>
                    <a:gd name="connsiteX563" fmla="*/ 331952 w 350433"/>
                    <a:gd name="connsiteY563" fmla="*/ 19307 h 408306"/>
                    <a:gd name="connsiteX564" fmla="*/ 328212 w 350433"/>
                    <a:gd name="connsiteY564" fmla="*/ 6169 h 408306"/>
                    <a:gd name="connsiteX565" fmla="*/ 327447 w 350433"/>
                    <a:gd name="connsiteY565" fmla="*/ 5331 h 408306"/>
                    <a:gd name="connsiteX566" fmla="*/ 318303 w 350433"/>
                    <a:gd name="connsiteY566" fmla="*/ 85 h 408306"/>
                    <a:gd name="connsiteX567" fmla="*/ 315632 w 350433"/>
                    <a:gd name="connsiteY567" fmla="*/ 0 h 408306"/>
                    <a:gd name="connsiteX568" fmla="*/ 315632 w 350433"/>
                    <a:gd name="connsiteY568" fmla="*/ 0 h 408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Lst>
                  <a:rect l="l" t="t" r="r" b="b"/>
                  <a:pathLst>
                    <a:path w="350433" h="408306">
                      <a:moveTo>
                        <a:pt x="315632" y="6071"/>
                      </a:moveTo>
                      <a:cubicBezTo>
                        <a:pt x="316299" y="6071"/>
                        <a:pt x="316992" y="6096"/>
                        <a:pt x="317708" y="6156"/>
                      </a:cubicBezTo>
                      <a:cubicBezTo>
                        <a:pt x="320537" y="6399"/>
                        <a:pt x="321825" y="8366"/>
                        <a:pt x="323767" y="10406"/>
                      </a:cubicBezTo>
                      <a:cubicBezTo>
                        <a:pt x="326414" y="13139"/>
                        <a:pt x="327034" y="14438"/>
                        <a:pt x="326062" y="17522"/>
                      </a:cubicBezTo>
                      <a:cubicBezTo>
                        <a:pt x="325115" y="20582"/>
                        <a:pt x="324229" y="23035"/>
                        <a:pt x="323949" y="26156"/>
                      </a:cubicBezTo>
                      <a:cubicBezTo>
                        <a:pt x="323743" y="28669"/>
                        <a:pt x="321545" y="29738"/>
                        <a:pt x="320647" y="32179"/>
                      </a:cubicBezTo>
                      <a:cubicBezTo>
                        <a:pt x="320489" y="34061"/>
                        <a:pt x="320343" y="35931"/>
                        <a:pt x="320197" y="37813"/>
                      </a:cubicBezTo>
                      <a:cubicBezTo>
                        <a:pt x="320003" y="40314"/>
                        <a:pt x="319056" y="43387"/>
                        <a:pt x="319505" y="46568"/>
                      </a:cubicBezTo>
                      <a:cubicBezTo>
                        <a:pt x="319347" y="48450"/>
                        <a:pt x="322796" y="49992"/>
                        <a:pt x="324095" y="51340"/>
                      </a:cubicBezTo>
                      <a:cubicBezTo>
                        <a:pt x="326791" y="53453"/>
                        <a:pt x="328734" y="55469"/>
                        <a:pt x="332231" y="56392"/>
                      </a:cubicBezTo>
                      <a:lnTo>
                        <a:pt x="342467" y="65754"/>
                      </a:lnTo>
                      <a:lnTo>
                        <a:pt x="339322" y="70720"/>
                      </a:lnTo>
                      <a:lnTo>
                        <a:pt x="335995" y="73307"/>
                      </a:lnTo>
                      <a:lnTo>
                        <a:pt x="332486" y="74339"/>
                      </a:lnTo>
                      <a:lnTo>
                        <a:pt x="326014" y="75092"/>
                      </a:lnTo>
                      <a:lnTo>
                        <a:pt x="322383" y="76379"/>
                      </a:lnTo>
                      <a:lnTo>
                        <a:pt x="316299" y="80544"/>
                      </a:lnTo>
                      <a:lnTo>
                        <a:pt x="314575" y="82317"/>
                      </a:lnTo>
                      <a:lnTo>
                        <a:pt x="310847" y="86166"/>
                      </a:lnTo>
                      <a:lnTo>
                        <a:pt x="306634" y="92711"/>
                      </a:lnTo>
                      <a:lnTo>
                        <a:pt x="295790" y="122571"/>
                      </a:lnTo>
                      <a:lnTo>
                        <a:pt x="296373" y="130816"/>
                      </a:lnTo>
                      <a:lnTo>
                        <a:pt x="300781" y="136900"/>
                      </a:lnTo>
                      <a:lnTo>
                        <a:pt x="307569" y="139340"/>
                      </a:lnTo>
                      <a:lnTo>
                        <a:pt x="315146" y="140809"/>
                      </a:lnTo>
                      <a:lnTo>
                        <a:pt x="321861" y="143906"/>
                      </a:lnTo>
                      <a:lnTo>
                        <a:pt x="325139" y="149625"/>
                      </a:lnTo>
                      <a:lnTo>
                        <a:pt x="326451" y="157943"/>
                      </a:lnTo>
                      <a:lnTo>
                        <a:pt x="325480" y="166419"/>
                      </a:lnTo>
                      <a:lnTo>
                        <a:pt x="321982" y="172563"/>
                      </a:lnTo>
                      <a:lnTo>
                        <a:pt x="318947" y="176619"/>
                      </a:lnTo>
                      <a:lnTo>
                        <a:pt x="315437" y="193692"/>
                      </a:lnTo>
                      <a:lnTo>
                        <a:pt x="312450" y="198938"/>
                      </a:lnTo>
                      <a:lnTo>
                        <a:pt x="304933" y="208786"/>
                      </a:lnTo>
                      <a:lnTo>
                        <a:pt x="303841" y="214711"/>
                      </a:lnTo>
                      <a:lnTo>
                        <a:pt x="303841" y="218269"/>
                      </a:lnTo>
                      <a:lnTo>
                        <a:pt x="303137" y="221997"/>
                      </a:lnTo>
                      <a:lnTo>
                        <a:pt x="301643" y="225421"/>
                      </a:lnTo>
                      <a:lnTo>
                        <a:pt x="299409" y="228141"/>
                      </a:lnTo>
                      <a:lnTo>
                        <a:pt x="296822" y="229635"/>
                      </a:lnTo>
                      <a:lnTo>
                        <a:pt x="294515" y="229951"/>
                      </a:lnTo>
                      <a:lnTo>
                        <a:pt x="292184" y="229927"/>
                      </a:lnTo>
                      <a:lnTo>
                        <a:pt x="289403" y="230412"/>
                      </a:lnTo>
                      <a:lnTo>
                        <a:pt x="287873" y="233594"/>
                      </a:lnTo>
                      <a:lnTo>
                        <a:pt x="283951" y="247267"/>
                      </a:lnTo>
                      <a:lnTo>
                        <a:pt x="281668" y="251869"/>
                      </a:lnTo>
                      <a:lnTo>
                        <a:pt x="273277" y="257115"/>
                      </a:lnTo>
                      <a:lnTo>
                        <a:pt x="271103" y="259240"/>
                      </a:lnTo>
                      <a:lnTo>
                        <a:pt x="269670" y="262117"/>
                      </a:lnTo>
                      <a:lnTo>
                        <a:pt x="267084" y="272220"/>
                      </a:lnTo>
                      <a:lnTo>
                        <a:pt x="264206" y="273969"/>
                      </a:lnTo>
                      <a:lnTo>
                        <a:pt x="262081" y="275693"/>
                      </a:lnTo>
                      <a:lnTo>
                        <a:pt x="260818" y="278049"/>
                      </a:lnTo>
                      <a:lnTo>
                        <a:pt x="260357" y="286088"/>
                      </a:lnTo>
                      <a:lnTo>
                        <a:pt x="258620" y="288383"/>
                      </a:lnTo>
                      <a:lnTo>
                        <a:pt x="256338" y="289961"/>
                      </a:lnTo>
                      <a:lnTo>
                        <a:pt x="254273" y="292256"/>
                      </a:lnTo>
                      <a:lnTo>
                        <a:pt x="254152" y="293434"/>
                      </a:lnTo>
                      <a:lnTo>
                        <a:pt x="254783" y="296907"/>
                      </a:lnTo>
                      <a:lnTo>
                        <a:pt x="254601" y="298546"/>
                      </a:lnTo>
                      <a:lnTo>
                        <a:pt x="253302" y="300173"/>
                      </a:lnTo>
                      <a:lnTo>
                        <a:pt x="249392" y="302869"/>
                      </a:lnTo>
                      <a:lnTo>
                        <a:pt x="248008" y="304569"/>
                      </a:lnTo>
                      <a:lnTo>
                        <a:pt x="246975" y="307702"/>
                      </a:lnTo>
                      <a:lnTo>
                        <a:pt x="246405" y="314417"/>
                      </a:lnTo>
                      <a:lnTo>
                        <a:pt x="245615" y="317732"/>
                      </a:lnTo>
                      <a:lnTo>
                        <a:pt x="236484" y="338824"/>
                      </a:lnTo>
                      <a:lnTo>
                        <a:pt x="234237" y="346316"/>
                      </a:lnTo>
                      <a:lnTo>
                        <a:pt x="233545" y="353469"/>
                      </a:lnTo>
                      <a:lnTo>
                        <a:pt x="232744" y="356942"/>
                      </a:lnTo>
                      <a:lnTo>
                        <a:pt x="230777" y="359212"/>
                      </a:lnTo>
                      <a:lnTo>
                        <a:pt x="229939" y="361107"/>
                      </a:lnTo>
                      <a:lnTo>
                        <a:pt x="228967" y="368744"/>
                      </a:lnTo>
                      <a:lnTo>
                        <a:pt x="228263" y="371622"/>
                      </a:lnTo>
                      <a:lnTo>
                        <a:pt x="219775" y="382806"/>
                      </a:lnTo>
                      <a:lnTo>
                        <a:pt x="217941" y="386740"/>
                      </a:lnTo>
                      <a:lnTo>
                        <a:pt x="217650" y="390711"/>
                      </a:lnTo>
                      <a:lnTo>
                        <a:pt x="217941" y="395046"/>
                      </a:lnTo>
                      <a:lnTo>
                        <a:pt x="217359" y="399065"/>
                      </a:lnTo>
                      <a:lnTo>
                        <a:pt x="216788" y="399660"/>
                      </a:lnTo>
                      <a:lnTo>
                        <a:pt x="214493" y="402101"/>
                      </a:lnTo>
                      <a:lnTo>
                        <a:pt x="211275" y="401907"/>
                      </a:lnTo>
                      <a:lnTo>
                        <a:pt x="208640" y="398944"/>
                      </a:lnTo>
                      <a:lnTo>
                        <a:pt x="205920" y="395265"/>
                      </a:lnTo>
                      <a:lnTo>
                        <a:pt x="202933" y="392921"/>
                      </a:lnTo>
                      <a:lnTo>
                        <a:pt x="192211" y="387141"/>
                      </a:lnTo>
                      <a:lnTo>
                        <a:pt x="187900" y="386364"/>
                      </a:lnTo>
                      <a:lnTo>
                        <a:pt x="181476" y="384798"/>
                      </a:lnTo>
                      <a:lnTo>
                        <a:pt x="176133" y="382782"/>
                      </a:lnTo>
                      <a:lnTo>
                        <a:pt x="170693" y="381519"/>
                      </a:lnTo>
                      <a:lnTo>
                        <a:pt x="155806" y="383352"/>
                      </a:lnTo>
                      <a:lnTo>
                        <a:pt x="151848" y="381495"/>
                      </a:lnTo>
                      <a:lnTo>
                        <a:pt x="144452" y="371622"/>
                      </a:lnTo>
                      <a:lnTo>
                        <a:pt x="138418" y="369570"/>
                      </a:lnTo>
                      <a:lnTo>
                        <a:pt x="128946" y="368453"/>
                      </a:lnTo>
                      <a:lnTo>
                        <a:pt x="119936" y="368890"/>
                      </a:lnTo>
                      <a:lnTo>
                        <a:pt x="115346" y="371622"/>
                      </a:lnTo>
                      <a:lnTo>
                        <a:pt x="114872" y="373189"/>
                      </a:lnTo>
                      <a:lnTo>
                        <a:pt x="114192" y="374707"/>
                      </a:lnTo>
                      <a:lnTo>
                        <a:pt x="113269" y="376030"/>
                      </a:lnTo>
                      <a:lnTo>
                        <a:pt x="112189" y="377014"/>
                      </a:lnTo>
                      <a:lnTo>
                        <a:pt x="110331" y="377475"/>
                      </a:lnTo>
                      <a:lnTo>
                        <a:pt x="109202" y="376443"/>
                      </a:lnTo>
                      <a:lnTo>
                        <a:pt x="108206" y="375047"/>
                      </a:lnTo>
                      <a:lnTo>
                        <a:pt x="107004" y="374464"/>
                      </a:lnTo>
                      <a:lnTo>
                        <a:pt x="103822" y="375557"/>
                      </a:lnTo>
                      <a:lnTo>
                        <a:pt x="98030" y="378799"/>
                      </a:lnTo>
                      <a:lnTo>
                        <a:pt x="94071" y="379115"/>
                      </a:lnTo>
                      <a:lnTo>
                        <a:pt x="90671" y="378629"/>
                      </a:lnTo>
                      <a:lnTo>
                        <a:pt x="89251" y="376844"/>
                      </a:lnTo>
                      <a:lnTo>
                        <a:pt x="88838" y="375217"/>
                      </a:lnTo>
                      <a:lnTo>
                        <a:pt x="88158" y="358715"/>
                      </a:lnTo>
                      <a:cubicBezTo>
                        <a:pt x="87466" y="358022"/>
                        <a:pt x="90368" y="355047"/>
                        <a:pt x="88996" y="354926"/>
                      </a:cubicBezTo>
                      <a:cubicBezTo>
                        <a:pt x="87563" y="354817"/>
                        <a:pt x="87854" y="349316"/>
                        <a:pt x="85790" y="348527"/>
                      </a:cubicBezTo>
                      <a:cubicBezTo>
                        <a:pt x="85147" y="347834"/>
                        <a:pt x="83787" y="347106"/>
                        <a:pt x="82427" y="346365"/>
                      </a:cubicBezTo>
                      <a:cubicBezTo>
                        <a:pt x="81747" y="345685"/>
                        <a:pt x="81103" y="345017"/>
                        <a:pt x="79743" y="344264"/>
                      </a:cubicBezTo>
                      <a:cubicBezTo>
                        <a:pt x="76318" y="342091"/>
                        <a:pt x="72166" y="341144"/>
                        <a:pt x="68802" y="338363"/>
                      </a:cubicBezTo>
                      <a:cubicBezTo>
                        <a:pt x="66847" y="336323"/>
                        <a:pt x="67066" y="333809"/>
                        <a:pt x="67236" y="331308"/>
                      </a:cubicBezTo>
                      <a:cubicBezTo>
                        <a:pt x="67527" y="327556"/>
                        <a:pt x="65535" y="326147"/>
                        <a:pt x="62026" y="325224"/>
                      </a:cubicBezTo>
                      <a:cubicBezTo>
                        <a:pt x="59258" y="324386"/>
                        <a:pt x="55700" y="324107"/>
                        <a:pt x="52166" y="323828"/>
                      </a:cubicBezTo>
                      <a:cubicBezTo>
                        <a:pt x="52020" y="323816"/>
                        <a:pt x="51887" y="323816"/>
                        <a:pt x="51753" y="323816"/>
                      </a:cubicBezTo>
                      <a:cubicBezTo>
                        <a:pt x="50624" y="323816"/>
                        <a:pt x="49470" y="324144"/>
                        <a:pt x="48317" y="324144"/>
                      </a:cubicBezTo>
                      <a:cubicBezTo>
                        <a:pt x="48171" y="324144"/>
                        <a:pt x="48038" y="324144"/>
                        <a:pt x="47892" y="324131"/>
                      </a:cubicBezTo>
                      <a:cubicBezTo>
                        <a:pt x="46495" y="324022"/>
                        <a:pt x="44382" y="323852"/>
                        <a:pt x="42938" y="323743"/>
                      </a:cubicBezTo>
                      <a:cubicBezTo>
                        <a:pt x="40788" y="324204"/>
                        <a:pt x="39938" y="326026"/>
                        <a:pt x="37643" y="327738"/>
                      </a:cubicBezTo>
                      <a:cubicBezTo>
                        <a:pt x="36891" y="328309"/>
                        <a:pt x="35445" y="328819"/>
                        <a:pt x="33927" y="329960"/>
                      </a:cubicBezTo>
                      <a:cubicBezTo>
                        <a:pt x="32604" y="330956"/>
                        <a:pt x="31839" y="331527"/>
                        <a:pt x="30236" y="331527"/>
                      </a:cubicBezTo>
                      <a:cubicBezTo>
                        <a:pt x="30018" y="331527"/>
                        <a:pt x="29799" y="331514"/>
                        <a:pt x="29556" y="331502"/>
                      </a:cubicBezTo>
                      <a:cubicBezTo>
                        <a:pt x="27395" y="331332"/>
                        <a:pt x="24517" y="331733"/>
                        <a:pt x="23230" y="330361"/>
                      </a:cubicBezTo>
                      <a:cubicBezTo>
                        <a:pt x="21858" y="329632"/>
                        <a:pt x="21238" y="328333"/>
                        <a:pt x="21311" y="327082"/>
                      </a:cubicBezTo>
                      <a:cubicBezTo>
                        <a:pt x="20036" y="325722"/>
                        <a:pt x="18725" y="324350"/>
                        <a:pt x="18081" y="323039"/>
                      </a:cubicBezTo>
                      <a:cubicBezTo>
                        <a:pt x="16879" y="320428"/>
                        <a:pt x="17789" y="317975"/>
                        <a:pt x="16527" y="315983"/>
                      </a:cubicBezTo>
                      <a:cubicBezTo>
                        <a:pt x="10856" y="307119"/>
                        <a:pt x="16915" y="297963"/>
                        <a:pt x="16247" y="289111"/>
                      </a:cubicBezTo>
                      <a:cubicBezTo>
                        <a:pt x="15919" y="284545"/>
                        <a:pt x="12191" y="281631"/>
                        <a:pt x="10637" y="277478"/>
                      </a:cubicBezTo>
                      <a:cubicBezTo>
                        <a:pt x="8282" y="271358"/>
                        <a:pt x="12847" y="264619"/>
                        <a:pt x="9532" y="258875"/>
                      </a:cubicBezTo>
                      <a:cubicBezTo>
                        <a:pt x="9277" y="258839"/>
                        <a:pt x="8962" y="258815"/>
                        <a:pt x="8694" y="258778"/>
                      </a:cubicBezTo>
                      <a:lnTo>
                        <a:pt x="10783" y="253836"/>
                      </a:lnTo>
                      <a:cubicBezTo>
                        <a:pt x="11014" y="250703"/>
                        <a:pt x="9787" y="248092"/>
                        <a:pt x="10030" y="244972"/>
                      </a:cubicBezTo>
                      <a:cubicBezTo>
                        <a:pt x="10989" y="241899"/>
                        <a:pt x="14025" y="239617"/>
                        <a:pt x="16296" y="237892"/>
                      </a:cubicBezTo>
                      <a:cubicBezTo>
                        <a:pt x="20983" y="232610"/>
                        <a:pt x="22173" y="226417"/>
                        <a:pt x="22708" y="219520"/>
                      </a:cubicBezTo>
                      <a:cubicBezTo>
                        <a:pt x="22926" y="217031"/>
                        <a:pt x="22404" y="214469"/>
                        <a:pt x="22659" y="211348"/>
                      </a:cubicBezTo>
                      <a:cubicBezTo>
                        <a:pt x="22829" y="208846"/>
                        <a:pt x="23096" y="205726"/>
                        <a:pt x="24043" y="202641"/>
                      </a:cubicBezTo>
                      <a:cubicBezTo>
                        <a:pt x="24189" y="200759"/>
                        <a:pt x="24383" y="198258"/>
                        <a:pt x="25306" y="195805"/>
                      </a:cubicBezTo>
                      <a:cubicBezTo>
                        <a:pt x="25379" y="194554"/>
                        <a:pt x="26909" y="193425"/>
                        <a:pt x="27710" y="192223"/>
                      </a:cubicBezTo>
                      <a:cubicBezTo>
                        <a:pt x="29252" y="190462"/>
                        <a:pt x="29410" y="188580"/>
                        <a:pt x="30928" y="187438"/>
                      </a:cubicBezTo>
                      <a:cubicBezTo>
                        <a:pt x="32580" y="184415"/>
                        <a:pt x="35615" y="182144"/>
                        <a:pt x="37947" y="179825"/>
                      </a:cubicBezTo>
                      <a:cubicBezTo>
                        <a:pt x="40278" y="176850"/>
                        <a:pt x="42622" y="174518"/>
                        <a:pt x="45645" y="172235"/>
                      </a:cubicBezTo>
                      <a:cubicBezTo>
                        <a:pt x="48681" y="169953"/>
                        <a:pt x="51085" y="166370"/>
                        <a:pt x="52773" y="163359"/>
                      </a:cubicBezTo>
                      <a:cubicBezTo>
                        <a:pt x="56076" y="158417"/>
                        <a:pt x="55238" y="152503"/>
                        <a:pt x="56781" y="147112"/>
                      </a:cubicBezTo>
                      <a:cubicBezTo>
                        <a:pt x="58286" y="141963"/>
                        <a:pt x="59974" y="136717"/>
                        <a:pt x="61553" y="131496"/>
                      </a:cubicBezTo>
                      <a:cubicBezTo>
                        <a:pt x="65232" y="119074"/>
                        <a:pt x="72834" y="107841"/>
                        <a:pt x="81589" y="97775"/>
                      </a:cubicBezTo>
                      <a:cubicBezTo>
                        <a:pt x="83689" y="95358"/>
                        <a:pt x="89821" y="91643"/>
                        <a:pt x="89931" y="88461"/>
                      </a:cubicBezTo>
                      <a:lnTo>
                        <a:pt x="103519" y="88036"/>
                      </a:lnTo>
                      <a:cubicBezTo>
                        <a:pt x="104684" y="88133"/>
                        <a:pt x="105850" y="88158"/>
                        <a:pt x="107004" y="88158"/>
                      </a:cubicBezTo>
                      <a:cubicBezTo>
                        <a:pt x="108376" y="88158"/>
                        <a:pt x="109736" y="88121"/>
                        <a:pt x="110987" y="88121"/>
                      </a:cubicBezTo>
                      <a:cubicBezTo>
                        <a:pt x="111849" y="88121"/>
                        <a:pt x="112686" y="88133"/>
                        <a:pt x="113452" y="88194"/>
                      </a:cubicBezTo>
                      <a:cubicBezTo>
                        <a:pt x="114848" y="88303"/>
                        <a:pt x="116281" y="88425"/>
                        <a:pt x="117702" y="88534"/>
                      </a:cubicBezTo>
                      <a:cubicBezTo>
                        <a:pt x="119814" y="88704"/>
                        <a:pt x="121211" y="89421"/>
                        <a:pt x="123202" y="90841"/>
                      </a:cubicBezTo>
                      <a:cubicBezTo>
                        <a:pt x="124574" y="91594"/>
                        <a:pt x="126590" y="93003"/>
                        <a:pt x="128740" y="93173"/>
                      </a:cubicBezTo>
                      <a:cubicBezTo>
                        <a:pt x="128909" y="93185"/>
                        <a:pt x="129079" y="93185"/>
                        <a:pt x="129286" y="93185"/>
                      </a:cubicBezTo>
                      <a:cubicBezTo>
                        <a:pt x="131532" y="93185"/>
                        <a:pt x="135309" y="92335"/>
                        <a:pt x="136705" y="91278"/>
                      </a:cubicBezTo>
                      <a:cubicBezTo>
                        <a:pt x="139607" y="90258"/>
                        <a:pt x="139158" y="87065"/>
                        <a:pt x="139996" y="85256"/>
                      </a:cubicBezTo>
                      <a:cubicBezTo>
                        <a:pt x="141696" y="82220"/>
                        <a:pt x="143238" y="80459"/>
                        <a:pt x="145546" y="78140"/>
                      </a:cubicBezTo>
                      <a:cubicBezTo>
                        <a:pt x="147100" y="76367"/>
                        <a:pt x="148035" y="73926"/>
                        <a:pt x="150306" y="72214"/>
                      </a:cubicBezTo>
                      <a:cubicBezTo>
                        <a:pt x="152540" y="71145"/>
                        <a:pt x="154786" y="69421"/>
                        <a:pt x="155697" y="66980"/>
                      </a:cubicBezTo>
                      <a:cubicBezTo>
                        <a:pt x="155770" y="65730"/>
                        <a:pt x="155891" y="64467"/>
                        <a:pt x="156705" y="63277"/>
                      </a:cubicBezTo>
                      <a:cubicBezTo>
                        <a:pt x="156729" y="62657"/>
                        <a:pt x="157542" y="61468"/>
                        <a:pt x="158332" y="60265"/>
                      </a:cubicBezTo>
                      <a:cubicBezTo>
                        <a:pt x="159267" y="57813"/>
                        <a:pt x="158781" y="54631"/>
                        <a:pt x="159753" y="51559"/>
                      </a:cubicBezTo>
                      <a:cubicBezTo>
                        <a:pt x="160700" y="48487"/>
                        <a:pt x="160967" y="45354"/>
                        <a:pt x="163978" y="43083"/>
                      </a:cubicBezTo>
                      <a:cubicBezTo>
                        <a:pt x="165569" y="41322"/>
                        <a:pt x="167767" y="40242"/>
                        <a:pt x="169333" y="38469"/>
                      </a:cubicBezTo>
                      <a:cubicBezTo>
                        <a:pt x="170062" y="37898"/>
                        <a:pt x="170900" y="36708"/>
                        <a:pt x="171641" y="36149"/>
                      </a:cubicBezTo>
                      <a:cubicBezTo>
                        <a:pt x="172649" y="35385"/>
                        <a:pt x="173936" y="35202"/>
                        <a:pt x="175101" y="35202"/>
                      </a:cubicBezTo>
                      <a:cubicBezTo>
                        <a:pt x="175672" y="35202"/>
                        <a:pt x="176219" y="35239"/>
                        <a:pt x="176680" y="35275"/>
                      </a:cubicBezTo>
                      <a:cubicBezTo>
                        <a:pt x="178793" y="35445"/>
                        <a:pt x="180930" y="35615"/>
                        <a:pt x="182326" y="35725"/>
                      </a:cubicBezTo>
                      <a:cubicBezTo>
                        <a:pt x="184488" y="35263"/>
                        <a:pt x="186722" y="34194"/>
                        <a:pt x="189600" y="33769"/>
                      </a:cubicBezTo>
                      <a:cubicBezTo>
                        <a:pt x="191725" y="33952"/>
                        <a:pt x="195319" y="33599"/>
                        <a:pt x="197384" y="34377"/>
                      </a:cubicBezTo>
                      <a:cubicBezTo>
                        <a:pt x="198744" y="35129"/>
                        <a:pt x="199399" y="35797"/>
                        <a:pt x="201549" y="35967"/>
                      </a:cubicBezTo>
                      <a:cubicBezTo>
                        <a:pt x="202945" y="36077"/>
                        <a:pt x="205082" y="36234"/>
                        <a:pt x="206491" y="36356"/>
                      </a:cubicBezTo>
                      <a:cubicBezTo>
                        <a:pt x="210025" y="36623"/>
                        <a:pt x="213558" y="36902"/>
                        <a:pt x="217772" y="37230"/>
                      </a:cubicBezTo>
                      <a:cubicBezTo>
                        <a:pt x="220625" y="37461"/>
                        <a:pt x="225616" y="37230"/>
                        <a:pt x="228348" y="38712"/>
                      </a:cubicBezTo>
                      <a:cubicBezTo>
                        <a:pt x="229757" y="38821"/>
                        <a:pt x="230364" y="40145"/>
                        <a:pt x="231020" y="41456"/>
                      </a:cubicBezTo>
                      <a:cubicBezTo>
                        <a:pt x="232355" y="42185"/>
                        <a:pt x="232999" y="42865"/>
                        <a:pt x="235124" y="43022"/>
                      </a:cubicBezTo>
                      <a:cubicBezTo>
                        <a:pt x="236496" y="43763"/>
                        <a:pt x="237917" y="43872"/>
                        <a:pt x="239338" y="43982"/>
                      </a:cubicBezTo>
                      <a:cubicBezTo>
                        <a:pt x="240685" y="44734"/>
                        <a:pt x="241341" y="45402"/>
                        <a:pt x="242021" y="46094"/>
                      </a:cubicBezTo>
                      <a:cubicBezTo>
                        <a:pt x="246793" y="48985"/>
                        <a:pt x="252440" y="48802"/>
                        <a:pt x="258123" y="49252"/>
                      </a:cubicBezTo>
                      <a:cubicBezTo>
                        <a:pt x="259871" y="49385"/>
                        <a:pt x="262518" y="50017"/>
                        <a:pt x="265020" y="50017"/>
                      </a:cubicBezTo>
                      <a:cubicBezTo>
                        <a:pt x="265566" y="50017"/>
                        <a:pt x="266100" y="49992"/>
                        <a:pt x="266623" y="49920"/>
                      </a:cubicBezTo>
                      <a:cubicBezTo>
                        <a:pt x="268796" y="49470"/>
                        <a:pt x="270970" y="48390"/>
                        <a:pt x="273168" y="47916"/>
                      </a:cubicBezTo>
                      <a:cubicBezTo>
                        <a:pt x="273204" y="47916"/>
                        <a:pt x="273253" y="47916"/>
                        <a:pt x="273289" y="47916"/>
                      </a:cubicBezTo>
                      <a:cubicBezTo>
                        <a:pt x="274005" y="47916"/>
                        <a:pt x="275220" y="47503"/>
                        <a:pt x="275900" y="47503"/>
                      </a:cubicBezTo>
                      <a:cubicBezTo>
                        <a:pt x="275948" y="47503"/>
                        <a:pt x="275997" y="47503"/>
                        <a:pt x="276034" y="47503"/>
                      </a:cubicBezTo>
                      <a:cubicBezTo>
                        <a:pt x="277563" y="46362"/>
                        <a:pt x="278389" y="45172"/>
                        <a:pt x="279822" y="44662"/>
                      </a:cubicBezTo>
                      <a:cubicBezTo>
                        <a:pt x="282105" y="42937"/>
                        <a:pt x="284995" y="42525"/>
                        <a:pt x="287217" y="41456"/>
                      </a:cubicBezTo>
                      <a:cubicBezTo>
                        <a:pt x="290192" y="39805"/>
                        <a:pt x="290386" y="37303"/>
                        <a:pt x="291273" y="34850"/>
                      </a:cubicBezTo>
                      <a:cubicBezTo>
                        <a:pt x="291491" y="32349"/>
                        <a:pt x="293106" y="29957"/>
                        <a:pt x="293993" y="27516"/>
                      </a:cubicBezTo>
                      <a:cubicBezTo>
                        <a:pt x="295596" y="25112"/>
                        <a:pt x="296518" y="22671"/>
                        <a:pt x="298194" y="19659"/>
                      </a:cubicBezTo>
                      <a:cubicBezTo>
                        <a:pt x="299748" y="17267"/>
                        <a:pt x="301352" y="15494"/>
                        <a:pt x="302274" y="13054"/>
                      </a:cubicBezTo>
                      <a:cubicBezTo>
                        <a:pt x="303185" y="9994"/>
                        <a:pt x="305456" y="8901"/>
                        <a:pt x="308406" y="7249"/>
                      </a:cubicBezTo>
                      <a:cubicBezTo>
                        <a:pt x="310701" y="6496"/>
                        <a:pt x="313009" y="6071"/>
                        <a:pt x="315632" y="6071"/>
                      </a:cubicBezTo>
                      <a:moveTo>
                        <a:pt x="315632" y="0"/>
                      </a:moveTo>
                      <a:cubicBezTo>
                        <a:pt x="312389" y="0"/>
                        <a:pt x="309439" y="510"/>
                        <a:pt x="306366" y="1578"/>
                      </a:cubicBezTo>
                      <a:lnTo>
                        <a:pt x="305869" y="1749"/>
                      </a:lnTo>
                      <a:lnTo>
                        <a:pt x="305407" y="2004"/>
                      </a:lnTo>
                      <a:cubicBezTo>
                        <a:pt x="301813" y="3995"/>
                        <a:pt x="297988" y="6120"/>
                        <a:pt x="296421" y="11378"/>
                      </a:cubicBezTo>
                      <a:cubicBezTo>
                        <a:pt x="296191" y="11949"/>
                        <a:pt x="295486" y="12944"/>
                        <a:pt x="294600" y="14195"/>
                      </a:cubicBezTo>
                      <a:cubicBezTo>
                        <a:pt x="294102" y="14899"/>
                        <a:pt x="293592" y="15616"/>
                        <a:pt x="293082" y="16405"/>
                      </a:cubicBezTo>
                      <a:cubicBezTo>
                        <a:pt x="292135" y="18069"/>
                        <a:pt x="291540" y="19271"/>
                        <a:pt x="290969" y="20424"/>
                      </a:cubicBezTo>
                      <a:cubicBezTo>
                        <a:pt x="290314" y="21760"/>
                        <a:pt x="289718" y="22986"/>
                        <a:pt x="288917" y="24213"/>
                      </a:cubicBezTo>
                      <a:lnTo>
                        <a:pt x="288504" y="24832"/>
                      </a:lnTo>
                      <a:lnTo>
                        <a:pt x="288249" y="25524"/>
                      </a:lnTo>
                      <a:cubicBezTo>
                        <a:pt x="288006" y="26192"/>
                        <a:pt x="287691" y="26848"/>
                        <a:pt x="287387" y="27516"/>
                      </a:cubicBezTo>
                      <a:cubicBezTo>
                        <a:pt x="286622" y="29179"/>
                        <a:pt x="285663" y="31195"/>
                        <a:pt x="285311" y="33539"/>
                      </a:cubicBezTo>
                      <a:cubicBezTo>
                        <a:pt x="285189" y="33867"/>
                        <a:pt x="285092" y="34194"/>
                        <a:pt x="284995" y="34534"/>
                      </a:cubicBezTo>
                      <a:cubicBezTo>
                        <a:pt x="284825" y="35081"/>
                        <a:pt x="284570" y="35919"/>
                        <a:pt x="284424" y="36101"/>
                      </a:cubicBezTo>
                      <a:cubicBezTo>
                        <a:pt x="283975" y="36332"/>
                        <a:pt x="283295" y="36538"/>
                        <a:pt x="282615" y="36769"/>
                      </a:cubicBezTo>
                      <a:cubicBezTo>
                        <a:pt x="280915" y="37339"/>
                        <a:pt x="278851" y="38032"/>
                        <a:pt x="276823" y="39392"/>
                      </a:cubicBezTo>
                      <a:cubicBezTo>
                        <a:pt x="275317" y="40108"/>
                        <a:pt x="274249" y="41067"/>
                        <a:pt x="273435" y="41808"/>
                      </a:cubicBezTo>
                      <a:cubicBezTo>
                        <a:pt x="273398" y="41808"/>
                        <a:pt x="273362" y="41820"/>
                        <a:pt x="273338" y="41820"/>
                      </a:cubicBezTo>
                      <a:lnTo>
                        <a:pt x="272463" y="41747"/>
                      </a:lnTo>
                      <a:lnTo>
                        <a:pt x="271905" y="42014"/>
                      </a:lnTo>
                      <a:cubicBezTo>
                        <a:pt x="270569" y="42294"/>
                        <a:pt x="269209" y="42755"/>
                        <a:pt x="267861" y="43229"/>
                      </a:cubicBezTo>
                      <a:cubicBezTo>
                        <a:pt x="267035" y="43520"/>
                        <a:pt x="266210" y="43836"/>
                        <a:pt x="265384" y="44006"/>
                      </a:cubicBezTo>
                      <a:cubicBezTo>
                        <a:pt x="265481" y="43994"/>
                        <a:pt x="265409" y="43982"/>
                        <a:pt x="265275" y="43982"/>
                      </a:cubicBezTo>
                      <a:cubicBezTo>
                        <a:pt x="265202" y="43982"/>
                        <a:pt x="265105" y="43982"/>
                        <a:pt x="265020" y="43982"/>
                      </a:cubicBezTo>
                      <a:cubicBezTo>
                        <a:pt x="263757" y="43982"/>
                        <a:pt x="262458" y="43763"/>
                        <a:pt x="261316" y="43581"/>
                      </a:cubicBezTo>
                      <a:cubicBezTo>
                        <a:pt x="260284" y="43423"/>
                        <a:pt x="259349" y="43290"/>
                        <a:pt x="258560" y="43229"/>
                      </a:cubicBezTo>
                      <a:lnTo>
                        <a:pt x="255633" y="43034"/>
                      </a:lnTo>
                      <a:cubicBezTo>
                        <a:pt x="251735" y="42792"/>
                        <a:pt x="248323" y="42585"/>
                        <a:pt x="245713" y="41249"/>
                      </a:cubicBezTo>
                      <a:cubicBezTo>
                        <a:pt x="244935" y="40497"/>
                        <a:pt x="243903" y="39598"/>
                        <a:pt x="242276" y="38712"/>
                      </a:cubicBezTo>
                      <a:lnTo>
                        <a:pt x="241098" y="38068"/>
                      </a:lnTo>
                      <a:lnTo>
                        <a:pt x="239763" y="37971"/>
                      </a:lnTo>
                      <a:cubicBezTo>
                        <a:pt x="239167" y="37922"/>
                        <a:pt x="238257" y="37862"/>
                        <a:pt x="237989" y="37716"/>
                      </a:cubicBezTo>
                      <a:lnTo>
                        <a:pt x="236860" y="37109"/>
                      </a:lnTo>
                      <a:lnTo>
                        <a:pt x="235597" y="37012"/>
                      </a:lnTo>
                      <a:lnTo>
                        <a:pt x="235464" y="36963"/>
                      </a:lnTo>
                      <a:cubicBezTo>
                        <a:pt x="234468" y="35385"/>
                        <a:pt x="232865" y="33587"/>
                        <a:pt x="230242" y="32932"/>
                      </a:cubicBezTo>
                      <a:cubicBezTo>
                        <a:pt x="227073" y="31584"/>
                        <a:pt x="223345" y="31438"/>
                        <a:pt x="220273" y="31329"/>
                      </a:cubicBezTo>
                      <a:cubicBezTo>
                        <a:pt x="219532" y="31304"/>
                        <a:pt x="218852" y="31280"/>
                        <a:pt x="218269" y="31232"/>
                      </a:cubicBezTo>
                      <a:lnTo>
                        <a:pt x="212696" y="30794"/>
                      </a:lnTo>
                      <a:lnTo>
                        <a:pt x="206964" y="30345"/>
                      </a:lnTo>
                      <a:lnTo>
                        <a:pt x="203941" y="30102"/>
                      </a:lnTo>
                      <a:lnTo>
                        <a:pt x="202046" y="29944"/>
                      </a:lnTo>
                      <a:lnTo>
                        <a:pt x="201257" y="29629"/>
                      </a:lnTo>
                      <a:lnTo>
                        <a:pt x="200358" y="29106"/>
                      </a:lnTo>
                      <a:lnTo>
                        <a:pt x="199970" y="28888"/>
                      </a:lnTo>
                      <a:lnTo>
                        <a:pt x="199545" y="28730"/>
                      </a:lnTo>
                      <a:cubicBezTo>
                        <a:pt x="197129" y="27819"/>
                        <a:pt x="194421" y="27807"/>
                        <a:pt x="192041" y="27795"/>
                      </a:cubicBezTo>
                      <a:cubicBezTo>
                        <a:pt x="191337" y="27795"/>
                        <a:pt x="190681" y="27795"/>
                        <a:pt x="190146" y="27759"/>
                      </a:cubicBezTo>
                      <a:lnTo>
                        <a:pt x="189454" y="27698"/>
                      </a:lnTo>
                      <a:lnTo>
                        <a:pt x="188762" y="27795"/>
                      </a:lnTo>
                      <a:cubicBezTo>
                        <a:pt x="186528" y="28111"/>
                        <a:pt x="184682" y="28718"/>
                        <a:pt x="183176" y="29204"/>
                      </a:cubicBezTo>
                      <a:cubicBezTo>
                        <a:pt x="182727" y="29349"/>
                        <a:pt x="182278" y="29495"/>
                        <a:pt x="181853" y="29629"/>
                      </a:cubicBezTo>
                      <a:lnTo>
                        <a:pt x="179533" y="29446"/>
                      </a:lnTo>
                      <a:lnTo>
                        <a:pt x="177202" y="29264"/>
                      </a:lnTo>
                      <a:cubicBezTo>
                        <a:pt x="176595" y="29216"/>
                        <a:pt x="175903" y="29167"/>
                        <a:pt x="175150" y="29167"/>
                      </a:cubicBezTo>
                      <a:cubicBezTo>
                        <a:pt x="172321" y="29167"/>
                        <a:pt x="169904" y="29908"/>
                        <a:pt x="167998" y="31365"/>
                      </a:cubicBezTo>
                      <a:cubicBezTo>
                        <a:pt x="167378" y="31839"/>
                        <a:pt x="166650" y="32579"/>
                        <a:pt x="165958" y="33345"/>
                      </a:cubicBezTo>
                      <a:lnTo>
                        <a:pt x="165484" y="33854"/>
                      </a:lnTo>
                      <a:lnTo>
                        <a:pt x="165302" y="34025"/>
                      </a:lnTo>
                      <a:lnTo>
                        <a:pt x="164828" y="34474"/>
                      </a:lnTo>
                      <a:cubicBezTo>
                        <a:pt x="164306" y="35069"/>
                        <a:pt x="163638" y="35518"/>
                        <a:pt x="163019" y="35992"/>
                      </a:cubicBezTo>
                      <a:cubicBezTo>
                        <a:pt x="162048" y="36732"/>
                        <a:pt x="160955" y="37546"/>
                        <a:pt x="159898" y="38639"/>
                      </a:cubicBezTo>
                      <a:cubicBezTo>
                        <a:pt x="156158" y="41687"/>
                        <a:pt x="155150" y="45487"/>
                        <a:pt x="154410" y="48292"/>
                      </a:cubicBezTo>
                      <a:cubicBezTo>
                        <a:pt x="154276" y="48802"/>
                        <a:pt x="154155" y="49312"/>
                        <a:pt x="153997" y="49810"/>
                      </a:cubicBezTo>
                      <a:cubicBezTo>
                        <a:pt x="153305" y="51960"/>
                        <a:pt x="153159" y="54036"/>
                        <a:pt x="153026" y="55687"/>
                      </a:cubicBezTo>
                      <a:cubicBezTo>
                        <a:pt x="152965" y="56380"/>
                        <a:pt x="152904" y="57193"/>
                        <a:pt x="152795" y="57728"/>
                      </a:cubicBezTo>
                      <a:cubicBezTo>
                        <a:pt x="152078" y="58820"/>
                        <a:pt x="151483" y="59853"/>
                        <a:pt x="151083" y="60945"/>
                      </a:cubicBezTo>
                      <a:cubicBezTo>
                        <a:pt x="150233" y="62548"/>
                        <a:pt x="149917" y="64102"/>
                        <a:pt x="149783" y="65305"/>
                      </a:cubicBezTo>
                      <a:cubicBezTo>
                        <a:pt x="149419" y="65742"/>
                        <a:pt x="148715" y="66288"/>
                        <a:pt x="147707" y="66774"/>
                      </a:cubicBezTo>
                      <a:lnTo>
                        <a:pt x="147148" y="67041"/>
                      </a:lnTo>
                      <a:lnTo>
                        <a:pt x="146662" y="67405"/>
                      </a:lnTo>
                      <a:cubicBezTo>
                        <a:pt x="144404" y="69118"/>
                        <a:pt x="143068" y="71170"/>
                        <a:pt x="142085" y="72675"/>
                      </a:cubicBezTo>
                      <a:cubicBezTo>
                        <a:pt x="141732" y="73198"/>
                        <a:pt x="141417" y="73720"/>
                        <a:pt x="141028" y="74169"/>
                      </a:cubicBezTo>
                      <a:cubicBezTo>
                        <a:pt x="138563" y="76622"/>
                        <a:pt x="136730" y="78771"/>
                        <a:pt x="134726" y="82329"/>
                      </a:cubicBezTo>
                      <a:cubicBezTo>
                        <a:pt x="133973" y="83920"/>
                        <a:pt x="133755" y="85025"/>
                        <a:pt x="133560" y="85911"/>
                      </a:cubicBezTo>
                      <a:cubicBezTo>
                        <a:pt x="133548" y="85984"/>
                        <a:pt x="133536" y="86057"/>
                        <a:pt x="133524" y="86142"/>
                      </a:cubicBezTo>
                      <a:lnTo>
                        <a:pt x="133087" y="86470"/>
                      </a:lnTo>
                      <a:cubicBezTo>
                        <a:pt x="132723" y="86628"/>
                        <a:pt x="130549" y="87162"/>
                        <a:pt x="129310" y="87162"/>
                      </a:cubicBezTo>
                      <a:cubicBezTo>
                        <a:pt x="128812" y="87101"/>
                        <a:pt x="127683" y="86445"/>
                        <a:pt x="127088" y="86105"/>
                      </a:cubicBezTo>
                      <a:lnTo>
                        <a:pt x="126493" y="85765"/>
                      </a:lnTo>
                      <a:cubicBezTo>
                        <a:pt x="124004" y="84017"/>
                        <a:pt x="121612" y="82803"/>
                        <a:pt x="118212" y="82523"/>
                      </a:cubicBezTo>
                      <a:lnTo>
                        <a:pt x="114970" y="82268"/>
                      </a:lnTo>
                      <a:lnTo>
                        <a:pt x="113949" y="82183"/>
                      </a:lnTo>
                      <a:cubicBezTo>
                        <a:pt x="113027" y="82110"/>
                        <a:pt x="112031" y="82086"/>
                        <a:pt x="110999" y="82086"/>
                      </a:cubicBezTo>
                      <a:lnTo>
                        <a:pt x="109007" y="82098"/>
                      </a:lnTo>
                      <a:lnTo>
                        <a:pt x="107016" y="82110"/>
                      </a:lnTo>
                      <a:cubicBezTo>
                        <a:pt x="106020" y="82110"/>
                        <a:pt x="105024" y="82098"/>
                        <a:pt x="104017" y="82013"/>
                      </a:cubicBezTo>
                      <a:lnTo>
                        <a:pt x="103689" y="81989"/>
                      </a:lnTo>
                      <a:lnTo>
                        <a:pt x="103349" y="82001"/>
                      </a:lnTo>
                      <a:lnTo>
                        <a:pt x="89761" y="82426"/>
                      </a:lnTo>
                      <a:lnTo>
                        <a:pt x="84066" y="82608"/>
                      </a:lnTo>
                      <a:lnTo>
                        <a:pt x="83908" y="87490"/>
                      </a:lnTo>
                      <a:cubicBezTo>
                        <a:pt x="83216" y="88328"/>
                        <a:pt x="81540" y="89736"/>
                        <a:pt x="80593" y="90538"/>
                      </a:cubicBezTo>
                      <a:cubicBezTo>
                        <a:pt x="79160" y="91740"/>
                        <a:pt x="77849" y="92881"/>
                        <a:pt x="77023" y="93828"/>
                      </a:cubicBezTo>
                      <a:cubicBezTo>
                        <a:pt x="66191" y="106263"/>
                        <a:pt x="59234" y="118041"/>
                        <a:pt x="55748" y="129796"/>
                      </a:cubicBezTo>
                      <a:lnTo>
                        <a:pt x="53854" y="135952"/>
                      </a:lnTo>
                      <a:cubicBezTo>
                        <a:pt x="52870" y="139122"/>
                        <a:pt x="51899" y="142291"/>
                        <a:pt x="50988" y="145424"/>
                      </a:cubicBezTo>
                      <a:cubicBezTo>
                        <a:pt x="50272" y="147889"/>
                        <a:pt x="49993" y="150293"/>
                        <a:pt x="49725" y="152430"/>
                      </a:cubicBezTo>
                      <a:cubicBezTo>
                        <a:pt x="49361" y="155454"/>
                        <a:pt x="49045" y="158065"/>
                        <a:pt x="47746" y="160008"/>
                      </a:cubicBezTo>
                      <a:cubicBezTo>
                        <a:pt x="45208" y="164512"/>
                        <a:pt x="43253" y="166480"/>
                        <a:pt x="42015" y="167402"/>
                      </a:cubicBezTo>
                      <a:cubicBezTo>
                        <a:pt x="38736" y="169868"/>
                        <a:pt x="36089" y="172466"/>
                        <a:pt x="33442" y="175769"/>
                      </a:cubicBezTo>
                      <a:cubicBezTo>
                        <a:pt x="32980" y="176230"/>
                        <a:pt x="32483" y="176692"/>
                        <a:pt x="31972" y="177153"/>
                      </a:cubicBezTo>
                      <a:cubicBezTo>
                        <a:pt x="30030" y="178938"/>
                        <a:pt x="27856" y="180942"/>
                        <a:pt x="26192" y="183577"/>
                      </a:cubicBezTo>
                      <a:cubicBezTo>
                        <a:pt x="24954" y="184828"/>
                        <a:pt x="24286" y="186163"/>
                        <a:pt x="23812" y="187123"/>
                      </a:cubicBezTo>
                      <a:cubicBezTo>
                        <a:pt x="23557" y="187633"/>
                        <a:pt x="23363" y="188021"/>
                        <a:pt x="23169" y="188228"/>
                      </a:cubicBezTo>
                      <a:lnTo>
                        <a:pt x="22914" y="188519"/>
                      </a:lnTo>
                      <a:lnTo>
                        <a:pt x="22683" y="188835"/>
                      </a:lnTo>
                      <a:cubicBezTo>
                        <a:pt x="22562" y="189005"/>
                        <a:pt x="22392" y="189187"/>
                        <a:pt x="22222" y="189369"/>
                      </a:cubicBezTo>
                      <a:cubicBezTo>
                        <a:pt x="21323" y="190377"/>
                        <a:pt x="19902" y="191992"/>
                        <a:pt x="19417" y="194299"/>
                      </a:cubicBezTo>
                      <a:cubicBezTo>
                        <a:pt x="18482" y="197043"/>
                        <a:pt x="18190" y="199703"/>
                        <a:pt x="18057" y="201548"/>
                      </a:cubicBezTo>
                      <a:cubicBezTo>
                        <a:pt x="17122" y="204839"/>
                        <a:pt x="16806" y="208008"/>
                        <a:pt x="16612" y="210947"/>
                      </a:cubicBezTo>
                      <a:cubicBezTo>
                        <a:pt x="16454" y="212793"/>
                        <a:pt x="16539" y="214553"/>
                        <a:pt x="16624" y="216217"/>
                      </a:cubicBezTo>
                      <a:cubicBezTo>
                        <a:pt x="16685" y="217189"/>
                        <a:pt x="16745" y="218111"/>
                        <a:pt x="16672" y="219010"/>
                      </a:cubicBezTo>
                      <a:cubicBezTo>
                        <a:pt x="16199" y="225106"/>
                        <a:pt x="15264" y="229672"/>
                        <a:pt x="12119" y="233448"/>
                      </a:cubicBezTo>
                      <a:cubicBezTo>
                        <a:pt x="9387" y="235536"/>
                        <a:pt x="5695" y="238560"/>
                        <a:pt x="4250" y="243162"/>
                      </a:cubicBezTo>
                      <a:lnTo>
                        <a:pt x="4044" y="243830"/>
                      </a:lnTo>
                      <a:lnTo>
                        <a:pt x="3983" y="244522"/>
                      </a:lnTo>
                      <a:cubicBezTo>
                        <a:pt x="3813" y="246829"/>
                        <a:pt x="4165" y="248845"/>
                        <a:pt x="4432" y="250460"/>
                      </a:cubicBezTo>
                      <a:cubicBezTo>
                        <a:pt x="4578" y="251237"/>
                        <a:pt x="4687" y="251954"/>
                        <a:pt x="4736" y="252585"/>
                      </a:cubicBezTo>
                      <a:lnTo>
                        <a:pt x="3109" y="256410"/>
                      </a:lnTo>
                      <a:lnTo>
                        <a:pt x="0" y="263757"/>
                      </a:lnTo>
                      <a:lnTo>
                        <a:pt x="4724" y="264376"/>
                      </a:lnTo>
                      <a:cubicBezTo>
                        <a:pt x="4700" y="265311"/>
                        <a:pt x="4542" y="266428"/>
                        <a:pt x="4372" y="267776"/>
                      </a:cubicBezTo>
                      <a:cubicBezTo>
                        <a:pt x="3898" y="271127"/>
                        <a:pt x="3315" y="275317"/>
                        <a:pt x="4991" y="279652"/>
                      </a:cubicBezTo>
                      <a:cubicBezTo>
                        <a:pt x="5829" y="281910"/>
                        <a:pt x="7067" y="283756"/>
                        <a:pt x="8148" y="285383"/>
                      </a:cubicBezTo>
                      <a:cubicBezTo>
                        <a:pt x="9387" y="287241"/>
                        <a:pt x="10140" y="288431"/>
                        <a:pt x="10212" y="289536"/>
                      </a:cubicBezTo>
                      <a:cubicBezTo>
                        <a:pt x="10407" y="291953"/>
                        <a:pt x="9860" y="294733"/>
                        <a:pt x="9265" y="297672"/>
                      </a:cubicBezTo>
                      <a:cubicBezTo>
                        <a:pt x="8039" y="303853"/>
                        <a:pt x="6521" y="311539"/>
                        <a:pt x="11451" y="319238"/>
                      </a:cubicBezTo>
                      <a:cubicBezTo>
                        <a:pt x="11414" y="319213"/>
                        <a:pt x="11390" y="319189"/>
                        <a:pt x="11366" y="319189"/>
                      </a:cubicBezTo>
                      <a:cubicBezTo>
                        <a:pt x="11281" y="319189"/>
                        <a:pt x="11281" y="319468"/>
                        <a:pt x="11305" y="319760"/>
                      </a:cubicBezTo>
                      <a:cubicBezTo>
                        <a:pt x="11403" y="321156"/>
                        <a:pt x="11548" y="323269"/>
                        <a:pt x="12580" y="325552"/>
                      </a:cubicBezTo>
                      <a:cubicBezTo>
                        <a:pt x="13382" y="327191"/>
                        <a:pt x="14487" y="328576"/>
                        <a:pt x="15604" y="329814"/>
                      </a:cubicBezTo>
                      <a:cubicBezTo>
                        <a:pt x="16211" y="332024"/>
                        <a:pt x="17620" y="333943"/>
                        <a:pt x="19611" y="335242"/>
                      </a:cubicBezTo>
                      <a:cubicBezTo>
                        <a:pt x="22258" y="337428"/>
                        <a:pt x="25573" y="337476"/>
                        <a:pt x="27844" y="337501"/>
                      </a:cubicBezTo>
                      <a:cubicBezTo>
                        <a:pt x="28281" y="337501"/>
                        <a:pt x="28718" y="337501"/>
                        <a:pt x="29119" y="337537"/>
                      </a:cubicBezTo>
                      <a:cubicBezTo>
                        <a:pt x="29508" y="337561"/>
                        <a:pt x="29884" y="337586"/>
                        <a:pt x="30260" y="337586"/>
                      </a:cubicBezTo>
                      <a:cubicBezTo>
                        <a:pt x="33879" y="337586"/>
                        <a:pt x="35931" y="336056"/>
                        <a:pt x="37582" y="334817"/>
                      </a:cubicBezTo>
                      <a:cubicBezTo>
                        <a:pt x="38190" y="334356"/>
                        <a:pt x="38773" y="334076"/>
                        <a:pt x="39234" y="333834"/>
                      </a:cubicBezTo>
                      <a:cubicBezTo>
                        <a:pt x="40096" y="333372"/>
                        <a:pt x="40825" y="332959"/>
                        <a:pt x="41347" y="332559"/>
                      </a:cubicBezTo>
                      <a:cubicBezTo>
                        <a:pt x="42403" y="331769"/>
                        <a:pt x="43253" y="330944"/>
                        <a:pt x="44030" y="330179"/>
                      </a:cubicBezTo>
                      <a:cubicBezTo>
                        <a:pt x="44115" y="330094"/>
                        <a:pt x="44200" y="330009"/>
                        <a:pt x="44285" y="329924"/>
                      </a:cubicBezTo>
                      <a:lnTo>
                        <a:pt x="47443" y="330179"/>
                      </a:lnTo>
                      <a:lnTo>
                        <a:pt x="47685" y="330191"/>
                      </a:lnTo>
                      <a:lnTo>
                        <a:pt x="48365" y="330203"/>
                      </a:lnTo>
                      <a:cubicBezTo>
                        <a:pt x="49228" y="330203"/>
                        <a:pt x="50090" y="330106"/>
                        <a:pt x="50952" y="329972"/>
                      </a:cubicBezTo>
                      <a:cubicBezTo>
                        <a:pt x="51231" y="329936"/>
                        <a:pt x="51523" y="329875"/>
                        <a:pt x="51802" y="329875"/>
                      </a:cubicBezTo>
                      <a:cubicBezTo>
                        <a:pt x="54923" y="330130"/>
                        <a:pt x="58189" y="330385"/>
                        <a:pt x="60314" y="331029"/>
                      </a:cubicBezTo>
                      <a:cubicBezTo>
                        <a:pt x="60678" y="331126"/>
                        <a:pt x="60970" y="331211"/>
                        <a:pt x="61188" y="331284"/>
                      </a:cubicBezTo>
                      <a:cubicBezTo>
                        <a:pt x="60994" y="334611"/>
                        <a:pt x="60982" y="338921"/>
                        <a:pt x="64467" y="342552"/>
                      </a:cubicBezTo>
                      <a:lnTo>
                        <a:pt x="64722" y="342807"/>
                      </a:lnTo>
                      <a:lnTo>
                        <a:pt x="64989" y="343038"/>
                      </a:lnTo>
                      <a:cubicBezTo>
                        <a:pt x="67600" y="345187"/>
                        <a:pt x="70356" y="346426"/>
                        <a:pt x="72809" y="347507"/>
                      </a:cubicBezTo>
                      <a:cubicBezTo>
                        <a:pt x="74084" y="348089"/>
                        <a:pt x="75383" y="348636"/>
                        <a:pt x="76562" y="349376"/>
                      </a:cubicBezTo>
                      <a:cubicBezTo>
                        <a:pt x="77436" y="349874"/>
                        <a:pt x="77618" y="350056"/>
                        <a:pt x="78140" y="350579"/>
                      </a:cubicBezTo>
                      <a:lnTo>
                        <a:pt x="78783" y="351222"/>
                      </a:lnTo>
                      <a:lnTo>
                        <a:pt x="79609" y="351684"/>
                      </a:lnTo>
                      <a:cubicBezTo>
                        <a:pt x="80362" y="352097"/>
                        <a:pt x="81151" y="352473"/>
                        <a:pt x="81649" y="352862"/>
                      </a:cubicBezTo>
                      <a:lnTo>
                        <a:pt x="81686" y="352898"/>
                      </a:lnTo>
                      <a:cubicBezTo>
                        <a:pt x="81758" y="353153"/>
                        <a:pt x="81807" y="353432"/>
                        <a:pt x="81880" y="353687"/>
                      </a:cubicBezTo>
                      <a:cubicBezTo>
                        <a:pt x="82013" y="354246"/>
                        <a:pt x="82208" y="355084"/>
                        <a:pt x="82572" y="355995"/>
                      </a:cubicBezTo>
                      <a:cubicBezTo>
                        <a:pt x="82123" y="357403"/>
                        <a:pt x="82038" y="358593"/>
                        <a:pt x="82196" y="359601"/>
                      </a:cubicBezTo>
                      <a:lnTo>
                        <a:pt x="82839" y="375423"/>
                      </a:lnTo>
                      <a:lnTo>
                        <a:pt x="82876" y="376055"/>
                      </a:lnTo>
                      <a:lnTo>
                        <a:pt x="83034" y="376674"/>
                      </a:lnTo>
                      <a:lnTo>
                        <a:pt x="83446" y="378301"/>
                      </a:lnTo>
                      <a:lnTo>
                        <a:pt x="83762" y="379564"/>
                      </a:lnTo>
                      <a:lnTo>
                        <a:pt x="84564" y="380572"/>
                      </a:lnTo>
                      <a:lnTo>
                        <a:pt x="85984" y="382357"/>
                      </a:lnTo>
                      <a:lnTo>
                        <a:pt x="87490" y="384251"/>
                      </a:lnTo>
                      <a:lnTo>
                        <a:pt x="89882" y="384591"/>
                      </a:lnTo>
                      <a:lnTo>
                        <a:pt x="93282" y="385077"/>
                      </a:lnTo>
                      <a:lnTo>
                        <a:pt x="93950" y="385174"/>
                      </a:lnTo>
                      <a:lnTo>
                        <a:pt x="94618" y="385125"/>
                      </a:lnTo>
                      <a:lnTo>
                        <a:pt x="98577" y="384810"/>
                      </a:lnTo>
                      <a:lnTo>
                        <a:pt x="99900" y="384700"/>
                      </a:lnTo>
                      <a:lnTo>
                        <a:pt x="101066" y="384045"/>
                      </a:lnTo>
                      <a:lnTo>
                        <a:pt x="105741" y="381434"/>
                      </a:lnTo>
                      <a:lnTo>
                        <a:pt x="106275" y="381920"/>
                      </a:lnTo>
                      <a:lnTo>
                        <a:pt x="108679" y="384118"/>
                      </a:lnTo>
                      <a:lnTo>
                        <a:pt x="111837" y="383340"/>
                      </a:lnTo>
                      <a:lnTo>
                        <a:pt x="113694" y="382879"/>
                      </a:lnTo>
                      <a:lnTo>
                        <a:pt x="115188" y="382503"/>
                      </a:lnTo>
                      <a:lnTo>
                        <a:pt x="116330" y="381470"/>
                      </a:lnTo>
                      <a:lnTo>
                        <a:pt x="117410" y="380487"/>
                      </a:lnTo>
                      <a:lnTo>
                        <a:pt x="117908" y="380025"/>
                      </a:lnTo>
                      <a:lnTo>
                        <a:pt x="118297" y="379479"/>
                      </a:lnTo>
                      <a:lnTo>
                        <a:pt x="119220" y="378155"/>
                      </a:lnTo>
                      <a:lnTo>
                        <a:pt x="119547" y="377670"/>
                      </a:lnTo>
                      <a:lnTo>
                        <a:pt x="119790" y="377147"/>
                      </a:lnTo>
                      <a:lnTo>
                        <a:pt x="120458" y="375642"/>
                      </a:lnTo>
                      <a:lnTo>
                        <a:pt x="121782" y="374852"/>
                      </a:lnTo>
                      <a:lnTo>
                        <a:pt x="128776" y="374512"/>
                      </a:lnTo>
                      <a:lnTo>
                        <a:pt x="137118" y="375496"/>
                      </a:lnTo>
                      <a:lnTo>
                        <a:pt x="140773" y="376747"/>
                      </a:lnTo>
                      <a:lnTo>
                        <a:pt x="147051" y="385113"/>
                      </a:lnTo>
                      <a:lnTo>
                        <a:pt x="147962" y="386328"/>
                      </a:lnTo>
                      <a:lnTo>
                        <a:pt x="149334" y="386971"/>
                      </a:lnTo>
                      <a:lnTo>
                        <a:pt x="153293" y="388829"/>
                      </a:lnTo>
                      <a:lnTo>
                        <a:pt x="154871" y="389570"/>
                      </a:lnTo>
                      <a:lnTo>
                        <a:pt x="156620" y="389351"/>
                      </a:lnTo>
                      <a:lnTo>
                        <a:pt x="170438" y="387651"/>
                      </a:lnTo>
                      <a:lnTo>
                        <a:pt x="174434" y="388574"/>
                      </a:lnTo>
                      <a:lnTo>
                        <a:pt x="179400" y="390444"/>
                      </a:lnTo>
                      <a:lnTo>
                        <a:pt x="179752" y="390578"/>
                      </a:lnTo>
                      <a:lnTo>
                        <a:pt x="180104" y="390663"/>
                      </a:lnTo>
                      <a:lnTo>
                        <a:pt x="186528" y="392229"/>
                      </a:lnTo>
                      <a:lnTo>
                        <a:pt x="190244" y="392909"/>
                      </a:lnTo>
                      <a:lnTo>
                        <a:pt x="199654" y="397985"/>
                      </a:lnTo>
                      <a:lnTo>
                        <a:pt x="201585" y="399503"/>
                      </a:lnTo>
                      <a:lnTo>
                        <a:pt x="203819" y="402526"/>
                      </a:lnTo>
                      <a:lnTo>
                        <a:pt x="206794" y="405914"/>
                      </a:lnTo>
                      <a:lnTo>
                        <a:pt x="208470" y="407796"/>
                      </a:lnTo>
                      <a:lnTo>
                        <a:pt x="210984" y="407942"/>
                      </a:lnTo>
                      <a:lnTo>
                        <a:pt x="214202" y="408136"/>
                      </a:lnTo>
                      <a:lnTo>
                        <a:pt x="217019" y="408306"/>
                      </a:lnTo>
                      <a:lnTo>
                        <a:pt x="218962" y="406254"/>
                      </a:lnTo>
                      <a:lnTo>
                        <a:pt x="221257" y="403813"/>
                      </a:lnTo>
                      <a:lnTo>
                        <a:pt x="221815" y="403231"/>
                      </a:lnTo>
                      <a:lnTo>
                        <a:pt x="223139" y="401822"/>
                      </a:lnTo>
                      <a:lnTo>
                        <a:pt x="223418" y="399903"/>
                      </a:lnTo>
                      <a:lnTo>
                        <a:pt x="224001" y="395884"/>
                      </a:lnTo>
                      <a:lnTo>
                        <a:pt x="224098" y="395252"/>
                      </a:lnTo>
                      <a:lnTo>
                        <a:pt x="224050" y="394609"/>
                      </a:lnTo>
                      <a:lnTo>
                        <a:pt x="223782" y="390711"/>
                      </a:lnTo>
                      <a:lnTo>
                        <a:pt x="223977" y="388283"/>
                      </a:lnTo>
                      <a:lnTo>
                        <a:pt x="225069" y="385939"/>
                      </a:lnTo>
                      <a:lnTo>
                        <a:pt x="233169" y="375277"/>
                      </a:lnTo>
                      <a:lnTo>
                        <a:pt x="233922" y="374270"/>
                      </a:lnTo>
                      <a:lnTo>
                        <a:pt x="234225" y="373043"/>
                      </a:lnTo>
                      <a:lnTo>
                        <a:pt x="234930" y="370165"/>
                      </a:lnTo>
                      <a:lnTo>
                        <a:pt x="235002" y="369837"/>
                      </a:lnTo>
                      <a:lnTo>
                        <a:pt x="235051" y="369497"/>
                      </a:lnTo>
                      <a:lnTo>
                        <a:pt x="235901" y="362746"/>
                      </a:lnTo>
                      <a:lnTo>
                        <a:pt x="236022" y="362491"/>
                      </a:lnTo>
                      <a:lnTo>
                        <a:pt x="237395" y="360900"/>
                      </a:lnTo>
                      <a:lnTo>
                        <a:pt x="238378" y="359759"/>
                      </a:lnTo>
                      <a:lnTo>
                        <a:pt x="238718" y="358289"/>
                      </a:lnTo>
                      <a:lnTo>
                        <a:pt x="239520" y="354817"/>
                      </a:lnTo>
                      <a:lnTo>
                        <a:pt x="239605" y="354428"/>
                      </a:lnTo>
                      <a:lnTo>
                        <a:pt x="239653" y="354027"/>
                      </a:lnTo>
                      <a:lnTo>
                        <a:pt x="240285" y="347470"/>
                      </a:lnTo>
                      <a:lnTo>
                        <a:pt x="242252" y="340889"/>
                      </a:lnTo>
                      <a:lnTo>
                        <a:pt x="251237" y="320136"/>
                      </a:lnTo>
                      <a:lnTo>
                        <a:pt x="251444" y="319651"/>
                      </a:lnTo>
                      <a:lnTo>
                        <a:pt x="251578" y="319141"/>
                      </a:lnTo>
                      <a:lnTo>
                        <a:pt x="252367" y="315826"/>
                      </a:lnTo>
                      <a:lnTo>
                        <a:pt x="252476" y="315376"/>
                      </a:lnTo>
                      <a:lnTo>
                        <a:pt x="252513" y="314915"/>
                      </a:lnTo>
                      <a:lnTo>
                        <a:pt x="253022" y="308904"/>
                      </a:lnTo>
                      <a:lnTo>
                        <a:pt x="253484" y="307520"/>
                      </a:lnTo>
                      <a:lnTo>
                        <a:pt x="253618" y="307362"/>
                      </a:lnTo>
                      <a:lnTo>
                        <a:pt x="256823" y="305152"/>
                      </a:lnTo>
                      <a:lnTo>
                        <a:pt x="257552" y="304642"/>
                      </a:lnTo>
                      <a:lnTo>
                        <a:pt x="258110" y="303950"/>
                      </a:lnTo>
                      <a:lnTo>
                        <a:pt x="259410" y="302323"/>
                      </a:lnTo>
                      <a:lnTo>
                        <a:pt x="260527" y="300938"/>
                      </a:lnTo>
                      <a:lnTo>
                        <a:pt x="260721" y="299165"/>
                      </a:lnTo>
                      <a:lnTo>
                        <a:pt x="260903" y="297526"/>
                      </a:lnTo>
                      <a:lnTo>
                        <a:pt x="261001" y="296652"/>
                      </a:lnTo>
                      <a:lnTo>
                        <a:pt x="260843" y="295790"/>
                      </a:lnTo>
                      <a:lnTo>
                        <a:pt x="260588" y="294430"/>
                      </a:lnTo>
                      <a:lnTo>
                        <a:pt x="262154" y="293349"/>
                      </a:lnTo>
                      <a:lnTo>
                        <a:pt x="262955" y="292791"/>
                      </a:lnTo>
                      <a:lnTo>
                        <a:pt x="263550" y="292013"/>
                      </a:lnTo>
                      <a:lnTo>
                        <a:pt x="265287" y="289718"/>
                      </a:lnTo>
                      <a:lnTo>
                        <a:pt x="266392" y="288249"/>
                      </a:lnTo>
                      <a:lnTo>
                        <a:pt x="266501" y="286415"/>
                      </a:lnTo>
                      <a:lnTo>
                        <a:pt x="266890" y="279712"/>
                      </a:lnTo>
                      <a:lnTo>
                        <a:pt x="266938" y="279615"/>
                      </a:lnTo>
                      <a:lnTo>
                        <a:pt x="267788" y="278923"/>
                      </a:lnTo>
                      <a:lnTo>
                        <a:pt x="270314" y="277393"/>
                      </a:lnTo>
                      <a:lnTo>
                        <a:pt x="272427" y="276118"/>
                      </a:lnTo>
                      <a:lnTo>
                        <a:pt x="273046" y="273714"/>
                      </a:lnTo>
                      <a:lnTo>
                        <a:pt x="275463" y="264230"/>
                      </a:lnTo>
                      <a:lnTo>
                        <a:pt x="276167" y="262846"/>
                      </a:lnTo>
                      <a:lnTo>
                        <a:pt x="277138" y="261887"/>
                      </a:lnTo>
                      <a:lnTo>
                        <a:pt x="284971" y="256993"/>
                      </a:lnTo>
                      <a:lnTo>
                        <a:pt x="286428" y="256082"/>
                      </a:lnTo>
                      <a:lnTo>
                        <a:pt x="287193" y="254540"/>
                      </a:lnTo>
                      <a:lnTo>
                        <a:pt x="289476" y="249938"/>
                      </a:lnTo>
                      <a:lnTo>
                        <a:pt x="289718" y="249440"/>
                      </a:lnTo>
                      <a:lnTo>
                        <a:pt x="289876" y="248918"/>
                      </a:lnTo>
                      <a:lnTo>
                        <a:pt x="293592" y="235986"/>
                      </a:lnTo>
                      <a:lnTo>
                        <a:pt x="294551" y="235998"/>
                      </a:lnTo>
                      <a:lnTo>
                        <a:pt x="294988" y="235998"/>
                      </a:lnTo>
                      <a:lnTo>
                        <a:pt x="295426" y="235937"/>
                      </a:lnTo>
                      <a:lnTo>
                        <a:pt x="297733" y="235621"/>
                      </a:lnTo>
                      <a:lnTo>
                        <a:pt x="298923" y="235452"/>
                      </a:lnTo>
                      <a:lnTo>
                        <a:pt x="299955" y="234856"/>
                      </a:lnTo>
                      <a:lnTo>
                        <a:pt x="302541" y="233363"/>
                      </a:lnTo>
                      <a:lnTo>
                        <a:pt x="303501" y="232804"/>
                      </a:lnTo>
                      <a:lnTo>
                        <a:pt x="304205" y="231954"/>
                      </a:lnTo>
                      <a:lnTo>
                        <a:pt x="306439" y="229234"/>
                      </a:lnTo>
                      <a:lnTo>
                        <a:pt x="306973" y="228579"/>
                      </a:lnTo>
                      <a:lnTo>
                        <a:pt x="307301" y="227814"/>
                      </a:lnTo>
                      <a:lnTo>
                        <a:pt x="308795" y="224389"/>
                      </a:lnTo>
                      <a:lnTo>
                        <a:pt x="309062" y="223758"/>
                      </a:lnTo>
                      <a:lnTo>
                        <a:pt x="309196" y="223078"/>
                      </a:lnTo>
                      <a:lnTo>
                        <a:pt x="309900" y="219350"/>
                      </a:lnTo>
                      <a:lnTo>
                        <a:pt x="310009" y="218791"/>
                      </a:lnTo>
                      <a:lnTo>
                        <a:pt x="310009" y="218233"/>
                      </a:lnTo>
                      <a:lnTo>
                        <a:pt x="310009" y="215233"/>
                      </a:lnTo>
                      <a:lnTo>
                        <a:pt x="310738" y="211275"/>
                      </a:lnTo>
                      <a:lnTo>
                        <a:pt x="317380" y="202581"/>
                      </a:lnTo>
                      <a:lnTo>
                        <a:pt x="317635" y="202265"/>
                      </a:lnTo>
                      <a:lnTo>
                        <a:pt x="317842" y="201913"/>
                      </a:lnTo>
                      <a:lnTo>
                        <a:pt x="320829" y="196667"/>
                      </a:lnTo>
                      <a:lnTo>
                        <a:pt x="321302" y="195829"/>
                      </a:lnTo>
                      <a:lnTo>
                        <a:pt x="321497" y="194882"/>
                      </a:lnTo>
                      <a:lnTo>
                        <a:pt x="324739" y="179145"/>
                      </a:lnTo>
                      <a:lnTo>
                        <a:pt x="326973" y="176182"/>
                      </a:lnTo>
                      <a:lnTo>
                        <a:pt x="327204" y="175878"/>
                      </a:lnTo>
                      <a:lnTo>
                        <a:pt x="327398" y="175550"/>
                      </a:lnTo>
                      <a:lnTo>
                        <a:pt x="330895" y="169406"/>
                      </a:lnTo>
                      <a:lnTo>
                        <a:pt x="331515" y="168325"/>
                      </a:lnTo>
                      <a:lnTo>
                        <a:pt x="331660" y="167087"/>
                      </a:lnTo>
                      <a:lnTo>
                        <a:pt x="332632" y="158611"/>
                      </a:lnTo>
                      <a:lnTo>
                        <a:pt x="332729" y="157785"/>
                      </a:lnTo>
                      <a:lnTo>
                        <a:pt x="332595" y="156972"/>
                      </a:lnTo>
                      <a:lnTo>
                        <a:pt x="331284" y="148654"/>
                      </a:lnTo>
                      <a:lnTo>
                        <a:pt x="331101" y="147549"/>
                      </a:lnTo>
                      <a:lnTo>
                        <a:pt x="330543" y="146577"/>
                      </a:lnTo>
                      <a:lnTo>
                        <a:pt x="327265" y="140858"/>
                      </a:lnTo>
                      <a:lnTo>
                        <a:pt x="326305" y="139182"/>
                      </a:lnTo>
                      <a:lnTo>
                        <a:pt x="324545" y="138369"/>
                      </a:lnTo>
                      <a:lnTo>
                        <a:pt x="317829" y="135272"/>
                      </a:lnTo>
                      <a:lnTo>
                        <a:pt x="317149" y="134969"/>
                      </a:lnTo>
                      <a:lnTo>
                        <a:pt x="316421" y="134835"/>
                      </a:lnTo>
                      <a:lnTo>
                        <a:pt x="309305" y="133463"/>
                      </a:lnTo>
                      <a:lnTo>
                        <a:pt x="304727" y="131812"/>
                      </a:lnTo>
                      <a:lnTo>
                        <a:pt x="302432" y="128642"/>
                      </a:lnTo>
                      <a:lnTo>
                        <a:pt x="302068" y="123409"/>
                      </a:lnTo>
                      <a:lnTo>
                        <a:pt x="312244" y="95395"/>
                      </a:lnTo>
                      <a:lnTo>
                        <a:pt x="315753" y="89930"/>
                      </a:lnTo>
                      <a:lnTo>
                        <a:pt x="319056" y="86518"/>
                      </a:lnTo>
                      <a:lnTo>
                        <a:pt x="320343" y="85195"/>
                      </a:lnTo>
                      <a:lnTo>
                        <a:pt x="325261" y="81831"/>
                      </a:lnTo>
                      <a:lnTo>
                        <a:pt x="327507" y="81042"/>
                      </a:lnTo>
                      <a:lnTo>
                        <a:pt x="333299" y="80362"/>
                      </a:lnTo>
                      <a:lnTo>
                        <a:pt x="333810" y="80301"/>
                      </a:lnTo>
                      <a:lnTo>
                        <a:pt x="334307" y="80156"/>
                      </a:lnTo>
                      <a:lnTo>
                        <a:pt x="337817" y="79123"/>
                      </a:lnTo>
                      <a:lnTo>
                        <a:pt x="338934" y="78808"/>
                      </a:lnTo>
                      <a:lnTo>
                        <a:pt x="339833" y="78091"/>
                      </a:lnTo>
                      <a:lnTo>
                        <a:pt x="343160" y="75505"/>
                      </a:lnTo>
                      <a:lnTo>
                        <a:pt x="343997" y="74861"/>
                      </a:lnTo>
                      <a:lnTo>
                        <a:pt x="344568" y="73962"/>
                      </a:lnTo>
                      <a:lnTo>
                        <a:pt x="347713" y="68996"/>
                      </a:lnTo>
                      <a:lnTo>
                        <a:pt x="350433" y="64697"/>
                      </a:lnTo>
                      <a:lnTo>
                        <a:pt x="346681" y="61273"/>
                      </a:lnTo>
                      <a:lnTo>
                        <a:pt x="336444" y="51911"/>
                      </a:lnTo>
                      <a:lnTo>
                        <a:pt x="335328" y="50903"/>
                      </a:lnTo>
                      <a:lnTo>
                        <a:pt x="333882" y="50527"/>
                      </a:lnTo>
                      <a:cubicBezTo>
                        <a:pt x="332364" y="50126"/>
                        <a:pt x="331369" y="49349"/>
                        <a:pt x="329450" y="47770"/>
                      </a:cubicBezTo>
                      <a:lnTo>
                        <a:pt x="328224" y="46787"/>
                      </a:lnTo>
                      <a:cubicBezTo>
                        <a:pt x="327629" y="46228"/>
                        <a:pt x="326864" y="45645"/>
                        <a:pt x="326026" y="45050"/>
                      </a:cubicBezTo>
                      <a:cubicBezTo>
                        <a:pt x="325868" y="44941"/>
                        <a:pt x="325722" y="44832"/>
                        <a:pt x="325564" y="44722"/>
                      </a:cubicBezTo>
                      <a:cubicBezTo>
                        <a:pt x="325564" y="43702"/>
                        <a:pt x="325759" y="42549"/>
                        <a:pt x="325941" y="41347"/>
                      </a:cubicBezTo>
                      <a:cubicBezTo>
                        <a:pt x="326123" y="40266"/>
                        <a:pt x="326269" y="39234"/>
                        <a:pt x="326354" y="38274"/>
                      </a:cubicBezTo>
                      <a:lnTo>
                        <a:pt x="326694" y="33891"/>
                      </a:lnTo>
                      <a:cubicBezTo>
                        <a:pt x="326840" y="33709"/>
                        <a:pt x="326997" y="33490"/>
                        <a:pt x="327131" y="33332"/>
                      </a:cubicBezTo>
                      <a:cubicBezTo>
                        <a:pt x="328139" y="32057"/>
                        <a:pt x="329839" y="29908"/>
                        <a:pt x="330094" y="26642"/>
                      </a:cubicBezTo>
                      <a:cubicBezTo>
                        <a:pt x="330276" y="24662"/>
                        <a:pt x="330810" y="22962"/>
                        <a:pt x="331551" y="20606"/>
                      </a:cubicBezTo>
                      <a:lnTo>
                        <a:pt x="331952" y="19307"/>
                      </a:lnTo>
                      <a:cubicBezTo>
                        <a:pt x="333967" y="12835"/>
                        <a:pt x="331211" y="9265"/>
                        <a:pt x="328212" y="6169"/>
                      </a:cubicBezTo>
                      <a:lnTo>
                        <a:pt x="327447" y="5331"/>
                      </a:lnTo>
                      <a:cubicBezTo>
                        <a:pt x="325698" y="3400"/>
                        <a:pt x="323063" y="486"/>
                        <a:pt x="318303" y="85"/>
                      </a:cubicBezTo>
                      <a:cubicBezTo>
                        <a:pt x="317295" y="36"/>
                        <a:pt x="316445" y="0"/>
                        <a:pt x="315632" y="0"/>
                      </a:cubicBezTo>
                      <a:lnTo>
                        <a:pt x="315632" y="0"/>
                      </a:lnTo>
                      <a:close/>
                    </a:path>
                  </a:pathLst>
                </a:custGeom>
                <a:solidFill>
                  <a:srgbClr val="FFFFFF"/>
                </a:solidFill>
                <a:ln w="12138" cap="flat">
                  <a:noFill/>
                  <a:prstDash val="solid"/>
                  <a:miter/>
                </a:ln>
              </p:spPr>
              <p:txBody>
                <a:bodyPr rtlCol="0" anchor="ctr"/>
                <a:lstStyle/>
                <a:p>
                  <a:endParaRPr lang="en-US"/>
                </a:p>
              </p:txBody>
            </p:sp>
          </p:grpSp>
          <p:grpSp>
            <p:nvGrpSpPr>
              <p:cNvPr id="281" name="Graphic 280">
                <a:extLst>
                  <a:ext uri="{FF2B5EF4-FFF2-40B4-BE49-F238E27FC236}">
                    <a16:creationId xmlns:a16="http://schemas.microsoft.com/office/drawing/2014/main" id="{0E6C5557-9F77-4DA2-8400-0640AB075981}"/>
                  </a:ext>
                </a:extLst>
              </p:cNvPr>
              <p:cNvGrpSpPr/>
              <p:nvPr/>
            </p:nvGrpSpPr>
            <p:grpSpPr>
              <a:xfrm>
                <a:off x="8071456" y="2733212"/>
                <a:ext cx="376800" cy="347919"/>
                <a:chOff x="8071456" y="2733212"/>
                <a:chExt cx="376800" cy="347919"/>
              </a:xfrm>
            </p:grpSpPr>
            <p:sp>
              <p:nvSpPr>
                <p:cNvPr id="288" name="Freeform: Shape 287">
                  <a:extLst>
                    <a:ext uri="{FF2B5EF4-FFF2-40B4-BE49-F238E27FC236}">
                      <a16:creationId xmlns:a16="http://schemas.microsoft.com/office/drawing/2014/main" id="{B87D2992-1753-460E-920D-9CFBB5785E0A}"/>
                    </a:ext>
                  </a:extLst>
                </p:cNvPr>
                <p:cNvSpPr/>
                <p:nvPr/>
              </p:nvSpPr>
              <p:spPr>
                <a:xfrm>
                  <a:off x="8074504" y="2736260"/>
                  <a:ext cx="370231" cy="341872"/>
                </a:xfrm>
                <a:custGeom>
                  <a:avLst/>
                  <a:gdLst>
                    <a:gd name="connsiteX0" fmla="*/ 69657 w 370231"/>
                    <a:gd name="connsiteY0" fmla="*/ 341824 h 341872"/>
                    <a:gd name="connsiteX1" fmla="*/ 63646 w 370231"/>
                    <a:gd name="connsiteY1" fmla="*/ 339553 h 341872"/>
                    <a:gd name="connsiteX2" fmla="*/ 62590 w 370231"/>
                    <a:gd name="connsiteY2" fmla="*/ 338946 h 341872"/>
                    <a:gd name="connsiteX3" fmla="*/ 58607 w 370231"/>
                    <a:gd name="connsiteY3" fmla="*/ 337185 h 341872"/>
                    <a:gd name="connsiteX4" fmla="*/ 55328 w 370231"/>
                    <a:gd name="connsiteY4" fmla="*/ 336930 h 341872"/>
                    <a:gd name="connsiteX5" fmla="*/ 52135 w 370231"/>
                    <a:gd name="connsiteY5" fmla="*/ 336784 h 341872"/>
                    <a:gd name="connsiteX6" fmla="*/ 48152 w 370231"/>
                    <a:gd name="connsiteY6" fmla="*/ 336821 h 341872"/>
                    <a:gd name="connsiteX7" fmla="*/ 44412 w 370231"/>
                    <a:gd name="connsiteY7" fmla="*/ 336687 h 341872"/>
                    <a:gd name="connsiteX8" fmla="*/ 28031 w 370231"/>
                    <a:gd name="connsiteY8" fmla="*/ 337221 h 341872"/>
                    <a:gd name="connsiteX9" fmla="*/ 28031 w 370231"/>
                    <a:gd name="connsiteY9" fmla="*/ 334064 h 341872"/>
                    <a:gd name="connsiteX10" fmla="*/ 24000 w 370231"/>
                    <a:gd name="connsiteY10" fmla="*/ 330895 h 341872"/>
                    <a:gd name="connsiteX11" fmla="*/ 19701 w 370231"/>
                    <a:gd name="connsiteY11" fmla="*/ 327361 h 341872"/>
                    <a:gd name="connsiteX12" fmla="*/ 16689 w 370231"/>
                    <a:gd name="connsiteY12" fmla="*/ 320100 h 341872"/>
                    <a:gd name="connsiteX13" fmla="*/ 15426 w 370231"/>
                    <a:gd name="connsiteY13" fmla="*/ 316153 h 341872"/>
                    <a:gd name="connsiteX14" fmla="*/ 11201 w 370231"/>
                    <a:gd name="connsiteY14" fmla="*/ 312559 h 341872"/>
                    <a:gd name="connsiteX15" fmla="*/ 6344 w 370231"/>
                    <a:gd name="connsiteY15" fmla="*/ 308819 h 341872"/>
                    <a:gd name="connsiteX16" fmla="*/ 1972 w 370231"/>
                    <a:gd name="connsiteY16" fmla="*/ 299080 h 341872"/>
                    <a:gd name="connsiteX17" fmla="*/ 1377 w 370231"/>
                    <a:gd name="connsiteY17" fmla="*/ 296664 h 341872"/>
                    <a:gd name="connsiteX18" fmla="*/ 2300 w 370231"/>
                    <a:gd name="connsiteY18" fmla="*/ 285019 h 341872"/>
                    <a:gd name="connsiteX19" fmla="*/ 6890 w 370231"/>
                    <a:gd name="connsiteY19" fmla="*/ 282044 h 341872"/>
                    <a:gd name="connsiteX20" fmla="*/ 12488 w 370231"/>
                    <a:gd name="connsiteY20" fmla="*/ 286731 h 341872"/>
                    <a:gd name="connsiteX21" fmla="*/ 14480 w 370231"/>
                    <a:gd name="connsiteY21" fmla="*/ 289500 h 341872"/>
                    <a:gd name="connsiteX22" fmla="*/ 17139 w 370231"/>
                    <a:gd name="connsiteY22" fmla="*/ 288273 h 341872"/>
                    <a:gd name="connsiteX23" fmla="*/ 23465 w 370231"/>
                    <a:gd name="connsiteY23" fmla="*/ 285650 h 341872"/>
                    <a:gd name="connsiteX24" fmla="*/ 25141 w 370231"/>
                    <a:gd name="connsiteY24" fmla="*/ 282530 h 341872"/>
                    <a:gd name="connsiteX25" fmla="*/ 27133 w 370231"/>
                    <a:gd name="connsiteY25" fmla="*/ 278450 h 341872"/>
                    <a:gd name="connsiteX26" fmla="*/ 30690 w 370231"/>
                    <a:gd name="connsiteY26" fmla="*/ 274224 h 341872"/>
                    <a:gd name="connsiteX27" fmla="*/ 35450 w 370231"/>
                    <a:gd name="connsiteY27" fmla="*/ 266623 h 341872"/>
                    <a:gd name="connsiteX28" fmla="*/ 44703 w 370231"/>
                    <a:gd name="connsiteY28" fmla="*/ 251711 h 341872"/>
                    <a:gd name="connsiteX29" fmla="*/ 48820 w 370231"/>
                    <a:gd name="connsiteY29" fmla="*/ 243769 h 341872"/>
                    <a:gd name="connsiteX30" fmla="*/ 50082 w 370231"/>
                    <a:gd name="connsiteY30" fmla="*/ 239447 h 341872"/>
                    <a:gd name="connsiteX31" fmla="*/ 74976 w 370231"/>
                    <a:gd name="connsiteY31" fmla="*/ 216484 h 341872"/>
                    <a:gd name="connsiteX32" fmla="*/ 74988 w 370231"/>
                    <a:gd name="connsiteY32" fmla="*/ 216484 h 341872"/>
                    <a:gd name="connsiteX33" fmla="*/ 85953 w 370231"/>
                    <a:gd name="connsiteY33" fmla="*/ 220564 h 341872"/>
                    <a:gd name="connsiteX34" fmla="*/ 91612 w 370231"/>
                    <a:gd name="connsiteY34" fmla="*/ 223503 h 341872"/>
                    <a:gd name="connsiteX35" fmla="*/ 96092 w 370231"/>
                    <a:gd name="connsiteY35" fmla="*/ 223928 h 341872"/>
                    <a:gd name="connsiteX36" fmla="*/ 106936 w 370231"/>
                    <a:gd name="connsiteY36" fmla="*/ 222337 h 341872"/>
                    <a:gd name="connsiteX37" fmla="*/ 114185 w 370231"/>
                    <a:gd name="connsiteY37" fmla="*/ 215051 h 341872"/>
                    <a:gd name="connsiteX38" fmla="*/ 114622 w 370231"/>
                    <a:gd name="connsiteY38" fmla="*/ 209429 h 341872"/>
                    <a:gd name="connsiteX39" fmla="*/ 122515 w 370231"/>
                    <a:gd name="connsiteY39" fmla="*/ 165970 h 341872"/>
                    <a:gd name="connsiteX40" fmla="*/ 134075 w 370231"/>
                    <a:gd name="connsiteY40" fmla="*/ 150317 h 341872"/>
                    <a:gd name="connsiteX41" fmla="*/ 142053 w 370231"/>
                    <a:gd name="connsiteY41" fmla="*/ 133827 h 341872"/>
                    <a:gd name="connsiteX42" fmla="*/ 144992 w 370231"/>
                    <a:gd name="connsiteY42" fmla="*/ 123846 h 341872"/>
                    <a:gd name="connsiteX43" fmla="*/ 146352 w 370231"/>
                    <a:gd name="connsiteY43" fmla="*/ 118527 h 341872"/>
                    <a:gd name="connsiteX44" fmla="*/ 149545 w 370231"/>
                    <a:gd name="connsiteY44" fmla="*/ 109371 h 341872"/>
                    <a:gd name="connsiteX45" fmla="*/ 162478 w 370231"/>
                    <a:gd name="connsiteY45" fmla="*/ 100726 h 341872"/>
                    <a:gd name="connsiteX46" fmla="*/ 165781 w 370231"/>
                    <a:gd name="connsiteY46" fmla="*/ 101114 h 341872"/>
                    <a:gd name="connsiteX47" fmla="*/ 169824 w 370231"/>
                    <a:gd name="connsiteY47" fmla="*/ 103312 h 341872"/>
                    <a:gd name="connsiteX48" fmla="*/ 171779 w 370231"/>
                    <a:gd name="connsiteY48" fmla="*/ 104526 h 341872"/>
                    <a:gd name="connsiteX49" fmla="*/ 173115 w 370231"/>
                    <a:gd name="connsiteY49" fmla="*/ 104672 h 341872"/>
                    <a:gd name="connsiteX50" fmla="*/ 175434 w 370231"/>
                    <a:gd name="connsiteY50" fmla="*/ 101976 h 341872"/>
                    <a:gd name="connsiteX51" fmla="*/ 178239 w 370231"/>
                    <a:gd name="connsiteY51" fmla="*/ 99548 h 341872"/>
                    <a:gd name="connsiteX52" fmla="*/ 185367 w 370231"/>
                    <a:gd name="connsiteY52" fmla="*/ 91740 h 341872"/>
                    <a:gd name="connsiteX53" fmla="*/ 186873 w 370231"/>
                    <a:gd name="connsiteY53" fmla="*/ 85571 h 341872"/>
                    <a:gd name="connsiteX54" fmla="*/ 189593 w 370231"/>
                    <a:gd name="connsiteY54" fmla="*/ 76598 h 341872"/>
                    <a:gd name="connsiteX55" fmla="*/ 198117 w 370231"/>
                    <a:gd name="connsiteY55" fmla="*/ 69713 h 341872"/>
                    <a:gd name="connsiteX56" fmla="*/ 202986 w 370231"/>
                    <a:gd name="connsiteY56" fmla="*/ 66337 h 341872"/>
                    <a:gd name="connsiteX57" fmla="*/ 217060 w 370231"/>
                    <a:gd name="connsiteY57" fmla="*/ 57460 h 341872"/>
                    <a:gd name="connsiteX58" fmla="*/ 224407 w 370231"/>
                    <a:gd name="connsiteY58" fmla="*/ 52834 h 341872"/>
                    <a:gd name="connsiteX59" fmla="*/ 232992 w 370231"/>
                    <a:gd name="connsiteY59" fmla="*/ 47515 h 341872"/>
                    <a:gd name="connsiteX60" fmla="*/ 249336 w 370231"/>
                    <a:gd name="connsiteY60" fmla="*/ 40594 h 341872"/>
                    <a:gd name="connsiteX61" fmla="*/ 271011 w 370231"/>
                    <a:gd name="connsiteY61" fmla="*/ 28961 h 341872"/>
                    <a:gd name="connsiteX62" fmla="*/ 276160 w 370231"/>
                    <a:gd name="connsiteY62" fmla="*/ 24650 h 341872"/>
                    <a:gd name="connsiteX63" fmla="*/ 287550 w 370231"/>
                    <a:gd name="connsiteY63" fmla="*/ 16575 h 341872"/>
                    <a:gd name="connsiteX64" fmla="*/ 292699 w 370231"/>
                    <a:gd name="connsiteY64" fmla="*/ 14474 h 341872"/>
                    <a:gd name="connsiteX65" fmla="*/ 301490 w 370231"/>
                    <a:gd name="connsiteY65" fmla="*/ 10831 h 341872"/>
                    <a:gd name="connsiteX66" fmla="*/ 308982 w 370231"/>
                    <a:gd name="connsiteY66" fmla="*/ 6800 h 341872"/>
                    <a:gd name="connsiteX67" fmla="*/ 327731 w 370231"/>
                    <a:gd name="connsiteY67" fmla="*/ 0 h 341872"/>
                    <a:gd name="connsiteX68" fmla="*/ 334057 w 370231"/>
                    <a:gd name="connsiteY68" fmla="*/ 923 h 341872"/>
                    <a:gd name="connsiteX69" fmla="*/ 347208 w 370231"/>
                    <a:gd name="connsiteY69" fmla="*/ 23412 h 341872"/>
                    <a:gd name="connsiteX70" fmla="*/ 350997 w 370231"/>
                    <a:gd name="connsiteY70" fmla="*/ 28803 h 341872"/>
                    <a:gd name="connsiteX71" fmla="*/ 352855 w 370231"/>
                    <a:gd name="connsiteY71" fmla="*/ 32470 h 341872"/>
                    <a:gd name="connsiteX72" fmla="*/ 356485 w 370231"/>
                    <a:gd name="connsiteY72" fmla="*/ 41796 h 341872"/>
                    <a:gd name="connsiteX73" fmla="*/ 355793 w 370231"/>
                    <a:gd name="connsiteY73" fmla="*/ 46070 h 341872"/>
                    <a:gd name="connsiteX74" fmla="*/ 362205 w 370231"/>
                    <a:gd name="connsiteY74" fmla="*/ 57072 h 341872"/>
                    <a:gd name="connsiteX75" fmla="*/ 362533 w 370231"/>
                    <a:gd name="connsiteY75" fmla="*/ 57570 h 341872"/>
                    <a:gd name="connsiteX76" fmla="*/ 363662 w 370231"/>
                    <a:gd name="connsiteY76" fmla="*/ 59610 h 341872"/>
                    <a:gd name="connsiteX77" fmla="*/ 370231 w 370231"/>
                    <a:gd name="connsiteY77" fmla="*/ 89991 h 341872"/>
                    <a:gd name="connsiteX78" fmla="*/ 364706 w 370231"/>
                    <a:gd name="connsiteY78" fmla="*/ 89408 h 341872"/>
                    <a:gd name="connsiteX79" fmla="*/ 363625 w 370231"/>
                    <a:gd name="connsiteY79" fmla="*/ 88279 h 341872"/>
                    <a:gd name="connsiteX80" fmla="*/ 361731 w 370231"/>
                    <a:gd name="connsiteY80" fmla="*/ 85644 h 341872"/>
                    <a:gd name="connsiteX81" fmla="*/ 360942 w 370231"/>
                    <a:gd name="connsiteY81" fmla="*/ 85778 h 341872"/>
                    <a:gd name="connsiteX82" fmla="*/ 359837 w 370231"/>
                    <a:gd name="connsiteY82" fmla="*/ 86652 h 341872"/>
                    <a:gd name="connsiteX83" fmla="*/ 357809 w 370231"/>
                    <a:gd name="connsiteY83" fmla="*/ 89845 h 341872"/>
                    <a:gd name="connsiteX84" fmla="*/ 355927 w 370231"/>
                    <a:gd name="connsiteY84" fmla="*/ 91837 h 341872"/>
                    <a:gd name="connsiteX85" fmla="*/ 353182 w 370231"/>
                    <a:gd name="connsiteY85" fmla="*/ 93318 h 341872"/>
                    <a:gd name="connsiteX86" fmla="*/ 348447 w 370231"/>
                    <a:gd name="connsiteY86" fmla="*/ 94460 h 341872"/>
                    <a:gd name="connsiteX87" fmla="*/ 347463 w 370231"/>
                    <a:gd name="connsiteY87" fmla="*/ 95043 h 341872"/>
                    <a:gd name="connsiteX88" fmla="*/ 346431 w 370231"/>
                    <a:gd name="connsiteY88" fmla="*/ 96318 h 341872"/>
                    <a:gd name="connsiteX89" fmla="*/ 346043 w 370231"/>
                    <a:gd name="connsiteY89" fmla="*/ 101721 h 341872"/>
                    <a:gd name="connsiteX90" fmla="*/ 346115 w 370231"/>
                    <a:gd name="connsiteY90" fmla="*/ 102547 h 341872"/>
                    <a:gd name="connsiteX91" fmla="*/ 345824 w 370231"/>
                    <a:gd name="connsiteY91" fmla="*/ 104599 h 341872"/>
                    <a:gd name="connsiteX92" fmla="*/ 344585 w 370231"/>
                    <a:gd name="connsiteY92" fmla="*/ 107574 h 341872"/>
                    <a:gd name="connsiteX93" fmla="*/ 342388 w 370231"/>
                    <a:gd name="connsiteY93" fmla="*/ 111023 h 341872"/>
                    <a:gd name="connsiteX94" fmla="*/ 336571 w 370231"/>
                    <a:gd name="connsiteY94" fmla="*/ 117434 h 341872"/>
                    <a:gd name="connsiteX95" fmla="*/ 333365 w 370231"/>
                    <a:gd name="connsiteY95" fmla="*/ 120045 h 341872"/>
                    <a:gd name="connsiteX96" fmla="*/ 332017 w 370231"/>
                    <a:gd name="connsiteY96" fmla="*/ 122267 h 341872"/>
                    <a:gd name="connsiteX97" fmla="*/ 332248 w 370231"/>
                    <a:gd name="connsiteY97" fmla="*/ 124477 h 341872"/>
                    <a:gd name="connsiteX98" fmla="*/ 335527 w 370231"/>
                    <a:gd name="connsiteY98" fmla="*/ 129954 h 341872"/>
                    <a:gd name="connsiteX99" fmla="*/ 336644 w 370231"/>
                    <a:gd name="connsiteY99" fmla="*/ 134641 h 341872"/>
                    <a:gd name="connsiteX100" fmla="*/ 336328 w 370231"/>
                    <a:gd name="connsiteY100" fmla="*/ 138612 h 341872"/>
                    <a:gd name="connsiteX101" fmla="*/ 333559 w 370231"/>
                    <a:gd name="connsiteY101" fmla="*/ 146080 h 341872"/>
                    <a:gd name="connsiteX102" fmla="*/ 332454 w 370231"/>
                    <a:gd name="connsiteY102" fmla="*/ 151908 h 341872"/>
                    <a:gd name="connsiteX103" fmla="*/ 332175 w 370231"/>
                    <a:gd name="connsiteY103" fmla="*/ 159510 h 341872"/>
                    <a:gd name="connsiteX104" fmla="*/ 332952 w 370231"/>
                    <a:gd name="connsiteY104" fmla="*/ 167014 h 341872"/>
                    <a:gd name="connsiteX105" fmla="*/ 334822 w 370231"/>
                    <a:gd name="connsiteY105" fmla="*/ 171628 h 341872"/>
                    <a:gd name="connsiteX106" fmla="*/ 335770 w 370231"/>
                    <a:gd name="connsiteY106" fmla="*/ 172503 h 341872"/>
                    <a:gd name="connsiteX107" fmla="*/ 336268 w 370231"/>
                    <a:gd name="connsiteY107" fmla="*/ 172417 h 341872"/>
                    <a:gd name="connsiteX108" fmla="*/ 337457 w 370231"/>
                    <a:gd name="connsiteY108" fmla="*/ 172660 h 341872"/>
                    <a:gd name="connsiteX109" fmla="*/ 340639 w 370231"/>
                    <a:gd name="connsiteY109" fmla="*/ 174227 h 341872"/>
                    <a:gd name="connsiteX110" fmla="*/ 342436 w 370231"/>
                    <a:gd name="connsiteY110" fmla="*/ 178161 h 341872"/>
                    <a:gd name="connsiteX111" fmla="*/ 340663 w 370231"/>
                    <a:gd name="connsiteY111" fmla="*/ 181027 h 341872"/>
                    <a:gd name="connsiteX112" fmla="*/ 339048 w 370231"/>
                    <a:gd name="connsiteY112" fmla="*/ 182933 h 341872"/>
                    <a:gd name="connsiteX113" fmla="*/ 340639 w 370231"/>
                    <a:gd name="connsiteY113" fmla="*/ 194639 h 341872"/>
                    <a:gd name="connsiteX114" fmla="*/ 341805 w 370231"/>
                    <a:gd name="connsiteY114" fmla="*/ 195647 h 341872"/>
                    <a:gd name="connsiteX115" fmla="*/ 348665 w 370231"/>
                    <a:gd name="connsiteY115" fmla="*/ 197784 h 341872"/>
                    <a:gd name="connsiteX116" fmla="*/ 352357 w 370231"/>
                    <a:gd name="connsiteY116" fmla="*/ 201573 h 341872"/>
                    <a:gd name="connsiteX117" fmla="*/ 352697 w 370231"/>
                    <a:gd name="connsiteY117" fmla="*/ 207790 h 341872"/>
                    <a:gd name="connsiteX118" fmla="*/ 350086 w 370231"/>
                    <a:gd name="connsiteY118" fmla="*/ 212562 h 341872"/>
                    <a:gd name="connsiteX119" fmla="*/ 343905 w 370231"/>
                    <a:gd name="connsiteY119" fmla="*/ 220042 h 341872"/>
                    <a:gd name="connsiteX120" fmla="*/ 335770 w 370231"/>
                    <a:gd name="connsiteY120" fmla="*/ 228481 h 341872"/>
                    <a:gd name="connsiteX121" fmla="*/ 332248 w 370231"/>
                    <a:gd name="connsiteY121" fmla="*/ 230934 h 341872"/>
                    <a:gd name="connsiteX122" fmla="*/ 324477 w 370231"/>
                    <a:gd name="connsiteY122" fmla="*/ 233739 h 341872"/>
                    <a:gd name="connsiteX123" fmla="*/ 324125 w 370231"/>
                    <a:gd name="connsiteY123" fmla="*/ 234164 h 341872"/>
                    <a:gd name="connsiteX124" fmla="*/ 323056 w 370231"/>
                    <a:gd name="connsiteY124" fmla="*/ 237916 h 341872"/>
                    <a:gd name="connsiteX125" fmla="*/ 323020 w 370231"/>
                    <a:gd name="connsiteY125" fmla="*/ 241110 h 341872"/>
                    <a:gd name="connsiteX126" fmla="*/ 326759 w 370231"/>
                    <a:gd name="connsiteY126" fmla="*/ 261134 h 341872"/>
                    <a:gd name="connsiteX127" fmla="*/ 327136 w 370231"/>
                    <a:gd name="connsiteY127" fmla="*/ 265991 h 341872"/>
                    <a:gd name="connsiteX128" fmla="*/ 325800 w 370231"/>
                    <a:gd name="connsiteY128" fmla="*/ 270763 h 341872"/>
                    <a:gd name="connsiteX129" fmla="*/ 325472 w 370231"/>
                    <a:gd name="connsiteY129" fmla="*/ 271747 h 341872"/>
                    <a:gd name="connsiteX130" fmla="*/ 322351 w 370231"/>
                    <a:gd name="connsiteY130" fmla="*/ 273835 h 341872"/>
                    <a:gd name="connsiteX131" fmla="*/ 317616 w 370231"/>
                    <a:gd name="connsiteY131" fmla="*/ 274455 h 341872"/>
                    <a:gd name="connsiteX132" fmla="*/ 317276 w 370231"/>
                    <a:gd name="connsiteY132" fmla="*/ 274612 h 341872"/>
                    <a:gd name="connsiteX133" fmla="*/ 316207 w 370231"/>
                    <a:gd name="connsiteY133" fmla="*/ 275742 h 341872"/>
                    <a:gd name="connsiteX134" fmla="*/ 299499 w 370231"/>
                    <a:gd name="connsiteY134" fmla="*/ 299663 h 341872"/>
                    <a:gd name="connsiteX135" fmla="*/ 298600 w 370231"/>
                    <a:gd name="connsiteY135" fmla="*/ 300525 h 341872"/>
                    <a:gd name="connsiteX136" fmla="*/ 297580 w 370231"/>
                    <a:gd name="connsiteY136" fmla="*/ 301133 h 341872"/>
                    <a:gd name="connsiteX137" fmla="*/ 298357 w 370231"/>
                    <a:gd name="connsiteY137" fmla="*/ 302104 h 341872"/>
                    <a:gd name="connsiteX138" fmla="*/ 297968 w 370231"/>
                    <a:gd name="connsiteY138" fmla="*/ 304994 h 341872"/>
                    <a:gd name="connsiteX139" fmla="*/ 296402 w 370231"/>
                    <a:gd name="connsiteY139" fmla="*/ 306573 h 341872"/>
                    <a:gd name="connsiteX140" fmla="*/ 293998 w 370231"/>
                    <a:gd name="connsiteY140" fmla="*/ 307763 h 341872"/>
                    <a:gd name="connsiteX141" fmla="*/ 289930 w 370231"/>
                    <a:gd name="connsiteY141" fmla="*/ 307823 h 341872"/>
                    <a:gd name="connsiteX142" fmla="*/ 287586 w 370231"/>
                    <a:gd name="connsiteY142" fmla="*/ 310689 h 341872"/>
                    <a:gd name="connsiteX143" fmla="*/ 284186 w 370231"/>
                    <a:gd name="connsiteY143" fmla="*/ 316081 h 341872"/>
                    <a:gd name="connsiteX144" fmla="*/ 271800 w 370231"/>
                    <a:gd name="connsiteY144" fmla="*/ 304739 h 341872"/>
                    <a:gd name="connsiteX145" fmla="*/ 264672 w 370231"/>
                    <a:gd name="connsiteY145" fmla="*/ 300440 h 341872"/>
                    <a:gd name="connsiteX146" fmla="*/ 263325 w 370231"/>
                    <a:gd name="connsiteY146" fmla="*/ 299360 h 341872"/>
                    <a:gd name="connsiteX147" fmla="*/ 261734 w 370231"/>
                    <a:gd name="connsiteY147" fmla="*/ 298097 h 341872"/>
                    <a:gd name="connsiteX148" fmla="*/ 257581 w 370231"/>
                    <a:gd name="connsiteY148" fmla="*/ 291953 h 341872"/>
                    <a:gd name="connsiteX149" fmla="*/ 257945 w 370231"/>
                    <a:gd name="connsiteY149" fmla="*/ 285529 h 341872"/>
                    <a:gd name="connsiteX150" fmla="*/ 258261 w 370231"/>
                    <a:gd name="connsiteY150" fmla="*/ 283222 h 341872"/>
                    <a:gd name="connsiteX151" fmla="*/ 258698 w 370231"/>
                    <a:gd name="connsiteY151" fmla="*/ 277745 h 341872"/>
                    <a:gd name="connsiteX152" fmla="*/ 258893 w 370231"/>
                    <a:gd name="connsiteY152" fmla="*/ 276750 h 341872"/>
                    <a:gd name="connsiteX153" fmla="*/ 260993 w 370231"/>
                    <a:gd name="connsiteY153" fmla="*/ 273301 h 341872"/>
                    <a:gd name="connsiteX154" fmla="*/ 262025 w 370231"/>
                    <a:gd name="connsiteY154" fmla="*/ 271528 h 341872"/>
                    <a:gd name="connsiteX155" fmla="*/ 263859 w 370231"/>
                    <a:gd name="connsiteY155" fmla="*/ 263489 h 341872"/>
                    <a:gd name="connsiteX156" fmla="*/ 264248 w 370231"/>
                    <a:gd name="connsiteY156" fmla="*/ 262239 h 341872"/>
                    <a:gd name="connsiteX157" fmla="*/ 262669 w 370231"/>
                    <a:gd name="connsiteY157" fmla="*/ 258135 h 341872"/>
                    <a:gd name="connsiteX158" fmla="*/ 261697 w 370231"/>
                    <a:gd name="connsiteY158" fmla="*/ 257078 h 341872"/>
                    <a:gd name="connsiteX159" fmla="*/ 258541 w 370231"/>
                    <a:gd name="connsiteY159" fmla="*/ 254795 h 341872"/>
                    <a:gd name="connsiteX160" fmla="*/ 256719 w 370231"/>
                    <a:gd name="connsiteY160" fmla="*/ 254722 h 341872"/>
                    <a:gd name="connsiteX161" fmla="*/ 250465 w 370231"/>
                    <a:gd name="connsiteY161" fmla="*/ 255791 h 341872"/>
                    <a:gd name="connsiteX162" fmla="*/ 246228 w 370231"/>
                    <a:gd name="connsiteY162" fmla="*/ 259592 h 341872"/>
                    <a:gd name="connsiteX163" fmla="*/ 243095 w 370231"/>
                    <a:gd name="connsiteY163" fmla="*/ 265092 h 341872"/>
                    <a:gd name="connsiteX164" fmla="*/ 241795 w 370231"/>
                    <a:gd name="connsiteY164" fmla="*/ 266987 h 341872"/>
                    <a:gd name="connsiteX165" fmla="*/ 240217 w 370231"/>
                    <a:gd name="connsiteY165" fmla="*/ 270059 h 341872"/>
                    <a:gd name="connsiteX166" fmla="*/ 237569 w 370231"/>
                    <a:gd name="connsiteY166" fmla="*/ 274868 h 341872"/>
                    <a:gd name="connsiteX167" fmla="*/ 236708 w 370231"/>
                    <a:gd name="connsiteY167" fmla="*/ 276980 h 341872"/>
                    <a:gd name="connsiteX168" fmla="*/ 235359 w 370231"/>
                    <a:gd name="connsiteY168" fmla="*/ 280769 h 341872"/>
                    <a:gd name="connsiteX169" fmla="*/ 234777 w 370231"/>
                    <a:gd name="connsiteY169" fmla="*/ 282797 h 341872"/>
                    <a:gd name="connsiteX170" fmla="*/ 229750 w 370231"/>
                    <a:gd name="connsiteY170" fmla="*/ 289767 h 341872"/>
                    <a:gd name="connsiteX171" fmla="*/ 226580 w 370231"/>
                    <a:gd name="connsiteY171" fmla="*/ 290993 h 341872"/>
                    <a:gd name="connsiteX172" fmla="*/ 222707 w 370231"/>
                    <a:gd name="connsiteY172" fmla="*/ 292742 h 341872"/>
                    <a:gd name="connsiteX173" fmla="*/ 220582 w 370231"/>
                    <a:gd name="connsiteY173" fmla="*/ 294187 h 341872"/>
                    <a:gd name="connsiteX174" fmla="*/ 218906 w 370231"/>
                    <a:gd name="connsiteY174" fmla="*/ 295595 h 341872"/>
                    <a:gd name="connsiteX175" fmla="*/ 217971 w 370231"/>
                    <a:gd name="connsiteY175" fmla="*/ 296300 h 341872"/>
                    <a:gd name="connsiteX176" fmla="*/ 216793 w 370231"/>
                    <a:gd name="connsiteY176" fmla="*/ 296191 h 341872"/>
                    <a:gd name="connsiteX177" fmla="*/ 214352 w 370231"/>
                    <a:gd name="connsiteY177" fmla="*/ 296615 h 341872"/>
                    <a:gd name="connsiteX178" fmla="*/ 211972 w 370231"/>
                    <a:gd name="connsiteY178" fmla="*/ 297429 h 341872"/>
                    <a:gd name="connsiteX179" fmla="*/ 208305 w 370231"/>
                    <a:gd name="connsiteY179" fmla="*/ 298534 h 341872"/>
                    <a:gd name="connsiteX180" fmla="*/ 206083 w 370231"/>
                    <a:gd name="connsiteY180" fmla="*/ 298704 h 341872"/>
                    <a:gd name="connsiteX181" fmla="*/ 200995 w 370231"/>
                    <a:gd name="connsiteY181" fmla="*/ 298194 h 341872"/>
                    <a:gd name="connsiteX182" fmla="*/ 198955 w 370231"/>
                    <a:gd name="connsiteY182" fmla="*/ 297927 h 341872"/>
                    <a:gd name="connsiteX183" fmla="*/ 196150 w 370231"/>
                    <a:gd name="connsiteY183" fmla="*/ 297733 h 341872"/>
                    <a:gd name="connsiteX184" fmla="*/ 181505 w 370231"/>
                    <a:gd name="connsiteY184" fmla="*/ 294333 h 341872"/>
                    <a:gd name="connsiteX185" fmla="*/ 179465 w 370231"/>
                    <a:gd name="connsiteY185" fmla="*/ 292596 h 341872"/>
                    <a:gd name="connsiteX186" fmla="*/ 175349 w 370231"/>
                    <a:gd name="connsiteY186" fmla="*/ 291637 h 341872"/>
                    <a:gd name="connsiteX187" fmla="*/ 171293 w 370231"/>
                    <a:gd name="connsiteY187" fmla="*/ 290143 h 341872"/>
                    <a:gd name="connsiteX188" fmla="*/ 170541 w 370231"/>
                    <a:gd name="connsiteY188" fmla="*/ 289682 h 341872"/>
                    <a:gd name="connsiteX189" fmla="*/ 169375 w 370231"/>
                    <a:gd name="connsiteY189" fmla="*/ 288443 h 341872"/>
                    <a:gd name="connsiteX190" fmla="*/ 168658 w 370231"/>
                    <a:gd name="connsiteY190" fmla="*/ 287156 h 341872"/>
                    <a:gd name="connsiteX191" fmla="*/ 160996 w 370231"/>
                    <a:gd name="connsiteY191" fmla="*/ 286015 h 341872"/>
                    <a:gd name="connsiteX192" fmla="*/ 158592 w 370231"/>
                    <a:gd name="connsiteY192" fmla="*/ 285893 h 341872"/>
                    <a:gd name="connsiteX193" fmla="*/ 142369 w 370231"/>
                    <a:gd name="connsiteY193" fmla="*/ 284630 h 341872"/>
                    <a:gd name="connsiteX194" fmla="*/ 137609 w 370231"/>
                    <a:gd name="connsiteY194" fmla="*/ 283040 h 341872"/>
                    <a:gd name="connsiteX195" fmla="*/ 133043 w 370231"/>
                    <a:gd name="connsiteY195" fmla="*/ 282505 h 341872"/>
                    <a:gd name="connsiteX196" fmla="*/ 130420 w 370231"/>
                    <a:gd name="connsiteY196" fmla="*/ 282432 h 341872"/>
                    <a:gd name="connsiteX197" fmla="*/ 127032 w 370231"/>
                    <a:gd name="connsiteY197" fmla="*/ 283465 h 341872"/>
                    <a:gd name="connsiteX198" fmla="*/ 124045 w 370231"/>
                    <a:gd name="connsiteY198" fmla="*/ 284327 h 341872"/>
                    <a:gd name="connsiteX199" fmla="*/ 119844 w 370231"/>
                    <a:gd name="connsiteY199" fmla="*/ 284120 h 341872"/>
                    <a:gd name="connsiteX200" fmla="*/ 116177 w 370231"/>
                    <a:gd name="connsiteY200" fmla="*/ 283865 h 341872"/>
                    <a:gd name="connsiteX201" fmla="*/ 114550 w 370231"/>
                    <a:gd name="connsiteY201" fmla="*/ 284193 h 341872"/>
                    <a:gd name="connsiteX202" fmla="*/ 112267 w 370231"/>
                    <a:gd name="connsiteY202" fmla="*/ 286488 h 341872"/>
                    <a:gd name="connsiteX203" fmla="*/ 109510 w 370231"/>
                    <a:gd name="connsiteY203" fmla="*/ 288856 h 341872"/>
                    <a:gd name="connsiteX204" fmla="*/ 107276 w 370231"/>
                    <a:gd name="connsiteY204" fmla="*/ 290751 h 341872"/>
                    <a:gd name="connsiteX205" fmla="*/ 104228 w 370231"/>
                    <a:gd name="connsiteY205" fmla="*/ 296215 h 341872"/>
                    <a:gd name="connsiteX206" fmla="*/ 103706 w 370231"/>
                    <a:gd name="connsiteY206" fmla="*/ 298085 h 341872"/>
                    <a:gd name="connsiteX207" fmla="*/ 103099 w 370231"/>
                    <a:gd name="connsiteY207" fmla="*/ 301995 h 341872"/>
                    <a:gd name="connsiteX208" fmla="*/ 102212 w 370231"/>
                    <a:gd name="connsiteY208" fmla="*/ 306986 h 341872"/>
                    <a:gd name="connsiteX209" fmla="*/ 100694 w 370231"/>
                    <a:gd name="connsiteY209" fmla="*/ 309536 h 341872"/>
                    <a:gd name="connsiteX210" fmla="*/ 99784 w 370231"/>
                    <a:gd name="connsiteY210" fmla="*/ 312790 h 341872"/>
                    <a:gd name="connsiteX211" fmla="*/ 92668 w 370231"/>
                    <a:gd name="connsiteY211" fmla="*/ 320586 h 341872"/>
                    <a:gd name="connsiteX212" fmla="*/ 90701 w 370231"/>
                    <a:gd name="connsiteY212" fmla="*/ 323281 h 341872"/>
                    <a:gd name="connsiteX213" fmla="*/ 88879 w 370231"/>
                    <a:gd name="connsiteY213" fmla="*/ 325795 h 341872"/>
                    <a:gd name="connsiteX214" fmla="*/ 83694 w 370231"/>
                    <a:gd name="connsiteY214" fmla="*/ 332389 h 341872"/>
                    <a:gd name="connsiteX215" fmla="*/ 83500 w 370231"/>
                    <a:gd name="connsiteY215" fmla="*/ 333372 h 341872"/>
                    <a:gd name="connsiteX216" fmla="*/ 78764 w 370231"/>
                    <a:gd name="connsiteY216" fmla="*/ 339796 h 341872"/>
                    <a:gd name="connsiteX217" fmla="*/ 70337 w 370231"/>
                    <a:gd name="connsiteY217" fmla="*/ 341872 h 341872"/>
                    <a:gd name="connsiteX218" fmla="*/ 69657 w 370231"/>
                    <a:gd name="connsiteY218" fmla="*/ 341824 h 341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Lst>
                  <a:rect l="l" t="t" r="r" b="b"/>
                  <a:pathLst>
                    <a:path w="370231" h="341872">
                      <a:moveTo>
                        <a:pt x="69657" y="341824"/>
                      </a:moveTo>
                      <a:cubicBezTo>
                        <a:pt x="67204" y="341629"/>
                        <a:pt x="65152" y="340427"/>
                        <a:pt x="63646" y="339553"/>
                      </a:cubicBezTo>
                      <a:lnTo>
                        <a:pt x="62590" y="338946"/>
                      </a:lnTo>
                      <a:cubicBezTo>
                        <a:pt x="60817" y="337683"/>
                        <a:pt x="59955" y="337294"/>
                        <a:pt x="58607" y="337185"/>
                      </a:cubicBezTo>
                      <a:lnTo>
                        <a:pt x="55328" y="336930"/>
                      </a:lnTo>
                      <a:cubicBezTo>
                        <a:pt x="53665" y="336796"/>
                        <a:pt x="52924" y="336784"/>
                        <a:pt x="52135" y="336784"/>
                      </a:cubicBezTo>
                      <a:lnTo>
                        <a:pt x="48152" y="336821"/>
                      </a:lnTo>
                      <a:cubicBezTo>
                        <a:pt x="46913" y="336821"/>
                        <a:pt x="45663" y="336796"/>
                        <a:pt x="44412" y="336687"/>
                      </a:cubicBezTo>
                      <a:lnTo>
                        <a:pt x="28031" y="337221"/>
                      </a:lnTo>
                      <a:lnTo>
                        <a:pt x="28031" y="334064"/>
                      </a:lnTo>
                      <a:cubicBezTo>
                        <a:pt x="27412" y="333311"/>
                        <a:pt x="25238" y="331769"/>
                        <a:pt x="24000" y="330895"/>
                      </a:cubicBezTo>
                      <a:cubicBezTo>
                        <a:pt x="22215" y="329632"/>
                        <a:pt x="20672" y="328539"/>
                        <a:pt x="19701" y="327361"/>
                      </a:cubicBezTo>
                      <a:cubicBezTo>
                        <a:pt x="17710" y="324994"/>
                        <a:pt x="17163" y="322395"/>
                        <a:pt x="16689" y="320100"/>
                      </a:cubicBezTo>
                      <a:cubicBezTo>
                        <a:pt x="16374" y="318570"/>
                        <a:pt x="16095" y="317259"/>
                        <a:pt x="15426" y="316153"/>
                      </a:cubicBezTo>
                      <a:cubicBezTo>
                        <a:pt x="14504" y="314636"/>
                        <a:pt x="12974" y="313664"/>
                        <a:pt x="11201" y="312559"/>
                      </a:cubicBezTo>
                      <a:cubicBezTo>
                        <a:pt x="9634" y="311576"/>
                        <a:pt x="7874" y="310471"/>
                        <a:pt x="6344" y="308819"/>
                      </a:cubicBezTo>
                      <a:cubicBezTo>
                        <a:pt x="3551" y="305808"/>
                        <a:pt x="2701" y="302238"/>
                        <a:pt x="1972" y="299080"/>
                      </a:cubicBezTo>
                      <a:lnTo>
                        <a:pt x="1377" y="296664"/>
                      </a:lnTo>
                      <a:cubicBezTo>
                        <a:pt x="-541" y="290034"/>
                        <a:pt x="-650" y="288565"/>
                        <a:pt x="2300" y="285019"/>
                      </a:cubicBezTo>
                      <a:cubicBezTo>
                        <a:pt x="4377" y="282420"/>
                        <a:pt x="5882" y="282044"/>
                        <a:pt x="6890" y="282044"/>
                      </a:cubicBezTo>
                      <a:cubicBezTo>
                        <a:pt x="9683" y="282044"/>
                        <a:pt x="11177" y="284533"/>
                        <a:pt x="12488" y="286731"/>
                      </a:cubicBezTo>
                      <a:cubicBezTo>
                        <a:pt x="13010" y="287605"/>
                        <a:pt x="13969" y="289220"/>
                        <a:pt x="14480" y="289500"/>
                      </a:cubicBezTo>
                      <a:cubicBezTo>
                        <a:pt x="14759" y="289160"/>
                        <a:pt x="15876" y="288747"/>
                        <a:pt x="17139" y="288273"/>
                      </a:cubicBezTo>
                      <a:cubicBezTo>
                        <a:pt x="18936" y="287605"/>
                        <a:pt x="22688" y="286221"/>
                        <a:pt x="23465" y="285650"/>
                      </a:cubicBezTo>
                      <a:cubicBezTo>
                        <a:pt x="24194" y="285019"/>
                        <a:pt x="24583" y="284048"/>
                        <a:pt x="25141" y="282530"/>
                      </a:cubicBezTo>
                      <a:cubicBezTo>
                        <a:pt x="25602" y="281255"/>
                        <a:pt x="26137" y="279810"/>
                        <a:pt x="27133" y="278450"/>
                      </a:cubicBezTo>
                      <a:cubicBezTo>
                        <a:pt x="28359" y="276798"/>
                        <a:pt x="29549" y="275475"/>
                        <a:pt x="30690" y="274224"/>
                      </a:cubicBezTo>
                      <a:cubicBezTo>
                        <a:pt x="32937" y="271759"/>
                        <a:pt x="34540" y="269986"/>
                        <a:pt x="35450" y="266623"/>
                      </a:cubicBezTo>
                      <a:cubicBezTo>
                        <a:pt x="37333" y="259628"/>
                        <a:pt x="38498" y="257260"/>
                        <a:pt x="44703" y="251711"/>
                      </a:cubicBezTo>
                      <a:cubicBezTo>
                        <a:pt x="47387" y="249307"/>
                        <a:pt x="47994" y="246987"/>
                        <a:pt x="48820" y="243769"/>
                      </a:cubicBezTo>
                      <a:cubicBezTo>
                        <a:pt x="49172" y="242385"/>
                        <a:pt x="49548" y="240952"/>
                        <a:pt x="50082" y="239447"/>
                      </a:cubicBezTo>
                      <a:cubicBezTo>
                        <a:pt x="53288" y="230716"/>
                        <a:pt x="62857" y="216788"/>
                        <a:pt x="74976" y="216484"/>
                      </a:cubicBezTo>
                      <a:cubicBezTo>
                        <a:pt x="74976" y="216484"/>
                        <a:pt x="74976" y="216484"/>
                        <a:pt x="74988" y="216484"/>
                      </a:cubicBezTo>
                      <a:cubicBezTo>
                        <a:pt x="79699" y="216484"/>
                        <a:pt x="83014" y="218658"/>
                        <a:pt x="85953" y="220564"/>
                      </a:cubicBezTo>
                      <a:cubicBezTo>
                        <a:pt x="87859" y="221815"/>
                        <a:pt x="89681" y="223005"/>
                        <a:pt x="91612" y="223503"/>
                      </a:cubicBezTo>
                      <a:cubicBezTo>
                        <a:pt x="92704" y="223782"/>
                        <a:pt x="94259" y="223928"/>
                        <a:pt x="96092" y="223928"/>
                      </a:cubicBezTo>
                      <a:cubicBezTo>
                        <a:pt x="99978" y="223928"/>
                        <a:pt x="104532" y="223260"/>
                        <a:pt x="106936" y="222337"/>
                      </a:cubicBezTo>
                      <a:cubicBezTo>
                        <a:pt x="113845" y="219641"/>
                        <a:pt x="113845" y="219641"/>
                        <a:pt x="114185" y="215051"/>
                      </a:cubicBezTo>
                      <a:lnTo>
                        <a:pt x="114622" y="209429"/>
                      </a:lnTo>
                      <a:cubicBezTo>
                        <a:pt x="115594" y="196473"/>
                        <a:pt x="117087" y="176886"/>
                        <a:pt x="122515" y="165970"/>
                      </a:cubicBezTo>
                      <a:cubicBezTo>
                        <a:pt x="125818" y="159279"/>
                        <a:pt x="127919" y="155053"/>
                        <a:pt x="134075" y="150317"/>
                      </a:cubicBezTo>
                      <a:cubicBezTo>
                        <a:pt x="139115" y="146444"/>
                        <a:pt x="140535" y="140312"/>
                        <a:pt x="142053" y="133827"/>
                      </a:cubicBezTo>
                      <a:cubicBezTo>
                        <a:pt x="142830" y="130476"/>
                        <a:pt x="143644" y="127003"/>
                        <a:pt x="144992" y="123846"/>
                      </a:cubicBezTo>
                      <a:cubicBezTo>
                        <a:pt x="145696" y="122182"/>
                        <a:pt x="146012" y="120409"/>
                        <a:pt x="146352" y="118527"/>
                      </a:cubicBezTo>
                      <a:cubicBezTo>
                        <a:pt x="146862" y="115674"/>
                        <a:pt x="147445" y="112444"/>
                        <a:pt x="149545" y="109371"/>
                      </a:cubicBezTo>
                      <a:cubicBezTo>
                        <a:pt x="152690" y="104866"/>
                        <a:pt x="156418" y="100726"/>
                        <a:pt x="162478" y="100726"/>
                      </a:cubicBezTo>
                      <a:cubicBezTo>
                        <a:pt x="163546" y="100726"/>
                        <a:pt x="164651" y="100859"/>
                        <a:pt x="165781" y="101114"/>
                      </a:cubicBezTo>
                      <a:cubicBezTo>
                        <a:pt x="167408" y="101478"/>
                        <a:pt x="168683" y="102450"/>
                        <a:pt x="169824" y="103312"/>
                      </a:cubicBezTo>
                      <a:cubicBezTo>
                        <a:pt x="170504" y="103822"/>
                        <a:pt x="171342" y="104478"/>
                        <a:pt x="171779" y="104526"/>
                      </a:cubicBezTo>
                      <a:cubicBezTo>
                        <a:pt x="172326" y="104587"/>
                        <a:pt x="172763" y="104648"/>
                        <a:pt x="173115" y="104672"/>
                      </a:cubicBezTo>
                      <a:cubicBezTo>
                        <a:pt x="173613" y="103907"/>
                        <a:pt x="174269" y="103009"/>
                        <a:pt x="175434" y="101976"/>
                      </a:cubicBezTo>
                      <a:lnTo>
                        <a:pt x="178239" y="99548"/>
                      </a:lnTo>
                      <a:cubicBezTo>
                        <a:pt x="181336" y="96937"/>
                        <a:pt x="183776" y="94873"/>
                        <a:pt x="185367" y="91740"/>
                      </a:cubicBezTo>
                      <a:cubicBezTo>
                        <a:pt x="186144" y="90222"/>
                        <a:pt x="186521" y="87854"/>
                        <a:pt x="186873" y="85571"/>
                      </a:cubicBezTo>
                      <a:cubicBezTo>
                        <a:pt x="187371" y="82390"/>
                        <a:pt x="187869" y="79099"/>
                        <a:pt x="189593" y="76598"/>
                      </a:cubicBezTo>
                      <a:cubicBezTo>
                        <a:pt x="191293" y="74108"/>
                        <a:pt x="194766" y="71874"/>
                        <a:pt x="198117" y="69713"/>
                      </a:cubicBezTo>
                      <a:cubicBezTo>
                        <a:pt x="199939" y="68535"/>
                        <a:pt x="201736" y="67405"/>
                        <a:pt x="202986" y="66337"/>
                      </a:cubicBezTo>
                      <a:cubicBezTo>
                        <a:pt x="208038" y="62050"/>
                        <a:pt x="211827" y="60120"/>
                        <a:pt x="217060" y="57460"/>
                      </a:cubicBezTo>
                      <a:cubicBezTo>
                        <a:pt x="219792" y="56088"/>
                        <a:pt x="222087" y="54461"/>
                        <a:pt x="224407" y="52834"/>
                      </a:cubicBezTo>
                      <a:cubicBezTo>
                        <a:pt x="227090" y="50952"/>
                        <a:pt x="229774" y="49082"/>
                        <a:pt x="232992" y="47515"/>
                      </a:cubicBezTo>
                      <a:cubicBezTo>
                        <a:pt x="238262" y="44941"/>
                        <a:pt x="243143" y="42865"/>
                        <a:pt x="249336" y="40594"/>
                      </a:cubicBezTo>
                      <a:cubicBezTo>
                        <a:pt x="256974" y="37765"/>
                        <a:pt x="264260" y="33842"/>
                        <a:pt x="271011" y="28961"/>
                      </a:cubicBezTo>
                      <a:cubicBezTo>
                        <a:pt x="272784" y="27686"/>
                        <a:pt x="274448" y="26180"/>
                        <a:pt x="276160" y="24650"/>
                      </a:cubicBezTo>
                      <a:cubicBezTo>
                        <a:pt x="279560" y="21602"/>
                        <a:pt x="283081" y="18457"/>
                        <a:pt x="287550" y="16575"/>
                      </a:cubicBezTo>
                      <a:lnTo>
                        <a:pt x="292699" y="14474"/>
                      </a:lnTo>
                      <a:cubicBezTo>
                        <a:pt x="295637" y="13284"/>
                        <a:pt x="298685" y="12058"/>
                        <a:pt x="301490" y="10831"/>
                      </a:cubicBezTo>
                      <a:cubicBezTo>
                        <a:pt x="304052" y="9702"/>
                        <a:pt x="306517" y="8245"/>
                        <a:pt x="308982" y="6800"/>
                      </a:cubicBezTo>
                      <a:cubicBezTo>
                        <a:pt x="314677" y="3461"/>
                        <a:pt x="320567" y="0"/>
                        <a:pt x="327731" y="0"/>
                      </a:cubicBezTo>
                      <a:cubicBezTo>
                        <a:pt x="329844" y="0"/>
                        <a:pt x="331969" y="303"/>
                        <a:pt x="334057" y="923"/>
                      </a:cubicBezTo>
                      <a:cubicBezTo>
                        <a:pt x="346917" y="4675"/>
                        <a:pt x="347342" y="16332"/>
                        <a:pt x="347208" y="23412"/>
                      </a:cubicBezTo>
                      <a:cubicBezTo>
                        <a:pt x="348920" y="25427"/>
                        <a:pt x="350256" y="27103"/>
                        <a:pt x="350997" y="28803"/>
                      </a:cubicBezTo>
                      <a:cubicBezTo>
                        <a:pt x="351531" y="30029"/>
                        <a:pt x="352199" y="31244"/>
                        <a:pt x="352855" y="32470"/>
                      </a:cubicBezTo>
                      <a:cubicBezTo>
                        <a:pt x="354421" y="35360"/>
                        <a:pt x="356048" y="38347"/>
                        <a:pt x="356485" y="41796"/>
                      </a:cubicBezTo>
                      <a:cubicBezTo>
                        <a:pt x="356692" y="43374"/>
                        <a:pt x="356765" y="44880"/>
                        <a:pt x="355793" y="46070"/>
                      </a:cubicBezTo>
                      <a:cubicBezTo>
                        <a:pt x="356886" y="49288"/>
                        <a:pt x="360043" y="53914"/>
                        <a:pt x="362205" y="57072"/>
                      </a:cubicBezTo>
                      <a:lnTo>
                        <a:pt x="362533" y="57570"/>
                      </a:lnTo>
                      <a:lnTo>
                        <a:pt x="363662" y="59610"/>
                      </a:lnTo>
                      <a:lnTo>
                        <a:pt x="370231" y="89991"/>
                      </a:lnTo>
                      <a:lnTo>
                        <a:pt x="364706" y="89408"/>
                      </a:lnTo>
                      <a:lnTo>
                        <a:pt x="363625" y="88279"/>
                      </a:lnTo>
                      <a:lnTo>
                        <a:pt x="361731" y="85644"/>
                      </a:lnTo>
                      <a:lnTo>
                        <a:pt x="360942" y="85778"/>
                      </a:lnTo>
                      <a:lnTo>
                        <a:pt x="359837" y="86652"/>
                      </a:lnTo>
                      <a:lnTo>
                        <a:pt x="357809" y="89845"/>
                      </a:lnTo>
                      <a:lnTo>
                        <a:pt x="355927" y="91837"/>
                      </a:lnTo>
                      <a:lnTo>
                        <a:pt x="353182" y="93318"/>
                      </a:lnTo>
                      <a:lnTo>
                        <a:pt x="348447" y="94460"/>
                      </a:lnTo>
                      <a:lnTo>
                        <a:pt x="347463" y="95043"/>
                      </a:lnTo>
                      <a:lnTo>
                        <a:pt x="346431" y="96318"/>
                      </a:lnTo>
                      <a:lnTo>
                        <a:pt x="346043" y="101721"/>
                      </a:lnTo>
                      <a:lnTo>
                        <a:pt x="346115" y="102547"/>
                      </a:lnTo>
                      <a:lnTo>
                        <a:pt x="345824" y="104599"/>
                      </a:lnTo>
                      <a:lnTo>
                        <a:pt x="344585" y="107574"/>
                      </a:lnTo>
                      <a:lnTo>
                        <a:pt x="342388" y="111023"/>
                      </a:lnTo>
                      <a:lnTo>
                        <a:pt x="336571" y="117434"/>
                      </a:lnTo>
                      <a:lnTo>
                        <a:pt x="333365" y="120045"/>
                      </a:lnTo>
                      <a:lnTo>
                        <a:pt x="332017" y="122267"/>
                      </a:lnTo>
                      <a:lnTo>
                        <a:pt x="332248" y="124477"/>
                      </a:lnTo>
                      <a:lnTo>
                        <a:pt x="335527" y="129954"/>
                      </a:lnTo>
                      <a:lnTo>
                        <a:pt x="336644" y="134641"/>
                      </a:lnTo>
                      <a:lnTo>
                        <a:pt x="336328" y="138612"/>
                      </a:lnTo>
                      <a:lnTo>
                        <a:pt x="333559" y="146080"/>
                      </a:lnTo>
                      <a:lnTo>
                        <a:pt x="332454" y="151908"/>
                      </a:lnTo>
                      <a:lnTo>
                        <a:pt x="332175" y="159510"/>
                      </a:lnTo>
                      <a:lnTo>
                        <a:pt x="332952" y="167014"/>
                      </a:lnTo>
                      <a:lnTo>
                        <a:pt x="334822" y="171628"/>
                      </a:lnTo>
                      <a:lnTo>
                        <a:pt x="335770" y="172503"/>
                      </a:lnTo>
                      <a:lnTo>
                        <a:pt x="336268" y="172417"/>
                      </a:lnTo>
                      <a:lnTo>
                        <a:pt x="337457" y="172660"/>
                      </a:lnTo>
                      <a:lnTo>
                        <a:pt x="340639" y="174227"/>
                      </a:lnTo>
                      <a:lnTo>
                        <a:pt x="342436" y="178161"/>
                      </a:lnTo>
                      <a:lnTo>
                        <a:pt x="340663" y="181027"/>
                      </a:lnTo>
                      <a:lnTo>
                        <a:pt x="339048" y="182933"/>
                      </a:lnTo>
                      <a:lnTo>
                        <a:pt x="340639" y="194639"/>
                      </a:lnTo>
                      <a:lnTo>
                        <a:pt x="341805" y="195647"/>
                      </a:lnTo>
                      <a:lnTo>
                        <a:pt x="348665" y="197784"/>
                      </a:lnTo>
                      <a:lnTo>
                        <a:pt x="352357" y="201573"/>
                      </a:lnTo>
                      <a:lnTo>
                        <a:pt x="352697" y="207790"/>
                      </a:lnTo>
                      <a:lnTo>
                        <a:pt x="350086" y="212562"/>
                      </a:lnTo>
                      <a:lnTo>
                        <a:pt x="343905" y="220042"/>
                      </a:lnTo>
                      <a:lnTo>
                        <a:pt x="335770" y="228481"/>
                      </a:lnTo>
                      <a:lnTo>
                        <a:pt x="332248" y="230934"/>
                      </a:lnTo>
                      <a:lnTo>
                        <a:pt x="324477" y="233739"/>
                      </a:lnTo>
                      <a:lnTo>
                        <a:pt x="324125" y="234164"/>
                      </a:lnTo>
                      <a:lnTo>
                        <a:pt x="323056" y="237916"/>
                      </a:lnTo>
                      <a:lnTo>
                        <a:pt x="323020" y="241110"/>
                      </a:lnTo>
                      <a:lnTo>
                        <a:pt x="326759" y="261134"/>
                      </a:lnTo>
                      <a:lnTo>
                        <a:pt x="327136" y="265991"/>
                      </a:lnTo>
                      <a:lnTo>
                        <a:pt x="325800" y="270763"/>
                      </a:lnTo>
                      <a:lnTo>
                        <a:pt x="325472" y="271747"/>
                      </a:lnTo>
                      <a:lnTo>
                        <a:pt x="322351" y="273835"/>
                      </a:lnTo>
                      <a:lnTo>
                        <a:pt x="317616" y="274455"/>
                      </a:lnTo>
                      <a:lnTo>
                        <a:pt x="317276" y="274612"/>
                      </a:lnTo>
                      <a:lnTo>
                        <a:pt x="316207" y="275742"/>
                      </a:lnTo>
                      <a:lnTo>
                        <a:pt x="299499" y="299663"/>
                      </a:lnTo>
                      <a:lnTo>
                        <a:pt x="298600" y="300525"/>
                      </a:lnTo>
                      <a:lnTo>
                        <a:pt x="297580" y="301133"/>
                      </a:lnTo>
                      <a:lnTo>
                        <a:pt x="298357" y="302104"/>
                      </a:lnTo>
                      <a:lnTo>
                        <a:pt x="297968" y="304994"/>
                      </a:lnTo>
                      <a:lnTo>
                        <a:pt x="296402" y="306573"/>
                      </a:lnTo>
                      <a:lnTo>
                        <a:pt x="293998" y="307763"/>
                      </a:lnTo>
                      <a:lnTo>
                        <a:pt x="289930" y="307823"/>
                      </a:lnTo>
                      <a:lnTo>
                        <a:pt x="287586" y="310689"/>
                      </a:lnTo>
                      <a:lnTo>
                        <a:pt x="284186" y="316081"/>
                      </a:lnTo>
                      <a:lnTo>
                        <a:pt x="271800" y="304739"/>
                      </a:lnTo>
                      <a:cubicBezTo>
                        <a:pt x="268728" y="303768"/>
                        <a:pt x="266664" y="302080"/>
                        <a:pt x="264672" y="300440"/>
                      </a:cubicBezTo>
                      <a:lnTo>
                        <a:pt x="263325" y="299360"/>
                      </a:lnTo>
                      <a:cubicBezTo>
                        <a:pt x="262705" y="298753"/>
                        <a:pt x="262220" y="298437"/>
                        <a:pt x="261734" y="298097"/>
                      </a:cubicBezTo>
                      <a:cubicBezTo>
                        <a:pt x="259888" y="296773"/>
                        <a:pt x="257338" y="294952"/>
                        <a:pt x="257581" y="291953"/>
                      </a:cubicBezTo>
                      <a:cubicBezTo>
                        <a:pt x="257229" y="290022"/>
                        <a:pt x="257630" y="287533"/>
                        <a:pt x="257945" y="285529"/>
                      </a:cubicBezTo>
                      <a:cubicBezTo>
                        <a:pt x="258079" y="284715"/>
                        <a:pt x="258200" y="283938"/>
                        <a:pt x="258261" y="283222"/>
                      </a:cubicBezTo>
                      <a:lnTo>
                        <a:pt x="258698" y="277745"/>
                      </a:lnTo>
                      <a:lnTo>
                        <a:pt x="258893" y="276750"/>
                      </a:lnTo>
                      <a:cubicBezTo>
                        <a:pt x="259451" y="275244"/>
                        <a:pt x="260301" y="274175"/>
                        <a:pt x="260993" y="273301"/>
                      </a:cubicBezTo>
                      <a:cubicBezTo>
                        <a:pt x="261710" y="272390"/>
                        <a:pt x="261989" y="272002"/>
                        <a:pt x="262025" y="271528"/>
                      </a:cubicBezTo>
                      <a:cubicBezTo>
                        <a:pt x="262280" y="268492"/>
                        <a:pt x="263058" y="266052"/>
                        <a:pt x="263859" y="263489"/>
                      </a:cubicBezTo>
                      <a:lnTo>
                        <a:pt x="264248" y="262239"/>
                      </a:lnTo>
                      <a:cubicBezTo>
                        <a:pt x="264770" y="260575"/>
                        <a:pt x="264843" y="260369"/>
                        <a:pt x="262669" y="258135"/>
                      </a:cubicBezTo>
                      <a:lnTo>
                        <a:pt x="261697" y="257078"/>
                      </a:lnTo>
                      <a:cubicBezTo>
                        <a:pt x="260204" y="255427"/>
                        <a:pt x="259633" y="254892"/>
                        <a:pt x="258541" y="254795"/>
                      </a:cubicBezTo>
                      <a:cubicBezTo>
                        <a:pt x="257921" y="254747"/>
                        <a:pt x="257302" y="254722"/>
                        <a:pt x="256719" y="254722"/>
                      </a:cubicBezTo>
                      <a:cubicBezTo>
                        <a:pt x="254533" y="254722"/>
                        <a:pt x="252542" y="255062"/>
                        <a:pt x="250465" y="255791"/>
                      </a:cubicBezTo>
                      <a:cubicBezTo>
                        <a:pt x="247794" y="257321"/>
                        <a:pt x="246713" y="257977"/>
                        <a:pt x="246228" y="259592"/>
                      </a:cubicBezTo>
                      <a:cubicBezTo>
                        <a:pt x="245377" y="261887"/>
                        <a:pt x="244212" y="263514"/>
                        <a:pt x="243095" y="265092"/>
                      </a:cubicBezTo>
                      <a:lnTo>
                        <a:pt x="241795" y="266987"/>
                      </a:lnTo>
                      <a:cubicBezTo>
                        <a:pt x="241249" y="267970"/>
                        <a:pt x="240727" y="269039"/>
                        <a:pt x="240217" y="270059"/>
                      </a:cubicBezTo>
                      <a:cubicBezTo>
                        <a:pt x="239391" y="271759"/>
                        <a:pt x="238602" y="273325"/>
                        <a:pt x="237569" y="274868"/>
                      </a:cubicBezTo>
                      <a:cubicBezTo>
                        <a:pt x="237569" y="275135"/>
                        <a:pt x="237144" y="276057"/>
                        <a:pt x="236708" y="276980"/>
                      </a:cubicBezTo>
                      <a:cubicBezTo>
                        <a:pt x="236064" y="278365"/>
                        <a:pt x="235445" y="279676"/>
                        <a:pt x="235359" y="280769"/>
                      </a:cubicBezTo>
                      <a:lnTo>
                        <a:pt x="234777" y="282797"/>
                      </a:lnTo>
                      <a:cubicBezTo>
                        <a:pt x="234121" y="284922"/>
                        <a:pt x="233235" y="287836"/>
                        <a:pt x="229750" y="289767"/>
                      </a:cubicBezTo>
                      <a:cubicBezTo>
                        <a:pt x="228669" y="290289"/>
                        <a:pt x="227637" y="290641"/>
                        <a:pt x="226580" y="290993"/>
                      </a:cubicBezTo>
                      <a:cubicBezTo>
                        <a:pt x="225135" y="291491"/>
                        <a:pt x="223763" y="291940"/>
                        <a:pt x="222707" y="292742"/>
                      </a:cubicBezTo>
                      <a:cubicBezTo>
                        <a:pt x="221553" y="293300"/>
                        <a:pt x="221128" y="293689"/>
                        <a:pt x="220582" y="294187"/>
                      </a:cubicBezTo>
                      <a:cubicBezTo>
                        <a:pt x="220084" y="294636"/>
                        <a:pt x="219550" y="295122"/>
                        <a:pt x="218906" y="295595"/>
                      </a:cubicBezTo>
                      <a:lnTo>
                        <a:pt x="217971" y="296300"/>
                      </a:lnTo>
                      <a:lnTo>
                        <a:pt x="216793" y="296191"/>
                      </a:lnTo>
                      <a:cubicBezTo>
                        <a:pt x="215725" y="296458"/>
                        <a:pt x="215032" y="296615"/>
                        <a:pt x="214352" y="296615"/>
                      </a:cubicBezTo>
                      <a:cubicBezTo>
                        <a:pt x="213891" y="296749"/>
                        <a:pt x="212932" y="297101"/>
                        <a:pt x="211972" y="297429"/>
                      </a:cubicBezTo>
                      <a:cubicBezTo>
                        <a:pt x="210746" y="297866"/>
                        <a:pt x="209532" y="298291"/>
                        <a:pt x="208305" y="298534"/>
                      </a:cubicBezTo>
                      <a:cubicBezTo>
                        <a:pt x="207455" y="298656"/>
                        <a:pt x="206775" y="298704"/>
                        <a:pt x="206083" y="298704"/>
                      </a:cubicBezTo>
                      <a:cubicBezTo>
                        <a:pt x="204359" y="298704"/>
                        <a:pt x="202574" y="298449"/>
                        <a:pt x="200995" y="298194"/>
                      </a:cubicBezTo>
                      <a:cubicBezTo>
                        <a:pt x="200242" y="298085"/>
                        <a:pt x="199538" y="297963"/>
                        <a:pt x="198955" y="297927"/>
                      </a:cubicBezTo>
                      <a:lnTo>
                        <a:pt x="196150" y="297733"/>
                      </a:lnTo>
                      <a:cubicBezTo>
                        <a:pt x="191220" y="297429"/>
                        <a:pt x="186120" y="297125"/>
                        <a:pt x="181505" y="294333"/>
                      </a:cubicBezTo>
                      <a:cubicBezTo>
                        <a:pt x="180534" y="293446"/>
                        <a:pt x="180073" y="292997"/>
                        <a:pt x="179465" y="292596"/>
                      </a:cubicBezTo>
                      <a:cubicBezTo>
                        <a:pt x="178263" y="292499"/>
                        <a:pt x="176818" y="292293"/>
                        <a:pt x="175349" y="291637"/>
                      </a:cubicBezTo>
                      <a:cubicBezTo>
                        <a:pt x="173345" y="291382"/>
                        <a:pt x="172216" y="290702"/>
                        <a:pt x="171293" y="290143"/>
                      </a:cubicBezTo>
                      <a:lnTo>
                        <a:pt x="170541" y="289682"/>
                      </a:lnTo>
                      <a:lnTo>
                        <a:pt x="169375" y="288443"/>
                      </a:lnTo>
                      <a:cubicBezTo>
                        <a:pt x="169120" y="287909"/>
                        <a:pt x="168816" y="287314"/>
                        <a:pt x="168658" y="287156"/>
                      </a:cubicBezTo>
                      <a:cubicBezTo>
                        <a:pt x="166497" y="286221"/>
                        <a:pt x="163328" y="286112"/>
                        <a:pt x="160996" y="286015"/>
                      </a:cubicBezTo>
                      <a:lnTo>
                        <a:pt x="158592" y="285893"/>
                      </a:lnTo>
                      <a:lnTo>
                        <a:pt x="142369" y="284630"/>
                      </a:lnTo>
                      <a:cubicBezTo>
                        <a:pt x="139928" y="284436"/>
                        <a:pt x="138689" y="283695"/>
                        <a:pt x="137609" y="283040"/>
                      </a:cubicBezTo>
                      <a:cubicBezTo>
                        <a:pt x="136480" y="282517"/>
                        <a:pt x="134488" y="282517"/>
                        <a:pt x="133043" y="282505"/>
                      </a:cubicBezTo>
                      <a:cubicBezTo>
                        <a:pt x="132072" y="282505"/>
                        <a:pt x="131161" y="282493"/>
                        <a:pt x="130420" y="282432"/>
                      </a:cubicBezTo>
                      <a:cubicBezTo>
                        <a:pt x="129582" y="282639"/>
                        <a:pt x="128247" y="283076"/>
                        <a:pt x="127032" y="283465"/>
                      </a:cubicBezTo>
                      <a:cubicBezTo>
                        <a:pt x="125988" y="283805"/>
                        <a:pt x="125005" y="284120"/>
                        <a:pt x="124045" y="284327"/>
                      </a:cubicBezTo>
                      <a:lnTo>
                        <a:pt x="119844" y="284120"/>
                      </a:lnTo>
                      <a:lnTo>
                        <a:pt x="116177" y="283865"/>
                      </a:lnTo>
                      <a:cubicBezTo>
                        <a:pt x="115193" y="283865"/>
                        <a:pt x="114756" y="284048"/>
                        <a:pt x="114550" y="284193"/>
                      </a:cubicBezTo>
                      <a:cubicBezTo>
                        <a:pt x="113262" y="285578"/>
                        <a:pt x="112752" y="286124"/>
                        <a:pt x="112267" y="286488"/>
                      </a:cubicBezTo>
                      <a:cubicBezTo>
                        <a:pt x="111732" y="287168"/>
                        <a:pt x="110627" y="288018"/>
                        <a:pt x="109510" y="288856"/>
                      </a:cubicBezTo>
                      <a:cubicBezTo>
                        <a:pt x="108733" y="289439"/>
                        <a:pt x="107932" y="290022"/>
                        <a:pt x="107276" y="290751"/>
                      </a:cubicBezTo>
                      <a:cubicBezTo>
                        <a:pt x="105333" y="292293"/>
                        <a:pt x="104884" y="293750"/>
                        <a:pt x="104228" y="296215"/>
                      </a:cubicBezTo>
                      <a:lnTo>
                        <a:pt x="103706" y="298085"/>
                      </a:lnTo>
                      <a:cubicBezTo>
                        <a:pt x="103317" y="299311"/>
                        <a:pt x="103208" y="300611"/>
                        <a:pt x="103099" y="301995"/>
                      </a:cubicBezTo>
                      <a:cubicBezTo>
                        <a:pt x="102965" y="303634"/>
                        <a:pt x="102844" y="305334"/>
                        <a:pt x="102212" y="306986"/>
                      </a:cubicBezTo>
                      <a:cubicBezTo>
                        <a:pt x="101386" y="308382"/>
                        <a:pt x="100816" y="309232"/>
                        <a:pt x="100694" y="309536"/>
                      </a:cubicBezTo>
                      <a:cubicBezTo>
                        <a:pt x="99929" y="311114"/>
                        <a:pt x="99845" y="311685"/>
                        <a:pt x="99784" y="312790"/>
                      </a:cubicBezTo>
                      <a:cubicBezTo>
                        <a:pt x="98241" y="317283"/>
                        <a:pt x="95085" y="319420"/>
                        <a:pt x="92668" y="320586"/>
                      </a:cubicBezTo>
                      <a:cubicBezTo>
                        <a:pt x="92182" y="321035"/>
                        <a:pt x="91454" y="322128"/>
                        <a:pt x="90701" y="323281"/>
                      </a:cubicBezTo>
                      <a:cubicBezTo>
                        <a:pt x="90118" y="324168"/>
                        <a:pt x="89535" y="325030"/>
                        <a:pt x="88879" y="325795"/>
                      </a:cubicBezTo>
                      <a:cubicBezTo>
                        <a:pt x="86524" y="328175"/>
                        <a:pt x="85200" y="329717"/>
                        <a:pt x="83694" y="332389"/>
                      </a:cubicBezTo>
                      <a:cubicBezTo>
                        <a:pt x="83694" y="332389"/>
                        <a:pt x="83597" y="332935"/>
                        <a:pt x="83500" y="333372"/>
                      </a:cubicBezTo>
                      <a:cubicBezTo>
                        <a:pt x="83136" y="335169"/>
                        <a:pt x="82444" y="338509"/>
                        <a:pt x="78764" y="339796"/>
                      </a:cubicBezTo>
                      <a:cubicBezTo>
                        <a:pt x="77404" y="340998"/>
                        <a:pt x="72814" y="341872"/>
                        <a:pt x="70337" y="341872"/>
                      </a:cubicBezTo>
                      <a:lnTo>
                        <a:pt x="69657" y="341824"/>
                      </a:lnTo>
                      <a:close/>
                    </a:path>
                  </a:pathLst>
                </a:custGeom>
                <a:solidFill>
                  <a:srgbClr val="D7D7D2"/>
                </a:solidFill>
                <a:ln w="12138" cap="flat">
                  <a:noFill/>
                  <a:prstDash val="solid"/>
                  <a:miter/>
                </a:ln>
              </p:spPr>
              <p:txBody>
                <a:bodyPr rtlCol="0" anchor="ctr"/>
                <a:lstStyle/>
                <a:p>
                  <a:endParaRPr lang="en-US"/>
                </a:p>
              </p:txBody>
            </p:sp>
            <p:sp>
              <p:nvSpPr>
                <p:cNvPr id="289" name="Freeform: Shape 288">
                  <a:extLst>
                    <a:ext uri="{FF2B5EF4-FFF2-40B4-BE49-F238E27FC236}">
                      <a16:creationId xmlns:a16="http://schemas.microsoft.com/office/drawing/2014/main" id="{462400BD-DBDB-4BDB-84AE-FB256E896187}"/>
                    </a:ext>
                  </a:extLst>
                </p:cNvPr>
                <p:cNvSpPr/>
                <p:nvPr/>
              </p:nvSpPr>
              <p:spPr>
                <a:xfrm>
                  <a:off x="8071456" y="2733212"/>
                  <a:ext cx="376800" cy="347919"/>
                </a:xfrm>
                <a:custGeom>
                  <a:avLst/>
                  <a:gdLst>
                    <a:gd name="connsiteX0" fmla="*/ 330816 w 376800"/>
                    <a:gd name="connsiteY0" fmla="*/ 6071 h 347919"/>
                    <a:gd name="connsiteX1" fmla="*/ 336304 w 376800"/>
                    <a:gd name="connsiteY1" fmla="*/ 6873 h 347919"/>
                    <a:gd name="connsiteX2" fmla="*/ 347233 w 376800"/>
                    <a:gd name="connsiteY2" fmla="*/ 27528 h 347919"/>
                    <a:gd name="connsiteX3" fmla="*/ 343760 w 376800"/>
                    <a:gd name="connsiteY3" fmla="*/ 22246 h 347919"/>
                    <a:gd name="connsiteX4" fmla="*/ 343566 w 376800"/>
                    <a:gd name="connsiteY4" fmla="*/ 21639 h 347919"/>
                    <a:gd name="connsiteX5" fmla="*/ 346905 w 376800"/>
                    <a:gd name="connsiteY5" fmla="*/ 32494 h 347919"/>
                    <a:gd name="connsiteX6" fmla="*/ 347112 w 376800"/>
                    <a:gd name="connsiteY6" fmla="*/ 31681 h 347919"/>
                    <a:gd name="connsiteX7" fmla="*/ 347233 w 376800"/>
                    <a:gd name="connsiteY7" fmla="*/ 27528 h 347919"/>
                    <a:gd name="connsiteX8" fmla="*/ 351301 w 376800"/>
                    <a:gd name="connsiteY8" fmla="*/ 33041 h 347919"/>
                    <a:gd name="connsiteX9" fmla="*/ 356571 w 376800"/>
                    <a:gd name="connsiteY9" fmla="*/ 45208 h 347919"/>
                    <a:gd name="connsiteX10" fmla="*/ 356413 w 376800"/>
                    <a:gd name="connsiteY10" fmla="*/ 47248 h 347919"/>
                    <a:gd name="connsiteX11" fmla="*/ 355502 w 376800"/>
                    <a:gd name="connsiteY11" fmla="*/ 46641 h 347919"/>
                    <a:gd name="connsiteX12" fmla="*/ 355672 w 376800"/>
                    <a:gd name="connsiteY12" fmla="*/ 48790 h 347919"/>
                    <a:gd name="connsiteX13" fmla="*/ 362946 w 376800"/>
                    <a:gd name="connsiteY13" fmla="*/ 62002 h 347919"/>
                    <a:gd name="connsiteX14" fmla="*/ 363808 w 376800"/>
                    <a:gd name="connsiteY14" fmla="*/ 63265 h 347919"/>
                    <a:gd name="connsiteX15" fmla="*/ 369491 w 376800"/>
                    <a:gd name="connsiteY15" fmla="*/ 89554 h 347919"/>
                    <a:gd name="connsiteX16" fmla="*/ 369212 w 376800"/>
                    <a:gd name="connsiteY16" fmla="*/ 89530 h 347919"/>
                    <a:gd name="connsiteX17" fmla="*/ 366213 w 376800"/>
                    <a:gd name="connsiteY17" fmla="*/ 85365 h 347919"/>
                    <a:gd name="connsiteX18" fmla="*/ 362788 w 376800"/>
                    <a:gd name="connsiteY18" fmla="*/ 85923 h 347919"/>
                    <a:gd name="connsiteX19" fmla="*/ 361064 w 376800"/>
                    <a:gd name="connsiteY19" fmla="*/ 87296 h 347919"/>
                    <a:gd name="connsiteX20" fmla="*/ 358417 w 376800"/>
                    <a:gd name="connsiteY20" fmla="*/ 91133 h 347919"/>
                    <a:gd name="connsiteX21" fmla="*/ 356862 w 376800"/>
                    <a:gd name="connsiteY21" fmla="*/ 92723 h 347919"/>
                    <a:gd name="connsiteX22" fmla="*/ 355029 w 376800"/>
                    <a:gd name="connsiteY22" fmla="*/ 93561 h 347919"/>
                    <a:gd name="connsiteX23" fmla="*/ 350888 w 376800"/>
                    <a:gd name="connsiteY23" fmla="*/ 94509 h 347919"/>
                    <a:gd name="connsiteX24" fmla="*/ 349224 w 376800"/>
                    <a:gd name="connsiteY24" fmla="*/ 95334 h 347919"/>
                    <a:gd name="connsiteX25" fmla="*/ 347391 w 376800"/>
                    <a:gd name="connsiteY25" fmla="*/ 97204 h 347919"/>
                    <a:gd name="connsiteX26" fmla="*/ 346699 w 376800"/>
                    <a:gd name="connsiteY26" fmla="*/ 98698 h 347919"/>
                    <a:gd name="connsiteX27" fmla="*/ 346128 w 376800"/>
                    <a:gd name="connsiteY27" fmla="*/ 104441 h 347919"/>
                    <a:gd name="connsiteX28" fmla="*/ 346189 w 376800"/>
                    <a:gd name="connsiteY28" fmla="*/ 105704 h 347919"/>
                    <a:gd name="connsiteX29" fmla="*/ 345934 w 376800"/>
                    <a:gd name="connsiteY29" fmla="*/ 107077 h 347919"/>
                    <a:gd name="connsiteX30" fmla="*/ 344914 w 376800"/>
                    <a:gd name="connsiteY30" fmla="*/ 109347 h 347919"/>
                    <a:gd name="connsiteX31" fmla="*/ 342946 w 376800"/>
                    <a:gd name="connsiteY31" fmla="*/ 112383 h 347919"/>
                    <a:gd name="connsiteX32" fmla="*/ 337433 w 376800"/>
                    <a:gd name="connsiteY32" fmla="*/ 118394 h 347919"/>
                    <a:gd name="connsiteX33" fmla="*/ 334580 w 376800"/>
                    <a:gd name="connsiteY33" fmla="*/ 120689 h 347919"/>
                    <a:gd name="connsiteX34" fmla="*/ 332006 w 376800"/>
                    <a:gd name="connsiteY34" fmla="*/ 124562 h 347919"/>
                    <a:gd name="connsiteX35" fmla="*/ 332321 w 376800"/>
                    <a:gd name="connsiteY35" fmla="*/ 127780 h 347919"/>
                    <a:gd name="connsiteX36" fmla="*/ 335952 w 376800"/>
                    <a:gd name="connsiteY36" fmla="*/ 134410 h 347919"/>
                    <a:gd name="connsiteX37" fmla="*/ 336753 w 376800"/>
                    <a:gd name="connsiteY37" fmla="*/ 138260 h 347919"/>
                    <a:gd name="connsiteX38" fmla="*/ 336401 w 376800"/>
                    <a:gd name="connsiteY38" fmla="*/ 141247 h 347919"/>
                    <a:gd name="connsiteX39" fmla="*/ 333815 w 376800"/>
                    <a:gd name="connsiteY39" fmla="*/ 147986 h 347919"/>
                    <a:gd name="connsiteX40" fmla="*/ 332564 w 376800"/>
                    <a:gd name="connsiteY40" fmla="*/ 154313 h 347919"/>
                    <a:gd name="connsiteX41" fmla="*/ 332224 w 376800"/>
                    <a:gd name="connsiteY41" fmla="*/ 162375 h 347919"/>
                    <a:gd name="connsiteX42" fmla="*/ 333014 w 376800"/>
                    <a:gd name="connsiteY42" fmla="*/ 170317 h 347919"/>
                    <a:gd name="connsiteX43" fmla="*/ 335357 w 376800"/>
                    <a:gd name="connsiteY43" fmla="*/ 176413 h 347919"/>
                    <a:gd name="connsiteX44" fmla="*/ 336802 w 376800"/>
                    <a:gd name="connsiteY44" fmla="*/ 177736 h 347919"/>
                    <a:gd name="connsiteX45" fmla="*/ 338344 w 376800"/>
                    <a:gd name="connsiteY45" fmla="*/ 178283 h 347919"/>
                    <a:gd name="connsiteX46" fmla="*/ 339887 w 376800"/>
                    <a:gd name="connsiteY46" fmla="*/ 178623 h 347919"/>
                    <a:gd name="connsiteX47" fmla="*/ 341380 w 376800"/>
                    <a:gd name="connsiteY47" fmla="*/ 179424 h 347919"/>
                    <a:gd name="connsiteX48" fmla="*/ 342085 w 376800"/>
                    <a:gd name="connsiteY48" fmla="*/ 180954 h 347919"/>
                    <a:gd name="connsiteX49" fmla="*/ 341174 w 376800"/>
                    <a:gd name="connsiteY49" fmla="*/ 182436 h 347919"/>
                    <a:gd name="connsiteX50" fmla="*/ 339801 w 376800"/>
                    <a:gd name="connsiteY50" fmla="*/ 184014 h 347919"/>
                    <a:gd name="connsiteX51" fmla="*/ 339049 w 376800"/>
                    <a:gd name="connsiteY51" fmla="*/ 185714 h 347919"/>
                    <a:gd name="connsiteX52" fmla="*/ 340870 w 376800"/>
                    <a:gd name="connsiteY52" fmla="*/ 199205 h 347919"/>
                    <a:gd name="connsiteX53" fmla="*/ 343396 w 376800"/>
                    <a:gd name="connsiteY53" fmla="*/ 201366 h 347919"/>
                    <a:gd name="connsiteX54" fmla="*/ 350123 w 376800"/>
                    <a:gd name="connsiteY54" fmla="*/ 203455 h 347919"/>
                    <a:gd name="connsiteX55" fmla="*/ 352479 w 376800"/>
                    <a:gd name="connsiteY55" fmla="*/ 205871 h 347919"/>
                    <a:gd name="connsiteX56" fmla="*/ 352710 w 376800"/>
                    <a:gd name="connsiteY56" fmla="*/ 210085 h 347919"/>
                    <a:gd name="connsiteX57" fmla="*/ 350512 w 376800"/>
                    <a:gd name="connsiteY57" fmla="*/ 214104 h 347919"/>
                    <a:gd name="connsiteX58" fmla="*/ 344683 w 376800"/>
                    <a:gd name="connsiteY58" fmla="*/ 221086 h 347919"/>
                    <a:gd name="connsiteX59" fmla="*/ 336693 w 376800"/>
                    <a:gd name="connsiteY59" fmla="*/ 229356 h 347919"/>
                    <a:gd name="connsiteX60" fmla="*/ 333657 w 376800"/>
                    <a:gd name="connsiteY60" fmla="*/ 231396 h 347919"/>
                    <a:gd name="connsiteX61" fmla="*/ 326590 w 376800"/>
                    <a:gd name="connsiteY61" fmla="*/ 233861 h 347919"/>
                    <a:gd name="connsiteX62" fmla="*/ 324465 w 376800"/>
                    <a:gd name="connsiteY62" fmla="*/ 235755 h 347919"/>
                    <a:gd name="connsiteX63" fmla="*/ 323239 w 376800"/>
                    <a:gd name="connsiteY63" fmla="*/ 240066 h 347919"/>
                    <a:gd name="connsiteX64" fmla="*/ 323081 w 376800"/>
                    <a:gd name="connsiteY64" fmla="*/ 243976 h 347919"/>
                    <a:gd name="connsiteX65" fmla="*/ 326869 w 376800"/>
                    <a:gd name="connsiteY65" fmla="*/ 264668 h 347919"/>
                    <a:gd name="connsiteX66" fmla="*/ 327209 w 376800"/>
                    <a:gd name="connsiteY66" fmla="*/ 269209 h 347919"/>
                    <a:gd name="connsiteX67" fmla="*/ 326007 w 376800"/>
                    <a:gd name="connsiteY67" fmla="*/ 272791 h 347919"/>
                    <a:gd name="connsiteX68" fmla="*/ 324331 w 376800"/>
                    <a:gd name="connsiteY68" fmla="*/ 273908 h 347919"/>
                    <a:gd name="connsiteX69" fmla="*/ 320312 w 376800"/>
                    <a:gd name="connsiteY69" fmla="*/ 274430 h 347919"/>
                    <a:gd name="connsiteX70" fmla="*/ 318539 w 376800"/>
                    <a:gd name="connsiteY70" fmla="*/ 275110 h 347919"/>
                    <a:gd name="connsiteX71" fmla="*/ 317094 w 376800"/>
                    <a:gd name="connsiteY71" fmla="*/ 276640 h 347919"/>
                    <a:gd name="connsiteX72" fmla="*/ 300276 w 376800"/>
                    <a:gd name="connsiteY72" fmla="*/ 300671 h 347919"/>
                    <a:gd name="connsiteX73" fmla="*/ 299584 w 376800"/>
                    <a:gd name="connsiteY73" fmla="*/ 301327 h 347919"/>
                    <a:gd name="connsiteX74" fmla="*/ 297641 w 376800"/>
                    <a:gd name="connsiteY74" fmla="*/ 302396 h 347919"/>
                    <a:gd name="connsiteX75" fmla="*/ 296840 w 376800"/>
                    <a:gd name="connsiteY75" fmla="*/ 303051 h 347919"/>
                    <a:gd name="connsiteX76" fmla="*/ 296779 w 376800"/>
                    <a:gd name="connsiteY76" fmla="*/ 304120 h 347919"/>
                    <a:gd name="connsiteX77" fmla="*/ 298273 w 376800"/>
                    <a:gd name="connsiteY77" fmla="*/ 305978 h 347919"/>
                    <a:gd name="connsiteX78" fmla="*/ 298151 w 376800"/>
                    <a:gd name="connsiteY78" fmla="*/ 306852 h 347919"/>
                    <a:gd name="connsiteX79" fmla="*/ 296366 w 376800"/>
                    <a:gd name="connsiteY79" fmla="*/ 307739 h 347919"/>
                    <a:gd name="connsiteX80" fmla="*/ 292638 w 376800"/>
                    <a:gd name="connsiteY80" fmla="*/ 307787 h 347919"/>
                    <a:gd name="connsiteX81" fmla="*/ 291035 w 376800"/>
                    <a:gd name="connsiteY81" fmla="*/ 308455 h 347919"/>
                    <a:gd name="connsiteX82" fmla="*/ 288315 w 376800"/>
                    <a:gd name="connsiteY82" fmla="*/ 311758 h 347919"/>
                    <a:gd name="connsiteX83" fmla="*/ 286640 w 376800"/>
                    <a:gd name="connsiteY83" fmla="*/ 314393 h 347919"/>
                    <a:gd name="connsiteX84" fmla="*/ 276403 w 376800"/>
                    <a:gd name="connsiteY84" fmla="*/ 305031 h 347919"/>
                    <a:gd name="connsiteX85" fmla="*/ 268267 w 376800"/>
                    <a:gd name="connsiteY85" fmla="*/ 299979 h 347919"/>
                    <a:gd name="connsiteX86" fmla="*/ 263678 w 376800"/>
                    <a:gd name="connsiteY86" fmla="*/ 295207 h 347919"/>
                    <a:gd name="connsiteX87" fmla="*/ 264369 w 376800"/>
                    <a:gd name="connsiteY87" fmla="*/ 286452 h 347919"/>
                    <a:gd name="connsiteX88" fmla="*/ 264819 w 376800"/>
                    <a:gd name="connsiteY88" fmla="*/ 280818 h 347919"/>
                    <a:gd name="connsiteX89" fmla="*/ 268122 w 376800"/>
                    <a:gd name="connsiteY89" fmla="*/ 274795 h 347919"/>
                    <a:gd name="connsiteX90" fmla="*/ 270234 w 376800"/>
                    <a:gd name="connsiteY90" fmla="*/ 266161 h 347919"/>
                    <a:gd name="connsiteX91" fmla="*/ 267940 w 376800"/>
                    <a:gd name="connsiteY91" fmla="*/ 259045 h 347919"/>
                    <a:gd name="connsiteX92" fmla="*/ 261880 w 376800"/>
                    <a:gd name="connsiteY92" fmla="*/ 254795 h 347919"/>
                    <a:gd name="connsiteX93" fmla="*/ 259804 w 376800"/>
                    <a:gd name="connsiteY93" fmla="*/ 254710 h 347919"/>
                    <a:gd name="connsiteX94" fmla="*/ 252542 w 376800"/>
                    <a:gd name="connsiteY94" fmla="*/ 255949 h 347919"/>
                    <a:gd name="connsiteX95" fmla="*/ 246410 w 376800"/>
                    <a:gd name="connsiteY95" fmla="*/ 261753 h 347919"/>
                    <a:gd name="connsiteX96" fmla="*/ 242330 w 376800"/>
                    <a:gd name="connsiteY96" fmla="*/ 268359 h 347919"/>
                    <a:gd name="connsiteX97" fmla="*/ 238129 w 376800"/>
                    <a:gd name="connsiteY97" fmla="*/ 276215 h 347919"/>
                    <a:gd name="connsiteX98" fmla="*/ 235409 w 376800"/>
                    <a:gd name="connsiteY98" fmla="*/ 283550 h 347919"/>
                    <a:gd name="connsiteX99" fmla="*/ 231353 w 376800"/>
                    <a:gd name="connsiteY99" fmla="*/ 290156 h 347919"/>
                    <a:gd name="connsiteX100" fmla="*/ 223958 w 376800"/>
                    <a:gd name="connsiteY100" fmla="*/ 293361 h 347919"/>
                    <a:gd name="connsiteX101" fmla="*/ 220169 w 376800"/>
                    <a:gd name="connsiteY101" fmla="*/ 296203 h 347919"/>
                    <a:gd name="connsiteX102" fmla="*/ 220036 w 376800"/>
                    <a:gd name="connsiteY102" fmla="*/ 296203 h 347919"/>
                    <a:gd name="connsiteX103" fmla="*/ 217425 w 376800"/>
                    <a:gd name="connsiteY103" fmla="*/ 296616 h 347919"/>
                    <a:gd name="connsiteX104" fmla="*/ 217304 w 376800"/>
                    <a:gd name="connsiteY104" fmla="*/ 296616 h 347919"/>
                    <a:gd name="connsiteX105" fmla="*/ 210759 w 376800"/>
                    <a:gd name="connsiteY105" fmla="*/ 298619 h 347919"/>
                    <a:gd name="connsiteX106" fmla="*/ 209155 w 376800"/>
                    <a:gd name="connsiteY106" fmla="*/ 298716 h 347919"/>
                    <a:gd name="connsiteX107" fmla="*/ 202258 w 376800"/>
                    <a:gd name="connsiteY107" fmla="*/ 297951 h 347919"/>
                    <a:gd name="connsiteX108" fmla="*/ 186157 w 376800"/>
                    <a:gd name="connsiteY108" fmla="*/ 294794 h 347919"/>
                    <a:gd name="connsiteX109" fmla="*/ 183473 w 376800"/>
                    <a:gd name="connsiteY109" fmla="*/ 292681 h 347919"/>
                    <a:gd name="connsiteX110" fmla="*/ 179260 w 376800"/>
                    <a:gd name="connsiteY110" fmla="*/ 291722 h 347919"/>
                    <a:gd name="connsiteX111" fmla="*/ 175155 w 376800"/>
                    <a:gd name="connsiteY111" fmla="*/ 290156 h 347919"/>
                    <a:gd name="connsiteX112" fmla="*/ 172484 w 376800"/>
                    <a:gd name="connsiteY112" fmla="*/ 287411 h 347919"/>
                    <a:gd name="connsiteX113" fmla="*/ 161907 w 376800"/>
                    <a:gd name="connsiteY113" fmla="*/ 285930 h 347919"/>
                    <a:gd name="connsiteX114" fmla="*/ 150627 w 376800"/>
                    <a:gd name="connsiteY114" fmla="*/ 285056 h 347919"/>
                    <a:gd name="connsiteX115" fmla="*/ 145684 w 376800"/>
                    <a:gd name="connsiteY115" fmla="*/ 284667 h 347919"/>
                    <a:gd name="connsiteX116" fmla="*/ 141520 w 376800"/>
                    <a:gd name="connsiteY116" fmla="*/ 283076 h 347919"/>
                    <a:gd name="connsiteX117" fmla="*/ 133736 w 376800"/>
                    <a:gd name="connsiteY117" fmla="*/ 282469 h 347919"/>
                    <a:gd name="connsiteX118" fmla="*/ 126462 w 376800"/>
                    <a:gd name="connsiteY118" fmla="*/ 284424 h 347919"/>
                    <a:gd name="connsiteX119" fmla="*/ 120816 w 376800"/>
                    <a:gd name="connsiteY119" fmla="*/ 283975 h 347919"/>
                    <a:gd name="connsiteX120" fmla="*/ 119237 w 376800"/>
                    <a:gd name="connsiteY120" fmla="*/ 283902 h 347919"/>
                    <a:gd name="connsiteX121" fmla="*/ 115776 w 376800"/>
                    <a:gd name="connsiteY121" fmla="*/ 284849 h 347919"/>
                    <a:gd name="connsiteX122" fmla="*/ 113469 w 376800"/>
                    <a:gd name="connsiteY122" fmla="*/ 287168 h 347919"/>
                    <a:gd name="connsiteX123" fmla="*/ 108114 w 376800"/>
                    <a:gd name="connsiteY123" fmla="*/ 291783 h 347919"/>
                    <a:gd name="connsiteX124" fmla="*/ 103889 w 376800"/>
                    <a:gd name="connsiteY124" fmla="*/ 300258 h 347919"/>
                    <a:gd name="connsiteX125" fmla="*/ 102468 w 376800"/>
                    <a:gd name="connsiteY125" fmla="*/ 308965 h 347919"/>
                    <a:gd name="connsiteX126" fmla="*/ 100841 w 376800"/>
                    <a:gd name="connsiteY126" fmla="*/ 311976 h 347919"/>
                    <a:gd name="connsiteX127" fmla="*/ 99833 w 376800"/>
                    <a:gd name="connsiteY127" fmla="*/ 315680 h 347919"/>
                    <a:gd name="connsiteX128" fmla="*/ 94441 w 376800"/>
                    <a:gd name="connsiteY128" fmla="*/ 320913 h 347919"/>
                    <a:gd name="connsiteX129" fmla="*/ 89681 w 376800"/>
                    <a:gd name="connsiteY129" fmla="*/ 326839 h 347919"/>
                    <a:gd name="connsiteX130" fmla="*/ 84132 w 376800"/>
                    <a:gd name="connsiteY130" fmla="*/ 333955 h 347919"/>
                    <a:gd name="connsiteX131" fmla="*/ 80841 w 376800"/>
                    <a:gd name="connsiteY131" fmla="*/ 339978 h 347919"/>
                    <a:gd name="connsiteX132" fmla="*/ 73422 w 376800"/>
                    <a:gd name="connsiteY132" fmla="*/ 341884 h 347919"/>
                    <a:gd name="connsiteX133" fmla="*/ 72875 w 376800"/>
                    <a:gd name="connsiteY133" fmla="*/ 341872 h 347919"/>
                    <a:gd name="connsiteX134" fmla="*/ 67338 w 376800"/>
                    <a:gd name="connsiteY134" fmla="*/ 339541 h 347919"/>
                    <a:gd name="connsiteX135" fmla="*/ 61838 w 376800"/>
                    <a:gd name="connsiteY135" fmla="*/ 337234 h 347919"/>
                    <a:gd name="connsiteX136" fmla="*/ 57587 w 376800"/>
                    <a:gd name="connsiteY136" fmla="*/ 336894 h 347919"/>
                    <a:gd name="connsiteX137" fmla="*/ 55122 w 376800"/>
                    <a:gd name="connsiteY137" fmla="*/ 336821 h 347919"/>
                    <a:gd name="connsiteX138" fmla="*/ 51139 w 376800"/>
                    <a:gd name="connsiteY138" fmla="*/ 336857 h 347919"/>
                    <a:gd name="connsiteX139" fmla="*/ 47655 w 376800"/>
                    <a:gd name="connsiteY139" fmla="*/ 336736 h 347919"/>
                    <a:gd name="connsiteX140" fmla="*/ 34067 w 376800"/>
                    <a:gd name="connsiteY140" fmla="*/ 337161 h 347919"/>
                    <a:gd name="connsiteX141" fmla="*/ 34164 w 376800"/>
                    <a:gd name="connsiteY141" fmla="*/ 336894 h 347919"/>
                    <a:gd name="connsiteX142" fmla="*/ 25069 w 376800"/>
                    <a:gd name="connsiteY142" fmla="*/ 328527 h 347919"/>
                    <a:gd name="connsiteX143" fmla="*/ 21013 w 376800"/>
                    <a:gd name="connsiteY143" fmla="*/ 317647 h 347919"/>
                    <a:gd name="connsiteX144" fmla="*/ 11566 w 376800"/>
                    <a:gd name="connsiteY144" fmla="*/ 309839 h 347919"/>
                    <a:gd name="connsiteX145" fmla="*/ 7291 w 376800"/>
                    <a:gd name="connsiteY145" fmla="*/ 298935 h 347919"/>
                    <a:gd name="connsiteX146" fmla="*/ 8372 w 376800"/>
                    <a:gd name="connsiteY146" fmla="*/ 289160 h 347919"/>
                    <a:gd name="connsiteX147" fmla="*/ 9890 w 376800"/>
                    <a:gd name="connsiteY147" fmla="*/ 288164 h 347919"/>
                    <a:gd name="connsiteX148" fmla="*/ 17212 w 376800"/>
                    <a:gd name="connsiteY148" fmla="*/ 295559 h 347919"/>
                    <a:gd name="connsiteX149" fmla="*/ 18257 w 376800"/>
                    <a:gd name="connsiteY149" fmla="*/ 295328 h 347919"/>
                    <a:gd name="connsiteX150" fmla="*/ 28396 w 376800"/>
                    <a:gd name="connsiteY150" fmla="*/ 291078 h 347919"/>
                    <a:gd name="connsiteX151" fmla="*/ 32597 w 376800"/>
                    <a:gd name="connsiteY151" fmla="*/ 283307 h 347919"/>
                    <a:gd name="connsiteX152" fmla="*/ 41389 w 376800"/>
                    <a:gd name="connsiteY152" fmla="*/ 270472 h 347919"/>
                    <a:gd name="connsiteX153" fmla="*/ 49743 w 376800"/>
                    <a:gd name="connsiteY153" fmla="*/ 257042 h 347919"/>
                    <a:gd name="connsiteX154" fmla="*/ 55960 w 376800"/>
                    <a:gd name="connsiteY154" fmla="*/ 243551 h 347919"/>
                    <a:gd name="connsiteX155" fmla="*/ 78060 w 376800"/>
                    <a:gd name="connsiteY155" fmla="*/ 222592 h 347919"/>
                    <a:gd name="connsiteX156" fmla="*/ 78315 w 376800"/>
                    <a:gd name="connsiteY156" fmla="*/ 222592 h 347919"/>
                    <a:gd name="connsiteX157" fmla="*/ 93871 w 376800"/>
                    <a:gd name="connsiteY157" fmla="*/ 229514 h 347919"/>
                    <a:gd name="connsiteX158" fmla="*/ 99116 w 376800"/>
                    <a:gd name="connsiteY158" fmla="*/ 230036 h 347919"/>
                    <a:gd name="connsiteX159" fmla="*/ 111041 w 376800"/>
                    <a:gd name="connsiteY159" fmla="*/ 228239 h 347919"/>
                    <a:gd name="connsiteX160" fmla="*/ 120318 w 376800"/>
                    <a:gd name="connsiteY160" fmla="*/ 217116 h 347919"/>
                    <a:gd name="connsiteX161" fmla="*/ 128247 w 376800"/>
                    <a:gd name="connsiteY161" fmla="*/ 170378 h 347919"/>
                    <a:gd name="connsiteX162" fmla="*/ 138945 w 376800"/>
                    <a:gd name="connsiteY162" fmla="*/ 155782 h 347919"/>
                    <a:gd name="connsiteX163" fmla="*/ 150809 w 376800"/>
                    <a:gd name="connsiteY163" fmla="*/ 128096 h 347919"/>
                    <a:gd name="connsiteX164" fmla="*/ 155083 w 376800"/>
                    <a:gd name="connsiteY164" fmla="*/ 114144 h 347919"/>
                    <a:gd name="connsiteX165" fmla="*/ 165514 w 376800"/>
                    <a:gd name="connsiteY165" fmla="*/ 106809 h 347919"/>
                    <a:gd name="connsiteX166" fmla="*/ 168137 w 376800"/>
                    <a:gd name="connsiteY166" fmla="*/ 107125 h 347919"/>
                    <a:gd name="connsiteX167" fmla="*/ 174451 w 376800"/>
                    <a:gd name="connsiteY167" fmla="*/ 110586 h 347919"/>
                    <a:gd name="connsiteX168" fmla="*/ 176661 w 376800"/>
                    <a:gd name="connsiteY168" fmla="*/ 110768 h 347919"/>
                    <a:gd name="connsiteX169" fmla="*/ 180511 w 376800"/>
                    <a:gd name="connsiteY169" fmla="*/ 107283 h 347919"/>
                    <a:gd name="connsiteX170" fmla="*/ 191136 w 376800"/>
                    <a:gd name="connsiteY170" fmla="*/ 96160 h 347919"/>
                    <a:gd name="connsiteX171" fmla="*/ 195155 w 376800"/>
                    <a:gd name="connsiteY171" fmla="*/ 81358 h 347919"/>
                    <a:gd name="connsiteX172" fmla="*/ 208026 w 376800"/>
                    <a:gd name="connsiteY172" fmla="*/ 71692 h 347919"/>
                    <a:gd name="connsiteX173" fmla="*/ 221505 w 376800"/>
                    <a:gd name="connsiteY173" fmla="*/ 63204 h 347919"/>
                    <a:gd name="connsiteX174" fmla="*/ 237400 w 376800"/>
                    <a:gd name="connsiteY174" fmla="*/ 53271 h 347919"/>
                    <a:gd name="connsiteX175" fmla="*/ 253453 w 376800"/>
                    <a:gd name="connsiteY175" fmla="*/ 46471 h 347919"/>
                    <a:gd name="connsiteX176" fmla="*/ 275869 w 376800"/>
                    <a:gd name="connsiteY176" fmla="*/ 34450 h 347919"/>
                    <a:gd name="connsiteX177" fmla="*/ 291800 w 376800"/>
                    <a:gd name="connsiteY177" fmla="*/ 22404 h 347919"/>
                    <a:gd name="connsiteX178" fmla="*/ 305777 w 376800"/>
                    <a:gd name="connsiteY178" fmla="*/ 16636 h 347919"/>
                    <a:gd name="connsiteX179" fmla="*/ 330816 w 376800"/>
                    <a:gd name="connsiteY179" fmla="*/ 6071 h 347919"/>
                    <a:gd name="connsiteX180" fmla="*/ 330816 w 376800"/>
                    <a:gd name="connsiteY180" fmla="*/ 0 h 347919"/>
                    <a:gd name="connsiteX181" fmla="*/ 310525 w 376800"/>
                    <a:gd name="connsiteY181" fmla="*/ 7213 h 347919"/>
                    <a:gd name="connsiteX182" fmla="*/ 303336 w 376800"/>
                    <a:gd name="connsiteY182" fmla="*/ 11086 h 347919"/>
                    <a:gd name="connsiteX183" fmla="*/ 294642 w 376800"/>
                    <a:gd name="connsiteY183" fmla="*/ 14693 h 347919"/>
                    <a:gd name="connsiteX184" fmla="*/ 289469 w 376800"/>
                    <a:gd name="connsiteY184" fmla="*/ 16806 h 347919"/>
                    <a:gd name="connsiteX185" fmla="*/ 277217 w 376800"/>
                    <a:gd name="connsiteY185" fmla="*/ 25415 h 347919"/>
                    <a:gd name="connsiteX186" fmla="*/ 272323 w 376800"/>
                    <a:gd name="connsiteY186" fmla="*/ 29532 h 347919"/>
                    <a:gd name="connsiteX187" fmla="*/ 251352 w 376800"/>
                    <a:gd name="connsiteY187" fmla="*/ 40776 h 347919"/>
                    <a:gd name="connsiteX188" fmla="*/ 234741 w 376800"/>
                    <a:gd name="connsiteY188" fmla="*/ 47819 h 347919"/>
                    <a:gd name="connsiteX189" fmla="*/ 225755 w 376800"/>
                    <a:gd name="connsiteY189" fmla="*/ 53380 h 347919"/>
                    <a:gd name="connsiteX190" fmla="*/ 218809 w 376800"/>
                    <a:gd name="connsiteY190" fmla="*/ 57776 h 347919"/>
                    <a:gd name="connsiteX191" fmla="*/ 204116 w 376800"/>
                    <a:gd name="connsiteY191" fmla="*/ 67053 h 347919"/>
                    <a:gd name="connsiteX192" fmla="*/ 199563 w 376800"/>
                    <a:gd name="connsiteY192" fmla="*/ 70198 h 347919"/>
                    <a:gd name="connsiteX193" fmla="*/ 190164 w 376800"/>
                    <a:gd name="connsiteY193" fmla="*/ 77933 h 347919"/>
                    <a:gd name="connsiteX194" fmla="*/ 186958 w 376800"/>
                    <a:gd name="connsiteY194" fmla="*/ 88146 h 347919"/>
                    <a:gd name="connsiteX195" fmla="*/ 185768 w 376800"/>
                    <a:gd name="connsiteY195" fmla="*/ 93343 h 347919"/>
                    <a:gd name="connsiteX196" fmla="*/ 179369 w 376800"/>
                    <a:gd name="connsiteY196" fmla="*/ 100264 h 347919"/>
                    <a:gd name="connsiteX197" fmla="*/ 176503 w 376800"/>
                    <a:gd name="connsiteY197" fmla="*/ 102741 h 347919"/>
                    <a:gd name="connsiteX198" fmla="*/ 175058 w 376800"/>
                    <a:gd name="connsiteY198" fmla="*/ 104186 h 347919"/>
                    <a:gd name="connsiteX199" fmla="*/ 174730 w 376800"/>
                    <a:gd name="connsiteY199" fmla="*/ 103931 h 347919"/>
                    <a:gd name="connsiteX200" fmla="*/ 169497 w 376800"/>
                    <a:gd name="connsiteY200" fmla="*/ 101187 h 347919"/>
                    <a:gd name="connsiteX201" fmla="*/ 165550 w 376800"/>
                    <a:gd name="connsiteY201" fmla="*/ 100726 h 347919"/>
                    <a:gd name="connsiteX202" fmla="*/ 150129 w 376800"/>
                    <a:gd name="connsiteY202" fmla="*/ 110634 h 347919"/>
                    <a:gd name="connsiteX203" fmla="*/ 146425 w 376800"/>
                    <a:gd name="connsiteY203" fmla="*/ 121017 h 347919"/>
                    <a:gd name="connsiteX204" fmla="*/ 145247 w 376800"/>
                    <a:gd name="connsiteY204" fmla="*/ 125679 h 347919"/>
                    <a:gd name="connsiteX205" fmla="*/ 142151 w 376800"/>
                    <a:gd name="connsiteY205" fmla="*/ 136159 h 347919"/>
                    <a:gd name="connsiteX206" fmla="*/ 135278 w 376800"/>
                    <a:gd name="connsiteY206" fmla="*/ 150937 h 347919"/>
                    <a:gd name="connsiteX207" fmla="*/ 123257 w 376800"/>
                    <a:gd name="connsiteY207" fmla="*/ 166832 h 347919"/>
                    <a:gd name="connsiteX208" fmla="*/ 122843 w 376800"/>
                    <a:gd name="connsiteY208" fmla="*/ 167658 h 347919"/>
                    <a:gd name="connsiteX209" fmla="*/ 114635 w 376800"/>
                    <a:gd name="connsiteY209" fmla="*/ 212234 h 347919"/>
                    <a:gd name="connsiteX210" fmla="*/ 114307 w 376800"/>
                    <a:gd name="connsiteY210" fmla="*/ 216594 h 347919"/>
                    <a:gd name="connsiteX211" fmla="*/ 114210 w 376800"/>
                    <a:gd name="connsiteY211" fmla="*/ 217869 h 347919"/>
                    <a:gd name="connsiteX212" fmla="*/ 113979 w 376800"/>
                    <a:gd name="connsiteY212" fmla="*/ 220419 h 347919"/>
                    <a:gd name="connsiteX213" fmla="*/ 108867 w 376800"/>
                    <a:gd name="connsiteY213" fmla="*/ 222544 h 347919"/>
                    <a:gd name="connsiteX214" fmla="*/ 99141 w 376800"/>
                    <a:gd name="connsiteY214" fmla="*/ 223928 h 347919"/>
                    <a:gd name="connsiteX215" fmla="*/ 95401 w 376800"/>
                    <a:gd name="connsiteY215" fmla="*/ 223600 h 347919"/>
                    <a:gd name="connsiteX216" fmla="*/ 90653 w 376800"/>
                    <a:gd name="connsiteY216" fmla="*/ 221062 h 347919"/>
                    <a:gd name="connsiteX217" fmla="*/ 78328 w 376800"/>
                    <a:gd name="connsiteY217" fmla="*/ 216484 h 347919"/>
                    <a:gd name="connsiteX218" fmla="*/ 50265 w 376800"/>
                    <a:gd name="connsiteY218" fmla="*/ 241426 h 347919"/>
                    <a:gd name="connsiteX219" fmla="*/ 48905 w 376800"/>
                    <a:gd name="connsiteY219" fmla="*/ 246052 h 347919"/>
                    <a:gd name="connsiteX220" fmla="*/ 45699 w 376800"/>
                    <a:gd name="connsiteY220" fmla="*/ 252488 h 347919"/>
                    <a:gd name="connsiteX221" fmla="*/ 35548 w 376800"/>
                    <a:gd name="connsiteY221" fmla="*/ 268845 h 347919"/>
                    <a:gd name="connsiteX222" fmla="*/ 31480 w 376800"/>
                    <a:gd name="connsiteY222" fmla="*/ 275208 h 347919"/>
                    <a:gd name="connsiteX223" fmla="*/ 27740 w 376800"/>
                    <a:gd name="connsiteY223" fmla="*/ 279640 h 347919"/>
                    <a:gd name="connsiteX224" fmla="*/ 25324 w 376800"/>
                    <a:gd name="connsiteY224" fmla="*/ 284509 h 347919"/>
                    <a:gd name="connsiteX225" fmla="*/ 24449 w 376800"/>
                    <a:gd name="connsiteY225" fmla="*/ 286440 h 347919"/>
                    <a:gd name="connsiteX226" fmla="*/ 19119 w 376800"/>
                    <a:gd name="connsiteY226" fmla="*/ 288468 h 347919"/>
                    <a:gd name="connsiteX227" fmla="*/ 18426 w 376800"/>
                    <a:gd name="connsiteY227" fmla="*/ 288723 h 347919"/>
                    <a:gd name="connsiteX228" fmla="*/ 18135 w 376800"/>
                    <a:gd name="connsiteY228" fmla="*/ 288213 h 347919"/>
                    <a:gd name="connsiteX229" fmla="*/ 9927 w 376800"/>
                    <a:gd name="connsiteY229" fmla="*/ 282044 h 347919"/>
                    <a:gd name="connsiteX230" fmla="*/ 3624 w 376800"/>
                    <a:gd name="connsiteY230" fmla="*/ 285359 h 347919"/>
                    <a:gd name="connsiteX231" fmla="*/ 2993 w 376800"/>
                    <a:gd name="connsiteY231" fmla="*/ 286112 h 347919"/>
                    <a:gd name="connsiteX232" fmla="*/ 1487 w 376800"/>
                    <a:gd name="connsiteY232" fmla="*/ 300562 h 347919"/>
                    <a:gd name="connsiteX233" fmla="*/ 2046 w 376800"/>
                    <a:gd name="connsiteY233" fmla="*/ 302808 h 347919"/>
                    <a:gd name="connsiteX234" fmla="*/ 7146 w 376800"/>
                    <a:gd name="connsiteY234" fmla="*/ 313931 h 347919"/>
                    <a:gd name="connsiteX235" fmla="*/ 12610 w 376800"/>
                    <a:gd name="connsiteY235" fmla="*/ 318169 h 347919"/>
                    <a:gd name="connsiteX236" fmla="*/ 15864 w 376800"/>
                    <a:gd name="connsiteY236" fmla="*/ 320756 h 347919"/>
                    <a:gd name="connsiteX237" fmla="*/ 16751 w 376800"/>
                    <a:gd name="connsiteY237" fmla="*/ 323755 h 347919"/>
                    <a:gd name="connsiteX238" fmla="*/ 20466 w 376800"/>
                    <a:gd name="connsiteY238" fmla="*/ 332389 h 347919"/>
                    <a:gd name="connsiteX239" fmla="*/ 25287 w 376800"/>
                    <a:gd name="connsiteY239" fmla="*/ 336408 h 347919"/>
                    <a:gd name="connsiteX240" fmla="*/ 28032 w 376800"/>
                    <a:gd name="connsiteY240" fmla="*/ 338436 h 347919"/>
                    <a:gd name="connsiteX241" fmla="*/ 28032 w 376800"/>
                    <a:gd name="connsiteY241" fmla="*/ 343390 h 347919"/>
                    <a:gd name="connsiteX242" fmla="*/ 34297 w 376800"/>
                    <a:gd name="connsiteY242" fmla="*/ 343184 h 347919"/>
                    <a:gd name="connsiteX243" fmla="*/ 47570 w 376800"/>
                    <a:gd name="connsiteY243" fmla="*/ 342771 h 347919"/>
                    <a:gd name="connsiteX244" fmla="*/ 51188 w 376800"/>
                    <a:gd name="connsiteY244" fmla="*/ 342880 h 347919"/>
                    <a:gd name="connsiteX245" fmla="*/ 53362 w 376800"/>
                    <a:gd name="connsiteY245" fmla="*/ 342868 h 347919"/>
                    <a:gd name="connsiteX246" fmla="*/ 55171 w 376800"/>
                    <a:gd name="connsiteY246" fmla="*/ 342856 h 347919"/>
                    <a:gd name="connsiteX247" fmla="*/ 57162 w 376800"/>
                    <a:gd name="connsiteY247" fmla="*/ 342917 h 347919"/>
                    <a:gd name="connsiteX248" fmla="*/ 58122 w 376800"/>
                    <a:gd name="connsiteY248" fmla="*/ 342989 h 347919"/>
                    <a:gd name="connsiteX249" fmla="*/ 61412 w 376800"/>
                    <a:gd name="connsiteY249" fmla="*/ 343244 h 347919"/>
                    <a:gd name="connsiteX250" fmla="*/ 63841 w 376800"/>
                    <a:gd name="connsiteY250" fmla="*/ 344447 h 347919"/>
                    <a:gd name="connsiteX251" fmla="*/ 64145 w 376800"/>
                    <a:gd name="connsiteY251" fmla="*/ 344665 h 347919"/>
                    <a:gd name="connsiteX252" fmla="*/ 64473 w 376800"/>
                    <a:gd name="connsiteY252" fmla="*/ 344847 h 347919"/>
                    <a:gd name="connsiteX253" fmla="*/ 65128 w 376800"/>
                    <a:gd name="connsiteY253" fmla="*/ 345224 h 347919"/>
                    <a:gd name="connsiteX254" fmla="*/ 72426 w 376800"/>
                    <a:gd name="connsiteY254" fmla="*/ 347895 h 347919"/>
                    <a:gd name="connsiteX255" fmla="*/ 72669 w 376800"/>
                    <a:gd name="connsiteY255" fmla="*/ 347907 h 347919"/>
                    <a:gd name="connsiteX256" fmla="*/ 73458 w 376800"/>
                    <a:gd name="connsiteY256" fmla="*/ 347920 h 347919"/>
                    <a:gd name="connsiteX257" fmla="*/ 83683 w 376800"/>
                    <a:gd name="connsiteY257" fmla="*/ 345357 h 347919"/>
                    <a:gd name="connsiteX258" fmla="*/ 89596 w 376800"/>
                    <a:gd name="connsiteY258" fmla="*/ 337003 h 347919"/>
                    <a:gd name="connsiteX259" fmla="*/ 89706 w 376800"/>
                    <a:gd name="connsiteY259" fmla="*/ 336469 h 347919"/>
                    <a:gd name="connsiteX260" fmla="*/ 94016 w 376800"/>
                    <a:gd name="connsiteY260" fmla="*/ 331089 h 347919"/>
                    <a:gd name="connsiteX261" fmla="*/ 96348 w 376800"/>
                    <a:gd name="connsiteY261" fmla="*/ 327981 h 347919"/>
                    <a:gd name="connsiteX262" fmla="*/ 97829 w 376800"/>
                    <a:gd name="connsiteY262" fmla="*/ 325989 h 347919"/>
                    <a:gd name="connsiteX263" fmla="*/ 105540 w 376800"/>
                    <a:gd name="connsiteY263" fmla="*/ 317793 h 347919"/>
                    <a:gd name="connsiteX264" fmla="*/ 105868 w 376800"/>
                    <a:gd name="connsiteY264" fmla="*/ 316931 h 347919"/>
                    <a:gd name="connsiteX265" fmla="*/ 105916 w 376800"/>
                    <a:gd name="connsiteY265" fmla="*/ 316008 h 347919"/>
                    <a:gd name="connsiteX266" fmla="*/ 106001 w 376800"/>
                    <a:gd name="connsiteY266" fmla="*/ 315133 h 347919"/>
                    <a:gd name="connsiteX267" fmla="*/ 106997 w 376800"/>
                    <a:gd name="connsiteY267" fmla="*/ 313689 h 347919"/>
                    <a:gd name="connsiteX268" fmla="*/ 106973 w 376800"/>
                    <a:gd name="connsiteY268" fmla="*/ 313179 h 347919"/>
                    <a:gd name="connsiteX269" fmla="*/ 107386 w 376800"/>
                    <a:gd name="connsiteY269" fmla="*/ 312547 h 347919"/>
                    <a:gd name="connsiteX270" fmla="*/ 107750 w 376800"/>
                    <a:gd name="connsiteY270" fmla="*/ 312001 h 347919"/>
                    <a:gd name="connsiteX271" fmla="*/ 108151 w 376800"/>
                    <a:gd name="connsiteY271" fmla="*/ 311126 h 347919"/>
                    <a:gd name="connsiteX272" fmla="*/ 109231 w 376800"/>
                    <a:gd name="connsiteY272" fmla="*/ 305298 h 347919"/>
                    <a:gd name="connsiteX273" fmla="*/ 109693 w 376800"/>
                    <a:gd name="connsiteY273" fmla="*/ 302080 h 347919"/>
                    <a:gd name="connsiteX274" fmla="*/ 110264 w 376800"/>
                    <a:gd name="connsiteY274" fmla="*/ 300052 h 347919"/>
                    <a:gd name="connsiteX275" fmla="*/ 111794 w 376800"/>
                    <a:gd name="connsiteY275" fmla="*/ 296616 h 347919"/>
                    <a:gd name="connsiteX276" fmla="*/ 112255 w 376800"/>
                    <a:gd name="connsiteY276" fmla="*/ 296263 h 347919"/>
                    <a:gd name="connsiteX277" fmla="*/ 112632 w 376800"/>
                    <a:gd name="connsiteY277" fmla="*/ 295838 h 347919"/>
                    <a:gd name="connsiteX278" fmla="*/ 114428 w 376800"/>
                    <a:gd name="connsiteY278" fmla="*/ 294333 h 347919"/>
                    <a:gd name="connsiteX279" fmla="*/ 117731 w 376800"/>
                    <a:gd name="connsiteY279" fmla="*/ 291503 h 347919"/>
                    <a:gd name="connsiteX280" fmla="*/ 119104 w 376800"/>
                    <a:gd name="connsiteY280" fmla="*/ 290083 h 347919"/>
                    <a:gd name="connsiteX281" fmla="*/ 119213 w 376800"/>
                    <a:gd name="connsiteY281" fmla="*/ 289961 h 347919"/>
                    <a:gd name="connsiteX282" fmla="*/ 119334 w 376800"/>
                    <a:gd name="connsiteY282" fmla="*/ 289961 h 347919"/>
                    <a:gd name="connsiteX283" fmla="*/ 120354 w 376800"/>
                    <a:gd name="connsiteY283" fmla="*/ 290010 h 347919"/>
                    <a:gd name="connsiteX284" fmla="*/ 122674 w 376800"/>
                    <a:gd name="connsiteY284" fmla="*/ 290192 h 347919"/>
                    <a:gd name="connsiteX285" fmla="*/ 126001 w 376800"/>
                    <a:gd name="connsiteY285" fmla="*/ 290447 h 347919"/>
                    <a:gd name="connsiteX286" fmla="*/ 126875 w 376800"/>
                    <a:gd name="connsiteY286" fmla="*/ 290508 h 347919"/>
                    <a:gd name="connsiteX287" fmla="*/ 127725 w 376800"/>
                    <a:gd name="connsiteY287" fmla="*/ 290325 h 347919"/>
                    <a:gd name="connsiteX288" fmla="*/ 131016 w 376800"/>
                    <a:gd name="connsiteY288" fmla="*/ 289391 h 347919"/>
                    <a:gd name="connsiteX289" fmla="*/ 134039 w 376800"/>
                    <a:gd name="connsiteY289" fmla="*/ 288541 h 347919"/>
                    <a:gd name="connsiteX290" fmla="*/ 136080 w 376800"/>
                    <a:gd name="connsiteY290" fmla="*/ 288577 h 347919"/>
                    <a:gd name="connsiteX291" fmla="*/ 139115 w 376800"/>
                    <a:gd name="connsiteY291" fmla="*/ 288698 h 347919"/>
                    <a:gd name="connsiteX292" fmla="*/ 145175 w 376800"/>
                    <a:gd name="connsiteY292" fmla="*/ 290702 h 347919"/>
                    <a:gd name="connsiteX293" fmla="*/ 147129 w 376800"/>
                    <a:gd name="connsiteY293" fmla="*/ 290860 h 347919"/>
                    <a:gd name="connsiteX294" fmla="*/ 150092 w 376800"/>
                    <a:gd name="connsiteY294" fmla="*/ 291091 h 347919"/>
                    <a:gd name="connsiteX295" fmla="*/ 155800 w 376800"/>
                    <a:gd name="connsiteY295" fmla="*/ 291540 h 347919"/>
                    <a:gd name="connsiteX296" fmla="*/ 161410 w 376800"/>
                    <a:gd name="connsiteY296" fmla="*/ 291977 h 347919"/>
                    <a:gd name="connsiteX297" fmla="*/ 163923 w 376800"/>
                    <a:gd name="connsiteY297" fmla="*/ 292098 h 347919"/>
                    <a:gd name="connsiteX298" fmla="*/ 169582 w 376800"/>
                    <a:gd name="connsiteY298" fmla="*/ 292742 h 347919"/>
                    <a:gd name="connsiteX299" fmla="*/ 169667 w 376800"/>
                    <a:gd name="connsiteY299" fmla="*/ 292791 h 347919"/>
                    <a:gd name="connsiteX300" fmla="*/ 170480 w 376800"/>
                    <a:gd name="connsiteY300" fmla="*/ 294418 h 347919"/>
                    <a:gd name="connsiteX301" fmla="*/ 172229 w 376800"/>
                    <a:gd name="connsiteY301" fmla="*/ 295462 h 347919"/>
                    <a:gd name="connsiteX302" fmla="*/ 172775 w 376800"/>
                    <a:gd name="connsiteY302" fmla="*/ 295778 h 347919"/>
                    <a:gd name="connsiteX303" fmla="*/ 177572 w 376800"/>
                    <a:gd name="connsiteY303" fmla="*/ 297611 h 347919"/>
                    <a:gd name="connsiteX304" fmla="*/ 181348 w 376800"/>
                    <a:gd name="connsiteY304" fmla="*/ 298558 h 347919"/>
                    <a:gd name="connsiteX305" fmla="*/ 181773 w 376800"/>
                    <a:gd name="connsiteY305" fmla="*/ 298983 h 347919"/>
                    <a:gd name="connsiteX306" fmla="*/ 182307 w 376800"/>
                    <a:gd name="connsiteY306" fmla="*/ 299530 h 347919"/>
                    <a:gd name="connsiteX307" fmla="*/ 183000 w 376800"/>
                    <a:gd name="connsiteY307" fmla="*/ 299967 h 347919"/>
                    <a:gd name="connsiteX308" fmla="*/ 199028 w 376800"/>
                    <a:gd name="connsiteY308" fmla="*/ 303804 h 347919"/>
                    <a:gd name="connsiteX309" fmla="*/ 201773 w 376800"/>
                    <a:gd name="connsiteY309" fmla="*/ 303986 h 347919"/>
                    <a:gd name="connsiteX310" fmla="*/ 203606 w 376800"/>
                    <a:gd name="connsiteY310" fmla="*/ 304229 h 347919"/>
                    <a:gd name="connsiteX311" fmla="*/ 209144 w 376800"/>
                    <a:gd name="connsiteY311" fmla="*/ 304764 h 347919"/>
                    <a:gd name="connsiteX312" fmla="*/ 211584 w 376800"/>
                    <a:gd name="connsiteY312" fmla="*/ 304606 h 347919"/>
                    <a:gd name="connsiteX313" fmla="*/ 216041 w 376800"/>
                    <a:gd name="connsiteY313" fmla="*/ 303319 h 347919"/>
                    <a:gd name="connsiteX314" fmla="*/ 218093 w 376800"/>
                    <a:gd name="connsiteY314" fmla="*/ 302639 h 347919"/>
                    <a:gd name="connsiteX315" fmla="*/ 220024 w 376800"/>
                    <a:gd name="connsiteY315" fmla="*/ 302323 h 347919"/>
                    <a:gd name="connsiteX316" fmla="*/ 222343 w 376800"/>
                    <a:gd name="connsiteY316" fmla="*/ 302553 h 347919"/>
                    <a:gd name="connsiteX317" fmla="*/ 223763 w 376800"/>
                    <a:gd name="connsiteY317" fmla="*/ 301060 h 347919"/>
                    <a:gd name="connsiteX318" fmla="*/ 225646 w 376800"/>
                    <a:gd name="connsiteY318" fmla="*/ 299469 h 347919"/>
                    <a:gd name="connsiteX319" fmla="*/ 226314 w 376800"/>
                    <a:gd name="connsiteY319" fmla="*/ 298898 h 347919"/>
                    <a:gd name="connsiteX320" fmla="*/ 227176 w 376800"/>
                    <a:gd name="connsiteY320" fmla="*/ 298583 h 347919"/>
                    <a:gd name="connsiteX321" fmla="*/ 227564 w 376800"/>
                    <a:gd name="connsiteY321" fmla="*/ 298206 h 347919"/>
                    <a:gd name="connsiteX322" fmla="*/ 230588 w 376800"/>
                    <a:gd name="connsiteY322" fmla="*/ 296919 h 347919"/>
                    <a:gd name="connsiteX323" fmla="*/ 233927 w 376800"/>
                    <a:gd name="connsiteY323" fmla="*/ 295632 h 347919"/>
                    <a:gd name="connsiteX324" fmla="*/ 240715 w 376800"/>
                    <a:gd name="connsiteY324" fmla="*/ 286731 h 347919"/>
                    <a:gd name="connsiteX325" fmla="*/ 241067 w 376800"/>
                    <a:gd name="connsiteY325" fmla="*/ 285626 h 347919"/>
                    <a:gd name="connsiteX326" fmla="*/ 241335 w 376800"/>
                    <a:gd name="connsiteY326" fmla="*/ 284873 h 347919"/>
                    <a:gd name="connsiteX327" fmla="*/ 241407 w 376800"/>
                    <a:gd name="connsiteY327" fmla="*/ 284072 h 347919"/>
                    <a:gd name="connsiteX328" fmla="*/ 242488 w 376800"/>
                    <a:gd name="connsiteY328" fmla="*/ 281316 h 347919"/>
                    <a:gd name="connsiteX329" fmla="*/ 243520 w 376800"/>
                    <a:gd name="connsiteY329" fmla="*/ 278996 h 347919"/>
                    <a:gd name="connsiteX330" fmla="*/ 245973 w 376800"/>
                    <a:gd name="connsiteY330" fmla="*/ 274443 h 347919"/>
                    <a:gd name="connsiteX331" fmla="*/ 247588 w 376800"/>
                    <a:gd name="connsiteY331" fmla="*/ 271322 h 347919"/>
                    <a:gd name="connsiteX332" fmla="*/ 248596 w 376800"/>
                    <a:gd name="connsiteY332" fmla="*/ 269889 h 347919"/>
                    <a:gd name="connsiteX333" fmla="*/ 252032 w 376800"/>
                    <a:gd name="connsiteY333" fmla="*/ 263915 h 347919"/>
                    <a:gd name="connsiteX334" fmla="*/ 254898 w 376800"/>
                    <a:gd name="connsiteY334" fmla="*/ 261559 h 347919"/>
                    <a:gd name="connsiteX335" fmla="*/ 254898 w 376800"/>
                    <a:gd name="connsiteY335" fmla="*/ 261559 h 347919"/>
                    <a:gd name="connsiteX336" fmla="*/ 254946 w 376800"/>
                    <a:gd name="connsiteY336" fmla="*/ 261535 h 347919"/>
                    <a:gd name="connsiteX337" fmla="*/ 259743 w 376800"/>
                    <a:gd name="connsiteY337" fmla="*/ 260782 h 347919"/>
                    <a:gd name="connsiteX338" fmla="*/ 261346 w 376800"/>
                    <a:gd name="connsiteY338" fmla="*/ 260842 h 347919"/>
                    <a:gd name="connsiteX339" fmla="*/ 262475 w 376800"/>
                    <a:gd name="connsiteY339" fmla="*/ 262130 h 347919"/>
                    <a:gd name="connsiteX340" fmla="*/ 263483 w 376800"/>
                    <a:gd name="connsiteY340" fmla="*/ 263222 h 347919"/>
                    <a:gd name="connsiteX341" fmla="*/ 264418 w 376800"/>
                    <a:gd name="connsiteY341" fmla="*/ 264230 h 347919"/>
                    <a:gd name="connsiteX342" fmla="*/ 264382 w 376800"/>
                    <a:gd name="connsiteY342" fmla="*/ 264328 h 347919"/>
                    <a:gd name="connsiteX343" fmla="*/ 263993 w 376800"/>
                    <a:gd name="connsiteY343" fmla="*/ 265578 h 347919"/>
                    <a:gd name="connsiteX344" fmla="*/ 262063 w 376800"/>
                    <a:gd name="connsiteY344" fmla="*/ 273884 h 347919"/>
                    <a:gd name="connsiteX345" fmla="*/ 261638 w 376800"/>
                    <a:gd name="connsiteY345" fmla="*/ 274418 h 347919"/>
                    <a:gd name="connsiteX346" fmla="*/ 259075 w 376800"/>
                    <a:gd name="connsiteY346" fmla="*/ 278705 h 347919"/>
                    <a:gd name="connsiteX347" fmla="*/ 258784 w 376800"/>
                    <a:gd name="connsiteY347" fmla="*/ 279482 h 347919"/>
                    <a:gd name="connsiteX348" fmla="*/ 258723 w 376800"/>
                    <a:gd name="connsiteY348" fmla="*/ 280308 h 347919"/>
                    <a:gd name="connsiteX349" fmla="*/ 258262 w 376800"/>
                    <a:gd name="connsiteY349" fmla="*/ 285978 h 347919"/>
                    <a:gd name="connsiteX350" fmla="*/ 257982 w 376800"/>
                    <a:gd name="connsiteY350" fmla="*/ 288031 h 347919"/>
                    <a:gd name="connsiteX351" fmla="*/ 257569 w 376800"/>
                    <a:gd name="connsiteY351" fmla="*/ 295511 h 347919"/>
                    <a:gd name="connsiteX352" fmla="*/ 263009 w 376800"/>
                    <a:gd name="connsiteY352" fmla="*/ 303549 h 347919"/>
                    <a:gd name="connsiteX353" fmla="*/ 263908 w 376800"/>
                    <a:gd name="connsiteY353" fmla="*/ 304229 h 347919"/>
                    <a:gd name="connsiteX354" fmla="*/ 264066 w 376800"/>
                    <a:gd name="connsiteY354" fmla="*/ 304351 h 347919"/>
                    <a:gd name="connsiteX355" fmla="*/ 264479 w 376800"/>
                    <a:gd name="connsiteY355" fmla="*/ 304727 h 347919"/>
                    <a:gd name="connsiteX356" fmla="*/ 265766 w 376800"/>
                    <a:gd name="connsiteY356" fmla="*/ 305771 h 347919"/>
                    <a:gd name="connsiteX357" fmla="*/ 273246 w 376800"/>
                    <a:gd name="connsiteY357" fmla="*/ 310386 h 347919"/>
                    <a:gd name="connsiteX358" fmla="*/ 282487 w 376800"/>
                    <a:gd name="connsiteY358" fmla="*/ 318837 h 347919"/>
                    <a:gd name="connsiteX359" fmla="*/ 287830 w 376800"/>
                    <a:gd name="connsiteY359" fmla="*/ 323731 h 347919"/>
                    <a:gd name="connsiteX360" fmla="*/ 291703 w 376800"/>
                    <a:gd name="connsiteY360" fmla="*/ 317623 h 347919"/>
                    <a:gd name="connsiteX361" fmla="*/ 293173 w 376800"/>
                    <a:gd name="connsiteY361" fmla="*/ 315304 h 347919"/>
                    <a:gd name="connsiteX362" fmla="*/ 294411 w 376800"/>
                    <a:gd name="connsiteY362" fmla="*/ 313810 h 347919"/>
                    <a:gd name="connsiteX363" fmla="*/ 296378 w 376800"/>
                    <a:gd name="connsiteY363" fmla="*/ 313786 h 347919"/>
                    <a:gd name="connsiteX364" fmla="*/ 297751 w 376800"/>
                    <a:gd name="connsiteY364" fmla="*/ 313773 h 347919"/>
                    <a:gd name="connsiteX365" fmla="*/ 298989 w 376800"/>
                    <a:gd name="connsiteY365" fmla="*/ 313166 h 347919"/>
                    <a:gd name="connsiteX366" fmla="*/ 300762 w 376800"/>
                    <a:gd name="connsiteY366" fmla="*/ 312280 h 347919"/>
                    <a:gd name="connsiteX367" fmla="*/ 303664 w 376800"/>
                    <a:gd name="connsiteY367" fmla="*/ 310847 h 347919"/>
                    <a:gd name="connsiteX368" fmla="*/ 304089 w 376800"/>
                    <a:gd name="connsiteY368" fmla="*/ 307653 h 347919"/>
                    <a:gd name="connsiteX369" fmla="*/ 304210 w 376800"/>
                    <a:gd name="connsiteY369" fmla="*/ 306779 h 347919"/>
                    <a:gd name="connsiteX370" fmla="*/ 304465 w 376800"/>
                    <a:gd name="connsiteY370" fmla="*/ 304982 h 347919"/>
                    <a:gd name="connsiteX371" fmla="*/ 304842 w 376800"/>
                    <a:gd name="connsiteY371" fmla="*/ 304630 h 347919"/>
                    <a:gd name="connsiteX372" fmla="*/ 305170 w 376800"/>
                    <a:gd name="connsiteY372" fmla="*/ 304132 h 347919"/>
                    <a:gd name="connsiteX373" fmla="*/ 321733 w 376800"/>
                    <a:gd name="connsiteY373" fmla="*/ 280478 h 347919"/>
                    <a:gd name="connsiteX374" fmla="*/ 321879 w 376800"/>
                    <a:gd name="connsiteY374" fmla="*/ 280332 h 347919"/>
                    <a:gd name="connsiteX375" fmla="*/ 325048 w 376800"/>
                    <a:gd name="connsiteY375" fmla="*/ 279919 h 347919"/>
                    <a:gd name="connsiteX376" fmla="*/ 326456 w 376800"/>
                    <a:gd name="connsiteY376" fmla="*/ 279737 h 347919"/>
                    <a:gd name="connsiteX377" fmla="*/ 327646 w 376800"/>
                    <a:gd name="connsiteY377" fmla="*/ 278948 h 347919"/>
                    <a:gd name="connsiteX378" fmla="*/ 329322 w 376800"/>
                    <a:gd name="connsiteY378" fmla="*/ 277830 h 347919"/>
                    <a:gd name="connsiteX379" fmla="*/ 331047 w 376800"/>
                    <a:gd name="connsiteY379" fmla="*/ 276677 h 347919"/>
                    <a:gd name="connsiteX380" fmla="*/ 331714 w 376800"/>
                    <a:gd name="connsiteY380" fmla="*/ 274710 h 347919"/>
                    <a:gd name="connsiteX381" fmla="*/ 332917 w 376800"/>
                    <a:gd name="connsiteY381" fmla="*/ 271128 h 347919"/>
                    <a:gd name="connsiteX382" fmla="*/ 333293 w 376800"/>
                    <a:gd name="connsiteY382" fmla="*/ 269962 h 347919"/>
                    <a:gd name="connsiteX383" fmla="*/ 333208 w 376800"/>
                    <a:gd name="connsiteY383" fmla="*/ 268735 h 347919"/>
                    <a:gd name="connsiteX384" fmla="*/ 332868 w 376800"/>
                    <a:gd name="connsiteY384" fmla="*/ 264194 h 347919"/>
                    <a:gd name="connsiteX385" fmla="*/ 332844 w 376800"/>
                    <a:gd name="connsiteY385" fmla="*/ 263878 h 347919"/>
                    <a:gd name="connsiteX386" fmla="*/ 332783 w 376800"/>
                    <a:gd name="connsiteY386" fmla="*/ 263562 h 347919"/>
                    <a:gd name="connsiteX387" fmla="*/ 329116 w 376800"/>
                    <a:gd name="connsiteY387" fmla="*/ 243527 h 347919"/>
                    <a:gd name="connsiteX388" fmla="*/ 329213 w 376800"/>
                    <a:gd name="connsiteY388" fmla="*/ 241013 h 347919"/>
                    <a:gd name="connsiteX389" fmla="*/ 329747 w 376800"/>
                    <a:gd name="connsiteY389" fmla="*/ 239155 h 347919"/>
                    <a:gd name="connsiteX390" fmla="*/ 335576 w 376800"/>
                    <a:gd name="connsiteY390" fmla="*/ 237127 h 347919"/>
                    <a:gd name="connsiteX391" fmla="*/ 336329 w 376800"/>
                    <a:gd name="connsiteY391" fmla="*/ 236872 h 347919"/>
                    <a:gd name="connsiteX392" fmla="*/ 336984 w 376800"/>
                    <a:gd name="connsiteY392" fmla="*/ 236435 h 347919"/>
                    <a:gd name="connsiteX393" fmla="*/ 340020 w 376800"/>
                    <a:gd name="connsiteY393" fmla="*/ 234395 h 347919"/>
                    <a:gd name="connsiteX394" fmla="*/ 340554 w 376800"/>
                    <a:gd name="connsiteY394" fmla="*/ 234031 h 347919"/>
                    <a:gd name="connsiteX395" fmla="*/ 340992 w 376800"/>
                    <a:gd name="connsiteY395" fmla="*/ 233569 h 347919"/>
                    <a:gd name="connsiteX396" fmla="*/ 348982 w 376800"/>
                    <a:gd name="connsiteY396" fmla="*/ 225300 h 347919"/>
                    <a:gd name="connsiteX397" fmla="*/ 355114 w 376800"/>
                    <a:gd name="connsiteY397" fmla="*/ 217978 h 347919"/>
                    <a:gd name="connsiteX398" fmla="*/ 355490 w 376800"/>
                    <a:gd name="connsiteY398" fmla="*/ 217516 h 347919"/>
                    <a:gd name="connsiteX399" fmla="*/ 355769 w 376800"/>
                    <a:gd name="connsiteY399" fmla="*/ 216994 h 347919"/>
                    <a:gd name="connsiteX400" fmla="*/ 357967 w 376800"/>
                    <a:gd name="connsiteY400" fmla="*/ 212975 h 347919"/>
                    <a:gd name="connsiteX401" fmla="*/ 358793 w 376800"/>
                    <a:gd name="connsiteY401" fmla="*/ 211457 h 347919"/>
                    <a:gd name="connsiteX402" fmla="*/ 358696 w 376800"/>
                    <a:gd name="connsiteY402" fmla="*/ 209733 h 347919"/>
                    <a:gd name="connsiteX403" fmla="*/ 358465 w 376800"/>
                    <a:gd name="connsiteY403" fmla="*/ 205519 h 347919"/>
                    <a:gd name="connsiteX404" fmla="*/ 358344 w 376800"/>
                    <a:gd name="connsiteY404" fmla="*/ 203236 h 347919"/>
                    <a:gd name="connsiteX405" fmla="*/ 356753 w 376800"/>
                    <a:gd name="connsiteY405" fmla="*/ 201597 h 347919"/>
                    <a:gd name="connsiteX406" fmla="*/ 354385 w 376800"/>
                    <a:gd name="connsiteY406" fmla="*/ 199181 h 347919"/>
                    <a:gd name="connsiteX407" fmla="*/ 353317 w 376800"/>
                    <a:gd name="connsiteY407" fmla="*/ 198076 h 347919"/>
                    <a:gd name="connsiteX408" fmla="*/ 351847 w 376800"/>
                    <a:gd name="connsiteY408" fmla="*/ 197614 h 347919"/>
                    <a:gd name="connsiteX409" fmla="*/ 346492 w 376800"/>
                    <a:gd name="connsiteY409" fmla="*/ 195951 h 347919"/>
                    <a:gd name="connsiteX410" fmla="*/ 345254 w 376800"/>
                    <a:gd name="connsiteY410" fmla="*/ 186856 h 347919"/>
                    <a:gd name="connsiteX411" fmla="*/ 345666 w 376800"/>
                    <a:gd name="connsiteY411" fmla="*/ 186382 h 347919"/>
                    <a:gd name="connsiteX412" fmla="*/ 345994 w 376800"/>
                    <a:gd name="connsiteY412" fmla="*/ 186006 h 347919"/>
                    <a:gd name="connsiteX413" fmla="*/ 346249 w 376800"/>
                    <a:gd name="connsiteY413" fmla="*/ 185581 h 347919"/>
                    <a:gd name="connsiteX414" fmla="*/ 347160 w 376800"/>
                    <a:gd name="connsiteY414" fmla="*/ 184099 h 347919"/>
                    <a:gd name="connsiteX415" fmla="*/ 348860 w 376800"/>
                    <a:gd name="connsiteY415" fmla="*/ 181330 h 347919"/>
                    <a:gd name="connsiteX416" fmla="*/ 347525 w 376800"/>
                    <a:gd name="connsiteY416" fmla="*/ 178380 h 347919"/>
                    <a:gd name="connsiteX417" fmla="*/ 346820 w 376800"/>
                    <a:gd name="connsiteY417" fmla="*/ 176850 h 347919"/>
                    <a:gd name="connsiteX418" fmla="*/ 345970 w 376800"/>
                    <a:gd name="connsiteY418" fmla="*/ 174992 h 347919"/>
                    <a:gd name="connsiteX419" fmla="*/ 344173 w 376800"/>
                    <a:gd name="connsiteY419" fmla="*/ 174021 h 347919"/>
                    <a:gd name="connsiteX420" fmla="*/ 342679 w 376800"/>
                    <a:gd name="connsiteY420" fmla="*/ 173219 h 347919"/>
                    <a:gd name="connsiteX421" fmla="*/ 341927 w 376800"/>
                    <a:gd name="connsiteY421" fmla="*/ 172818 h 347919"/>
                    <a:gd name="connsiteX422" fmla="*/ 341113 w 376800"/>
                    <a:gd name="connsiteY422" fmla="*/ 172636 h 347919"/>
                    <a:gd name="connsiteX423" fmla="*/ 340287 w 376800"/>
                    <a:gd name="connsiteY423" fmla="*/ 172454 h 347919"/>
                    <a:gd name="connsiteX424" fmla="*/ 338903 w 376800"/>
                    <a:gd name="connsiteY424" fmla="*/ 168848 h 347919"/>
                    <a:gd name="connsiteX425" fmla="*/ 338223 w 376800"/>
                    <a:gd name="connsiteY425" fmla="*/ 162157 h 347919"/>
                    <a:gd name="connsiteX426" fmla="*/ 338527 w 376800"/>
                    <a:gd name="connsiteY426" fmla="*/ 154980 h 347919"/>
                    <a:gd name="connsiteX427" fmla="*/ 339583 w 376800"/>
                    <a:gd name="connsiteY427" fmla="*/ 149625 h 347919"/>
                    <a:gd name="connsiteX428" fmla="*/ 341975 w 376800"/>
                    <a:gd name="connsiteY428" fmla="*/ 143372 h 347919"/>
                    <a:gd name="connsiteX429" fmla="*/ 342242 w 376800"/>
                    <a:gd name="connsiteY429" fmla="*/ 142667 h 347919"/>
                    <a:gd name="connsiteX430" fmla="*/ 342327 w 376800"/>
                    <a:gd name="connsiteY430" fmla="*/ 141914 h 347919"/>
                    <a:gd name="connsiteX431" fmla="*/ 342679 w 376800"/>
                    <a:gd name="connsiteY431" fmla="*/ 138927 h 347919"/>
                    <a:gd name="connsiteX432" fmla="*/ 342801 w 376800"/>
                    <a:gd name="connsiteY432" fmla="*/ 137932 h 347919"/>
                    <a:gd name="connsiteX433" fmla="*/ 342594 w 376800"/>
                    <a:gd name="connsiteY433" fmla="*/ 136960 h 347919"/>
                    <a:gd name="connsiteX434" fmla="*/ 341793 w 376800"/>
                    <a:gd name="connsiteY434" fmla="*/ 133111 h 347919"/>
                    <a:gd name="connsiteX435" fmla="*/ 341611 w 376800"/>
                    <a:gd name="connsiteY435" fmla="*/ 132225 h 347919"/>
                    <a:gd name="connsiteX436" fmla="*/ 341174 w 376800"/>
                    <a:gd name="connsiteY436" fmla="*/ 131435 h 347919"/>
                    <a:gd name="connsiteX437" fmla="*/ 338199 w 376800"/>
                    <a:gd name="connsiteY437" fmla="*/ 125995 h 347919"/>
                    <a:gd name="connsiteX438" fmla="*/ 339000 w 376800"/>
                    <a:gd name="connsiteY438" fmla="*/ 124769 h 347919"/>
                    <a:gd name="connsiteX439" fmla="*/ 341137 w 376800"/>
                    <a:gd name="connsiteY439" fmla="*/ 123057 h 347919"/>
                    <a:gd name="connsiteX440" fmla="*/ 341489 w 376800"/>
                    <a:gd name="connsiteY440" fmla="*/ 122777 h 347919"/>
                    <a:gd name="connsiteX441" fmla="*/ 341793 w 376800"/>
                    <a:gd name="connsiteY441" fmla="*/ 122437 h 347919"/>
                    <a:gd name="connsiteX442" fmla="*/ 347306 w 376800"/>
                    <a:gd name="connsiteY442" fmla="*/ 116426 h 347919"/>
                    <a:gd name="connsiteX443" fmla="*/ 347646 w 376800"/>
                    <a:gd name="connsiteY443" fmla="*/ 116050 h 347919"/>
                    <a:gd name="connsiteX444" fmla="*/ 347925 w 376800"/>
                    <a:gd name="connsiteY444" fmla="*/ 115625 h 347919"/>
                    <a:gd name="connsiteX445" fmla="*/ 349892 w 376800"/>
                    <a:gd name="connsiteY445" fmla="*/ 112589 h 347919"/>
                    <a:gd name="connsiteX446" fmla="*/ 350147 w 376800"/>
                    <a:gd name="connsiteY446" fmla="*/ 112201 h 347919"/>
                    <a:gd name="connsiteX447" fmla="*/ 350342 w 376800"/>
                    <a:gd name="connsiteY447" fmla="*/ 111776 h 347919"/>
                    <a:gd name="connsiteX448" fmla="*/ 351361 w 376800"/>
                    <a:gd name="connsiteY448" fmla="*/ 109505 h 347919"/>
                    <a:gd name="connsiteX449" fmla="*/ 351665 w 376800"/>
                    <a:gd name="connsiteY449" fmla="*/ 108825 h 347919"/>
                    <a:gd name="connsiteX450" fmla="*/ 351799 w 376800"/>
                    <a:gd name="connsiteY450" fmla="*/ 108097 h 347919"/>
                    <a:gd name="connsiteX451" fmla="*/ 352054 w 376800"/>
                    <a:gd name="connsiteY451" fmla="*/ 106724 h 347919"/>
                    <a:gd name="connsiteX452" fmla="*/ 352175 w 376800"/>
                    <a:gd name="connsiteY452" fmla="*/ 106044 h 347919"/>
                    <a:gd name="connsiteX453" fmla="*/ 352139 w 376800"/>
                    <a:gd name="connsiteY453" fmla="*/ 105352 h 347919"/>
                    <a:gd name="connsiteX454" fmla="*/ 352102 w 376800"/>
                    <a:gd name="connsiteY454" fmla="*/ 104539 h 347919"/>
                    <a:gd name="connsiteX455" fmla="*/ 352503 w 376800"/>
                    <a:gd name="connsiteY455" fmla="*/ 100483 h 347919"/>
                    <a:gd name="connsiteX456" fmla="*/ 352734 w 376800"/>
                    <a:gd name="connsiteY456" fmla="*/ 100252 h 347919"/>
                    <a:gd name="connsiteX457" fmla="*/ 352831 w 376800"/>
                    <a:gd name="connsiteY457" fmla="*/ 100204 h 347919"/>
                    <a:gd name="connsiteX458" fmla="*/ 356267 w 376800"/>
                    <a:gd name="connsiteY458" fmla="*/ 99414 h 347919"/>
                    <a:gd name="connsiteX459" fmla="*/ 356887 w 376800"/>
                    <a:gd name="connsiteY459" fmla="*/ 99281 h 347919"/>
                    <a:gd name="connsiteX460" fmla="*/ 357445 w 376800"/>
                    <a:gd name="connsiteY460" fmla="*/ 99026 h 347919"/>
                    <a:gd name="connsiteX461" fmla="*/ 359279 w 376800"/>
                    <a:gd name="connsiteY461" fmla="*/ 98188 h 347919"/>
                    <a:gd name="connsiteX462" fmla="*/ 360311 w 376800"/>
                    <a:gd name="connsiteY462" fmla="*/ 97714 h 347919"/>
                    <a:gd name="connsiteX463" fmla="*/ 361088 w 376800"/>
                    <a:gd name="connsiteY463" fmla="*/ 96913 h 347919"/>
                    <a:gd name="connsiteX464" fmla="*/ 362642 w 376800"/>
                    <a:gd name="connsiteY464" fmla="*/ 95322 h 347919"/>
                    <a:gd name="connsiteX465" fmla="*/ 363007 w 376800"/>
                    <a:gd name="connsiteY465" fmla="*/ 94946 h 347919"/>
                    <a:gd name="connsiteX466" fmla="*/ 363298 w 376800"/>
                    <a:gd name="connsiteY466" fmla="*/ 94521 h 347919"/>
                    <a:gd name="connsiteX467" fmla="*/ 364245 w 376800"/>
                    <a:gd name="connsiteY467" fmla="*/ 93136 h 347919"/>
                    <a:gd name="connsiteX468" fmla="*/ 365739 w 376800"/>
                    <a:gd name="connsiteY468" fmla="*/ 95225 h 347919"/>
                    <a:gd name="connsiteX469" fmla="*/ 368459 w 376800"/>
                    <a:gd name="connsiteY469" fmla="*/ 95504 h 347919"/>
                    <a:gd name="connsiteX470" fmla="*/ 376801 w 376800"/>
                    <a:gd name="connsiteY470" fmla="*/ 96378 h 347919"/>
                    <a:gd name="connsiteX471" fmla="*/ 375307 w 376800"/>
                    <a:gd name="connsiteY471" fmla="*/ 88218 h 347919"/>
                    <a:gd name="connsiteX472" fmla="*/ 369624 w 376800"/>
                    <a:gd name="connsiteY472" fmla="*/ 61929 h 347919"/>
                    <a:gd name="connsiteX473" fmla="*/ 369394 w 376800"/>
                    <a:gd name="connsiteY473" fmla="*/ 60873 h 347919"/>
                    <a:gd name="connsiteX474" fmla="*/ 368811 w 376800"/>
                    <a:gd name="connsiteY474" fmla="*/ 59950 h 347919"/>
                    <a:gd name="connsiteX475" fmla="*/ 368155 w 376800"/>
                    <a:gd name="connsiteY475" fmla="*/ 58978 h 347919"/>
                    <a:gd name="connsiteX476" fmla="*/ 368143 w 376800"/>
                    <a:gd name="connsiteY476" fmla="*/ 58966 h 347919"/>
                    <a:gd name="connsiteX477" fmla="*/ 367694 w 376800"/>
                    <a:gd name="connsiteY477" fmla="*/ 58322 h 347919"/>
                    <a:gd name="connsiteX478" fmla="*/ 362133 w 376800"/>
                    <a:gd name="connsiteY478" fmla="*/ 49252 h 347919"/>
                    <a:gd name="connsiteX479" fmla="*/ 362472 w 376800"/>
                    <a:gd name="connsiteY479" fmla="*/ 44395 h 347919"/>
                    <a:gd name="connsiteX480" fmla="*/ 358502 w 376800"/>
                    <a:gd name="connsiteY480" fmla="*/ 33988 h 347919"/>
                    <a:gd name="connsiteX481" fmla="*/ 356741 w 376800"/>
                    <a:gd name="connsiteY481" fmla="*/ 30552 h 347919"/>
                    <a:gd name="connsiteX482" fmla="*/ 353219 w 376800"/>
                    <a:gd name="connsiteY482" fmla="*/ 25282 h 347919"/>
                    <a:gd name="connsiteX483" fmla="*/ 337871 w 376800"/>
                    <a:gd name="connsiteY483" fmla="*/ 984 h 347919"/>
                    <a:gd name="connsiteX484" fmla="*/ 330816 w 376800"/>
                    <a:gd name="connsiteY484" fmla="*/ 0 h 347919"/>
                    <a:gd name="connsiteX485" fmla="*/ 330816 w 376800"/>
                    <a:gd name="connsiteY485" fmla="*/ 0 h 347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376800" h="347919">
                      <a:moveTo>
                        <a:pt x="330816" y="6071"/>
                      </a:moveTo>
                      <a:cubicBezTo>
                        <a:pt x="332576" y="6071"/>
                        <a:pt x="334398" y="6314"/>
                        <a:pt x="336304" y="6873"/>
                      </a:cubicBezTo>
                      <a:cubicBezTo>
                        <a:pt x="346917" y="9969"/>
                        <a:pt x="347439" y="19004"/>
                        <a:pt x="347233" y="27528"/>
                      </a:cubicBezTo>
                      <a:cubicBezTo>
                        <a:pt x="345679" y="25707"/>
                        <a:pt x="344209" y="23885"/>
                        <a:pt x="343760" y="22246"/>
                      </a:cubicBezTo>
                      <a:cubicBezTo>
                        <a:pt x="343639" y="21821"/>
                        <a:pt x="343578" y="21639"/>
                        <a:pt x="343566" y="21639"/>
                      </a:cubicBezTo>
                      <a:cubicBezTo>
                        <a:pt x="343481" y="21639"/>
                        <a:pt x="346152" y="32494"/>
                        <a:pt x="346905" y="32494"/>
                      </a:cubicBezTo>
                      <a:cubicBezTo>
                        <a:pt x="347026" y="32494"/>
                        <a:pt x="347099" y="32252"/>
                        <a:pt x="347112" y="31681"/>
                      </a:cubicBezTo>
                      <a:cubicBezTo>
                        <a:pt x="347148" y="30333"/>
                        <a:pt x="347197" y="28937"/>
                        <a:pt x="347233" y="27528"/>
                      </a:cubicBezTo>
                      <a:cubicBezTo>
                        <a:pt x="348848" y="29434"/>
                        <a:pt x="350560" y="31329"/>
                        <a:pt x="351301" y="33041"/>
                      </a:cubicBezTo>
                      <a:cubicBezTo>
                        <a:pt x="353049" y="37036"/>
                        <a:pt x="356024" y="40922"/>
                        <a:pt x="356571" y="45208"/>
                      </a:cubicBezTo>
                      <a:cubicBezTo>
                        <a:pt x="356777" y="46811"/>
                        <a:pt x="356644" y="47248"/>
                        <a:pt x="356413" y="47248"/>
                      </a:cubicBezTo>
                      <a:cubicBezTo>
                        <a:pt x="356134" y="47248"/>
                        <a:pt x="355709" y="46641"/>
                        <a:pt x="355502" y="46641"/>
                      </a:cubicBezTo>
                      <a:cubicBezTo>
                        <a:pt x="355320" y="46641"/>
                        <a:pt x="355296" y="47102"/>
                        <a:pt x="355672" y="48790"/>
                      </a:cubicBezTo>
                      <a:cubicBezTo>
                        <a:pt x="356486" y="52615"/>
                        <a:pt x="360274" y="58104"/>
                        <a:pt x="362946" y="62002"/>
                      </a:cubicBezTo>
                      <a:cubicBezTo>
                        <a:pt x="363237" y="62439"/>
                        <a:pt x="363565" y="62876"/>
                        <a:pt x="363808" y="63265"/>
                      </a:cubicBezTo>
                      <a:lnTo>
                        <a:pt x="369491" y="89554"/>
                      </a:lnTo>
                      <a:lnTo>
                        <a:pt x="369212" y="89530"/>
                      </a:lnTo>
                      <a:lnTo>
                        <a:pt x="366213" y="85365"/>
                      </a:lnTo>
                      <a:lnTo>
                        <a:pt x="362788" y="85923"/>
                      </a:lnTo>
                      <a:lnTo>
                        <a:pt x="361064" y="87296"/>
                      </a:lnTo>
                      <a:lnTo>
                        <a:pt x="358417" y="91133"/>
                      </a:lnTo>
                      <a:lnTo>
                        <a:pt x="356862" y="92723"/>
                      </a:lnTo>
                      <a:lnTo>
                        <a:pt x="355029" y="93561"/>
                      </a:lnTo>
                      <a:lnTo>
                        <a:pt x="350888" y="94509"/>
                      </a:lnTo>
                      <a:lnTo>
                        <a:pt x="349224" y="95334"/>
                      </a:lnTo>
                      <a:lnTo>
                        <a:pt x="347391" y="97204"/>
                      </a:lnTo>
                      <a:lnTo>
                        <a:pt x="346699" y="98698"/>
                      </a:lnTo>
                      <a:lnTo>
                        <a:pt x="346128" y="104441"/>
                      </a:lnTo>
                      <a:lnTo>
                        <a:pt x="346189" y="105704"/>
                      </a:lnTo>
                      <a:lnTo>
                        <a:pt x="345934" y="107077"/>
                      </a:lnTo>
                      <a:lnTo>
                        <a:pt x="344914" y="109347"/>
                      </a:lnTo>
                      <a:lnTo>
                        <a:pt x="342946" y="112383"/>
                      </a:lnTo>
                      <a:lnTo>
                        <a:pt x="337433" y="118394"/>
                      </a:lnTo>
                      <a:lnTo>
                        <a:pt x="334580" y="120689"/>
                      </a:lnTo>
                      <a:lnTo>
                        <a:pt x="332006" y="124562"/>
                      </a:lnTo>
                      <a:lnTo>
                        <a:pt x="332321" y="127780"/>
                      </a:lnTo>
                      <a:lnTo>
                        <a:pt x="335952" y="134410"/>
                      </a:lnTo>
                      <a:lnTo>
                        <a:pt x="336753" y="138260"/>
                      </a:lnTo>
                      <a:lnTo>
                        <a:pt x="336401" y="141247"/>
                      </a:lnTo>
                      <a:lnTo>
                        <a:pt x="333815" y="147986"/>
                      </a:lnTo>
                      <a:lnTo>
                        <a:pt x="332564" y="154313"/>
                      </a:lnTo>
                      <a:lnTo>
                        <a:pt x="332224" y="162375"/>
                      </a:lnTo>
                      <a:lnTo>
                        <a:pt x="333014" y="170317"/>
                      </a:lnTo>
                      <a:lnTo>
                        <a:pt x="335357" y="176413"/>
                      </a:lnTo>
                      <a:lnTo>
                        <a:pt x="336802" y="177736"/>
                      </a:lnTo>
                      <a:lnTo>
                        <a:pt x="338344" y="178283"/>
                      </a:lnTo>
                      <a:lnTo>
                        <a:pt x="339887" y="178623"/>
                      </a:lnTo>
                      <a:lnTo>
                        <a:pt x="341380" y="179424"/>
                      </a:lnTo>
                      <a:lnTo>
                        <a:pt x="342085" y="180954"/>
                      </a:lnTo>
                      <a:lnTo>
                        <a:pt x="341174" y="182436"/>
                      </a:lnTo>
                      <a:lnTo>
                        <a:pt x="339801" y="184014"/>
                      </a:lnTo>
                      <a:lnTo>
                        <a:pt x="339049" y="185714"/>
                      </a:lnTo>
                      <a:lnTo>
                        <a:pt x="340870" y="199205"/>
                      </a:lnTo>
                      <a:lnTo>
                        <a:pt x="343396" y="201366"/>
                      </a:lnTo>
                      <a:lnTo>
                        <a:pt x="350123" y="203455"/>
                      </a:lnTo>
                      <a:lnTo>
                        <a:pt x="352479" y="205871"/>
                      </a:lnTo>
                      <a:lnTo>
                        <a:pt x="352710" y="210085"/>
                      </a:lnTo>
                      <a:lnTo>
                        <a:pt x="350512" y="214104"/>
                      </a:lnTo>
                      <a:lnTo>
                        <a:pt x="344683" y="221086"/>
                      </a:lnTo>
                      <a:lnTo>
                        <a:pt x="336693" y="229356"/>
                      </a:lnTo>
                      <a:lnTo>
                        <a:pt x="333657" y="231396"/>
                      </a:lnTo>
                      <a:lnTo>
                        <a:pt x="326590" y="233861"/>
                      </a:lnTo>
                      <a:lnTo>
                        <a:pt x="324465" y="235755"/>
                      </a:lnTo>
                      <a:lnTo>
                        <a:pt x="323239" y="240066"/>
                      </a:lnTo>
                      <a:lnTo>
                        <a:pt x="323081" y="243976"/>
                      </a:lnTo>
                      <a:lnTo>
                        <a:pt x="326869" y="264668"/>
                      </a:lnTo>
                      <a:lnTo>
                        <a:pt x="327209" y="269209"/>
                      </a:lnTo>
                      <a:lnTo>
                        <a:pt x="326007" y="272791"/>
                      </a:lnTo>
                      <a:lnTo>
                        <a:pt x="324331" y="273908"/>
                      </a:lnTo>
                      <a:lnTo>
                        <a:pt x="320312" y="274430"/>
                      </a:lnTo>
                      <a:lnTo>
                        <a:pt x="318539" y="275110"/>
                      </a:lnTo>
                      <a:lnTo>
                        <a:pt x="317094" y="276640"/>
                      </a:lnTo>
                      <a:lnTo>
                        <a:pt x="300276" y="300671"/>
                      </a:lnTo>
                      <a:lnTo>
                        <a:pt x="299584" y="301327"/>
                      </a:lnTo>
                      <a:lnTo>
                        <a:pt x="297641" y="302396"/>
                      </a:lnTo>
                      <a:lnTo>
                        <a:pt x="296840" y="303051"/>
                      </a:lnTo>
                      <a:lnTo>
                        <a:pt x="296779" y="304120"/>
                      </a:lnTo>
                      <a:lnTo>
                        <a:pt x="298273" y="305978"/>
                      </a:lnTo>
                      <a:lnTo>
                        <a:pt x="298151" y="306852"/>
                      </a:lnTo>
                      <a:lnTo>
                        <a:pt x="296366" y="307739"/>
                      </a:lnTo>
                      <a:lnTo>
                        <a:pt x="292638" y="307787"/>
                      </a:lnTo>
                      <a:lnTo>
                        <a:pt x="291035" y="308455"/>
                      </a:lnTo>
                      <a:lnTo>
                        <a:pt x="288315" y="311758"/>
                      </a:lnTo>
                      <a:lnTo>
                        <a:pt x="286640" y="314393"/>
                      </a:lnTo>
                      <a:lnTo>
                        <a:pt x="276403" y="305031"/>
                      </a:lnTo>
                      <a:cubicBezTo>
                        <a:pt x="272906" y="304108"/>
                        <a:pt x="270963" y="302092"/>
                        <a:pt x="268267" y="299979"/>
                      </a:cubicBezTo>
                      <a:cubicBezTo>
                        <a:pt x="266980" y="298631"/>
                        <a:pt x="263520" y="297089"/>
                        <a:pt x="263678" y="295207"/>
                      </a:cubicBezTo>
                      <a:cubicBezTo>
                        <a:pt x="263228" y="292038"/>
                        <a:pt x="264175" y="288953"/>
                        <a:pt x="264369" y="286452"/>
                      </a:cubicBezTo>
                      <a:cubicBezTo>
                        <a:pt x="264515" y="284570"/>
                        <a:pt x="264661" y="282700"/>
                        <a:pt x="264819" y="280818"/>
                      </a:cubicBezTo>
                      <a:cubicBezTo>
                        <a:pt x="265718" y="278377"/>
                        <a:pt x="267927" y="277308"/>
                        <a:pt x="268122" y="274795"/>
                      </a:cubicBezTo>
                      <a:cubicBezTo>
                        <a:pt x="268389" y="271662"/>
                        <a:pt x="269287" y="269221"/>
                        <a:pt x="270234" y="266161"/>
                      </a:cubicBezTo>
                      <a:cubicBezTo>
                        <a:pt x="271194" y="263077"/>
                        <a:pt x="270575" y="261777"/>
                        <a:pt x="267940" y="259045"/>
                      </a:cubicBezTo>
                      <a:cubicBezTo>
                        <a:pt x="265997" y="257005"/>
                        <a:pt x="264710" y="255026"/>
                        <a:pt x="261880" y="254795"/>
                      </a:cubicBezTo>
                      <a:cubicBezTo>
                        <a:pt x="261164" y="254747"/>
                        <a:pt x="260472" y="254710"/>
                        <a:pt x="259804" y="254710"/>
                      </a:cubicBezTo>
                      <a:cubicBezTo>
                        <a:pt x="257181" y="254710"/>
                        <a:pt x="254886" y="255135"/>
                        <a:pt x="252542" y="255949"/>
                      </a:cubicBezTo>
                      <a:cubicBezTo>
                        <a:pt x="249592" y="257600"/>
                        <a:pt x="247321" y="258693"/>
                        <a:pt x="246410" y="261753"/>
                      </a:cubicBezTo>
                      <a:cubicBezTo>
                        <a:pt x="245487" y="264194"/>
                        <a:pt x="243884" y="265967"/>
                        <a:pt x="242330" y="268359"/>
                      </a:cubicBezTo>
                      <a:cubicBezTo>
                        <a:pt x="240655" y="271370"/>
                        <a:pt x="239731" y="273823"/>
                        <a:pt x="238129" y="276215"/>
                      </a:cubicBezTo>
                      <a:cubicBezTo>
                        <a:pt x="237254" y="278656"/>
                        <a:pt x="235627" y="281036"/>
                        <a:pt x="235409" y="283550"/>
                      </a:cubicBezTo>
                      <a:cubicBezTo>
                        <a:pt x="234522" y="286003"/>
                        <a:pt x="234328" y="288504"/>
                        <a:pt x="231353" y="290156"/>
                      </a:cubicBezTo>
                      <a:cubicBezTo>
                        <a:pt x="229119" y="291224"/>
                        <a:pt x="226241" y="291637"/>
                        <a:pt x="223958" y="293361"/>
                      </a:cubicBezTo>
                      <a:cubicBezTo>
                        <a:pt x="222537" y="293871"/>
                        <a:pt x="221699" y="295061"/>
                        <a:pt x="220169" y="296203"/>
                      </a:cubicBezTo>
                      <a:cubicBezTo>
                        <a:pt x="220133" y="296203"/>
                        <a:pt x="220084" y="296203"/>
                        <a:pt x="220036" y="296203"/>
                      </a:cubicBezTo>
                      <a:cubicBezTo>
                        <a:pt x="219356" y="296203"/>
                        <a:pt x="218142" y="296616"/>
                        <a:pt x="217425" y="296616"/>
                      </a:cubicBezTo>
                      <a:cubicBezTo>
                        <a:pt x="217389" y="296616"/>
                        <a:pt x="217340" y="296616"/>
                        <a:pt x="217304" y="296616"/>
                      </a:cubicBezTo>
                      <a:cubicBezTo>
                        <a:pt x="215106" y="297077"/>
                        <a:pt x="212932" y="298158"/>
                        <a:pt x="210759" y="298619"/>
                      </a:cubicBezTo>
                      <a:cubicBezTo>
                        <a:pt x="210236" y="298692"/>
                        <a:pt x="209702" y="298716"/>
                        <a:pt x="209155" y="298716"/>
                      </a:cubicBezTo>
                      <a:cubicBezTo>
                        <a:pt x="206654" y="298716"/>
                        <a:pt x="203995" y="298085"/>
                        <a:pt x="202258" y="297951"/>
                      </a:cubicBezTo>
                      <a:cubicBezTo>
                        <a:pt x="196576" y="297502"/>
                        <a:pt x="190917" y="297684"/>
                        <a:pt x="186157" y="294794"/>
                      </a:cubicBezTo>
                      <a:cubicBezTo>
                        <a:pt x="185477" y="294102"/>
                        <a:pt x="184833" y="293434"/>
                        <a:pt x="183473" y="292681"/>
                      </a:cubicBezTo>
                      <a:cubicBezTo>
                        <a:pt x="182065" y="292584"/>
                        <a:pt x="180644" y="292463"/>
                        <a:pt x="179260" y="291722"/>
                      </a:cubicBezTo>
                      <a:cubicBezTo>
                        <a:pt x="177135" y="291564"/>
                        <a:pt x="176491" y="290884"/>
                        <a:pt x="175155" y="290156"/>
                      </a:cubicBezTo>
                      <a:cubicBezTo>
                        <a:pt x="174500" y="288844"/>
                        <a:pt x="173893" y="287533"/>
                        <a:pt x="172484" y="287411"/>
                      </a:cubicBezTo>
                      <a:cubicBezTo>
                        <a:pt x="169752" y="285930"/>
                        <a:pt x="164761" y="286160"/>
                        <a:pt x="161907" y="285930"/>
                      </a:cubicBezTo>
                      <a:cubicBezTo>
                        <a:pt x="157694" y="285602"/>
                        <a:pt x="154160" y="285323"/>
                        <a:pt x="150627" y="285056"/>
                      </a:cubicBezTo>
                      <a:cubicBezTo>
                        <a:pt x="149218" y="284934"/>
                        <a:pt x="147081" y="284776"/>
                        <a:pt x="145684" y="284667"/>
                      </a:cubicBezTo>
                      <a:cubicBezTo>
                        <a:pt x="143535" y="284497"/>
                        <a:pt x="142891" y="283841"/>
                        <a:pt x="141520" y="283076"/>
                      </a:cubicBezTo>
                      <a:cubicBezTo>
                        <a:pt x="139455" y="282299"/>
                        <a:pt x="135861" y="282639"/>
                        <a:pt x="133736" y="282469"/>
                      </a:cubicBezTo>
                      <a:cubicBezTo>
                        <a:pt x="130870" y="282882"/>
                        <a:pt x="128624" y="283963"/>
                        <a:pt x="126462" y="284424"/>
                      </a:cubicBezTo>
                      <a:cubicBezTo>
                        <a:pt x="125066" y="284315"/>
                        <a:pt x="122929" y="284145"/>
                        <a:pt x="120816" y="283975"/>
                      </a:cubicBezTo>
                      <a:cubicBezTo>
                        <a:pt x="120354" y="283938"/>
                        <a:pt x="119808" y="283902"/>
                        <a:pt x="119237" y="283902"/>
                      </a:cubicBezTo>
                      <a:cubicBezTo>
                        <a:pt x="118072" y="283902"/>
                        <a:pt x="116784" y="284084"/>
                        <a:pt x="115776" y="284849"/>
                      </a:cubicBezTo>
                      <a:cubicBezTo>
                        <a:pt x="115024" y="285408"/>
                        <a:pt x="114186" y="286610"/>
                        <a:pt x="113469" y="287168"/>
                      </a:cubicBezTo>
                      <a:cubicBezTo>
                        <a:pt x="111891" y="288941"/>
                        <a:pt x="109693" y="290022"/>
                        <a:pt x="108114" y="291783"/>
                      </a:cubicBezTo>
                      <a:cubicBezTo>
                        <a:pt x="105103" y="294065"/>
                        <a:pt x="104835" y="297186"/>
                        <a:pt x="103889" y="300258"/>
                      </a:cubicBezTo>
                      <a:cubicBezTo>
                        <a:pt x="102917" y="303331"/>
                        <a:pt x="103403" y="306524"/>
                        <a:pt x="102468" y="308965"/>
                      </a:cubicBezTo>
                      <a:cubicBezTo>
                        <a:pt x="101691" y="310155"/>
                        <a:pt x="100865" y="311357"/>
                        <a:pt x="100841" y="311976"/>
                      </a:cubicBezTo>
                      <a:cubicBezTo>
                        <a:pt x="100027" y="313179"/>
                        <a:pt x="99906" y="314429"/>
                        <a:pt x="99833" y="315680"/>
                      </a:cubicBezTo>
                      <a:cubicBezTo>
                        <a:pt x="98922" y="318121"/>
                        <a:pt x="96664" y="319833"/>
                        <a:pt x="94441" y="320913"/>
                      </a:cubicBezTo>
                      <a:cubicBezTo>
                        <a:pt x="92170" y="322638"/>
                        <a:pt x="91235" y="325079"/>
                        <a:pt x="89681" y="326839"/>
                      </a:cubicBezTo>
                      <a:cubicBezTo>
                        <a:pt x="87374" y="329171"/>
                        <a:pt x="85832" y="330932"/>
                        <a:pt x="84132" y="333955"/>
                      </a:cubicBezTo>
                      <a:cubicBezTo>
                        <a:pt x="83306" y="335764"/>
                        <a:pt x="83755" y="338958"/>
                        <a:pt x="80841" y="339978"/>
                      </a:cubicBezTo>
                      <a:cubicBezTo>
                        <a:pt x="79445" y="341035"/>
                        <a:pt x="75656" y="341884"/>
                        <a:pt x="73422" y="341884"/>
                      </a:cubicBezTo>
                      <a:cubicBezTo>
                        <a:pt x="73216" y="341884"/>
                        <a:pt x="73045" y="341884"/>
                        <a:pt x="72875" y="341872"/>
                      </a:cubicBezTo>
                      <a:cubicBezTo>
                        <a:pt x="70726" y="341702"/>
                        <a:pt x="68711" y="340294"/>
                        <a:pt x="67338" y="339541"/>
                      </a:cubicBezTo>
                      <a:cubicBezTo>
                        <a:pt x="65347" y="338120"/>
                        <a:pt x="63951" y="337404"/>
                        <a:pt x="61838" y="337234"/>
                      </a:cubicBezTo>
                      <a:cubicBezTo>
                        <a:pt x="60429" y="337124"/>
                        <a:pt x="58996" y="337003"/>
                        <a:pt x="57587" y="336894"/>
                      </a:cubicBezTo>
                      <a:cubicBezTo>
                        <a:pt x="56823" y="336833"/>
                        <a:pt x="55985" y="336821"/>
                        <a:pt x="55122" y="336821"/>
                      </a:cubicBezTo>
                      <a:cubicBezTo>
                        <a:pt x="53859" y="336821"/>
                        <a:pt x="52512" y="336857"/>
                        <a:pt x="51139" y="336857"/>
                      </a:cubicBezTo>
                      <a:cubicBezTo>
                        <a:pt x="49986" y="336857"/>
                        <a:pt x="48820" y="336833"/>
                        <a:pt x="47655" y="336736"/>
                      </a:cubicBezTo>
                      <a:lnTo>
                        <a:pt x="34067" y="337161"/>
                      </a:lnTo>
                      <a:cubicBezTo>
                        <a:pt x="34067" y="337076"/>
                        <a:pt x="34176" y="336979"/>
                        <a:pt x="34164" y="336894"/>
                      </a:cubicBezTo>
                      <a:cubicBezTo>
                        <a:pt x="34006" y="334222"/>
                        <a:pt x="26878" y="330761"/>
                        <a:pt x="25069" y="328527"/>
                      </a:cubicBezTo>
                      <a:cubicBezTo>
                        <a:pt x="22276" y="325212"/>
                        <a:pt x="23138" y="321096"/>
                        <a:pt x="21013" y="317647"/>
                      </a:cubicBezTo>
                      <a:cubicBezTo>
                        <a:pt x="18742" y="313919"/>
                        <a:pt x="14504" y="312996"/>
                        <a:pt x="11566" y="309839"/>
                      </a:cubicBezTo>
                      <a:cubicBezTo>
                        <a:pt x="8676" y="306731"/>
                        <a:pt x="8348" y="302687"/>
                        <a:pt x="7291" y="298935"/>
                      </a:cubicBezTo>
                      <a:cubicBezTo>
                        <a:pt x="5276" y="291953"/>
                        <a:pt x="5725" y="292463"/>
                        <a:pt x="8372" y="289160"/>
                      </a:cubicBezTo>
                      <a:cubicBezTo>
                        <a:pt x="8919" y="288456"/>
                        <a:pt x="9417" y="288164"/>
                        <a:pt x="9890" y="288164"/>
                      </a:cubicBezTo>
                      <a:cubicBezTo>
                        <a:pt x="12246" y="288164"/>
                        <a:pt x="13836" y="295559"/>
                        <a:pt x="17212" y="295559"/>
                      </a:cubicBezTo>
                      <a:cubicBezTo>
                        <a:pt x="17540" y="295559"/>
                        <a:pt x="17892" y="295486"/>
                        <a:pt x="18257" y="295328"/>
                      </a:cubicBezTo>
                      <a:cubicBezTo>
                        <a:pt x="20491" y="294381"/>
                        <a:pt x="27048" y="292220"/>
                        <a:pt x="28396" y="291078"/>
                      </a:cubicBezTo>
                      <a:cubicBezTo>
                        <a:pt x="30849" y="288953"/>
                        <a:pt x="30812" y="285760"/>
                        <a:pt x="32597" y="283307"/>
                      </a:cubicBezTo>
                      <a:cubicBezTo>
                        <a:pt x="36204" y="278450"/>
                        <a:pt x="39798" y="276446"/>
                        <a:pt x="41389" y="270472"/>
                      </a:cubicBezTo>
                      <a:cubicBezTo>
                        <a:pt x="43162" y="263951"/>
                        <a:pt x="44012" y="262154"/>
                        <a:pt x="49743" y="257042"/>
                      </a:cubicBezTo>
                      <a:cubicBezTo>
                        <a:pt x="54406" y="252865"/>
                        <a:pt x="54115" y="248627"/>
                        <a:pt x="55960" y="243551"/>
                      </a:cubicBezTo>
                      <a:cubicBezTo>
                        <a:pt x="58887" y="235549"/>
                        <a:pt x="67642" y="222847"/>
                        <a:pt x="78060" y="222592"/>
                      </a:cubicBezTo>
                      <a:cubicBezTo>
                        <a:pt x="78145" y="222592"/>
                        <a:pt x="78231" y="222592"/>
                        <a:pt x="78315" y="222592"/>
                      </a:cubicBezTo>
                      <a:cubicBezTo>
                        <a:pt x="84423" y="222592"/>
                        <a:pt x="88224" y="228057"/>
                        <a:pt x="93871" y="229514"/>
                      </a:cubicBezTo>
                      <a:cubicBezTo>
                        <a:pt x="95291" y="229878"/>
                        <a:pt x="97137" y="230036"/>
                        <a:pt x="99116" y="230036"/>
                      </a:cubicBezTo>
                      <a:cubicBezTo>
                        <a:pt x="103403" y="230036"/>
                        <a:pt x="108333" y="229283"/>
                        <a:pt x="111041" y="228239"/>
                      </a:cubicBezTo>
                      <a:cubicBezTo>
                        <a:pt x="120269" y="224644"/>
                        <a:pt x="119723" y="224790"/>
                        <a:pt x="120318" y="217116"/>
                      </a:cubicBezTo>
                      <a:cubicBezTo>
                        <a:pt x="121338" y="204633"/>
                        <a:pt x="122455" y="182035"/>
                        <a:pt x="128247" y="170378"/>
                      </a:cubicBezTo>
                      <a:cubicBezTo>
                        <a:pt x="131283" y="164258"/>
                        <a:pt x="133068" y="160287"/>
                        <a:pt x="138945" y="155782"/>
                      </a:cubicBezTo>
                      <a:cubicBezTo>
                        <a:pt x="147737" y="149018"/>
                        <a:pt x="147008" y="136997"/>
                        <a:pt x="150809" y="128096"/>
                      </a:cubicBezTo>
                      <a:cubicBezTo>
                        <a:pt x="152812" y="123397"/>
                        <a:pt x="152084" y="118515"/>
                        <a:pt x="155083" y="114144"/>
                      </a:cubicBezTo>
                      <a:cubicBezTo>
                        <a:pt x="157900" y="110100"/>
                        <a:pt x="160863" y="106809"/>
                        <a:pt x="165514" y="106809"/>
                      </a:cubicBezTo>
                      <a:cubicBezTo>
                        <a:pt x="166328" y="106809"/>
                        <a:pt x="167202" y="106919"/>
                        <a:pt x="168137" y="107125"/>
                      </a:cubicBezTo>
                      <a:cubicBezTo>
                        <a:pt x="170286" y="107611"/>
                        <a:pt x="172107" y="110294"/>
                        <a:pt x="174451" y="110586"/>
                      </a:cubicBezTo>
                      <a:cubicBezTo>
                        <a:pt x="175435" y="110707"/>
                        <a:pt x="176139" y="110768"/>
                        <a:pt x="176661" y="110768"/>
                      </a:cubicBezTo>
                      <a:cubicBezTo>
                        <a:pt x="178823" y="110768"/>
                        <a:pt x="177815" y="109687"/>
                        <a:pt x="180511" y="107283"/>
                      </a:cubicBezTo>
                      <a:cubicBezTo>
                        <a:pt x="184991" y="103300"/>
                        <a:pt x="188768" y="100823"/>
                        <a:pt x="191136" y="96160"/>
                      </a:cubicBezTo>
                      <a:cubicBezTo>
                        <a:pt x="193285" y="92043"/>
                        <a:pt x="192665" y="85001"/>
                        <a:pt x="195155" y="81358"/>
                      </a:cubicBezTo>
                      <a:cubicBezTo>
                        <a:pt x="197365" y="78116"/>
                        <a:pt x="204541" y="74643"/>
                        <a:pt x="208026" y="71692"/>
                      </a:cubicBezTo>
                      <a:cubicBezTo>
                        <a:pt x="212799" y="67648"/>
                        <a:pt x="216320" y="65851"/>
                        <a:pt x="221505" y="63204"/>
                      </a:cubicBezTo>
                      <a:cubicBezTo>
                        <a:pt x="227321" y="60290"/>
                        <a:pt x="231401" y="56198"/>
                        <a:pt x="237400" y="53271"/>
                      </a:cubicBezTo>
                      <a:cubicBezTo>
                        <a:pt x="242816" y="50624"/>
                        <a:pt x="247722" y="48584"/>
                        <a:pt x="253453" y="46471"/>
                      </a:cubicBezTo>
                      <a:cubicBezTo>
                        <a:pt x="261552" y="43460"/>
                        <a:pt x="269069" y="39367"/>
                        <a:pt x="275869" y="34450"/>
                      </a:cubicBezTo>
                      <a:cubicBezTo>
                        <a:pt x="281078" y="30673"/>
                        <a:pt x="285620" y="25002"/>
                        <a:pt x="291800" y="22404"/>
                      </a:cubicBezTo>
                      <a:cubicBezTo>
                        <a:pt x="296160" y="20582"/>
                        <a:pt x="301284" y="18615"/>
                        <a:pt x="305777" y="16636"/>
                      </a:cubicBezTo>
                      <a:cubicBezTo>
                        <a:pt x="314131" y="12969"/>
                        <a:pt x="321502" y="6071"/>
                        <a:pt x="330816" y="6071"/>
                      </a:cubicBezTo>
                      <a:moveTo>
                        <a:pt x="330816" y="0"/>
                      </a:moveTo>
                      <a:cubicBezTo>
                        <a:pt x="322838" y="0"/>
                        <a:pt x="316305" y="3837"/>
                        <a:pt x="310525" y="7213"/>
                      </a:cubicBezTo>
                      <a:cubicBezTo>
                        <a:pt x="308048" y="8670"/>
                        <a:pt x="305704" y="10042"/>
                        <a:pt x="303336" y="11086"/>
                      </a:cubicBezTo>
                      <a:cubicBezTo>
                        <a:pt x="300568" y="12313"/>
                        <a:pt x="297556" y="13527"/>
                        <a:pt x="294642" y="14693"/>
                      </a:cubicBezTo>
                      <a:cubicBezTo>
                        <a:pt x="292869" y="15422"/>
                        <a:pt x="291108" y="16114"/>
                        <a:pt x="289469" y="16806"/>
                      </a:cubicBezTo>
                      <a:cubicBezTo>
                        <a:pt x="284527" y="18882"/>
                        <a:pt x="280641" y="22355"/>
                        <a:pt x="277217" y="25415"/>
                      </a:cubicBezTo>
                      <a:cubicBezTo>
                        <a:pt x="275590" y="26872"/>
                        <a:pt x="273999" y="28317"/>
                        <a:pt x="272323" y="29532"/>
                      </a:cubicBezTo>
                      <a:cubicBezTo>
                        <a:pt x="265802" y="34243"/>
                        <a:pt x="258747" y="38032"/>
                        <a:pt x="251352" y="40776"/>
                      </a:cubicBezTo>
                      <a:cubicBezTo>
                        <a:pt x="245074" y="43083"/>
                        <a:pt x="240108" y="45184"/>
                        <a:pt x="234741" y="47819"/>
                      </a:cubicBezTo>
                      <a:cubicBezTo>
                        <a:pt x="231256" y="49531"/>
                        <a:pt x="228451" y="51486"/>
                        <a:pt x="225755" y="53380"/>
                      </a:cubicBezTo>
                      <a:cubicBezTo>
                        <a:pt x="223448" y="55007"/>
                        <a:pt x="221250" y="56550"/>
                        <a:pt x="218809" y="57776"/>
                      </a:cubicBezTo>
                      <a:cubicBezTo>
                        <a:pt x="213551" y="60448"/>
                        <a:pt x="209435" y="62548"/>
                        <a:pt x="204116" y="67053"/>
                      </a:cubicBezTo>
                      <a:cubicBezTo>
                        <a:pt x="203072" y="67940"/>
                        <a:pt x="201287" y="69081"/>
                        <a:pt x="199563" y="70198"/>
                      </a:cubicBezTo>
                      <a:cubicBezTo>
                        <a:pt x="195944" y="72518"/>
                        <a:pt x="192204" y="74934"/>
                        <a:pt x="190164" y="77933"/>
                      </a:cubicBezTo>
                      <a:cubicBezTo>
                        <a:pt x="188063" y="80993"/>
                        <a:pt x="187480" y="84794"/>
                        <a:pt x="186958" y="88146"/>
                      </a:cubicBezTo>
                      <a:cubicBezTo>
                        <a:pt x="186667" y="90101"/>
                        <a:pt x="186315" y="92311"/>
                        <a:pt x="185768" y="93343"/>
                      </a:cubicBezTo>
                      <a:cubicBezTo>
                        <a:pt x="184433" y="95978"/>
                        <a:pt x="182307" y="97775"/>
                        <a:pt x="179369" y="100264"/>
                      </a:cubicBezTo>
                      <a:cubicBezTo>
                        <a:pt x="178446" y="101041"/>
                        <a:pt x="177499" y="101855"/>
                        <a:pt x="176503" y="102741"/>
                      </a:cubicBezTo>
                      <a:cubicBezTo>
                        <a:pt x="175920" y="103251"/>
                        <a:pt x="175447" y="103737"/>
                        <a:pt x="175058" y="104186"/>
                      </a:cubicBezTo>
                      <a:cubicBezTo>
                        <a:pt x="174937" y="104101"/>
                        <a:pt x="174827" y="104016"/>
                        <a:pt x="174730" y="103931"/>
                      </a:cubicBezTo>
                      <a:cubicBezTo>
                        <a:pt x="173492" y="102996"/>
                        <a:pt x="171792" y="101697"/>
                        <a:pt x="169497" y="101187"/>
                      </a:cubicBezTo>
                      <a:cubicBezTo>
                        <a:pt x="168185" y="100884"/>
                        <a:pt x="166838" y="100726"/>
                        <a:pt x="165550" y="100726"/>
                      </a:cubicBezTo>
                      <a:cubicBezTo>
                        <a:pt x="157074" y="100726"/>
                        <a:pt x="152387" y="107417"/>
                        <a:pt x="150129" y="110634"/>
                      </a:cubicBezTo>
                      <a:cubicBezTo>
                        <a:pt x="147627" y="114301"/>
                        <a:pt x="146960" y="118029"/>
                        <a:pt x="146425" y="121017"/>
                      </a:cubicBezTo>
                      <a:cubicBezTo>
                        <a:pt x="146110" y="122802"/>
                        <a:pt x="145818" y="124344"/>
                        <a:pt x="145247" y="125679"/>
                      </a:cubicBezTo>
                      <a:cubicBezTo>
                        <a:pt x="143790" y="129092"/>
                        <a:pt x="142964" y="132686"/>
                        <a:pt x="142151" y="136159"/>
                      </a:cubicBezTo>
                      <a:cubicBezTo>
                        <a:pt x="140706" y="142364"/>
                        <a:pt x="139455" y="147719"/>
                        <a:pt x="135278" y="150937"/>
                      </a:cubicBezTo>
                      <a:cubicBezTo>
                        <a:pt x="128563" y="156097"/>
                        <a:pt x="126219" y="160833"/>
                        <a:pt x="123257" y="166832"/>
                      </a:cubicBezTo>
                      <a:lnTo>
                        <a:pt x="122843" y="167658"/>
                      </a:lnTo>
                      <a:cubicBezTo>
                        <a:pt x="117149" y="179096"/>
                        <a:pt x="115704" y="198246"/>
                        <a:pt x="114635" y="212234"/>
                      </a:cubicBezTo>
                      <a:lnTo>
                        <a:pt x="114307" y="216594"/>
                      </a:lnTo>
                      <a:lnTo>
                        <a:pt x="114210" y="217869"/>
                      </a:lnTo>
                      <a:cubicBezTo>
                        <a:pt x="114137" y="218779"/>
                        <a:pt x="114064" y="219787"/>
                        <a:pt x="113979" y="220419"/>
                      </a:cubicBezTo>
                      <a:cubicBezTo>
                        <a:pt x="112971" y="220941"/>
                        <a:pt x="110810" y="221779"/>
                        <a:pt x="108867" y="222544"/>
                      </a:cubicBezTo>
                      <a:cubicBezTo>
                        <a:pt x="107106" y="223224"/>
                        <a:pt x="102990" y="223928"/>
                        <a:pt x="99141" y="223928"/>
                      </a:cubicBezTo>
                      <a:cubicBezTo>
                        <a:pt x="96943" y="223928"/>
                        <a:pt x="95801" y="223697"/>
                        <a:pt x="95401" y="223600"/>
                      </a:cubicBezTo>
                      <a:cubicBezTo>
                        <a:pt x="93968" y="223224"/>
                        <a:pt x="92426" y="222228"/>
                        <a:pt x="90653" y="221062"/>
                      </a:cubicBezTo>
                      <a:cubicBezTo>
                        <a:pt x="87520" y="219022"/>
                        <a:pt x="83634" y="216484"/>
                        <a:pt x="78328" y="216484"/>
                      </a:cubicBezTo>
                      <a:cubicBezTo>
                        <a:pt x="64217" y="216824"/>
                        <a:pt x="53872" y="231578"/>
                        <a:pt x="50265" y="241426"/>
                      </a:cubicBezTo>
                      <a:cubicBezTo>
                        <a:pt x="49682" y="243053"/>
                        <a:pt x="49282" y="244571"/>
                        <a:pt x="48905" y="246052"/>
                      </a:cubicBezTo>
                      <a:cubicBezTo>
                        <a:pt x="48080" y="249270"/>
                        <a:pt x="47630" y="250776"/>
                        <a:pt x="45699" y="252488"/>
                      </a:cubicBezTo>
                      <a:cubicBezTo>
                        <a:pt x="39094" y="258390"/>
                        <a:pt x="37600" y="261280"/>
                        <a:pt x="35548" y="268845"/>
                      </a:cubicBezTo>
                      <a:cubicBezTo>
                        <a:pt x="34832" y="271528"/>
                        <a:pt x="33569" y="272913"/>
                        <a:pt x="31480" y="275208"/>
                      </a:cubicBezTo>
                      <a:cubicBezTo>
                        <a:pt x="30278" y="276519"/>
                        <a:pt x="29015" y="277928"/>
                        <a:pt x="27740" y="279640"/>
                      </a:cubicBezTo>
                      <a:cubicBezTo>
                        <a:pt x="26465" y="281400"/>
                        <a:pt x="25822" y="283125"/>
                        <a:pt x="25324" y="284509"/>
                      </a:cubicBezTo>
                      <a:cubicBezTo>
                        <a:pt x="25044" y="285274"/>
                        <a:pt x="24680" y="286233"/>
                        <a:pt x="24449" y="286440"/>
                      </a:cubicBezTo>
                      <a:cubicBezTo>
                        <a:pt x="24012" y="286646"/>
                        <a:pt x="20697" y="287873"/>
                        <a:pt x="19119" y="288468"/>
                      </a:cubicBezTo>
                      <a:cubicBezTo>
                        <a:pt x="18876" y="288553"/>
                        <a:pt x="18657" y="288650"/>
                        <a:pt x="18426" y="288723"/>
                      </a:cubicBezTo>
                      <a:cubicBezTo>
                        <a:pt x="18317" y="288541"/>
                        <a:pt x="18208" y="288371"/>
                        <a:pt x="18135" y="288213"/>
                      </a:cubicBezTo>
                      <a:cubicBezTo>
                        <a:pt x="16666" y="285748"/>
                        <a:pt x="14443" y="282044"/>
                        <a:pt x="9927" y="282044"/>
                      </a:cubicBezTo>
                      <a:cubicBezTo>
                        <a:pt x="8239" y="282044"/>
                        <a:pt x="5774" y="282615"/>
                        <a:pt x="3624" y="285359"/>
                      </a:cubicBezTo>
                      <a:lnTo>
                        <a:pt x="2993" y="286112"/>
                      </a:lnTo>
                      <a:cubicBezTo>
                        <a:pt x="-881" y="290799"/>
                        <a:pt x="-553" y="293483"/>
                        <a:pt x="1487" y="300562"/>
                      </a:cubicBezTo>
                      <a:cubicBezTo>
                        <a:pt x="1693" y="301278"/>
                        <a:pt x="1864" y="302044"/>
                        <a:pt x="2046" y="302808"/>
                      </a:cubicBezTo>
                      <a:cubicBezTo>
                        <a:pt x="2823" y="306160"/>
                        <a:pt x="3807" y="310325"/>
                        <a:pt x="7146" y="313931"/>
                      </a:cubicBezTo>
                      <a:cubicBezTo>
                        <a:pt x="8955" y="315874"/>
                        <a:pt x="10983" y="317149"/>
                        <a:pt x="12610" y="318169"/>
                      </a:cubicBezTo>
                      <a:cubicBezTo>
                        <a:pt x="14286" y="319213"/>
                        <a:pt x="15342" y="319906"/>
                        <a:pt x="15864" y="320756"/>
                      </a:cubicBezTo>
                      <a:cubicBezTo>
                        <a:pt x="16265" y="321436"/>
                        <a:pt x="16496" y="322516"/>
                        <a:pt x="16751" y="323755"/>
                      </a:cubicBezTo>
                      <a:cubicBezTo>
                        <a:pt x="17249" y="326135"/>
                        <a:pt x="17929" y="329389"/>
                        <a:pt x="20466" y="332389"/>
                      </a:cubicBezTo>
                      <a:cubicBezTo>
                        <a:pt x="21608" y="333797"/>
                        <a:pt x="23393" y="335060"/>
                        <a:pt x="25287" y="336408"/>
                      </a:cubicBezTo>
                      <a:cubicBezTo>
                        <a:pt x="26076" y="336967"/>
                        <a:pt x="27242" y="337792"/>
                        <a:pt x="28032" y="338436"/>
                      </a:cubicBezTo>
                      <a:lnTo>
                        <a:pt x="28032" y="343390"/>
                      </a:lnTo>
                      <a:lnTo>
                        <a:pt x="34297" y="343184"/>
                      </a:lnTo>
                      <a:lnTo>
                        <a:pt x="47570" y="342771"/>
                      </a:lnTo>
                      <a:cubicBezTo>
                        <a:pt x="48784" y="342856"/>
                        <a:pt x="49986" y="342880"/>
                        <a:pt x="51188" y="342880"/>
                      </a:cubicBezTo>
                      <a:lnTo>
                        <a:pt x="53362" y="342868"/>
                      </a:lnTo>
                      <a:lnTo>
                        <a:pt x="55171" y="342856"/>
                      </a:lnTo>
                      <a:cubicBezTo>
                        <a:pt x="55875" y="342856"/>
                        <a:pt x="56543" y="342868"/>
                        <a:pt x="57162" y="342917"/>
                      </a:cubicBezTo>
                      <a:lnTo>
                        <a:pt x="58122" y="342989"/>
                      </a:lnTo>
                      <a:lnTo>
                        <a:pt x="61412" y="343244"/>
                      </a:lnTo>
                      <a:cubicBezTo>
                        <a:pt x="61935" y="343281"/>
                        <a:pt x="62263" y="343317"/>
                        <a:pt x="63841" y="344447"/>
                      </a:cubicBezTo>
                      <a:lnTo>
                        <a:pt x="64145" y="344665"/>
                      </a:lnTo>
                      <a:lnTo>
                        <a:pt x="64473" y="344847"/>
                      </a:lnTo>
                      <a:lnTo>
                        <a:pt x="65128" y="345224"/>
                      </a:lnTo>
                      <a:cubicBezTo>
                        <a:pt x="66792" y="346195"/>
                        <a:pt x="69293" y="347640"/>
                        <a:pt x="72426" y="347895"/>
                      </a:cubicBezTo>
                      <a:lnTo>
                        <a:pt x="72669" y="347907"/>
                      </a:lnTo>
                      <a:lnTo>
                        <a:pt x="73458" y="347920"/>
                      </a:lnTo>
                      <a:cubicBezTo>
                        <a:pt x="76069" y="347920"/>
                        <a:pt x="80707" y="347118"/>
                        <a:pt x="83683" y="345357"/>
                      </a:cubicBezTo>
                      <a:cubicBezTo>
                        <a:pt x="88297" y="343329"/>
                        <a:pt x="89195" y="338934"/>
                        <a:pt x="89596" y="337003"/>
                      </a:cubicBezTo>
                      <a:cubicBezTo>
                        <a:pt x="89633" y="336809"/>
                        <a:pt x="89669" y="336639"/>
                        <a:pt x="89706" y="336469"/>
                      </a:cubicBezTo>
                      <a:cubicBezTo>
                        <a:pt x="90944" y="334344"/>
                        <a:pt x="92073" y="333044"/>
                        <a:pt x="94016" y="331089"/>
                      </a:cubicBezTo>
                      <a:cubicBezTo>
                        <a:pt x="95024" y="329960"/>
                        <a:pt x="95692" y="328989"/>
                        <a:pt x="96348" y="327981"/>
                      </a:cubicBezTo>
                      <a:cubicBezTo>
                        <a:pt x="96882" y="327179"/>
                        <a:pt x="97344" y="326463"/>
                        <a:pt x="97829" y="325989"/>
                      </a:cubicBezTo>
                      <a:cubicBezTo>
                        <a:pt x="101618" y="323986"/>
                        <a:pt x="104277" y="321169"/>
                        <a:pt x="105540" y="317793"/>
                      </a:cubicBezTo>
                      <a:lnTo>
                        <a:pt x="105868" y="316931"/>
                      </a:lnTo>
                      <a:lnTo>
                        <a:pt x="105916" y="316008"/>
                      </a:lnTo>
                      <a:cubicBezTo>
                        <a:pt x="105941" y="315716"/>
                        <a:pt x="105929" y="315413"/>
                        <a:pt x="106001" y="315133"/>
                      </a:cubicBezTo>
                      <a:lnTo>
                        <a:pt x="106997" y="313689"/>
                      </a:lnTo>
                      <a:lnTo>
                        <a:pt x="106973" y="313179"/>
                      </a:lnTo>
                      <a:cubicBezTo>
                        <a:pt x="107106" y="312972"/>
                        <a:pt x="107240" y="312766"/>
                        <a:pt x="107386" y="312547"/>
                      </a:cubicBezTo>
                      <a:lnTo>
                        <a:pt x="107750" y="312001"/>
                      </a:lnTo>
                      <a:lnTo>
                        <a:pt x="108151" y="311126"/>
                      </a:lnTo>
                      <a:cubicBezTo>
                        <a:pt x="108928" y="309074"/>
                        <a:pt x="109098" y="307071"/>
                        <a:pt x="109231" y="305298"/>
                      </a:cubicBezTo>
                      <a:cubicBezTo>
                        <a:pt x="109329" y="304096"/>
                        <a:pt x="109426" y="302954"/>
                        <a:pt x="109693" y="302080"/>
                      </a:cubicBezTo>
                      <a:cubicBezTo>
                        <a:pt x="109923" y="301376"/>
                        <a:pt x="110094" y="300708"/>
                        <a:pt x="110264" y="300052"/>
                      </a:cubicBezTo>
                      <a:cubicBezTo>
                        <a:pt x="110871" y="297769"/>
                        <a:pt x="111114" y="297125"/>
                        <a:pt x="111794" y="296616"/>
                      </a:cubicBezTo>
                      <a:lnTo>
                        <a:pt x="112255" y="296263"/>
                      </a:lnTo>
                      <a:lnTo>
                        <a:pt x="112632" y="295838"/>
                      </a:lnTo>
                      <a:cubicBezTo>
                        <a:pt x="113166" y="295256"/>
                        <a:pt x="113809" y="294818"/>
                        <a:pt x="114428" y="294333"/>
                      </a:cubicBezTo>
                      <a:cubicBezTo>
                        <a:pt x="115461" y="293556"/>
                        <a:pt x="116626" y="292681"/>
                        <a:pt x="117731" y="291503"/>
                      </a:cubicBezTo>
                      <a:cubicBezTo>
                        <a:pt x="118169" y="291091"/>
                        <a:pt x="118642" y="290605"/>
                        <a:pt x="119104" y="290083"/>
                      </a:cubicBezTo>
                      <a:cubicBezTo>
                        <a:pt x="119140" y="290046"/>
                        <a:pt x="119176" y="290010"/>
                        <a:pt x="119213" y="289961"/>
                      </a:cubicBezTo>
                      <a:cubicBezTo>
                        <a:pt x="119249" y="289961"/>
                        <a:pt x="119286" y="289961"/>
                        <a:pt x="119334" y="289961"/>
                      </a:cubicBezTo>
                      <a:cubicBezTo>
                        <a:pt x="119808" y="289961"/>
                        <a:pt x="120087" y="289985"/>
                        <a:pt x="120354" y="290010"/>
                      </a:cubicBezTo>
                      <a:lnTo>
                        <a:pt x="122674" y="290192"/>
                      </a:lnTo>
                      <a:lnTo>
                        <a:pt x="126001" y="290447"/>
                      </a:lnTo>
                      <a:lnTo>
                        <a:pt x="126875" y="290508"/>
                      </a:lnTo>
                      <a:lnTo>
                        <a:pt x="127725" y="290325"/>
                      </a:lnTo>
                      <a:cubicBezTo>
                        <a:pt x="128794" y="290095"/>
                        <a:pt x="129874" y="289767"/>
                        <a:pt x="131016" y="289391"/>
                      </a:cubicBezTo>
                      <a:cubicBezTo>
                        <a:pt x="131939" y="289099"/>
                        <a:pt x="132935" y="288759"/>
                        <a:pt x="134039" y="288541"/>
                      </a:cubicBezTo>
                      <a:cubicBezTo>
                        <a:pt x="134671" y="288565"/>
                        <a:pt x="135351" y="288565"/>
                        <a:pt x="136080" y="288577"/>
                      </a:cubicBezTo>
                      <a:cubicBezTo>
                        <a:pt x="136905" y="288577"/>
                        <a:pt x="138362" y="288577"/>
                        <a:pt x="139115" y="288698"/>
                      </a:cubicBezTo>
                      <a:cubicBezTo>
                        <a:pt x="140657" y="289621"/>
                        <a:pt x="142284" y="290471"/>
                        <a:pt x="145175" y="290702"/>
                      </a:cubicBezTo>
                      <a:lnTo>
                        <a:pt x="147129" y="290860"/>
                      </a:lnTo>
                      <a:lnTo>
                        <a:pt x="150092" y="291091"/>
                      </a:lnTo>
                      <a:lnTo>
                        <a:pt x="155800" y="291540"/>
                      </a:lnTo>
                      <a:lnTo>
                        <a:pt x="161410" y="291977"/>
                      </a:lnTo>
                      <a:cubicBezTo>
                        <a:pt x="162138" y="292038"/>
                        <a:pt x="163000" y="292074"/>
                        <a:pt x="163923" y="292098"/>
                      </a:cubicBezTo>
                      <a:cubicBezTo>
                        <a:pt x="165453" y="292159"/>
                        <a:pt x="168647" y="292281"/>
                        <a:pt x="169582" y="292742"/>
                      </a:cubicBezTo>
                      <a:lnTo>
                        <a:pt x="169667" y="292791"/>
                      </a:lnTo>
                      <a:lnTo>
                        <a:pt x="170480" y="294418"/>
                      </a:lnTo>
                      <a:lnTo>
                        <a:pt x="172229" y="295462"/>
                      </a:lnTo>
                      <a:lnTo>
                        <a:pt x="172775" y="295778"/>
                      </a:lnTo>
                      <a:cubicBezTo>
                        <a:pt x="173759" y="296373"/>
                        <a:pt x="175192" y="297247"/>
                        <a:pt x="177572" y="297611"/>
                      </a:cubicBezTo>
                      <a:cubicBezTo>
                        <a:pt x="178920" y="298158"/>
                        <a:pt x="180231" y="298413"/>
                        <a:pt x="181348" y="298558"/>
                      </a:cubicBezTo>
                      <a:cubicBezTo>
                        <a:pt x="181470" y="298668"/>
                        <a:pt x="181603" y="298813"/>
                        <a:pt x="181773" y="298983"/>
                      </a:cubicBezTo>
                      <a:lnTo>
                        <a:pt x="182307" y="299530"/>
                      </a:lnTo>
                      <a:lnTo>
                        <a:pt x="183000" y="299967"/>
                      </a:lnTo>
                      <a:cubicBezTo>
                        <a:pt x="188258" y="303148"/>
                        <a:pt x="193977" y="303501"/>
                        <a:pt x="199028" y="303804"/>
                      </a:cubicBezTo>
                      <a:lnTo>
                        <a:pt x="201773" y="303986"/>
                      </a:lnTo>
                      <a:cubicBezTo>
                        <a:pt x="202307" y="304023"/>
                        <a:pt x="202926" y="304132"/>
                        <a:pt x="203606" y="304229"/>
                      </a:cubicBezTo>
                      <a:cubicBezTo>
                        <a:pt x="205173" y="304472"/>
                        <a:pt x="207115" y="304764"/>
                        <a:pt x="209144" y="304764"/>
                      </a:cubicBezTo>
                      <a:cubicBezTo>
                        <a:pt x="209969" y="304764"/>
                        <a:pt x="210795" y="304715"/>
                        <a:pt x="211584" y="304606"/>
                      </a:cubicBezTo>
                      <a:cubicBezTo>
                        <a:pt x="213333" y="304253"/>
                        <a:pt x="214681" y="303804"/>
                        <a:pt x="216041" y="303319"/>
                      </a:cubicBezTo>
                      <a:cubicBezTo>
                        <a:pt x="216721" y="303076"/>
                        <a:pt x="217401" y="302821"/>
                        <a:pt x="218093" y="302639"/>
                      </a:cubicBezTo>
                      <a:cubicBezTo>
                        <a:pt x="218822" y="302578"/>
                        <a:pt x="219465" y="302432"/>
                        <a:pt x="220024" y="302323"/>
                      </a:cubicBezTo>
                      <a:lnTo>
                        <a:pt x="222343" y="302553"/>
                      </a:lnTo>
                      <a:lnTo>
                        <a:pt x="223763" y="301060"/>
                      </a:lnTo>
                      <a:cubicBezTo>
                        <a:pt x="224492" y="300526"/>
                        <a:pt x="225087" y="299991"/>
                        <a:pt x="225646" y="299469"/>
                      </a:cubicBezTo>
                      <a:cubicBezTo>
                        <a:pt x="225889" y="299263"/>
                        <a:pt x="226083" y="299056"/>
                        <a:pt x="226314" y="298898"/>
                      </a:cubicBezTo>
                      <a:lnTo>
                        <a:pt x="227176" y="298583"/>
                      </a:lnTo>
                      <a:lnTo>
                        <a:pt x="227564" y="298206"/>
                      </a:lnTo>
                      <a:cubicBezTo>
                        <a:pt x="228232" y="297708"/>
                        <a:pt x="229361" y="297320"/>
                        <a:pt x="230588" y="296919"/>
                      </a:cubicBezTo>
                      <a:cubicBezTo>
                        <a:pt x="231766" y="296518"/>
                        <a:pt x="232895" y="296130"/>
                        <a:pt x="233927" y="295632"/>
                      </a:cubicBezTo>
                      <a:cubicBezTo>
                        <a:pt x="238797" y="292936"/>
                        <a:pt x="239999" y="289051"/>
                        <a:pt x="240715" y="286731"/>
                      </a:cubicBezTo>
                      <a:lnTo>
                        <a:pt x="241067" y="285626"/>
                      </a:lnTo>
                      <a:lnTo>
                        <a:pt x="241335" y="284873"/>
                      </a:lnTo>
                      <a:lnTo>
                        <a:pt x="241407" y="284072"/>
                      </a:lnTo>
                      <a:cubicBezTo>
                        <a:pt x="241456" y="283513"/>
                        <a:pt x="242026" y="282299"/>
                        <a:pt x="242488" y="281316"/>
                      </a:cubicBezTo>
                      <a:cubicBezTo>
                        <a:pt x="242852" y="280538"/>
                        <a:pt x="243217" y="279773"/>
                        <a:pt x="243520" y="278996"/>
                      </a:cubicBezTo>
                      <a:cubicBezTo>
                        <a:pt x="244443" y="277539"/>
                        <a:pt x="245184" y="276045"/>
                        <a:pt x="245973" y="274443"/>
                      </a:cubicBezTo>
                      <a:cubicBezTo>
                        <a:pt x="246459" y="273459"/>
                        <a:pt x="246957" y="272427"/>
                        <a:pt x="247588" y="271322"/>
                      </a:cubicBezTo>
                      <a:cubicBezTo>
                        <a:pt x="247782" y="271055"/>
                        <a:pt x="248195" y="270460"/>
                        <a:pt x="248596" y="269889"/>
                      </a:cubicBezTo>
                      <a:cubicBezTo>
                        <a:pt x="249774" y="268237"/>
                        <a:pt x="251110" y="266368"/>
                        <a:pt x="252032" y="263915"/>
                      </a:cubicBezTo>
                      <a:cubicBezTo>
                        <a:pt x="252287" y="263101"/>
                        <a:pt x="252640" y="262810"/>
                        <a:pt x="254898" y="261559"/>
                      </a:cubicBezTo>
                      <a:lnTo>
                        <a:pt x="254898" y="261559"/>
                      </a:lnTo>
                      <a:lnTo>
                        <a:pt x="254946" y="261535"/>
                      </a:lnTo>
                      <a:cubicBezTo>
                        <a:pt x="256550" y="261025"/>
                        <a:pt x="258043" y="260782"/>
                        <a:pt x="259743" y="260782"/>
                      </a:cubicBezTo>
                      <a:cubicBezTo>
                        <a:pt x="260265" y="260782"/>
                        <a:pt x="260800" y="260806"/>
                        <a:pt x="261346" y="260842"/>
                      </a:cubicBezTo>
                      <a:cubicBezTo>
                        <a:pt x="261383" y="260928"/>
                        <a:pt x="262014" y="261620"/>
                        <a:pt x="262475" y="262130"/>
                      </a:cubicBezTo>
                      <a:lnTo>
                        <a:pt x="263483" y="263222"/>
                      </a:lnTo>
                      <a:cubicBezTo>
                        <a:pt x="263945" y="263696"/>
                        <a:pt x="264236" y="264012"/>
                        <a:pt x="264418" y="264230"/>
                      </a:cubicBezTo>
                      <a:cubicBezTo>
                        <a:pt x="264406" y="264255"/>
                        <a:pt x="264394" y="264291"/>
                        <a:pt x="264382" y="264328"/>
                      </a:cubicBezTo>
                      <a:lnTo>
                        <a:pt x="263993" y="265578"/>
                      </a:lnTo>
                      <a:cubicBezTo>
                        <a:pt x="263204" y="268104"/>
                        <a:pt x="262378" y="270703"/>
                        <a:pt x="262063" y="273884"/>
                      </a:cubicBezTo>
                      <a:cubicBezTo>
                        <a:pt x="261929" y="274066"/>
                        <a:pt x="261783" y="274236"/>
                        <a:pt x="261638" y="274418"/>
                      </a:cubicBezTo>
                      <a:cubicBezTo>
                        <a:pt x="260860" y="275402"/>
                        <a:pt x="259804" y="276738"/>
                        <a:pt x="259075" y="278705"/>
                      </a:cubicBezTo>
                      <a:lnTo>
                        <a:pt x="258784" y="279482"/>
                      </a:lnTo>
                      <a:lnTo>
                        <a:pt x="258723" y="280308"/>
                      </a:lnTo>
                      <a:lnTo>
                        <a:pt x="258262" y="285978"/>
                      </a:lnTo>
                      <a:cubicBezTo>
                        <a:pt x="258213" y="286622"/>
                        <a:pt x="258092" y="287302"/>
                        <a:pt x="257982" y="288031"/>
                      </a:cubicBezTo>
                      <a:cubicBezTo>
                        <a:pt x="257655" y="290107"/>
                        <a:pt x="257242" y="292657"/>
                        <a:pt x="257569" y="295511"/>
                      </a:cubicBezTo>
                      <a:cubicBezTo>
                        <a:pt x="257655" y="299724"/>
                        <a:pt x="261103" y="302189"/>
                        <a:pt x="263009" y="303549"/>
                      </a:cubicBezTo>
                      <a:cubicBezTo>
                        <a:pt x="263337" y="303792"/>
                        <a:pt x="263678" y="303999"/>
                        <a:pt x="263908" y="304229"/>
                      </a:cubicBezTo>
                      <a:lnTo>
                        <a:pt x="264066" y="304351"/>
                      </a:lnTo>
                      <a:lnTo>
                        <a:pt x="264479" y="304727"/>
                      </a:lnTo>
                      <a:lnTo>
                        <a:pt x="265766" y="305771"/>
                      </a:lnTo>
                      <a:cubicBezTo>
                        <a:pt x="267758" y="307411"/>
                        <a:pt x="269992" y="309232"/>
                        <a:pt x="273246" y="310386"/>
                      </a:cubicBezTo>
                      <a:lnTo>
                        <a:pt x="282487" y="318837"/>
                      </a:lnTo>
                      <a:lnTo>
                        <a:pt x="287830" y="323731"/>
                      </a:lnTo>
                      <a:lnTo>
                        <a:pt x="291703" y="317623"/>
                      </a:lnTo>
                      <a:lnTo>
                        <a:pt x="293173" y="315304"/>
                      </a:lnTo>
                      <a:lnTo>
                        <a:pt x="294411" y="313810"/>
                      </a:lnTo>
                      <a:lnTo>
                        <a:pt x="296378" y="313786"/>
                      </a:lnTo>
                      <a:lnTo>
                        <a:pt x="297751" y="313773"/>
                      </a:lnTo>
                      <a:lnTo>
                        <a:pt x="298989" y="313166"/>
                      </a:lnTo>
                      <a:lnTo>
                        <a:pt x="300762" y="312280"/>
                      </a:lnTo>
                      <a:lnTo>
                        <a:pt x="303664" y="310847"/>
                      </a:lnTo>
                      <a:lnTo>
                        <a:pt x="304089" y="307653"/>
                      </a:lnTo>
                      <a:lnTo>
                        <a:pt x="304210" y="306779"/>
                      </a:lnTo>
                      <a:lnTo>
                        <a:pt x="304465" y="304982"/>
                      </a:lnTo>
                      <a:lnTo>
                        <a:pt x="304842" y="304630"/>
                      </a:lnTo>
                      <a:lnTo>
                        <a:pt x="305170" y="304132"/>
                      </a:lnTo>
                      <a:lnTo>
                        <a:pt x="321733" y="280478"/>
                      </a:lnTo>
                      <a:lnTo>
                        <a:pt x="321879" y="280332"/>
                      </a:lnTo>
                      <a:lnTo>
                        <a:pt x="325048" y="279919"/>
                      </a:lnTo>
                      <a:lnTo>
                        <a:pt x="326456" y="279737"/>
                      </a:lnTo>
                      <a:lnTo>
                        <a:pt x="327646" y="278948"/>
                      </a:lnTo>
                      <a:lnTo>
                        <a:pt x="329322" y="277830"/>
                      </a:lnTo>
                      <a:lnTo>
                        <a:pt x="331047" y="276677"/>
                      </a:lnTo>
                      <a:lnTo>
                        <a:pt x="331714" y="274710"/>
                      </a:lnTo>
                      <a:lnTo>
                        <a:pt x="332917" y="271128"/>
                      </a:lnTo>
                      <a:lnTo>
                        <a:pt x="333293" y="269962"/>
                      </a:lnTo>
                      <a:lnTo>
                        <a:pt x="333208" y="268735"/>
                      </a:lnTo>
                      <a:lnTo>
                        <a:pt x="332868" y="264194"/>
                      </a:lnTo>
                      <a:lnTo>
                        <a:pt x="332844" y="263878"/>
                      </a:lnTo>
                      <a:lnTo>
                        <a:pt x="332783" y="263562"/>
                      </a:lnTo>
                      <a:lnTo>
                        <a:pt x="329116" y="243527"/>
                      </a:lnTo>
                      <a:lnTo>
                        <a:pt x="329213" y="241013"/>
                      </a:lnTo>
                      <a:lnTo>
                        <a:pt x="329747" y="239155"/>
                      </a:lnTo>
                      <a:lnTo>
                        <a:pt x="335576" y="237127"/>
                      </a:lnTo>
                      <a:lnTo>
                        <a:pt x="336329" y="236872"/>
                      </a:lnTo>
                      <a:lnTo>
                        <a:pt x="336984" y="236435"/>
                      </a:lnTo>
                      <a:lnTo>
                        <a:pt x="340020" y="234395"/>
                      </a:lnTo>
                      <a:lnTo>
                        <a:pt x="340554" y="234031"/>
                      </a:lnTo>
                      <a:lnTo>
                        <a:pt x="340992" y="233569"/>
                      </a:lnTo>
                      <a:lnTo>
                        <a:pt x="348982" y="225300"/>
                      </a:lnTo>
                      <a:lnTo>
                        <a:pt x="355114" y="217978"/>
                      </a:lnTo>
                      <a:lnTo>
                        <a:pt x="355490" y="217516"/>
                      </a:lnTo>
                      <a:lnTo>
                        <a:pt x="355769" y="216994"/>
                      </a:lnTo>
                      <a:lnTo>
                        <a:pt x="357967" y="212975"/>
                      </a:lnTo>
                      <a:lnTo>
                        <a:pt x="358793" y="211457"/>
                      </a:lnTo>
                      <a:lnTo>
                        <a:pt x="358696" y="209733"/>
                      </a:lnTo>
                      <a:lnTo>
                        <a:pt x="358465" y="205519"/>
                      </a:lnTo>
                      <a:lnTo>
                        <a:pt x="358344" y="203236"/>
                      </a:lnTo>
                      <a:lnTo>
                        <a:pt x="356753" y="201597"/>
                      </a:lnTo>
                      <a:lnTo>
                        <a:pt x="354385" y="199181"/>
                      </a:lnTo>
                      <a:lnTo>
                        <a:pt x="353317" y="198076"/>
                      </a:lnTo>
                      <a:lnTo>
                        <a:pt x="351847" y="197614"/>
                      </a:lnTo>
                      <a:lnTo>
                        <a:pt x="346492" y="195951"/>
                      </a:lnTo>
                      <a:lnTo>
                        <a:pt x="345254" y="186856"/>
                      </a:lnTo>
                      <a:lnTo>
                        <a:pt x="345666" y="186382"/>
                      </a:lnTo>
                      <a:lnTo>
                        <a:pt x="345994" y="186006"/>
                      </a:lnTo>
                      <a:lnTo>
                        <a:pt x="346249" y="185581"/>
                      </a:lnTo>
                      <a:lnTo>
                        <a:pt x="347160" y="184099"/>
                      </a:lnTo>
                      <a:lnTo>
                        <a:pt x="348860" y="181330"/>
                      </a:lnTo>
                      <a:lnTo>
                        <a:pt x="347525" y="178380"/>
                      </a:lnTo>
                      <a:lnTo>
                        <a:pt x="346820" y="176850"/>
                      </a:lnTo>
                      <a:lnTo>
                        <a:pt x="345970" y="174992"/>
                      </a:lnTo>
                      <a:lnTo>
                        <a:pt x="344173" y="174021"/>
                      </a:lnTo>
                      <a:lnTo>
                        <a:pt x="342679" y="173219"/>
                      </a:lnTo>
                      <a:lnTo>
                        <a:pt x="341927" y="172818"/>
                      </a:lnTo>
                      <a:lnTo>
                        <a:pt x="341113" y="172636"/>
                      </a:lnTo>
                      <a:lnTo>
                        <a:pt x="340287" y="172454"/>
                      </a:lnTo>
                      <a:lnTo>
                        <a:pt x="338903" y="168848"/>
                      </a:lnTo>
                      <a:lnTo>
                        <a:pt x="338223" y="162157"/>
                      </a:lnTo>
                      <a:lnTo>
                        <a:pt x="338527" y="154980"/>
                      </a:lnTo>
                      <a:lnTo>
                        <a:pt x="339583" y="149625"/>
                      </a:lnTo>
                      <a:lnTo>
                        <a:pt x="341975" y="143372"/>
                      </a:lnTo>
                      <a:lnTo>
                        <a:pt x="342242" y="142667"/>
                      </a:lnTo>
                      <a:lnTo>
                        <a:pt x="342327" y="141914"/>
                      </a:lnTo>
                      <a:lnTo>
                        <a:pt x="342679" y="138927"/>
                      </a:lnTo>
                      <a:lnTo>
                        <a:pt x="342801" y="137932"/>
                      </a:lnTo>
                      <a:lnTo>
                        <a:pt x="342594" y="136960"/>
                      </a:lnTo>
                      <a:lnTo>
                        <a:pt x="341793" y="133111"/>
                      </a:lnTo>
                      <a:lnTo>
                        <a:pt x="341611" y="132225"/>
                      </a:lnTo>
                      <a:lnTo>
                        <a:pt x="341174" y="131435"/>
                      </a:lnTo>
                      <a:lnTo>
                        <a:pt x="338199" y="125995"/>
                      </a:lnTo>
                      <a:lnTo>
                        <a:pt x="339000" y="124769"/>
                      </a:lnTo>
                      <a:lnTo>
                        <a:pt x="341137" y="123057"/>
                      </a:lnTo>
                      <a:lnTo>
                        <a:pt x="341489" y="122777"/>
                      </a:lnTo>
                      <a:lnTo>
                        <a:pt x="341793" y="122437"/>
                      </a:lnTo>
                      <a:lnTo>
                        <a:pt x="347306" y="116426"/>
                      </a:lnTo>
                      <a:lnTo>
                        <a:pt x="347646" y="116050"/>
                      </a:lnTo>
                      <a:lnTo>
                        <a:pt x="347925" y="115625"/>
                      </a:lnTo>
                      <a:lnTo>
                        <a:pt x="349892" y="112589"/>
                      </a:lnTo>
                      <a:lnTo>
                        <a:pt x="350147" y="112201"/>
                      </a:lnTo>
                      <a:lnTo>
                        <a:pt x="350342" y="111776"/>
                      </a:lnTo>
                      <a:lnTo>
                        <a:pt x="351361" y="109505"/>
                      </a:lnTo>
                      <a:lnTo>
                        <a:pt x="351665" y="108825"/>
                      </a:lnTo>
                      <a:lnTo>
                        <a:pt x="351799" y="108097"/>
                      </a:lnTo>
                      <a:lnTo>
                        <a:pt x="352054" y="106724"/>
                      </a:lnTo>
                      <a:lnTo>
                        <a:pt x="352175" y="106044"/>
                      </a:lnTo>
                      <a:lnTo>
                        <a:pt x="352139" y="105352"/>
                      </a:lnTo>
                      <a:lnTo>
                        <a:pt x="352102" y="104539"/>
                      </a:lnTo>
                      <a:lnTo>
                        <a:pt x="352503" y="100483"/>
                      </a:lnTo>
                      <a:lnTo>
                        <a:pt x="352734" y="100252"/>
                      </a:lnTo>
                      <a:lnTo>
                        <a:pt x="352831" y="100204"/>
                      </a:lnTo>
                      <a:lnTo>
                        <a:pt x="356267" y="99414"/>
                      </a:lnTo>
                      <a:lnTo>
                        <a:pt x="356887" y="99281"/>
                      </a:lnTo>
                      <a:lnTo>
                        <a:pt x="357445" y="99026"/>
                      </a:lnTo>
                      <a:lnTo>
                        <a:pt x="359279" y="98188"/>
                      </a:lnTo>
                      <a:lnTo>
                        <a:pt x="360311" y="97714"/>
                      </a:lnTo>
                      <a:lnTo>
                        <a:pt x="361088" y="96913"/>
                      </a:lnTo>
                      <a:lnTo>
                        <a:pt x="362642" y="95322"/>
                      </a:lnTo>
                      <a:lnTo>
                        <a:pt x="363007" y="94946"/>
                      </a:lnTo>
                      <a:lnTo>
                        <a:pt x="363298" y="94521"/>
                      </a:lnTo>
                      <a:lnTo>
                        <a:pt x="364245" y="93136"/>
                      </a:lnTo>
                      <a:lnTo>
                        <a:pt x="365739" y="95225"/>
                      </a:lnTo>
                      <a:lnTo>
                        <a:pt x="368459" y="95504"/>
                      </a:lnTo>
                      <a:lnTo>
                        <a:pt x="376801" y="96378"/>
                      </a:lnTo>
                      <a:lnTo>
                        <a:pt x="375307" y="88218"/>
                      </a:lnTo>
                      <a:lnTo>
                        <a:pt x="369624" y="61929"/>
                      </a:lnTo>
                      <a:lnTo>
                        <a:pt x="369394" y="60873"/>
                      </a:lnTo>
                      <a:lnTo>
                        <a:pt x="368811" y="59950"/>
                      </a:lnTo>
                      <a:lnTo>
                        <a:pt x="368155" y="58978"/>
                      </a:lnTo>
                      <a:lnTo>
                        <a:pt x="368143" y="58966"/>
                      </a:lnTo>
                      <a:lnTo>
                        <a:pt x="367694" y="58322"/>
                      </a:lnTo>
                      <a:cubicBezTo>
                        <a:pt x="366103" y="56003"/>
                        <a:pt x="363407" y="52057"/>
                        <a:pt x="362133" y="49252"/>
                      </a:cubicBezTo>
                      <a:cubicBezTo>
                        <a:pt x="362861" y="47406"/>
                        <a:pt x="362618" y="45536"/>
                        <a:pt x="362472" y="44395"/>
                      </a:cubicBezTo>
                      <a:cubicBezTo>
                        <a:pt x="361962" y="40363"/>
                        <a:pt x="360129" y="36975"/>
                        <a:pt x="358502" y="33988"/>
                      </a:cubicBezTo>
                      <a:cubicBezTo>
                        <a:pt x="357870" y="32834"/>
                        <a:pt x="357251" y="31705"/>
                        <a:pt x="356741" y="30552"/>
                      </a:cubicBezTo>
                      <a:cubicBezTo>
                        <a:pt x="355927" y="28657"/>
                        <a:pt x="354604" y="26933"/>
                        <a:pt x="353219" y="25282"/>
                      </a:cubicBezTo>
                      <a:cubicBezTo>
                        <a:pt x="353256" y="17619"/>
                        <a:pt x="352127" y="5137"/>
                        <a:pt x="337871" y="984"/>
                      </a:cubicBezTo>
                      <a:cubicBezTo>
                        <a:pt x="335637" y="352"/>
                        <a:pt x="333220" y="0"/>
                        <a:pt x="330816" y="0"/>
                      </a:cubicBezTo>
                      <a:lnTo>
                        <a:pt x="330816" y="0"/>
                      </a:lnTo>
                      <a:close/>
                    </a:path>
                  </a:pathLst>
                </a:custGeom>
                <a:solidFill>
                  <a:srgbClr val="FFFFFF"/>
                </a:solidFill>
                <a:ln w="12138" cap="flat">
                  <a:noFill/>
                  <a:prstDash val="solid"/>
                  <a:miter/>
                </a:ln>
              </p:spPr>
              <p:txBody>
                <a:bodyPr rtlCol="0" anchor="ctr"/>
                <a:lstStyle/>
                <a:p>
                  <a:endParaRPr lang="en-US"/>
                </a:p>
              </p:txBody>
            </p:sp>
          </p:grpSp>
          <p:grpSp>
            <p:nvGrpSpPr>
              <p:cNvPr id="282" name="Graphic 280">
                <a:extLst>
                  <a:ext uri="{FF2B5EF4-FFF2-40B4-BE49-F238E27FC236}">
                    <a16:creationId xmlns:a16="http://schemas.microsoft.com/office/drawing/2014/main" id="{93613DA7-CC7C-4851-80D3-F14BA70DB4F8}"/>
                  </a:ext>
                </a:extLst>
              </p:cNvPr>
              <p:cNvGrpSpPr/>
              <p:nvPr/>
            </p:nvGrpSpPr>
            <p:grpSpPr>
              <a:xfrm>
                <a:off x="7386345" y="2531760"/>
                <a:ext cx="1187240" cy="762309"/>
                <a:chOff x="7386345" y="2531760"/>
                <a:chExt cx="1187240" cy="762309"/>
              </a:xfrm>
            </p:grpSpPr>
            <p:sp>
              <p:nvSpPr>
                <p:cNvPr id="286" name="Freeform: Shape 285">
                  <a:extLst>
                    <a:ext uri="{FF2B5EF4-FFF2-40B4-BE49-F238E27FC236}">
                      <a16:creationId xmlns:a16="http://schemas.microsoft.com/office/drawing/2014/main" id="{0EFBD074-0809-432D-B123-A01C08A1F711}"/>
                    </a:ext>
                  </a:extLst>
                </p:cNvPr>
                <p:cNvSpPr/>
                <p:nvPr/>
              </p:nvSpPr>
              <p:spPr>
                <a:xfrm>
                  <a:off x="7389902" y="2535585"/>
                  <a:ext cx="1180666" cy="755630"/>
                </a:xfrm>
                <a:custGeom>
                  <a:avLst/>
                  <a:gdLst>
                    <a:gd name="connsiteX0" fmla="*/ 554884 w 1180666"/>
                    <a:gd name="connsiteY0" fmla="*/ 755631 h 755630"/>
                    <a:gd name="connsiteX1" fmla="*/ 541441 w 1180666"/>
                    <a:gd name="connsiteY1" fmla="*/ 739784 h 755630"/>
                    <a:gd name="connsiteX2" fmla="*/ 535564 w 1180666"/>
                    <a:gd name="connsiteY2" fmla="*/ 729815 h 755630"/>
                    <a:gd name="connsiteX3" fmla="*/ 531387 w 1180666"/>
                    <a:gd name="connsiteY3" fmla="*/ 733397 h 755630"/>
                    <a:gd name="connsiteX4" fmla="*/ 529760 w 1180666"/>
                    <a:gd name="connsiteY4" fmla="*/ 736044 h 755630"/>
                    <a:gd name="connsiteX5" fmla="*/ 508947 w 1180666"/>
                    <a:gd name="connsiteY5" fmla="*/ 751660 h 755630"/>
                    <a:gd name="connsiteX6" fmla="*/ 506239 w 1180666"/>
                    <a:gd name="connsiteY6" fmla="*/ 751417 h 755630"/>
                    <a:gd name="connsiteX7" fmla="*/ 496488 w 1180666"/>
                    <a:gd name="connsiteY7" fmla="*/ 749644 h 755630"/>
                    <a:gd name="connsiteX8" fmla="*/ 495833 w 1180666"/>
                    <a:gd name="connsiteY8" fmla="*/ 749025 h 755630"/>
                    <a:gd name="connsiteX9" fmla="*/ 491182 w 1180666"/>
                    <a:gd name="connsiteY9" fmla="*/ 742674 h 755630"/>
                    <a:gd name="connsiteX10" fmla="*/ 490040 w 1180666"/>
                    <a:gd name="connsiteY10" fmla="*/ 732426 h 755630"/>
                    <a:gd name="connsiteX11" fmla="*/ 489093 w 1180666"/>
                    <a:gd name="connsiteY11" fmla="*/ 724193 h 755630"/>
                    <a:gd name="connsiteX12" fmla="*/ 485171 w 1180666"/>
                    <a:gd name="connsiteY12" fmla="*/ 714053 h 755630"/>
                    <a:gd name="connsiteX13" fmla="*/ 482451 w 1180666"/>
                    <a:gd name="connsiteY13" fmla="*/ 706622 h 755630"/>
                    <a:gd name="connsiteX14" fmla="*/ 479682 w 1180666"/>
                    <a:gd name="connsiteY14" fmla="*/ 704813 h 755630"/>
                    <a:gd name="connsiteX15" fmla="*/ 473708 w 1180666"/>
                    <a:gd name="connsiteY15" fmla="*/ 700259 h 755630"/>
                    <a:gd name="connsiteX16" fmla="*/ 473417 w 1180666"/>
                    <a:gd name="connsiteY16" fmla="*/ 699943 h 755630"/>
                    <a:gd name="connsiteX17" fmla="*/ 472457 w 1180666"/>
                    <a:gd name="connsiteY17" fmla="*/ 698097 h 755630"/>
                    <a:gd name="connsiteX18" fmla="*/ 472773 w 1180666"/>
                    <a:gd name="connsiteY18" fmla="*/ 695560 h 755630"/>
                    <a:gd name="connsiteX19" fmla="*/ 474570 w 1180666"/>
                    <a:gd name="connsiteY19" fmla="*/ 687533 h 755630"/>
                    <a:gd name="connsiteX20" fmla="*/ 484236 w 1180666"/>
                    <a:gd name="connsiteY20" fmla="*/ 661171 h 755630"/>
                    <a:gd name="connsiteX21" fmla="*/ 484540 w 1180666"/>
                    <a:gd name="connsiteY21" fmla="*/ 658694 h 755630"/>
                    <a:gd name="connsiteX22" fmla="*/ 484612 w 1180666"/>
                    <a:gd name="connsiteY22" fmla="*/ 655937 h 755630"/>
                    <a:gd name="connsiteX23" fmla="*/ 484285 w 1180666"/>
                    <a:gd name="connsiteY23" fmla="*/ 653120 h 755630"/>
                    <a:gd name="connsiteX24" fmla="*/ 482463 w 1180666"/>
                    <a:gd name="connsiteY24" fmla="*/ 648603 h 755630"/>
                    <a:gd name="connsiteX25" fmla="*/ 482184 w 1180666"/>
                    <a:gd name="connsiteY25" fmla="*/ 648457 h 755630"/>
                    <a:gd name="connsiteX26" fmla="*/ 480921 w 1180666"/>
                    <a:gd name="connsiteY26" fmla="*/ 642714 h 755630"/>
                    <a:gd name="connsiteX27" fmla="*/ 482609 w 1180666"/>
                    <a:gd name="connsiteY27" fmla="*/ 637286 h 755630"/>
                    <a:gd name="connsiteX28" fmla="*/ 490405 w 1180666"/>
                    <a:gd name="connsiteY28" fmla="*/ 633958 h 755630"/>
                    <a:gd name="connsiteX29" fmla="*/ 498613 w 1180666"/>
                    <a:gd name="connsiteY29" fmla="*/ 636642 h 755630"/>
                    <a:gd name="connsiteX30" fmla="*/ 513161 w 1180666"/>
                    <a:gd name="connsiteY30" fmla="*/ 645130 h 755630"/>
                    <a:gd name="connsiteX31" fmla="*/ 513488 w 1180666"/>
                    <a:gd name="connsiteY31" fmla="*/ 647158 h 755630"/>
                    <a:gd name="connsiteX32" fmla="*/ 514059 w 1180666"/>
                    <a:gd name="connsiteY32" fmla="*/ 647413 h 755630"/>
                    <a:gd name="connsiteX33" fmla="*/ 525194 w 1180666"/>
                    <a:gd name="connsiteY33" fmla="*/ 643782 h 755630"/>
                    <a:gd name="connsiteX34" fmla="*/ 530926 w 1180666"/>
                    <a:gd name="connsiteY34" fmla="*/ 642325 h 755630"/>
                    <a:gd name="connsiteX35" fmla="*/ 532929 w 1180666"/>
                    <a:gd name="connsiteY35" fmla="*/ 639350 h 755630"/>
                    <a:gd name="connsiteX36" fmla="*/ 533014 w 1180666"/>
                    <a:gd name="connsiteY36" fmla="*/ 638123 h 755630"/>
                    <a:gd name="connsiteX37" fmla="*/ 532383 w 1180666"/>
                    <a:gd name="connsiteY37" fmla="*/ 635829 h 755630"/>
                    <a:gd name="connsiteX38" fmla="*/ 531193 w 1180666"/>
                    <a:gd name="connsiteY38" fmla="*/ 633436 h 755630"/>
                    <a:gd name="connsiteX39" fmla="*/ 530088 w 1180666"/>
                    <a:gd name="connsiteY39" fmla="*/ 632659 h 755630"/>
                    <a:gd name="connsiteX40" fmla="*/ 526384 w 1180666"/>
                    <a:gd name="connsiteY40" fmla="*/ 631336 h 755630"/>
                    <a:gd name="connsiteX41" fmla="*/ 520337 w 1180666"/>
                    <a:gd name="connsiteY41" fmla="*/ 628786 h 755630"/>
                    <a:gd name="connsiteX42" fmla="*/ 523786 w 1180666"/>
                    <a:gd name="connsiteY42" fmla="*/ 627049 h 755630"/>
                    <a:gd name="connsiteX43" fmla="*/ 517508 w 1180666"/>
                    <a:gd name="connsiteY43" fmla="*/ 622568 h 755630"/>
                    <a:gd name="connsiteX44" fmla="*/ 517508 w 1180666"/>
                    <a:gd name="connsiteY44" fmla="*/ 622520 h 755630"/>
                    <a:gd name="connsiteX45" fmla="*/ 516233 w 1180666"/>
                    <a:gd name="connsiteY45" fmla="*/ 622083 h 755630"/>
                    <a:gd name="connsiteX46" fmla="*/ 512760 w 1180666"/>
                    <a:gd name="connsiteY46" fmla="*/ 621184 h 755630"/>
                    <a:gd name="connsiteX47" fmla="*/ 512760 w 1180666"/>
                    <a:gd name="connsiteY47" fmla="*/ 618841 h 755630"/>
                    <a:gd name="connsiteX48" fmla="*/ 512432 w 1180666"/>
                    <a:gd name="connsiteY48" fmla="*/ 617505 h 755630"/>
                    <a:gd name="connsiteX49" fmla="*/ 511995 w 1180666"/>
                    <a:gd name="connsiteY49" fmla="*/ 615101 h 755630"/>
                    <a:gd name="connsiteX50" fmla="*/ 508522 w 1180666"/>
                    <a:gd name="connsiteY50" fmla="*/ 613073 h 755630"/>
                    <a:gd name="connsiteX51" fmla="*/ 502839 w 1180666"/>
                    <a:gd name="connsiteY51" fmla="*/ 610741 h 755630"/>
                    <a:gd name="connsiteX52" fmla="*/ 499354 w 1180666"/>
                    <a:gd name="connsiteY52" fmla="*/ 605969 h 755630"/>
                    <a:gd name="connsiteX53" fmla="*/ 490028 w 1180666"/>
                    <a:gd name="connsiteY53" fmla="*/ 604743 h 755630"/>
                    <a:gd name="connsiteX54" fmla="*/ 486313 w 1180666"/>
                    <a:gd name="connsiteY54" fmla="*/ 603844 h 755630"/>
                    <a:gd name="connsiteX55" fmla="*/ 483301 w 1180666"/>
                    <a:gd name="connsiteY55" fmla="*/ 602593 h 755630"/>
                    <a:gd name="connsiteX56" fmla="*/ 480532 w 1180666"/>
                    <a:gd name="connsiteY56" fmla="*/ 600772 h 755630"/>
                    <a:gd name="connsiteX57" fmla="*/ 477679 w 1180666"/>
                    <a:gd name="connsiteY57" fmla="*/ 598416 h 755630"/>
                    <a:gd name="connsiteX58" fmla="*/ 474473 w 1180666"/>
                    <a:gd name="connsiteY58" fmla="*/ 594445 h 755630"/>
                    <a:gd name="connsiteX59" fmla="*/ 474218 w 1180666"/>
                    <a:gd name="connsiteY59" fmla="*/ 594324 h 755630"/>
                    <a:gd name="connsiteX60" fmla="*/ 471413 w 1180666"/>
                    <a:gd name="connsiteY60" fmla="*/ 595125 h 755630"/>
                    <a:gd name="connsiteX61" fmla="*/ 470065 w 1180666"/>
                    <a:gd name="connsiteY61" fmla="*/ 594640 h 755630"/>
                    <a:gd name="connsiteX62" fmla="*/ 468669 w 1180666"/>
                    <a:gd name="connsiteY62" fmla="*/ 593996 h 755630"/>
                    <a:gd name="connsiteX63" fmla="*/ 467212 w 1180666"/>
                    <a:gd name="connsiteY63" fmla="*/ 592903 h 755630"/>
                    <a:gd name="connsiteX64" fmla="*/ 467455 w 1180666"/>
                    <a:gd name="connsiteY64" fmla="*/ 591057 h 755630"/>
                    <a:gd name="connsiteX65" fmla="*/ 480132 w 1180666"/>
                    <a:gd name="connsiteY65" fmla="*/ 578963 h 755630"/>
                    <a:gd name="connsiteX66" fmla="*/ 486896 w 1180666"/>
                    <a:gd name="connsiteY66" fmla="*/ 580032 h 755630"/>
                    <a:gd name="connsiteX67" fmla="*/ 492493 w 1180666"/>
                    <a:gd name="connsiteY67" fmla="*/ 578186 h 755630"/>
                    <a:gd name="connsiteX68" fmla="*/ 495128 w 1180666"/>
                    <a:gd name="connsiteY68" fmla="*/ 578332 h 755630"/>
                    <a:gd name="connsiteX69" fmla="*/ 501163 w 1180666"/>
                    <a:gd name="connsiteY69" fmla="*/ 576680 h 755630"/>
                    <a:gd name="connsiteX70" fmla="*/ 510489 w 1180666"/>
                    <a:gd name="connsiteY70" fmla="*/ 574567 h 755630"/>
                    <a:gd name="connsiteX71" fmla="*/ 511813 w 1180666"/>
                    <a:gd name="connsiteY71" fmla="*/ 574616 h 755630"/>
                    <a:gd name="connsiteX72" fmla="*/ 515893 w 1180666"/>
                    <a:gd name="connsiteY72" fmla="*/ 574822 h 755630"/>
                    <a:gd name="connsiteX73" fmla="*/ 518965 w 1180666"/>
                    <a:gd name="connsiteY73" fmla="*/ 574616 h 755630"/>
                    <a:gd name="connsiteX74" fmla="*/ 520726 w 1180666"/>
                    <a:gd name="connsiteY74" fmla="*/ 571641 h 755630"/>
                    <a:gd name="connsiteX75" fmla="*/ 525401 w 1180666"/>
                    <a:gd name="connsiteY75" fmla="*/ 569844 h 755630"/>
                    <a:gd name="connsiteX76" fmla="*/ 526870 w 1180666"/>
                    <a:gd name="connsiteY76" fmla="*/ 569443 h 755630"/>
                    <a:gd name="connsiteX77" fmla="*/ 529238 w 1180666"/>
                    <a:gd name="connsiteY77" fmla="*/ 567257 h 755630"/>
                    <a:gd name="connsiteX78" fmla="*/ 533755 w 1180666"/>
                    <a:gd name="connsiteY78" fmla="*/ 563639 h 755630"/>
                    <a:gd name="connsiteX79" fmla="*/ 534326 w 1180666"/>
                    <a:gd name="connsiteY79" fmla="*/ 563104 h 755630"/>
                    <a:gd name="connsiteX80" fmla="*/ 539195 w 1180666"/>
                    <a:gd name="connsiteY80" fmla="*/ 560117 h 755630"/>
                    <a:gd name="connsiteX81" fmla="*/ 542546 w 1180666"/>
                    <a:gd name="connsiteY81" fmla="*/ 559158 h 755630"/>
                    <a:gd name="connsiteX82" fmla="*/ 543724 w 1180666"/>
                    <a:gd name="connsiteY82" fmla="*/ 558636 h 755630"/>
                    <a:gd name="connsiteX83" fmla="*/ 545266 w 1180666"/>
                    <a:gd name="connsiteY83" fmla="*/ 557264 h 755630"/>
                    <a:gd name="connsiteX84" fmla="*/ 547659 w 1180666"/>
                    <a:gd name="connsiteY84" fmla="*/ 555369 h 755630"/>
                    <a:gd name="connsiteX85" fmla="*/ 549966 w 1180666"/>
                    <a:gd name="connsiteY85" fmla="*/ 553342 h 755630"/>
                    <a:gd name="connsiteX86" fmla="*/ 552710 w 1180666"/>
                    <a:gd name="connsiteY86" fmla="*/ 547683 h 755630"/>
                    <a:gd name="connsiteX87" fmla="*/ 553135 w 1180666"/>
                    <a:gd name="connsiteY87" fmla="*/ 546529 h 755630"/>
                    <a:gd name="connsiteX88" fmla="*/ 554847 w 1180666"/>
                    <a:gd name="connsiteY88" fmla="*/ 540737 h 755630"/>
                    <a:gd name="connsiteX89" fmla="*/ 554762 w 1180666"/>
                    <a:gd name="connsiteY89" fmla="*/ 540822 h 755630"/>
                    <a:gd name="connsiteX90" fmla="*/ 553937 w 1180666"/>
                    <a:gd name="connsiteY90" fmla="*/ 539450 h 755630"/>
                    <a:gd name="connsiteX91" fmla="*/ 552540 w 1180666"/>
                    <a:gd name="connsiteY91" fmla="*/ 536001 h 755630"/>
                    <a:gd name="connsiteX92" fmla="*/ 550257 w 1180666"/>
                    <a:gd name="connsiteY92" fmla="*/ 528946 h 755630"/>
                    <a:gd name="connsiteX93" fmla="*/ 548448 w 1180666"/>
                    <a:gd name="connsiteY93" fmla="*/ 522705 h 755630"/>
                    <a:gd name="connsiteX94" fmla="*/ 547501 w 1180666"/>
                    <a:gd name="connsiteY94" fmla="*/ 521709 h 755630"/>
                    <a:gd name="connsiteX95" fmla="*/ 543992 w 1180666"/>
                    <a:gd name="connsiteY95" fmla="*/ 518965 h 755630"/>
                    <a:gd name="connsiteX96" fmla="*/ 539304 w 1180666"/>
                    <a:gd name="connsiteY96" fmla="*/ 516415 h 755630"/>
                    <a:gd name="connsiteX97" fmla="*/ 536633 w 1180666"/>
                    <a:gd name="connsiteY97" fmla="*/ 515067 h 755630"/>
                    <a:gd name="connsiteX98" fmla="*/ 532383 w 1180666"/>
                    <a:gd name="connsiteY98" fmla="*/ 513549 h 755630"/>
                    <a:gd name="connsiteX99" fmla="*/ 521867 w 1180666"/>
                    <a:gd name="connsiteY99" fmla="*/ 507356 h 755630"/>
                    <a:gd name="connsiteX100" fmla="*/ 519778 w 1180666"/>
                    <a:gd name="connsiteY100" fmla="*/ 498358 h 755630"/>
                    <a:gd name="connsiteX101" fmla="*/ 522256 w 1180666"/>
                    <a:gd name="connsiteY101" fmla="*/ 493744 h 755630"/>
                    <a:gd name="connsiteX102" fmla="*/ 523275 w 1180666"/>
                    <a:gd name="connsiteY102" fmla="*/ 492481 h 755630"/>
                    <a:gd name="connsiteX103" fmla="*/ 525704 w 1180666"/>
                    <a:gd name="connsiteY103" fmla="*/ 486203 h 755630"/>
                    <a:gd name="connsiteX104" fmla="*/ 524150 w 1180666"/>
                    <a:gd name="connsiteY104" fmla="*/ 483714 h 755630"/>
                    <a:gd name="connsiteX105" fmla="*/ 522705 w 1180666"/>
                    <a:gd name="connsiteY105" fmla="*/ 481905 h 755630"/>
                    <a:gd name="connsiteX106" fmla="*/ 517071 w 1180666"/>
                    <a:gd name="connsiteY106" fmla="*/ 485766 h 755630"/>
                    <a:gd name="connsiteX107" fmla="*/ 516123 w 1180666"/>
                    <a:gd name="connsiteY107" fmla="*/ 485766 h 755630"/>
                    <a:gd name="connsiteX108" fmla="*/ 514739 w 1180666"/>
                    <a:gd name="connsiteY108" fmla="*/ 485038 h 755630"/>
                    <a:gd name="connsiteX109" fmla="*/ 508559 w 1180666"/>
                    <a:gd name="connsiteY109" fmla="*/ 483714 h 755630"/>
                    <a:gd name="connsiteX110" fmla="*/ 506676 w 1180666"/>
                    <a:gd name="connsiteY110" fmla="*/ 483277 h 755630"/>
                    <a:gd name="connsiteX111" fmla="*/ 498808 w 1180666"/>
                    <a:gd name="connsiteY111" fmla="*/ 478711 h 755630"/>
                    <a:gd name="connsiteX112" fmla="*/ 496258 w 1180666"/>
                    <a:gd name="connsiteY112" fmla="*/ 476100 h 755630"/>
                    <a:gd name="connsiteX113" fmla="*/ 494254 w 1180666"/>
                    <a:gd name="connsiteY113" fmla="*/ 473963 h 755630"/>
                    <a:gd name="connsiteX114" fmla="*/ 487187 w 1180666"/>
                    <a:gd name="connsiteY114" fmla="*/ 468535 h 755630"/>
                    <a:gd name="connsiteX115" fmla="*/ 480715 w 1180666"/>
                    <a:gd name="connsiteY115" fmla="*/ 467030 h 755630"/>
                    <a:gd name="connsiteX116" fmla="*/ 475190 w 1180666"/>
                    <a:gd name="connsiteY116" fmla="*/ 469762 h 755630"/>
                    <a:gd name="connsiteX117" fmla="*/ 473878 w 1180666"/>
                    <a:gd name="connsiteY117" fmla="*/ 470770 h 755630"/>
                    <a:gd name="connsiteX118" fmla="*/ 467649 w 1180666"/>
                    <a:gd name="connsiteY118" fmla="*/ 472943 h 755630"/>
                    <a:gd name="connsiteX119" fmla="*/ 464188 w 1180666"/>
                    <a:gd name="connsiteY119" fmla="*/ 472688 h 755630"/>
                    <a:gd name="connsiteX120" fmla="*/ 462500 w 1180666"/>
                    <a:gd name="connsiteY120" fmla="*/ 472518 h 755630"/>
                    <a:gd name="connsiteX121" fmla="*/ 460776 w 1180666"/>
                    <a:gd name="connsiteY121" fmla="*/ 472457 h 755630"/>
                    <a:gd name="connsiteX122" fmla="*/ 453405 w 1180666"/>
                    <a:gd name="connsiteY122" fmla="*/ 472943 h 755630"/>
                    <a:gd name="connsiteX123" fmla="*/ 443023 w 1180666"/>
                    <a:gd name="connsiteY123" fmla="*/ 476295 h 755630"/>
                    <a:gd name="connsiteX124" fmla="*/ 437996 w 1180666"/>
                    <a:gd name="connsiteY124" fmla="*/ 477655 h 755630"/>
                    <a:gd name="connsiteX125" fmla="*/ 435276 w 1180666"/>
                    <a:gd name="connsiteY125" fmla="*/ 477011 h 755630"/>
                    <a:gd name="connsiteX126" fmla="*/ 432179 w 1180666"/>
                    <a:gd name="connsiteY126" fmla="*/ 473562 h 755630"/>
                    <a:gd name="connsiteX127" fmla="*/ 431839 w 1180666"/>
                    <a:gd name="connsiteY127" fmla="*/ 473198 h 755630"/>
                    <a:gd name="connsiteX128" fmla="*/ 431426 w 1180666"/>
                    <a:gd name="connsiteY128" fmla="*/ 472287 h 755630"/>
                    <a:gd name="connsiteX129" fmla="*/ 430054 w 1180666"/>
                    <a:gd name="connsiteY129" fmla="*/ 471729 h 755630"/>
                    <a:gd name="connsiteX130" fmla="*/ 424930 w 1180666"/>
                    <a:gd name="connsiteY130" fmla="*/ 468450 h 755630"/>
                    <a:gd name="connsiteX131" fmla="*/ 423631 w 1180666"/>
                    <a:gd name="connsiteY131" fmla="*/ 457036 h 755630"/>
                    <a:gd name="connsiteX132" fmla="*/ 424068 w 1180666"/>
                    <a:gd name="connsiteY132" fmla="*/ 455749 h 755630"/>
                    <a:gd name="connsiteX133" fmla="*/ 427067 w 1180666"/>
                    <a:gd name="connsiteY133" fmla="*/ 452009 h 755630"/>
                    <a:gd name="connsiteX134" fmla="*/ 429326 w 1180666"/>
                    <a:gd name="connsiteY134" fmla="*/ 448609 h 755630"/>
                    <a:gd name="connsiteX135" fmla="*/ 437947 w 1180666"/>
                    <a:gd name="connsiteY135" fmla="*/ 429192 h 755630"/>
                    <a:gd name="connsiteX136" fmla="*/ 440011 w 1180666"/>
                    <a:gd name="connsiteY136" fmla="*/ 426023 h 755630"/>
                    <a:gd name="connsiteX137" fmla="*/ 441214 w 1180666"/>
                    <a:gd name="connsiteY137" fmla="*/ 417778 h 755630"/>
                    <a:gd name="connsiteX138" fmla="*/ 440024 w 1180666"/>
                    <a:gd name="connsiteY138" fmla="*/ 415094 h 755630"/>
                    <a:gd name="connsiteX139" fmla="*/ 438651 w 1180666"/>
                    <a:gd name="connsiteY139" fmla="*/ 405088 h 755630"/>
                    <a:gd name="connsiteX140" fmla="*/ 433309 w 1180666"/>
                    <a:gd name="connsiteY140" fmla="*/ 392715 h 755630"/>
                    <a:gd name="connsiteX141" fmla="*/ 429617 w 1180666"/>
                    <a:gd name="connsiteY141" fmla="*/ 392180 h 755630"/>
                    <a:gd name="connsiteX142" fmla="*/ 419490 w 1180666"/>
                    <a:gd name="connsiteY142" fmla="*/ 394548 h 755630"/>
                    <a:gd name="connsiteX143" fmla="*/ 417911 w 1180666"/>
                    <a:gd name="connsiteY143" fmla="*/ 395095 h 755630"/>
                    <a:gd name="connsiteX144" fmla="*/ 409654 w 1180666"/>
                    <a:gd name="connsiteY144" fmla="*/ 400523 h 755630"/>
                    <a:gd name="connsiteX145" fmla="*/ 404542 w 1180666"/>
                    <a:gd name="connsiteY145" fmla="*/ 404894 h 755630"/>
                    <a:gd name="connsiteX146" fmla="*/ 388355 w 1180666"/>
                    <a:gd name="connsiteY146" fmla="*/ 410674 h 755630"/>
                    <a:gd name="connsiteX147" fmla="*/ 376188 w 1180666"/>
                    <a:gd name="connsiteY147" fmla="*/ 414220 h 755630"/>
                    <a:gd name="connsiteX148" fmla="*/ 371234 w 1180666"/>
                    <a:gd name="connsiteY148" fmla="*/ 417328 h 755630"/>
                    <a:gd name="connsiteX149" fmla="*/ 358472 w 1180666"/>
                    <a:gd name="connsiteY149" fmla="*/ 422343 h 755630"/>
                    <a:gd name="connsiteX150" fmla="*/ 352850 w 1180666"/>
                    <a:gd name="connsiteY150" fmla="*/ 421542 h 755630"/>
                    <a:gd name="connsiteX151" fmla="*/ 342577 w 1180666"/>
                    <a:gd name="connsiteY151" fmla="*/ 415325 h 755630"/>
                    <a:gd name="connsiteX152" fmla="*/ 333081 w 1180666"/>
                    <a:gd name="connsiteY152" fmla="*/ 410540 h 755630"/>
                    <a:gd name="connsiteX153" fmla="*/ 329571 w 1180666"/>
                    <a:gd name="connsiteY153" fmla="*/ 411014 h 755630"/>
                    <a:gd name="connsiteX154" fmla="*/ 321958 w 1180666"/>
                    <a:gd name="connsiteY154" fmla="*/ 420716 h 755630"/>
                    <a:gd name="connsiteX155" fmla="*/ 319772 w 1180666"/>
                    <a:gd name="connsiteY155" fmla="*/ 426606 h 755630"/>
                    <a:gd name="connsiteX156" fmla="*/ 317016 w 1180666"/>
                    <a:gd name="connsiteY156" fmla="*/ 429848 h 755630"/>
                    <a:gd name="connsiteX157" fmla="*/ 315632 w 1180666"/>
                    <a:gd name="connsiteY157" fmla="*/ 431268 h 755630"/>
                    <a:gd name="connsiteX158" fmla="*/ 315352 w 1180666"/>
                    <a:gd name="connsiteY158" fmla="*/ 433236 h 755630"/>
                    <a:gd name="connsiteX159" fmla="*/ 312960 w 1180666"/>
                    <a:gd name="connsiteY159" fmla="*/ 439550 h 755630"/>
                    <a:gd name="connsiteX160" fmla="*/ 306306 w 1180666"/>
                    <a:gd name="connsiteY160" fmla="*/ 441711 h 755630"/>
                    <a:gd name="connsiteX161" fmla="*/ 303306 w 1180666"/>
                    <a:gd name="connsiteY161" fmla="*/ 442306 h 755630"/>
                    <a:gd name="connsiteX162" fmla="*/ 298668 w 1180666"/>
                    <a:gd name="connsiteY162" fmla="*/ 447965 h 755630"/>
                    <a:gd name="connsiteX163" fmla="*/ 297951 w 1180666"/>
                    <a:gd name="connsiteY163" fmla="*/ 448973 h 755630"/>
                    <a:gd name="connsiteX164" fmla="*/ 283683 w 1180666"/>
                    <a:gd name="connsiteY164" fmla="*/ 457801 h 755630"/>
                    <a:gd name="connsiteX165" fmla="*/ 269464 w 1180666"/>
                    <a:gd name="connsiteY165" fmla="*/ 451462 h 755630"/>
                    <a:gd name="connsiteX166" fmla="*/ 267521 w 1180666"/>
                    <a:gd name="connsiteY166" fmla="*/ 449568 h 755630"/>
                    <a:gd name="connsiteX167" fmla="*/ 254917 w 1180666"/>
                    <a:gd name="connsiteY167" fmla="*/ 445427 h 755630"/>
                    <a:gd name="connsiteX168" fmla="*/ 251930 w 1180666"/>
                    <a:gd name="connsiteY168" fmla="*/ 445196 h 755630"/>
                    <a:gd name="connsiteX169" fmla="*/ 237929 w 1180666"/>
                    <a:gd name="connsiteY169" fmla="*/ 440024 h 755630"/>
                    <a:gd name="connsiteX170" fmla="*/ 234772 w 1180666"/>
                    <a:gd name="connsiteY170" fmla="*/ 437996 h 755630"/>
                    <a:gd name="connsiteX171" fmla="*/ 230789 w 1180666"/>
                    <a:gd name="connsiteY171" fmla="*/ 436028 h 755630"/>
                    <a:gd name="connsiteX172" fmla="*/ 223357 w 1180666"/>
                    <a:gd name="connsiteY172" fmla="*/ 431706 h 755630"/>
                    <a:gd name="connsiteX173" fmla="*/ 220504 w 1180666"/>
                    <a:gd name="connsiteY173" fmla="*/ 427359 h 755630"/>
                    <a:gd name="connsiteX174" fmla="*/ 218670 w 1180666"/>
                    <a:gd name="connsiteY174" fmla="*/ 424590 h 755630"/>
                    <a:gd name="connsiteX175" fmla="*/ 215270 w 1180666"/>
                    <a:gd name="connsiteY175" fmla="*/ 423339 h 755630"/>
                    <a:gd name="connsiteX176" fmla="*/ 207887 w 1180666"/>
                    <a:gd name="connsiteY176" fmla="*/ 428257 h 755630"/>
                    <a:gd name="connsiteX177" fmla="*/ 201379 w 1180666"/>
                    <a:gd name="connsiteY177" fmla="*/ 433260 h 755630"/>
                    <a:gd name="connsiteX178" fmla="*/ 196230 w 1180666"/>
                    <a:gd name="connsiteY178" fmla="*/ 434049 h 755630"/>
                    <a:gd name="connsiteX179" fmla="*/ 186588 w 1180666"/>
                    <a:gd name="connsiteY179" fmla="*/ 431341 h 755630"/>
                    <a:gd name="connsiteX180" fmla="*/ 183018 w 1180666"/>
                    <a:gd name="connsiteY180" fmla="*/ 424590 h 755630"/>
                    <a:gd name="connsiteX181" fmla="*/ 182023 w 1180666"/>
                    <a:gd name="connsiteY181" fmla="*/ 421651 h 755630"/>
                    <a:gd name="connsiteX182" fmla="*/ 173984 w 1180666"/>
                    <a:gd name="connsiteY182" fmla="*/ 418676 h 755630"/>
                    <a:gd name="connsiteX183" fmla="*/ 162788 w 1180666"/>
                    <a:gd name="connsiteY183" fmla="*/ 420388 h 755630"/>
                    <a:gd name="connsiteX184" fmla="*/ 151046 w 1180666"/>
                    <a:gd name="connsiteY184" fmla="*/ 421530 h 755630"/>
                    <a:gd name="connsiteX185" fmla="*/ 142655 w 1180666"/>
                    <a:gd name="connsiteY185" fmla="*/ 421421 h 755630"/>
                    <a:gd name="connsiteX186" fmla="*/ 134301 w 1180666"/>
                    <a:gd name="connsiteY186" fmla="*/ 422016 h 755630"/>
                    <a:gd name="connsiteX187" fmla="*/ 126857 w 1180666"/>
                    <a:gd name="connsiteY187" fmla="*/ 425306 h 755630"/>
                    <a:gd name="connsiteX188" fmla="*/ 124781 w 1180666"/>
                    <a:gd name="connsiteY188" fmla="*/ 426496 h 755630"/>
                    <a:gd name="connsiteX189" fmla="*/ 113185 w 1180666"/>
                    <a:gd name="connsiteY189" fmla="*/ 429629 h 755630"/>
                    <a:gd name="connsiteX190" fmla="*/ 107866 w 1180666"/>
                    <a:gd name="connsiteY190" fmla="*/ 429593 h 755630"/>
                    <a:gd name="connsiteX191" fmla="*/ 96233 w 1180666"/>
                    <a:gd name="connsiteY191" fmla="*/ 430868 h 755630"/>
                    <a:gd name="connsiteX192" fmla="*/ 91060 w 1180666"/>
                    <a:gd name="connsiteY192" fmla="*/ 435519 h 755630"/>
                    <a:gd name="connsiteX193" fmla="*/ 90380 w 1180666"/>
                    <a:gd name="connsiteY193" fmla="*/ 436879 h 755630"/>
                    <a:gd name="connsiteX194" fmla="*/ 68984 w 1180666"/>
                    <a:gd name="connsiteY194" fmla="*/ 450296 h 755630"/>
                    <a:gd name="connsiteX195" fmla="*/ 67928 w 1180666"/>
                    <a:gd name="connsiteY195" fmla="*/ 450296 h 755630"/>
                    <a:gd name="connsiteX196" fmla="*/ 33502 w 1180666"/>
                    <a:gd name="connsiteY196" fmla="*/ 423473 h 755630"/>
                    <a:gd name="connsiteX197" fmla="*/ 32677 w 1180666"/>
                    <a:gd name="connsiteY197" fmla="*/ 422477 h 755630"/>
                    <a:gd name="connsiteX198" fmla="*/ 31062 w 1180666"/>
                    <a:gd name="connsiteY198" fmla="*/ 423363 h 755630"/>
                    <a:gd name="connsiteX199" fmla="*/ 29957 w 1180666"/>
                    <a:gd name="connsiteY199" fmla="*/ 423861 h 755630"/>
                    <a:gd name="connsiteX200" fmla="*/ 27929 w 1180666"/>
                    <a:gd name="connsiteY200" fmla="*/ 423145 h 755630"/>
                    <a:gd name="connsiteX201" fmla="*/ 26241 w 1180666"/>
                    <a:gd name="connsiteY201" fmla="*/ 421979 h 755630"/>
                    <a:gd name="connsiteX202" fmla="*/ 25197 w 1180666"/>
                    <a:gd name="connsiteY202" fmla="*/ 420546 h 755630"/>
                    <a:gd name="connsiteX203" fmla="*/ 23545 w 1180666"/>
                    <a:gd name="connsiteY203" fmla="*/ 417583 h 755630"/>
                    <a:gd name="connsiteX204" fmla="*/ 19987 w 1180666"/>
                    <a:gd name="connsiteY204" fmla="*/ 413151 h 755630"/>
                    <a:gd name="connsiteX205" fmla="*/ 18372 w 1180666"/>
                    <a:gd name="connsiteY205" fmla="*/ 410334 h 755630"/>
                    <a:gd name="connsiteX206" fmla="*/ 18020 w 1180666"/>
                    <a:gd name="connsiteY206" fmla="*/ 406181 h 755630"/>
                    <a:gd name="connsiteX207" fmla="*/ 18518 w 1180666"/>
                    <a:gd name="connsiteY207" fmla="*/ 402891 h 755630"/>
                    <a:gd name="connsiteX208" fmla="*/ 18385 w 1180666"/>
                    <a:gd name="connsiteY208" fmla="*/ 402211 h 755630"/>
                    <a:gd name="connsiteX209" fmla="*/ 16332 w 1180666"/>
                    <a:gd name="connsiteY209" fmla="*/ 399381 h 755630"/>
                    <a:gd name="connsiteX210" fmla="*/ 14644 w 1180666"/>
                    <a:gd name="connsiteY210" fmla="*/ 396345 h 755630"/>
                    <a:gd name="connsiteX211" fmla="*/ 13503 w 1180666"/>
                    <a:gd name="connsiteY211" fmla="*/ 392302 h 755630"/>
                    <a:gd name="connsiteX212" fmla="*/ 12811 w 1180666"/>
                    <a:gd name="connsiteY212" fmla="*/ 390456 h 755630"/>
                    <a:gd name="connsiteX213" fmla="*/ 11973 w 1180666"/>
                    <a:gd name="connsiteY213" fmla="*/ 389812 h 755630"/>
                    <a:gd name="connsiteX214" fmla="*/ 11220 w 1180666"/>
                    <a:gd name="connsiteY214" fmla="*/ 389764 h 755630"/>
                    <a:gd name="connsiteX215" fmla="*/ 7954 w 1180666"/>
                    <a:gd name="connsiteY215" fmla="*/ 390068 h 755630"/>
                    <a:gd name="connsiteX216" fmla="*/ 5914 w 1180666"/>
                    <a:gd name="connsiteY216" fmla="*/ 389861 h 755630"/>
                    <a:gd name="connsiteX217" fmla="*/ 2307 w 1180666"/>
                    <a:gd name="connsiteY217" fmla="*/ 388416 h 755630"/>
                    <a:gd name="connsiteX218" fmla="*/ 0 w 1180666"/>
                    <a:gd name="connsiteY218" fmla="*/ 386218 h 755630"/>
                    <a:gd name="connsiteX219" fmla="*/ 729 w 1180666"/>
                    <a:gd name="connsiteY219" fmla="*/ 384324 h 755630"/>
                    <a:gd name="connsiteX220" fmla="*/ 935 w 1180666"/>
                    <a:gd name="connsiteY220" fmla="*/ 380159 h 755630"/>
                    <a:gd name="connsiteX221" fmla="*/ 984 w 1180666"/>
                    <a:gd name="connsiteY221" fmla="*/ 377767 h 755630"/>
                    <a:gd name="connsiteX222" fmla="*/ 8791 w 1180666"/>
                    <a:gd name="connsiteY222" fmla="*/ 376079 h 755630"/>
                    <a:gd name="connsiteX223" fmla="*/ 12337 w 1180666"/>
                    <a:gd name="connsiteY223" fmla="*/ 374622 h 755630"/>
                    <a:gd name="connsiteX224" fmla="*/ 15980 w 1180666"/>
                    <a:gd name="connsiteY224" fmla="*/ 373553 h 755630"/>
                    <a:gd name="connsiteX225" fmla="*/ 16065 w 1180666"/>
                    <a:gd name="connsiteY225" fmla="*/ 373371 h 755630"/>
                    <a:gd name="connsiteX226" fmla="*/ 16004 w 1180666"/>
                    <a:gd name="connsiteY226" fmla="*/ 372594 h 755630"/>
                    <a:gd name="connsiteX227" fmla="*/ 15494 w 1180666"/>
                    <a:gd name="connsiteY227" fmla="*/ 371829 h 755630"/>
                    <a:gd name="connsiteX228" fmla="*/ 14414 w 1180666"/>
                    <a:gd name="connsiteY228" fmla="*/ 368805 h 755630"/>
                    <a:gd name="connsiteX229" fmla="*/ 15604 w 1180666"/>
                    <a:gd name="connsiteY229" fmla="*/ 365017 h 755630"/>
                    <a:gd name="connsiteX230" fmla="*/ 19186 w 1180666"/>
                    <a:gd name="connsiteY230" fmla="*/ 363997 h 755630"/>
                    <a:gd name="connsiteX231" fmla="*/ 20449 w 1180666"/>
                    <a:gd name="connsiteY231" fmla="*/ 363050 h 755630"/>
                    <a:gd name="connsiteX232" fmla="*/ 22999 w 1180666"/>
                    <a:gd name="connsiteY232" fmla="*/ 356954 h 755630"/>
                    <a:gd name="connsiteX233" fmla="*/ 24092 w 1180666"/>
                    <a:gd name="connsiteY233" fmla="*/ 354732 h 755630"/>
                    <a:gd name="connsiteX234" fmla="*/ 24954 w 1180666"/>
                    <a:gd name="connsiteY234" fmla="*/ 353797 h 755630"/>
                    <a:gd name="connsiteX235" fmla="*/ 30540 w 1180666"/>
                    <a:gd name="connsiteY235" fmla="*/ 350785 h 755630"/>
                    <a:gd name="connsiteX236" fmla="*/ 31730 w 1180666"/>
                    <a:gd name="connsiteY236" fmla="*/ 350409 h 755630"/>
                    <a:gd name="connsiteX237" fmla="*/ 30515 w 1180666"/>
                    <a:gd name="connsiteY237" fmla="*/ 349449 h 755630"/>
                    <a:gd name="connsiteX238" fmla="*/ 30406 w 1180666"/>
                    <a:gd name="connsiteY238" fmla="*/ 346244 h 755630"/>
                    <a:gd name="connsiteX239" fmla="*/ 30540 w 1180666"/>
                    <a:gd name="connsiteY239" fmla="*/ 344107 h 755630"/>
                    <a:gd name="connsiteX240" fmla="*/ 32264 w 1180666"/>
                    <a:gd name="connsiteY240" fmla="*/ 342261 h 755630"/>
                    <a:gd name="connsiteX241" fmla="*/ 33806 w 1180666"/>
                    <a:gd name="connsiteY241" fmla="*/ 341107 h 755630"/>
                    <a:gd name="connsiteX242" fmla="*/ 35870 w 1180666"/>
                    <a:gd name="connsiteY242" fmla="*/ 339893 h 755630"/>
                    <a:gd name="connsiteX243" fmla="*/ 37680 w 1180666"/>
                    <a:gd name="connsiteY243" fmla="*/ 326669 h 755630"/>
                    <a:gd name="connsiteX244" fmla="*/ 38651 w 1180666"/>
                    <a:gd name="connsiteY244" fmla="*/ 322516 h 755630"/>
                    <a:gd name="connsiteX245" fmla="*/ 40898 w 1180666"/>
                    <a:gd name="connsiteY245" fmla="*/ 316299 h 755630"/>
                    <a:gd name="connsiteX246" fmla="*/ 41420 w 1180666"/>
                    <a:gd name="connsiteY246" fmla="*/ 314587 h 755630"/>
                    <a:gd name="connsiteX247" fmla="*/ 41833 w 1180666"/>
                    <a:gd name="connsiteY247" fmla="*/ 313688 h 755630"/>
                    <a:gd name="connsiteX248" fmla="*/ 44115 w 1180666"/>
                    <a:gd name="connsiteY248" fmla="*/ 310033 h 755630"/>
                    <a:gd name="connsiteX249" fmla="*/ 42403 w 1180666"/>
                    <a:gd name="connsiteY249" fmla="*/ 290083 h 755630"/>
                    <a:gd name="connsiteX250" fmla="*/ 41662 w 1180666"/>
                    <a:gd name="connsiteY250" fmla="*/ 286974 h 755630"/>
                    <a:gd name="connsiteX251" fmla="*/ 37498 w 1180666"/>
                    <a:gd name="connsiteY251" fmla="*/ 275232 h 755630"/>
                    <a:gd name="connsiteX252" fmla="*/ 38785 w 1180666"/>
                    <a:gd name="connsiteY252" fmla="*/ 271662 h 755630"/>
                    <a:gd name="connsiteX253" fmla="*/ 39538 w 1180666"/>
                    <a:gd name="connsiteY253" fmla="*/ 271941 h 755630"/>
                    <a:gd name="connsiteX254" fmla="*/ 40703 w 1180666"/>
                    <a:gd name="connsiteY254" fmla="*/ 269391 h 755630"/>
                    <a:gd name="connsiteX255" fmla="*/ 42100 w 1180666"/>
                    <a:gd name="connsiteY255" fmla="*/ 269695 h 755630"/>
                    <a:gd name="connsiteX256" fmla="*/ 46544 w 1180666"/>
                    <a:gd name="connsiteY256" fmla="*/ 270970 h 755630"/>
                    <a:gd name="connsiteX257" fmla="*/ 48025 w 1180666"/>
                    <a:gd name="connsiteY257" fmla="*/ 271152 h 755630"/>
                    <a:gd name="connsiteX258" fmla="*/ 51340 w 1180666"/>
                    <a:gd name="connsiteY258" fmla="*/ 270775 h 755630"/>
                    <a:gd name="connsiteX259" fmla="*/ 62730 w 1180666"/>
                    <a:gd name="connsiteY259" fmla="*/ 267776 h 755630"/>
                    <a:gd name="connsiteX260" fmla="*/ 84576 w 1180666"/>
                    <a:gd name="connsiteY260" fmla="*/ 265724 h 755630"/>
                    <a:gd name="connsiteX261" fmla="*/ 90489 w 1180666"/>
                    <a:gd name="connsiteY261" fmla="*/ 264048 h 755630"/>
                    <a:gd name="connsiteX262" fmla="*/ 94132 w 1180666"/>
                    <a:gd name="connsiteY262" fmla="*/ 260891 h 755630"/>
                    <a:gd name="connsiteX263" fmla="*/ 98941 w 1180666"/>
                    <a:gd name="connsiteY263" fmla="*/ 248505 h 755630"/>
                    <a:gd name="connsiteX264" fmla="*/ 106676 w 1180666"/>
                    <a:gd name="connsiteY264" fmla="*/ 243672 h 755630"/>
                    <a:gd name="connsiteX265" fmla="*/ 110865 w 1180666"/>
                    <a:gd name="connsiteY265" fmla="*/ 243320 h 755630"/>
                    <a:gd name="connsiteX266" fmla="*/ 118126 w 1180666"/>
                    <a:gd name="connsiteY266" fmla="*/ 243575 h 755630"/>
                    <a:gd name="connsiteX267" fmla="*/ 120616 w 1180666"/>
                    <a:gd name="connsiteY267" fmla="*/ 242616 h 755630"/>
                    <a:gd name="connsiteX268" fmla="*/ 122741 w 1180666"/>
                    <a:gd name="connsiteY268" fmla="*/ 240819 h 755630"/>
                    <a:gd name="connsiteX269" fmla="*/ 124975 w 1180666"/>
                    <a:gd name="connsiteY269" fmla="*/ 238621 h 755630"/>
                    <a:gd name="connsiteX270" fmla="*/ 127950 w 1180666"/>
                    <a:gd name="connsiteY270" fmla="*/ 236326 h 755630"/>
                    <a:gd name="connsiteX271" fmla="*/ 133305 w 1180666"/>
                    <a:gd name="connsiteY271" fmla="*/ 234432 h 755630"/>
                    <a:gd name="connsiteX272" fmla="*/ 141040 w 1180666"/>
                    <a:gd name="connsiteY272" fmla="*/ 235621 h 755630"/>
                    <a:gd name="connsiteX273" fmla="*/ 159000 w 1180666"/>
                    <a:gd name="connsiteY273" fmla="*/ 247983 h 755630"/>
                    <a:gd name="connsiteX274" fmla="*/ 179715 w 1180666"/>
                    <a:gd name="connsiteY274" fmla="*/ 258304 h 755630"/>
                    <a:gd name="connsiteX275" fmla="*/ 202981 w 1180666"/>
                    <a:gd name="connsiteY275" fmla="*/ 260648 h 755630"/>
                    <a:gd name="connsiteX276" fmla="*/ 256920 w 1180666"/>
                    <a:gd name="connsiteY276" fmla="*/ 257600 h 755630"/>
                    <a:gd name="connsiteX277" fmla="*/ 266720 w 1180666"/>
                    <a:gd name="connsiteY277" fmla="*/ 253059 h 755630"/>
                    <a:gd name="connsiteX278" fmla="*/ 272937 w 1180666"/>
                    <a:gd name="connsiteY278" fmla="*/ 253022 h 755630"/>
                    <a:gd name="connsiteX279" fmla="*/ 279895 w 1180666"/>
                    <a:gd name="connsiteY279" fmla="*/ 253800 h 755630"/>
                    <a:gd name="connsiteX280" fmla="*/ 292791 w 1180666"/>
                    <a:gd name="connsiteY280" fmla="*/ 253508 h 755630"/>
                    <a:gd name="connsiteX281" fmla="*/ 299955 w 1180666"/>
                    <a:gd name="connsiteY281" fmla="*/ 255014 h 755630"/>
                    <a:gd name="connsiteX282" fmla="*/ 306342 w 1180666"/>
                    <a:gd name="connsiteY282" fmla="*/ 258608 h 755630"/>
                    <a:gd name="connsiteX283" fmla="*/ 308528 w 1180666"/>
                    <a:gd name="connsiteY283" fmla="*/ 259397 h 755630"/>
                    <a:gd name="connsiteX284" fmla="*/ 311224 w 1180666"/>
                    <a:gd name="connsiteY284" fmla="*/ 259106 h 755630"/>
                    <a:gd name="connsiteX285" fmla="*/ 313664 w 1180666"/>
                    <a:gd name="connsiteY285" fmla="*/ 258365 h 755630"/>
                    <a:gd name="connsiteX286" fmla="*/ 316409 w 1180666"/>
                    <a:gd name="connsiteY286" fmla="*/ 257139 h 755630"/>
                    <a:gd name="connsiteX287" fmla="*/ 318934 w 1180666"/>
                    <a:gd name="connsiteY287" fmla="*/ 255512 h 755630"/>
                    <a:gd name="connsiteX288" fmla="*/ 320756 w 1180666"/>
                    <a:gd name="connsiteY288" fmla="*/ 253605 h 755630"/>
                    <a:gd name="connsiteX289" fmla="*/ 322529 w 1180666"/>
                    <a:gd name="connsiteY289" fmla="*/ 250472 h 755630"/>
                    <a:gd name="connsiteX290" fmla="*/ 323803 w 1180666"/>
                    <a:gd name="connsiteY290" fmla="*/ 247242 h 755630"/>
                    <a:gd name="connsiteX291" fmla="*/ 326317 w 1180666"/>
                    <a:gd name="connsiteY291" fmla="*/ 243089 h 755630"/>
                    <a:gd name="connsiteX292" fmla="*/ 330749 w 1180666"/>
                    <a:gd name="connsiteY292" fmla="*/ 240102 h 755630"/>
                    <a:gd name="connsiteX293" fmla="*/ 333992 w 1180666"/>
                    <a:gd name="connsiteY293" fmla="*/ 239592 h 755630"/>
                    <a:gd name="connsiteX294" fmla="*/ 342225 w 1180666"/>
                    <a:gd name="connsiteY294" fmla="*/ 240005 h 755630"/>
                    <a:gd name="connsiteX295" fmla="*/ 346729 w 1180666"/>
                    <a:gd name="connsiteY295" fmla="*/ 241171 h 755630"/>
                    <a:gd name="connsiteX296" fmla="*/ 349061 w 1180666"/>
                    <a:gd name="connsiteY296" fmla="*/ 244717 h 755630"/>
                    <a:gd name="connsiteX297" fmla="*/ 353311 w 1180666"/>
                    <a:gd name="connsiteY297" fmla="*/ 253520 h 755630"/>
                    <a:gd name="connsiteX298" fmla="*/ 354331 w 1180666"/>
                    <a:gd name="connsiteY298" fmla="*/ 254382 h 755630"/>
                    <a:gd name="connsiteX299" fmla="*/ 356663 w 1180666"/>
                    <a:gd name="connsiteY299" fmla="*/ 254212 h 755630"/>
                    <a:gd name="connsiteX300" fmla="*/ 362685 w 1180666"/>
                    <a:gd name="connsiteY300" fmla="*/ 252100 h 755630"/>
                    <a:gd name="connsiteX301" fmla="*/ 366935 w 1180666"/>
                    <a:gd name="connsiteY301" fmla="*/ 251820 h 755630"/>
                    <a:gd name="connsiteX302" fmla="*/ 376188 w 1180666"/>
                    <a:gd name="connsiteY302" fmla="*/ 254309 h 755630"/>
                    <a:gd name="connsiteX303" fmla="*/ 378532 w 1180666"/>
                    <a:gd name="connsiteY303" fmla="*/ 254431 h 755630"/>
                    <a:gd name="connsiteX304" fmla="*/ 386983 w 1180666"/>
                    <a:gd name="connsiteY304" fmla="*/ 253314 h 755630"/>
                    <a:gd name="connsiteX305" fmla="*/ 391610 w 1180666"/>
                    <a:gd name="connsiteY305" fmla="*/ 251019 h 755630"/>
                    <a:gd name="connsiteX306" fmla="*/ 403194 w 1180666"/>
                    <a:gd name="connsiteY306" fmla="*/ 243697 h 755630"/>
                    <a:gd name="connsiteX307" fmla="*/ 410941 w 1180666"/>
                    <a:gd name="connsiteY307" fmla="*/ 242081 h 755630"/>
                    <a:gd name="connsiteX308" fmla="*/ 416393 w 1180666"/>
                    <a:gd name="connsiteY308" fmla="*/ 244935 h 755630"/>
                    <a:gd name="connsiteX309" fmla="*/ 416807 w 1180666"/>
                    <a:gd name="connsiteY309" fmla="*/ 246052 h 755630"/>
                    <a:gd name="connsiteX310" fmla="*/ 420607 w 1180666"/>
                    <a:gd name="connsiteY310" fmla="*/ 244304 h 755630"/>
                    <a:gd name="connsiteX311" fmla="*/ 420607 w 1180666"/>
                    <a:gd name="connsiteY311" fmla="*/ 243272 h 755630"/>
                    <a:gd name="connsiteX312" fmla="*/ 419745 w 1180666"/>
                    <a:gd name="connsiteY312" fmla="*/ 238427 h 755630"/>
                    <a:gd name="connsiteX313" fmla="*/ 426169 w 1180666"/>
                    <a:gd name="connsiteY313" fmla="*/ 236641 h 755630"/>
                    <a:gd name="connsiteX314" fmla="*/ 430419 w 1180666"/>
                    <a:gd name="connsiteY314" fmla="*/ 238354 h 755630"/>
                    <a:gd name="connsiteX315" fmla="*/ 437182 w 1180666"/>
                    <a:gd name="connsiteY315" fmla="*/ 243721 h 755630"/>
                    <a:gd name="connsiteX316" fmla="*/ 438967 w 1180666"/>
                    <a:gd name="connsiteY316" fmla="*/ 244486 h 755630"/>
                    <a:gd name="connsiteX317" fmla="*/ 448548 w 1180666"/>
                    <a:gd name="connsiteY317" fmla="*/ 243089 h 755630"/>
                    <a:gd name="connsiteX318" fmla="*/ 454110 w 1180666"/>
                    <a:gd name="connsiteY318" fmla="*/ 237771 h 755630"/>
                    <a:gd name="connsiteX319" fmla="*/ 455336 w 1180666"/>
                    <a:gd name="connsiteY319" fmla="*/ 231954 h 755630"/>
                    <a:gd name="connsiteX320" fmla="*/ 488146 w 1180666"/>
                    <a:gd name="connsiteY320" fmla="*/ 234747 h 755630"/>
                    <a:gd name="connsiteX321" fmla="*/ 498346 w 1180666"/>
                    <a:gd name="connsiteY321" fmla="*/ 232440 h 755630"/>
                    <a:gd name="connsiteX322" fmla="*/ 511922 w 1180666"/>
                    <a:gd name="connsiteY322" fmla="*/ 231214 h 755630"/>
                    <a:gd name="connsiteX323" fmla="*/ 534872 w 1180666"/>
                    <a:gd name="connsiteY323" fmla="*/ 227680 h 755630"/>
                    <a:gd name="connsiteX324" fmla="*/ 548958 w 1180666"/>
                    <a:gd name="connsiteY324" fmla="*/ 224219 h 755630"/>
                    <a:gd name="connsiteX325" fmla="*/ 560506 w 1180666"/>
                    <a:gd name="connsiteY325" fmla="*/ 218536 h 755630"/>
                    <a:gd name="connsiteX326" fmla="*/ 571908 w 1180666"/>
                    <a:gd name="connsiteY326" fmla="*/ 211178 h 755630"/>
                    <a:gd name="connsiteX327" fmla="*/ 584865 w 1180666"/>
                    <a:gd name="connsiteY327" fmla="*/ 211178 h 755630"/>
                    <a:gd name="connsiteX328" fmla="*/ 597760 w 1180666"/>
                    <a:gd name="connsiteY328" fmla="*/ 221244 h 755630"/>
                    <a:gd name="connsiteX329" fmla="*/ 608883 w 1180666"/>
                    <a:gd name="connsiteY329" fmla="*/ 228761 h 755630"/>
                    <a:gd name="connsiteX330" fmla="*/ 619885 w 1180666"/>
                    <a:gd name="connsiteY330" fmla="*/ 227668 h 755630"/>
                    <a:gd name="connsiteX331" fmla="*/ 631263 w 1180666"/>
                    <a:gd name="connsiteY331" fmla="*/ 227656 h 755630"/>
                    <a:gd name="connsiteX332" fmla="*/ 642847 w 1180666"/>
                    <a:gd name="connsiteY332" fmla="*/ 230109 h 755630"/>
                    <a:gd name="connsiteX333" fmla="*/ 671201 w 1180666"/>
                    <a:gd name="connsiteY333" fmla="*/ 232392 h 755630"/>
                    <a:gd name="connsiteX334" fmla="*/ 688152 w 1180666"/>
                    <a:gd name="connsiteY334" fmla="*/ 230072 h 755630"/>
                    <a:gd name="connsiteX335" fmla="*/ 706780 w 1180666"/>
                    <a:gd name="connsiteY335" fmla="*/ 226539 h 755630"/>
                    <a:gd name="connsiteX336" fmla="*/ 720963 w 1180666"/>
                    <a:gd name="connsiteY336" fmla="*/ 227595 h 755630"/>
                    <a:gd name="connsiteX337" fmla="*/ 730641 w 1180666"/>
                    <a:gd name="connsiteY337" fmla="*/ 221815 h 755630"/>
                    <a:gd name="connsiteX338" fmla="*/ 750130 w 1180666"/>
                    <a:gd name="connsiteY338" fmla="*/ 220601 h 755630"/>
                    <a:gd name="connsiteX339" fmla="*/ 762054 w 1180666"/>
                    <a:gd name="connsiteY339" fmla="*/ 219435 h 755630"/>
                    <a:gd name="connsiteX340" fmla="*/ 774380 w 1180666"/>
                    <a:gd name="connsiteY340" fmla="*/ 212696 h 755630"/>
                    <a:gd name="connsiteX341" fmla="*/ 786680 w 1180666"/>
                    <a:gd name="connsiteY341" fmla="*/ 207875 h 755630"/>
                    <a:gd name="connsiteX342" fmla="*/ 793590 w 1180666"/>
                    <a:gd name="connsiteY342" fmla="*/ 201038 h 755630"/>
                    <a:gd name="connsiteX343" fmla="*/ 794124 w 1180666"/>
                    <a:gd name="connsiteY343" fmla="*/ 194676 h 755630"/>
                    <a:gd name="connsiteX344" fmla="*/ 794804 w 1180666"/>
                    <a:gd name="connsiteY344" fmla="*/ 183929 h 755630"/>
                    <a:gd name="connsiteX345" fmla="*/ 800790 w 1180666"/>
                    <a:gd name="connsiteY345" fmla="*/ 172102 h 755630"/>
                    <a:gd name="connsiteX346" fmla="*/ 809120 w 1180666"/>
                    <a:gd name="connsiteY346" fmla="*/ 165508 h 755630"/>
                    <a:gd name="connsiteX347" fmla="*/ 810007 w 1180666"/>
                    <a:gd name="connsiteY347" fmla="*/ 164707 h 755630"/>
                    <a:gd name="connsiteX348" fmla="*/ 820000 w 1180666"/>
                    <a:gd name="connsiteY348" fmla="*/ 156389 h 755630"/>
                    <a:gd name="connsiteX349" fmla="*/ 825319 w 1180666"/>
                    <a:gd name="connsiteY349" fmla="*/ 150718 h 755630"/>
                    <a:gd name="connsiteX350" fmla="*/ 829873 w 1180666"/>
                    <a:gd name="connsiteY350" fmla="*/ 144477 h 755630"/>
                    <a:gd name="connsiteX351" fmla="*/ 833127 w 1180666"/>
                    <a:gd name="connsiteY351" fmla="*/ 139874 h 755630"/>
                    <a:gd name="connsiteX352" fmla="*/ 845768 w 1180666"/>
                    <a:gd name="connsiteY352" fmla="*/ 132479 h 755630"/>
                    <a:gd name="connsiteX353" fmla="*/ 855336 w 1180666"/>
                    <a:gd name="connsiteY353" fmla="*/ 124489 h 755630"/>
                    <a:gd name="connsiteX354" fmla="*/ 863873 w 1180666"/>
                    <a:gd name="connsiteY354" fmla="*/ 115285 h 755630"/>
                    <a:gd name="connsiteX355" fmla="*/ 875227 w 1180666"/>
                    <a:gd name="connsiteY355" fmla="*/ 95638 h 755630"/>
                    <a:gd name="connsiteX356" fmla="*/ 885524 w 1180666"/>
                    <a:gd name="connsiteY356" fmla="*/ 94266 h 755630"/>
                    <a:gd name="connsiteX357" fmla="*/ 901880 w 1180666"/>
                    <a:gd name="connsiteY357" fmla="*/ 90720 h 755630"/>
                    <a:gd name="connsiteX358" fmla="*/ 918468 w 1180666"/>
                    <a:gd name="connsiteY358" fmla="*/ 87223 h 755630"/>
                    <a:gd name="connsiteX359" fmla="*/ 932711 w 1180666"/>
                    <a:gd name="connsiteY359" fmla="*/ 84393 h 755630"/>
                    <a:gd name="connsiteX360" fmla="*/ 938467 w 1180666"/>
                    <a:gd name="connsiteY360" fmla="*/ 94460 h 755630"/>
                    <a:gd name="connsiteX361" fmla="*/ 967744 w 1180666"/>
                    <a:gd name="connsiteY361" fmla="*/ 85219 h 755630"/>
                    <a:gd name="connsiteX362" fmla="*/ 984987 w 1180666"/>
                    <a:gd name="connsiteY362" fmla="*/ 77083 h 755630"/>
                    <a:gd name="connsiteX363" fmla="*/ 1004986 w 1180666"/>
                    <a:gd name="connsiteY363" fmla="*/ 68741 h 755630"/>
                    <a:gd name="connsiteX364" fmla="*/ 1006893 w 1180666"/>
                    <a:gd name="connsiteY364" fmla="*/ 67102 h 755630"/>
                    <a:gd name="connsiteX365" fmla="*/ 1016424 w 1180666"/>
                    <a:gd name="connsiteY365" fmla="*/ 59682 h 755630"/>
                    <a:gd name="connsiteX366" fmla="*/ 1028373 w 1180666"/>
                    <a:gd name="connsiteY366" fmla="*/ 55627 h 755630"/>
                    <a:gd name="connsiteX367" fmla="*/ 1042228 w 1180666"/>
                    <a:gd name="connsiteY367" fmla="*/ 48657 h 755630"/>
                    <a:gd name="connsiteX368" fmla="*/ 1057516 w 1180666"/>
                    <a:gd name="connsiteY368" fmla="*/ 40485 h 755630"/>
                    <a:gd name="connsiteX369" fmla="*/ 1071809 w 1180666"/>
                    <a:gd name="connsiteY369" fmla="*/ 56453 h 755630"/>
                    <a:gd name="connsiteX370" fmla="*/ 1074140 w 1180666"/>
                    <a:gd name="connsiteY370" fmla="*/ 52737 h 755630"/>
                    <a:gd name="connsiteX371" fmla="*/ 1077139 w 1180666"/>
                    <a:gd name="connsiteY371" fmla="*/ 43860 h 755630"/>
                    <a:gd name="connsiteX372" fmla="*/ 1076969 w 1180666"/>
                    <a:gd name="connsiteY372" fmla="*/ 35385 h 755630"/>
                    <a:gd name="connsiteX373" fmla="*/ 1079677 w 1180666"/>
                    <a:gd name="connsiteY373" fmla="*/ 24869 h 755630"/>
                    <a:gd name="connsiteX374" fmla="*/ 1097576 w 1180666"/>
                    <a:gd name="connsiteY374" fmla="*/ 17134 h 755630"/>
                    <a:gd name="connsiteX375" fmla="*/ 1118887 w 1180666"/>
                    <a:gd name="connsiteY375" fmla="*/ 11099 h 755630"/>
                    <a:gd name="connsiteX376" fmla="*/ 1145019 w 1180666"/>
                    <a:gd name="connsiteY376" fmla="*/ 0 h 755630"/>
                    <a:gd name="connsiteX377" fmla="*/ 1146463 w 1180666"/>
                    <a:gd name="connsiteY377" fmla="*/ 1700 h 755630"/>
                    <a:gd name="connsiteX378" fmla="*/ 1158619 w 1180666"/>
                    <a:gd name="connsiteY378" fmla="*/ 20206 h 755630"/>
                    <a:gd name="connsiteX379" fmla="*/ 1145455 w 1180666"/>
                    <a:gd name="connsiteY379" fmla="*/ 49774 h 755630"/>
                    <a:gd name="connsiteX380" fmla="*/ 1133410 w 1180666"/>
                    <a:gd name="connsiteY380" fmla="*/ 67078 h 755630"/>
                    <a:gd name="connsiteX381" fmla="*/ 1135219 w 1180666"/>
                    <a:gd name="connsiteY381" fmla="*/ 71242 h 755630"/>
                    <a:gd name="connsiteX382" fmla="*/ 1138109 w 1180666"/>
                    <a:gd name="connsiteY382" fmla="*/ 79791 h 755630"/>
                    <a:gd name="connsiteX383" fmla="*/ 1147301 w 1180666"/>
                    <a:gd name="connsiteY383" fmla="*/ 88255 h 755630"/>
                    <a:gd name="connsiteX384" fmla="*/ 1158983 w 1180666"/>
                    <a:gd name="connsiteY384" fmla="*/ 91278 h 755630"/>
                    <a:gd name="connsiteX385" fmla="*/ 1166099 w 1180666"/>
                    <a:gd name="connsiteY385" fmla="*/ 93476 h 755630"/>
                    <a:gd name="connsiteX386" fmla="*/ 1180257 w 1180666"/>
                    <a:gd name="connsiteY386" fmla="*/ 101867 h 755630"/>
                    <a:gd name="connsiteX387" fmla="*/ 1176784 w 1180666"/>
                    <a:gd name="connsiteY387" fmla="*/ 113378 h 755630"/>
                    <a:gd name="connsiteX388" fmla="*/ 1158266 w 1180666"/>
                    <a:gd name="connsiteY388" fmla="*/ 130864 h 755630"/>
                    <a:gd name="connsiteX389" fmla="*/ 1154587 w 1180666"/>
                    <a:gd name="connsiteY389" fmla="*/ 133815 h 755630"/>
                    <a:gd name="connsiteX390" fmla="*/ 1123064 w 1180666"/>
                    <a:gd name="connsiteY390" fmla="*/ 145011 h 755630"/>
                    <a:gd name="connsiteX391" fmla="*/ 1120405 w 1180666"/>
                    <a:gd name="connsiteY391" fmla="*/ 144926 h 755630"/>
                    <a:gd name="connsiteX392" fmla="*/ 1116070 w 1180666"/>
                    <a:gd name="connsiteY392" fmla="*/ 144440 h 755630"/>
                    <a:gd name="connsiteX393" fmla="*/ 1112148 w 1180666"/>
                    <a:gd name="connsiteY393" fmla="*/ 144076 h 755630"/>
                    <a:gd name="connsiteX394" fmla="*/ 1107424 w 1180666"/>
                    <a:gd name="connsiteY394" fmla="*/ 144853 h 755630"/>
                    <a:gd name="connsiteX395" fmla="*/ 1100308 w 1180666"/>
                    <a:gd name="connsiteY395" fmla="*/ 147913 h 755630"/>
                    <a:gd name="connsiteX396" fmla="*/ 1089428 w 1180666"/>
                    <a:gd name="connsiteY396" fmla="*/ 152054 h 755630"/>
                    <a:gd name="connsiteX397" fmla="*/ 1083733 w 1180666"/>
                    <a:gd name="connsiteY397" fmla="*/ 152709 h 755630"/>
                    <a:gd name="connsiteX398" fmla="*/ 1075949 w 1180666"/>
                    <a:gd name="connsiteY398" fmla="*/ 154786 h 755630"/>
                    <a:gd name="connsiteX399" fmla="*/ 1068919 w 1180666"/>
                    <a:gd name="connsiteY399" fmla="*/ 163019 h 755630"/>
                    <a:gd name="connsiteX400" fmla="*/ 1066029 w 1180666"/>
                    <a:gd name="connsiteY400" fmla="*/ 167075 h 755630"/>
                    <a:gd name="connsiteX401" fmla="*/ 1057091 w 1180666"/>
                    <a:gd name="connsiteY401" fmla="*/ 173984 h 755630"/>
                    <a:gd name="connsiteX402" fmla="*/ 1054250 w 1180666"/>
                    <a:gd name="connsiteY402" fmla="*/ 175101 h 755630"/>
                    <a:gd name="connsiteX403" fmla="*/ 1044208 w 1180666"/>
                    <a:gd name="connsiteY403" fmla="*/ 178987 h 755630"/>
                    <a:gd name="connsiteX404" fmla="*/ 1030996 w 1180666"/>
                    <a:gd name="connsiteY404" fmla="*/ 192368 h 755630"/>
                    <a:gd name="connsiteX405" fmla="*/ 1018708 w 1180666"/>
                    <a:gd name="connsiteY405" fmla="*/ 205580 h 755630"/>
                    <a:gd name="connsiteX406" fmla="*/ 1018040 w 1180666"/>
                    <a:gd name="connsiteY406" fmla="*/ 206709 h 755630"/>
                    <a:gd name="connsiteX407" fmla="*/ 1015356 w 1180666"/>
                    <a:gd name="connsiteY407" fmla="*/ 207316 h 755630"/>
                    <a:gd name="connsiteX408" fmla="*/ 1012344 w 1180666"/>
                    <a:gd name="connsiteY408" fmla="*/ 207037 h 755630"/>
                    <a:gd name="connsiteX409" fmla="*/ 996571 w 1180666"/>
                    <a:gd name="connsiteY409" fmla="*/ 212963 h 755630"/>
                    <a:gd name="connsiteX410" fmla="*/ 988557 w 1180666"/>
                    <a:gd name="connsiteY410" fmla="*/ 217225 h 755630"/>
                    <a:gd name="connsiteX411" fmla="*/ 979595 w 1180666"/>
                    <a:gd name="connsiteY411" fmla="*/ 220953 h 755630"/>
                    <a:gd name="connsiteX412" fmla="*/ 974532 w 1180666"/>
                    <a:gd name="connsiteY412" fmla="*/ 223017 h 755630"/>
                    <a:gd name="connsiteX413" fmla="*/ 964841 w 1180666"/>
                    <a:gd name="connsiteY413" fmla="*/ 230012 h 755630"/>
                    <a:gd name="connsiteX414" fmla="*/ 959207 w 1180666"/>
                    <a:gd name="connsiteY414" fmla="*/ 234723 h 755630"/>
                    <a:gd name="connsiteX415" fmla="*/ 936075 w 1180666"/>
                    <a:gd name="connsiteY415" fmla="*/ 247121 h 755630"/>
                    <a:gd name="connsiteX416" fmla="*/ 920289 w 1180666"/>
                    <a:gd name="connsiteY416" fmla="*/ 253800 h 755630"/>
                    <a:gd name="connsiteX417" fmla="*/ 912530 w 1180666"/>
                    <a:gd name="connsiteY417" fmla="*/ 258632 h 755630"/>
                    <a:gd name="connsiteX418" fmla="*/ 904430 w 1180666"/>
                    <a:gd name="connsiteY418" fmla="*/ 263708 h 755630"/>
                    <a:gd name="connsiteX419" fmla="*/ 891547 w 1180666"/>
                    <a:gd name="connsiteY419" fmla="*/ 271795 h 755630"/>
                    <a:gd name="connsiteX420" fmla="*/ 886022 w 1180666"/>
                    <a:gd name="connsiteY420" fmla="*/ 275657 h 755630"/>
                    <a:gd name="connsiteX421" fmla="*/ 879222 w 1180666"/>
                    <a:gd name="connsiteY421" fmla="*/ 280866 h 755630"/>
                    <a:gd name="connsiteX422" fmla="*/ 877485 w 1180666"/>
                    <a:gd name="connsiteY422" fmla="*/ 287351 h 755630"/>
                    <a:gd name="connsiteX423" fmla="*/ 875372 w 1180666"/>
                    <a:gd name="connsiteY423" fmla="*/ 295377 h 755630"/>
                    <a:gd name="connsiteX424" fmla="*/ 866775 w 1180666"/>
                    <a:gd name="connsiteY424" fmla="*/ 305031 h 755630"/>
                    <a:gd name="connsiteX425" fmla="*/ 864067 w 1180666"/>
                    <a:gd name="connsiteY425" fmla="*/ 307350 h 755630"/>
                    <a:gd name="connsiteX426" fmla="*/ 862671 w 1180666"/>
                    <a:gd name="connsiteY426" fmla="*/ 309038 h 755630"/>
                    <a:gd name="connsiteX427" fmla="*/ 858202 w 1180666"/>
                    <a:gd name="connsiteY427" fmla="*/ 311600 h 755630"/>
                    <a:gd name="connsiteX428" fmla="*/ 855616 w 1180666"/>
                    <a:gd name="connsiteY428" fmla="*/ 311393 h 755630"/>
                    <a:gd name="connsiteX429" fmla="*/ 850746 w 1180666"/>
                    <a:gd name="connsiteY429" fmla="*/ 308989 h 755630"/>
                    <a:gd name="connsiteX430" fmla="*/ 849022 w 1180666"/>
                    <a:gd name="connsiteY430" fmla="*/ 307884 h 755630"/>
                    <a:gd name="connsiteX431" fmla="*/ 847067 w 1180666"/>
                    <a:gd name="connsiteY431" fmla="*/ 307641 h 755630"/>
                    <a:gd name="connsiteX432" fmla="*/ 839126 w 1180666"/>
                    <a:gd name="connsiteY432" fmla="*/ 313664 h 755630"/>
                    <a:gd name="connsiteX433" fmla="*/ 836916 w 1180666"/>
                    <a:gd name="connsiteY433" fmla="*/ 320452 h 755630"/>
                    <a:gd name="connsiteX434" fmla="*/ 835143 w 1180666"/>
                    <a:gd name="connsiteY434" fmla="*/ 327082 h 755630"/>
                    <a:gd name="connsiteX435" fmla="*/ 832544 w 1180666"/>
                    <a:gd name="connsiteY435" fmla="*/ 336056 h 755630"/>
                    <a:gd name="connsiteX436" fmla="*/ 822344 w 1180666"/>
                    <a:gd name="connsiteY436" fmla="*/ 355982 h 755630"/>
                    <a:gd name="connsiteX437" fmla="*/ 812933 w 1180666"/>
                    <a:gd name="connsiteY437" fmla="*/ 368684 h 755630"/>
                    <a:gd name="connsiteX438" fmla="*/ 805235 w 1180666"/>
                    <a:gd name="connsiteY438" fmla="*/ 410735 h 755630"/>
                    <a:gd name="connsiteX439" fmla="*/ 804895 w 1180666"/>
                    <a:gd name="connsiteY439" fmla="*/ 415155 h 755630"/>
                    <a:gd name="connsiteX440" fmla="*/ 793699 w 1180666"/>
                    <a:gd name="connsiteY440" fmla="*/ 428852 h 755630"/>
                    <a:gd name="connsiteX441" fmla="*/ 780670 w 1180666"/>
                    <a:gd name="connsiteY441" fmla="*/ 430856 h 755630"/>
                    <a:gd name="connsiteX442" fmla="*/ 774683 w 1180666"/>
                    <a:gd name="connsiteY442" fmla="*/ 430236 h 755630"/>
                    <a:gd name="connsiteX443" fmla="*/ 767215 w 1180666"/>
                    <a:gd name="connsiteY443" fmla="*/ 426496 h 755630"/>
                    <a:gd name="connsiteX444" fmla="*/ 759881 w 1180666"/>
                    <a:gd name="connsiteY444" fmla="*/ 423400 h 755630"/>
                    <a:gd name="connsiteX445" fmla="*/ 740379 w 1180666"/>
                    <a:gd name="connsiteY445" fmla="*/ 442367 h 755630"/>
                    <a:gd name="connsiteX446" fmla="*/ 739274 w 1180666"/>
                    <a:gd name="connsiteY446" fmla="*/ 446131 h 755630"/>
                    <a:gd name="connsiteX447" fmla="*/ 733349 w 1180666"/>
                    <a:gd name="connsiteY447" fmla="*/ 457072 h 755630"/>
                    <a:gd name="connsiteX448" fmla="*/ 725905 w 1180666"/>
                    <a:gd name="connsiteY448" fmla="*/ 469033 h 755630"/>
                    <a:gd name="connsiteX449" fmla="*/ 719785 w 1180666"/>
                    <a:gd name="connsiteY449" fmla="*/ 479148 h 755630"/>
                    <a:gd name="connsiteX450" fmla="*/ 716628 w 1180666"/>
                    <a:gd name="connsiteY450" fmla="*/ 482876 h 755630"/>
                    <a:gd name="connsiteX451" fmla="*/ 715425 w 1180666"/>
                    <a:gd name="connsiteY451" fmla="*/ 485462 h 755630"/>
                    <a:gd name="connsiteX452" fmla="*/ 711965 w 1180666"/>
                    <a:gd name="connsiteY452" fmla="*/ 491133 h 755630"/>
                    <a:gd name="connsiteX453" fmla="*/ 703841 w 1180666"/>
                    <a:gd name="connsiteY453" fmla="*/ 494800 h 755630"/>
                    <a:gd name="connsiteX454" fmla="*/ 700465 w 1180666"/>
                    <a:gd name="connsiteY454" fmla="*/ 496124 h 755630"/>
                    <a:gd name="connsiteX455" fmla="*/ 698802 w 1180666"/>
                    <a:gd name="connsiteY455" fmla="*/ 496355 h 755630"/>
                    <a:gd name="connsiteX456" fmla="*/ 691868 w 1180666"/>
                    <a:gd name="connsiteY456" fmla="*/ 490684 h 755630"/>
                    <a:gd name="connsiteX457" fmla="*/ 691419 w 1180666"/>
                    <a:gd name="connsiteY457" fmla="*/ 489931 h 755630"/>
                    <a:gd name="connsiteX458" fmla="*/ 690666 w 1180666"/>
                    <a:gd name="connsiteY458" fmla="*/ 490915 h 755630"/>
                    <a:gd name="connsiteX459" fmla="*/ 691808 w 1180666"/>
                    <a:gd name="connsiteY459" fmla="*/ 495845 h 755630"/>
                    <a:gd name="connsiteX460" fmla="*/ 692488 w 1180666"/>
                    <a:gd name="connsiteY460" fmla="*/ 498540 h 755630"/>
                    <a:gd name="connsiteX461" fmla="*/ 695377 w 1180666"/>
                    <a:gd name="connsiteY461" fmla="*/ 505523 h 755630"/>
                    <a:gd name="connsiteX462" fmla="*/ 699032 w 1180666"/>
                    <a:gd name="connsiteY462" fmla="*/ 508255 h 755630"/>
                    <a:gd name="connsiteX463" fmla="*/ 705213 w 1180666"/>
                    <a:gd name="connsiteY463" fmla="*/ 513816 h 755630"/>
                    <a:gd name="connsiteX464" fmla="*/ 707241 w 1180666"/>
                    <a:gd name="connsiteY464" fmla="*/ 519693 h 755630"/>
                    <a:gd name="connsiteX465" fmla="*/ 709002 w 1180666"/>
                    <a:gd name="connsiteY465" fmla="*/ 524308 h 755630"/>
                    <a:gd name="connsiteX466" fmla="*/ 712111 w 1180666"/>
                    <a:gd name="connsiteY466" fmla="*/ 526748 h 755630"/>
                    <a:gd name="connsiteX467" fmla="*/ 718814 w 1180666"/>
                    <a:gd name="connsiteY467" fmla="*/ 534459 h 755630"/>
                    <a:gd name="connsiteX468" fmla="*/ 712220 w 1180666"/>
                    <a:gd name="connsiteY468" fmla="*/ 543906 h 755630"/>
                    <a:gd name="connsiteX469" fmla="*/ 709633 w 1180666"/>
                    <a:gd name="connsiteY469" fmla="*/ 546214 h 755630"/>
                    <a:gd name="connsiteX470" fmla="*/ 690205 w 1180666"/>
                    <a:gd name="connsiteY470" fmla="*/ 578805 h 755630"/>
                    <a:gd name="connsiteX471" fmla="*/ 685445 w 1180666"/>
                    <a:gd name="connsiteY471" fmla="*/ 594409 h 755630"/>
                    <a:gd name="connsiteX472" fmla="*/ 684485 w 1180666"/>
                    <a:gd name="connsiteY472" fmla="*/ 599946 h 755630"/>
                    <a:gd name="connsiteX473" fmla="*/ 681049 w 1180666"/>
                    <a:gd name="connsiteY473" fmla="*/ 611494 h 755630"/>
                    <a:gd name="connsiteX474" fmla="*/ 673217 w 1180666"/>
                    <a:gd name="connsiteY474" fmla="*/ 621111 h 755630"/>
                    <a:gd name="connsiteX475" fmla="*/ 666077 w 1180666"/>
                    <a:gd name="connsiteY475" fmla="*/ 628142 h 755630"/>
                    <a:gd name="connsiteX476" fmla="*/ 663855 w 1180666"/>
                    <a:gd name="connsiteY476" fmla="*/ 630291 h 755630"/>
                    <a:gd name="connsiteX477" fmla="*/ 659337 w 1180666"/>
                    <a:gd name="connsiteY477" fmla="*/ 635343 h 755630"/>
                    <a:gd name="connsiteX478" fmla="*/ 659022 w 1180666"/>
                    <a:gd name="connsiteY478" fmla="*/ 635926 h 755630"/>
                    <a:gd name="connsiteX479" fmla="*/ 658499 w 1180666"/>
                    <a:gd name="connsiteY479" fmla="*/ 636326 h 755630"/>
                    <a:gd name="connsiteX480" fmla="*/ 657686 w 1180666"/>
                    <a:gd name="connsiteY480" fmla="*/ 637638 h 755630"/>
                    <a:gd name="connsiteX481" fmla="*/ 655743 w 1180666"/>
                    <a:gd name="connsiteY481" fmla="*/ 640674 h 755630"/>
                    <a:gd name="connsiteX482" fmla="*/ 654772 w 1180666"/>
                    <a:gd name="connsiteY482" fmla="*/ 641876 h 755630"/>
                    <a:gd name="connsiteX483" fmla="*/ 654735 w 1180666"/>
                    <a:gd name="connsiteY483" fmla="*/ 642337 h 755630"/>
                    <a:gd name="connsiteX484" fmla="*/ 653910 w 1180666"/>
                    <a:gd name="connsiteY484" fmla="*/ 643321 h 755630"/>
                    <a:gd name="connsiteX485" fmla="*/ 652816 w 1180666"/>
                    <a:gd name="connsiteY485" fmla="*/ 649319 h 755630"/>
                    <a:gd name="connsiteX486" fmla="*/ 651432 w 1180666"/>
                    <a:gd name="connsiteY486" fmla="*/ 657989 h 755630"/>
                    <a:gd name="connsiteX487" fmla="*/ 651456 w 1180666"/>
                    <a:gd name="connsiteY487" fmla="*/ 662166 h 755630"/>
                    <a:gd name="connsiteX488" fmla="*/ 651481 w 1180666"/>
                    <a:gd name="connsiteY488" fmla="*/ 666222 h 755630"/>
                    <a:gd name="connsiteX489" fmla="*/ 644304 w 1180666"/>
                    <a:gd name="connsiteY489" fmla="*/ 686343 h 755630"/>
                    <a:gd name="connsiteX490" fmla="*/ 638670 w 1180666"/>
                    <a:gd name="connsiteY490" fmla="*/ 692317 h 755630"/>
                    <a:gd name="connsiteX491" fmla="*/ 639144 w 1180666"/>
                    <a:gd name="connsiteY491" fmla="*/ 695341 h 755630"/>
                    <a:gd name="connsiteX492" fmla="*/ 639557 w 1180666"/>
                    <a:gd name="connsiteY492" fmla="*/ 700490 h 755630"/>
                    <a:gd name="connsiteX493" fmla="*/ 637249 w 1180666"/>
                    <a:gd name="connsiteY493" fmla="*/ 706391 h 755630"/>
                    <a:gd name="connsiteX494" fmla="*/ 636363 w 1180666"/>
                    <a:gd name="connsiteY494" fmla="*/ 708504 h 755630"/>
                    <a:gd name="connsiteX495" fmla="*/ 632064 w 1180666"/>
                    <a:gd name="connsiteY495" fmla="*/ 707994 h 755630"/>
                    <a:gd name="connsiteX496" fmla="*/ 616412 w 1180666"/>
                    <a:gd name="connsiteY496" fmla="*/ 704145 h 755630"/>
                    <a:gd name="connsiteX497" fmla="*/ 612939 w 1180666"/>
                    <a:gd name="connsiteY497" fmla="*/ 701291 h 755630"/>
                    <a:gd name="connsiteX498" fmla="*/ 610911 w 1180666"/>
                    <a:gd name="connsiteY498" fmla="*/ 699943 h 755630"/>
                    <a:gd name="connsiteX499" fmla="*/ 604111 w 1180666"/>
                    <a:gd name="connsiteY499" fmla="*/ 699227 h 755630"/>
                    <a:gd name="connsiteX500" fmla="*/ 602630 w 1180666"/>
                    <a:gd name="connsiteY500" fmla="*/ 699300 h 755630"/>
                    <a:gd name="connsiteX501" fmla="*/ 589697 w 1180666"/>
                    <a:gd name="connsiteY501" fmla="*/ 714114 h 755630"/>
                    <a:gd name="connsiteX502" fmla="*/ 586443 w 1180666"/>
                    <a:gd name="connsiteY502" fmla="*/ 720355 h 755630"/>
                    <a:gd name="connsiteX503" fmla="*/ 583663 w 1180666"/>
                    <a:gd name="connsiteY503" fmla="*/ 725091 h 755630"/>
                    <a:gd name="connsiteX504" fmla="*/ 569589 w 1180666"/>
                    <a:gd name="connsiteY504" fmla="*/ 744144 h 755630"/>
                    <a:gd name="connsiteX505" fmla="*/ 566505 w 1180666"/>
                    <a:gd name="connsiteY505" fmla="*/ 747920 h 755630"/>
                    <a:gd name="connsiteX506" fmla="*/ 557543 w 1180666"/>
                    <a:gd name="connsiteY506" fmla="*/ 755534 h 755630"/>
                    <a:gd name="connsiteX507" fmla="*/ 554884 w 1180666"/>
                    <a:gd name="connsiteY507" fmla="*/ 755631 h 755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Lst>
                  <a:rect l="l" t="t" r="r" b="b"/>
                  <a:pathLst>
                    <a:path w="1180666" h="755630">
                      <a:moveTo>
                        <a:pt x="554884" y="755631"/>
                      </a:moveTo>
                      <a:cubicBezTo>
                        <a:pt x="545704" y="755631"/>
                        <a:pt x="543348" y="746839"/>
                        <a:pt x="541441" y="739784"/>
                      </a:cubicBezTo>
                      <a:cubicBezTo>
                        <a:pt x="539766" y="733579"/>
                        <a:pt x="538552" y="729815"/>
                        <a:pt x="535564" y="729815"/>
                      </a:cubicBezTo>
                      <a:cubicBezTo>
                        <a:pt x="533524" y="729815"/>
                        <a:pt x="532942" y="730677"/>
                        <a:pt x="531387" y="733397"/>
                      </a:cubicBezTo>
                      <a:cubicBezTo>
                        <a:pt x="530889" y="734271"/>
                        <a:pt x="530367" y="735170"/>
                        <a:pt x="529760" y="736044"/>
                      </a:cubicBezTo>
                      <a:cubicBezTo>
                        <a:pt x="525619" y="741909"/>
                        <a:pt x="518746" y="751660"/>
                        <a:pt x="508947" y="751660"/>
                      </a:cubicBezTo>
                      <a:cubicBezTo>
                        <a:pt x="508073" y="751660"/>
                        <a:pt x="507174" y="751587"/>
                        <a:pt x="506239" y="751417"/>
                      </a:cubicBezTo>
                      <a:lnTo>
                        <a:pt x="496488" y="749644"/>
                      </a:lnTo>
                      <a:lnTo>
                        <a:pt x="495833" y="749025"/>
                      </a:lnTo>
                      <a:cubicBezTo>
                        <a:pt x="494351" y="747616"/>
                        <a:pt x="492481" y="745625"/>
                        <a:pt x="491182" y="742674"/>
                      </a:cubicBezTo>
                      <a:cubicBezTo>
                        <a:pt x="489713" y="739323"/>
                        <a:pt x="489882" y="735826"/>
                        <a:pt x="490040" y="732426"/>
                      </a:cubicBezTo>
                      <a:cubicBezTo>
                        <a:pt x="490186" y="729317"/>
                        <a:pt x="490320" y="726366"/>
                        <a:pt x="489093" y="724193"/>
                      </a:cubicBezTo>
                      <a:cubicBezTo>
                        <a:pt x="487138" y="720817"/>
                        <a:pt x="485730" y="717793"/>
                        <a:pt x="485171" y="714053"/>
                      </a:cubicBezTo>
                      <a:cubicBezTo>
                        <a:pt x="484770" y="710410"/>
                        <a:pt x="484406" y="708650"/>
                        <a:pt x="482451" y="706622"/>
                      </a:cubicBezTo>
                      <a:cubicBezTo>
                        <a:pt x="481808" y="706148"/>
                        <a:pt x="480751" y="705493"/>
                        <a:pt x="479682" y="704813"/>
                      </a:cubicBezTo>
                      <a:cubicBezTo>
                        <a:pt x="477752" y="703586"/>
                        <a:pt x="475566" y="702202"/>
                        <a:pt x="473708" y="700259"/>
                      </a:cubicBezTo>
                      <a:lnTo>
                        <a:pt x="473417" y="699943"/>
                      </a:lnTo>
                      <a:lnTo>
                        <a:pt x="472457" y="698097"/>
                      </a:lnTo>
                      <a:lnTo>
                        <a:pt x="472773" y="695560"/>
                      </a:lnTo>
                      <a:lnTo>
                        <a:pt x="474570" y="687533"/>
                      </a:lnTo>
                      <a:lnTo>
                        <a:pt x="484236" y="661171"/>
                      </a:lnTo>
                      <a:lnTo>
                        <a:pt x="484540" y="658694"/>
                      </a:lnTo>
                      <a:lnTo>
                        <a:pt x="484612" y="655937"/>
                      </a:lnTo>
                      <a:lnTo>
                        <a:pt x="484285" y="653120"/>
                      </a:lnTo>
                      <a:lnTo>
                        <a:pt x="482463" y="648603"/>
                      </a:lnTo>
                      <a:lnTo>
                        <a:pt x="482184" y="648457"/>
                      </a:lnTo>
                      <a:lnTo>
                        <a:pt x="480921" y="642714"/>
                      </a:lnTo>
                      <a:lnTo>
                        <a:pt x="482609" y="637286"/>
                      </a:lnTo>
                      <a:lnTo>
                        <a:pt x="490405" y="633958"/>
                      </a:lnTo>
                      <a:lnTo>
                        <a:pt x="498613" y="636642"/>
                      </a:lnTo>
                      <a:lnTo>
                        <a:pt x="513161" y="645130"/>
                      </a:lnTo>
                      <a:lnTo>
                        <a:pt x="513488" y="647158"/>
                      </a:lnTo>
                      <a:lnTo>
                        <a:pt x="514059" y="647413"/>
                      </a:lnTo>
                      <a:lnTo>
                        <a:pt x="525194" y="643782"/>
                      </a:lnTo>
                      <a:lnTo>
                        <a:pt x="530926" y="642325"/>
                      </a:lnTo>
                      <a:lnTo>
                        <a:pt x="532929" y="639350"/>
                      </a:lnTo>
                      <a:lnTo>
                        <a:pt x="533014" y="638123"/>
                      </a:lnTo>
                      <a:lnTo>
                        <a:pt x="532383" y="635829"/>
                      </a:lnTo>
                      <a:lnTo>
                        <a:pt x="531193" y="633436"/>
                      </a:lnTo>
                      <a:lnTo>
                        <a:pt x="530088" y="632659"/>
                      </a:lnTo>
                      <a:lnTo>
                        <a:pt x="526384" y="631336"/>
                      </a:lnTo>
                      <a:lnTo>
                        <a:pt x="520337" y="628786"/>
                      </a:lnTo>
                      <a:lnTo>
                        <a:pt x="523786" y="627049"/>
                      </a:lnTo>
                      <a:lnTo>
                        <a:pt x="517508" y="622568"/>
                      </a:lnTo>
                      <a:lnTo>
                        <a:pt x="517508" y="622520"/>
                      </a:lnTo>
                      <a:lnTo>
                        <a:pt x="516233" y="622083"/>
                      </a:lnTo>
                      <a:lnTo>
                        <a:pt x="512760" y="621184"/>
                      </a:lnTo>
                      <a:lnTo>
                        <a:pt x="512760" y="618841"/>
                      </a:lnTo>
                      <a:lnTo>
                        <a:pt x="512432" y="617505"/>
                      </a:lnTo>
                      <a:lnTo>
                        <a:pt x="511995" y="615101"/>
                      </a:lnTo>
                      <a:lnTo>
                        <a:pt x="508522" y="613073"/>
                      </a:lnTo>
                      <a:lnTo>
                        <a:pt x="502839" y="610741"/>
                      </a:lnTo>
                      <a:lnTo>
                        <a:pt x="499354" y="605969"/>
                      </a:lnTo>
                      <a:lnTo>
                        <a:pt x="490028" y="604743"/>
                      </a:lnTo>
                      <a:lnTo>
                        <a:pt x="486313" y="603844"/>
                      </a:lnTo>
                      <a:lnTo>
                        <a:pt x="483301" y="602593"/>
                      </a:lnTo>
                      <a:lnTo>
                        <a:pt x="480532" y="600772"/>
                      </a:lnTo>
                      <a:lnTo>
                        <a:pt x="477679" y="598416"/>
                      </a:lnTo>
                      <a:lnTo>
                        <a:pt x="474473" y="594445"/>
                      </a:lnTo>
                      <a:lnTo>
                        <a:pt x="474218" y="594324"/>
                      </a:lnTo>
                      <a:lnTo>
                        <a:pt x="471413" y="595125"/>
                      </a:lnTo>
                      <a:lnTo>
                        <a:pt x="470065" y="594640"/>
                      </a:lnTo>
                      <a:lnTo>
                        <a:pt x="468669" y="593996"/>
                      </a:lnTo>
                      <a:lnTo>
                        <a:pt x="467212" y="592903"/>
                      </a:lnTo>
                      <a:lnTo>
                        <a:pt x="467455" y="591057"/>
                      </a:lnTo>
                      <a:cubicBezTo>
                        <a:pt x="469143" y="580530"/>
                        <a:pt x="476113" y="578963"/>
                        <a:pt x="480132" y="578963"/>
                      </a:cubicBezTo>
                      <a:cubicBezTo>
                        <a:pt x="482767" y="578963"/>
                        <a:pt x="485183" y="579570"/>
                        <a:pt x="486896" y="580032"/>
                      </a:cubicBezTo>
                      <a:cubicBezTo>
                        <a:pt x="488134" y="578830"/>
                        <a:pt x="490016" y="578186"/>
                        <a:pt x="492493" y="578186"/>
                      </a:cubicBezTo>
                      <a:cubicBezTo>
                        <a:pt x="493331" y="578186"/>
                        <a:pt x="494242" y="578259"/>
                        <a:pt x="495128" y="578332"/>
                      </a:cubicBezTo>
                      <a:cubicBezTo>
                        <a:pt x="496889" y="578259"/>
                        <a:pt x="498953" y="577494"/>
                        <a:pt x="501163" y="576680"/>
                      </a:cubicBezTo>
                      <a:cubicBezTo>
                        <a:pt x="503859" y="575685"/>
                        <a:pt x="506919" y="574567"/>
                        <a:pt x="510489" y="574567"/>
                      </a:cubicBezTo>
                      <a:lnTo>
                        <a:pt x="511813" y="574616"/>
                      </a:lnTo>
                      <a:cubicBezTo>
                        <a:pt x="513051" y="574713"/>
                        <a:pt x="514424" y="574822"/>
                        <a:pt x="515893" y="574822"/>
                      </a:cubicBezTo>
                      <a:cubicBezTo>
                        <a:pt x="516888" y="574822"/>
                        <a:pt x="517921" y="574774"/>
                        <a:pt x="518965" y="574616"/>
                      </a:cubicBezTo>
                      <a:cubicBezTo>
                        <a:pt x="518880" y="573827"/>
                        <a:pt x="519414" y="572600"/>
                        <a:pt x="520726" y="571641"/>
                      </a:cubicBezTo>
                      <a:cubicBezTo>
                        <a:pt x="522365" y="570414"/>
                        <a:pt x="524113" y="570087"/>
                        <a:pt x="525401" y="569844"/>
                      </a:cubicBezTo>
                      <a:cubicBezTo>
                        <a:pt x="525898" y="569747"/>
                        <a:pt x="526736" y="569589"/>
                        <a:pt x="526870" y="569443"/>
                      </a:cubicBezTo>
                      <a:cubicBezTo>
                        <a:pt x="528096" y="568447"/>
                        <a:pt x="528655" y="567852"/>
                        <a:pt x="529238" y="567257"/>
                      </a:cubicBezTo>
                      <a:cubicBezTo>
                        <a:pt x="530343" y="566128"/>
                        <a:pt x="531582" y="564841"/>
                        <a:pt x="533755" y="563639"/>
                      </a:cubicBezTo>
                      <a:lnTo>
                        <a:pt x="534326" y="563104"/>
                      </a:lnTo>
                      <a:cubicBezTo>
                        <a:pt x="535589" y="562036"/>
                        <a:pt x="537119" y="560724"/>
                        <a:pt x="539195" y="560117"/>
                      </a:cubicBezTo>
                      <a:cubicBezTo>
                        <a:pt x="540628" y="559231"/>
                        <a:pt x="541806" y="559182"/>
                        <a:pt x="542546" y="559158"/>
                      </a:cubicBezTo>
                      <a:lnTo>
                        <a:pt x="543724" y="558636"/>
                      </a:lnTo>
                      <a:cubicBezTo>
                        <a:pt x="544101" y="558259"/>
                        <a:pt x="544550" y="557810"/>
                        <a:pt x="545266" y="557264"/>
                      </a:cubicBezTo>
                      <a:cubicBezTo>
                        <a:pt x="545789" y="556608"/>
                        <a:pt x="546784" y="555952"/>
                        <a:pt x="547659" y="555369"/>
                      </a:cubicBezTo>
                      <a:cubicBezTo>
                        <a:pt x="548618" y="554738"/>
                        <a:pt x="549371" y="554240"/>
                        <a:pt x="549966" y="553342"/>
                      </a:cubicBezTo>
                      <a:cubicBezTo>
                        <a:pt x="551168" y="551945"/>
                        <a:pt x="552018" y="549577"/>
                        <a:pt x="552710" y="547683"/>
                      </a:cubicBezTo>
                      <a:lnTo>
                        <a:pt x="553135" y="546529"/>
                      </a:lnTo>
                      <a:cubicBezTo>
                        <a:pt x="554119" y="544368"/>
                        <a:pt x="554689" y="542425"/>
                        <a:pt x="554847" y="540737"/>
                      </a:cubicBezTo>
                      <a:cubicBezTo>
                        <a:pt x="554823" y="540798"/>
                        <a:pt x="554799" y="540822"/>
                        <a:pt x="554762" y="540822"/>
                      </a:cubicBezTo>
                      <a:cubicBezTo>
                        <a:pt x="554592" y="540822"/>
                        <a:pt x="554264" y="540142"/>
                        <a:pt x="553937" y="539450"/>
                      </a:cubicBezTo>
                      <a:cubicBezTo>
                        <a:pt x="553390" y="538296"/>
                        <a:pt x="552868" y="537143"/>
                        <a:pt x="552540" y="536001"/>
                      </a:cubicBezTo>
                      <a:cubicBezTo>
                        <a:pt x="551386" y="534386"/>
                        <a:pt x="550804" y="531630"/>
                        <a:pt x="550257" y="528946"/>
                      </a:cubicBezTo>
                      <a:cubicBezTo>
                        <a:pt x="550281" y="526190"/>
                        <a:pt x="550051" y="524963"/>
                        <a:pt x="548448" y="522705"/>
                      </a:cubicBezTo>
                      <a:lnTo>
                        <a:pt x="547501" y="521709"/>
                      </a:lnTo>
                      <a:cubicBezTo>
                        <a:pt x="546117" y="520191"/>
                        <a:pt x="545327" y="519378"/>
                        <a:pt x="543992" y="518965"/>
                      </a:cubicBezTo>
                      <a:cubicBezTo>
                        <a:pt x="541927" y="517690"/>
                        <a:pt x="540701" y="517107"/>
                        <a:pt x="539304" y="516415"/>
                      </a:cubicBezTo>
                      <a:lnTo>
                        <a:pt x="536633" y="515067"/>
                      </a:lnTo>
                      <a:cubicBezTo>
                        <a:pt x="535491" y="514448"/>
                        <a:pt x="533986" y="514011"/>
                        <a:pt x="532383" y="513549"/>
                      </a:cubicBezTo>
                      <a:cubicBezTo>
                        <a:pt x="528898" y="512541"/>
                        <a:pt x="524551" y="511291"/>
                        <a:pt x="521867" y="507356"/>
                      </a:cubicBezTo>
                      <a:cubicBezTo>
                        <a:pt x="520094" y="504575"/>
                        <a:pt x="519499" y="501904"/>
                        <a:pt x="519778" y="498358"/>
                      </a:cubicBezTo>
                      <a:cubicBezTo>
                        <a:pt x="519961" y="496197"/>
                        <a:pt x="521284" y="494788"/>
                        <a:pt x="522256" y="493744"/>
                      </a:cubicBezTo>
                      <a:cubicBezTo>
                        <a:pt x="522681" y="493295"/>
                        <a:pt x="523106" y="492833"/>
                        <a:pt x="523275" y="492481"/>
                      </a:cubicBezTo>
                      <a:cubicBezTo>
                        <a:pt x="524696" y="490708"/>
                        <a:pt x="525522" y="488365"/>
                        <a:pt x="525704" y="486203"/>
                      </a:cubicBezTo>
                      <a:cubicBezTo>
                        <a:pt x="525741" y="485681"/>
                        <a:pt x="525304" y="485098"/>
                        <a:pt x="524150" y="483714"/>
                      </a:cubicBezTo>
                      <a:cubicBezTo>
                        <a:pt x="523689" y="483155"/>
                        <a:pt x="523191" y="482560"/>
                        <a:pt x="522705" y="481905"/>
                      </a:cubicBezTo>
                      <a:cubicBezTo>
                        <a:pt x="521211" y="483726"/>
                        <a:pt x="519499" y="485766"/>
                        <a:pt x="517071" y="485766"/>
                      </a:cubicBezTo>
                      <a:lnTo>
                        <a:pt x="516123" y="485766"/>
                      </a:lnTo>
                      <a:lnTo>
                        <a:pt x="514739" y="485038"/>
                      </a:lnTo>
                      <a:cubicBezTo>
                        <a:pt x="513391" y="484066"/>
                        <a:pt x="510125" y="483823"/>
                        <a:pt x="508559" y="483714"/>
                      </a:cubicBezTo>
                      <a:lnTo>
                        <a:pt x="506676" y="483277"/>
                      </a:lnTo>
                      <a:cubicBezTo>
                        <a:pt x="503810" y="482572"/>
                        <a:pt x="501115" y="481905"/>
                        <a:pt x="498808" y="478711"/>
                      </a:cubicBezTo>
                      <a:cubicBezTo>
                        <a:pt x="498152" y="478456"/>
                        <a:pt x="497144" y="477205"/>
                        <a:pt x="496258" y="476100"/>
                      </a:cubicBezTo>
                      <a:cubicBezTo>
                        <a:pt x="495553" y="475238"/>
                        <a:pt x="494910" y="474424"/>
                        <a:pt x="494254" y="473963"/>
                      </a:cubicBezTo>
                      <a:cubicBezTo>
                        <a:pt x="491971" y="471680"/>
                        <a:pt x="489494" y="469786"/>
                        <a:pt x="487187" y="468535"/>
                      </a:cubicBezTo>
                      <a:cubicBezTo>
                        <a:pt x="485547" y="467418"/>
                        <a:pt x="482293" y="467151"/>
                        <a:pt x="480715" y="467030"/>
                      </a:cubicBezTo>
                      <a:cubicBezTo>
                        <a:pt x="478444" y="467212"/>
                        <a:pt x="477363" y="468062"/>
                        <a:pt x="475190" y="469762"/>
                      </a:cubicBezTo>
                      <a:lnTo>
                        <a:pt x="473878" y="470770"/>
                      </a:lnTo>
                      <a:cubicBezTo>
                        <a:pt x="472615" y="472130"/>
                        <a:pt x="470454" y="472943"/>
                        <a:pt x="467649" y="472943"/>
                      </a:cubicBezTo>
                      <a:cubicBezTo>
                        <a:pt x="466532" y="472943"/>
                        <a:pt x="465366" y="472822"/>
                        <a:pt x="464188" y="472688"/>
                      </a:cubicBezTo>
                      <a:lnTo>
                        <a:pt x="462500" y="472518"/>
                      </a:lnTo>
                      <a:cubicBezTo>
                        <a:pt x="461966" y="472482"/>
                        <a:pt x="461383" y="472457"/>
                        <a:pt x="460776" y="472457"/>
                      </a:cubicBezTo>
                      <a:cubicBezTo>
                        <a:pt x="458529" y="472457"/>
                        <a:pt x="455979" y="472700"/>
                        <a:pt x="453405" y="472943"/>
                      </a:cubicBezTo>
                      <a:cubicBezTo>
                        <a:pt x="449823" y="473902"/>
                        <a:pt x="446447" y="474813"/>
                        <a:pt x="443023" y="476295"/>
                      </a:cubicBezTo>
                      <a:cubicBezTo>
                        <a:pt x="442489" y="476780"/>
                        <a:pt x="440024" y="477655"/>
                        <a:pt x="437996" y="477655"/>
                      </a:cubicBezTo>
                      <a:cubicBezTo>
                        <a:pt x="436963" y="477655"/>
                        <a:pt x="436053" y="477436"/>
                        <a:pt x="435276" y="477011"/>
                      </a:cubicBezTo>
                      <a:cubicBezTo>
                        <a:pt x="433102" y="476222"/>
                        <a:pt x="432495" y="474485"/>
                        <a:pt x="432179" y="473562"/>
                      </a:cubicBezTo>
                      <a:lnTo>
                        <a:pt x="431839" y="473198"/>
                      </a:lnTo>
                      <a:lnTo>
                        <a:pt x="431426" y="472287"/>
                      </a:lnTo>
                      <a:cubicBezTo>
                        <a:pt x="431268" y="472117"/>
                        <a:pt x="430540" y="471887"/>
                        <a:pt x="430054" y="471729"/>
                      </a:cubicBezTo>
                      <a:cubicBezTo>
                        <a:pt x="428536" y="471243"/>
                        <a:pt x="426460" y="470575"/>
                        <a:pt x="424930" y="468450"/>
                      </a:cubicBezTo>
                      <a:cubicBezTo>
                        <a:pt x="421651" y="464164"/>
                        <a:pt x="422659" y="460545"/>
                        <a:pt x="423631" y="457036"/>
                      </a:cubicBezTo>
                      <a:lnTo>
                        <a:pt x="424068" y="455749"/>
                      </a:lnTo>
                      <a:cubicBezTo>
                        <a:pt x="424906" y="454219"/>
                        <a:pt x="426047" y="453041"/>
                        <a:pt x="427067" y="452009"/>
                      </a:cubicBezTo>
                      <a:cubicBezTo>
                        <a:pt x="428439" y="450600"/>
                        <a:pt x="429228" y="449750"/>
                        <a:pt x="429326" y="448609"/>
                      </a:cubicBezTo>
                      <a:cubicBezTo>
                        <a:pt x="429921" y="441371"/>
                        <a:pt x="434183" y="434899"/>
                        <a:pt x="437947" y="429192"/>
                      </a:cubicBezTo>
                      <a:lnTo>
                        <a:pt x="440011" y="426023"/>
                      </a:lnTo>
                      <a:cubicBezTo>
                        <a:pt x="442877" y="421445"/>
                        <a:pt x="442877" y="421445"/>
                        <a:pt x="441214" y="417778"/>
                      </a:cubicBezTo>
                      <a:lnTo>
                        <a:pt x="440024" y="415094"/>
                      </a:lnTo>
                      <a:cubicBezTo>
                        <a:pt x="438749" y="412119"/>
                        <a:pt x="438700" y="408537"/>
                        <a:pt x="438651" y="405088"/>
                      </a:cubicBezTo>
                      <a:cubicBezTo>
                        <a:pt x="438567" y="398422"/>
                        <a:pt x="438263" y="394257"/>
                        <a:pt x="433309" y="392715"/>
                      </a:cubicBezTo>
                      <a:cubicBezTo>
                        <a:pt x="432131" y="392350"/>
                        <a:pt x="430929" y="392180"/>
                        <a:pt x="429617" y="392180"/>
                      </a:cubicBezTo>
                      <a:cubicBezTo>
                        <a:pt x="426241" y="392180"/>
                        <a:pt x="422805" y="393383"/>
                        <a:pt x="419490" y="394548"/>
                      </a:cubicBezTo>
                      <a:lnTo>
                        <a:pt x="417911" y="395095"/>
                      </a:lnTo>
                      <a:cubicBezTo>
                        <a:pt x="414001" y="396430"/>
                        <a:pt x="412180" y="398143"/>
                        <a:pt x="409654" y="400523"/>
                      </a:cubicBezTo>
                      <a:cubicBezTo>
                        <a:pt x="408197" y="401895"/>
                        <a:pt x="406631" y="403364"/>
                        <a:pt x="404542" y="404894"/>
                      </a:cubicBezTo>
                      <a:cubicBezTo>
                        <a:pt x="399685" y="408440"/>
                        <a:pt x="393917" y="409569"/>
                        <a:pt x="388355" y="410674"/>
                      </a:cubicBezTo>
                      <a:cubicBezTo>
                        <a:pt x="383996" y="411536"/>
                        <a:pt x="379880" y="412350"/>
                        <a:pt x="376188" y="414220"/>
                      </a:cubicBezTo>
                      <a:cubicBezTo>
                        <a:pt x="374355" y="415167"/>
                        <a:pt x="372752" y="416272"/>
                        <a:pt x="371234" y="417328"/>
                      </a:cubicBezTo>
                      <a:cubicBezTo>
                        <a:pt x="367664" y="419794"/>
                        <a:pt x="363985" y="422343"/>
                        <a:pt x="358472" y="422343"/>
                      </a:cubicBezTo>
                      <a:cubicBezTo>
                        <a:pt x="356699" y="422343"/>
                        <a:pt x="354853" y="422088"/>
                        <a:pt x="352850" y="421542"/>
                      </a:cubicBezTo>
                      <a:cubicBezTo>
                        <a:pt x="348381" y="420328"/>
                        <a:pt x="345297" y="417668"/>
                        <a:pt x="342577" y="415325"/>
                      </a:cubicBezTo>
                      <a:cubicBezTo>
                        <a:pt x="339480" y="412653"/>
                        <a:pt x="337040" y="410540"/>
                        <a:pt x="333081" y="410540"/>
                      </a:cubicBezTo>
                      <a:cubicBezTo>
                        <a:pt x="332012" y="410540"/>
                        <a:pt x="330822" y="410698"/>
                        <a:pt x="329571" y="411014"/>
                      </a:cubicBezTo>
                      <a:cubicBezTo>
                        <a:pt x="324872" y="412180"/>
                        <a:pt x="323682" y="415300"/>
                        <a:pt x="321958" y="420716"/>
                      </a:cubicBezTo>
                      <a:cubicBezTo>
                        <a:pt x="321327" y="422708"/>
                        <a:pt x="320683" y="424723"/>
                        <a:pt x="319772" y="426606"/>
                      </a:cubicBezTo>
                      <a:cubicBezTo>
                        <a:pt x="319129" y="427966"/>
                        <a:pt x="317999" y="428961"/>
                        <a:pt x="317016" y="429848"/>
                      </a:cubicBezTo>
                      <a:cubicBezTo>
                        <a:pt x="316518" y="430285"/>
                        <a:pt x="315777" y="430941"/>
                        <a:pt x="315632" y="431268"/>
                      </a:cubicBezTo>
                      <a:cubicBezTo>
                        <a:pt x="315437" y="431645"/>
                        <a:pt x="315377" y="432531"/>
                        <a:pt x="315352" y="433236"/>
                      </a:cubicBezTo>
                      <a:cubicBezTo>
                        <a:pt x="315243" y="435118"/>
                        <a:pt x="315097" y="437692"/>
                        <a:pt x="312960" y="439550"/>
                      </a:cubicBezTo>
                      <a:cubicBezTo>
                        <a:pt x="310908" y="441311"/>
                        <a:pt x="308358" y="441529"/>
                        <a:pt x="306306" y="441711"/>
                      </a:cubicBezTo>
                      <a:cubicBezTo>
                        <a:pt x="305104" y="441821"/>
                        <a:pt x="303865" y="441930"/>
                        <a:pt x="303306" y="442306"/>
                      </a:cubicBezTo>
                      <a:cubicBezTo>
                        <a:pt x="302541" y="442829"/>
                        <a:pt x="300453" y="445379"/>
                        <a:pt x="298668" y="447965"/>
                      </a:cubicBezTo>
                      <a:lnTo>
                        <a:pt x="297951" y="448973"/>
                      </a:lnTo>
                      <a:cubicBezTo>
                        <a:pt x="294904" y="453308"/>
                        <a:pt x="291746" y="457801"/>
                        <a:pt x="283683" y="457801"/>
                      </a:cubicBezTo>
                      <a:cubicBezTo>
                        <a:pt x="275657" y="457619"/>
                        <a:pt x="272791" y="454765"/>
                        <a:pt x="269464" y="451462"/>
                      </a:cubicBezTo>
                      <a:lnTo>
                        <a:pt x="267521" y="449568"/>
                      </a:lnTo>
                      <a:cubicBezTo>
                        <a:pt x="263757" y="446047"/>
                        <a:pt x="260429" y="445816"/>
                        <a:pt x="254917" y="445427"/>
                      </a:cubicBezTo>
                      <a:lnTo>
                        <a:pt x="251930" y="445196"/>
                      </a:lnTo>
                      <a:cubicBezTo>
                        <a:pt x="244850" y="444589"/>
                        <a:pt x="241948" y="442671"/>
                        <a:pt x="237929" y="440024"/>
                      </a:cubicBezTo>
                      <a:lnTo>
                        <a:pt x="234772" y="437996"/>
                      </a:lnTo>
                      <a:cubicBezTo>
                        <a:pt x="233594" y="437267"/>
                        <a:pt x="232197" y="436660"/>
                        <a:pt x="230789" y="436028"/>
                      </a:cubicBezTo>
                      <a:cubicBezTo>
                        <a:pt x="228154" y="434851"/>
                        <a:pt x="225434" y="433636"/>
                        <a:pt x="223357" y="431706"/>
                      </a:cubicBezTo>
                      <a:cubicBezTo>
                        <a:pt x="221937" y="430382"/>
                        <a:pt x="221171" y="428767"/>
                        <a:pt x="220504" y="427359"/>
                      </a:cubicBezTo>
                      <a:cubicBezTo>
                        <a:pt x="219921" y="426132"/>
                        <a:pt x="219423" y="425076"/>
                        <a:pt x="218670" y="424590"/>
                      </a:cubicBezTo>
                      <a:cubicBezTo>
                        <a:pt x="217419" y="423752"/>
                        <a:pt x="216314" y="423339"/>
                        <a:pt x="215270" y="423339"/>
                      </a:cubicBezTo>
                      <a:cubicBezTo>
                        <a:pt x="212744" y="423339"/>
                        <a:pt x="210267" y="425841"/>
                        <a:pt x="207887" y="428257"/>
                      </a:cubicBezTo>
                      <a:cubicBezTo>
                        <a:pt x="205786" y="430370"/>
                        <a:pt x="203807" y="432361"/>
                        <a:pt x="201379" y="433260"/>
                      </a:cubicBezTo>
                      <a:cubicBezTo>
                        <a:pt x="199605" y="433916"/>
                        <a:pt x="197590" y="434049"/>
                        <a:pt x="196230" y="434049"/>
                      </a:cubicBezTo>
                      <a:cubicBezTo>
                        <a:pt x="194773" y="434049"/>
                        <a:pt x="189733" y="433855"/>
                        <a:pt x="186588" y="431341"/>
                      </a:cubicBezTo>
                      <a:cubicBezTo>
                        <a:pt x="183662" y="429010"/>
                        <a:pt x="183298" y="426460"/>
                        <a:pt x="183018" y="424590"/>
                      </a:cubicBezTo>
                      <a:cubicBezTo>
                        <a:pt x="182836" y="423376"/>
                        <a:pt x="182727" y="422574"/>
                        <a:pt x="182023" y="421651"/>
                      </a:cubicBezTo>
                      <a:cubicBezTo>
                        <a:pt x="180468" y="419660"/>
                        <a:pt x="177833" y="418676"/>
                        <a:pt x="173984" y="418676"/>
                      </a:cubicBezTo>
                      <a:cubicBezTo>
                        <a:pt x="170208" y="418676"/>
                        <a:pt x="166103" y="419623"/>
                        <a:pt x="162788" y="420388"/>
                      </a:cubicBezTo>
                      <a:cubicBezTo>
                        <a:pt x="158307" y="421408"/>
                        <a:pt x="154179" y="421530"/>
                        <a:pt x="151046" y="421530"/>
                      </a:cubicBezTo>
                      <a:lnTo>
                        <a:pt x="142655" y="421421"/>
                      </a:lnTo>
                      <a:cubicBezTo>
                        <a:pt x="139887" y="421421"/>
                        <a:pt x="137118" y="421530"/>
                        <a:pt x="134301" y="422016"/>
                      </a:cubicBezTo>
                      <a:cubicBezTo>
                        <a:pt x="131763" y="422453"/>
                        <a:pt x="129383" y="423837"/>
                        <a:pt x="126857" y="425306"/>
                      </a:cubicBezTo>
                      <a:lnTo>
                        <a:pt x="124781" y="426496"/>
                      </a:lnTo>
                      <a:cubicBezTo>
                        <a:pt x="119972" y="429180"/>
                        <a:pt x="117665" y="429629"/>
                        <a:pt x="113185" y="429629"/>
                      </a:cubicBezTo>
                      <a:lnTo>
                        <a:pt x="107866" y="429593"/>
                      </a:lnTo>
                      <a:cubicBezTo>
                        <a:pt x="103494" y="429593"/>
                        <a:pt x="99851" y="429811"/>
                        <a:pt x="96233" y="430868"/>
                      </a:cubicBezTo>
                      <a:cubicBezTo>
                        <a:pt x="92857" y="431851"/>
                        <a:pt x="92651" y="432276"/>
                        <a:pt x="91060" y="435519"/>
                      </a:cubicBezTo>
                      <a:lnTo>
                        <a:pt x="90380" y="436879"/>
                      </a:lnTo>
                      <a:cubicBezTo>
                        <a:pt x="85875" y="445731"/>
                        <a:pt x="81321" y="450224"/>
                        <a:pt x="68984" y="450296"/>
                      </a:cubicBezTo>
                      <a:lnTo>
                        <a:pt x="67928" y="450296"/>
                      </a:lnTo>
                      <a:lnTo>
                        <a:pt x="33502" y="423473"/>
                      </a:lnTo>
                      <a:lnTo>
                        <a:pt x="32677" y="422477"/>
                      </a:lnTo>
                      <a:lnTo>
                        <a:pt x="31062" y="423363"/>
                      </a:lnTo>
                      <a:lnTo>
                        <a:pt x="29957" y="423861"/>
                      </a:lnTo>
                      <a:lnTo>
                        <a:pt x="27929" y="423145"/>
                      </a:lnTo>
                      <a:lnTo>
                        <a:pt x="26241" y="421979"/>
                      </a:lnTo>
                      <a:lnTo>
                        <a:pt x="25197" y="420546"/>
                      </a:lnTo>
                      <a:lnTo>
                        <a:pt x="23545" y="417583"/>
                      </a:lnTo>
                      <a:lnTo>
                        <a:pt x="19987" y="413151"/>
                      </a:lnTo>
                      <a:lnTo>
                        <a:pt x="18372" y="410334"/>
                      </a:lnTo>
                      <a:lnTo>
                        <a:pt x="18020" y="406181"/>
                      </a:lnTo>
                      <a:lnTo>
                        <a:pt x="18518" y="402891"/>
                      </a:lnTo>
                      <a:lnTo>
                        <a:pt x="18385" y="402211"/>
                      </a:lnTo>
                      <a:lnTo>
                        <a:pt x="16332" y="399381"/>
                      </a:lnTo>
                      <a:lnTo>
                        <a:pt x="14644" y="396345"/>
                      </a:lnTo>
                      <a:lnTo>
                        <a:pt x="13503" y="392302"/>
                      </a:lnTo>
                      <a:lnTo>
                        <a:pt x="12811" y="390456"/>
                      </a:lnTo>
                      <a:lnTo>
                        <a:pt x="11973" y="389812"/>
                      </a:lnTo>
                      <a:lnTo>
                        <a:pt x="11220" y="389764"/>
                      </a:lnTo>
                      <a:lnTo>
                        <a:pt x="7954" y="390068"/>
                      </a:lnTo>
                      <a:lnTo>
                        <a:pt x="5914" y="389861"/>
                      </a:lnTo>
                      <a:lnTo>
                        <a:pt x="2307" y="388416"/>
                      </a:lnTo>
                      <a:lnTo>
                        <a:pt x="0" y="386218"/>
                      </a:lnTo>
                      <a:lnTo>
                        <a:pt x="729" y="384324"/>
                      </a:lnTo>
                      <a:lnTo>
                        <a:pt x="935" y="380159"/>
                      </a:lnTo>
                      <a:lnTo>
                        <a:pt x="984" y="377767"/>
                      </a:lnTo>
                      <a:lnTo>
                        <a:pt x="8791" y="376079"/>
                      </a:lnTo>
                      <a:lnTo>
                        <a:pt x="12337" y="374622"/>
                      </a:lnTo>
                      <a:lnTo>
                        <a:pt x="15980" y="373553"/>
                      </a:lnTo>
                      <a:lnTo>
                        <a:pt x="16065" y="373371"/>
                      </a:lnTo>
                      <a:lnTo>
                        <a:pt x="16004" y="372594"/>
                      </a:lnTo>
                      <a:lnTo>
                        <a:pt x="15494" y="371829"/>
                      </a:lnTo>
                      <a:lnTo>
                        <a:pt x="14414" y="368805"/>
                      </a:lnTo>
                      <a:lnTo>
                        <a:pt x="15604" y="365017"/>
                      </a:lnTo>
                      <a:lnTo>
                        <a:pt x="19186" y="363997"/>
                      </a:lnTo>
                      <a:lnTo>
                        <a:pt x="20449" y="363050"/>
                      </a:lnTo>
                      <a:lnTo>
                        <a:pt x="22999" y="356954"/>
                      </a:lnTo>
                      <a:lnTo>
                        <a:pt x="24092" y="354732"/>
                      </a:lnTo>
                      <a:lnTo>
                        <a:pt x="24954" y="353797"/>
                      </a:lnTo>
                      <a:lnTo>
                        <a:pt x="30540" y="350785"/>
                      </a:lnTo>
                      <a:lnTo>
                        <a:pt x="31730" y="350409"/>
                      </a:lnTo>
                      <a:lnTo>
                        <a:pt x="30515" y="349449"/>
                      </a:lnTo>
                      <a:lnTo>
                        <a:pt x="30406" y="346244"/>
                      </a:lnTo>
                      <a:lnTo>
                        <a:pt x="30540" y="344107"/>
                      </a:lnTo>
                      <a:lnTo>
                        <a:pt x="32264" y="342261"/>
                      </a:lnTo>
                      <a:lnTo>
                        <a:pt x="33806" y="341107"/>
                      </a:lnTo>
                      <a:lnTo>
                        <a:pt x="35870" y="339893"/>
                      </a:lnTo>
                      <a:lnTo>
                        <a:pt x="37680" y="326669"/>
                      </a:lnTo>
                      <a:lnTo>
                        <a:pt x="38651" y="322516"/>
                      </a:lnTo>
                      <a:lnTo>
                        <a:pt x="40898" y="316299"/>
                      </a:lnTo>
                      <a:lnTo>
                        <a:pt x="41420" y="314587"/>
                      </a:lnTo>
                      <a:lnTo>
                        <a:pt x="41833" y="313688"/>
                      </a:lnTo>
                      <a:lnTo>
                        <a:pt x="44115" y="310033"/>
                      </a:lnTo>
                      <a:lnTo>
                        <a:pt x="42403" y="290083"/>
                      </a:lnTo>
                      <a:lnTo>
                        <a:pt x="41662" y="286974"/>
                      </a:lnTo>
                      <a:lnTo>
                        <a:pt x="37498" y="275232"/>
                      </a:lnTo>
                      <a:lnTo>
                        <a:pt x="38785" y="271662"/>
                      </a:lnTo>
                      <a:lnTo>
                        <a:pt x="39538" y="271941"/>
                      </a:lnTo>
                      <a:lnTo>
                        <a:pt x="40703" y="269391"/>
                      </a:lnTo>
                      <a:lnTo>
                        <a:pt x="42100" y="269695"/>
                      </a:lnTo>
                      <a:lnTo>
                        <a:pt x="46544" y="270970"/>
                      </a:lnTo>
                      <a:lnTo>
                        <a:pt x="48025" y="271152"/>
                      </a:lnTo>
                      <a:lnTo>
                        <a:pt x="51340" y="270775"/>
                      </a:lnTo>
                      <a:lnTo>
                        <a:pt x="62730" y="267776"/>
                      </a:lnTo>
                      <a:lnTo>
                        <a:pt x="84576" y="265724"/>
                      </a:lnTo>
                      <a:lnTo>
                        <a:pt x="90489" y="264048"/>
                      </a:lnTo>
                      <a:lnTo>
                        <a:pt x="94132" y="260891"/>
                      </a:lnTo>
                      <a:lnTo>
                        <a:pt x="98941" y="248505"/>
                      </a:lnTo>
                      <a:lnTo>
                        <a:pt x="106676" y="243672"/>
                      </a:lnTo>
                      <a:lnTo>
                        <a:pt x="110865" y="243320"/>
                      </a:lnTo>
                      <a:lnTo>
                        <a:pt x="118126" y="243575"/>
                      </a:lnTo>
                      <a:lnTo>
                        <a:pt x="120616" y="242616"/>
                      </a:lnTo>
                      <a:lnTo>
                        <a:pt x="122741" y="240819"/>
                      </a:lnTo>
                      <a:lnTo>
                        <a:pt x="124975" y="238621"/>
                      </a:lnTo>
                      <a:lnTo>
                        <a:pt x="127950" y="236326"/>
                      </a:lnTo>
                      <a:lnTo>
                        <a:pt x="133305" y="234432"/>
                      </a:lnTo>
                      <a:lnTo>
                        <a:pt x="141040" y="235621"/>
                      </a:lnTo>
                      <a:lnTo>
                        <a:pt x="159000" y="247983"/>
                      </a:lnTo>
                      <a:lnTo>
                        <a:pt x="179715" y="258304"/>
                      </a:lnTo>
                      <a:lnTo>
                        <a:pt x="202981" y="260648"/>
                      </a:lnTo>
                      <a:lnTo>
                        <a:pt x="256920" y="257600"/>
                      </a:lnTo>
                      <a:lnTo>
                        <a:pt x="266720" y="253059"/>
                      </a:lnTo>
                      <a:lnTo>
                        <a:pt x="272937" y="253022"/>
                      </a:lnTo>
                      <a:lnTo>
                        <a:pt x="279895" y="253800"/>
                      </a:lnTo>
                      <a:lnTo>
                        <a:pt x="292791" y="253508"/>
                      </a:lnTo>
                      <a:lnTo>
                        <a:pt x="299955" y="255014"/>
                      </a:lnTo>
                      <a:lnTo>
                        <a:pt x="306342" y="258608"/>
                      </a:lnTo>
                      <a:lnTo>
                        <a:pt x="308528" y="259397"/>
                      </a:lnTo>
                      <a:lnTo>
                        <a:pt x="311224" y="259106"/>
                      </a:lnTo>
                      <a:lnTo>
                        <a:pt x="313664" y="258365"/>
                      </a:lnTo>
                      <a:lnTo>
                        <a:pt x="316409" y="257139"/>
                      </a:lnTo>
                      <a:lnTo>
                        <a:pt x="318934" y="255512"/>
                      </a:lnTo>
                      <a:lnTo>
                        <a:pt x="320756" y="253605"/>
                      </a:lnTo>
                      <a:lnTo>
                        <a:pt x="322529" y="250472"/>
                      </a:lnTo>
                      <a:lnTo>
                        <a:pt x="323803" y="247242"/>
                      </a:lnTo>
                      <a:lnTo>
                        <a:pt x="326317" y="243089"/>
                      </a:lnTo>
                      <a:lnTo>
                        <a:pt x="330749" y="240102"/>
                      </a:lnTo>
                      <a:lnTo>
                        <a:pt x="333992" y="239592"/>
                      </a:lnTo>
                      <a:lnTo>
                        <a:pt x="342225" y="240005"/>
                      </a:lnTo>
                      <a:lnTo>
                        <a:pt x="346729" y="241171"/>
                      </a:lnTo>
                      <a:lnTo>
                        <a:pt x="349061" y="244717"/>
                      </a:lnTo>
                      <a:lnTo>
                        <a:pt x="353311" y="253520"/>
                      </a:lnTo>
                      <a:lnTo>
                        <a:pt x="354331" y="254382"/>
                      </a:lnTo>
                      <a:lnTo>
                        <a:pt x="356663" y="254212"/>
                      </a:lnTo>
                      <a:lnTo>
                        <a:pt x="362685" y="252100"/>
                      </a:lnTo>
                      <a:lnTo>
                        <a:pt x="366935" y="251820"/>
                      </a:lnTo>
                      <a:lnTo>
                        <a:pt x="376188" y="254309"/>
                      </a:lnTo>
                      <a:lnTo>
                        <a:pt x="378532" y="254431"/>
                      </a:lnTo>
                      <a:lnTo>
                        <a:pt x="386983" y="253314"/>
                      </a:lnTo>
                      <a:lnTo>
                        <a:pt x="391610" y="251019"/>
                      </a:lnTo>
                      <a:lnTo>
                        <a:pt x="403194" y="243697"/>
                      </a:lnTo>
                      <a:lnTo>
                        <a:pt x="410941" y="242081"/>
                      </a:lnTo>
                      <a:lnTo>
                        <a:pt x="416393" y="244935"/>
                      </a:lnTo>
                      <a:lnTo>
                        <a:pt x="416807" y="246052"/>
                      </a:lnTo>
                      <a:lnTo>
                        <a:pt x="420607" y="244304"/>
                      </a:lnTo>
                      <a:lnTo>
                        <a:pt x="420607" y="243272"/>
                      </a:lnTo>
                      <a:lnTo>
                        <a:pt x="419745" y="238427"/>
                      </a:lnTo>
                      <a:lnTo>
                        <a:pt x="426169" y="236641"/>
                      </a:lnTo>
                      <a:lnTo>
                        <a:pt x="430419" y="238354"/>
                      </a:lnTo>
                      <a:lnTo>
                        <a:pt x="437182" y="243721"/>
                      </a:lnTo>
                      <a:lnTo>
                        <a:pt x="438967" y="244486"/>
                      </a:lnTo>
                      <a:lnTo>
                        <a:pt x="448548" y="243089"/>
                      </a:lnTo>
                      <a:lnTo>
                        <a:pt x="454110" y="237771"/>
                      </a:lnTo>
                      <a:lnTo>
                        <a:pt x="455336" y="231954"/>
                      </a:lnTo>
                      <a:lnTo>
                        <a:pt x="488146" y="234747"/>
                      </a:lnTo>
                      <a:lnTo>
                        <a:pt x="498346" y="232440"/>
                      </a:lnTo>
                      <a:lnTo>
                        <a:pt x="511922" y="231214"/>
                      </a:lnTo>
                      <a:lnTo>
                        <a:pt x="534872" y="227680"/>
                      </a:lnTo>
                      <a:lnTo>
                        <a:pt x="548958" y="224219"/>
                      </a:lnTo>
                      <a:lnTo>
                        <a:pt x="560506" y="218536"/>
                      </a:lnTo>
                      <a:lnTo>
                        <a:pt x="571908" y="211178"/>
                      </a:lnTo>
                      <a:lnTo>
                        <a:pt x="584865" y="211178"/>
                      </a:lnTo>
                      <a:lnTo>
                        <a:pt x="597760" y="221244"/>
                      </a:lnTo>
                      <a:lnTo>
                        <a:pt x="608883" y="228761"/>
                      </a:lnTo>
                      <a:lnTo>
                        <a:pt x="619885" y="227668"/>
                      </a:lnTo>
                      <a:lnTo>
                        <a:pt x="631263" y="227656"/>
                      </a:lnTo>
                      <a:lnTo>
                        <a:pt x="642847" y="230109"/>
                      </a:lnTo>
                      <a:lnTo>
                        <a:pt x="671201" y="232392"/>
                      </a:lnTo>
                      <a:lnTo>
                        <a:pt x="688152" y="230072"/>
                      </a:lnTo>
                      <a:lnTo>
                        <a:pt x="706780" y="226539"/>
                      </a:lnTo>
                      <a:lnTo>
                        <a:pt x="720963" y="227595"/>
                      </a:lnTo>
                      <a:lnTo>
                        <a:pt x="730641" y="221815"/>
                      </a:lnTo>
                      <a:lnTo>
                        <a:pt x="750130" y="220601"/>
                      </a:lnTo>
                      <a:lnTo>
                        <a:pt x="762054" y="219435"/>
                      </a:lnTo>
                      <a:lnTo>
                        <a:pt x="774380" y="212696"/>
                      </a:lnTo>
                      <a:lnTo>
                        <a:pt x="786680" y="207875"/>
                      </a:lnTo>
                      <a:lnTo>
                        <a:pt x="793590" y="201038"/>
                      </a:lnTo>
                      <a:lnTo>
                        <a:pt x="794124" y="194676"/>
                      </a:lnTo>
                      <a:lnTo>
                        <a:pt x="794804" y="183929"/>
                      </a:lnTo>
                      <a:lnTo>
                        <a:pt x="800790" y="172102"/>
                      </a:lnTo>
                      <a:lnTo>
                        <a:pt x="809120" y="165508"/>
                      </a:lnTo>
                      <a:lnTo>
                        <a:pt x="810007" y="164707"/>
                      </a:lnTo>
                      <a:lnTo>
                        <a:pt x="820000" y="156389"/>
                      </a:lnTo>
                      <a:lnTo>
                        <a:pt x="825319" y="150718"/>
                      </a:lnTo>
                      <a:lnTo>
                        <a:pt x="829873" y="144477"/>
                      </a:lnTo>
                      <a:lnTo>
                        <a:pt x="833127" y="139874"/>
                      </a:lnTo>
                      <a:lnTo>
                        <a:pt x="845768" y="132479"/>
                      </a:lnTo>
                      <a:lnTo>
                        <a:pt x="855336" y="124489"/>
                      </a:lnTo>
                      <a:lnTo>
                        <a:pt x="863873" y="115285"/>
                      </a:lnTo>
                      <a:lnTo>
                        <a:pt x="875227" y="95638"/>
                      </a:lnTo>
                      <a:lnTo>
                        <a:pt x="885524" y="94266"/>
                      </a:lnTo>
                      <a:lnTo>
                        <a:pt x="901880" y="90720"/>
                      </a:lnTo>
                      <a:lnTo>
                        <a:pt x="918468" y="87223"/>
                      </a:lnTo>
                      <a:lnTo>
                        <a:pt x="932711" y="84393"/>
                      </a:lnTo>
                      <a:lnTo>
                        <a:pt x="938467" y="94460"/>
                      </a:lnTo>
                      <a:lnTo>
                        <a:pt x="967744" y="85219"/>
                      </a:lnTo>
                      <a:lnTo>
                        <a:pt x="984987" y="77083"/>
                      </a:lnTo>
                      <a:lnTo>
                        <a:pt x="1004986" y="68741"/>
                      </a:lnTo>
                      <a:lnTo>
                        <a:pt x="1006893" y="67102"/>
                      </a:lnTo>
                      <a:lnTo>
                        <a:pt x="1016424" y="59682"/>
                      </a:lnTo>
                      <a:lnTo>
                        <a:pt x="1028373" y="55627"/>
                      </a:lnTo>
                      <a:lnTo>
                        <a:pt x="1042228" y="48657"/>
                      </a:lnTo>
                      <a:lnTo>
                        <a:pt x="1057516" y="40485"/>
                      </a:lnTo>
                      <a:lnTo>
                        <a:pt x="1071809" y="56453"/>
                      </a:lnTo>
                      <a:lnTo>
                        <a:pt x="1074140" y="52737"/>
                      </a:lnTo>
                      <a:lnTo>
                        <a:pt x="1077139" y="43860"/>
                      </a:lnTo>
                      <a:lnTo>
                        <a:pt x="1076969" y="35385"/>
                      </a:lnTo>
                      <a:lnTo>
                        <a:pt x="1079677" y="24869"/>
                      </a:lnTo>
                      <a:lnTo>
                        <a:pt x="1097576" y="17134"/>
                      </a:lnTo>
                      <a:lnTo>
                        <a:pt x="1118887" y="11099"/>
                      </a:lnTo>
                      <a:lnTo>
                        <a:pt x="1145019" y="0"/>
                      </a:lnTo>
                      <a:lnTo>
                        <a:pt x="1146463" y="1700"/>
                      </a:lnTo>
                      <a:cubicBezTo>
                        <a:pt x="1151539" y="7650"/>
                        <a:pt x="1156081" y="14571"/>
                        <a:pt x="1158619" y="20206"/>
                      </a:cubicBezTo>
                      <a:cubicBezTo>
                        <a:pt x="1164739" y="33927"/>
                        <a:pt x="1154053" y="42719"/>
                        <a:pt x="1145455" y="49774"/>
                      </a:cubicBezTo>
                      <a:cubicBezTo>
                        <a:pt x="1138741" y="55299"/>
                        <a:pt x="1132390" y="60520"/>
                        <a:pt x="1133410" y="67078"/>
                      </a:cubicBezTo>
                      <a:cubicBezTo>
                        <a:pt x="1133640" y="68583"/>
                        <a:pt x="1134333" y="69761"/>
                        <a:pt x="1135219" y="71242"/>
                      </a:cubicBezTo>
                      <a:cubicBezTo>
                        <a:pt x="1136470" y="73319"/>
                        <a:pt x="1138000" y="75905"/>
                        <a:pt x="1138109" y="79791"/>
                      </a:cubicBezTo>
                      <a:cubicBezTo>
                        <a:pt x="1138364" y="86579"/>
                        <a:pt x="1140259" y="86931"/>
                        <a:pt x="1147301" y="88255"/>
                      </a:cubicBezTo>
                      <a:cubicBezTo>
                        <a:pt x="1150507" y="88850"/>
                        <a:pt x="1154478" y="89590"/>
                        <a:pt x="1158983" y="91278"/>
                      </a:cubicBezTo>
                      <a:cubicBezTo>
                        <a:pt x="1161290" y="92141"/>
                        <a:pt x="1163755" y="92821"/>
                        <a:pt x="1166099" y="93476"/>
                      </a:cubicBezTo>
                      <a:cubicBezTo>
                        <a:pt x="1172522" y="95261"/>
                        <a:pt x="1178594" y="96949"/>
                        <a:pt x="1180257" y="101867"/>
                      </a:cubicBezTo>
                      <a:cubicBezTo>
                        <a:pt x="1181714" y="106141"/>
                        <a:pt x="1178982" y="110476"/>
                        <a:pt x="1176784" y="113378"/>
                      </a:cubicBezTo>
                      <a:cubicBezTo>
                        <a:pt x="1171745" y="120106"/>
                        <a:pt x="1164896" y="125582"/>
                        <a:pt x="1158266" y="130864"/>
                      </a:cubicBezTo>
                      <a:lnTo>
                        <a:pt x="1154587" y="133815"/>
                      </a:lnTo>
                      <a:cubicBezTo>
                        <a:pt x="1146038" y="140724"/>
                        <a:pt x="1133956" y="145011"/>
                        <a:pt x="1123064" y="145011"/>
                      </a:cubicBezTo>
                      <a:cubicBezTo>
                        <a:pt x="1122178" y="145011"/>
                        <a:pt x="1121291" y="144987"/>
                        <a:pt x="1120405" y="144926"/>
                      </a:cubicBezTo>
                      <a:cubicBezTo>
                        <a:pt x="1118753" y="144817"/>
                        <a:pt x="1117369" y="144622"/>
                        <a:pt x="1116070" y="144440"/>
                      </a:cubicBezTo>
                      <a:cubicBezTo>
                        <a:pt x="1114710" y="144246"/>
                        <a:pt x="1113471" y="144076"/>
                        <a:pt x="1112148" y="144076"/>
                      </a:cubicBezTo>
                      <a:cubicBezTo>
                        <a:pt x="1110642" y="144076"/>
                        <a:pt x="1109185" y="144319"/>
                        <a:pt x="1107424" y="144853"/>
                      </a:cubicBezTo>
                      <a:cubicBezTo>
                        <a:pt x="1104947" y="145630"/>
                        <a:pt x="1102627" y="146784"/>
                        <a:pt x="1100308" y="147913"/>
                      </a:cubicBezTo>
                      <a:cubicBezTo>
                        <a:pt x="1096957" y="149552"/>
                        <a:pt x="1093484" y="151240"/>
                        <a:pt x="1089428" y="152054"/>
                      </a:cubicBezTo>
                      <a:cubicBezTo>
                        <a:pt x="1087400" y="152455"/>
                        <a:pt x="1085518" y="152588"/>
                        <a:pt x="1083733" y="152709"/>
                      </a:cubicBezTo>
                      <a:cubicBezTo>
                        <a:pt x="1080564" y="152928"/>
                        <a:pt x="1078281" y="153074"/>
                        <a:pt x="1075949" y="154786"/>
                      </a:cubicBezTo>
                      <a:cubicBezTo>
                        <a:pt x="1073496" y="156607"/>
                        <a:pt x="1070959" y="160165"/>
                        <a:pt x="1068919" y="163019"/>
                      </a:cubicBezTo>
                      <a:lnTo>
                        <a:pt x="1066029" y="167075"/>
                      </a:lnTo>
                      <a:cubicBezTo>
                        <a:pt x="1063576" y="170596"/>
                        <a:pt x="1062543" y="171810"/>
                        <a:pt x="1057091" y="173984"/>
                      </a:cubicBezTo>
                      <a:lnTo>
                        <a:pt x="1054250" y="175101"/>
                      </a:lnTo>
                      <a:cubicBezTo>
                        <a:pt x="1050838" y="176437"/>
                        <a:pt x="1047365" y="177809"/>
                        <a:pt x="1044208" y="178987"/>
                      </a:cubicBezTo>
                      <a:cubicBezTo>
                        <a:pt x="1039703" y="180675"/>
                        <a:pt x="1035283" y="186613"/>
                        <a:pt x="1030996" y="192368"/>
                      </a:cubicBezTo>
                      <a:cubicBezTo>
                        <a:pt x="1026977" y="197772"/>
                        <a:pt x="1023164" y="202884"/>
                        <a:pt x="1018708" y="205580"/>
                      </a:cubicBezTo>
                      <a:lnTo>
                        <a:pt x="1018040" y="206709"/>
                      </a:lnTo>
                      <a:lnTo>
                        <a:pt x="1015356" y="207316"/>
                      </a:lnTo>
                      <a:cubicBezTo>
                        <a:pt x="1014324" y="207122"/>
                        <a:pt x="1013316" y="207037"/>
                        <a:pt x="1012344" y="207037"/>
                      </a:cubicBezTo>
                      <a:cubicBezTo>
                        <a:pt x="1006807" y="207037"/>
                        <a:pt x="1001841" y="209915"/>
                        <a:pt x="996571" y="212963"/>
                      </a:cubicBezTo>
                      <a:cubicBezTo>
                        <a:pt x="993936" y="214481"/>
                        <a:pt x="991289" y="216011"/>
                        <a:pt x="988557" y="217225"/>
                      </a:cubicBezTo>
                      <a:cubicBezTo>
                        <a:pt x="985715" y="218488"/>
                        <a:pt x="982607" y="219739"/>
                        <a:pt x="979595" y="220953"/>
                      </a:cubicBezTo>
                      <a:lnTo>
                        <a:pt x="974532" y="223017"/>
                      </a:lnTo>
                      <a:cubicBezTo>
                        <a:pt x="971022" y="224486"/>
                        <a:pt x="968023" y="227170"/>
                        <a:pt x="964841" y="230012"/>
                      </a:cubicBezTo>
                      <a:cubicBezTo>
                        <a:pt x="962983" y="231675"/>
                        <a:pt x="961138" y="233314"/>
                        <a:pt x="959207" y="234723"/>
                      </a:cubicBezTo>
                      <a:cubicBezTo>
                        <a:pt x="952019" y="239920"/>
                        <a:pt x="944235" y="244097"/>
                        <a:pt x="936075" y="247121"/>
                      </a:cubicBezTo>
                      <a:cubicBezTo>
                        <a:pt x="930101" y="249319"/>
                        <a:pt x="925377" y="251322"/>
                        <a:pt x="920289" y="253800"/>
                      </a:cubicBezTo>
                      <a:cubicBezTo>
                        <a:pt x="917387" y="255220"/>
                        <a:pt x="914970" y="256932"/>
                        <a:pt x="912530" y="258632"/>
                      </a:cubicBezTo>
                      <a:cubicBezTo>
                        <a:pt x="909967" y="260429"/>
                        <a:pt x="907417" y="262215"/>
                        <a:pt x="904430" y="263708"/>
                      </a:cubicBezTo>
                      <a:cubicBezTo>
                        <a:pt x="899391" y="266270"/>
                        <a:pt x="896064" y="267970"/>
                        <a:pt x="891547" y="271795"/>
                      </a:cubicBezTo>
                      <a:cubicBezTo>
                        <a:pt x="890114" y="273010"/>
                        <a:pt x="888098" y="274321"/>
                        <a:pt x="886022" y="275657"/>
                      </a:cubicBezTo>
                      <a:cubicBezTo>
                        <a:pt x="883435" y="277320"/>
                        <a:pt x="880217" y="279397"/>
                        <a:pt x="879222" y="280866"/>
                      </a:cubicBezTo>
                      <a:cubicBezTo>
                        <a:pt x="878287" y="282238"/>
                        <a:pt x="877886" y="284837"/>
                        <a:pt x="877485" y="287351"/>
                      </a:cubicBezTo>
                      <a:cubicBezTo>
                        <a:pt x="877060" y="290131"/>
                        <a:pt x="876623" y="292997"/>
                        <a:pt x="875372" y="295377"/>
                      </a:cubicBezTo>
                      <a:cubicBezTo>
                        <a:pt x="873235" y="299566"/>
                        <a:pt x="870090" y="302213"/>
                        <a:pt x="866775" y="305031"/>
                      </a:cubicBezTo>
                      <a:lnTo>
                        <a:pt x="864067" y="307350"/>
                      </a:lnTo>
                      <a:cubicBezTo>
                        <a:pt x="863254" y="308079"/>
                        <a:pt x="862950" y="308564"/>
                        <a:pt x="862671" y="309038"/>
                      </a:cubicBezTo>
                      <a:cubicBezTo>
                        <a:pt x="861930" y="310276"/>
                        <a:pt x="860910" y="311600"/>
                        <a:pt x="858202" y="311600"/>
                      </a:cubicBezTo>
                      <a:cubicBezTo>
                        <a:pt x="857595" y="311600"/>
                        <a:pt x="856769" y="311539"/>
                        <a:pt x="855616" y="311393"/>
                      </a:cubicBezTo>
                      <a:cubicBezTo>
                        <a:pt x="853564" y="311139"/>
                        <a:pt x="851997" y="309948"/>
                        <a:pt x="850746" y="308989"/>
                      </a:cubicBezTo>
                      <a:cubicBezTo>
                        <a:pt x="850176" y="308552"/>
                        <a:pt x="849399" y="307957"/>
                        <a:pt x="849022" y="307884"/>
                      </a:cubicBezTo>
                      <a:cubicBezTo>
                        <a:pt x="848318" y="307714"/>
                        <a:pt x="847674" y="307641"/>
                        <a:pt x="847067" y="307641"/>
                      </a:cubicBezTo>
                      <a:cubicBezTo>
                        <a:pt x="843946" y="307641"/>
                        <a:pt x="841785" y="309851"/>
                        <a:pt x="839126" y="313664"/>
                      </a:cubicBezTo>
                      <a:cubicBezTo>
                        <a:pt x="837778" y="315643"/>
                        <a:pt x="837377" y="317866"/>
                        <a:pt x="836916" y="320452"/>
                      </a:cubicBezTo>
                      <a:cubicBezTo>
                        <a:pt x="836527" y="322577"/>
                        <a:pt x="836138" y="324787"/>
                        <a:pt x="835143" y="327082"/>
                      </a:cubicBezTo>
                      <a:cubicBezTo>
                        <a:pt x="834001" y="329754"/>
                        <a:pt x="833297" y="332814"/>
                        <a:pt x="832544" y="336056"/>
                      </a:cubicBezTo>
                      <a:cubicBezTo>
                        <a:pt x="830929" y="342953"/>
                        <a:pt x="829108" y="350773"/>
                        <a:pt x="822344" y="355982"/>
                      </a:cubicBezTo>
                      <a:cubicBezTo>
                        <a:pt x="817305" y="359856"/>
                        <a:pt x="815653" y="363183"/>
                        <a:pt x="812933" y="368684"/>
                      </a:cubicBezTo>
                      <a:cubicBezTo>
                        <a:pt x="807615" y="379370"/>
                        <a:pt x="806182" y="398252"/>
                        <a:pt x="805235" y="410735"/>
                      </a:cubicBezTo>
                      <a:lnTo>
                        <a:pt x="804895" y="415155"/>
                      </a:lnTo>
                      <a:cubicBezTo>
                        <a:pt x="804215" y="424456"/>
                        <a:pt x="803000" y="425234"/>
                        <a:pt x="793699" y="428852"/>
                      </a:cubicBezTo>
                      <a:cubicBezTo>
                        <a:pt x="790590" y="430054"/>
                        <a:pt x="785357" y="430856"/>
                        <a:pt x="780670" y="430856"/>
                      </a:cubicBezTo>
                      <a:cubicBezTo>
                        <a:pt x="778302" y="430856"/>
                        <a:pt x="776286" y="430649"/>
                        <a:pt x="774683" y="430236"/>
                      </a:cubicBezTo>
                      <a:cubicBezTo>
                        <a:pt x="771769" y="429483"/>
                        <a:pt x="769352" y="427905"/>
                        <a:pt x="767215" y="426496"/>
                      </a:cubicBezTo>
                      <a:cubicBezTo>
                        <a:pt x="764665" y="424833"/>
                        <a:pt x="762455" y="423400"/>
                        <a:pt x="759881" y="423400"/>
                      </a:cubicBezTo>
                      <a:cubicBezTo>
                        <a:pt x="751174" y="423619"/>
                        <a:pt x="743136" y="434839"/>
                        <a:pt x="740379" y="442367"/>
                      </a:cubicBezTo>
                      <a:cubicBezTo>
                        <a:pt x="739918" y="443667"/>
                        <a:pt x="739602" y="444917"/>
                        <a:pt x="739274" y="446131"/>
                      </a:cubicBezTo>
                      <a:cubicBezTo>
                        <a:pt x="738351" y="449726"/>
                        <a:pt x="737392" y="453454"/>
                        <a:pt x="733349" y="457072"/>
                      </a:cubicBezTo>
                      <a:cubicBezTo>
                        <a:pt x="727981" y="461881"/>
                        <a:pt x="727508" y="463144"/>
                        <a:pt x="725905" y="469033"/>
                      </a:cubicBezTo>
                      <a:cubicBezTo>
                        <a:pt x="724642" y="473817"/>
                        <a:pt x="722165" y="476525"/>
                        <a:pt x="719785" y="479148"/>
                      </a:cubicBezTo>
                      <a:cubicBezTo>
                        <a:pt x="718777" y="480253"/>
                        <a:pt x="717696" y="481431"/>
                        <a:pt x="716628" y="482876"/>
                      </a:cubicBezTo>
                      <a:cubicBezTo>
                        <a:pt x="716142" y="483544"/>
                        <a:pt x="715814" y="484430"/>
                        <a:pt x="715425" y="485462"/>
                      </a:cubicBezTo>
                      <a:cubicBezTo>
                        <a:pt x="714782" y="487223"/>
                        <a:pt x="713993" y="489397"/>
                        <a:pt x="711965" y="491133"/>
                      </a:cubicBezTo>
                      <a:cubicBezTo>
                        <a:pt x="710690" y="492214"/>
                        <a:pt x="708055" y="493246"/>
                        <a:pt x="703841" y="494800"/>
                      </a:cubicBezTo>
                      <a:cubicBezTo>
                        <a:pt x="702700" y="495225"/>
                        <a:pt x="700465" y="496124"/>
                        <a:pt x="700465" y="496124"/>
                      </a:cubicBezTo>
                      <a:lnTo>
                        <a:pt x="698802" y="496355"/>
                      </a:lnTo>
                      <a:cubicBezTo>
                        <a:pt x="695244" y="496355"/>
                        <a:pt x="693301" y="493076"/>
                        <a:pt x="691868" y="490684"/>
                      </a:cubicBezTo>
                      <a:cubicBezTo>
                        <a:pt x="691735" y="490453"/>
                        <a:pt x="691589" y="490186"/>
                        <a:pt x="691419" y="489931"/>
                      </a:cubicBezTo>
                      <a:cubicBezTo>
                        <a:pt x="691091" y="490332"/>
                        <a:pt x="690727" y="490757"/>
                        <a:pt x="690666" y="490915"/>
                      </a:cubicBezTo>
                      <a:cubicBezTo>
                        <a:pt x="690545" y="491498"/>
                        <a:pt x="691407" y="494436"/>
                        <a:pt x="691808" y="495845"/>
                      </a:cubicBezTo>
                      <a:cubicBezTo>
                        <a:pt x="692063" y="496743"/>
                        <a:pt x="692269" y="497642"/>
                        <a:pt x="692488" y="498540"/>
                      </a:cubicBezTo>
                      <a:cubicBezTo>
                        <a:pt x="693131" y="501309"/>
                        <a:pt x="693690" y="503701"/>
                        <a:pt x="695377" y="505523"/>
                      </a:cubicBezTo>
                      <a:cubicBezTo>
                        <a:pt x="696373" y="506591"/>
                        <a:pt x="697661" y="507393"/>
                        <a:pt x="699032" y="508255"/>
                      </a:cubicBezTo>
                      <a:cubicBezTo>
                        <a:pt x="701145" y="509578"/>
                        <a:pt x="703537" y="511084"/>
                        <a:pt x="705213" y="513816"/>
                      </a:cubicBezTo>
                      <a:cubicBezTo>
                        <a:pt x="706440" y="515808"/>
                        <a:pt x="706865" y="517872"/>
                        <a:pt x="707241" y="519693"/>
                      </a:cubicBezTo>
                      <a:cubicBezTo>
                        <a:pt x="707630" y="521575"/>
                        <a:pt x="707958" y="523069"/>
                        <a:pt x="709002" y="524308"/>
                      </a:cubicBezTo>
                      <a:cubicBezTo>
                        <a:pt x="709463" y="524866"/>
                        <a:pt x="710933" y="525911"/>
                        <a:pt x="712111" y="526748"/>
                      </a:cubicBezTo>
                      <a:cubicBezTo>
                        <a:pt x="715462" y="529116"/>
                        <a:pt x="718619" y="531338"/>
                        <a:pt x="718814" y="534459"/>
                      </a:cubicBezTo>
                      <a:cubicBezTo>
                        <a:pt x="719093" y="538199"/>
                        <a:pt x="715450" y="541235"/>
                        <a:pt x="712220" y="543906"/>
                      </a:cubicBezTo>
                      <a:cubicBezTo>
                        <a:pt x="711188" y="544756"/>
                        <a:pt x="710229" y="545534"/>
                        <a:pt x="709633" y="546214"/>
                      </a:cubicBezTo>
                      <a:cubicBezTo>
                        <a:pt x="699676" y="557652"/>
                        <a:pt x="693313" y="568314"/>
                        <a:pt x="690205" y="578805"/>
                      </a:cubicBezTo>
                      <a:cubicBezTo>
                        <a:pt x="690205" y="578805"/>
                        <a:pt x="686355" y="591325"/>
                        <a:pt x="685445" y="594409"/>
                      </a:cubicBezTo>
                      <a:cubicBezTo>
                        <a:pt x="684922" y="596194"/>
                        <a:pt x="684704" y="598076"/>
                        <a:pt x="684485" y="599946"/>
                      </a:cubicBezTo>
                      <a:cubicBezTo>
                        <a:pt x="684048" y="603601"/>
                        <a:pt x="683550" y="607742"/>
                        <a:pt x="681049" y="611494"/>
                      </a:cubicBezTo>
                      <a:cubicBezTo>
                        <a:pt x="678705" y="615695"/>
                        <a:pt x="676034" y="618998"/>
                        <a:pt x="673217" y="621111"/>
                      </a:cubicBezTo>
                      <a:cubicBezTo>
                        <a:pt x="670460" y="623188"/>
                        <a:pt x="668335" y="625288"/>
                        <a:pt x="666077" y="628142"/>
                      </a:cubicBezTo>
                      <a:lnTo>
                        <a:pt x="663855" y="630291"/>
                      </a:lnTo>
                      <a:cubicBezTo>
                        <a:pt x="662106" y="631882"/>
                        <a:pt x="660321" y="633533"/>
                        <a:pt x="659337" y="635343"/>
                      </a:cubicBezTo>
                      <a:lnTo>
                        <a:pt x="659022" y="635926"/>
                      </a:lnTo>
                      <a:lnTo>
                        <a:pt x="658499" y="636326"/>
                      </a:lnTo>
                      <a:cubicBezTo>
                        <a:pt x="658245" y="636509"/>
                        <a:pt x="658026" y="636946"/>
                        <a:pt x="657686" y="637638"/>
                      </a:cubicBezTo>
                      <a:cubicBezTo>
                        <a:pt x="657249" y="638500"/>
                        <a:pt x="656702" y="639581"/>
                        <a:pt x="655743" y="640674"/>
                      </a:cubicBezTo>
                      <a:cubicBezTo>
                        <a:pt x="655646" y="640868"/>
                        <a:pt x="655209" y="641378"/>
                        <a:pt x="654772" y="641876"/>
                      </a:cubicBezTo>
                      <a:lnTo>
                        <a:pt x="654735" y="642337"/>
                      </a:lnTo>
                      <a:lnTo>
                        <a:pt x="653910" y="643321"/>
                      </a:lnTo>
                      <a:cubicBezTo>
                        <a:pt x="653120" y="645409"/>
                        <a:pt x="652950" y="647668"/>
                        <a:pt x="652816" y="649319"/>
                      </a:cubicBezTo>
                      <a:cubicBezTo>
                        <a:pt x="651881" y="652622"/>
                        <a:pt x="651602" y="655391"/>
                        <a:pt x="651432" y="657989"/>
                      </a:cubicBezTo>
                      <a:cubicBezTo>
                        <a:pt x="651311" y="659531"/>
                        <a:pt x="651384" y="660891"/>
                        <a:pt x="651456" y="662166"/>
                      </a:cubicBezTo>
                      <a:cubicBezTo>
                        <a:pt x="651529" y="663575"/>
                        <a:pt x="651602" y="664911"/>
                        <a:pt x="651481" y="666222"/>
                      </a:cubicBezTo>
                      <a:cubicBezTo>
                        <a:pt x="650946" y="673059"/>
                        <a:pt x="649708" y="680259"/>
                        <a:pt x="644304" y="686343"/>
                      </a:cubicBezTo>
                      <a:cubicBezTo>
                        <a:pt x="641936" y="688213"/>
                        <a:pt x="639338" y="690180"/>
                        <a:pt x="638670" y="692317"/>
                      </a:cubicBezTo>
                      <a:cubicBezTo>
                        <a:pt x="638719" y="692827"/>
                        <a:pt x="638925" y="693993"/>
                        <a:pt x="639144" y="695341"/>
                      </a:cubicBezTo>
                      <a:cubicBezTo>
                        <a:pt x="639399" y="696847"/>
                        <a:pt x="639702" y="698559"/>
                        <a:pt x="639557" y="700490"/>
                      </a:cubicBezTo>
                      <a:lnTo>
                        <a:pt x="637249" y="706391"/>
                      </a:lnTo>
                      <a:lnTo>
                        <a:pt x="636363" y="708504"/>
                      </a:lnTo>
                      <a:lnTo>
                        <a:pt x="632064" y="707994"/>
                      </a:lnTo>
                      <a:cubicBezTo>
                        <a:pt x="626855" y="707387"/>
                        <a:pt x="620953" y="706707"/>
                        <a:pt x="616412" y="704145"/>
                      </a:cubicBezTo>
                      <a:cubicBezTo>
                        <a:pt x="614505" y="703076"/>
                        <a:pt x="613607" y="702044"/>
                        <a:pt x="612939" y="701291"/>
                      </a:cubicBezTo>
                      <a:cubicBezTo>
                        <a:pt x="612344" y="700623"/>
                        <a:pt x="612113" y="700344"/>
                        <a:pt x="610911" y="699943"/>
                      </a:cubicBezTo>
                      <a:cubicBezTo>
                        <a:pt x="609915" y="699627"/>
                        <a:pt x="606698" y="699227"/>
                        <a:pt x="604111" y="699227"/>
                      </a:cubicBezTo>
                      <a:cubicBezTo>
                        <a:pt x="603516" y="699227"/>
                        <a:pt x="602994" y="699239"/>
                        <a:pt x="602630" y="699300"/>
                      </a:cubicBezTo>
                      <a:cubicBezTo>
                        <a:pt x="596437" y="700235"/>
                        <a:pt x="592855" y="707618"/>
                        <a:pt x="589697" y="714114"/>
                      </a:cubicBezTo>
                      <a:cubicBezTo>
                        <a:pt x="588605" y="716385"/>
                        <a:pt x="587548" y="718546"/>
                        <a:pt x="586443" y="720355"/>
                      </a:cubicBezTo>
                      <a:lnTo>
                        <a:pt x="583663" y="725091"/>
                      </a:lnTo>
                      <a:cubicBezTo>
                        <a:pt x="579838" y="731697"/>
                        <a:pt x="575879" y="738546"/>
                        <a:pt x="569589" y="744144"/>
                      </a:cubicBezTo>
                      <a:cubicBezTo>
                        <a:pt x="568654" y="744981"/>
                        <a:pt x="567609" y="746414"/>
                        <a:pt x="566505" y="747920"/>
                      </a:cubicBezTo>
                      <a:cubicBezTo>
                        <a:pt x="564112" y="751162"/>
                        <a:pt x="561405" y="754841"/>
                        <a:pt x="557543" y="755534"/>
                      </a:cubicBezTo>
                      <a:cubicBezTo>
                        <a:pt x="556596" y="755546"/>
                        <a:pt x="555710" y="755631"/>
                        <a:pt x="554884" y="755631"/>
                      </a:cubicBezTo>
                      <a:close/>
                    </a:path>
                  </a:pathLst>
                </a:custGeom>
                <a:solidFill>
                  <a:srgbClr val="D7D7D2"/>
                </a:solidFill>
                <a:ln w="12138" cap="flat">
                  <a:noFill/>
                  <a:prstDash val="solid"/>
                  <a:miter/>
                </a:ln>
              </p:spPr>
              <p:txBody>
                <a:bodyPr rtlCol="0" anchor="ctr"/>
                <a:lstStyle/>
                <a:p>
                  <a:endParaRPr lang="en-US"/>
                </a:p>
              </p:txBody>
            </p:sp>
            <p:sp>
              <p:nvSpPr>
                <p:cNvPr id="287" name="Freeform: Shape 286">
                  <a:extLst>
                    <a:ext uri="{FF2B5EF4-FFF2-40B4-BE49-F238E27FC236}">
                      <a16:creationId xmlns:a16="http://schemas.microsoft.com/office/drawing/2014/main" id="{3CBF52B7-926A-40C8-A527-EFF2265D0EB6}"/>
                    </a:ext>
                  </a:extLst>
                </p:cNvPr>
                <p:cNvSpPr/>
                <p:nvPr/>
              </p:nvSpPr>
              <p:spPr>
                <a:xfrm>
                  <a:off x="7386345" y="2531760"/>
                  <a:ext cx="1187240" cy="762309"/>
                </a:xfrm>
                <a:custGeom>
                  <a:avLst/>
                  <a:gdLst>
                    <a:gd name="connsiteX0" fmla="*/ 1147714 w 1187240"/>
                    <a:gd name="connsiteY0" fmla="*/ 7322 h 762309"/>
                    <a:gd name="connsiteX1" fmla="*/ 1159408 w 1187240"/>
                    <a:gd name="connsiteY1" fmla="*/ 25099 h 762309"/>
                    <a:gd name="connsiteX2" fmla="*/ 1133968 w 1187240"/>
                    <a:gd name="connsiteY2" fmla="*/ 71194 h 762309"/>
                    <a:gd name="connsiteX3" fmla="*/ 1138643 w 1187240"/>
                    <a:gd name="connsiteY3" fmla="*/ 83519 h 762309"/>
                    <a:gd name="connsiteX4" fmla="*/ 1161496 w 1187240"/>
                    <a:gd name="connsiteY4" fmla="*/ 97763 h 762309"/>
                    <a:gd name="connsiteX5" fmla="*/ 1177938 w 1187240"/>
                    <a:gd name="connsiteY5" fmla="*/ 115188 h 762309"/>
                    <a:gd name="connsiteX6" fmla="*/ 1156251 w 1187240"/>
                    <a:gd name="connsiteY6" fmla="*/ 135102 h 762309"/>
                    <a:gd name="connsiteX7" fmla="*/ 1126646 w 1187240"/>
                    <a:gd name="connsiteY7" fmla="*/ 145618 h 762309"/>
                    <a:gd name="connsiteX8" fmla="*/ 1124193 w 1187240"/>
                    <a:gd name="connsiteY8" fmla="*/ 145533 h 762309"/>
                    <a:gd name="connsiteX9" fmla="*/ 1115730 w 1187240"/>
                    <a:gd name="connsiteY9" fmla="*/ 144671 h 762309"/>
                    <a:gd name="connsiteX10" fmla="*/ 1110119 w 1187240"/>
                    <a:gd name="connsiteY10" fmla="*/ 145582 h 762309"/>
                    <a:gd name="connsiteX11" fmla="*/ 1092427 w 1187240"/>
                    <a:gd name="connsiteY11" fmla="*/ 152710 h 762309"/>
                    <a:gd name="connsiteX12" fmla="*/ 1077747 w 1187240"/>
                    <a:gd name="connsiteY12" fmla="*/ 155976 h 762309"/>
                    <a:gd name="connsiteX13" fmla="*/ 1068724 w 1187240"/>
                    <a:gd name="connsiteY13" fmla="*/ 166735 h 762309"/>
                    <a:gd name="connsiteX14" fmla="*/ 1059556 w 1187240"/>
                    <a:gd name="connsiteY14" fmla="*/ 174810 h 762309"/>
                    <a:gd name="connsiteX15" fmla="*/ 1046733 w 1187240"/>
                    <a:gd name="connsiteY15" fmla="*/ 179788 h 762309"/>
                    <a:gd name="connsiteX16" fmla="*/ 1020104 w 1187240"/>
                    <a:gd name="connsiteY16" fmla="*/ 206989 h 762309"/>
                    <a:gd name="connsiteX17" fmla="*/ 1019509 w 1187240"/>
                    <a:gd name="connsiteY17" fmla="*/ 207984 h 762309"/>
                    <a:gd name="connsiteX18" fmla="*/ 1015939 w 1187240"/>
                    <a:gd name="connsiteY18" fmla="*/ 207656 h 762309"/>
                    <a:gd name="connsiteX19" fmla="*/ 990925 w 1187240"/>
                    <a:gd name="connsiteY19" fmla="*/ 218099 h 762309"/>
                    <a:gd name="connsiteX20" fmla="*/ 976948 w 1187240"/>
                    <a:gd name="connsiteY20" fmla="*/ 223867 h 762309"/>
                    <a:gd name="connsiteX21" fmla="*/ 961016 w 1187240"/>
                    <a:gd name="connsiteY21" fmla="*/ 235913 h 762309"/>
                    <a:gd name="connsiteX22" fmla="*/ 938600 w 1187240"/>
                    <a:gd name="connsiteY22" fmla="*/ 247934 h 762309"/>
                    <a:gd name="connsiteX23" fmla="*/ 922548 w 1187240"/>
                    <a:gd name="connsiteY23" fmla="*/ 254735 h 762309"/>
                    <a:gd name="connsiteX24" fmla="*/ 906653 w 1187240"/>
                    <a:gd name="connsiteY24" fmla="*/ 264668 h 762309"/>
                    <a:gd name="connsiteX25" fmla="*/ 893174 w 1187240"/>
                    <a:gd name="connsiteY25" fmla="*/ 273155 h 762309"/>
                    <a:gd name="connsiteX26" fmla="*/ 880302 w 1187240"/>
                    <a:gd name="connsiteY26" fmla="*/ 282821 h 762309"/>
                    <a:gd name="connsiteX27" fmla="*/ 876283 w 1187240"/>
                    <a:gd name="connsiteY27" fmla="*/ 297623 h 762309"/>
                    <a:gd name="connsiteX28" fmla="*/ 865658 w 1187240"/>
                    <a:gd name="connsiteY28" fmla="*/ 308746 h 762309"/>
                    <a:gd name="connsiteX29" fmla="*/ 861808 w 1187240"/>
                    <a:gd name="connsiteY29" fmla="*/ 312231 h 762309"/>
                    <a:gd name="connsiteX30" fmla="*/ 859599 w 1187240"/>
                    <a:gd name="connsiteY30" fmla="*/ 312049 h 762309"/>
                    <a:gd name="connsiteX31" fmla="*/ 853284 w 1187240"/>
                    <a:gd name="connsiteY31" fmla="*/ 308588 h 762309"/>
                    <a:gd name="connsiteX32" fmla="*/ 850661 w 1187240"/>
                    <a:gd name="connsiteY32" fmla="*/ 308273 h 762309"/>
                    <a:gd name="connsiteX33" fmla="*/ 840231 w 1187240"/>
                    <a:gd name="connsiteY33" fmla="*/ 315607 h 762309"/>
                    <a:gd name="connsiteX34" fmla="*/ 835956 w 1187240"/>
                    <a:gd name="connsiteY34" fmla="*/ 329559 h 762309"/>
                    <a:gd name="connsiteX35" fmla="*/ 824093 w 1187240"/>
                    <a:gd name="connsiteY35" fmla="*/ 357245 h 762309"/>
                    <a:gd name="connsiteX36" fmla="*/ 813395 w 1187240"/>
                    <a:gd name="connsiteY36" fmla="*/ 371841 h 762309"/>
                    <a:gd name="connsiteX37" fmla="*/ 805465 w 1187240"/>
                    <a:gd name="connsiteY37" fmla="*/ 418579 h 762309"/>
                    <a:gd name="connsiteX38" fmla="*/ 796188 w 1187240"/>
                    <a:gd name="connsiteY38" fmla="*/ 429702 h 762309"/>
                    <a:gd name="connsiteX39" fmla="*/ 784264 w 1187240"/>
                    <a:gd name="connsiteY39" fmla="*/ 431499 h 762309"/>
                    <a:gd name="connsiteX40" fmla="*/ 779018 w 1187240"/>
                    <a:gd name="connsiteY40" fmla="*/ 430977 h 762309"/>
                    <a:gd name="connsiteX41" fmla="*/ 763463 w 1187240"/>
                    <a:gd name="connsiteY41" fmla="*/ 424044 h 762309"/>
                    <a:gd name="connsiteX42" fmla="*/ 763208 w 1187240"/>
                    <a:gd name="connsiteY42" fmla="*/ 424044 h 762309"/>
                    <a:gd name="connsiteX43" fmla="*/ 741108 w 1187240"/>
                    <a:gd name="connsiteY43" fmla="*/ 445002 h 762309"/>
                    <a:gd name="connsiteX44" fmla="*/ 734891 w 1187240"/>
                    <a:gd name="connsiteY44" fmla="*/ 458493 h 762309"/>
                    <a:gd name="connsiteX45" fmla="*/ 726536 w 1187240"/>
                    <a:gd name="connsiteY45" fmla="*/ 471923 h 762309"/>
                    <a:gd name="connsiteX46" fmla="*/ 717745 w 1187240"/>
                    <a:gd name="connsiteY46" fmla="*/ 484758 h 762309"/>
                    <a:gd name="connsiteX47" fmla="*/ 713543 w 1187240"/>
                    <a:gd name="connsiteY47" fmla="*/ 492530 h 762309"/>
                    <a:gd name="connsiteX48" fmla="*/ 703404 w 1187240"/>
                    <a:gd name="connsiteY48" fmla="*/ 496780 h 762309"/>
                    <a:gd name="connsiteX49" fmla="*/ 702360 w 1187240"/>
                    <a:gd name="connsiteY49" fmla="*/ 497010 h 762309"/>
                    <a:gd name="connsiteX50" fmla="*/ 695038 w 1187240"/>
                    <a:gd name="connsiteY50" fmla="*/ 489615 h 762309"/>
                    <a:gd name="connsiteX51" fmla="*/ 693520 w 1187240"/>
                    <a:gd name="connsiteY51" fmla="*/ 490611 h 762309"/>
                    <a:gd name="connsiteX52" fmla="*/ 692439 w 1187240"/>
                    <a:gd name="connsiteY52" fmla="*/ 500386 h 762309"/>
                    <a:gd name="connsiteX53" fmla="*/ 696713 w 1187240"/>
                    <a:gd name="connsiteY53" fmla="*/ 511291 h 762309"/>
                    <a:gd name="connsiteX54" fmla="*/ 706160 w 1187240"/>
                    <a:gd name="connsiteY54" fmla="*/ 519098 h 762309"/>
                    <a:gd name="connsiteX55" fmla="*/ 710216 w 1187240"/>
                    <a:gd name="connsiteY55" fmla="*/ 529979 h 762309"/>
                    <a:gd name="connsiteX56" fmla="*/ 719311 w 1187240"/>
                    <a:gd name="connsiteY56" fmla="*/ 538345 h 762309"/>
                    <a:gd name="connsiteX57" fmla="*/ 710884 w 1187240"/>
                    <a:gd name="connsiteY57" fmla="*/ 547926 h 762309"/>
                    <a:gd name="connsiteX58" fmla="*/ 690848 w 1187240"/>
                    <a:gd name="connsiteY58" fmla="*/ 581647 h 762309"/>
                    <a:gd name="connsiteX59" fmla="*/ 686076 w 1187240"/>
                    <a:gd name="connsiteY59" fmla="*/ 597263 h 762309"/>
                    <a:gd name="connsiteX60" fmla="*/ 682069 w 1187240"/>
                    <a:gd name="connsiteY60" fmla="*/ 613510 h 762309"/>
                    <a:gd name="connsiteX61" fmla="*/ 674941 w 1187240"/>
                    <a:gd name="connsiteY61" fmla="*/ 622386 h 762309"/>
                    <a:gd name="connsiteX62" fmla="*/ 667242 w 1187240"/>
                    <a:gd name="connsiteY62" fmla="*/ 629976 h 762309"/>
                    <a:gd name="connsiteX63" fmla="*/ 660224 w 1187240"/>
                    <a:gd name="connsiteY63" fmla="*/ 637589 h 762309"/>
                    <a:gd name="connsiteX64" fmla="*/ 657006 w 1187240"/>
                    <a:gd name="connsiteY64" fmla="*/ 642374 h 762309"/>
                    <a:gd name="connsiteX65" fmla="*/ 654601 w 1187240"/>
                    <a:gd name="connsiteY65" fmla="*/ 645956 h 762309"/>
                    <a:gd name="connsiteX66" fmla="*/ 653338 w 1187240"/>
                    <a:gd name="connsiteY66" fmla="*/ 652792 h 762309"/>
                    <a:gd name="connsiteX67" fmla="*/ 651954 w 1187240"/>
                    <a:gd name="connsiteY67" fmla="*/ 661499 h 762309"/>
                    <a:gd name="connsiteX68" fmla="*/ 652003 w 1187240"/>
                    <a:gd name="connsiteY68" fmla="*/ 669671 h 762309"/>
                    <a:gd name="connsiteX69" fmla="*/ 645591 w 1187240"/>
                    <a:gd name="connsiteY69" fmla="*/ 688043 h 762309"/>
                    <a:gd name="connsiteX70" fmla="*/ 639326 w 1187240"/>
                    <a:gd name="connsiteY70" fmla="*/ 695122 h 762309"/>
                    <a:gd name="connsiteX71" fmla="*/ 640079 w 1187240"/>
                    <a:gd name="connsiteY71" fmla="*/ 703987 h 762309"/>
                    <a:gd name="connsiteX72" fmla="*/ 637990 w 1187240"/>
                    <a:gd name="connsiteY72" fmla="*/ 708929 h 762309"/>
                    <a:gd name="connsiteX73" fmla="*/ 621427 w 1187240"/>
                    <a:gd name="connsiteY73" fmla="*/ 705213 h 762309"/>
                    <a:gd name="connsiteX74" fmla="*/ 615429 w 1187240"/>
                    <a:gd name="connsiteY74" fmla="*/ 700781 h 762309"/>
                    <a:gd name="connsiteX75" fmla="*/ 607645 w 1187240"/>
                    <a:gd name="connsiteY75" fmla="*/ 699895 h 762309"/>
                    <a:gd name="connsiteX76" fmla="*/ 605690 w 1187240"/>
                    <a:gd name="connsiteY76" fmla="*/ 700004 h 762309"/>
                    <a:gd name="connsiteX77" fmla="*/ 587378 w 1187240"/>
                    <a:gd name="connsiteY77" fmla="*/ 722493 h 762309"/>
                    <a:gd name="connsiteX78" fmla="*/ 571107 w 1187240"/>
                    <a:gd name="connsiteY78" fmla="*/ 745589 h 762309"/>
                    <a:gd name="connsiteX79" fmla="*/ 560542 w 1187240"/>
                    <a:gd name="connsiteY79" fmla="*/ 756262 h 762309"/>
                    <a:gd name="connsiteX80" fmla="*/ 558417 w 1187240"/>
                    <a:gd name="connsiteY80" fmla="*/ 756469 h 762309"/>
                    <a:gd name="connsiteX81" fmla="*/ 539086 w 1187240"/>
                    <a:gd name="connsiteY81" fmla="*/ 730653 h 762309"/>
                    <a:gd name="connsiteX82" fmla="*/ 539074 w 1187240"/>
                    <a:gd name="connsiteY82" fmla="*/ 730653 h 762309"/>
                    <a:gd name="connsiteX83" fmla="*/ 530792 w 1187240"/>
                    <a:gd name="connsiteY83" fmla="*/ 738193 h 762309"/>
                    <a:gd name="connsiteX84" fmla="*/ 512468 w 1187240"/>
                    <a:gd name="connsiteY84" fmla="*/ 752510 h 762309"/>
                    <a:gd name="connsiteX85" fmla="*/ 510307 w 1187240"/>
                    <a:gd name="connsiteY85" fmla="*/ 752316 h 762309"/>
                    <a:gd name="connsiteX86" fmla="*/ 501455 w 1187240"/>
                    <a:gd name="connsiteY86" fmla="*/ 750713 h 762309"/>
                    <a:gd name="connsiteX87" fmla="*/ 497496 w 1187240"/>
                    <a:gd name="connsiteY87" fmla="*/ 745346 h 762309"/>
                    <a:gd name="connsiteX88" fmla="*/ 495262 w 1187240"/>
                    <a:gd name="connsiteY88" fmla="*/ 726585 h 762309"/>
                    <a:gd name="connsiteX89" fmla="*/ 491704 w 1187240"/>
                    <a:gd name="connsiteY89" fmla="*/ 717502 h 762309"/>
                    <a:gd name="connsiteX90" fmla="*/ 488170 w 1187240"/>
                    <a:gd name="connsiteY90" fmla="*/ 708407 h 762309"/>
                    <a:gd name="connsiteX91" fmla="*/ 479440 w 1187240"/>
                    <a:gd name="connsiteY91" fmla="*/ 702056 h 762309"/>
                    <a:gd name="connsiteX92" fmla="*/ 479124 w 1187240"/>
                    <a:gd name="connsiteY92" fmla="*/ 701437 h 762309"/>
                    <a:gd name="connsiteX93" fmla="*/ 479330 w 1187240"/>
                    <a:gd name="connsiteY93" fmla="*/ 699834 h 762309"/>
                    <a:gd name="connsiteX94" fmla="*/ 481091 w 1187240"/>
                    <a:gd name="connsiteY94" fmla="*/ 692099 h 762309"/>
                    <a:gd name="connsiteX95" fmla="*/ 490635 w 1187240"/>
                    <a:gd name="connsiteY95" fmla="*/ 666113 h 762309"/>
                    <a:gd name="connsiteX96" fmla="*/ 491097 w 1187240"/>
                    <a:gd name="connsiteY96" fmla="*/ 663041 h 762309"/>
                    <a:gd name="connsiteX97" fmla="*/ 491206 w 1187240"/>
                    <a:gd name="connsiteY97" fmla="*/ 659944 h 762309"/>
                    <a:gd name="connsiteX98" fmla="*/ 490866 w 1187240"/>
                    <a:gd name="connsiteY98" fmla="*/ 656702 h 762309"/>
                    <a:gd name="connsiteX99" fmla="*/ 490866 w 1187240"/>
                    <a:gd name="connsiteY99" fmla="*/ 656666 h 762309"/>
                    <a:gd name="connsiteX100" fmla="*/ 488401 w 1187240"/>
                    <a:gd name="connsiteY100" fmla="*/ 650303 h 762309"/>
                    <a:gd name="connsiteX101" fmla="*/ 488353 w 1187240"/>
                    <a:gd name="connsiteY101" fmla="*/ 650279 h 762309"/>
                    <a:gd name="connsiteX102" fmla="*/ 487600 w 1187240"/>
                    <a:gd name="connsiteY102" fmla="*/ 646769 h 762309"/>
                    <a:gd name="connsiteX103" fmla="*/ 488632 w 1187240"/>
                    <a:gd name="connsiteY103" fmla="*/ 643442 h 762309"/>
                    <a:gd name="connsiteX104" fmla="*/ 494084 w 1187240"/>
                    <a:gd name="connsiteY104" fmla="*/ 641111 h 762309"/>
                    <a:gd name="connsiteX105" fmla="*/ 501200 w 1187240"/>
                    <a:gd name="connsiteY105" fmla="*/ 643442 h 762309"/>
                    <a:gd name="connsiteX106" fmla="*/ 501260 w 1187240"/>
                    <a:gd name="connsiteY106" fmla="*/ 643442 h 762309"/>
                    <a:gd name="connsiteX107" fmla="*/ 513938 w 1187240"/>
                    <a:gd name="connsiteY107" fmla="*/ 650934 h 762309"/>
                    <a:gd name="connsiteX108" fmla="*/ 513938 w 1187240"/>
                    <a:gd name="connsiteY108" fmla="*/ 650959 h 762309"/>
                    <a:gd name="connsiteX109" fmla="*/ 514181 w 1187240"/>
                    <a:gd name="connsiteY109" fmla="*/ 652391 h 762309"/>
                    <a:gd name="connsiteX110" fmla="*/ 514181 w 1187240"/>
                    <a:gd name="connsiteY110" fmla="*/ 652452 h 762309"/>
                    <a:gd name="connsiteX111" fmla="*/ 514934 w 1187240"/>
                    <a:gd name="connsiteY111" fmla="*/ 653460 h 762309"/>
                    <a:gd name="connsiteX112" fmla="*/ 514982 w 1187240"/>
                    <a:gd name="connsiteY112" fmla="*/ 653460 h 762309"/>
                    <a:gd name="connsiteX113" fmla="*/ 516366 w 1187240"/>
                    <a:gd name="connsiteY113" fmla="*/ 654091 h 762309"/>
                    <a:gd name="connsiteX114" fmla="*/ 518212 w 1187240"/>
                    <a:gd name="connsiteY114" fmla="*/ 654322 h 762309"/>
                    <a:gd name="connsiteX115" fmla="*/ 529675 w 1187240"/>
                    <a:gd name="connsiteY115" fmla="*/ 650582 h 762309"/>
                    <a:gd name="connsiteX116" fmla="*/ 536342 w 1187240"/>
                    <a:gd name="connsiteY116" fmla="*/ 648894 h 762309"/>
                    <a:gd name="connsiteX117" fmla="*/ 538989 w 1187240"/>
                    <a:gd name="connsiteY117" fmla="*/ 644960 h 762309"/>
                    <a:gd name="connsiteX118" fmla="*/ 539511 w 1187240"/>
                    <a:gd name="connsiteY118" fmla="*/ 642726 h 762309"/>
                    <a:gd name="connsiteX119" fmla="*/ 538928 w 1187240"/>
                    <a:gd name="connsiteY119" fmla="*/ 639241 h 762309"/>
                    <a:gd name="connsiteX120" fmla="*/ 538928 w 1187240"/>
                    <a:gd name="connsiteY120" fmla="*/ 639216 h 762309"/>
                    <a:gd name="connsiteX121" fmla="*/ 537507 w 1187240"/>
                    <a:gd name="connsiteY121" fmla="*/ 636096 h 762309"/>
                    <a:gd name="connsiteX122" fmla="*/ 535759 w 1187240"/>
                    <a:gd name="connsiteY122" fmla="*/ 634396 h 762309"/>
                    <a:gd name="connsiteX123" fmla="*/ 535698 w 1187240"/>
                    <a:gd name="connsiteY123" fmla="*/ 634371 h 762309"/>
                    <a:gd name="connsiteX124" fmla="*/ 531120 w 1187240"/>
                    <a:gd name="connsiteY124" fmla="*/ 632441 h 762309"/>
                    <a:gd name="connsiteX125" fmla="*/ 531169 w 1187240"/>
                    <a:gd name="connsiteY125" fmla="*/ 632416 h 762309"/>
                    <a:gd name="connsiteX126" fmla="*/ 532662 w 1187240"/>
                    <a:gd name="connsiteY126" fmla="*/ 631069 h 762309"/>
                    <a:gd name="connsiteX127" fmla="*/ 532662 w 1187240"/>
                    <a:gd name="connsiteY127" fmla="*/ 631008 h 762309"/>
                    <a:gd name="connsiteX128" fmla="*/ 531921 w 1187240"/>
                    <a:gd name="connsiteY128" fmla="*/ 630109 h 762309"/>
                    <a:gd name="connsiteX129" fmla="*/ 531861 w 1187240"/>
                    <a:gd name="connsiteY129" fmla="*/ 630085 h 762309"/>
                    <a:gd name="connsiteX130" fmla="*/ 530124 w 1187240"/>
                    <a:gd name="connsiteY130" fmla="*/ 629259 h 762309"/>
                    <a:gd name="connsiteX131" fmla="*/ 524089 w 1187240"/>
                    <a:gd name="connsiteY131" fmla="*/ 624912 h 762309"/>
                    <a:gd name="connsiteX132" fmla="*/ 524089 w 1187240"/>
                    <a:gd name="connsiteY132" fmla="*/ 624863 h 762309"/>
                    <a:gd name="connsiteX133" fmla="*/ 524089 w 1187240"/>
                    <a:gd name="connsiteY133" fmla="*/ 624256 h 762309"/>
                    <a:gd name="connsiteX134" fmla="*/ 524041 w 1187240"/>
                    <a:gd name="connsiteY134" fmla="*/ 624256 h 762309"/>
                    <a:gd name="connsiteX135" fmla="*/ 523992 w 1187240"/>
                    <a:gd name="connsiteY135" fmla="*/ 624232 h 762309"/>
                    <a:gd name="connsiteX136" fmla="*/ 520762 w 1187240"/>
                    <a:gd name="connsiteY136" fmla="*/ 623115 h 762309"/>
                    <a:gd name="connsiteX137" fmla="*/ 519329 w 1187240"/>
                    <a:gd name="connsiteY137" fmla="*/ 622738 h 762309"/>
                    <a:gd name="connsiteX138" fmla="*/ 519329 w 1187240"/>
                    <a:gd name="connsiteY138" fmla="*/ 622714 h 762309"/>
                    <a:gd name="connsiteX139" fmla="*/ 519329 w 1187240"/>
                    <a:gd name="connsiteY139" fmla="*/ 622653 h 762309"/>
                    <a:gd name="connsiteX140" fmla="*/ 518941 w 1187240"/>
                    <a:gd name="connsiteY140" fmla="*/ 620783 h 762309"/>
                    <a:gd name="connsiteX141" fmla="*/ 518248 w 1187240"/>
                    <a:gd name="connsiteY141" fmla="*/ 617080 h 762309"/>
                    <a:gd name="connsiteX142" fmla="*/ 513586 w 1187240"/>
                    <a:gd name="connsiteY142" fmla="*/ 614348 h 762309"/>
                    <a:gd name="connsiteX143" fmla="*/ 508303 w 1187240"/>
                    <a:gd name="connsiteY143" fmla="*/ 612162 h 762309"/>
                    <a:gd name="connsiteX144" fmla="*/ 505316 w 1187240"/>
                    <a:gd name="connsiteY144" fmla="*/ 608070 h 762309"/>
                    <a:gd name="connsiteX145" fmla="*/ 503701 w 1187240"/>
                    <a:gd name="connsiteY145" fmla="*/ 606916 h 762309"/>
                    <a:gd name="connsiteX146" fmla="*/ 493938 w 1187240"/>
                    <a:gd name="connsiteY146" fmla="*/ 605629 h 762309"/>
                    <a:gd name="connsiteX147" fmla="*/ 490562 w 1187240"/>
                    <a:gd name="connsiteY147" fmla="*/ 604791 h 762309"/>
                    <a:gd name="connsiteX148" fmla="*/ 488025 w 1187240"/>
                    <a:gd name="connsiteY148" fmla="*/ 603698 h 762309"/>
                    <a:gd name="connsiteX149" fmla="*/ 485778 w 1187240"/>
                    <a:gd name="connsiteY149" fmla="*/ 602156 h 762309"/>
                    <a:gd name="connsiteX150" fmla="*/ 483131 w 1187240"/>
                    <a:gd name="connsiteY150" fmla="*/ 599970 h 762309"/>
                    <a:gd name="connsiteX151" fmla="*/ 480375 w 1187240"/>
                    <a:gd name="connsiteY151" fmla="*/ 596461 h 762309"/>
                    <a:gd name="connsiteX152" fmla="*/ 479112 w 1187240"/>
                    <a:gd name="connsiteY152" fmla="*/ 595405 h 762309"/>
                    <a:gd name="connsiteX153" fmla="*/ 477630 w 1187240"/>
                    <a:gd name="connsiteY153" fmla="*/ 595089 h 762309"/>
                    <a:gd name="connsiteX154" fmla="*/ 475032 w 1187240"/>
                    <a:gd name="connsiteY154" fmla="*/ 595830 h 762309"/>
                    <a:gd name="connsiteX155" fmla="*/ 474000 w 1187240"/>
                    <a:gd name="connsiteY155" fmla="*/ 595465 h 762309"/>
                    <a:gd name="connsiteX156" fmla="*/ 473951 w 1187240"/>
                    <a:gd name="connsiteY156" fmla="*/ 595429 h 762309"/>
                    <a:gd name="connsiteX157" fmla="*/ 483629 w 1187240"/>
                    <a:gd name="connsiteY157" fmla="*/ 585885 h 762309"/>
                    <a:gd name="connsiteX158" fmla="*/ 491607 w 1187240"/>
                    <a:gd name="connsiteY158" fmla="*/ 587330 h 762309"/>
                    <a:gd name="connsiteX159" fmla="*/ 491825 w 1187240"/>
                    <a:gd name="connsiteY159" fmla="*/ 587257 h 762309"/>
                    <a:gd name="connsiteX160" fmla="*/ 495991 w 1187240"/>
                    <a:gd name="connsiteY160" fmla="*/ 585120 h 762309"/>
                    <a:gd name="connsiteX161" fmla="*/ 498383 w 1187240"/>
                    <a:gd name="connsiteY161" fmla="*/ 585253 h 762309"/>
                    <a:gd name="connsiteX162" fmla="*/ 513974 w 1187240"/>
                    <a:gd name="connsiteY162" fmla="*/ 581489 h 762309"/>
                    <a:gd name="connsiteX163" fmla="*/ 515067 w 1187240"/>
                    <a:gd name="connsiteY163" fmla="*/ 581525 h 762309"/>
                    <a:gd name="connsiteX164" fmla="*/ 519378 w 1187240"/>
                    <a:gd name="connsiteY164" fmla="*/ 581744 h 762309"/>
                    <a:gd name="connsiteX165" fmla="*/ 522875 w 1187240"/>
                    <a:gd name="connsiteY165" fmla="*/ 581513 h 762309"/>
                    <a:gd name="connsiteX166" fmla="*/ 526008 w 1187240"/>
                    <a:gd name="connsiteY166" fmla="*/ 577979 h 762309"/>
                    <a:gd name="connsiteX167" fmla="*/ 532614 w 1187240"/>
                    <a:gd name="connsiteY167" fmla="*/ 575357 h 762309"/>
                    <a:gd name="connsiteX168" fmla="*/ 538710 w 1187240"/>
                    <a:gd name="connsiteY168" fmla="*/ 570184 h 762309"/>
                    <a:gd name="connsiteX169" fmla="*/ 543955 w 1187240"/>
                    <a:gd name="connsiteY169" fmla="*/ 566820 h 762309"/>
                    <a:gd name="connsiteX170" fmla="*/ 547622 w 1187240"/>
                    <a:gd name="connsiteY170" fmla="*/ 565861 h 762309"/>
                    <a:gd name="connsiteX171" fmla="*/ 550609 w 1187240"/>
                    <a:gd name="connsiteY171" fmla="*/ 563566 h 762309"/>
                    <a:gd name="connsiteX172" fmla="*/ 555977 w 1187240"/>
                    <a:gd name="connsiteY172" fmla="*/ 558951 h 762309"/>
                    <a:gd name="connsiteX173" fmla="*/ 559389 w 1187240"/>
                    <a:gd name="connsiteY173" fmla="*/ 551678 h 762309"/>
                    <a:gd name="connsiteX174" fmla="*/ 561356 w 1187240"/>
                    <a:gd name="connsiteY174" fmla="*/ 544902 h 762309"/>
                    <a:gd name="connsiteX175" fmla="*/ 558939 w 1187240"/>
                    <a:gd name="connsiteY175" fmla="*/ 539061 h 762309"/>
                    <a:gd name="connsiteX176" fmla="*/ 556657 w 1187240"/>
                    <a:gd name="connsiteY176" fmla="*/ 531958 h 762309"/>
                    <a:gd name="connsiteX177" fmla="*/ 554386 w 1187240"/>
                    <a:gd name="connsiteY177" fmla="*/ 524854 h 762309"/>
                    <a:gd name="connsiteX178" fmla="*/ 548351 w 1187240"/>
                    <a:gd name="connsiteY178" fmla="*/ 519985 h 762309"/>
                    <a:gd name="connsiteX179" fmla="*/ 541538 w 1187240"/>
                    <a:gd name="connsiteY179" fmla="*/ 516306 h 762309"/>
                    <a:gd name="connsiteX180" fmla="*/ 527841 w 1187240"/>
                    <a:gd name="connsiteY180" fmla="*/ 509554 h 762309"/>
                    <a:gd name="connsiteX181" fmla="*/ 526275 w 1187240"/>
                    <a:gd name="connsiteY181" fmla="*/ 502511 h 762309"/>
                    <a:gd name="connsiteX182" fmla="*/ 529493 w 1187240"/>
                    <a:gd name="connsiteY182" fmla="*/ 497715 h 762309"/>
                    <a:gd name="connsiteX183" fmla="*/ 532213 w 1187240"/>
                    <a:gd name="connsiteY183" fmla="*/ 490380 h 762309"/>
                    <a:gd name="connsiteX184" fmla="*/ 528461 w 1187240"/>
                    <a:gd name="connsiteY184" fmla="*/ 483799 h 762309"/>
                    <a:gd name="connsiteX185" fmla="*/ 526445 w 1187240"/>
                    <a:gd name="connsiteY185" fmla="*/ 481747 h 762309"/>
                    <a:gd name="connsiteX186" fmla="*/ 526214 w 1187240"/>
                    <a:gd name="connsiteY186" fmla="*/ 481698 h 762309"/>
                    <a:gd name="connsiteX187" fmla="*/ 520544 w 1187240"/>
                    <a:gd name="connsiteY187" fmla="*/ 486652 h 762309"/>
                    <a:gd name="connsiteX188" fmla="*/ 519936 w 1187240"/>
                    <a:gd name="connsiteY188" fmla="*/ 486458 h 762309"/>
                    <a:gd name="connsiteX189" fmla="*/ 512250 w 1187240"/>
                    <a:gd name="connsiteY189" fmla="*/ 484600 h 762309"/>
                    <a:gd name="connsiteX190" fmla="*/ 504721 w 1187240"/>
                    <a:gd name="connsiteY190" fmla="*/ 480848 h 762309"/>
                    <a:gd name="connsiteX191" fmla="*/ 499463 w 1187240"/>
                    <a:gd name="connsiteY191" fmla="*/ 475396 h 762309"/>
                    <a:gd name="connsiteX192" fmla="*/ 492093 w 1187240"/>
                    <a:gd name="connsiteY192" fmla="*/ 469786 h 762309"/>
                    <a:gd name="connsiteX193" fmla="*/ 484406 w 1187240"/>
                    <a:gd name="connsiteY193" fmla="*/ 467928 h 762309"/>
                    <a:gd name="connsiteX194" fmla="*/ 475518 w 1187240"/>
                    <a:gd name="connsiteY194" fmla="*/ 472251 h 762309"/>
                    <a:gd name="connsiteX195" fmla="*/ 471097 w 1187240"/>
                    <a:gd name="connsiteY195" fmla="*/ 473817 h 762309"/>
                    <a:gd name="connsiteX196" fmla="*/ 466216 w 1187240"/>
                    <a:gd name="connsiteY196" fmla="*/ 473404 h 762309"/>
                    <a:gd name="connsiteX197" fmla="*/ 464249 w 1187240"/>
                    <a:gd name="connsiteY197" fmla="*/ 473332 h 762309"/>
                    <a:gd name="connsiteX198" fmla="*/ 456186 w 1187240"/>
                    <a:gd name="connsiteY198" fmla="*/ 473866 h 762309"/>
                    <a:gd name="connsiteX199" fmla="*/ 445282 w 1187240"/>
                    <a:gd name="connsiteY199" fmla="*/ 477412 h 762309"/>
                    <a:gd name="connsiteX200" fmla="*/ 441469 w 1187240"/>
                    <a:gd name="connsiteY200" fmla="*/ 478529 h 762309"/>
                    <a:gd name="connsiteX201" fmla="*/ 440218 w 1187240"/>
                    <a:gd name="connsiteY201" fmla="*/ 478274 h 762309"/>
                    <a:gd name="connsiteX202" fmla="*/ 437643 w 1187240"/>
                    <a:gd name="connsiteY202" fmla="*/ 474935 h 762309"/>
                    <a:gd name="connsiteX203" fmla="*/ 430856 w 1187240"/>
                    <a:gd name="connsiteY203" fmla="*/ 470624 h 762309"/>
                    <a:gd name="connsiteX204" fmla="*/ 430188 w 1187240"/>
                    <a:gd name="connsiteY204" fmla="*/ 461140 h 762309"/>
                    <a:gd name="connsiteX205" fmla="*/ 435798 w 1187240"/>
                    <a:gd name="connsiteY205" fmla="*/ 452786 h 762309"/>
                    <a:gd name="connsiteX206" fmla="*/ 446022 w 1187240"/>
                    <a:gd name="connsiteY206" fmla="*/ 431584 h 762309"/>
                    <a:gd name="connsiteX207" fmla="*/ 446265 w 1187240"/>
                    <a:gd name="connsiteY207" fmla="*/ 417826 h 762309"/>
                    <a:gd name="connsiteX208" fmla="*/ 437656 w 1187240"/>
                    <a:gd name="connsiteY208" fmla="*/ 393747 h 762309"/>
                    <a:gd name="connsiteX209" fmla="*/ 433066 w 1187240"/>
                    <a:gd name="connsiteY209" fmla="*/ 393067 h 762309"/>
                    <a:gd name="connsiteX210" fmla="*/ 420376 w 1187240"/>
                    <a:gd name="connsiteY210" fmla="*/ 396151 h 762309"/>
                    <a:gd name="connsiteX211" fmla="*/ 406206 w 1187240"/>
                    <a:gd name="connsiteY211" fmla="*/ 406363 h 762309"/>
                    <a:gd name="connsiteX212" fmla="*/ 378265 w 1187240"/>
                    <a:gd name="connsiteY212" fmla="*/ 415446 h 762309"/>
                    <a:gd name="connsiteX213" fmla="*/ 361920 w 1187240"/>
                    <a:gd name="connsiteY213" fmla="*/ 423242 h 762309"/>
                    <a:gd name="connsiteX214" fmla="*/ 357099 w 1187240"/>
                    <a:gd name="connsiteY214" fmla="*/ 422538 h 762309"/>
                    <a:gd name="connsiteX215" fmla="*/ 336541 w 1187240"/>
                    <a:gd name="connsiteY215" fmla="*/ 411439 h 762309"/>
                    <a:gd name="connsiteX216" fmla="*/ 332304 w 1187240"/>
                    <a:gd name="connsiteY216" fmla="*/ 411998 h 762309"/>
                    <a:gd name="connsiteX217" fmla="*/ 320489 w 1187240"/>
                    <a:gd name="connsiteY217" fmla="*/ 429228 h 762309"/>
                    <a:gd name="connsiteX218" fmla="*/ 316348 w 1187240"/>
                    <a:gd name="connsiteY218" fmla="*/ 433879 h 762309"/>
                    <a:gd name="connsiteX219" fmla="*/ 314417 w 1187240"/>
                    <a:gd name="connsiteY219" fmla="*/ 441189 h 762309"/>
                    <a:gd name="connsiteX220" fmla="*/ 305055 w 1187240"/>
                    <a:gd name="connsiteY220" fmla="*/ 443715 h 762309"/>
                    <a:gd name="connsiteX221" fmla="*/ 299615 w 1187240"/>
                    <a:gd name="connsiteY221" fmla="*/ 450175 h 762309"/>
                    <a:gd name="connsiteX222" fmla="*/ 287132 w 1187240"/>
                    <a:gd name="connsiteY222" fmla="*/ 458699 h 762309"/>
                    <a:gd name="connsiteX223" fmla="*/ 286683 w 1187240"/>
                    <a:gd name="connsiteY223" fmla="*/ 458699 h 762309"/>
                    <a:gd name="connsiteX224" fmla="*/ 273058 w 1187240"/>
                    <a:gd name="connsiteY224" fmla="*/ 451292 h 762309"/>
                    <a:gd name="connsiteX225" fmla="*/ 255645 w 1187240"/>
                    <a:gd name="connsiteY225" fmla="*/ 446119 h 762309"/>
                    <a:gd name="connsiteX226" fmla="*/ 239811 w 1187240"/>
                    <a:gd name="connsiteY226" fmla="*/ 439356 h 762309"/>
                    <a:gd name="connsiteX227" fmla="*/ 228882 w 1187240"/>
                    <a:gd name="connsiteY227" fmla="*/ 433430 h 762309"/>
                    <a:gd name="connsiteX228" fmla="*/ 223794 w 1187240"/>
                    <a:gd name="connsiteY228" fmla="*/ 425999 h 762309"/>
                    <a:gd name="connsiteX229" fmla="*/ 218706 w 1187240"/>
                    <a:gd name="connsiteY229" fmla="*/ 424238 h 762309"/>
                    <a:gd name="connsiteX230" fmla="*/ 203771 w 1187240"/>
                    <a:gd name="connsiteY230" fmla="*/ 434341 h 762309"/>
                    <a:gd name="connsiteX231" fmla="*/ 199666 w 1187240"/>
                    <a:gd name="connsiteY231" fmla="*/ 434948 h 762309"/>
                    <a:gd name="connsiteX232" fmla="*/ 191919 w 1187240"/>
                    <a:gd name="connsiteY232" fmla="*/ 432908 h 762309"/>
                    <a:gd name="connsiteX233" fmla="*/ 187875 w 1187240"/>
                    <a:gd name="connsiteY233" fmla="*/ 423752 h 762309"/>
                    <a:gd name="connsiteX234" fmla="*/ 177420 w 1187240"/>
                    <a:gd name="connsiteY234" fmla="*/ 419575 h 762309"/>
                    <a:gd name="connsiteX235" fmla="*/ 165326 w 1187240"/>
                    <a:gd name="connsiteY235" fmla="*/ 421408 h 762309"/>
                    <a:gd name="connsiteX236" fmla="*/ 154482 w 1187240"/>
                    <a:gd name="connsiteY236" fmla="*/ 422428 h 762309"/>
                    <a:gd name="connsiteX237" fmla="*/ 146092 w 1187240"/>
                    <a:gd name="connsiteY237" fmla="*/ 422319 h 762309"/>
                    <a:gd name="connsiteX238" fmla="*/ 137240 w 1187240"/>
                    <a:gd name="connsiteY238" fmla="*/ 422951 h 762309"/>
                    <a:gd name="connsiteX239" fmla="*/ 126760 w 1187240"/>
                    <a:gd name="connsiteY239" fmla="*/ 427759 h 762309"/>
                    <a:gd name="connsiteX240" fmla="*/ 116633 w 1187240"/>
                    <a:gd name="connsiteY240" fmla="*/ 430516 h 762309"/>
                    <a:gd name="connsiteX241" fmla="*/ 113196 w 1187240"/>
                    <a:gd name="connsiteY241" fmla="*/ 430491 h 762309"/>
                    <a:gd name="connsiteX242" fmla="*/ 111326 w 1187240"/>
                    <a:gd name="connsiteY242" fmla="*/ 430479 h 762309"/>
                    <a:gd name="connsiteX243" fmla="*/ 98844 w 1187240"/>
                    <a:gd name="connsiteY243" fmla="*/ 431876 h 762309"/>
                    <a:gd name="connsiteX244" fmla="*/ 91133 w 1187240"/>
                    <a:gd name="connsiteY244" fmla="*/ 439441 h 762309"/>
                    <a:gd name="connsiteX245" fmla="*/ 72433 w 1187240"/>
                    <a:gd name="connsiteY245" fmla="*/ 451195 h 762309"/>
                    <a:gd name="connsiteX246" fmla="*/ 38833 w 1187240"/>
                    <a:gd name="connsiteY246" fmla="*/ 425015 h 762309"/>
                    <a:gd name="connsiteX247" fmla="*/ 36987 w 1187240"/>
                    <a:gd name="connsiteY247" fmla="*/ 422708 h 762309"/>
                    <a:gd name="connsiteX248" fmla="*/ 36757 w 1187240"/>
                    <a:gd name="connsiteY248" fmla="*/ 422501 h 762309"/>
                    <a:gd name="connsiteX249" fmla="*/ 36514 w 1187240"/>
                    <a:gd name="connsiteY249" fmla="*/ 422453 h 762309"/>
                    <a:gd name="connsiteX250" fmla="*/ 36174 w 1187240"/>
                    <a:gd name="connsiteY250" fmla="*/ 422501 h 762309"/>
                    <a:gd name="connsiteX251" fmla="*/ 35882 w 1187240"/>
                    <a:gd name="connsiteY251" fmla="*/ 422683 h 762309"/>
                    <a:gd name="connsiteX252" fmla="*/ 35822 w 1187240"/>
                    <a:gd name="connsiteY252" fmla="*/ 422708 h 762309"/>
                    <a:gd name="connsiteX253" fmla="*/ 35785 w 1187240"/>
                    <a:gd name="connsiteY253" fmla="*/ 422708 h 762309"/>
                    <a:gd name="connsiteX254" fmla="*/ 34522 w 1187240"/>
                    <a:gd name="connsiteY254" fmla="*/ 423995 h 762309"/>
                    <a:gd name="connsiteX255" fmla="*/ 33296 w 1187240"/>
                    <a:gd name="connsiteY255" fmla="*/ 424541 h 762309"/>
                    <a:gd name="connsiteX256" fmla="*/ 32166 w 1187240"/>
                    <a:gd name="connsiteY256" fmla="*/ 424141 h 762309"/>
                    <a:gd name="connsiteX257" fmla="*/ 31122 w 1187240"/>
                    <a:gd name="connsiteY257" fmla="*/ 422708 h 762309"/>
                    <a:gd name="connsiteX258" fmla="*/ 29690 w 1187240"/>
                    <a:gd name="connsiteY258" fmla="*/ 420073 h 762309"/>
                    <a:gd name="connsiteX259" fmla="*/ 25852 w 1187240"/>
                    <a:gd name="connsiteY259" fmla="*/ 415216 h 762309"/>
                    <a:gd name="connsiteX260" fmla="*/ 24820 w 1187240"/>
                    <a:gd name="connsiteY260" fmla="*/ 413370 h 762309"/>
                    <a:gd name="connsiteX261" fmla="*/ 24529 w 1187240"/>
                    <a:gd name="connsiteY261" fmla="*/ 409873 h 762309"/>
                    <a:gd name="connsiteX262" fmla="*/ 24990 w 1187240"/>
                    <a:gd name="connsiteY262" fmla="*/ 407383 h 762309"/>
                    <a:gd name="connsiteX263" fmla="*/ 24699 w 1187240"/>
                    <a:gd name="connsiteY263" fmla="*/ 404882 h 762309"/>
                    <a:gd name="connsiteX264" fmla="*/ 22294 w 1187240"/>
                    <a:gd name="connsiteY264" fmla="*/ 401543 h 762309"/>
                    <a:gd name="connsiteX265" fmla="*/ 20813 w 1187240"/>
                    <a:gd name="connsiteY265" fmla="*/ 398823 h 762309"/>
                    <a:gd name="connsiteX266" fmla="*/ 19951 w 1187240"/>
                    <a:gd name="connsiteY266" fmla="*/ 395483 h 762309"/>
                    <a:gd name="connsiteX267" fmla="*/ 18858 w 1187240"/>
                    <a:gd name="connsiteY267" fmla="*/ 392508 h 762309"/>
                    <a:gd name="connsiteX268" fmla="*/ 16599 w 1187240"/>
                    <a:gd name="connsiteY268" fmla="*/ 390784 h 762309"/>
                    <a:gd name="connsiteX269" fmla="*/ 14948 w 1187240"/>
                    <a:gd name="connsiteY269" fmla="*/ 390663 h 762309"/>
                    <a:gd name="connsiteX270" fmla="*/ 11208 w 1187240"/>
                    <a:gd name="connsiteY270" fmla="*/ 390978 h 762309"/>
                    <a:gd name="connsiteX271" fmla="*/ 9836 w 1187240"/>
                    <a:gd name="connsiteY271" fmla="*/ 390784 h 762309"/>
                    <a:gd name="connsiteX272" fmla="*/ 7529 w 1187240"/>
                    <a:gd name="connsiteY272" fmla="*/ 389776 h 762309"/>
                    <a:gd name="connsiteX273" fmla="*/ 7067 w 1187240"/>
                    <a:gd name="connsiteY273" fmla="*/ 389339 h 762309"/>
                    <a:gd name="connsiteX274" fmla="*/ 7371 w 1187240"/>
                    <a:gd name="connsiteY274" fmla="*/ 388538 h 762309"/>
                    <a:gd name="connsiteX275" fmla="*/ 7468 w 1187240"/>
                    <a:gd name="connsiteY275" fmla="*/ 384142 h 762309"/>
                    <a:gd name="connsiteX276" fmla="*/ 12920 w 1187240"/>
                    <a:gd name="connsiteY276" fmla="*/ 382964 h 762309"/>
                    <a:gd name="connsiteX277" fmla="*/ 16951 w 1187240"/>
                    <a:gd name="connsiteY277" fmla="*/ 381361 h 762309"/>
                    <a:gd name="connsiteX278" fmla="*/ 20497 w 1187240"/>
                    <a:gd name="connsiteY278" fmla="*/ 380329 h 762309"/>
                    <a:gd name="connsiteX279" fmla="*/ 22003 w 1187240"/>
                    <a:gd name="connsiteY279" fmla="*/ 379212 h 762309"/>
                    <a:gd name="connsiteX280" fmla="*/ 22635 w 1187240"/>
                    <a:gd name="connsiteY280" fmla="*/ 377852 h 762309"/>
                    <a:gd name="connsiteX281" fmla="*/ 22465 w 1187240"/>
                    <a:gd name="connsiteY281" fmla="*/ 375484 h 762309"/>
                    <a:gd name="connsiteX282" fmla="*/ 21493 w 1187240"/>
                    <a:gd name="connsiteY282" fmla="*/ 374039 h 762309"/>
                    <a:gd name="connsiteX283" fmla="*/ 21080 w 1187240"/>
                    <a:gd name="connsiteY283" fmla="*/ 372715 h 762309"/>
                    <a:gd name="connsiteX284" fmla="*/ 21493 w 1187240"/>
                    <a:gd name="connsiteY284" fmla="*/ 371392 h 762309"/>
                    <a:gd name="connsiteX285" fmla="*/ 23497 w 1187240"/>
                    <a:gd name="connsiteY285" fmla="*/ 370821 h 762309"/>
                    <a:gd name="connsiteX286" fmla="*/ 26423 w 1187240"/>
                    <a:gd name="connsiteY286" fmla="*/ 368878 h 762309"/>
                    <a:gd name="connsiteX287" fmla="*/ 29277 w 1187240"/>
                    <a:gd name="connsiteY287" fmla="*/ 362017 h 762309"/>
                    <a:gd name="connsiteX288" fmla="*/ 30090 w 1187240"/>
                    <a:gd name="connsiteY288" fmla="*/ 360366 h 762309"/>
                    <a:gd name="connsiteX289" fmla="*/ 30661 w 1187240"/>
                    <a:gd name="connsiteY289" fmla="*/ 359747 h 762309"/>
                    <a:gd name="connsiteX290" fmla="*/ 35372 w 1187240"/>
                    <a:gd name="connsiteY290" fmla="*/ 357391 h 762309"/>
                    <a:gd name="connsiteX291" fmla="*/ 38238 w 1187240"/>
                    <a:gd name="connsiteY291" fmla="*/ 356517 h 762309"/>
                    <a:gd name="connsiteX292" fmla="*/ 39501 w 1187240"/>
                    <a:gd name="connsiteY292" fmla="*/ 355897 h 762309"/>
                    <a:gd name="connsiteX293" fmla="*/ 39732 w 1187240"/>
                    <a:gd name="connsiteY293" fmla="*/ 354598 h 762309"/>
                    <a:gd name="connsiteX294" fmla="*/ 38882 w 1187240"/>
                    <a:gd name="connsiteY294" fmla="*/ 353372 h 762309"/>
                    <a:gd name="connsiteX295" fmla="*/ 36987 w 1187240"/>
                    <a:gd name="connsiteY295" fmla="*/ 351842 h 762309"/>
                    <a:gd name="connsiteX296" fmla="*/ 36926 w 1187240"/>
                    <a:gd name="connsiteY296" fmla="*/ 350178 h 762309"/>
                    <a:gd name="connsiteX297" fmla="*/ 36987 w 1187240"/>
                    <a:gd name="connsiteY297" fmla="*/ 349231 h 762309"/>
                    <a:gd name="connsiteX298" fmla="*/ 37570 w 1187240"/>
                    <a:gd name="connsiteY298" fmla="*/ 348575 h 762309"/>
                    <a:gd name="connsiteX299" fmla="*/ 39113 w 1187240"/>
                    <a:gd name="connsiteY299" fmla="*/ 347422 h 762309"/>
                    <a:gd name="connsiteX300" fmla="*/ 41529 w 1187240"/>
                    <a:gd name="connsiteY300" fmla="*/ 346013 h 762309"/>
                    <a:gd name="connsiteX301" fmla="*/ 41917 w 1187240"/>
                    <a:gd name="connsiteY301" fmla="*/ 345564 h 762309"/>
                    <a:gd name="connsiteX302" fmla="*/ 42245 w 1187240"/>
                    <a:gd name="connsiteY302" fmla="*/ 344957 h 762309"/>
                    <a:gd name="connsiteX303" fmla="*/ 44164 w 1187240"/>
                    <a:gd name="connsiteY303" fmla="*/ 330968 h 762309"/>
                    <a:gd name="connsiteX304" fmla="*/ 45075 w 1187240"/>
                    <a:gd name="connsiteY304" fmla="*/ 327094 h 762309"/>
                    <a:gd name="connsiteX305" fmla="*/ 47200 w 1187240"/>
                    <a:gd name="connsiteY305" fmla="*/ 321266 h 762309"/>
                    <a:gd name="connsiteX306" fmla="*/ 47418 w 1187240"/>
                    <a:gd name="connsiteY306" fmla="*/ 320464 h 762309"/>
                    <a:gd name="connsiteX307" fmla="*/ 47612 w 1187240"/>
                    <a:gd name="connsiteY307" fmla="*/ 319857 h 762309"/>
                    <a:gd name="connsiteX308" fmla="*/ 47880 w 1187240"/>
                    <a:gd name="connsiteY308" fmla="*/ 319177 h 762309"/>
                    <a:gd name="connsiteX309" fmla="*/ 50697 w 1187240"/>
                    <a:gd name="connsiteY309" fmla="*/ 314660 h 762309"/>
                    <a:gd name="connsiteX310" fmla="*/ 48912 w 1187240"/>
                    <a:gd name="connsiteY310" fmla="*/ 293701 h 762309"/>
                    <a:gd name="connsiteX311" fmla="*/ 48123 w 1187240"/>
                    <a:gd name="connsiteY311" fmla="*/ 290180 h 762309"/>
                    <a:gd name="connsiteX312" fmla="*/ 44225 w 1187240"/>
                    <a:gd name="connsiteY312" fmla="*/ 279117 h 762309"/>
                    <a:gd name="connsiteX313" fmla="*/ 45147 w 1187240"/>
                    <a:gd name="connsiteY313" fmla="*/ 276568 h 762309"/>
                    <a:gd name="connsiteX314" fmla="*/ 43654 w 1187240"/>
                    <a:gd name="connsiteY314" fmla="*/ 276337 h 762309"/>
                    <a:gd name="connsiteX315" fmla="*/ 42962 w 1187240"/>
                    <a:gd name="connsiteY315" fmla="*/ 276021 h 762309"/>
                    <a:gd name="connsiteX316" fmla="*/ 43654 w 1187240"/>
                    <a:gd name="connsiteY316" fmla="*/ 276325 h 762309"/>
                    <a:gd name="connsiteX317" fmla="*/ 45147 w 1187240"/>
                    <a:gd name="connsiteY317" fmla="*/ 276555 h 762309"/>
                    <a:gd name="connsiteX318" fmla="*/ 45378 w 1187240"/>
                    <a:gd name="connsiteY318" fmla="*/ 276580 h 762309"/>
                    <a:gd name="connsiteX319" fmla="*/ 49167 w 1187240"/>
                    <a:gd name="connsiteY319" fmla="*/ 277733 h 762309"/>
                    <a:gd name="connsiteX320" fmla="*/ 51098 w 1187240"/>
                    <a:gd name="connsiteY320" fmla="*/ 278013 h 762309"/>
                    <a:gd name="connsiteX321" fmla="*/ 55129 w 1187240"/>
                    <a:gd name="connsiteY321" fmla="*/ 277648 h 762309"/>
                    <a:gd name="connsiteX322" fmla="*/ 67017 w 1187240"/>
                    <a:gd name="connsiteY322" fmla="*/ 274576 h 762309"/>
                    <a:gd name="connsiteX323" fmla="*/ 88388 w 1187240"/>
                    <a:gd name="connsiteY323" fmla="*/ 272597 h 762309"/>
                    <a:gd name="connsiteX324" fmla="*/ 95504 w 1187240"/>
                    <a:gd name="connsiteY324" fmla="*/ 270642 h 762309"/>
                    <a:gd name="connsiteX325" fmla="*/ 100228 w 1187240"/>
                    <a:gd name="connsiteY325" fmla="*/ 266537 h 762309"/>
                    <a:gd name="connsiteX326" fmla="*/ 104939 w 1187240"/>
                    <a:gd name="connsiteY326" fmla="*/ 254395 h 762309"/>
                    <a:gd name="connsiteX327" fmla="*/ 111193 w 1187240"/>
                    <a:gd name="connsiteY327" fmla="*/ 250484 h 762309"/>
                    <a:gd name="connsiteX328" fmla="*/ 114642 w 1187240"/>
                    <a:gd name="connsiteY328" fmla="*/ 250193 h 762309"/>
                    <a:gd name="connsiteX329" fmla="*/ 121526 w 1187240"/>
                    <a:gd name="connsiteY329" fmla="*/ 250460 h 762309"/>
                    <a:gd name="connsiteX330" fmla="*/ 125036 w 1187240"/>
                    <a:gd name="connsiteY330" fmla="*/ 249367 h 762309"/>
                    <a:gd name="connsiteX331" fmla="*/ 128072 w 1187240"/>
                    <a:gd name="connsiteY331" fmla="*/ 247109 h 762309"/>
                    <a:gd name="connsiteX332" fmla="*/ 130597 w 1187240"/>
                    <a:gd name="connsiteY332" fmla="*/ 244656 h 762309"/>
                    <a:gd name="connsiteX333" fmla="*/ 133305 w 1187240"/>
                    <a:gd name="connsiteY333" fmla="*/ 242592 h 762309"/>
                    <a:gd name="connsiteX334" fmla="*/ 137082 w 1187240"/>
                    <a:gd name="connsiteY334" fmla="*/ 241389 h 762309"/>
                    <a:gd name="connsiteX335" fmla="*/ 143408 w 1187240"/>
                    <a:gd name="connsiteY335" fmla="*/ 242361 h 762309"/>
                    <a:gd name="connsiteX336" fmla="*/ 160797 w 1187240"/>
                    <a:gd name="connsiteY336" fmla="*/ 254334 h 762309"/>
                    <a:gd name="connsiteX337" fmla="*/ 181877 w 1187240"/>
                    <a:gd name="connsiteY337" fmla="*/ 264862 h 762309"/>
                    <a:gd name="connsiteX338" fmla="*/ 206163 w 1187240"/>
                    <a:gd name="connsiteY338" fmla="*/ 267509 h 762309"/>
                    <a:gd name="connsiteX339" fmla="*/ 248785 w 1187240"/>
                    <a:gd name="connsiteY339" fmla="*/ 265129 h 762309"/>
                    <a:gd name="connsiteX340" fmla="*/ 260612 w 1187240"/>
                    <a:gd name="connsiteY340" fmla="*/ 264473 h 762309"/>
                    <a:gd name="connsiteX341" fmla="*/ 261644 w 1187240"/>
                    <a:gd name="connsiteY341" fmla="*/ 264012 h 762309"/>
                    <a:gd name="connsiteX342" fmla="*/ 270897 w 1187240"/>
                    <a:gd name="connsiteY342" fmla="*/ 259932 h 762309"/>
                    <a:gd name="connsiteX343" fmla="*/ 276470 w 1187240"/>
                    <a:gd name="connsiteY343" fmla="*/ 259907 h 762309"/>
                    <a:gd name="connsiteX344" fmla="*/ 283076 w 1187240"/>
                    <a:gd name="connsiteY344" fmla="*/ 260672 h 762309"/>
                    <a:gd name="connsiteX345" fmla="*/ 296385 w 1187240"/>
                    <a:gd name="connsiteY345" fmla="*/ 260393 h 762309"/>
                    <a:gd name="connsiteX346" fmla="*/ 302820 w 1187240"/>
                    <a:gd name="connsiteY346" fmla="*/ 261826 h 762309"/>
                    <a:gd name="connsiteX347" fmla="*/ 308333 w 1187240"/>
                    <a:gd name="connsiteY347" fmla="*/ 265068 h 762309"/>
                    <a:gd name="connsiteX348" fmla="*/ 310980 w 1187240"/>
                    <a:gd name="connsiteY348" fmla="*/ 266076 h 762309"/>
                    <a:gd name="connsiteX349" fmla="*/ 314818 w 1187240"/>
                    <a:gd name="connsiteY349" fmla="*/ 265991 h 762309"/>
                    <a:gd name="connsiteX350" fmla="*/ 317975 w 1187240"/>
                    <a:gd name="connsiteY350" fmla="*/ 265153 h 762309"/>
                    <a:gd name="connsiteX351" fmla="*/ 321144 w 1187240"/>
                    <a:gd name="connsiteY351" fmla="*/ 263781 h 762309"/>
                    <a:gd name="connsiteX352" fmla="*/ 324071 w 1187240"/>
                    <a:gd name="connsiteY352" fmla="*/ 261947 h 762309"/>
                    <a:gd name="connsiteX353" fmla="*/ 326414 w 1187240"/>
                    <a:gd name="connsiteY353" fmla="*/ 259616 h 762309"/>
                    <a:gd name="connsiteX354" fmla="*/ 328661 w 1187240"/>
                    <a:gd name="connsiteY354" fmla="*/ 255888 h 762309"/>
                    <a:gd name="connsiteX355" fmla="*/ 330154 w 1187240"/>
                    <a:gd name="connsiteY355" fmla="*/ 252245 h 762309"/>
                    <a:gd name="connsiteX356" fmla="*/ 332097 w 1187240"/>
                    <a:gd name="connsiteY356" fmla="*/ 249088 h 762309"/>
                    <a:gd name="connsiteX357" fmla="*/ 335424 w 1187240"/>
                    <a:gd name="connsiteY357" fmla="*/ 246842 h 762309"/>
                    <a:gd name="connsiteX358" fmla="*/ 337999 w 1187240"/>
                    <a:gd name="connsiteY358" fmla="*/ 246441 h 762309"/>
                    <a:gd name="connsiteX359" fmla="*/ 345576 w 1187240"/>
                    <a:gd name="connsiteY359" fmla="*/ 246878 h 762309"/>
                    <a:gd name="connsiteX360" fmla="*/ 348356 w 1187240"/>
                    <a:gd name="connsiteY360" fmla="*/ 247643 h 762309"/>
                    <a:gd name="connsiteX361" fmla="*/ 350069 w 1187240"/>
                    <a:gd name="connsiteY361" fmla="*/ 250229 h 762309"/>
                    <a:gd name="connsiteX362" fmla="*/ 354392 w 1187240"/>
                    <a:gd name="connsiteY362" fmla="*/ 259252 h 762309"/>
                    <a:gd name="connsiteX363" fmla="*/ 356844 w 1187240"/>
                    <a:gd name="connsiteY363" fmla="*/ 261340 h 762309"/>
                    <a:gd name="connsiteX364" fmla="*/ 360415 w 1187240"/>
                    <a:gd name="connsiteY364" fmla="*/ 261085 h 762309"/>
                    <a:gd name="connsiteX365" fmla="*/ 367190 w 1187240"/>
                    <a:gd name="connsiteY365" fmla="*/ 258815 h 762309"/>
                    <a:gd name="connsiteX366" fmla="*/ 370578 w 1187240"/>
                    <a:gd name="connsiteY366" fmla="*/ 258693 h 762309"/>
                    <a:gd name="connsiteX367" fmla="*/ 378896 w 1187240"/>
                    <a:gd name="connsiteY367" fmla="*/ 261061 h 762309"/>
                    <a:gd name="connsiteX368" fmla="*/ 381835 w 1187240"/>
                    <a:gd name="connsiteY368" fmla="*/ 261292 h 762309"/>
                    <a:gd name="connsiteX369" fmla="*/ 390905 w 1187240"/>
                    <a:gd name="connsiteY369" fmla="*/ 260162 h 762309"/>
                    <a:gd name="connsiteX370" fmla="*/ 396418 w 1187240"/>
                    <a:gd name="connsiteY370" fmla="*/ 257612 h 762309"/>
                    <a:gd name="connsiteX371" fmla="*/ 408343 w 1187240"/>
                    <a:gd name="connsiteY371" fmla="*/ 250096 h 762309"/>
                    <a:gd name="connsiteX372" fmla="*/ 413989 w 1187240"/>
                    <a:gd name="connsiteY372" fmla="*/ 249088 h 762309"/>
                    <a:gd name="connsiteX373" fmla="*/ 417487 w 1187240"/>
                    <a:gd name="connsiteY373" fmla="*/ 250922 h 762309"/>
                    <a:gd name="connsiteX374" fmla="*/ 418579 w 1187240"/>
                    <a:gd name="connsiteY374" fmla="*/ 253848 h 762309"/>
                    <a:gd name="connsiteX375" fmla="*/ 419101 w 1187240"/>
                    <a:gd name="connsiteY375" fmla="*/ 257127 h 762309"/>
                    <a:gd name="connsiteX376" fmla="*/ 421105 w 1187240"/>
                    <a:gd name="connsiteY376" fmla="*/ 259907 h 762309"/>
                    <a:gd name="connsiteX377" fmla="*/ 424019 w 1187240"/>
                    <a:gd name="connsiteY377" fmla="*/ 260247 h 762309"/>
                    <a:gd name="connsiteX378" fmla="*/ 425586 w 1187240"/>
                    <a:gd name="connsiteY378" fmla="*/ 257952 h 762309"/>
                    <a:gd name="connsiteX379" fmla="*/ 425355 w 1187240"/>
                    <a:gd name="connsiteY379" fmla="*/ 254649 h 762309"/>
                    <a:gd name="connsiteX380" fmla="*/ 423169 w 1187240"/>
                    <a:gd name="connsiteY380" fmla="*/ 251929 h 762309"/>
                    <a:gd name="connsiteX381" fmla="*/ 427176 w 1187240"/>
                    <a:gd name="connsiteY381" fmla="*/ 250096 h 762309"/>
                    <a:gd name="connsiteX382" fmla="*/ 427176 w 1187240"/>
                    <a:gd name="connsiteY382" fmla="*/ 247109 h 762309"/>
                    <a:gd name="connsiteX383" fmla="*/ 426727 w 1187240"/>
                    <a:gd name="connsiteY383" fmla="*/ 244462 h 762309"/>
                    <a:gd name="connsiteX384" fmla="*/ 429520 w 1187240"/>
                    <a:gd name="connsiteY384" fmla="*/ 243684 h 762309"/>
                    <a:gd name="connsiteX385" fmla="*/ 432811 w 1187240"/>
                    <a:gd name="connsiteY385" fmla="*/ 245008 h 762309"/>
                    <a:gd name="connsiteX386" fmla="*/ 438785 w 1187240"/>
                    <a:gd name="connsiteY386" fmla="*/ 249914 h 762309"/>
                    <a:gd name="connsiteX387" fmla="*/ 442088 w 1187240"/>
                    <a:gd name="connsiteY387" fmla="*/ 251456 h 762309"/>
                    <a:gd name="connsiteX388" fmla="*/ 453478 w 1187240"/>
                    <a:gd name="connsiteY388" fmla="*/ 249804 h 762309"/>
                    <a:gd name="connsiteX389" fmla="*/ 460411 w 1187240"/>
                    <a:gd name="connsiteY389" fmla="*/ 243162 h 762309"/>
                    <a:gd name="connsiteX390" fmla="*/ 461274 w 1187240"/>
                    <a:gd name="connsiteY390" fmla="*/ 239058 h 762309"/>
                    <a:gd name="connsiteX391" fmla="*/ 491400 w 1187240"/>
                    <a:gd name="connsiteY391" fmla="*/ 241620 h 762309"/>
                    <a:gd name="connsiteX392" fmla="*/ 502487 w 1187240"/>
                    <a:gd name="connsiteY392" fmla="*/ 239252 h 762309"/>
                    <a:gd name="connsiteX393" fmla="*/ 515711 w 1187240"/>
                    <a:gd name="connsiteY393" fmla="*/ 238087 h 762309"/>
                    <a:gd name="connsiteX394" fmla="*/ 538843 w 1187240"/>
                    <a:gd name="connsiteY394" fmla="*/ 234541 h 762309"/>
                    <a:gd name="connsiteX395" fmla="*/ 553196 w 1187240"/>
                    <a:gd name="connsiteY395" fmla="*/ 231019 h 762309"/>
                    <a:gd name="connsiteX396" fmla="*/ 565351 w 1187240"/>
                    <a:gd name="connsiteY396" fmla="*/ 225118 h 762309"/>
                    <a:gd name="connsiteX397" fmla="*/ 576316 w 1187240"/>
                    <a:gd name="connsiteY397" fmla="*/ 218051 h 762309"/>
                    <a:gd name="connsiteX398" fmla="*/ 587342 w 1187240"/>
                    <a:gd name="connsiteY398" fmla="*/ 218051 h 762309"/>
                    <a:gd name="connsiteX399" fmla="*/ 599400 w 1187240"/>
                    <a:gd name="connsiteY399" fmla="*/ 227474 h 762309"/>
                    <a:gd name="connsiteX400" fmla="*/ 611603 w 1187240"/>
                    <a:gd name="connsiteY400" fmla="*/ 235731 h 762309"/>
                    <a:gd name="connsiteX401" fmla="*/ 623698 w 1187240"/>
                    <a:gd name="connsiteY401" fmla="*/ 234529 h 762309"/>
                    <a:gd name="connsiteX402" fmla="*/ 634772 w 1187240"/>
                    <a:gd name="connsiteY402" fmla="*/ 234529 h 762309"/>
                    <a:gd name="connsiteX403" fmla="*/ 645713 w 1187240"/>
                    <a:gd name="connsiteY403" fmla="*/ 236909 h 762309"/>
                    <a:gd name="connsiteX404" fmla="*/ 674455 w 1187240"/>
                    <a:gd name="connsiteY404" fmla="*/ 239240 h 762309"/>
                    <a:gd name="connsiteX405" fmla="*/ 692050 w 1187240"/>
                    <a:gd name="connsiteY405" fmla="*/ 236909 h 762309"/>
                    <a:gd name="connsiteX406" fmla="*/ 710848 w 1187240"/>
                    <a:gd name="connsiteY406" fmla="*/ 233351 h 762309"/>
                    <a:gd name="connsiteX407" fmla="*/ 725200 w 1187240"/>
                    <a:gd name="connsiteY407" fmla="*/ 234529 h 762309"/>
                    <a:gd name="connsiteX408" fmla="*/ 735061 w 1187240"/>
                    <a:gd name="connsiteY408" fmla="*/ 228639 h 762309"/>
                    <a:gd name="connsiteX409" fmla="*/ 753822 w 1187240"/>
                    <a:gd name="connsiteY409" fmla="*/ 227474 h 762309"/>
                    <a:gd name="connsiteX410" fmla="*/ 765855 w 1187240"/>
                    <a:gd name="connsiteY410" fmla="*/ 226296 h 762309"/>
                    <a:gd name="connsiteX411" fmla="*/ 779285 w 1187240"/>
                    <a:gd name="connsiteY411" fmla="*/ 219216 h 762309"/>
                    <a:gd name="connsiteX412" fmla="*/ 791270 w 1187240"/>
                    <a:gd name="connsiteY412" fmla="*/ 214529 h 762309"/>
                    <a:gd name="connsiteX413" fmla="*/ 800013 w 1187240"/>
                    <a:gd name="connsiteY413" fmla="*/ 206236 h 762309"/>
                    <a:gd name="connsiteX414" fmla="*/ 800645 w 1187240"/>
                    <a:gd name="connsiteY414" fmla="*/ 198756 h 762309"/>
                    <a:gd name="connsiteX415" fmla="*/ 801288 w 1187240"/>
                    <a:gd name="connsiteY415" fmla="*/ 188568 h 762309"/>
                    <a:gd name="connsiteX416" fmla="*/ 806692 w 1187240"/>
                    <a:gd name="connsiteY416" fmla="*/ 177894 h 762309"/>
                    <a:gd name="connsiteX417" fmla="*/ 814500 w 1187240"/>
                    <a:gd name="connsiteY417" fmla="*/ 171713 h 762309"/>
                    <a:gd name="connsiteX418" fmla="*/ 815520 w 1187240"/>
                    <a:gd name="connsiteY418" fmla="*/ 170815 h 762309"/>
                    <a:gd name="connsiteX419" fmla="*/ 825440 w 1187240"/>
                    <a:gd name="connsiteY419" fmla="*/ 162557 h 762309"/>
                    <a:gd name="connsiteX420" fmla="*/ 831026 w 1187240"/>
                    <a:gd name="connsiteY420" fmla="*/ 156632 h 762309"/>
                    <a:gd name="connsiteX421" fmla="*/ 835823 w 1187240"/>
                    <a:gd name="connsiteY421" fmla="*/ 150111 h 762309"/>
                    <a:gd name="connsiteX422" fmla="*/ 838725 w 1187240"/>
                    <a:gd name="connsiteY422" fmla="*/ 146007 h 762309"/>
                    <a:gd name="connsiteX423" fmla="*/ 842174 w 1187240"/>
                    <a:gd name="connsiteY423" fmla="*/ 144015 h 762309"/>
                    <a:gd name="connsiteX424" fmla="*/ 850807 w 1187240"/>
                    <a:gd name="connsiteY424" fmla="*/ 138940 h 762309"/>
                    <a:gd name="connsiteX425" fmla="*/ 860764 w 1187240"/>
                    <a:gd name="connsiteY425" fmla="*/ 130670 h 762309"/>
                    <a:gd name="connsiteX426" fmla="*/ 864553 w 1187240"/>
                    <a:gd name="connsiteY426" fmla="*/ 126578 h 762309"/>
                    <a:gd name="connsiteX427" fmla="*/ 869580 w 1187240"/>
                    <a:gd name="connsiteY427" fmla="*/ 121199 h 762309"/>
                    <a:gd name="connsiteX428" fmla="*/ 880582 w 1187240"/>
                    <a:gd name="connsiteY428" fmla="*/ 102292 h 762309"/>
                    <a:gd name="connsiteX429" fmla="*/ 889409 w 1187240"/>
                    <a:gd name="connsiteY429" fmla="*/ 101114 h 762309"/>
                    <a:gd name="connsiteX430" fmla="*/ 891583 w 1187240"/>
                    <a:gd name="connsiteY430" fmla="*/ 100629 h 762309"/>
                    <a:gd name="connsiteX431" fmla="*/ 906009 w 1187240"/>
                    <a:gd name="connsiteY431" fmla="*/ 97520 h 762309"/>
                    <a:gd name="connsiteX432" fmla="*/ 922584 w 1187240"/>
                    <a:gd name="connsiteY432" fmla="*/ 94023 h 762309"/>
                    <a:gd name="connsiteX433" fmla="*/ 934642 w 1187240"/>
                    <a:gd name="connsiteY433" fmla="*/ 91631 h 762309"/>
                    <a:gd name="connsiteX434" fmla="*/ 940531 w 1187240"/>
                    <a:gd name="connsiteY434" fmla="*/ 101940 h 762309"/>
                    <a:gd name="connsiteX435" fmla="*/ 949372 w 1187240"/>
                    <a:gd name="connsiteY435" fmla="*/ 99098 h 762309"/>
                    <a:gd name="connsiteX436" fmla="*/ 972140 w 1187240"/>
                    <a:gd name="connsiteY436" fmla="*/ 91946 h 762309"/>
                    <a:gd name="connsiteX437" fmla="*/ 989759 w 1187240"/>
                    <a:gd name="connsiteY437" fmla="*/ 83665 h 762309"/>
                    <a:gd name="connsiteX438" fmla="*/ 992042 w 1187240"/>
                    <a:gd name="connsiteY438" fmla="*/ 82693 h 762309"/>
                    <a:gd name="connsiteX439" fmla="*/ 999145 w 1187240"/>
                    <a:gd name="connsiteY439" fmla="*/ 79718 h 762309"/>
                    <a:gd name="connsiteX440" fmla="*/ 1009637 w 1187240"/>
                    <a:gd name="connsiteY440" fmla="*/ 75383 h 762309"/>
                    <a:gd name="connsiteX441" fmla="*/ 1012260 w 1187240"/>
                    <a:gd name="connsiteY441" fmla="*/ 73319 h 762309"/>
                    <a:gd name="connsiteX442" fmla="*/ 1021780 w 1187240"/>
                    <a:gd name="connsiteY442" fmla="*/ 65912 h 762309"/>
                    <a:gd name="connsiteX443" fmla="*/ 1032805 w 1187240"/>
                    <a:gd name="connsiteY443" fmla="*/ 62342 h 762309"/>
                    <a:gd name="connsiteX444" fmla="*/ 1047086 w 1187240"/>
                    <a:gd name="connsiteY444" fmla="*/ 55202 h 762309"/>
                    <a:gd name="connsiteX445" fmla="*/ 1060334 w 1187240"/>
                    <a:gd name="connsiteY445" fmla="*/ 48122 h 762309"/>
                    <a:gd name="connsiteX446" fmla="*/ 1075731 w 1187240"/>
                    <a:gd name="connsiteY446" fmla="*/ 65317 h 762309"/>
                    <a:gd name="connsiteX447" fmla="*/ 1080212 w 1187240"/>
                    <a:gd name="connsiteY447" fmla="*/ 58189 h 762309"/>
                    <a:gd name="connsiteX448" fmla="*/ 1083502 w 1187240"/>
                    <a:gd name="connsiteY448" fmla="*/ 48681 h 762309"/>
                    <a:gd name="connsiteX449" fmla="*/ 1083502 w 1187240"/>
                    <a:gd name="connsiteY449" fmla="*/ 39210 h 762309"/>
                    <a:gd name="connsiteX450" fmla="*/ 1085724 w 1187240"/>
                    <a:gd name="connsiteY450" fmla="*/ 30904 h 762309"/>
                    <a:gd name="connsiteX451" fmla="*/ 1102275 w 1187240"/>
                    <a:gd name="connsiteY451" fmla="*/ 23752 h 762309"/>
                    <a:gd name="connsiteX452" fmla="*/ 1123197 w 1187240"/>
                    <a:gd name="connsiteY452" fmla="*/ 17850 h 762309"/>
                    <a:gd name="connsiteX453" fmla="*/ 1147714 w 1187240"/>
                    <a:gd name="connsiteY453" fmla="*/ 7322 h 762309"/>
                    <a:gd name="connsiteX454" fmla="*/ 1149438 w 1187240"/>
                    <a:gd name="connsiteY454" fmla="*/ 0 h 762309"/>
                    <a:gd name="connsiteX455" fmla="*/ 1145334 w 1187240"/>
                    <a:gd name="connsiteY455" fmla="*/ 1736 h 762309"/>
                    <a:gd name="connsiteX456" fmla="*/ 1121243 w 1187240"/>
                    <a:gd name="connsiteY456" fmla="*/ 11937 h 762309"/>
                    <a:gd name="connsiteX457" fmla="*/ 1100697 w 1187240"/>
                    <a:gd name="connsiteY457" fmla="*/ 17729 h 762309"/>
                    <a:gd name="connsiteX458" fmla="*/ 1100308 w 1187240"/>
                    <a:gd name="connsiteY458" fmla="*/ 17838 h 762309"/>
                    <a:gd name="connsiteX459" fmla="*/ 1099944 w 1187240"/>
                    <a:gd name="connsiteY459" fmla="*/ 17996 h 762309"/>
                    <a:gd name="connsiteX460" fmla="*/ 1083393 w 1187240"/>
                    <a:gd name="connsiteY460" fmla="*/ 25148 h 762309"/>
                    <a:gd name="connsiteX461" fmla="*/ 1080685 w 1187240"/>
                    <a:gd name="connsiteY461" fmla="*/ 26314 h 762309"/>
                    <a:gd name="connsiteX462" fmla="*/ 1079932 w 1187240"/>
                    <a:gd name="connsiteY462" fmla="*/ 29155 h 762309"/>
                    <a:gd name="connsiteX463" fmla="*/ 1077710 w 1187240"/>
                    <a:gd name="connsiteY463" fmla="*/ 37461 h 762309"/>
                    <a:gd name="connsiteX464" fmla="*/ 1077503 w 1187240"/>
                    <a:gd name="connsiteY464" fmla="*/ 38226 h 762309"/>
                    <a:gd name="connsiteX465" fmla="*/ 1077503 w 1187240"/>
                    <a:gd name="connsiteY465" fmla="*/ 39015 h 762309"/>
                    <a:gd name="connsiteX466" fmla="*/ 1077503 w 1187240"/>
                    <a:gd name="connsiteY466" fmla="*/ 47467 h 762309"/>
                    <a:gd name="connsiteX467" fmla="*/ 1074881 w 1187240"/>
                    <a:gd name="connsiteY467" fmla="*/ 55007 h 762309"/>
                    <a:gd name="connsiteX468" fmla="*/ 1064924 w 1187240"/>
                    <a:gd name="connsiteY468" fmla="*/ 43872 h 762309"/>
                    <a:gd name="connsiteX469" fmla="*/ 1061742 w 1187240"/>
                    <a:gd name="connsiteY469" fmla="*/ 40327 h 762309"/>
                    <a:gd name="connsiteX470" fmla="*/ 1057541 w 1187240"/>
                    <a:gd name="connsiteY470" fmla="*/ 42573 h 762309"/>
                    <a:gd name="connsiteX471" fmla="*/ 1044280 w 1187240"/>
                    <a:gd name="connsiteY471" fmla="*/ 49653 h 762309"/>
                    <a:gd name="connsiteX472" fmla="*/ 1030571 w 1187240"/>
                    <a:gd name="connsiteY472" fmla="*/ 56513 h 762309"/>
                    <a:gd name="connsiteX473" fmla="*/ 1019971 w 1187240"/>
                    <a:gd name="connsiteY473" fmla="*/ 59938 h 762309"/>
                    <a:gd name="connsiteX474" fmla="*/ 1018963 w 1187240"/>
                    <a:gd name="connsiteY474" fmla="*/ 60265 h 762309"/>
                    <a:gd name="connsiteX475" fmla="*/ 1018125 w 1187240"/>
                    <a:gd name="connsiteY475" fmla="*/ 60921 h 762309"/>
                    <a:gd name="connsiteX476" fmla="*/ 1008592 w 1187240"/>
                    <a:gd name="connsiteY476" fmla="*/ 68328 h 762309"/>
                    <a:gd name="connsiteX477" fmla="*/ 1006613 w 1187240"/>
                    <a:gd name="connsiteY477" fmla="*/ 69895 h 762309"/>
                    <a:gd name="connsiteX478" fmla="*/ 996887 w 1187240"/>
                    <a:gd name="connsiteY478" fmla="*/ 73914 h 762309"/>
                    <a:gd name="connsiteX479" fmla="*/ 989759 w 1187240"/>
                    <a:gd name="connsiteY479" fmla="*/ 76901 h 762309"/>
                    <a:gd name="connsiteX480" fmla="*/ 987464 w 1187240"/>
                    <a:gd name="connsiteY480" fmla="*/ 77873 h 762309"/>
                    <a:gd name="connsiteX481" fmla="*/ 970002 w 1187240"/>
                    <a:gd name="connsiteY481" fmla="*/ 86081 h 762309"/>
                    <a:gd name="connsiteX482" fmla="*/ 947623 w 1187240"/>
                    <a:gd name="connsiteY482" fmla="*/ 93112 h 762309"/>
                    <a:gd name="connsiteX483" fmla="*/ 943421 w 1187240"/>
                    <a:gd name="connsiteY483" fmla="*/ 94460 h 762309"/>
                    <a:gd name="connsiteX484" fmla="*/ 939973 w 1187240"/>
                    <a:gd name="connsiteY484" fmla="*/ 88425 h 762309"/>
                    <a:gd name="connsiteX485" fmla="*/ 937811 w 1187240"/>
                    <a:gd name="connsiteY485" fmla="*/ 84636 h 762309"/>
                    <a:gd name="connsiteX486" fmla="*/ 933513 w 1187240"/>
                    <a:gd name="connsiteY486" fmla="*/ 85486 h 762309"/>
                    <a:gd name="connsiteX487" fmla="*/ 921455 w 1187240"/>
                    <a:gd name="connsiteY487" fmla="*/ 87878 h 762309"/>
                    <a:gd name="connsiteX488" fmla="*/ 904807 w 1187240"/>
                    <a:gd name="connsiteY488" fmla="*/ 91388 h 762309"/>
                    <a:gd name="connsiteX489" fmla="*/ 890369 w 1187240"/>
                    <a:gd name="connsiteY489" fmla="*/ 94509 h 762309"/>
                    <a:gd name="connsiteX490" fmla="*/ 888159 w 1187240"/>
                    <a:gd name="connsiteY490" fmla="*/ 94994 h 762309"/>
                    <a:gd name="connsiteX491" fmla="*/ 879841 w 1187240"/>
                    <a:gd name="connsiteY491" fmla="*/ 96075 h 762309"/>
                    <a:gd name="connsiteX492" fmla="*/ 876902 w 1187240"/>
                    <a:gd name="connsiteY492" fmla="*/ 96464 h 762309"/>
                    <a:gd name="connsiteX493" fmla="*/ 875409 w 1187240"/>
                    <a:gd name="connsiteY493" fmla="*/ 99038 h 762309"/>
                    <a:gd name="connsiteX494" fmla="*/ 864735 w 1187240"/>
                    <a:gd name="connsiteY494" fmla="*/ 117349 h 762309"/>
                    <a:gd name="connsiteX495" fmla="*/ 860182 w 1187240"/>
                    <a:gd name="connsiteY495" fmla="*/ 122231 h 762309"/>
                    <a:gd name="connsiteX496" fmla="*/ 856636 w 1187240"/>
                    <a:gd name="connsiteY496" fmla="*/ 126044 h 762309"/>
                    <a:gd name="connsiteX497" fmla="*/ 847359 w 1187240"/>
                    <a:gd name="connsiteY497" fmla="*/ 133742 h 762309"/>
                    <a:gd name="connsiteX498" fmla="*/ 839138 w 1187240"/>
                    <a:gd name="connsiteY498" fmla="*/ 138575 h 762309"/>
                    <a:gd name="connsiteX499" fmla="*/ 835738 w 1187240"/>
                    <a:gd name="connsiteY499" fmla="*/ 140542 h 762309"/>
                    <a:gd name="connsiteX500" fmla="*/ 834584 w 1187240"/>
                    <a:gd name="connsiteY500" fmla="*/ 141210 h 762309"/>
                    <a:gd name="connsiteX501" fmla="*/ 833819 w 1187240"/>
                    <a:gd name="connsiteY501" fmla="*/ 142303 h 762309"/>
                    <a:gd name="connsiteX502" fmla="*/ 830917 w 1187240"/>
                    <a:gd name="connsiteY502" fmla="*/ 146407 h 762309"/>
                    <a:gd name="connsiteX503" fmla="*/ 826412 w 1187240"/>
                    <a:gd name="connsiteY503" fmla="*/ 152540 h 762309"/>
                    <a:gd name="connsiteX504" fmla="*/ 821336 w 1187240"/>
                    <a:gd name="connsiteY504" fmla="*/ 157919 h 762309"/>
                    <a:gd name="connsiteX505" fmla="*/ 811695 w 1187240"/>
                    <a:gd name="connsiteY505" fmla="*/ 165945 h 762309"/>
                    <a:gd name="connsiteX506" fmla="*/ 810529 w 1187240"/>
                    <a:gd name="connsiteY506" fmla="*/ 166965 h 762309"/>
                    <a:gd name="connsiteX507" fmla="*/ 802976 w 1187240"/>
                    <a:gd name="connsiteY507" fmla="*/ 172940 h 762309"/>
                    <a:gd name="connsiteX508" fmla="*/ 801932 w 1187240"/>
                    <a:gd name="connsiteY508" fmla="*/ 173765 h 762309"/>
                    <a:gd name="connsiteX509" fmla="*/ 801325 w 1187240"/>
                    <a:gd name="connsiteY509" fmla="*/ 174956 h 762309"/>
                    <a:gd name="connsiteX510" fmla="*/ 795921 w 1187240"/>
                    <a:gd name="connsiteY510" fmla="*/ 185629 h 762309"/>
                    <a:gd name="connsiteX511" fmla="*/ 795362 w 1187240"/>
                    <a:gd name="connsiteY511" fmla="*/ 186746 h 762309"/>
                    <a:gd name="connsiteX512" fmla="*/ 795278 w 1187240"/>
                    <a:gd name="connsiteY512" fmla="*/ 187997 h 762309"/>
                    <a:gd name="connsiteX513" fmla="*/ 794634 w 1187240"/>
                    <a:gd name="connsiteY513" fmla="*/ 198185 h 762309"/>
                    <a:gd name="connsiteX514" fmla="*/ 794209 w 1187240"/>
                    <a:gd name="connsiteY514" fmla="*/ 203236 h 762309"/>
                    <a:gd name="connsiteX515" fmla="*/ 788004 w 1187240"/>
                    <a:gd name="connsiteY515" fmla="*/ 209113 h 762309"/>
                    <a:gd name="connsiteX516" fmla="*/ 777124 w 1187240"/>
                    <a:gd name="connsiteY516" fmla="*/ 213364 h 762309"/>
                    <a:gd name="connsiteX517" fmla="*/ 776808 w 1187240"/>
                    <a:gd name="connsiteY517" fmla="*/ 213485 h 762309"/>
                    <a:gd name="connsiteX518" fmla="*/ 776504 w 1187240"/>
                    <a:gd name="connsiteY518" fmla="*/ 213643 h 762309"/>
                    <a:gd name="connsiteX519" fmla="*/ 764119 w 1187240"/>
                    <a:gd name="connsiteY519" fmla="*/ 220164 h 762309"/>
                    <a:gd name="connsiteX520" fmla="*/ 753263 w 1187240"/>
                    <a:gd name="connsiteY520" fmla="*/ 221220 h 762309"/>
                    <a:gd name="connsiteX521" fmla="*/ 734721 w 1187240"/>
                    <a:gd name="connsiteY521" fmla="*/ 222361 h 762309"/>
                    <a:gd name="connsiteX522" fmla="*/ 733251 w 1187240"/>
                    <a:gd name="connsiteY522" fmla="*/ 222446 h 762309"/>
                    <a:gd name="connsiteX523" fmla="*/ 731989 w 1187240"/>
                    <a:gd name="connsiteY523" fmla="*/ 223199 h 762309"/>
                    <a:gd name="connsiteX524" fmla="*/ 723792 w 1187240"/>
                    <a:gd name="connsiteY524" fmla="*/ 228093 h 762309"/>
                    <a:gd name="connsiteX525" fmla="*/ 711394 w 1187240"/>
                    <a:gd name="connsiteY525" fmla="*/ 227073 h 762309"/>
                    <a:gd name="connsiteX526" fmla="*/ 710581 w 1187240"/>
                    <a:gd name="connsiteY526" fmla="*/ 227012 h 762309"/>
                    <a:gd name="connsiteX527" fmla="*/ 709779 w 1187240"/>
                    <a:gd name="connsiteY527" fmla="*/ 227170 h 762309"/>
                    <a:gd name="connsiteX528" fmla="*/ 690982 w 1187240"/>
                    <a:gd name="connsiteY528" fmla="*/ 230728 h 762309"/>
                    <a:gd name="connsiteX529" fmla="*/ 674358 w 1187240"/>
                    <a:gd name="connsiteY529" fmla="*/ 232926 h 762309"/>
                    <a:gd name="connsiteX530" fmla="*/ 646672 w 1187240"/>
                    <a:gd name="connsiteY530" fmla="*/ 230667 h 762309"/>
                    <a:gd name="connsiteX531" fmla="*/ 636120 w 1187240"/>
                    <a:gd name="connsiteY531" fmla="*/ 228372 h 762309"/>
                    <a:gd name="connsiteX532" fmla="*/ 635477 w 1187240"/>
                    <a:gd name="connsiteY532" fmla="*/ 228239 h 762309"/>
                    <a:gd name="connsiteX533" fmla="*/ 634821 w 1187240"/>
                    <a:gd name="connsiteY533" fmla="*/ 228239 h 762309"/>
                    <a:gd name="connsiteX534" fmla="*/ 623746 w 1187240"/>
                    <a:gd name="connsiteY534" fmla="*/ 228239 h 762309"/>
                    <a:gd name="connsiteX535" fmla="*/ 613243 w 1187240"/>
                    <a:gd name="connsiteY535" fmla="*/ 229259 h 762309"/>
                    <a:gd name="connsiteX536" fmla="*/ 602861 w 1187240"/>
                    <a:gd name="connsiteY536" fmla="*/ 222228 h 762309"/>
                    <a:gd name="connsiteX537" fmla="*/ 591130 w 1187240"/>
                    <a:gd name="connsiteY537" fmla="*/ 213048 h 762309"/>
                    <a:gd name="connsiteX538" fmla="*/ 589479 w 1187240"/>
                    <a:gd name="connsiteY538" fmla="*/ 211761 h 762309"/>
                    <a:gd name="connsiteX539" fmla="*/ 587390 w 1187240"/>
                    <a:gd name="connsiteY539" fmla="*/ 211761 h 762309"/>
                    <a:gd name="connsiteX540" fmla="*/ 576365 w 1187240"/>
                    <a:gd name="connsiteY540" fmla="*/ 211761 h 762309"/>
                    <a:gd name="connsiteX541" fmla="*/ 574579 w 1187240"/>
                    <a:gd name="connsiteY541" fmla="*/ 211761 h 762309"/>
                    <a:gd name="connsiteX542" fmla="*/ 573086 w 1187240"/>
                    <a:gd name="connsiteY542" fmla="*/ 212732 h 762309"/>
                    <a:gd name="connsiteX543" fmla="*/ 562424 w 1187240"/>
                    <a:gd name="connsiteY543" fmla="*/ 219593 h 762309"/>
                    <a:gd name="connsiteX544" fmla="*/ 551168 w 1187240"/>
                    <a:gd name="connsiteY544" fmla="*/ 225045 h 762309"/>
                    <a:gd name="connsiteX545" fmla="*/ 537447 w 1187240"/>
                    <a:gd name="connsiteY545" fmla="*/ 228409 h 762309"/>
                    <a:gd name="connsiteX546" fmla="*/ 514836 w 1187240"/>
                    <a:gd name="connsiteY546" fmla="*/ 231857 h 762309"/>
                    <a:gd name="connsiteX547" fmla="*/ 502001 w 1187240"/>
                    <a:gd name="connsiteY547" fmla="*/ 232974 h 762309"/>
                    <a:gd name="connsiteX548" fmla="*/ 501637 w 1187240"/>
                    <a:gd name="connsiteY548" fmla="*/ 232999 h 762309"/>
                    <a:gd name="connsiteX549" fmla="*/ 501273 w 1187240"/>
                    <a:gd name="connsiteY549" fmla="*/ 233084 h 762309"/>
                    <a:gd name="connsiteX550" fmla="*/ 491073 w 1187240"/>
                    <a:gd name="connsiteY550" fmla="*/ 235257 h 762309"/>
                    <a:gd name="connsiteX551" fmla="*/ 461832 w 1187240"/>
                    <a:gd name="connsiteY551" fmla="*/ 232768 h 762309"/>
                    <a:gd name="connsiteX552" fmla="*/ 456489 w 1187240"/>
                    <a:gd name="connsiteY552" fmla="*/ 232307 h 762309"/>
                    <a:gd name="connsiteX553" fmla="*/ 455385 w 1187240"/>
                    <a:gd name="connsiteY553" fmla="*/ 237564 h 762309"/>
                    <a:gd name="connsiteX554" fmla="*/ 454911 w 1187240"/>
                    <a:gd name="connsiteY554" fmla="*/ 239835 h 762309"/>
                    <a:gd name="connsiteX555" fmla="*/ 450722 w 1187240"/>
                    <a:gd name="connsiteY555" fmla="*/ 243842 h 762309"/>
                    <a:gd name="connsiteX556" fmla="*/ 443059 w 1187240"/>
                    <a:gd name="connsiteY556" fmla="*/ 244960 h 762309"/>
                    <a:gd name="connsiteX557" fmla="*/ 442088 w 1187240"/>
                    <a:gd name="connsiteY557" fmla="*/ 244498 h 762309"/>
                    <a:gd name="connsiteX558" fmla="*/ 436709 w 1187240"/>
                    <a:gd name="connsiteY558" fmla="*/ 240078 h 762309"/>
                    <a:gd name="connsiteX559" fmla="*/ 435980 w 1187240"/>
                    <a:gd name="connsiteY559" fmla="*/ 239495 h 762309"/>
                    <a:gd name="connsiteX560" fmla="*/ 435130 w 1187240"/>
                    <a:gd name="connsiteY560" fmla="*/ 239155 h 762309"/>
                    <a:gd name="connsiteX561" fmla="*/ 431839 w 1187240"/>
                    <a:gd name="connsiteY561" fmla="*/ 237832 h 762309"/>
                    <a:gd name="connsiteX562" fmla="*/ 429933 w 1187240"/>
                    <a:gd name="connsiteY562" fmla="*/ 237054 h 762309"/>
                    <a:gd name="connsiteX563" fmla="*/ 427941 w 1187240"/>
                    <a:gd name="connsiteY563" fmla="*/ 237601 h 762309"/>
                    <a:gd name="connsiteX564" fmla="*/ 425148 w 1187240"/>
                    <a:gd name="connsiteY564" fmla="*/ 238378 h 762309"/>
                    <a:gd name="connsiteX565" fmla="*/ 419866 w 1187240"/>
                    <a:gd name="connsiteY565" fmla="*/ 239847 h 762309"/>
                    <a:gd name="connsiteX566" fmla="*/ 420777 w 1187240"/>
                    <a:gd name="connsiteY566" fmla="*/ 245251 h 762309"/>
                    <a:gd name="connsiteX567" fmla="*/ 420838 w 1187240"/>
                    <a:gd name="connsiteY567" fmla="*/ 245579 h 762309"/>
                    <a:gd name="connsiteX568" fmla="*/ 420328 w 1187240"/>
                    <a:gd name="connsiteY568" fmla="*/ 245324 h 762309"/>
                    <a:gd name="connsiteX569" fmla="*/ 416843 w 1187240"/>
                    <a:gd name="connsiteY569" fmla="*/ 243490 h 762309"/>
                    <a:gd name="connsiteX570" fmla="*/ 414997 w 1187240"/>
                    <a:gd name="connsiteY570" fmla="*/ 242519 h 762309"/>
                    <a:gd name="connsiteX571" fmla="*/ 412957 w 1187240"/>
                    <a:gd name="connsiteY571" fmla="*/ 242883 h 762309"/>
                    <a:gd name="connsiteX572" fmla="*/ 407311 w 1187240"/>
                    <a:gd name="connsiteY572" fmla="*/ 243891 h 762309"/>
                    <a:gd name="connsiteX573" fmla="*/ 406145 w 1187240"/>
                    <a:gd name="connsiteY573" fmla="*/ 244097 h 762309"/>
                    <a:gd name="connsiteX574" fmla="*/ 405137 w 1187240"/>
                    <a:gd name="connsiteY574" fmla="*/ 244729 h 762309"/>
                    <a:gd name="connsiteX575" fmla="*/ 393540 w 1187240"/>
                    <a:gd name="connsiteY575" fmla="*/ 252027 h 762309"/>
                    <a:gd name="connsiteX576" fmla="*/ 389242 w 1187240"/>
                    <a:gd name="connsiteY576" fmla="*/ 254018 h 762309"/>
                    <a:gd name="connsiteX577" fmla="*/ 381725 w 1187240"/>
                    <a:gd name="connsiteY577" fmla="*/ 254953 h 762309"/>
                    <a:gd name="connsiteX578" fmla="*/ 380001 w 1187240"/>
                    <a:gd name="connsiteY578" fmla="*/ 254820 h 762309"/>
                    <a:gd name="connsiteX579" fmla="*/ 372266 w 1187240"/>
                    <a:gd name="connsiteY579" fmla="*/ 252622 h 762309"/>
                    <a:gd name="connsiteX580" fmla="*/ 371355 w 1187240"/>
                    <a:gd name="connsiteY580" fmla="*/ 252367 h 762309"/>
                    <a:gd name="connsiteX581" fmla="*/ 370396 w 1187240"/>
                    <a:gd name="connsiteY581" fmla="*/ 252403 h 762309"/>
                    <a:gd name="connsiteX582" fmla="*/ 367008 w 1187240"/>
                    <a:gd name="connsiteY582" fmla="*/ 252525 h 762309"/>
                    <a:gd name="connsiteX583" fmla="*/ 366134 w 1187240"/>
                    <a:gd name="connsiteY583" fmla="*/ 252549 h 762309"/>
                    <a:gd name="connsiteX584" fmla="*/ 365296 w 1187240"/>
                    <a:gd name="connsiteY584" fmla="*/ 252828 h 762309"/>
                    <a:gd name="connsiteX585" fmla="*/ 359261 w 1187240"/>
                    <a:gd name="connsiteY585" fmla="*/ 254856 h 762309"/>
                    <a:gd name="connsiteX586" fmla="*/ 359164 w 1187240"/>
                    <a:gd name="connsiteY586" fmla="*/ 254856 h 762309"/>
                    <a:gd name="connsiteX587" fmla="*/ 355582 w 1187240"/>
                    <a:gd name="connsiteY587" fmla="*/ 247364 h 762309"/>
                    <a:gd name="connsiteX588" fmla="*/ 355400 w 1187240"/>
                    <a:gd name="connsiteY588" fmla="*/ 246987 h 762309"/>
                    <a:gd name="connsiteX589" fmla="*/ 355156 w 1187240"/>
                    <a:gd name="connsiteY589" fmla="*/ 246647 h 762309"/>
                    <a:gd name="connsiteX590" fmla="*/ 353444 w 1187240"/>
                    <a:gd name="connsiteY590" fmla="*/ 244061 h 762309"/>
                    <a:gd name="connsiteX591" fmla="*/ 352182 w 1187240"/>
                    <a:gd name="connsiteY591" fmla="*/ 242154 h 762309"/>
                    <a:gd name="connsiteX592" fmla="*/ 349984 w 1187240"/>
                    <a:gd name="connsiteY592" fmla="*/ 241547 h 762309"/>
                    <a:gd name="connsiteX593" fmla="*/ 347203 w 1187240"/>
                    <a:gd name="connsiteY593" fmla="*/ 240782 h 762309"/>
                    <a:gd name="connsiteX594" fmla="*/ 346584 w 1187240"/>
                    <a:gd name="connsiteY594" fmla="*/ 240612 h 762309"/>
                    <a:gd name="connsiteX595" fmla="*/ 345940 w 1187240"/>
                    <a:gd name="connsiteY595" fmla="*/ 240576 h 762309"/>
                    <a:gd name="connsiteX596" fmla="*/ 338363 w 1187240"/>
                    <a:gd name="connsiteY596" fmla="*/ 240139 h 762309"/>
                    <a:gd name="connsiteX597" fmla="*/ 337707 w 1187240"/>
                    <a:gd name="connsiteY597" fmla="*/ 240102 h 762309"/>
                    <a:gd name="connsiteX598" fmla="*/ 337064 w 1187240"/>
                    <a:gd name="connsiteY598" fmla="*/ 240199 h 762309"/>
                    <a:gd name="connsiteX599" fmla="*/ 334489 w 1187240"/>
                    <a:gd name="connsiteY599" fmla="*/ 240600 h 762309"/>
                    <a:gd name="connsiteX600" fmla="*/ 333154 w 1187240"/>
                    <a:gd name="connsiteY600" fmla="*/ 240819 h 762309"/>
                    <a:gd name="connsiteX601" fmla="*/ 332036 w 1187240"/>
                    <a:gd name="connsiteY601" fmla="*/ 241572 h 762309"/>
                    <a:gd name="connsiteX602" fmla="*/ 328709 w 1187240"/>
                    <a:gd name="connsiteY602" fmla="*/ 243818 h 762309"/>
                    <a:gd name="connsiteX603" fmla="*/ 327617 w 1187240"/>
                    <a:gd name="connsiteY603" fmla="*/ 244559 h 762309"/>
                    <a:gd name="connsiteX604" fmla="*/ 326924 w 1187240"/>
                    <a:gd name="connsiteY604" fmla="*/ 245676 h 762309"/>
                    <a:gd name="connsiteX605" fmla="*/ 324981 w 1187240"/>
                    <a:gd name="connsiteY605" fmla="*/ 248833 h 762309"/>
                    <a:gd name="connsiteX606" fmla="*/ 324727 w 1187240"/>
                    <a:gd name="connsiteY606" fmla="*/ 249258 h 762309"/>
                    <a:gd name="connsiteX607" fmla="*/ 324532 w 1187240"/>
                    <a:gd name="connsiteY607" fmla="*/ 249720 h 762309"/>
                    <a:gd name="connsiteX608" fmla="*/ 323221 w 1187240"/>
                    <a:gd name="connsiteY608" fmla="*/ 252937 h 762309"/>
                    <a:gd name="connsiteX609" fmla="*/ 321606 w 1187240"/>
                    <a:gd name="connsiteY609" fmla="*/ 255621 h 762309"/>
                    <a:gd name="connsiteX610" fmla="*/ 320282 w 1187240"/>
                    <a:gd name="connsiteY610" fmla="*/ 256945 h 762309"/>
                    <a:gd name="connsiteX611" fmla="*/ 318315 w 1187240"/>
                    <a:gd name="connsiteY611" fmla="*/ 258183 h 762309"/>
                    <a:gd name="connsiteX612" fmla="*/ 315996 w 1187240"/>
                    <a:gd name="connsiteY612" fmla="*/ 259191 h 762309"/>
                    <a:gd name="connsiteX613" fmla="*/ 313968 w 1187240"/>
                    <a:gd name="connsiteY613" fmla="*/ 259725 h 762309"/>
                    <a:gd name="connsiteX614" fmla="*/ 312049 w 1187240"/>
                    <a:gd name="connsiteY614" fmla="*/ 259774 h 762309"/>
                    <a:gd name="connsiteX615" fmla="*/ 310980 w 1187240"/>
                    <a:gd name="connsiteY615" fmla="*/ 259373 h 762309"/>
                    <a:gd name="connsiteX616" fmla="*/ 305917 w 1187240"/>
                    <a:gd name="connsiteY616" fmla="*/ 256386 h 762309"/>
                    <a:gd name="connsiteX617" fmla="*/ 305091 w 1187240"/>
                    <a:gd name="connsiteY617" fmla="*/ 255900 h 762309"/>
                    <a:gd name="connsiteX618" fmla="*/ 304156 w 1187240"/>
                    <a:gd name="connsiteY618" fmla="*/ 255682 h 762309"/>
                    <a:gd name="connsiteX619" fmla="*/ 297721 w 1187240"/>
                    <a:gd name="connsiteY619" fmla="*/ 254249 h 762309"/>
                    <a:gd name="connsiteX620" fmla="*/ 297004 w 1187240"/>
                    <a:gd name="connsiteY620" fmla="*/ 254091 h 762309"/>
                    <a:gd name="connsiteX621" fmla="*/ 296264 w 1187240"/>
                    <a:gd name="connsiteY621" fmla="*/ 254103 h 762309"/>
                    <a:gd name="connsiteX622" fmla="*/ 283368 w 1187240"/>
                    <a:gd name="connsiteY622" fmla="*/ 254370 h 762309"/>
                    <a:gd name="connsiteX623" fmla="*/ 277175 w 1187240"/>
                    <a:gd name="connsiteY623" fmla="*/ 253654 h 762309"/>
                    <a:gd name="connsiteX624" fmla="*/ 276810 w 1187240"/>
                    <a:gd name="connsiteY624" fmla="*/ 253617 h 762309"/>
                    <a:gd name="connsiteX625" fmla="*/ 276446 w 1187240"/>
                    <a:gd name="connsiteY625" fmla="*/ 253617 h 762309"/>
                    <a:gd name="connsiteX626" fmla="*/ 270873 w 1187240"/>
                    <a:gd name="connsiteY626" fmla="*/ 253642 h 762309"/>
                    <a:gd name="connsiteX627" fmla="*/ 269610 w 1187240"/>
                    <a:gd name="connsiteY627" fmla="*/ 253642 h 762309"/>
                    <a:gd name="connsiteX628" fmla="*/ 268444 w 1187240"/>
                    <a:gd name="connsiteY628" fmla="*/ 254152 h 762309"/>
                    <a:gd name="connsiteX629" fmla="*/ 259191 w 1187240"/>
                    <a:gd name="connsiteY629" fmla="*/ 258232 h 762309"/>
                    <a:gd name="connsiteX630" fmla="*/ 259167 w 1187240"/>
                    <a:gd name="connsiteY630" fmla="*/ 258244 h 762309"/>
                    <a:gd name="connsiteX631" fmla="*/ 248457 w 1187240"/>
                    <a:gd name="connsiteY631" fmla="*/ 258839 h 762309"/>
                    <a:gd name="connsiteX632" fmla="*/ 206333 w 1187240"/>
                    <a:gd name="connsiteY632" fmla="*/ 261182 h 762309"/>
                    <a:gd name="connsiteX633" fmla="*/ 183626 w 1187240"/>
                    <a:gd name="connsiteY633" fmla="*/ 258705 h 762309"/>
                    <a:gd name="connsiteX634" fmla="*/ 163893 w 1187240"/>
                    <a:gd name="connsiteY634" fmla="*/ 248845 h 762309"/>
                    <a:gd name="connsiteX635" fmla="*/ 146857 w 1187240"/>
                    <a:gd name="connsiteY635" fmla="*/ 237115 h 762309"/>
                    <a:gd name="connsiteX636" fmla="*/ 145715 w 1187240"/>
                    <a:gd name="connsiteY636" fmla="*/ 236326 h 762309"/>
                    <a:gd name="connsiteX637" fmla="*/ 144343 w 1187240"/>
                    <a:gd name="connsiteY637" fmla="*/ 236119 h 762309"/>
                    <a:gd name="connsiteX638" fmla="*/ 138017 w 1187240"/>
                    <a:gd name="connsiteY638" fmla="*/ 235148 h 762309"/>
                    <a:gd name="connsiteX639" fmla="*/ 136608 w 1187240"/>
                    <a:gd name="connsiteY639" fmla="*/ 234929 h 762309"/>
                    <a:gd name="connsiteX640" fmla="*/ 135248 w 1187240"/>
                    <a:gd name="connsiteY640" fmla="*/ 235367 h 762309"/>
                    <a:gd name="connsiteX641" fmla="*/ 131472 w 1187240"/>
                    <a:gd name="connsiteY641" fmla="*/ 236569 h 762309"/>
                    <a:gd name="connsiteX642" fmla="*/ 130476 w 1187240"/>
                    <a:gd name="connsiteY642" fmla="*/ 236884 h 762309"/>
                    <a:gd name="connsiteX643" fmla="*/ 129638 w 1187240"/>
                    <a:gd name="connsiteY643" fmla="*/ 237528 h 762309"/>
                    <a:gd name="connsiteX644" fmla="*/ 126930 w 1187240"/>
                    <a:gd name="connsiteY644" fmla="*/ 239592 h 762309"/>
                    <a:gd name="connsiteX645" fmla="*/ 126651 w 1187240"/>
                    <a:gd name="connsiteY645" fmla="*/ 239811 h 762309"/>
                    <a:gd name="connsiteX646" fmla="*/ 126396 w 1187240"/>
                    <a:gd name="connsiteY646" fmla="*/ 240066 h 762309"/>
                    <a:gd name="connsiteX647" fmla="*/ 124149 w 1187240"/>
                    <a:gd name="connsiteY647" fmla="*/ 242240 h 762309"/>
                    <a:gd name="connsiteX648" fmla="*/ 122267 w 1187240"/>
                    <a:gd name="connsiteY648" fmla="*/ 243636 h 762309"/>
                    <a:gd name="connsiteX649" fmla="*/ 120749 w 1187240"/>
                    <a:gd name="connsiteY649" fmla="*/ 244109 h 762309"/>
                    <a:gd name="connsiteX650" fmla="*/ 114909 w 1187240"/>
                    <a:gd name="connsiteY650" fmla="*/ 243879 h 762309"/>
                    <a:gd name="connsiteX651" fmla="*/ 114532 w 1187240"/>
                    <a:gd name="connsiteY651" fmla="*/ 243867 h 762309"/>
                    <a:gd name="connsiteX652" fmla="*/ 114168 w 1187240"/>
                    <a:gd name="connsiteY652" fmla="*/ 243903 h 762309"/>
                    <a:gd name="connsiteX653" fmla="*/ 110719 w 1187240"/>
                    <a:gd name="connsiteY653" fmla="*/ 244194 h 762309"/>
                    <a:gd name="connsiteX654" fmla="*/ 109250 w 1187240"/>
                    <a:gd name="connsiteY654" fmla="*/ 244316 h 762309"/>
                    <a:gd name="connsiteX655" fmla="*/ 107999 w 1187240"/>
                    <a:gd name="connsiteY655" fmla="*/ 245093 h 762309"/>
                    <a:gd name="connsiteX656" fmla="*/ 101746 w 1187240"/>
                    <a:gd name="connsiteY656" fmla="*/ 249003 h 762309"/>
                    <a:gd name="connsiteX657" fmla="*/ 100034 w 1187240"/>
                    <a:gd name="connsiteY657" fmla="*/ 250072 h 762309"/>
                    <a:gd name="connsiteX658" fmla="*/ 99305 w 1187240"/>
                    <a:gd name="connsiteY658" fmla="*/ 251954 h 762309"/>
                    <a:gd name="connsiteX659" fmla="*/ 95128 w 1187240"/>
                    <a:gd name="connsiteY659" fmla="*/ 262688 h 762309"/>
                    <a:gd name="connsiteX660" fmla="*/ 92590 w 1187240"/>
                    <a:gd name="connsiteY660" fmla="*/ 264898 h 762309"/>
                    <a:gd name="connsiteX661" fmla="*/ 87320 w 1187240"/>
                    <a:gd name="connsiteY661" fmla="*/ 266355 h 762309"/>
                    <a:gd name="connsiteX662" fmla="*/ 66483 w 1187240"/>
                    <a:gd name="connsiteY662" fmla="*/ 268274 h 762309"/>
                    <a:gd name="connsiteX663" fmla="*/ 65997 w 1187240"/>
                    <a:gd name="connsiteY663" fmla="*/ 268323 h 762309"/>
                    <a:gd name="connsiteX664" fmla="*/ 65523 w 1187240"/>
                    <a:gd name="connsiteY664" fmla="*/ 268444 h 762309"/>
                    <a:gd name="connsiteX665" fmla="*/ 54121 w 1187240"/>
                    <a:gd name="connsiteY665" fmla="*/ 271395 h 762309"/>
                    <a:gd name="connsiteX666" fmla="*/ 51304 w 1187240"/>
                    <a:gd name="connsiteY666" fmla="*/ 271650 h 762309"/>
                    <a:gd name="connsiteX667" fmla="*/ 50539 w 1187240"/>
                    <a:gd name="connsiteY667" fmla="*/ 271540 h 762309"/>
                    <a:gd name="connsiteX668" fmla="*/ 47187 w 1187240"/>
                    <a:gd name="connsiteY668" fmla="*/ 270520 h 762309"/>
                    <a:gd name="connsiteX669" fmla="*/ 46629 w 1187240"/>
                    <a:gd name="connsiteY669" fmla="*/ 270350 h 762309"/>
                    <a:gd name="connsiteX670" fmla="*/ 46058 w 1187240"/>
                    <a:gd name="connsiteY670" fmla="*/ 270290 h 762309"/>
                    <a:gd name="connsiteX671" fmla="*/ 44625 w 1187240"/>
                    <a:gd name="connsiteY671" fmla="*/ 270071 h 762309"/>
                    <a:gd name="connsiteX672" fmla="*/ 44140 w 1187240"/>
                    <a:gd name="connsiteY672" fmla="*/ 273216 h 762309"/>
                    <a:gd name="connsiteX673" fmla="*/ 43083 w 1187240"/>
                    <a:gd name="connsiteY673" fmla="*/ 275548 h 762309"/>
                    <a:gd name="connsiteX674" fmla="*/ 39489 w 1187240"/>
                    <a:gd name="connsiteY674" fmla="*/ 274248 h 762309"/>
                    <a:gd name="connsiteX675" fmla="*/ 38566 w 1187240"/>
                    <a:gd name="connsiteY675" fmla="*/ 276798 h 762309"/>
                    <a:gd name="connsiteX676" fmla="*/ 37813 w 1187240"/>
                    <a:gd name="connsiteY676" fmla="*/ 278838 h 762309"/>
                    <a:gd name="connsiteX677" fmla="*/ 38542 w 1187240"/>
                    <a:gd name="connsiteY677" fmla="*/ 280890 h 762309"/>
                    <a:gd name="connsiteX678" fmla="*/ 42330 w 1187240"/>
                    <a:gd name="connsiteY678" fmla="*/ 291613 h 762309"/>
                    <a:gd name="connsiteX679" fmla="*/ 42962 w 1187240"/>
                    <a:gd name="connsiteY679" fmla="*/ 294381 h 762309"/>
                    <a:gd name="connsiteX680" fmla="*/ 44540 w 1187240"/>
                    <a:gd name="connsiteY680" fmla="*/ 312911 h 762309"/>
                    <a:gd name="connsiteX681" fmla="*/ 42792 w 1187240"/>
                    <a:gd name="connsiteY681" fmla="*/ 315716 h 762309"/>
                    <a:gd name="connsiteX682" fmla="*/ 42513 w 1187240"/>
                    <a:gd name="connsiteY682" fmla="*/ 316166 h 762309"/>
                    <a:gd name="connsiteX683" fmla="*/ 42306 w 1187240"/>
                    <a:gd name="connsiteY683" fmla="*/ 316664 h 762309"/>
                    <a:gd name="connsiteX684" fmla="*/ 42039 w 1187240"/>
                    <a:gd name="connsiteY684" fmla="*/ 317344 h 762309"/>
                    <a:gd name="connsiteX685" fmla="*/ 41687 w 1187240"/>
                    <a:gd name="connsiteY685" fmla="*/ 318424 h 762309"/>
                    <a:gd name="connsiteX686" fmla="*/ 41407 w 1187240"/>
                    <a:gd name="connsiteY686" fmla="*/ 319456 h 762309"/>
                    <a:gd name="connsiteX687" fmla="*/ 39452 w 1187240"/>
                    <a:gd name="connsiteY687" fmla="*/ 324775 h 762309"/>
                    <a:gd name="connsiteX688" fmla="*/ 39331 w 1187240"/>
                    <a:gd name="connsiteY688" fmla="*/ 325103 h 762309"/>
                    <a:gd name="connsiteX689" fmla="*/ 39246 w 1187240"/>
                    <a:gd name="connsiteY689" fmla="*/ 325455 h 762309"/>
                    <a:gd name="connsiteX690" fmla="*/ 38335 w 1187240"/>
                    <a:gd name="connsiteY690" fmla="*/ 329329 h 762309"/>
                    <a:gd name="connsiteX691" fmla="*/ 36611 w 1187240"/>
                    <a:gd name="connsiteY691" fmla="*/ 341641 h 762309"/>
                    <a:gd name="connsiteX692" fmla="*/ 36125 w 1187240"/>
                    <a:gd name="connsiteY692" fmla="*/ 341921 h 762309"/>
                    <a:gd name="connsiteX693" fmla="*/ 35822 w 1187240"/>
                    <a:gd name="connsiteY693" fmla="*/ 342103 h 762309"/>
                    <a:gd name="connsiteX694" fmla="*/ 35542 w 1187240"/>
                    <a:gd name="connsiteY694" fmla="*/ 342322 h 762309"/>
                    <a:gd name="connsiteX695" fmla="*/ 34000 w 1187240"/>
                    <a:gd name="connsiteY695" fmla="*/ 343475 h 762309"/>
                    <a:gd name="connsiteX696" fmla="*/ 33515 w 1187240"/>
                    <a:gd name="connsiteY696" fmla="*/ 343839 h 762309"/>
                    <a:gd name="connsiteX697" fmla="*/ 33114 w 1187240"/>
                    <a:gd name="connsiteY697" fmla="*/ 344301 h 762309"/>
                    <a:gd name="connsiteX698" fmla="*/ 32531 w 1187240"/>
                    <a:gd name="connsiteY698" fmla="*/ 344957 h 762309"/>
                    <a:gd name="connsiteX699" fmla="*/ 31134 w 1187240"/>
                    <a:gd name="connsiteY699" fmla="*/ 346523 h 762309"/>
                    <a:gd name="connsiteX700" fmla="*/ 31001 w 1187240"/>
                    <a:gd name="connsiteY700" fmla="*/ 348612 h 762309"/>
                    <a:gd name="connsiteX701" fmla="*/ 30940 w 1187240"/>
                    <a:gd name="connsiteY701" fmla="*/ 349559 h 762309"/>
                    <a:gd name="connsiteX702" fmla="*/ 30989 w 1187240"/>
                    <a:gd name="connsiteY702" fmla="*/ 351817 h 762309"/>
                    <a:gd name="connsiteX703" fmla="*/ 31025 w 1187240"/>
                    <a:gd name="connsiteY703" fmla="*/ 352582 h 762309"/>
                    <a:gd name="connsiteX704" fmla="*/ 28026 w 1187240"/>
                    <a:gd name="connsiteY704" fmla="*/ 354076 h 762309"/>
                    <a:gd name="connsiteX705" fmla="*/ 27030 w 1187240"/>
                    <a:gd name="connsiteY705" fmla="*/ 354574 h 762309"/>
                    <a:gd name="connsiteX706" fmla="*/ 26277 w 1187240"/>
                    <a:gd name="connsiteY706" fmla="*/ 355387 h 762309"/>
                    <a:gd name="connsiteX707" fmla="*/ 25707 w 1187240"/>
                    <a:gd name="connsiteY707" fmla="*/ 356007 h 762309"/>
                    <a:gd name="connsiteX708" fmla="*/ 25112 w 1187240"/>
                    <a:gd name="connsiteY708" fmla="*/ 356650 h 762309"/>
                    <a:gd name="connsiteX709" fmla="*/ 24723 w 1187240"/>
                    <a:gd name="connsiteY709" fmla="*/ 357427 h 762309"/>
                    <a:gd name="connsiteX710" fmla="*/ 23909 w 1187240"/>
                    <a:gd name="connsiteY710" fmla="*/ 359079 h 762309"/>
                    <a:gd name="connsiteX711" fmla="*/ 21614 w 1187240"/>
                    <a:gd name="connsiteY711" fmla="*/ 364592 h 762309"/>
                    <a:gd name="connsiteX712" fmla="*/ 20995 w 1187240"/>
                    <a:gd name="connsiteY712" fmla="*/ 365004 h 762309"/>
                    <a:gd name="connsiteX713" fmla="*/ 19902 w 1187240"/>
                    <a:gd name="connsiteY713" fmla="*/ 365308 h 762309"/>
                    <a:gd name="connsiteX714" fmla="*/ 16745 w 1187240"/>
                    <a:gd name="connsiteY714" fmla="*/ 366207 h 762309"/>
                    <a:gd name="connsiteX715" fmla="*/ 15762 w 1187240"/>
                    <a:gd name="connsiteY715" fmla="*/ 369327 h 762309"/>
                    <a:gd name="connsiteX716" fmla="*/ 15361 w 1187240"/>
                    <a:gd name="connsiteY716" fmla="*/ 370651 h 762309"/>
                    <a:gd name="connsiteX717" fmla="*/ 14778 w 1187240"/>
                    <a:gd name="connsiteY717" fmla="*/ 372472 h 762309"/>
                    <a:gd name="connsiteX718" fmla="*/ 15361 w 1187240"/>
                    <a:gd name="connsiteY718" fmla="*/ 374294 h 762309"/>
                    <a:gd name="connsiteX719" fmla="*/ 15628 w 1187240"/>
                    <a:gd name="connsiteY719" fmla="*/ 375192 h 762309"/>
                    <a:gd name="connsiteX720" fmla="*/ 15324 w 1187240"/>
                    <a:gd name="connsiteY720" fmla="*/ 375290 h 762309"/>
                    <a:gd name="connsiteX721" fmla="*/ 11232 w 1187240"/>
                    <a:gd name="connsiteY721" fmla="*/ 376892 h 762309"/>
                    <a:gd name="connsiteX722" fmla="*/ 6254 w 1187240"/>
                    <a:gd name="connsiteY722" fmla="*/ 377961 h 762309"/>
                    <a:gd name="connsiteX723" fmla="*/ 1566 w 1187240"/>
                    <a:gd name="connsiteY723" fmla="*/ 378969 h 762309"/>
                    <a:gd name="connsiteX724" fmla="*/ 1457 w 1187240"/>
                    <a:gd name="connsiteY724" fmla="*/ 383765 h 762309"/>
                    <a:gd name="connsiteX725" fmla="*/ 1384 w 1187240"/>
                    <a:gd name="connsiteY725" fmla="*/ 387092 h 762309"/>
                    <a:gd name="connsiteX726" fmla="*/ 0 w 1187240"/>
                    <a:gd name="connsiteY726" fmla="*/ 390687 h 762309"/>
                    <a:gd name="connsiteX727" fmla="*/ 2951 w 1187240"/>
                    <a:gd name="connsiteY727" fmla="*/ 393480 h 762309"/>
                    <a:gd name="connsiteX728" fmla="*/ 3412 w 1187240"/>
                    <a:gd name="connsiteY728" fmla="*/ 393917 h 762309"/>
                    <a:gd name="connsiteX729" fmla="*/ 4177 w 1187240"/>
                    <a:gd name="connsiteY729" fmla="*/ 394658 h 762309"/>
                    <a:gd name="connsiteX730" fmla="*/ 5149 w 1187240"/>
                    <a:gd name="connsiteY730" fmla="*/ 395083 h 762309"/>
                    <a:gd name="connsiteX731" fmla="*/ 7456 w 1187240"/>
                    <a:gd name="connsiteY731" fmla="*/ 396091 h 762309"/>
                    <a:gd name="connsiteX732" fmla="*/ 8221 w 1187240"/>
                    <a:gd name="connsiteY732" fmla="*/ 396418 h 762309"/>
                    <a:gd name="connsiteX733" fmla="*/ 9046 w 1187240"/>
                    <a:gd name="connsiteY733" fmla="*/ 396528 h 762309"/>
                    <a:gd name="connsiteX734" fmla="*/ 10419 w 1187240"/>
                    <a:gd name="connsiteY734" fmla="*/ 396722 h 762309"/>
                    <a:gd name="connsiteX735" fmla="*/ 11086 w 1187240"/>
                    <a:gd name="connsiteY735" fmla="*/ 396819 h 762309"/>
                    <a:gd name="connsiteX736" fmla="*/ 11766 w 1187240"/>
                    <a:gd name="connsiteY736" fmla="*/ 396758 h 762309"/>
                    <a:gd name="connsiteX737" fmla="*/ 14013 w 1187240"/>
                    <a:gd name="connsiteY737" fmla="*/ 396564 h 762309"/>
                    <a:gd name="connsiteX738" fmla="*/ 14280 w 1187240"/>
                    <a:gd name="connsiteY738" fmla="*/ 397305 h 762309"/>
                    <a:gd name="connsiteX739" fmla="*/ 14972 w 1187240"/>
                    <a:gd name="connsiteY739" fmla="*/ 400086 h 762309"/>
                    <a:gd name="connsiteX740" fmla="*/ 15166 w 1187240"/>
                    <a:gd name="connsiteY740" fmla="*/ 400814 h 762309"/>
                    <a:gd name="connsiteX741" fmla="*/ 15531 w 1187240"/>
                    <a:gd name="connsiteY741" fmla="*/ 401482 h 762309"/>
                    <a:gd name="connsiteX742" fmla="*/ 17012 w 1187240"/>
                    <a:gd name="connsiteY742" fmla="*/ 404202 h 762309"/>
                    <a:gd name="connsiteX743" fmla="*/ 17194 w 1187240"/>
                    <a:gd name="connsiteY743" fmla="*/ 404530 h 762309"/>
                    <a:gd name="connsiteX744" fmla="*/ 17425 w 1187240"/>
                    <a:gd name="connsiteY744" fmla="*/ 404833 h 762309"/>
                    <a:gd name="connsiteX745" fmla="*/ 18907 w 1187240"/>
                    <a:gd name="connsiteY745" fmla="*/ 406898 h 762309"/>
                    <a:gd name="connsiteX746" fmla="*/ 18907 w 1187240"/>
                    <a:gd name="connsiteY746" fmla="*/ 406922 h 762309"/>
                    <a:gd name="connsiteX747" fmla="*/ 18627 w 1187240"/>
                    <a:gd name="connsiteY747" fmla="*/ 408500 h 762309"/>
                    <a:gd name="connsiteX748" fmla="*/ 18469 w 1187240"/>
                    <a:gd name="connsiteY748" fmla="*/ 409302 h 762309"/>
                    <a:gd name="connsiteX749" fmla="*/ 18542 w 1187240"/>
                    <a:gd name="connsiteY749" fmla="*/ 410116 h 762309"/>
                    <a:gd name="connsiteX750" fmla="*/ 18834 w 1187240"/>
                    <a:gd name="connsiteY750" fmla="*/ 413613 h 762309"/>
                    <a:gd name="connsiteX751" fmla="*/ 18943 w 1187240"/>
                    <a:gd name="connsiteY751" fmla="*/ 414912 h 762309"/>
                    <a:gd name="connsiteX752" fmla="*/ 19587 w 1187240"/>
                    <a:gd name="connsiteY752" fmla="*/ 416053 h 762309"/>
                    <a:gd name="connsiteX753" fmla="*/ 20619 w 1187240"/>
                    <a:gd name="connsiteY753" fmla="*/ 417899 h 762309"/>
                    <a:gd name="connsiteX754" fmla="*/ 20861 w 1187240"/>
                    <a:gd name="connsiteY754" fmla="*/ 418324 h 762309"/>
                    <a:gd name="connsiteX755" fmla="*/ 21153 w 1187240"/>
                    <a:gd name="connsiteY755" fmla="*/ 418701 h 762309"/>
                    <a:gd name="connsiteX756" fmla="*/ 24675 w 1187240"/>
                    <a:gd name="connsiteY756" fmla="*/ 423157 h 762309"/>
                    <a:gd name="connsiteX757" fmla="*/ 25865 w 1187240"/>
                    <a:gd name="connsiteY757" fmla="*/ 425331 h 762309"/>
                    <a:gd name="connsiteX758" fmla="*/ 26059 w 1187240"/>
                    <a:gd name="connsiteY758" fmla="*/ 425671 h 762309"/>
                    <a:gd name="connsiteX759" fmla="*/ 26301 w 1187240"/>
                    <a:gd name="connsiteY759" fmla="*/ 425986 h 762309"/>
                    <a:gd name="connsiteX760" fmla="*/ 27346 w 1187240"/>
                    <a:gd name="connsiteY760" fmla="*/ 427419 h 762309"/>
                    <a:gd name="connsiteX761" fmla="*/ 28463 w 1187240"/>
                    <a:gd name="connsiteY761" fmla="*/ 428949 h 762309"/>
                    <a:gd name="connsiteX762" fmla="*/ 30236 w 1187240"/>
                    <a:gd name="connsiteY762" fmla="*/ 429581 h 762309"/>
                    <a:gd name="connsiteX763" fmla="*/ 31365 w 1187240"/>
                    <a:gd name="connsiteY763" fmla="*/ 429981 h 762309"/>
                    <a:gd name="connsiteX764" fmla="*/ 33648 w 1187240"/>
                    <a:gd name="connsiteY764" fmla="*/ 430783 h 762309"/>
                    <a:gd name="connsiteX765" fmla="*/ 35664 w 1187240"/>
                    <a:gd name="connsiteY765" fmla="*/ 429884 h 762309"/>
                    <a:gd name="connsiteX766" fmla="*/ 68790 w 1187240"/>
                    <a:gd name="connsiteY766" fmla="*/ 455700 h 762309"/>
                    <a:gd name="connsiteX767" fmla="*/ 70453 w 1187240"/>
                    <a:gd name="connsiteY767" fmla="*/ 456987 h 762309"/>
                    <a:gd name="connsiteX768" fmla="*/ 72566 w 1187240"/>
                    <a:gd name="connsiteY768" fmla="*/ 456975 h 762309"/>
                    <a:gd name="connsiteX769" fmla="*/ 96634 w 1187240"/>
                    <a:gd name="connsiteY769" fmla="*/ 441906 h 762309"/>
                    <a:gd name="connsiteX770" fmla="*/ 97338 w 1187240"/>
                    <a:gd name="connsiteY770" fmla="*/ 440485 h 762309"/>
                    <a:gd name="connsiteX771" fmla="*/ 100641 w 1187240"/>
                    <a:gd name="connsiteY771" fmla="*/ 437413 h 762309"/>
                    <a:gd name="connsiteX772" fmla="*/ 111424 w 1187240"/>
                    <a:gd name="connsiteY772" fmla="*/ 436259 h 762309"/>
                    <a:gd name="connsiteX773" fmla="*/ 113245 w 1187240"/>
                    <a:gd name="connsiteY773" fmla="*/ 436271 h 762309"/>
                    <a:gd name="connsiteX774" fmla="*/ 114653 w 1187240"/>
                    <a:gd name="connsiteY774" fmla="*/ 436284 h 762309"/>
                    <a:gd name="connsiteX775" fmla="*/ 116730 w 1187240"/>
                    <a:gd name="connsiteY775" fmla="*/ 436296 h 762309"/>
                    <a:gd name="connsiteX776" fmla="*/ 129820 w 1187240"/>
                    <a:gd name="connsiteY776" fmla="*/ 432762 h 762309"/>
                    <a:gd name="connsiteX777" fmla="*/ 131921 w 1187240"/>
                    <a:gd name="connsiteY777" fmla="*/ 431560 h 762309"/>
                    <a:gd name="connsiteX778" fmla="*/ 138369 w 1187240"/>
                    <a:gd name="connsiteY778" fmla="*/ 428634 h 762309"/>
                    <a:gd name="connsiteX779" fmla="*/ 146201 w 1187240"/>
                    <a:gd name="connsiteY779" fmla="*/ 428087 h 762309"/>
                    <a:gd name="connsiteX780" fmla="*/ 150269 w 1187240"/>
                    <a:gd name="connsiteY780" fmla="*/ 428148 h 762309"/>
                    <a:gd name="connsiteX781" fmla="*/ 154592 w 1187240"/>
                    <a:gd name="connsiteY781" fmla="*/ 428196 h 762309"/>
                    <a:gd name="connsiteX782" fmla="*/ 166783 w 1187240"/>
                    <a:gd name="connsiteY782" fmla="*/ 427019 h 762309"/>
                    <a:gd name="connsiteX783" fmla="*/ 177530 w 1187240"/>
                    <a:gd name="connsiteY783" fmla="*/ 425343 h 762309"/>
                    <a:gd name="connsiteX784" fmla="*/ 183201 w 1187240"/>
                    <a:gd name="connsiteY784" fmla="*/ 427176 h 762309"/>
                    <a:gd name="connsiteX785" fmla="*/ 183553 w 1187240"/>
                    <a:gd name="connsiteY785" fmla="*/ 428658 h 762309"/>
                    <a:gd name="connsiteX786" fmla="*/ 188252 w 1187240"/>
                    <a:gd name="connsiteY786" fmla="*/ 437352 h 762309"/>
                    <a:gd name="connsiteX787" fmla="*/ 199776 w 1187240"/>
                    <a:gd name="connsiteY787" fmla="*/ 440716 h 762309"/>
                    <a:gd name="connsiteX788" fmla="*/ 205969 w 1187240"/>
                    <a:gd name="connsiteY788" fmla="*/ 439744 h 762309"/>
                    <a:gd name="connsiteX789" fmla="*/ 213594 w 1187240"/>
                    <a:gd name="connsiteY789" fmla="*/ 434025 h 762309"/>
                    <a:gd name="connsiteX790" fmla="*/ 218828 w 1187240"/>
                    <a:gd name="connsiteY790" fmla="*/ 430006 h 762309"/>
                    <a:gd name="connsiteX791" fmla="*/ 220540 w 1187240"/>
                    <a:gd name="connsiteY791" fmla="*/ 430734 h 762309"/>
                    <a:gd name="connsiteX792" fmla="*/ 221329 w 1187240"/>
                    <a:gd name="connsiteY792" fmla="*/ 432301 h 762309"/>
                    <a:gd name="connsiteX793" fmla="*/ 224863 w 1187240"/>
                    <a:gd name="connsiteY793" fmla="*/ 437571 h 762309"/>
                    <a:gd name="connsiteX794" fmla="*/ 233120 w 1187240"/>
                    <a:gd name="connsiteY794" fmla="*/ 442452 h 762309"/>
                    <a:gd name="connsiteX795" fmla="*/ 236763 w 1187240"/>
                    <a:gd name="connsiteY795" fmla="*/ 444225 h 762309"/>
                    <a:gd name="connsiteX796" fmla="*/ 239835 w 1187240"/>
                    <a:gd name="connsiteY796" fmla="*/ 446204 h 762309"/>
                    <a:gd name="connsiteX797" fmla="*/ 255257 w 1187240"/>
                    <a:gd name="connsiteY797" fmla="*/ 451875 h 762309"/>
                    <a:gd name="connsiteX798" fmla="*/ 258292 w 1187240"/>
                    <a:gd name="connsiteY798" fmla="*/ 452106 h 762309"/>
                    <a:gd name="connsiteX799" fmla="*/ 269039 w 1187240"/>
                    <a:gd name="connsiteY799" fmla="*/ 455433 h 762309"/>
                    <a:gd name="connsiteX800" fmla="*/ 270909 w 1187240"/>
                    <a:gd name="connsiteY800" fmla="*/ 457254 h 762309"/>
                    <a:gd name="connsiteX801" fmla="*/ 286671 w 1187240"/>
                    <a:gd name="connsiteY801" fmla="*/ 464479 h 762309"/>
                    <a:gd name="connsiteX802" fmla="*/ 286695 w 1187240"/>
                    <a:gd name="connsiteY802" fmla="*/ 464479 h 762309"/>
                    <a:gd name="connsiteX803" fmla="*/ 304035 w 1187240"/>
                    <a:gd name="connsiteY803" fmla="*/ 454364 h 762309"/>
                    <a:gd name="connsiteX804" fmla="*/ 304703 w 1187240"/>
                    <a:gd name="connsiteY804" fmla="*/ 453417 h 762309"/>
                    <a:gd name="connsiteX805" fmla="*/ 308734 w 1187240"/>
                    <a:gd name="connsiteY805" fmla="*/ 448366 h 762309"/>
                    <a:gd name="connsiteX806" fmla="*/ 309038 w 1187240"/>
                    <a:gd name="connsiteY806" fmla="*/ 448451 h 762309"/>
                    <a:gd name="connsiteX807" fmla="*/ 310167 w 1187240"/>
                    <a:gd name="connsiteY807" fmla="*/ 448378 h 762309"/>
                    <a:gd name="connsiteX808" fmla="*/ 318509 w 1187240"/>
                    <a:gd name="connsiteY808" fmla="*/ 445524 h 762309"/>
                    <a:gd name="connsiteX809" fmla="*/ 321982 w 1187240"/>
                    <a:gd name="connsiteY809" fmla="*/ 437061 h 762309"/>
                    <a:gd name="connsiteX810" fmla="*/ 322019 w 1187240"/>
                    <a:gd name="connsiteY810" fmla="*/ 436308 h 762309"/>
                    <a:gd name="connsiteX811" fmla="*/ 322638 w 1187240"/>
                    <a:gd name="connsiteY811" fmla="*/ 435774 h 762309"/>
                    <a:gd name="connsiteX812" fmla="*/ 326123 w 1187240"/>
                    <a:gd name="connsiteY812" fmla="*/ 431536 h 762309"/>
                    <a:gd name="connsiteX813" fmla="*/ 328442 w 1187240"/>
                    <a:gd name="connsiteY813" fmla="*/ 425294 h 762309"/>
                    <a:gd name="connsiteX814" fmla="*/ 333894 w 1187240"/>
                    <a:gd name="connsiteY814" fmla="*/ 417620 h 762309"/>
                    <a:gd name="connsiteX815" fmla="*/ 336675 w 1187240"/>
                    <a:gd name="connsiteY815" fmla="*/ 417243 h 762309"/>
                    <a:gd name="connsiteX816" fmla="*/ 344192 w 1187240"/>
                    <a:gd name="connsiteY816" fmla="*/ 421287 h 762309"/>
                    <a:gd name="connsiteX817" fmla="*/ 355630 w 1187240"/>
                    <a:gd name="connsiteY817" fmla="*/ 428124 h 762309"/>
                    <a:gd name="connsiteX818" fmla="*/ 362054 w 1187240"/>
                    <a:gd name="connsiteY818" fmla="*/ 429034 h 762309"/>
                    <a:gd name="connsiteX819" fmla="*/ 376528 w 1187240"/>
                    <a:gd name="connsiteY819" fmla="*/ 423485 h 762309"/>
                    <a:gd name="connsiteX820" fmla="*/ 381155 w 1187240"/>
                    <a:gd name="connsiteY820" fmla="*/ 420571 h 762309"/>
                    <a:gd name="connsiteX821" fmla="*/ 392521 w 1187240"/>
                    <a:gd name="connsiteY821" fmla="*/ 417304 h 762309"/>
                    <a:gd name="connsiteX822" fmla="*/ 409921 w 1187240"/>
                    <a:gd name="connsiteY822" fmla="*/ 410990 h 762309"/>
                    <a:gd name="connsiteX823" fmla="*/ 415325 w 1187240"/>
                    <a:gd name="connsiteY823" fmla="*/ 406388 h 762309"/>
                    <a:gd name="connsiteX824" fmla="*/ 422465 w 1187240"/>
                    <a:gd name="connsiteY824" fmla="*/ 401628 h 762309"/>
                    <a:gd name="connsiteX825" fmla="*/ 424080 w 1187240"/>
                    <a:gd name="connsiteY825" fmla="*/ 401069 h 762309"/>
                    <a:gd name="connsiteX826" fmla="*/ 433199 w 1187240"/>
                    <a:gd name="connsiteY826" fmla="*/ 398871 h 762309"/>
                    <a:gd name="connsiteX827" fmla="*/ 435980 w 1187240"/>
                    <a:gd name="connsiteY827" fmla="*/ 399272 h 762309"/>
                    <a:gd name="connsiteX828" fmla="*/ 439198 w 1187240"/>
                    <a:gd name="connsiteY828" fmla="*/ 408780 h 762309"/>
                    <a:gd name="connsiteX829" fmla="*/ 440813 w 1187240"/>
                    <a:gd name="connsiteY829" fmla="*/ 419939 h 762309"/>
                    <a:gd name="connsiteX830" fmla="*/ 442039 w 1187240"/>
                    <a:gd name="connsiteY830" fmla="*/ 422696 h 762309"/>
                    <a:gd name="connsiteX831" fmla="*/ 442950 w 1187240"/>
                    <a:gd name="connsiteY831" fmla="*/ 424784 h 762309"/>
                    <a:gd name="connsiteX832" fmla="*/ 441019 w 1187240"/>
                    <a:gd name="connsiteY832" fmla="*/ 428087 h 762309"/>
                    <a:gd name="connsiteX833" fmla="*/ 439003 w 1187240"/>
                    <a:gd name="connsiteY833" fmla="*/ 431184 h 762309"/>
                    <a:gd name="connsiteX834" fmla="*/ 429896 w 1187240"/>
                    <a:gd name="connsiteY834" fmla="*/ 452009 h 762309"/>
                    <a:gd name="connsiteX835" fmla="*/ 428500 w 1187240"/>
                    <a:gd name="connsiteY835" fmla="*/ 453551 h 762309"/>
                    <a:gd name="connsiteX836" fmla="*/ 425003 w 1187240"/>
                    <a:gd name="connsiteY836" fmla="*/ 457959 h 762309"/>
                    <a:gd name="connsiteX837" fmla="*/ 424675 w 1187240"/>
                    <a:gd name="connsiteY837" fmla="*/ 458578 h 762309"/>
                    <a:gd name="connsiteX838" fmla="*/ 424481 w 1187240"/>
                    <a:gd name="connsiteY838" fmla="*/ 459258 h 762309"/>
                    <a:gd name="connsiteX839" fmla="*/ 424298 w 1187240"/>
                    <a:gd name="connsiteY839" fmla="*/ 459890 h 762309"/>
                    <a:gd name="connsiteX840" fmla="*/ 426169 w 1187240"/>
                    <a:gd name="connsiteY840" fmla="*/ 474024 h 762309"/>
                    <a:gd name="connsiteX841" fmla="*/ 432726 w 1187240"/>
                    <a:gd name="connsiteY841" fmla="*/ 478286 h 762309"/>
                    <a:gd name="connsiteX842" fmla="*/ 432896 w 1187240"/>
                    <a:gd name="connsiteY842" fmla="*/ 478335 h 762309"/>
                    <a:gd name="connsiteX843" fmla="*/ 433017 w 1187240"/>
                    <a:gd name="connsiteY843" fmla="*/ 478456 h 762309"/>
                    <a:gd name="connsiteX844" fmla="*/ 437874 w 1187240"/>
                    <a:gd name="connsiteY844" fmla="*/ 483544 h 762309"/>
                    <a:gd name="connsiteX845" fmla="*/ 441602 w 1187240"/>
                    <a:gd name="connsiteY845" fmla="*/ 484333 h 762309"/>
                    <a:gd name="connsiteX846" fmla="*/ 448196 w 1187240"/>
                    <a:gd name="connsiteY846" fmla="*/ 482560 h 762309"/>
                    <a:gd name="connsiteX847" fmla="*/ 457425 w 1187240"/>
                    <a:gd name="connsiteY847" fmla="*/ 479585 h 762309"/>
                    <a:gd name="connsiteX848" fmla="*/ 464394 w 1187240"/>
                    <a:gd name="connsiteY848" fmla="*/ 479124 h 762309"/>
                    <a:gd name="connsiteX849" fmla="*/ 465888 w 1187240"/>
                    <a:gd name="connsiteY849" fmla="*/ 479172 h 762309"/>
                    <a:gd name="connsiteX850" fmla="*/ 467467 w 1187240"/>
                    <a:gd name="connsiteY850" fmla="*/ 479330 h 762309"/>
                    <a:gd name="connsiteX851" fmla="*/ 471255 w 1187240"/>
                    <a:gd name="connsiteY851" fmla="*/ 479598 h 762309"/>
                    <a:gd name="connsiteX852" fmla="*/ 479646 w 1187240"/>
                    <a:gd name="connsiteY852" fmla="*/ 476562 h 762309"/>
                    <a:gd name="connsiteX853" fmla="*/ 480666 w 1187240"/>
                    <a:gd name="connsiteY853" fmla="*/ 475784 h 762309"/>
                    <a:gd name="connsiteX854" fmla="*/ 484576 w 1187240"/>
                    <a:gd name="connsiteY854" fmla="*/ 473732 h 762309"/>
                    <a:gd name="connsiteX855" fmla="*/ 488802 w 1187240"/>
                    <a:gd name="connsiteY855" fmla="*/ 474485 h 762309"/>
                    <a:gd name="connsiteX856" fmla="*/ 488875 w 1187240"/>
                    <a:gd name="connsiteY856" fmla="*/ 474522 h 762309"/>
                    <a:gd name="connsiteX857" fmla="*/ 489360 w 1187240"/>
                    <a:gd name="connsiteY857" fmla="*/ 474825 h 762309"/>
                    <a:gd name="connsiteX858" fmla="*/ 495262 w 1187240"/>
                    <a:gd name="connsiteY858" fmla="*/ 479318 h 762309"/>
                    <a:gd name="connsiteX859" fmla="*/ 495650 w 1187240"/>
                    <a:gd name="connsiteY859" fmla="*/ 479731 h 762309"/>
                    <a:gd name="connsiteX860" fmla="*/ 496112 w 1187240"/>
                    <a:gd name="connsiteY860" fmla="*/ 480059 h 762309"/>
                    <a:gd name="connsiteX861" fmla="*/ 497496 w 1187240"/>
                    <a:gd name="connsiteY861" fmla="*/ 481625 h 762309"/>
                    <a:gd name="connsiteX862" fmla="*/ 500544 w 1187240"/>
                    <a:gd name="connsiteY862" fmla="*/ 484892 h 762309"/>
                    <a:gd name="connsiteX863" fmla="*/ 509554 w 1187240"/>
                    <a:gd name="connsiteY863" fmla="*/ 489858 h 762309"/>
                    <a:gd name="connsiteX864" fmla="*/ 510841 w 1187240"/>
                    <a:gd name="connsiteY864" fmla="*/ 490186 h 762309"/>
                    <a:gd name="connsiteX865" fmla="*/ 511388 w 1187240"/>
                    <a:gd name="connsiteY865" fmla="*/ 490332 h 762309"/>
                    <a:gd name="connsiteX866" fmla="*/ 511934 w 1187240"/>
                    <a:gd name="connsiteY866" fmla="*/ 490368 h 762309"/>
                    <a:gd name="connsiteX867" fmla="*/ 516609 w 1187240"/>
                    <a:gd name="connsiteY867" fmla="*/ 491145 h 762309"/>
                    <a:gd name="connsiteX868" fmla="*/ 520689 w 1187240"/>
                    <a:gd name="connsiteY868" fmla="*/ 492432 h 762309"/>
                    <a:gd name="connsiteX869" fmla="*/ 526166 w 1187240"/>
                    <a:gd name="connsiteY869" fmla="*/ 490162 h 762309"/>
                    <a:gd name="connsiteX870" fmla="*/ 526214 w 1187240"/>
                    <a:gd name="connsiteY870" fmla="*/ 490223 h 762309"/>
                    <a:gd name="connsiteX871" fmla="*/ 525073 w 1187240"/>
                    <a:gd name="connsiteY871" fmla="*/ 493404 h 762309"/>
                    <a:gd name="connsiteX872" fmla="*/ 524514 w 1187240"/>
                    <a:gd name="connsiteY872" fmla="*/ 494035 h 762309"/>
                    <a:gd name="connsiteX873" fmla="*/ 524150 w 1187240"/>
                    <a:gd name="connsiteY873" fmla="*/ 494788 h 762309"/>
                    <a:gd name="connsiteX874" fmla="*/ 523664 w 1187240"/>
                    <a:gd name="connsiteY874" fmla="*/ 495286 h 762309"/>
                    <a:gd name="connsiteX875" fmla="*/ 520374 w 1187240"/>
                    <a:gd name="connsiteY875" fmla="*/ 501734 h 762309"/>
                    <a:gd name="connsiteX876" fmla="*/ 522851 w 1187240"/>
                    <a:gd name="connsiteY876" fmla="*/ 512517 h 762309"/>
                    <a:gd name="connsiteX877" fmla="*/ 535163 w 1187240"/>
                    <a:gd name="connsiteY877" fmla="*/ 520094 h 762309"/>
                    <a:gd name="connsiteX878" fmla="*/ 538794 w 1187240"/>
                    <a:gd name="connsiteY878" fmla="*/ 521357 h 762309"/>
                    <a:gd name="connsiteX879" fmla="*/ 541575 w 1187240"/>
                    <a:gd name="connsiteY879" fmla="*/ 522778 h 762309"/>
                    <a:gd name="connsiteX880" fmla="*/ 544975 w 1187240"/>
                    <a:gd name="connsiteY880" fmla="*/ 524660 h 762309"/>
                    <a:gd name="connsiteX881" fmla="*/ 545764 w 1187240"/>
                    <a:gd name="connsiteY881" fmla="*/ 525231 h 762309"/>
                    <a:gd name="connsiteX882" fmla="*/ 546712 w 1187240"/>
                    <a:gd name="connsiteY882" fmla="*/ 525522 h 762309"/>
                    <a:gd name="connsiteX883" fmla="*/ 548849 w 1187240"/>
                    <a:gd name="connsiteY883" fmla="*/ 527404 h 762309"/>
                    <a:gd name="connsiteX884" fmla="*/ 549808 w 1187240"/>
                    <a:gd name="connsiteY884" fmla="*/ 528448 h 762309"/>
                    <a:gd name="connsiteX885" fmla="*/ 550731 w 1187240"/>
                    <a:gd name="connsiteY885" fmla="*/ 531181 h 762309"/>
                    <a:gd name="connsiteX886" fmla="*/ 550658 w 1187240"/>
                    <a:gd name="connsiteY886" fmla="*/ 532067 h 762309"/>
                    <a:gd name="connsiteX887" fmla="*/ 550840 w 1187240"/>
                    <a:gd name="connsiteY887" fmla="*/ 532941 h 762309"/>
                    <a:gd name="connsiteX888" fmla="*/ 553499 w 1187240"/>
                    <a:gd name="connsiteY888" fmla="*/ 541308 h 762309"/>
                    <a:gd name="connsiteX889" fmla="*/ 554811 w 1187240"/>
                    <a:gd name="connsiteY889" fmla="*/ 544392 h 762309"/>
                    <a:gd name="connsiteX890" fmla="*/ 555248 w 1187240"/>
                    <a:gd name="connsiteY890" fmla="*/ 545327 h 762309"/>
                    <a:gd name="connsiteX891" fmla="*/ 553985 w 1187240"/>
                    <a:gd name="connsiteY891" fmla="*/ 548922 h 762309"/>
                    <a:gd name="connsiteX892" fmla="*/ 553463 w 1187240"/>
                    <a:gd name="connsiteY892" fmla="*/ 550306 h 762309"/>
                    <a:gd name="connsiteX893" fmla="*/ 551520 w 1187240"/>
                    <a:gd name="connsiteY893" fmla="*/ 554714 h 762309"/>
                    <a:gd name="connsiteX894" fmla="*/ 551277 w 1187240"/>
                    <a:gd name="connsiteY894" fmla="*/ 554981 h 762309"/>
                    <a:gd name="connsiteX895" fmla="*/ 551071 w 1187240"/>
                    <a:gd name="connsiteY895" fmla="*/ 555272 h 762309"/>
                    <a:gd name="connsiteX896" fmla="*/ 549590 w 1187240"/>
                    <a:gd name="connsiteY896" fmla="*/ 556474 h 762309"/>
                    <a:gd name="connsiteX897" fmla="*/ 546615 w 1187240"/>
                    <a:gd name="connsiteY897" fmla="*/ 558818 h 762309"/>
                    <a:gd name="connsiteX898" fmla="*/ 545510 w 1187240"/>
                    <a:gd name="connsiteY898" fmla="*/ 559802 h 762309"/>
                    <a:gd name="connsiteX899" fmla="*/ 541551 w 1187240"/>
                    <a:gd name="connsiteY899" fmla="*/ 560979 h 762309"/>
                    <a:gd name="connsiteX900" fmla="*/ 535953 w 1187240"/>
                    <a:gd name="connsiteY900" fmla="*/ 564452 h 762309"/>
                    <a:gd name="connsiteX901" fmla="*/ 535370 w 1187240"/>
                    <a:gd name="connsiteY901" fmla="*/ 564926 h 762309"/>
                    <a:gd name="connsiteX902" fmla="*/ 530647 w 1187240"/>
                    <a:gd name="connsiteY902" fmla="*/ 568799 h 762309"/>
                    <a:gd name="connsiteX903" fmla="*/ 529080 w 1187240"/>
                    <a:gd name="connsiteY903" fmla="*/ 570269 h 762309"/>
                    <a:gd name="connsiteX904" fmla="*/ 528837 w 1187240"/>
                    <a:gd name="connsiteY904" fmla="*/ 570451 h 762309"/>
                    <a:gd name="connsiteX905" fmla="*/ 528412 w 1187240"/>
                    <a:gd name="connsiteY905" fmla="*/ 570524 h 762309"/>
                    <a:gd name="connsiteX906" fmla="*/ 522462 w 1187240"/>
                    <a:gd name="connsiteY906" fmla="*/ 572892 h 762309"/>
                    <a:gd name="connsiteX907" fmla="*/ 520167 w 1187240"/>
                    <a:gd name="connsiteY907" fmla="*/ 575430 h 762309"/>
                    <a:gd name="connsiteX908" fmla="*/ 519487 w 1187240"/>
                    <a:gd name="connsiteY908" fmla="*/ 575442 h 762309"/>
                    <a:gd name="connsiteX909" fmla="*/ 515723 w 1187240"/>
                    <a:gd name="connsiteY909" fmla="*/ 575247 h 762309"/>
                    <a:gd name="connsiteX910" fmla="*/ 514071 w 1187240"/>
                    <a:gd name="connsiteY910" fmla="*/ 575187 h 762309"/>
                    <a:gd name="connsiteX911" fmla="*/ 503701 w 1187240"/>
                    <a:gd name="connsiteY911" fmla="*/ 577494 h 762309"/>
                    <a:gd name="connsiteX912" fmla="*/ 498577 w 1187240"/>
                    <a:gd name="connsiteY912" fmla="*/ 578939 h 762309"/>
                    <a:gd name="connsiteX913" fmla="*/ 496088 w 1187240"/>
                    <a:gd name="connsiteY913" fmla="*/ 578817 h 762309"/>
                    <a:gd name="connsiteX914" fmla="*/ 489846 w 1187240"/>
                    <a:gd name="connsiteY914" fmla="*/ 580396 h 762309"/>
                    <a:gd name="connsiteX915" fmla="*/ 483726 w 1187240"/>
                    <a:gd name="connsiteY915" fmla="*/ 579582 h 762309"/>
                    <a:gd name="connsiteX916" fmla="*/ 468050 w 1187240"/>
                    <a:gd name="connsiteY916" fmla="*/ 594239 h 762309"/>
                    <a:gd name="connsiteX917" fmla="*/ 467479 w 1187240"/>
                    <a:gd name="connsiteY917" fmla="*/ 597845 h 762309"/>
                    <a:gd name="connsiteX918" fmla="*/ 470405 w 1187240"/>
                    <a:gd name="connsiteY918" fmla="*/ 600043 h 762309"/>
                    <a:gd name="connsiteX919" fmla="*/ 471146 w 1187240"/>
                    <a:gd name="connsiteY919" fmla="*/ 600590 h 762309"/>
                    <a:gd name="connsiteX920" fmla="*/ 472057 w 1187240"/>
                    <a:gd name="connsiteY920" fmla="*/ 600942 h 762309"/>
                    <a:gd name="connsiteX921" fmla="*/ 473089 w 1187240"/>
                    <a:gd name="connsiteY921" fmla="*/ 601306 h 762309"/>
                    <a:gd name="connsiteX922" fmla="*/ 474922 w 1187240"/>
                    <a:gd name="connsiteY922" fmla="*/ 601962 h 762309"/>
                    <a:gd name="connsiteX923" fmla="*/ 476793 w 1187240"/>
                    <a:gd name="connsiteY923" fmla="*/ 601427 h 762309"/>
                    <a:gd name="connsiteX924" fmla="*/ 476829 w 1187240"/>
                    <a:gd name="connsiteY924" fmla="*/ 601415 h 762309"/>
                    <a:gd name="connsiteX925" fmla="*/ 478444 w 1187240"/>
                    <a:gd name="connsiteY925" fmla="*/ 603467 h 762309"/>
                    <a:gd name="connsiteX926" fmla="*/ 478845 w 1187240"/>
                    <a:gd name="connsiteY926" fmla="*/ 603978 h 762309"/>
                    <a:gd name="connsiteX927" fmla="*/ 479355 w 1187240"/>
                    <a:gd name="connsiteY927" fmla="*/ 604390 h 762309"/>
                    <a:gd name="connsiteX928" fmla="*/ 482002 w 1187240"/>
                    <a:gd name="connsiteY928" fmla="*/ 606576 h 762309"/>
                    <a:gd name="connsiteX929" fmla="*/ 484673 w 1187240"/>
                    <a:gd name="connsiteY929" fmla="*/ 608446 h 762309"/>
                    <a:gd name="connsiteX930" fmla="*/ 485159 w 1187240"/>
                    <a:gd name="connsiteY930" fmla="*/ 608786 h 762309"/>
                    <a:gd name="connsiteX931" fmla="*/ 485718 w 1187240"/>
                    <a:gd name="connsiteY931" fmla="*/ 609029 h 762309"/>
                    <a:gd name="connsiteX932" fmla="*/ 488255 w 1187240"/>
                    <a:gd name="connsiteY932" fmla="*/ 610122 h 762309"/>
                    <a:gd name="connsiteX933" fmla="*/ 488705 w 1187240"/>
                    <a:gd name="connsiteY933" fmla="*/ 610316 h 762309"/>
                    <a:gd name="connsiteX934" fmla="*/ 489191 w 1187240"/>
                    <a:gd name="connsiteY934" fmla="*/ 610438 h 762309"/>
                    <a:gd name="connsiteX935" fmla="*/ 492566 w 1187240"/>
                    <a:gd name="connsiteY935" fmla="*/ 611275 h 762309"/>
                    <a:gd name="connsiteX936" fmla="*/ 492894 w 1187240"/>
                    <a:gd name="connsiteY936" fmla="*/ 611361 h 762309"/>
                    <a:gd name="connsiteX937" fmla="*/ 493222 w 1187240"/>
                    <a:gd name="connsiteY937" fmla="*/ 611397 h 762309"/>
                    <a:gd name="connsiteX938" fmla="*/ 501260 w 1187240"/>
                    <a:gd name="connsiteY938" fmla="*/ 612453 h 762309"/>
                    <a:gd name="connsiteX939" fmla="*/ 503483 w 1187240"/>
                    <a:gd name="connsiteY939" fmla="*/ 615489 h 762309"/>
                    <a:gd name="connsiteX940" fmla="*/ 504479 w 1187240"/>
                    <a:gd name="connsiteY940" fmla="*/ 616861 h 762309"/>
                    <a:gd name="connsiteX941" fmla="*/ 506057 w 1187240"/>
                    <a:gd name="connsiteY941" fmla="*/ 617517 h 762309"/>
                    <a:gd name="connsiteX942" fmla="*/ 510938 w 1187240"/>
                    <a:gd name="connsiteY942" fmla="*/ 619545 h 762309"/>
                    <a:gd name="connsiteX943" fmla="*/ 512845 w 1187240"/>
                    <a:gd name="connsiteY943" fmla="*/ 620662 h 762309"/>
                    <a:gd name="connsiteX944" fmla="*/ 513039 w 1187240"/>
                    <a:gd name="connsiteY944" fmla="*/ 621633 h 762309"/>
                    <a:gd name="connsiteX945" fmla="*/ 513319 w 1187240"/>
                    <a:gd name="connsiteY945" fmla="*/ 623018 h 762309"/>
                    <a:gd name="connsiteX946" fmla="*/ 513319 w 1187240"/>
                    <a:gd name="connsiteY946" fmla="*/ 627086 h 762309"/>
                    <a:gd name="connsiteX947" fmla="*/ 517860 w 1187240"/>
                    <a:gd name="connsiteY947" fmla="*/ 628349 h 762309"/>
                    <a:gd name="connsiteX948" fmla="*/ 519293 w 1187240"/>
                    <a:gd name="connsiteY948" fmla="*/ 628725 h 762309"/>
                    <a:gd name="connsiteX949" fmla="*/ 519523 w 1187240"/>
                    <a:gd name="connsiteY949" fmla="*/ 628810 h 762309"/>
                    <a:gd name="connsiteX950" fmla="*/ 520604 w 1187240"/>
                    <a:gd name="connsiteY950" fmla="*/ 629575 h 762309"/>
                    <a:gd name="connsiteX951" fmla="*/ 521503 w 1187240"/>
                    <a:gd name="connsiteY951" fmla="*/ 630231 h 762309"/>
                    <a:gd name="connsiteX952" fmla="*/ 516730 w 1187240"/>
                    <a:gd name="connsiteY952" fmla="*/ 632623 h 762309"/>
                    <a:gd name="connsiteX953" fmla="*/ 528801 w 1187240"/>
                    <a:gd name="connsiteY953" fmla="*/ 637759 h 762309"/>
                    <a:gd name="connsiteX954" fmla="*/ 532383 w 1187240"/>
                    <a:gd name="connsiteY954" fmla="*/ 639277 h 762309"/>
                    <a:gd name="connsiteX955" fmla="*/ 532492 w 1187240"/>
                    <a:gd name="connsiteY955" fmla="*/ 639386 h 762309"/>
                    <a:gd name="connsiteX956" fmla="*/ 533111 w 1187240"/>
                    <a:gd name="connsiteY956" fmla="*/ 640734 h 762309"/>
                    <a:gd name="connsiteX957" fmla="*/ 533367 w 1187240"/>
                    <a:gd name="connsiteY957" fmla="*/ 642252 h 762309"/>
                    <a:gd name="connsiteX958" fmla="*/ 532638 w 1187240"/>
                    <a:gd name="connsiteY958" fmla="*/ 643321 h 762309"/>
                    <a:gd name="connsiteX959" fmla="*/ 528230 w 1187240"/>
                    <a:gd name="connsiteY959" fmla="*/ 644438 h 762309"/>
                    <a:gd name="connsiteX960" fmla="*/ 519900 w 1187240"/>
                    <a:gd name="connsiteY960" fmla="*/ 647146 h 762309"/>
                    <a:gd name="connsiteX961" fmla="*/ 517071 w 1187240"/>
                    <a:gd name="connsiteY961" fmla="*/ 645446 h 762309"/>
                    <a:gd name="connsiteX962" fmla="*/ 504393 w 1187240"/>
                    <a:gd name="connsiteY962" fmla="*/ 637954 h 762309"/>
                    <a:gd name="connsiteX963" fmla="*/ 502973 w 1187240"/>
                    <a:gd name="connsiteY963" fmla="*/ 637116 h 762309"/>
                    <a:gd name="connsiteX964" fmla="*/ 502220 w 1187240"/>
                    <a:gd name="connsiteY964" fmla="*/ 637116 h 762309"/>
                    <a:gd name="connsiteX965" fmla="*/ 496015 w 1187240"/>
                    <a:gd name="connsiteY965" fmla="*/ 635088 h 762309"/>
                    <a:gd name="connsiteX966" fmla="*/ 493841 w 1187240"/>
                    <a:gd name="connsiteY966" fmla="*/ 634371 h 762309"/>
                    <a:gd name="connsiteX967" fmla="*/ 491740 w 1187240"/>
                    <a:gd name="connsiteY967" fmla="*/ 635270 h 762309"/>
                    <a:gd name="connsiteX968" fmla="*/ 486288 w 1187240"/>
                    <a:gd name="connsiteY968" fmla="*/ 637601 h 762309"/>
                    <a:gd name="connsiteX969" fmla="*/ 483702 w 1187240"/>
                    <a:gd name="connsiteY969" fmla="*/ 638706 h 762309"/>
                    <a:gd name="connsiteX970" fmla="*/ 482876 w 1187240"/>
                    <a:gd name="connsiteY970" fmla="*/ 641390 h 762309"/>
                    <a:gd name="connsiteX971" fmla="*/ 481844 w 1187240"/>
                    <a:gd name="connsiteY971" fmla="*/ 644717 h 762309"/>
                    <a:gd name="connsiteX972" fmla="*/ 481370 w 1187240"/>
                    <a:gd name="connsiteY972" fmla="*/ 646235 h 762309"/>
                    <a:gd name="connsiteX973" fmla="*/ 481698 w 1187240"/>
                    <a:gd name="connsiteY973" fmla="*/ 647777 h 762309"/>
                    <a:gd name="connsiteX974" fmla="*/ 482451 w 1187240"/>
                    <a:gd name="connsiteY974" fmla="*/ 651286 h 762309"/>
                    <a:gd name="connsiteX975" fmla="*/ 483071 w 1187240"/>
                    <a:gd name="connsiteY975" fmla="*/ 654152 h 762309"/>
                    <a:gd name="connsiteX976" fmla="*/ 483629 w 1187240"/>
                    <a:gd name="connsiteY976" fmla="*/ 654431 h 762309"/>
                    <a:gd name="connsiteX977" fmla="*/ 484953 w 1187240"/>
                    <a:gd name="connsiteY977" fmla="*/ 657831 h 762309"/>
                    <a:gd name="connsiteX978" fmla="*/ 485171 w 1187240"/>
                    <a:gd name="connsiteY978" fmla="*/ 659896 h 762309"/>
                    <a:gd name="connsiteX979" fmla="*/ 485086 w 1187240"/>
                    <a:gd name="connsiteY979" fmla="*/ 662215 h 762309"/>
                    <a:gd name="connsiteX980" fmla="*/ 484770 w 1187240"/>
                    <a:gd name="connsiteY980" fmla="*/ 664328 h 762309"/>
                    <a:gd name="connsiteX981" fmla="*/ 475432 w 1187240"/>
                    <a:gd name="connsiteY981" fmla="*/ 689731 h 762309"/>
                    <a:gd name="connsiteX982" fmla="*/ 475299 w 1187240"/>
                    <a:gd name="connsiteY982" fmla="*/ 690095 h 762309"/>
                    <a:gd name="connsiteX983" fmla="*/ 475214 w 1187240"/>
                    <a:gd name="connsiteY983" fmla="*/ 690472 h 762309"/>
                    <a:gd name="connsiteX984" fmla="*/ 473453 w 1187240"/>
                    <a:gd name="connsiteY984" fmla="*/ 698219 h 762309"/>
                    <a:gd name="connsiteX985" fmla="*/ 473150 w 1187240"/>
                    <a:gd name="connsiteY985" fmla="*/ 700405 h 762309"/>
                    <a:gd name="connsiteX986" fmla="*/ 472907 w 1187240"/>
                    <a:gd name="connsiteY986" fmla="*/ 702287 h 762309"/>
                    <a:gd name="connsiteX987" fmla="*/ 473781 w 1187240"/>
                    <a:gd name="connsiteY987" fmla="*/ 703962 h 762309"/>
                    <a:gd name="connsiteX988" fmla="*/ 474097 w 1187240"/>
                    <a:gd name="connsiteY988" fmla="*/ 704582 h 762309"/>
                    <a:gd name="connsiteX989" fmla="*/ 474485 w 1187240"/>
                    <a:gd name="connsiteY989" fmla="*/ 705347 h 762309"/>
                    <a:gd name="connsiteX990" fmla="*/ 475092 w 1187240"/>
                    <a:gd name="connsiteY990" fmla="*/ 705978 h 762309"/>
                    <a:gd name="connsiteX991" fmla="*/ 481625 w 1187240"/>
                    <a:gd name="connsiteY991" fmla="*/ 710993 h 762309"/>
                    <a:gd name="connsiteX992" fmla="*/ 484103 w 1187240"/>
                    <a:gd name="connsiteY992" fmla="*/ 712645 h 762309"/>
                    <a:gd name="connsiteX993" fmla="*/ 485705 w 1187240"/>
                    <a:gd name="connsiteY993" fmla="*/ 717890 h 762309"/>
                    <a:gd name="connsiteX994" fmla="*/ 490028 w 1187240"/>
                    <a:gd name="connsiteY994" fmla="*/ 729341 h 762309"/>
                    <a:gd name="connsiteX995" fmla="*/ 490575 w 1187240"/>
                    <a:gd name="connsiteY995" fmla="*/ 735911 h 762309"/>
                    <a:gd name="connsiteX996" fmla="*/ 491959 w 1187240"/>
                    <a:gd name="connsiteY996" fmla="*/ 747519 h 762309"/>
                    <a:gd name="connsiteX997" fmla="*/ 497290 w 1187240"/>
                    <a:gd name="connsiteY997" fmla="*/ 754866 h 762309"/>
                    <a:gd name="connsiteX998" fmla="*/ 498601 w 1187240"/>
                    <a:gd name="connsiteY998" fmla="*/ 756116 h 762309"/>
                    <a:gd name="connsiteX999" fmla="*/ 500386 w 1187240"/>
                    <a:gd name="connsiteY999" fmla="*/ 756444 h 762309"/>
                    <a:gd name="connsiteX1000" fmla="*/ 509239 w 1187240"/>
                    <a:gd name="connsiteY1000" fmla="*/ 758047 h 762309"/>
                    <a:gd name="connsiteX1001" fmla="*/ 512481 w 1187240"/>
                    <a:gd name="connsiteY1001" fmla="*/ 758339 h 762309"/>
                    <a:gd name="connsiteX1002" fmla="*/ 535746 w 1187240"/>
                    <a:gd name="connsiteY1002" fmla="*/ 741472 h 762309"/>
                    <a:gd name="connsiteX1003" fmla="*/ 537556 w 1187240"/>
                    <a:gd name="connsiteY1003" fmla="*/ 738533 h 762309"/>
                    <a:gd name="connsiteX1004" fmla="*/ 538904 w 1187240"/>
                    <a:gd name="connsiteY1004" fmla="*/ 736421 h 762309"/>
                    <a:gd name="connsiteX1005" fmla="*/ 542037 w 1187240"/>
                    <a:gd name="connsiteY1005" fmla="*/ 744216 h 762309"/>
                    <a:gd name="connsiteX1006" fmla="*/ 558417 w 1187240"/>
                    <a:gd name="connsiteY1006" fmla="*/ 762309 h 762309"/>
                    <a:gd name="connsiteX1007" fmla="*/ 561611 w 1187240"/>
                    <a:gd name="connsiteY1007" fmla="*/ 762018 h 762309"/>
                    <a:gd name="connsiteX1008" fmla="*/ 572491 w 1187240"/>
                    <a:gd name="connsiteY1008" fmla="*/ 753202 h 762309"/>
                    <a:gd name="connsiteX1009" fmla="*/ 575175 w 1187240"/>
                    <a:gd name="connsiteY1009" fmla="*/ 749875 h 762309"/>
                    <a:gd name="connsiteX1010" fmla="*/ 589831 w 1187240"/>
                    <a:gd name="connsiteY1010" fmla="*/ 730094 h 762309"/>
                    <a:gd name="connsiteX1011" fmla="*/ 592587 w 1187240"/>
                    <a:gd name="connsiteY1011" fmla="*/ 725419 h 762309"/>
                    <a:gd name="connsiteX1012" fmla="*/ 595975 w 1187240"/>
                    <a:gd name="connsiteY1012" fmla="*/ 718935 h 762309"/>
                    <a:gd name="connsiteX1013" fmla="*/ 606613 w 1187240"/>
                    <a:gd name="connsiteY1013" fmla="*/ 705784 h 762309"/>
                    <a:gd name="connsiteX1014" fmla="*/ 607657 w 1187240"/>
                    <a:gd name="connsiteY1014" fmla="*/ 705748 h 762309"/>
                    <a:gd name="connsiteX1015" fmla="*/ 613558 w 1187240"/>
                    <a:gd name="connsiteY1015" fmla="*/ 706330 h 762309"/>
                    <a:gd name="connsiteX1016" fmla="*/ 614202 w 1187240"/>
                    <a:gd name="connsiteY1016" fmla="*/ 706792 h 762309"/>
                    <a:gd name="connsiteX1017" fmla="*/ 618452 w 1187240"/>
                    <a:gd name="connsiteY1017" fmla="*/ 710289 h 762309"/>
                    <a:gd name="connsiteX1018" fmla="*/ 635258 w 1187240"/>
                    <a:gd name="connsiteY1018" fmla="*/ 714503 h 762309"/>
                    <a:gd name="connsiteX1019" fmla="*/ 637262 w 1187240"/>
                    <a:gd name="connsiteY1019" fmla="*/ 714745 h 762309"/>
                    <a:gd name="connsiteX1020" fmla="*/ 641815 w 1187240"/>
                    <a:gd name="connsiteY1020" fmla="*/ 715304 h 762309"/>
                    <a:gd name="connsiteX1021" fmla="*/ 643600 w 1187240"/>
                    <a:gd name="connsiteY1021" fmla="*/ 711078 h 762309"/>
                    <a:gd name="connsiteX1022" fmla="*/ 645689 w 1187240"/>
                    <a:gd name="connsiteY1022" fmla="*/ 706136 h 762309"/>
                    <a:gd name="connsiteX1023" fmla="*/ 646077 w 1187240"/>
                    <a:gd name="connsiteY1023" fmla="*/ 705201 h 762309"/>
                    <a:gd name="connsiteX1024" fmla="*/ 646150 w 1187240"/>
                    <a:gd name="connsiteY1024" fmla="*/ 704205 h 762309"/>
                    <a:gd name="connsiteX1025" fmla="*/ 645689 w 1187240"/>
                    <a:gd name="connsiteY1025" fmla="*/ 698316 h 762309"/>
                    <a:gd name="connsiteX1026" fmla="*/ 645397 w 1187240"/>
                    <a:gd name="connsiteY1026" fmla="*/ 696191 h 762309"/>
                    <a:gd name="connsiteX1027" fmla="*/ 649222 w 1187240"/>
                    <a:gd name="connsiteY1027" fmla="*/ 692694 h 762309"/>
                    <a:gd name="connsiteX1028" fmla="*/ 649696 w 1187240"/>
                    <a:gd name="connsiteY1028" fmla="*/ 692342 h 762309"/>
                    <a:gd name="connsiteX1029" fmla="*/ 650133 w 1187240"/>
                    <a:gd name="connsiteY1029" fmla="*/ 691856 h 762309"/>
                    <a:gd name="connsiteX1030" fmla="*/ 658050 w 1187240"/>
                    <a:gd name="connsiteY1030" fmla="*/ 669926 h 762309"/>
                    <a:gd name="connsiteX1031" fmla="*/ 658038 w 1187240"/>
                    <a:gd name="connsiteY1031" fmla="*/ 665494 h 762309"/>
                    <a:gd name="connsiteX1032" fmla="*/ 658001 w 1187240"/>
                    <a:gd name="connsiteY1032" fmla="*/ 661778 h 762309"/>
                    <a:gd name="connsiteX1033" fmla="*/ 659143 w 1187240"/>
                    <a:gd name="connsiteY1033" fmla="*/ 654359 h 762309"/>
                    <a:gd name="connsiteX1034" fmla="*/ 659350 w 1187240"/>
                    <a:gd name="connsiteY1034" fmla="*/ 653703 h 762309"/>
                    <a:gd name="connsiteX1035" fmla="*/ 659410 w 1187240"/>
                    <a:gd name="connsiteY1035" fmla="*/ 653023 h 762309"/>
                    <a:gd name="connsiteX1036" fmla="*/ 660297 w 1187240"/>
                    <a:gd name="connsiteY1036" fmla="*/ 647874 h 762309"/>
                    <a:gd name="connsiteX1037" fmla="*/ 660418 w 1187240"/>
                    <a:gd name="connsiteY1037" fmla="*/ 647571 h 762309"/>
                    <a:gd name="connsiteX1038" fmla="*/ 660600 w 1187240"/>
                    <a:gd name="connsiteY1038" fmla="*/ 647364 h 762309"/>
                    <a:gd name="connsiteX1039" fmla="*/ 661826 w 1187240"/>
                    <a:gd name="connsiteY1039" fmla="*/ 645883 h 762309"/>
                    <a:gd name="connsiteX1040" fmla="*/ 663964 w 1187240"/>
                    <a:gd name="connsiteY1040" fmla="*/ 642471 h 762309"/>
                    <a:gd name="connsiteX1041" fmla="*/ 664316 w 1187240"/>
                    <a:gd name="connsiteY1041" fmla="*/ 641791 h 762309"/>
                    <a:gd name="connsiteX1042" fmla="*/ 665372 w 1187240"/>
                    <a:gd name="connsiteY1042" fmla="*/ 641001 h 762309"/>
                    <a:gd name="connsiteX1043" fmla="*/ 665579 w 1187240"/>
                    <a:gd name="connsiteY1043" fmla="*/ 640273 h 762309"/>
                    <a:gd name="connsiteX1044" fmla="*/ 669489 w 1187240"/>
                    <a:gd name="connsiteY1044" fmla="*/ 635986 h 762309"/>
                    <a:gd name="connsiteX1045" fmla="*/ 671553 w 1187240"/>
                    <a:gd name="connsiteY1045" fmla="*/ 634043 h 762309"/>
                    <a:gd name="connsiteX1046" fmla="*/ 671808 w 1187240"/>
                    <a:gd name="connsiteY1046" fmla="*/ 633789 h 762309"/>
                    <a:gd name="connsiteX1047" fmla="*/ 672039 w 1187240"/>
                    <a:gd name="connsiteY1047" fmla="*/ 633497 h 762309"/>
                    <a:gd name="connsiteX1048" fmla="*/ 678620 w 1187240"/>
                    <a:gd name="connsiteY1048" fmla="*/ 627013 h 762309"/>
                    <a:gd name="connsiteX1049" fmla="*/ 687400 w 1187240"/>
                    <a:gd name="connsiteY1049" fmla="*/ 616254 h 762309"/>
                    <a:gd name="connsiteX1050" fmla="*/ 691091 w 1187240"/>
                    <a:gd name="connsiteY1050" fmla="*/ 603795 h 762309"/>
                    <a:gd name="connsiteX1051" fmla="*/ 691941 w 1187240"/>
                    <a:gd name="connsiteY1051" fmla="*/ 598720 h 762309"/>
                    <a:gd name="connsiteX1052" fmla="*/ 694746 w 1187240"/>
                    <a:gd name="connsiteY1052" fmla="*/ 589467 h 762309"/>
                    <a:gd name="connsiteX1053" fmla="*/ 696677 w 1187240"/>
                    <a:gd name="connsiteY1053" fmla="*/ 583189 h 762309"/>
                    <a:gd name="connsiteX1054" fmla="*/ 715486 w 1187240"/>
                    <a:gd name="connsiteY1054" fmla="*/ 551702 h 762309"/>
                    <a:gd name="connsiteX1055" fmla="*/ 717720 w 1187240"/>
                    <a:gd name="connsiteY1055" fmla="*/ 549735 h 762309"/>
                    <a:gd name="connsiteX1056" fmla="*/ 725395 w 1187240"/>
                    <a:gd name="connsiteY1056" fmla="*/ 537665 h 762309"/>
                    <a:gd name="connsiteX1057" fmla="*/ 717441 w 1187240"/>
                    <a:gd name="connsiteY1057" fmla="*/ 527768 h 762309"/>
                    <a:gd name="connsiteX1058" fmla="*/ 714891 w 1187240"/>
                    <a:gd name="connsiteY1058" fmla="*/ 525850 h 762309"/>
                    <a:gd name="connsiteX1059" fmla="*/ 713798 w 1187240"/>
                    <a:gd name="connsiteY1059" fmla="*/ 522559 h 762309"/>
                    <a:gd name="connsiteX1060" fmla="*/ 711370 w 1187240"/>
                    <a:gd name="connsiteY1060" fmla="*/ 515698 h 762309"/>
                    <a:gd name="connsiteX1061" fmla="*/ 704230 w 1187240"/>
                    <a:gd name="connsiteY1061" fmla="*/ 509153 h 762309"/>
                    <a:gd name="connsiteX1062" fmla="*/ 701182 w 1187240"/>
                    <a:gd name="connsiteY1062" fmla="*/ 506919 h 762309"/>
                    <a:gd name="connsiteX1063" fmla="*/ 699251 w 1187240"/>
                    <a:gd name="connsiteY1063" fmla="*/ 502268 h 762309"/>
                    <a:gd name="connsiteX1064" fmla="*/ 702396 w 1187240"/>
                    <a:gd name="connsiteY1064" fmla="*/ 502863 h 762309"/>
                    <a:gd name="connsiteX1065" fmla="*/ 705833 w 1187240"/>
                    <a:gd name="connsiteY1065" fmla="*/ 502135 h 762309"/>
                    <a:gd name="connsiteX1066" fmla="*/ 708492 w 1187240"/>
                    <a:gd name="connsiteY1066" fmla="*/ 501115 h 762309"/>
                    <a:gd name="connsiteX1067" fmla="*/ 717502 w 1187240"/>
                    <a:gd name="connsiteY1067" fmla="*/ 496938 h 762309"/>
                    <a:gd name="connsiteX1068" fmla="*/ 721873 w 1187240"/>
                    <a:gd name="connsiteY1068" fmla="*/ 489967 h 762309"/>
                    <a:gd name="connsiteX1069" fmla="*/ 722675 w 1187240"/>
                    <a:gd name="connsiteY1069" fmla="*/ 488098 h 762309"/>
                    <a:gd name="connsiteX1070" fmla="*/ 725601 w 1187240"/>
                    <a:gd name="connsiteY1070" fmla="*/ 484649 h 762309"/>
                    <a:gd name="connsiteX1071" fmla="*/ 732425 w 1187240"/>
                    <a:gd name="connsiteY1071" fmla="*/ 473259 h 762309"/>
                    <a:gd name="connsiteX1072" fmla="*/ 738946 w 1187240"/>
                    <a:gd name="connsiteY1072" fmla="*/ 462804 h 762309"/>
                    <a:gd name="connsiteX1073" fmla="*/ 745795 w 1187240"/>
                    <a:gd name="connsiteY1073" fmla="*/ 450345 h 762309"/>
                    <a:gd name="connsiteX1074" fmla="*/ 746815 w 1187240"/>
                    <a:gd name="connsiteY1074" fmla="*/ 446848 h 762309"/>
                    <a:gd name="connsiteX1075" fmla="*/ 763354 w 1187240"/>
                    <a:gd name="connsiteY1075" fmla="*/ 429896 h 762309"/>
                    <a:gd name="connsiteX1076" fmla="*/ 763366 w 1187240"/>
                    <a:gd name="connsiteY1076" fmla="*/ 429896 h 762309"/>
                    <a:gd name="connsiteX1077" fmla="*/ 769146 w 1187240"/>
                    <a:gd name="connsiteY1077" fmla="*/ 432495 h 762309"/>
                    <a:gd name="connsiteX1078" fmla="*/ 777500 w 1187240"/>
                    <a:gd name="connsiteY1078" fmla="*/ 436624 h 762309"/>
                    <a:gd name="connsiteX1079" fmla="*/ 784264 w 1187240"/>
                    <a:gd name="connsiteY1079" fmla="*/ 437340 h 762309"/>
                    <a:gd name="connsiteX1080" fmla="*/ 798386 w 1187240"/>
                    <a:gd name="connsiteY1080" fmla="*/ 435130 h 762309"/>
                    <a:gd name="connsiteX1081" fmla="*/ 811428 w 1187240"/>
                    <a:gd name="connsiteY1081" fmla="*/ 420012 h 762309"/>
                    <a:gd name="connsiteX1082" fmla="*/ 811512 w 1187240"/>
                    <a:gd name="connsiteY1082" fmla="*/ 418810 h 762309"/>
                    <a:gd name="connsiteX1083" fmla="*/ 811853 w 1187240"/>
                    <a:gd name="connsiteY1083" fmla="*/ 414402 h 762309"/>
                    <a:gd name="connsiteX1084" fmla="*/ 818823 w 1187240"/>
                    <a:gd name="connsiteY1084" fmla="*/ 374306 h 762309"/>
                    <a:gd name="connsiteX1085" fmla="*/ 819236 w 1187240"/>
                    <a:gd name="connsiteY1085" fmla="*/ 373468 h 762309"/>
                    <a:gd name="connsiteX1086" fmla="*/ 827784 w 1187240"/>
                    <a:gd name="connsiteY1086" fmla="*/ 361823 h 762309"/>
                    <a:gd name="connsiteX1087" fmla="*/ 839089 w 1187240"/>
                    <a:gd name="connsiteY1087" fmla="*/ 340172 h 762309"/>
                    <a:gd name="connsiteX1088" fmla="*/ 841530 w 1187240"/>
                    <a:gd name="connsiteY1088" fmla="*/ 331696 h 762309"/>
                    <a:gd name="connsiteX1089" fmla="*/ 843485 w 1187240"/>
                    <a:gd name="connsiteY1089" fmla="*/ 324411 h 762309"/>
                    <a:gd name="connsiteX1090" fmla="*/ 845233 w 1187240"/>
                    <a:gd name="connsiteY1090" fmla="*/ 318788 h 762309"/>
                    <a:gd name="connsiteX1091" fmla="*/ 850649 w 1187240"/>
                    <a:gd name="connsiteY1091" fmla="*/ 314101 h 762309"/>
                    <a:gd name="connsiteX1092" fmla="*/ 851900 w 1187240"/>
                    <a:gd name="connsiteY1092" fmla="*/ 314271 h 762309"/>
                    <a:gd name="connsiteX1093" fmla="*/ 852507 w 1187240"/>
                    <a:gd name="connsiteY1093" fmla="*/ 314842 h 762309"/>
                    <a:gd name="connsiteX1094" fmla="*/ 858833 w 1187240"/>
                    <a:gd name="connsiteY1094" fmla="*/ 317841 h 762309"/>
                    <a:gd name="connsiteX1095" fmla="*/ 861797 w 1187240"/>
                    <a:gd name="connsiteY1095" fmla="*/ 318072 h 762309"/>
                    <a:gd name="connsiteX1096" fmla="*/ 868876 w 1187240"/>
                    <a:gd name="connsiteY1096" fmla="*/ 314028 h 762309"/>
                    <a:gd name="connsiteX1097" fmla="*/ 869677 w 1187240"/>
                    <a:gd name="connsiteY1097" fmla="*/ 313045 h 762309"/>
                    <a:gd name="connsiteX1098" fmla="*/ 872325 w 1187240"/>
                    <a:gd name="connsiteY1098" fmla="*/ 310774 h 762309"/>
                    <a:gd name="connsiteX1099" fmla="*/ 881687 w 1187240"/>
                    <a:gd name="connsiteY1099" fmla="*/ 300149 h 762309"/>
                    <a:gd name="connsiteX1100" fmla="*/ 884079 w 1187240"/>
                    <a:gd name="connsiteY1100" fmla="*/ 291248 h 762309"/>
                    <a:gd name="connsiteX1101" fmla="*/ 885317 w 1187240"/>
                    <a:gd name="connsiteY1101" fmla="*/ 286027 h 762309"/>
                    <a:gd name="connsiteX1102" fmla="*/ 891255 w 1187240"/>
                    <a:gd name="connsiteY1102" fmla="*/ 281655 h 762309"/>
                    <a:gd name="connsiteX1103" fmla="*/ 897096 w 1187240"/>
                    <a:gd name="connsiteY1103" fmla="*/ 277551 h 762309"/>
                    <a:gd name="connsiteX1104" fmla="*/ 909397 w 1187240"/>
                    <a:gd name="connsiteY1104" fmla="*/ 269852 h 762309"/>
                    <a:gd name="connsiteX1105" fmla="*/ 917848 w 1187240"/>
                    <a:gd name="connsiteY1105" fmla="*/ 264558 h 762309"/>
                    <a:gd name="connsiteX1106" fmla="*/ 925195 w 1187240"/>
                    <a:gd name="connsiteY1106" fmla="*/ 259968 h 762309"/>
                    <a:gd name="connsiteX1107" fmla="*/ 940677 w 1187240"/>
                    <a:gd name="connsiteY1107" fmla="*/ 253411 h 762309"/>
                    <a:gd name="connsiteX1108" fmla="*/ 964550 w 1187240"/>
                    <a:gd name="connsiteY1108" fmla="*/ 240612 h 762309"/>
                    <a:gd name="connsiteX1109" fmla="*/ 970427 w 1187240"/>
                    <a:gd name="connsiteY1109" fmla="*/ 235707 h 762309"/>
                    <a:gd name="connsiteX1110" fmla="*/ 979267 w 1187240"/>
                    <a:gd name="connsiteY1110" fmla="*/ 229247 h 762309"/>
                    <a:gd name="connsiteX1111" fmla="*/ 984294 w 1187240"/>
                    <a:gd name="connsiteY1111" fmla="*/ 227206 h 762309"/>
                    <a:gd name="connsiteX1112" fmla="*/ 993353 w 1187240"/>
                    <a:gd name="connsiteY1112" fmla="*/ 223442 h 762309"/>
                    <a:gd name="connsiteX1113" fmla="*/ 1001659 w 1187240"/>
                    <a:gd name="connsiteY1113" fmla="*/ 219034 h 762309"/>
                    <a:gd name="connsiteX1114" fmla="*/ 1015915 w 1187240"/>
                    <a:gd name="connsiteY1114" fmla="*/ 213509 h 762309"/>
                    <a:gd name="connsiteX1115" fmla="*/ 1018367 w 1187240"/>
                    <a:gd name="connsiteY1115" fmla="*/ 213740 h 762309"/>
                    <a:gd name="connsiteX1116" fmla="*/ 1022533 w 1187240"/>
                    <a:gd name="connsiteY1116" fmla="*/ 214517 h 762309"/>
                    <a:gd name="connsiteX1117" fmla="*/ 1024512 w 1187240"/>
                    <a:gd name="connsiteY1117" fmla="*/ 211190 h 762309"/>
                    <a:gd name="connsiteX1118" fmla="*/ 1036983 w 1187240"/>
                    <a:gd name="connsiteY1118" fmla="*/ 197614 h 762309"/>
                    <a:gd name="connsiteX1119" fmla="*/ 1048834 w 1187240"/>
                    <a:gd name="connsiteY1119" fmla="*/ 185253 h 762309"/>
                    <a:gd name="connsiteX1120" fmla="*/ 1058925 w 1187240"/>
                    <a:gd name="connsiteY1120" fmla="*/ 181355 h 762309"/>
                    <a:gd name="connsiteX1121" fmla="*/ 1061742 w 1187240"/>
                    <a:gd name="connsiteY1121" fmla="*/ 180250 h 762309"/>
                    <a:gd name="connsiteX1122" fmla="*/ 1072088 w 1187240"/>
                    <a:gd name="connsiteY1122" fmla="*/ 172235 h 762309"/>
                    <a:gd name="connsiteX1123" fmla="*/ 1073594 w 1187240"/>
                    <a:gd name="connsiteY1123" fmla="*/ 170122 h 762309"/>
                    <a:gd name="connsiteX1124" fmla="*/ 1074966 w 1187240"/>
                    <a:gd name="connsiteY1124" fmla="*/ 168216 h 762309"/>
                    <a:gd name="connsiteX1125" fmla="*/ 1081329 w 1187240"/>
                    <a:gd name="connsiteY1125" fmla="*/ 160651 h 762309"/>
                    <a:gd name="connsiteX1126" fmla="*/ 1087497 w 1187240"/>
                    <a:gd name="connsiteY1126" fmla="*/ 159157 h 762309"/>
                    <a:gd name="connsiteX1127" fmla="*/ 1093581 w 1187240"/>
                    <a:gd name="connsiteY1127" fmla="*/ 158453 h 762309"/>
                    <a:gd name="connsiteX1128" fmla="*/ 1105190 w 1187240"/>
                    <a:gd name="connsiteY1128" fmla="*/ 154057 h 762309"/>
                    <a:gd name="connsiteX1129" fmla="*/ 1111905 w 1187240"/>
                    <a:gd name="connsiteY1129" fmla="*/ 151168 h 762309"/>
                    <a:gd name="connsiteX1130" fmla="*/ 1115693 w 1187240"/>
                    <a:gd name="connsiteY1130" fmla="*/ 150536 h 762309"/>
                    <a:gd name="connsiteX1131" fmla="*/ 1119203 w 1187240"/>
                    <a:gd name="connsiteY1131" fmla="*/ 150876 h 762309"/>
                    <a:gd name="connsiteX1132" fmla="*/ 1123756 w 1187240"/>
                    <a:gd name="connsiteY1132" fmla="*/ 151386 h 762309"/>
                    <a:gd name="connsiteX1133" fmla="*/ 1126610 w 1187240"/>
                    <a:gd name="connsiteY1133" fmla="*/ 151483 h 762309"/>
                    <a:gd name="connsiteX1134" fmla="*/ 1160039 w 1187240"/>
                    <a:gd name="connsiteY1134" fmla="*/ 139620 h 762309"/>
                    <a:gd name="connsiteX1135" fmla="*/ 1163706 w 1187240"/>
                    <a:gd name="connsiteY1135" fmla="*/ 136669 h 762309"/>
                    <a:gd name="connsiteX1136" fmla="*/ 1182771 w 1187240"/>
                    <a:gd name="connsiteY1136" fmla="*/ 118624 h 762309"/>
                    <a:gd name="connsiteX1137" fmla="*/ 1186681 w 1187240"/>
                    <a:gd name="connsiteY1137" fmla="*/ 104320 h 762309"/>
                    <a:gd name="connsiteX1138" fmla="*/ 1170446 w 1187240"/>
                    <a:gd name="connsiteY1138" fmla="*/ 93974 h 762309"/>
                    <a:gd name="connsiteX1139" fmla="*/ 1163597 w 1187240"/>
                    <a:gd name="connsiteY1139" fmla="*/ 91861 h 762309"/>
                    <a:gd name="connsiteX1140" fmla="*/ 1151406 w 1187240"/>
                    <a:gd name="connsiteY1140" fmla="*/ 88704 h 762309"/>
                    <a:gd name="connsiteX1141" fmla="*/ 1144691 w 1187240"/>
                    <a:gd name="connsiteY1141" fmla="*/ 83082 h 762309"/>
                    <a:gd name="connsiteX1142" fmla="*/ 1141375 w 1187240"/>
                    <a:gd name="connsiteY1142" fmla="*/ 73125 h 762309"/>
                    <a:gd name="connsiteX1143" fmla="*/ 1139955 w 1187240"/>
                    <a:gd name="connsiteY1143" fmla="*/ 70077 h 762309"/>
                    <a:gd name="connsiteX1144" fmla="*/ 1150932 w 1187240"/>
                    <a:gd name="connsiteY1144" fmla="*/ 55554 h 762309"/>
                    <a:gd name="connsiteX1145" fmla="*/ 1164933 w 1187240"/>
                    <a:gd name="connsiteY1145" fmla="*/ 22416 h 762309"/>
                    <a:gd name="connsiteX1146" fmla="*/ 1152316 w 1187240"/>
                    <a:gd name="connsiteY1146" fmla="*/ 3169 h 762309"/>
                    <a:gd name="connsiteX1147" fmla="*/ 1149438 w 1187240"/>
                    <a:gd name="connsiteY1147" fmla="*/ 0 h 762309"/>
                    <a:gd name="connsiteX1148" fmla="*/ 1149438 w 1187240"/>
                    <a:gd name="connsiteY1148" fmla="*/ 0 h 76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Lst>
                  <a:rect l="l" t="t" r="r" b="b"/>
                  <a:pathLst>
                    <a:path w="1187240" h="762309">
                      <a:moveTo>
                        <a:pt x="1147714" y="7322"/>
                      </a:moveTo>
                      <a:cubicBezTo>
                        <a:pt x="1152851" y="13345"/>
                        <a:pt x="1157113" y="19999"/>
                        <a:pt x="1159408" y="25099"/>
                      </a:cubicBezTo>
                      <a:cubicBezTo>
                        <a:pt x="1168916" y="46422"/>
                        <a:pt x="1131163" y="53053"/>
                        <a:pt x="1133968" y="71194"/>
                      </a:cubicBezTo>
                      <a:cubicBezTo>
                        <a:pt x="1134673" y="75857"/>
                        <a:pt x="1138485" y="77945"/>
                        <a:pt x="1138643" y="83519"/>
                      </a:cubicBezTo>
                      <a:cubicBezTo>
                        <a:pt x="1139141" y="96852"/>
                        <a:pt x="1147556" y="92578"/>
                        <a:pt x="1161496" y="97763"/>
                      </a:cubicBezTo>
                      <a:cubicBezTo>
                        <a:pt x="1173032" y="102061"/>
                        <a:pt x="1187859" y="102013"/>
                        <a:pt x="1177938" y="115188"/>
                      </a:cubicBezTo>
                      <a:cubicBezTo>
                        <a:pt x="1172194" y="122838"/>
                        <a:pt x="1163828" y="128934"/>
                        <a:pt x="1156251" y="135102"/>
                      </a:cubicBezTo>
                      <a:cubicBezTo>
                        <a:pt x="1148674" y="141210"/>
                        <a:pt x="1137259" y="145618"/>
                        <a:pt x="1126646" y="145618"/>
                      </a:cubicBezTo>
                      <a:cubicBezTo>
                        <a:pt x="1125820" y="145618"/>
                        <a:pt x="1124995" y="145594"/>
                        <a:pt x="1124193" y="145533"/>
                      </a:cubicBezTo>
                      <a:cubicBezTo>
                        <a:pt x="1120733" y="145302"/>
                        <a:pt x="1118401" y="144671"/>
                        <a:pt x="1115730" y="144671"/>
                      </a:cubicBezTo>
                      <a:cubicBezTo>
                        <a:pt x="1114102" y="144671"/>
                        <a:pt x="1112354" y="144902"/>
                        <a:pt x="1110119" y="145582"/>
                      </a:cubicBezTo>
                      <a:cubicBezTo>
                        <a:pt x="1103987" y="147500"/>
                        <a:pt x="1098887" y="151410"/>
                        <a:pt x="1092427" y="152710"/>
                      </a:cubicBezTo>
                      <a:cubicBezTo>
                        <a:pt x="1086732" y="153839"/>
                        <a:pt x="1082300" y="152612"/>
                        <a:pt x="1077747" y="155976"/>
                      </a:cubicBezTo>
                      <a:cubicBezTo>
                        <a:pt x="1074310" y="158526"/>
                        <a:pt x="1071189" y="163371"/>
                        <a:pt x="1068724" y="166735"/>
                      </a:cubicBezTo>
                      <a:cubicBezTo>
                        <a:pt x="1065094" y="171677"/>
                        <a:pt x="1065458" y="172442"/>
                        <a:pt x="1059556" y="174810"/>
                      </a:cubicBezTo>
                      <a:cubicBezTo>
                        <a:pt x="1055282" y="176485"/>
                        <a:pt x="1050741" y="178295"/>
                        <a:pt x="1046733" y="179788"/>
                      </a:cubicBezTo>
                      <a:cubicBezTo>
                        <a:pt x="1036728" y="183528"/>
                        <a:pt x="1029114" y="202204"/>
                        <a:pt x="1020104" y="206989"/>
                      </a:cubicBezTo>
                      <a:lnTo>
                        <a:pt x="1019509" y="207984"/>
                      </a:lnTo>
                      <a:cubicBezTo>
                        <a:pt x="1018283" y="207753"/>
                        <a:pt x="1017104" y="207656"/>
                        <a:pt x="1015939" y="207656"/>
                      </a:cubicBezTo>
                      <a:cubicBezTo>
                        <a:pt x="1006625" y="207656"/>
                        <a:pt x="999254" y="214432"/>
                        <a:pt x="990925" y="218099"/>
                      </a:cubicBezTo>
                      <a:cubicBezTo>
                        <a:pt x="986431" y="220091"/>
                        <a:pt x="981307" y="222046"/>
                        <a:pt x="976948" y="223867"/>
                      </a:cubicBezTo>
                      <a:cubicBezTo>
                        <a:pt x="970767" y="226466"/>
                        <a:pt x="966226" y="232137"/>
                        <a:pt x="961016" y="235913"/>
                      </a:cubicBezTo>
                      <a:cubicBezTo>
                        <a:pt x="954216" y="240831"/>
                        <a:pt x="946700" y="244923"/>
                        <a:pt x="938600" y="247934"/>
                      </a:cubicBezTo>
                      <a:cubicBezTo>
                        <a:pt x="932857" y="250047"/>
                        <a:pt x="927964" y="252087"/>
                        <a:pt x="922548" y="254735"/>
                      </a:cubicBezTo>
                      <a:cubicBezTo>
                        <a:pt x="916561" y="257661"/>
                        <a:pt x="912481" y="261753"/>
                        <a:pt x="906653" y="264668"/>
                      </a:cubicBezTo>
                      <a:cubicBezTo>
                        <a:pt x="901455" y="267315"/>
                        <a:pt x="897934" y="269112"/>
                        <a:pt x="893174" y="273155"/>
                      </a:cubicBezTo>
                      <a:cubicBezTo>
                        <a:pt x="889701" y="276118"/>
                        <a:pt x="882512" y="279591"/>
                        <a:pt x="880302" y="282821"/>
                      </a:cubicBezTo>
                      <a:cubicBezTo>
                        <a:pt x="877813" y="286464"/>
                        <a:pt x="878432" y="293507"/>
                        <a:pt x="876283" y="297623"/>
                      </a:cubicBezTo>
                      <a:cubicBezTo>
                        <a:pt x="873915" y="302286"/>
                        <a:pt x="870139" y="304751"/>
                        <a:pt x="865658" y="308746"/>
                      </a:cubicBezTo>
                      <a:cubicBezTo>
                        <a:pt x="862950" y="311151"/>
                        <a:pt x="863958" y="312231"/>
                        <a:pt x="861808" y="312231"/>
                      </a:cubicBezTo>
                      <a:cubicBezTo>
                        <a:pt x="861286" y="312231"/>
                        <a:pt x="860582" y="312171"/>
                        <a:pt x="859599" y="312049"/>
                      </a:cubicBezTo>
                      <a:cubicBezTo>
                        <a:pt x="857267" y="311758"/>
                        <a:pt x="855433" y="309062"/>
                        <a:pt x="853284" y="308588"/>
                      </a:cubicBezTo>
                      <a:cubicBezTo>
                        <a:pt x="852349" y="308370"/>
                        <a:pt x="851487" y="308273"/>
                        <a:pt x="850661" y="308273"/>
                      </a:cubicBezTo>
                      <a:cubicBezTo>
                        <a:pt x="845999" y="308273"/>
                        <a:pt x="843048" y="311564"/>
                        <a:pt x="840231" y="315607"/>
                      </a:cubicBezTo>
                      <a:cubicBezTo>
                        <a:pt x="837244" y="319979"/>
                        <a:pt x="837960" y="324860"/>
                        <a:pt x="835956" y="329559"/>
                      </a:cubicBezTo>
                      <a:cubicBezTo>
                        <a:pt x="832168" y="338460"/>
                        <a:pt x="832884" y="350494"/>
                        <a:pt x="824093" y="357245"/>
                      </a:cubicBezTo>
                      <a:cubicBezTo>
                        <a:pt x="818228" y="361750"/>
                        <a:pt x="816430" y="365721"/>
                        <a:pt x="813395" y="371841"/>
                      </a:cubicBezTo>
                      <a:cubicBezTo>
                        <a:pt x="807590" y="383486"/>
                        <a:pt x="806485" y="406084"/>
                        <a:pt x="805465" y="418579"/>
                      </a:cubicBezTo>
                      <a:cubicBezTo>
                        <a:pt x="804870" y="426241"/>
                        <a:pt x="805417" y="426108"/>
                        <a:pt x="796188" y="429702"/>
                      </a:cubicBezTo>
                      <a:cubicBezTo>
                        <a:pt x="793468" y="430746"/>
                        <a:pt x="788538" y="431499"/>
                        <a:pt x="784264" y="431499"/>
                      </a:cubicBezTo>
                      <a:cubicBezTo>
                        <a:pt x="782285" y="431499"/>
                        <a:pt x="780451" y="431341"/>
                        <a:pt x="779018" y="430977"/>
                      </a:cubicBezTo>
                      <a:cubicBezTo>
                        <a:pt x="773372" y="429508"/>
                        <a:pt x="769571" y="424044"/>
                        <a:pt x="763463" y="424044"/>
                      </a:cubicBezTo>
                      <a:cubicBezTo>
                        <a:pt x="763378" y="424044"/>
                        <a:pt x="763293" y="424044"/>
                        <a:pt x="763208" y="424044"/>
                      </a:cubicBezTo>
                      <a:cubicBezTo>
                        <a:pt x="752789" y="424299"/>
                        <a:pt x="744034" y="437000"/>
                        <a:pt x="741108" y="445002"/>
                      </a:cubicBezTo>
                      <a:cubicBezTo>
                        <a:pt x="739274" y="450078"/>
                        <a:pt x="739553" y="454316"/>
                        <a:pt x="734891" y="458493"/>
                      </a:cubicBezTo>
                      <a:cubicBezTo>
                        <a:pt x="729159" y="463605"/>
                        <a:pt x="728309" y="465402"/>
                        <a:pt x="726536" y="471923"/>
                      </a:cubicBezTo>
                      <a:cubicBezTo>
                        <a:pt x="724945" y="477898"/>
                        <a:pt x="721351" y="479889"/>
                        <a:pt x="717745" y="484758"/>
                      </a:cubicBezTo>
                      <a:cubicBezTo>
                        <a:pt x="715972" y="487211"/>
                        <a:pt x="715996" y="490405"/>
                        <a:pt x="713543" y="492530"/>
                      </a:cubicBezTo>
                      <a:cubicBezTo>
                        <a:pt x="712196" y="493671"/>
                        <a:pt x="705638" y="495832"/>
                        <a:pt x="703404" y="496780"/>
                      </a:cubicBezTo>
                      <a:cubicBezTo>
                        <a:pt x="703040" y="496938"/>
                        <a:pt x="702688" y="497010"/>
                        <a:pt x="702360" y="497010"/>
                      </a:cubicBezTo>
                      <a:cubicBezTo>
                        <a:pt x="698996" y="497010"/>
                        <a:pt x="697406" y="489615"/>
                        <a:pt x="695038" y="489615"/>
                      </a:cubicBezTo>
                      <a:cubicBezTo>
                        <a:pt x="694564" y="489615"/>
                        <a:pt x="694066" y="489907"/>
                        <a:pt x="693520" y="490611"/>
                      </a:cubicBezTo>
                      <a:cubicBezTo>
                        <a:pt x="690872" y="493914"/>
                        <a:pt x="690423" y="493404"/>
                        <a:pt x="692439" y="500386"/>
                      </a:cubicBezTo>
                      <a:cubicBezTo>
                        <a:pt x="693495" y="504138"/>
                        <a:pt x="693811" y="508182"/>
                        <a:pt x="696713" y="511291"/>
                      </a:cubicBezTo>
                      <a:cubicBezTo>
                        <a:pt x="699652" y="514448"/>
                        <a:pt x="703902" y="515371"/>
                        <a:pt x="706160" y="519098"/>
                      </a:cubicBezTo>
                      <a:cubicBezTo>
                        <a:pt x="708286" y="522547"/>
                        <a:pt x="707423" y="526663"/>
                        <a:pt x="710216" y="529979"/>
                      </a:cubicBezTo>
                      <a:cubicBezTo>
                        <a:pt x="712025" y="532213"/>
                        <a:pt x="719153" y="535674"/>
                        <a:pt x="719311" y="538345"/>
                      </a:cubicBezTo>
                      <a:cubicBezTo>
                        <a:pt x="719566" y="541575"/>
                        <a:pt x="713033" y="545436"/>
                        <a:pt x="710884" y="547926"/>
                      </a:cubicBezTo>
                      <a:cubicBezTo>
                        <a:pt x="702117" y="557992"/>
                        <a:pt x="694515" y="569225"/>
                        <a:pt x="690848" y="581647"/>
                      </a:cubicBezTo>
                      <a:cubicBezTo>
                        <a:pt x="689270" y="586868"/>
                        <a:pt x="687582" y="592102"/>
                        <a:pt x="686076" y="597263"/>
                      </a:cubicBezTo>
                      <a:cubicBezTo>
                        <a:pt x="684534" y="602654"/>
                        <a:pt x="685372" y="608568"/>
                        <a:pt x="682069" y="613510"/>
                      </a:cubicBezTo>
                      <a:cubicBezTo>
                        <a:pt x="680381" y="616521"/>
                        <a:pt x="677977" y="620103"/>
                        <a:pt x="674941" y="622386"/>
                      </a:cubicBezTo>
                      <a:cubicBezTo>
                        <a:pt x="671917" y="624669"/>
                        <a:pt x="669586" y="627001"/>
                        <a:pt x="667242" y="629976"/>
                      </a:cubicBezTo>
                      <a:cubicBezTo>
                        <a:pt x="664911" y="632295"/>
                        <a:pt x="661875" y="634578"/>
                        <a:pt x="660224" y="637589"/>
                      </a:cubicBezTo>
                      <a:cubicBezTo>
                        <a:pt x="658706" y="638731"/>
                        <a:pt x="658548" y="640613"/>
                        <a:pt x="657006" y="642374"/>
                      </a:cubicBezTo>
                      <a:cubicBezTo>
                        <a:pt x="656205" y="643576"/>
                        <a:pt x="654674" y="644705"/>
                        <a:pt x="654601" y="645956"/>
                      </a:cubicBezTo>
                      <a:cubicBezTo>
                        <a:pt x="653679" y="648409"/>
                        <a:pt x="653472" y="650910"/>
                        <a:pt x="653338" y="652792"/>
                      </a:cubicBezTo>
                      <a:cubicBezTo>
                        <a:pt x="652392" y="655864"/>
                        <a:pt x="652112" y="658997"/>
                        <a:pt x="651954" y="661499"/>
                      </a:cubicBezTo>
                      <a:cubicBezTo>
                        <a:pt x="651699" y="664619"/>
                        <a:pt x="652209" y="667182"/>
                        <a:pt x="652003" y="669671"/>
                      </a:cubicBezTo>
                      <a:cubicBezTo>
                        <a:pt x="651469" y="676556"/>
                        <a:pt x="650266" y="682761"/>
                        <a:pt x="645591" y="688043"/>
                      </a:cubicBezTo>
                      <a:cubicBezTo>
                        <a:pt x="643321" y="689767"/>
                        <a:pt x="640285" y="692050"/>
                        <a:pt x="639326" y="695122"/>
                      </a:cubicBezTo>
                      <a:cubicBezTo>
                        <a:pt x="639083" y="698243"/>
                        <a:pt x="640309" y="700854"/>
                        <a:pt x="640079" y="703987"/>
                      </a:cubicBezTo>
                      <a:lnTo>
                        <a:pt x="637990" y="708929"/>
                      </a:lnTo>
                      <a:cubicBezTo>
                        <a:pt x="632562" y="708261"/>
                        <a:pt x="626005" y="707788"/>
                        <a:pt x="621427" y="705213"/>
                      </a:cubicBezTo>
                      <a:cubicBezTo>
                        <a:pt x="618185" y="703392"/>
                        <a:pt x="618974" y="701995"/>
                        <a:pt x="615429" y="700781"/>
                      </a:cubicBezTo>
                      <a:cubicBezTo>
                        <a:pt x="613862" y="700271"/>
                        <a:pt x="610195" y="699895"/>
                        <a:pt x="607645" y="699895"/>
                      </a:cubicBezTo>
                      <a:cubicBezTo>
                        <a:pt x="606856" y="699895"/>
                        <a:pt x="606176" y="699931"/>
                        <a:pt x="605690" y="700004"/>
                      </a:cubicBezTo>
                      <a:cubicBezTo>
                        <a:pt x="595575" y="701534"/>
                        <a:pt x="591871" y="715049"/>
                        <a:pt x="587378" y="722493"/>
                      </a:cubicBezTo>
                      <a:cubicBezTo>
                        <a:pt x="582521" y="730531"/>
                        <a:pt x="578490" y="739007"/>
                        <a:pt x="571107" y="745589"/>
                      </a:cubicBezTo>
                      <a:cubicBezTo>
                        <a:pt x="567816" y="748551"/>
                        <a:pt x="564707" y="755509"/>
                        <a:pt x="560542" y="756262"/>
                      </a:cubicBezTo>
                      <a:cubicBezTo>
                        <a:pt x="559790" y="756396"/>
                        <a:pt x="559085" y="756469"/>
                        <a:pt x="558417" y="756469"/>
                      </a:cubicBezTo>
                      <a:cubicBezTo>
                        <a:pt x="545194" y="756469"/>
                        <a:pt x="550549" y="730653"/>
                        <a:pt x="539086" y="730653"/>
                      </a:cubicBezTo>
                      <a:lnTo>
                        <a:pt x="539074" y="730653"/>
                      </a:lnTo>
                      <a:cubicBezTo>
                        <a:pt x="534034" y="730665"/>
                        <a:pt x="533233" y="734696"/>
                        <a:pt x="530792" y="738193"/>
                      </a:cubicBezTo>
                      <a:cubicBezTo>
                        <a:pt x="526822" y="743828"/>
                        <a:pt x="520701" y="752510"/>
                        <a:pt x="512468" y="752510"/>
                      </a:cubicBezTo>
                      <a:cubicBezTo>
                        <a:pt x="511764" y="752510"/>
                        <a:pt x="511048" y="752449"/>
                        <a:pt x="510307" y="752316"/>
                      </a:cubicBezTo>
                      <a:lnTo>
                        <a:pt x="501455" y="750713"/>
                      </a:lnTo>
                      <a:cubicBezTo>
                        <a:pt x="499925" y="749256"/>
                        <a:pt x="498492" y="747604"/>
                        <a:pt x="497496" y="745346"/>
                      </a:cubicBezTo>
                      <a:cubicBezTo>
                        <a:pt x="495007" y="739651"/>
                        <a:pt x="498443" y="732158"/>
                        <a:pt x="495262" y="726585"/>
                      </a:cubicBezTo>
                      <a:cubicBezTo>
                        <a:pt x="493368" y="723294"/>
                        <a:pt x="492178" y="720683"/>
                        <a:pt x="491704" y="717502"/>
                      </a:cubicBezTo>
                      <a:cubicBezTo>
                        <a:pt x="491291" y="713689"/>
                        <a:pt x="490793" y="711139"/>
                        <a:pt x="488170" y="708407"/>
                      </a:cubicBezTo>
                      <a:cubicBezTo>
                        <a:pt x="485487" y="706294"/>
                        <a:pt x="482038" y="704764"/>
                        <a:pt x="479440" y="702056"/>
                      </a:cubicBezTo>
                      <a:lnTo>
                        <a:pt x="479124" y="701437"/>
                      </a:lnTo>
                      <a:lnTo>
                        <a:pt x="479330" y="699834"/>
                      </a:lnTo>
                      <a:lnTo>
                        <a:pt x="481091" y="692099"/>
                      </a:lnTo>
                      <a:lnTo>
                        <a:pt x="490635" y="666113"/>
                      </a:lnTo>
                      <a:lnTo>
                        <a:pt x="491097" y="663041"/>
                      </a:lnTo>
                      <a:lnTo>
                        <a:pt x="491206" y="659944"/>
                      </a:lnTo>
                      <a:lnTo>
                        <a:pt x="490866" y="656702"/>
                      </a:lnTo>
                      <a:lnTo>
                        <a:pt x="490866" y="656666"/>
                      </a:lnTo>
                      <a:lnTo>
                        <a:pt x="488401" y="650303"/>
                      </a:lnTo>
                      <a:lnTo>
                        <a:pt x="488353" y="650279"/>
                      </a:lnTo>
                      <a:lnTo>
                        <a:pt x="487600" y="646769"/>
                      </a:lnTo>
                      <a:lnTo>
                        <a:pt x="488632" y="643442"/>
                      </a:lnTo>
                      <a:lnTo>
                        <a:pt x="494084" y="641111"/>
                      </a:lnTo>
                      <a:lnTo>
                        <a:pt x="501200" y="643442"/>
                      </a:lnTo>
                      <a:lnTo>
                        <a:pt x="501260" y="643442"/>
                      </a:lnTo>
                      <a:lnTo>
                        <a:pt x="513938" y="650934"/>
                      </a:lnTo>
                      <a:lnTo>
                        <a:pt x="513938" y="650959"/>
                      </a:lnTo>
                      <a:lnTo>
                        <a:pt x="514181" y="652391"/>
                      </a:lnTo>
                      <a:lnTo>
                        <a:pt x="514181" y="652452"/>
                      </a:lnTo>
                      <a:lnTo>
                        <a:pt x="514934" y="653460"/>
                      </a:lnTo>
                      <a:lnTo>
                        <a:pt x="514982" y="653460"/>
                      </a:lnTo>
                      <a:lnTo>
                        <a:pt x="516366" y="654091"/>
                      </a:lnTo>
                      <a:lnTo>
                        <a:pt x="518212" y="654322"/>
                      </a:lnTo>
                      <a:lnTo>
                        <a:pt x="529675" y="650582"/>
                      </a:lnTo>
                      <a:lnTo>
                        <a:pt x="536342" y="648894"/>
                      </a:lnTo>
                      <a:lnTo>
                        <a:pt x="538989" y="644960"/>
                      </a:lnTo>
                      <a:lnTo>
                        <a:pt x="539511" y="642726"/>
                      </a:lnTo>
                      <a:lnTo>
                        <a:pt x="538928" y="639241"/>
                      </a:lnTo>
                      <a:lnTo>
                        <a:pt x="538928" y="639216"/>
                      </a:lnTo>
                      <a:lnTo>
                        <a:pt x="537507" y="636096"/>
                      </a:lnTo>
                      <a:lnTo>
                        <a:pt x="535759" y="634396"/>
                      </a:lnTo>
                      <a:lnTo>
                        <a:pt x="535698" y="634371"/>
                      </a:lnTo>
                      <a:lnTo>
                        <a:pt x="531120" y="632441"/>
                      </a:lnTo>
                      <a:lnTo>
                        <a:pt x="531169" y="632416"/>
                      </a:lnTo>
                      <a:lnTo>
                        <a:pt x="532662" y="631069"/>
                      </a:lnTo>
                      <a:lnTo>
                        <a:pt x="532662" y="631008"/>
                      </a:lnTo>
                      <a:lnTo>
                        <a:pt x="531921" y="630109"/>
                      </a:lnTo>
                      <a:lnTo>
                        <a:pt x="531861" y="630085"/>
                      </a:lnTo>
                      <a:lnTo>
                        <a:pt x="530124" y="629259"/>
                      </a:lnTo>
                      <a:lnTo>
                        <a:pt x="524089" y="624912"/>
                      </a:lnTo>
                      <a:lnTo>
                        <a:pt x="524089" y="624863"/>
                      </a:lnTo>
                      <a:lnTo>
                        <a:pt x="524089" y="624256"/>
                      </a:lnTo>
                      <a:lnTo>
                        <a:pt x="524041" y="624256"/>
                      </a:lnTo>
                      <a:lnTo>
                        <a:pt x="523992" y="624232"/>
                      </a:lnTo>
                      <a:lnTo>
                        <a:pt x="520762" y="623115"/>
                      </a:lnTo>
                      <a:lnTo>
                        <a:pt x="519329" y="622738"/>
                      </a:lnTo>
                      <a:lnTo>
                        <a:pt x="519329" y="622714"/>
                      </a:lnTo>
                      <a:lnTo>
                        <a:pt x="519329" y="622653"/>
                      </a:lnTo>
                      <a:lnTo>
                        <a:pt x="518941" y="620783"/>
                      </a:lnTo>
                      <a:lnTo>
                        <a:pt x="518248" y="617080"/>
                      </a:lnTo>
                      <a:lnTo>
                        <a:pt x="513586" y="614348"/>
                      </a:lnTo>
                      <a:lnTo>
                        <a:pt x="508303" y="612162"/>
                      </a:lnTo>
                      <a:lnTo>
                        <a:pt x="505316" y="608070"/>
                      </a:lnTo>
                      <a:lnTo>
                        <a:pt x="503701" y="606916"/>
                      </a:lnTo>
                      <a:lnTo>
                        <a:pt x="493938" y="605629"/>
                      </a:lnTo>
                      <a:lnTo>
                        <a:pt x="490562" y="604791"/>
                      </a:lnTo>
                      <a:lnTo>
                        <a:pt x="488025" y="603698"/>
                      </a:lnTo>
                      <a:lnTo>
                        <a:pt x="485778" y="602156"/>
                      </a:lnTo>
                      <a:lnTo>
                        <a:pt x="483131" y="599970"/>
                      </a:lnTo>
                      <a:lnTo>
                        <a:pt x="480375" y="596461"/>
                      </a:lnTo>
                      <a:lnTo>
                        <a:pt x="479112" y="595405"/>
                      </a:lnTo>
                      <a:lnTo>
                        <a:pt x="477630" y="595089"/>
                      </a:lnTo>
                      <a:lnTo>
                        <a:pt x="475032" y="595830"/>
                      </a:lnTo>
                      <a:lnTo>
                        <a:pt x="474000" y="595465"/>
                      </a:lnTo>
                      <a:lnTo>
                        <a:pt x="473951" y="595429"/>
                      </a:lnTo>
                      <a:cubicBezTo>
                        <a:pt x="475190" y="587706"/>
                        <a:pt x="479525" y="585885"/>
                        <a:pt x="483629" y="585885"/>
                      </a:cubicBezTo>
                      <a:cubicBezTo>
                        <a:pt x="487272" y="585885"/>
                        <a:pt x="490720" y="587330"/>
                        <a:pt x="491607" y="587330"/>
                      </a:cubicBezTo>
                      <a:cubicBezTo>
                        <a:pt x="491728" y="587330"/>
                        <a:pt x="491801" y="587305"/>
                        <a:pt x="491825" y="587257"/>
                      </a:cubicBezTo>
                      <a:cubicBezTo>
                        <a:pt x="492469" y="585508"/>
                        <a:pt x="494096" y="585120"/>
                        <a:pt x="495991" y="585120"/>
                      </a:cubicBezTo>
                      <a:cubicBezTo>
                        <a:pt x="496743" y="585120"/>
                        <a:pt x="497569" y="585180"/>
                        <a:pt x="498383" y="585253"/>
                      </a:cubicBezTo>
                      <a:cubicBezTo>
                        <a:pt x="503750" y="585095"/>
                        <a:pt x="508170" y="581489"/>
                        <a:pt x="513974" y="581489"/>
                      </a:cubicBezTo>
                      <a:cubicBezTo>
                        <a:pt x="514326" y="581489"/>
                        <a:pt x="514703" y="581501"/>
                        <a:pt x="515067" y="581525"/>
                      </a:cubicBezTo>
                      <a:cubicBezTo>
                        <a:pt x="516306" y="581622"/>
                        <a:pt x="517799" y="581744"/>
                        <a:pt x="519378" y="581744"/>
                      </a:cubicBezTo>
                      <a:cubicBezTo>
                        <a:pt x="520507" y="581744"/>
                        <a:pt x="521685" y="581683"/>
                        <a:pt x="522875" y="581513"/>
                      </a:cubicBezTo>
                      <a:cubicBezTo>
                        <a:pt x="525036" y="581052"/>
                        <a:pt x="524466" y="579121"/>
                        <a:pt x="526008" y="577979"/>
                      </a:cubicBezTo>
                      <a:cubicBezTo>
                        <a:pt x="528279" y="576279"/>
                        <a:pt x="531035" y="577117"/>
                        <a:pt x="532614" y="575357"/>
                      </a:cubicBezTo>
                      <a:cubicBezTo>
                        <a:pt x="534896" y="573657"/>
                        <a:pt x="535734" y="571823"/>
                        <a:pt x="538710" y="570184"/>
                      </a:cubicBezTo>
                      <a:cubicBezTo>
                        <a:pt x="540203" y="569042"/>
                        <a:pt x="541794" y="567270"/>
                        <a:pt x="543955" y="566820"/>
                      </a:cubicBezTo>
                      <a:cubicBezTo>
                        <a:pt x="545461" y="565691"/>
                        <a:pt x="546129" y="566359"/>
                        <a:pt x="547622" y="565861"/>
                      </a:cubicBezTo>
                      <a:cubicBezTo>
                        <a:pt x="549043" y="565339"/>
                        <a:pt x="549104" y="564719"/>
                        <a:pt x="550609" y="563566"/>
                      </a:cubicBezTo>
                      <a:cubicBezTo>
                        <a:pt x="552200" y="561805"/>
                        <a:pt x="554350" y="561344"/>
                        <a:pt x="555977" y="558951"/>
                      </a:cubicBezTo>
                      <a:cubicBezTo>
                        <a:pt x="557506" y="557191"/>
                        <a:pt x="558490" y="554131"/>
                        <a:pt x="559389" y="551678"/>
                      </a:cubicBezTo>
                      <a:cubicBezTo>
                        <a:pt x="560215" y="549857"/>
                        <a:pt x="561137" y="547416"/>
                        <a:pt x="561356" y="544902"/>
                      </a:cubicBezTo>
                      <a:cubicBezTo>
                        <a:pt x="560773" y="542984"/>
                        <a:pt x="559498" y="540992"/>
                        <a:pt x="558939" y="539061"/>
                      </a:cubicBezTo>
                      <a:cubicBezTo>
                        <a:pt x="557677" y="537058"/>
                        <a:pt x="557179" y="534508"/>
                        <a:pt x="556657" y="531958"/>
                      </a:cubicBezTo>
                      <a:cubicBezTo>
                        <a:pt x="556875" y="529444"/>
                        <a:pt x="556304" y="527526"/>
                        <a:pt x="554386" y="524854"/>
                      </a:cubicBezTo>
                      <a:cubicBezTo>
                        <a:pt x="552407" y="522826"/>
                        <a:pt x="551131" y="520823"/>
                        <a:pt x="548351" y="519985"/>
                      </a:cubicBezTo>
                      <a:cubicBezTo>
                        <a:pt x="546347" y="518564"/>
                        <a:pt x="544295" y="517775"/>
                        <a:pt x="541538" y="516306"/>
                      </a:cubicBezTo>
                      <a:cubicBezTo>
                        <a:pt x="537447" y="514083"/>
                        <a:pt x="531023" y="514205"/>
                        <a:pt x="527841" y="509554"/>
                      </a:cubicBezTo>
                      <a:cubicBezTo>
                        <a:pt x="526578" y="507563"/>
                        <a:pt x="526032" y="505632"/>
                        <a:pt x="526275" y="502511"/>
                      </a:cubicBezTo>
                      <a:cubicBezTo>
                        <a:pt x="526433" y="500629"/>
                        <a:pt x="528607" y="499536"/>
                        <a:pt x="529493" y="497715"/>
                      </a:cubicBezTo>
                      <a:cubicBezTo>
                        <a:pt x="531047" y="495954"/>
                        <a:pt x="531994" y="492894"/>
                        <a:pt x="532213" y="490380"/>
                      </a:cubicBezTo>
                      <a:cubicBezTo>
                        <a:pt x="532395" y="487879"/>
                        <a:pt x="530391" y="486446"/>
                        <a:pt x="528461" y="483799"/>
                      </a:cubicBezTo>
                      <a:cubicBezTo>
                        <a:pt x="527805" y="483119"/>
                        <a:pt x="527137" y="482427"/>
                        <a:pt x="526445" y="481747"/>
                      </a:cubicBezTo>
                      <a:cubicBezTo>
                        <a:pt x="526372" y="481710"/>
                        <a:pt x="526299" y="481698"/>
                        <a:pt x="526214" y="481698"/>
                      </a:cubicBezTo>
                      <a:cubicBezTo>
                        <a:pt x="524915" y="481698"/>
                        <a:pt x="522426" y="486652"/>
                        <a:pt x="520544" y="486652"/>
                      </a:cubicBezTo>
                      <a:cubicBezTo>
                        <a:pt x="520325" y="486652"/>
                        <a:pt x="520130" y="486592"/>
                        <a:pt x="519936" y="486458"/>
                      </a:cubicBezTo>
                      <a:cubicBezTo>
                        <a:pt x="517933" y="485025"/>
                        <a:pt x="514375" y="484758"/>
                        <a:pt x="512250" y="484600"/>
                      </a:cubicBezTo>
                      <a:cubicBezTo>
                        <a:pt x="508789" y="483690"/>
                        <a:pt x="506652" y="483520"/>
                        <a:pt x="504721" y="480848"/>
                      </a:cubicBezTo>
                      <a:cubicBezTo>
                        <a:pt x="502705" y="479427"/>
                        <a:pt x="501467" y="476804"/>
                        <a:pt x="499463" y="475396"/>
                      </a:cubicBezTo>
                      <a:cubicBezTo>
                        <a:pt x="497496" y="473356"/>
                        <a:pt x="494813" y="471255"/>
                        <a:pt x="492093" y="469786"/>
                      </a:cubicBezTo>
                      <a:cubicBezTo>
                        <a:pt x="490077" y="468365"/>
                        <a:pt x="486519" y="468086"/>
                        <a:pt x="484406" y="467928"/>
                      </a:cubicBezTo>
                      <a:cubicBezTo>
                        <a:pt x="480144" y="468219"/>
                        <a:pt x="478553" y="469980"/>
                        <a:pt x="475518" y="472251"/>
                      </a:cubicBezTo>
                      <a:cubicBezTo>
                        <a:pt x="474315" y="473477"/>
                        <a:pt x="472785" y="473817"/>
                        <a:pt x="471097" y="473817"/>
                      </a:cubicBezTo>
                      <a:cubicBezTo>
                        <a:pt x="469568" y="473817"/>
                        <a:pt x="467892" y="473538"/>
                        <a:pt x="466216" y="473404"/>
                      </a:cubicBezTo>
                      <a:cubicBezTo>
                        <a:pt x="465597" y="473356"/>
                        <a:pt x="464941" y="473332"/>
                        <a:pt x="464249" y="473332"/>
                      </a:cubicBezTo>
                      <a:cubicBezTo>
                        <a:pt x="461808" y="473332"/>
                        <a:pt x="459003" y="473599"/>
                        <a:pt x="456186" y="473866"/>
                      </a:cubicBezTo>
                      <a:cubicBezTo>
                        <a:pt x="452567" y="474862"/>
                        <a:pt x="448949" y="475833"/>
                        <a:pt x="445282" y="477412"/>
                      </a:cubicBezTo>
                      <a:cubicBezTo>
                        <a:pt x="444699" y="477837"/>
                        <a:pt x="442902" y="478529"/>
                        <a:pt x="441469" y="478529"/>
                      </a:cubicBezTo>
                      <a:cubicBezTo>
                        <a:pt x="440995" y="478529"/>
                        <a:pt x="440558" y="478456"/>
                        <a:pt x="440218" y="478274"/>
                      </a:cubicBezTo>
                      <a:cubicBezTo>
                        <a:pt x="438142" y="477484"/>
                        <a:pt x="438955" y="476295"/>
                        <a:pt x="437643" y="474935"/>
                      </a:cubicBezTo>
                      <a:cubicBezTo>
                        <a:pt x="436417" y="472324"/>
                        <a:pt x="432786" y="473295"/>
                        <a:pt x="430856" y="470624"/>
                      </a:cubicBezTo>
                      <a:cubicBezTo>
                        <a:pt x="428294" y="467272"/>
                        <a:pt x="429180" y="464844"/>
                        <a:pt x="430188" y="461140"/>
                      </a:cubicBezTo>
                      <a:cubicBezTo>
                        <a:pt x="431839" y="458104"/>
                        <a:pt x="435506" y="456538"/>
                        <a:pt x="435798" y="452786"/>
                      </a:cubicBezTo>
                      <a:cubicBezTo>
                        <a:pt x="436441" y="445075"/>
                        <a:pt x="441918" y="438069"/>
                        <a:pt x="446022" y="431584"/>
                      </a:cubicBezTo>
                      <a:cubicBezTo>
                        <a:pt x="450357" y="424663"/>
                        <a:pt x="449422" y="425221"/>
                        <a:pt x="446265" y="417826"/>
                      </a:cubicBezTo>
                      <a:cubicBezTo>
                        <a:pt x="443217" y="410723"/>
                        <a:pt x="448754" y="397208"/>
                        <a:pt x="437656" y="393747"/>
                      </a:cubicBezTo>
                      <a:cubicBezTo>
                        <a:pt x="436114" y="393261"/>
                        <a:pt x="434571" y="393067"/>
                        <a:pt x="433066" y="393067"/>
                      </a:cubicBezTo>
                      <a:cubicBezTo>
                        <a:pt x="428585" y="393067"/>
                        <a:pt x="424287" y="394815"/>
                        <a:pt x="420376" y="396151"/>
                      </a:cubicBezTo>
                      <a:cubicBezTo>
                        <a:pt x="413431" y="398519"/>
                        <a:pt x="411852" y="402235"/>
                        <a:pt x="406206" y="406363"/>
                      </a:cubicBezTo>
                      <a:cubicBezTo>
                        <a:pt x="398361" y="412095"/>
                        <a:pt x="387287" y="410856"/>
                        <a:pt x="378265" y="415446"/>
                      </a:cubicBezTo>
                      <a:cubicBezTo>
                        <a:pt x="372193" y="418555"/>
                        <a:pt x="368696" y="423242"/>
                        <a:pt x="361920" y="423242"/>
                      </a:cubicBezTo>
                      <a:cubicBezTo>
                        <a:pt x="360488" y="423242"/>
                        <a:pt x="358897" y="423023"/>
                        <a:pt x="357099" y="422538"/>
                      </a:cubicBezTo>
                      <a:cubicBezTo>
                        <a:pt x="348551" y="420206"/>
                        <a:pt x="345685" y="411439"/>
                        <a:pt x="336541" y="411439"/>
                      </a:cubicBezTo>
                      <a:cubicBezTo>
                        <a:pt x="335279" y="411439"/>
                        <a:pt x="333858" y="411609"/>
                        <a:pt x="332304" y="411998"/>
                      </a:cubicBezTo>
                      <a:cubicBezTo>
                        <a:pt x="323354" y="414220"/>
                        <a:pt x="323670" y="422611"/>
                        <a:pt x="320489" y="429228"/>
                      </a:cubicBezTo>
                      <a:cubicBezTo>
                        <a:pt x="319723" y="430868"/>
                        <a:pt x="317186" y="432155"/>
                        <a:pt x="316348" y="433879"/>
                      </a:cubicBezTo>
                      <a:cubicBezTo>
                        <a:pt x="315267" y="436016"/>
                        <a:pt x="316421" y="439441"/>
                        <a:pt x="314417" y="441189"/>
                      </a:cubicBezTo>
                      <a:cubicBezTo>
                        <a:pt x="311976" y="443278"/>
                        <a:pt x="307617" y="441991"/>
                        <a:pt x="305055" y="443715"/>
                      </a:cubicBezTo>
                      <a:cubicBezTo>
                        <a:pt x="303452" y="444808"/>
                        <a:pt x="300659" y="448657"/>
                        <a:pt x="299615" y="450175"/>
                      </a:cubicBezTo>
                      <a:cubicBezTo>
                        <a:pt x="296324" y="454802"/>
                        <a:pt x="294126" y="458699"/>
                        <a:pt x="287132" y="458699"/>
                      </a:cubicBezTo>
                      <a:cubicBezTo>
                        <a:pt x="286986" y="458699"/>
                        <a:pt x="286841" y="458699"/>
                        <a:pt x="286683" y="458699"/>
                      </a:cubicBezTo>
                      <a:cubicBezTo>
                        <a:pt x="279191" y="458530"/>
                        <a:pt x="277612" y="455554"/>
                        <a:pt x="273058" y="451292"/>
                      </a:cubicBezTo>
                      <a:cubicBezTo>
                        <a:pt x="267764" y="446350"/>
                        <a:pt x="263040" y="446751"/>
                        <a:pt x="255645" y="446119"/>
                      </a:cubicBezTo>
                      <a:cubicBezTo>
                        <a:pt x="247789" y="445439"/>
                        <a:pt x="246028" y="443181"/>
                        <a:pt x="239811" y="439356"/>
                      </a:cubicBezTo>
                      <a:cubicBezTo>
                        <a:pt x="236532" y="437340"/>
                        <a:pt x="231663" y="436029"/>
                        <a:pt x="228882" y="433430"/>
                      </a:cubicBezTo>
                      <a:cubicBezTo>
                        <a:pt x="226660" y="431366"/>
                        <a:pt x="226442" y="427747"/>
                        <a:pt x="223794" y="425999"/>
                      </a:cubicBezTo>
                      <a:cubicBezTo>
                        <a:pt x="221948" y="424748"/>
                        <a:pt x="220261" y="424238"/>
                        <a:pt x="218706" y="424238"/>
                      </a:cubicBezTo>
                      <a:cubicBezTo>
                        <a:pt x="212380" y="424238"/>
                        <a:pt x="208239" y="432701"/>
                        <a:pt x="203771" y="434341"/>
                      </a:cubicBezTo>
                      <a:cubicBezTo>
                        <a:pt x="202666" y="434741"/>
                        <a:pt x="201209" y="434948"/>
                        <a:pt x="199666" y="434948"/>
                      </a:cubicBezTo>
                      <a:cubicBezTo>
                        <a:pt x="196776" y="434948"/>
                        <a:pt x="193595" y="434244"/>
                        <a:pt x="191919" y="432908"/>
                      </a:cubicBezTo>
                      <a:cubicBezTo>
                        <a:pt x="188300" y="430030"/>
                        <a:pt x="190498" y="427213"/>
                        <a:pt x="187875" y="423752"/>
                      </a:cubicBezTo>
                      <a:cubicBezTo>
                        <a:pt x="185398" y="420559"/>
                        <a:pt x="181525" y="419575"/>
                        <a:pt x="177420" y="419575"/>
                      </a:cubicBezTo>
                      <a:cubicBezTo>
                        <a:pt x="173207" y="419575"/>
                        <a:pt x="168763" y="420619"/>
                        <a:pt x="165326" y="421408"/>
                      </a:cubicBezTo>
                      <a:cubicBezTo>
                        <a:pt x="161659" y="422246"/>
                        <a:pt x="158065" y="422428"/>
                        <a:pt x="154482" y="422428"/>
                      </a:cubicBezTo>
                      <a:cubicBezTo>
                        <a:pt x="151690" y="422428"/>
                        <a:pt x="148884" y="422319"/>
                        <a:pt x="146092" y="422319"/>
                      </a:cubicBezTo>
                      <a:cubicBezTo>
                        <a:pt x="143153" y="422319"/>
                        <a:pt x="140214" y="422441"/>
                        <a:pt x="137240" y="422951"/>
                      </a:cubicBezTo>
                      <a:cubicBezTo>
                        <a:pt x="133378" y="423619"/>
                        <a:pt x="130099" y="425926"/>
                        <a:pt x="126760" y="427759"/>
                      </a:cubicBezTo>
                      <a:cubicBezTo>
                        <a:pt x="122389" y="430200"/>
                        <a:pt x="120592" y="430516"/>
                        <a:pt x="116633" y="430516"/>
                      </a:cubicBezTo>
                      <a:cubicBezTo>
                        <a:pt x="115649" y="430516"/>
                        <a:pt x="114520" y="430504"/>
                        <a:pt x="113196" y="430491"/>
                      </a:cubicBezTo>
                      <a:cubicBezTo>
                        <a:pt x="112565" y="430491"/>
                        <a:pt x="111933" y="430479"/>
                        <a:pt x="111326" y="430479"/>
                      </a:cubicBezTo>
                      <a:cubicBezTo>
                        <a:pt x="107052" y="430479"/>
                        <a:pt x="102972" y="430674"/>
                        <a:pt x="98844" y="431876"/>
                      </a:cubicBezTo>
                      <a:cubicBezTo>
                        <a:pt x="93622" y="433406"/>
                        <a:pt x="93403" y="434948"/>
                        <a:pt x="91133" y="439441"/>
                      </a:cubicBezTo>
                      <a:cubicBezTo>
                        <a:pt x="86834" y="447868"/>
                        <a:pt x="83118" y="451122"/>
                        <a:pt x="72433" y="451195"/>
                      </a:cubicBezTo>
                      <a:lnTo>
                        <a:pt x="38833" y="425015"/>
                      </a:lnTo>
                      <a:lnTo>
                        <a:pt x="36987" y="422708"/>
                      </a:lnTo>
                      <a:lnTo>
                        <a:pt x="36757" y="422501"/>
                      </a:lnTo>
                      <a:lnTo>
                        <a:pt x="36514" y="422453"/>
                      </a:lnTo>
                      <a:lnTo>
                        <a:pt x="36174" y="422501"/>
                      </a:lnTo>
                      <a:lnTo>
                        <a:pt x="35882" y="422683"/>
                      </a:lnTo>
                      <a:lnTo>
                        <a:pt x="35822" y="422708"/>
                      </a:lnTo>
                      <a:lnTo>
                        <a:pt x="35785" y="422708"/>
                      </a:lnTo>
                      <a:lnTo>
                        <a:pt x="34522" y="423995"/>
                      </a:lnTo>
                      <a:lnTo>
                        <a:pt x="33296" y="424541"/>
                      </a:lnTo>
                      <a:lnTo>
                        <a:pt x="32166" y="424141"/>
                      </a:lnTo>
                      <a:lnTo>
                        <a:pt x="31122" y="422708"/>
                      </a:lnTo>
                      <a:lnTo>
                        <a:pt x="29690" y="420073"/>
                      </a:lnTo>
                      <a:lnTo>
                        <a:pt x="25852" y="415216"/>
                      </a:lnTo>
                      <a:lnTo>
                        <a:pt x="24820" y="413370"/>
                      </a:lnTo>
                      <a:lnTo>
                        <a:pt x="24529" y="409873"/>
                      </a:lnTo>
                      <a:lnTo>
                        <a:pt x="24990" y="407383"/>
                      </a:lnTo>
                      <a:lnTo>
                        <a:pt x="24699" y="404882"/>
                      </a:lnTo>
                      <a:lnTo>
                        <a:pt x="22294" y="401543"/>
                      </a:lnTo>
                      <a:lnTo>
                        <a:pt x="20813" y="398823"/>
                      </a:lnTo>
                      <a:lnTo>
                        <a:pt x="19951" y="395483"/>
                      </a:lnTo>
                      <a:lnTo>
                        <a:pt x="18858" y="392508"/>
                      </a:lnTo>
                      <a:lnTo>
                        <a:pt x="16599" y="390784"/>
                      </a:lnTo>
                      <a:lnTo>
                        <a:pt x="14948" y="390663"/>
                      </a:lnTo>
                      <a:lnTo>
                        <a:pt x="11208" y="390978"/>
                      </a:lnTo>
                      <a:lnTo>
                        <a:pt x="9836" y="390784"/>
                      </a:lnTo>
                      <a:lnTo>
                        <a:pt x="7529" y="389776"/>
                      </a:lnTo>
                      <a:lnTo>
                        <a:pt x="7067" y="389339"/>
                      </a:lnTo>
                      <a:lnTo>
                        <a:pt x="7371" y="388538"/>
                      </a:lnTo>
                      <a:lnTo>
                        <a:pt x="7468" y="384142"/>
                      </a:lnTo>
                      <a:lnTo>
                        <a:pt x="12920" y="382964"/>
                      </a:lnTo>
                      <a:lnTo>
                        <a:pt x="16951" y="381361"/>
                      </a:lnTo>
                      <a:lnTo>
                        <a:pt x="20497" y="380329"/>
                      </a:lnTo>
                      <a:lnTo>
                        <a:pt x="22003" y="379212"/>
                      </a:lnTo>
                      <a:lnTo>
                        <a:pt x="22635" y="377852"/>
                      </a:lnTo>
                      <a:lnTo>
                        <a:pt x="22465" y="375484"/>
                      </a:lnTo>
                      <a:lnTo>
                        <a:pt x="21493" y="374039"/>
                      </a:lnTo>
                      <a:lnTo>
                        <a:pt x="21080" y="372715"/>
                      </a:lnTo>
                      <a:lnTo>
                        <a:pt x="21493" y="371392"/>
                      </a:lnTo>
                      <a:lnTo>
                        <a:pt x="23497" y="370821"/>
                      </a:lnTo>
                      <a:lnTo>
                        <a:pt x="26423" y="368878"/>
                      </a:lnTo>
                      <a:lnTo>
                        <a:pt x="29277" y="362017"/>
                      </a:lnTo>
                      <a:lnTo>
                        <a:pt x="30090" y="360366"/>
                      </a:lnTo>
                      <a:lnTo>
                        <a:pt x="30661" y="359747"/>
                      </a:lnTo>
                      <a:lnTo>
                        <a:pt x="35372" y="357391"/>
                      </a:lnTo>
                      <a:lnTo>
                        <a:pt x="38238" y="356517"/>
                      </a:lnTo>
                      <a:lnTo>
                        <a:pt x="39501" y="355897"/>
                      </a:lnTo>
                      <a:lnTo>
                        <a:pt x="39732" y="354598"/>
                      </a:lnTo>
                      <a:lnTo>
                        <a:pt x="38882" y="353372"/>
                      </a:lnTo>
                      <a:lnTo>
                        <a:pt x="36987" y="351842"/>
                      </a:lnTo>
                      <a:lnTo>
                        <a:pt x="36926" y="350178"/>
                      </a:lnTo>
                      <a:lnTo>
                        <a:pt x="36987" y="349231"/>
                      </a:lnTo>
                      <a:lnTo>
                        <a:pt x="37570" y="348575"/>
                      </a:lnTo>
                      <a:lnTo>
                        <a:pt x="39113" y="347422"/>
                      </a:lnTo>
                      <a:lnTo>
                        <a:pt x="41529" y="346013"/>
                      </a:lnTo>
                      <a:lnTo>
                        <a:pt x="41917" y="345564"/>
                      </a:lnTo>
                      <a:lnTo>
                        <a:pt x="42245" y="344957"/>
                      </a:lnTo>
                      <a:lnTo>
                        <a:pt x="44164" y="330968"/>
                      </a:lnTo>
                      <a:lnTo>
                        <a:pt x="45075" y="327094"/>
                      </a:lnTo>
                      <a:lnTo>
                        <a:pt x="47200" y="321266"/>
                      </a:lnTo>
                      <a:lnTo>
                        <a:pt x="47418" y="320464"/>
                      </a:lnTo>
                      <a:lnTo>
                        <a:pt x="47612" y="319857"/>
                      </a:lnTo>
                      <a:lnTo>
                        <a:pt x="47880" y="319177"/>
                      </a:lnTo>
                      <a:lnTo>
                        <a:pt x="50697" y="314660"/>
                      </a:lnTo>
                      <a:lnTo>
                        <a:pt x="48912" y="293701"/>
                      </a:lnTo>
                      <a:lnTo>
                        <a:pt x="48123" y="290180"/>
                      </a:lnTo>
                      <a:lnTo>
                        <a:pt x="44225" y="279117"/>
                      </a:lnTo>
                      <a:lnTo>
                        <a:pt x="45147" y="276568"/>
                      </a:lnTo>
                      <a:lnTo>
                        <a:pt x="43654" y="276337"/>
                      </a:lnTo>
                      <a:lnTo>
                        <a:pt x="42962" y="276021"/>
                      </a:lnTo>
                      <a:lnTo>
                        <a:pt x="43654" y="276325"/>
                      </a:lnTo>
                      <a:lnTo>
                        <a:pt x="45147" y="276555"/>
                      </a:lnTo>
                      <a:lnTo>
                        <a:pt x="45378" y="276580"/>
                      </a:lnTo>
                      <a:lnTo>
                        <a:pt x="49167" y="277733"/>
                      </a:lnTo>
                      <a:lnTo>
                        <a:pt x="51098" y="278013"/>
                      </a:lnTo>
                      <a:lnTo>
                        <a:pt x="55129" y="277648"/>
                      </a:lnTo>
                      <a:lnTo>
                        <a:pt x="67017" y="274576"/>
                      </a:lnTo>
                      <a:lnTo>
                        <a:pt x="88388" y="272597"/>
                      </a:lnTo>
                      <a:lnTo>
                        <a:pt x="95504" y="270642"/>
                      </a:lnTo>
                      <a:lnTo>
                        <a:pt x="100228" y="266537"/>
                      </a:lnTo>
                      <a:lnTo>
                        <a:pt x="104939" y="254395"/>
                      </a:lnTo>
                      <a:lnTo>
                        <a:pt x="111193" y="250484"/>
                      </a:lnTo>
                      <a:lnTo>
                        <a:pt x="114642" y="250193"/>
                      </a:lnTo>
                      <a:lnTo>
                        <a:pt x="121526" y="250460"/>
                      </a:lnTo>
                      <a:lnTo>
                        <a:pt x="125036" y="249367"/>
                      </a:lnTo>
                      <a:lnTo>
                        <a:pt x="128072" y="247109"/>
                      </a:lnTo>
                      <a:lnTo>
                        <a:pt x="130597" y="244656"/>
                      </a:lnTo>
                      <a:lnTo>
                        <a:pt x="133305" y="242592"/>
                      </a:lnTo>
                      <a:lnTo>
                        <a:pt x="137082" y="241389"/>
                      </a:lnTo>
                      <a:lnTo>
                        <a:pt x="143408" y="242361"/>
                      </a:lnTo>
                      <a:lnTo>
                        <a:pt x="160797" y="254334"/>
                      </a:lnTo>
                      <a:lnTo>
                        <a:pt x="181877" y="264862"/>
                      </a:lnTo>
                      <a:lnTo>
                        <a:pt x="206163" y="267509"/>
                      </a:lnTo>
                      <a:lnTo>
                        <a:pt x="248785" y="265129"/>
                      </a:lnTo>
                      <a:lnTo>
                        <a:pt x="260612" y="264473"/>
                      </a:lnTo>
                      <a:lnTo>
                        <a:pt x="261644" y="264012"/>
                      </a:lnTo>
                      <a:lnTo>
                        <a:pt x="270897" y="259932"/>
                      </a:lnTo>
                      <a:lnTo>
                        <a:pt x="276470" y="259907"/>
                      </a:lnTo>
                      <a:lnTo>
                        <a:pt x="283076" y="260672"/>
                      </a:lnTo>
                      <a:lnTo>
                        <a:pt x="296385" y="260393"/>
                      </a:lnTo>
                      <a:lnTo>
                        <a:pt x="302820" y="261826"/>
                      </a:lnTo>
                      <a:lnTo>
                        <a:pt x="308333" y="265068"/>
                      </a:lnTo>
                      <a:lnTo>
                        <a:pt x="310980" y="266076"/>
                      </a:lnTo>
                      <a:lnTo>
                        <a:pt x="314818" y="265991"/>
                      </a:lnTo>
                      <a:lnTo>
                        <a:pt x="317975" y="265153"/>
                      </a:lnTo>
                      <a:lnTo>
                        <a:pt x="321144" y="263781"/>
                      </a:lnTo>
                      <a:lnTo>
                        <a:pt x="324071" y="261947"/>
                      </a:lnTo>
                      <a:lnTo>
                        <a:pt x="326414" y="259616"/>
                      </a:lnTo>
                      <a:lnTo>
                        <a:pt x="328661" y="255888"/>
                      </a:lnTo>
                      <a:lnTo>
                        <a:pt x="330154" y="252245"/>
                      </a:lnTo>
                      <a:lnTo>
                        <a:pt x="332097" y="249088"/>
                      </a:lnTo>
                      <a:lnTo>
                        <a:pt x="335424" y="246842"/>
                      </a:lnTo>
                      <a:lnTo>
                        <a:pt x="337999" y="246441"/>
                      </a:lnTo>
                      <a:lnTo>
                        <a:pt x="345576" y="246878"/>
                      </a:lnTo>
                      <a:lnTo>
                        <a:pt x="348356" y="247643"/>
                      </a:lnTo>
                      <a:lnTo>
                        <a:pt x="350069" y="250229"/>
                      </a:lnTo>
                      <a:lnTo>
                        <a:pt x="354392" y="259252"/>
                      </a:lnTo>
                      <a:lnTo>
                        <a:pt x="356844" y="261340"/>
                      </a:lnTo>
                      <a:lnTo>
                        <a:pt x="360415" y="261085"/>
                      </a:lnTo>
                      <a:lnTo>
                        <a:pt x="367190" y="258815"/>
                      </a:lnTo>
                      <a:lnTo>
                        <a:pt x="370578" y="258693"/>
                      </a:lnTo>
                      <a:lnTo>
                        <a:pt x="378896" y="261061"/>
                      </a:lnTo>
                      <a:lnTo>
                        <a:pt x="381835" y="261292"/>
                      </a:lnTo>
                      <a:lnTo>
                        <a:pt x="390905" y="260162"/>
                      </a:lnTo>
                      <a:lnTo>
                        <a:pt x="396418" y="257612"/>
                      </a:lnTo>
                      <a:lnTo>
                        <a:pt x="408343" y="250096"/>
                      </a:lnTo>
                      <a:lnTo>
                        <a:pt x="413989" y="249088"/>
                      </a:lnTo>
                      <a:lnTo>
                        <a:pt x="417487" y="250922"/>
                      </a:lnTo>
                      <a:lnTo>
                        <a:pt x="418579" y="253848"/>
                      </a:lnTo>
                      <a:lnTo>
                        <a:pt x="419101" y="257127"/>
                      </a:lnTo>
                      <a:lnTo>
                        <a:pt x="421105" y="259907"/>
                      </a:lnTo>
                      <a:lnTo>
                        <a:pt x="424019" y="260247"/>
                      </a:lnTo>
                      <a:lnTo>
                        <a:pt x="425586" y="257952"/>
                      </a:lnTo>
                      <a:lnTo>
                        <a:pt x="425355" y="254649"/>
                      </a:lnTo>
                      <a:lnTo>
                        <a:pt x="423169" y="251929"/>
                      </a:lnTo>
                      <a:lnTo>
                        <a:pt x="427176" y="250096"/>
                      </a:lnTo>
                      <a:lnTo>
                        <a:pt x="427176" y="247109"/>
                      </a:lnTo>
                      <a:lnTo>
                        <a:pt x="426727" y="244462"/>
                      </a:lnTo>
                      <a:lnTo>
                        <a:pt x="429520" y="243684"/>
                      </a:lnTo>
                      <a:lnTo>
                        <a:pt x="432811" y="245008"/>
                      </a:lnTo>
                      <a:lnTo>
                        <a:pt x="438785" y="249914"/>
                      </a:lnTo>
                      <a:lnTo>
                        <a:pt x="442088" y="251456"/>
                      </a:lnTo>
                      <a:lnTo>
                        <a:pt x="453478" y="249804"/>
                      </a:lnTo>
                      <a:lnTo>
                        <a:pt x="460411" y="243162"/>
                      </a:lnTo>
                      <a:lnTo>
                        <a:pt x="461274" y="239058"/>
                      </a:lnTo>
                      <a:lnTo>
                        <a:pt x="491400" y="241620"/>
                      </a:lnTo>
                      <a:lnTo>
                        <a:pt x="502487" y="239252"/>
                      </a:lnTo>
                      <a:lnTo>
                        <a:pt x="515711" y="238087"/>
                      </a:lnTo>
                      <a:lnTo>
                        <a:pt x="538843" y="234541"/>
                      </a:lnTo>
                      <a:lnTo>
                        <a:pt x="553196" y="231019"/>
                      </a:lnTo>
                      <a:lnTo>
                        <a:pt x="565351" y="225118"/>
                      </a:lnTo>
                      <a:lnTo>
                        <a:pt x="576316" y="218051"/>
                      </a:lnTo>
                      <a:lnTo>
                        <a:pt x="587342" y="218051"/>
                      </a:lnTo>
                      <a:lnTo>
                        <a:pt x="599400" y="227474"/>
                      </a:lnTo>
                      <a:lnTo>
                        <a:pt x="611603" y="235731"/>
                      </a:lnTo>
                      <a:lnTo>
                        <a:pt x="623698" y="234529"/>
                      </a:lnTo>
                      <a:lnTo>
                        <a:pt x="634772" y="234529"/>
                      </a:lnTo>
                      <a:lnTo>
                        <a:pt x="645713" y="236909"/>
                      </a:lnTo>
                      <a:lnTo>
                        <a:pt x="674455" y="239240"/>
                      </a:lnTo>
                      <a:lnTo>
                        <a:pt x="692050" y="236909"/>
                      </a:lnTo>
                      <a:lnTo>
                        <a:pt x="710848" y="233351"/>
                      </a:lnTo>
                      <a:lnTo>
                        <a:pt x="725200" y="234529"/>
                      </a:lnTo>
                      <a:lnTo>
                        <a:pt x="735061" y="228639"/>
                      </a:lnTo>
                      <a:lnTo>
                        <a:pt x="753822" y="227474"/>
                      </a:lnTo>
                      <a:lnTo>
                        <a:pt x="765855" y="226296"/>
                      </a:lnTo>
                      <a:lnTo>
                        <a:pt x="779285" y="219216"/>
                      </a:lnTo>
                      <a:lnTo>
                        <a:pt x="791270" y="214529"/>
                      </a:lnTo>
                      <a:lnTo>
                        <a:pt x="800013" y="206236"/>
                      </a:lnTo>
                      <a:lnTo>
                        <a:pt x="800645" y="198756"/>
                      </a:lnTo>
                      <a:lnTo>
                        <a:pt x="801288" y="188568"/>
                      </a:lnTo>
                      <a:lnTo>
                        <a:pt x="806692" y="177894"/>
                      </a:lnTo>
                      <a:lnTo>
                        <a:pt x="814500" y="171713"/>
                      </a:lnTo>
                      <a:lnTo>
                        <a:pt x="815520" y="170815"/>
                      </a:lnTo>
                      <a:lnTo>
                        <a:pt x="825440" y="162557"/>
                      </a:lnTo>
                      <a:lnTo>
                        <a:pt x="831026" y="156632"/>
                      </a:lnTo>
                      <a:lnTo>
                        <a:pt x="835823" y="150111"/>
                      </a:lnTo>
                      <a:lnTo>
                        <a:pt x="838725" y="146007"/>
                      </a:lnTo>
                      <a:lnTo>
                        <a:pt x="842174" y="144015"/>
                      </a:lnTo>
                      <a:lnTo>
                        <a:pt x="850807" y="138940"/>
                      </a:lnTo>
                      <a:lnTo>
                        <a:pt x="860764" y="130670"/>
                      </a:lnTo>
                      <a:lnTo>
                        <a:pt x="864553" y="126578"/>
                      </a:lnTo>
                      <a:lnTo>
                        <a:pt x="869580" y="121199"/>
                      </a:lnTo>
                      <a:lnTo>
                        <a:pt x="880582" y="102292"/>
                      </a:lnTo>
                      <a:lnTo>
                        <a:pt x="889409" y="101114"/>
                      </a:lnTo>
                      <a:lnTo>
                        <a:pt x="891583" y="100629"/>
                      </a:lnTo>
                      <a:lnTo>
                        <a:pt x="906009" y="97520"/>
                      </a:lnTo>
                      <a:lnTo>
                        <a:pt x="922584" y="94023"/>
                      </a:lnTo>
                      <a:lnTo>
                        <a:pt x="934642" y="91631"/>
                      </a:lnTo>
                      <a:lnTo>
                        <a:pt x="940531" y="101940"/>
                      </a:lnTo>
                      <a:lnTo>
                        <a:pt x="949372" y="99098"/>
                      </a:lnTo>
                      <a:lnTo>
                        <a:pt x="972140" y="91946"/>
                      </a:lnTo>
                      <a:lnTo>
                        <a:pt x="989759" y="83665"/>
                      </a:lnTo>
                      <a:lnTo>
                        <a:pt x="992042" y="82693"/>
                      </a:lnTo>
                      <a:lnTo>
                        <a:pt x="999145" y="79718"/>
                      </a:lnTo>
                      <a:lnTo>
                        <a:pt x="1009637" y="75383"/>
                      </a:lnTo>
                      <a:lnTo>
                        <a:pt x="1012260" y="73319"/>
                      </a:lnTo>
                      <a:lnTo>
                        <a:pt x="1021780" y="65912"/>
                      </a:lnTo>
                      <a:lnTo>
                        <a:pt x="1032805" y="62342"/>
                      </a:lnTo>
                      <a:lnTo>
                        <a:pt x="1047086" y="55202"/>
                      </a:lnTo>
                      <a:lnTo>
                        <a:pt x="1060334" y="48122"/>
                      </a:lnTo>
                      <a:lnTo>
                        <a:pt x="1075731" y="65317"/>
                      </a:lnTo>
                      <a:lnTo>
                        <a:pt x="1080212" y="58189"/>
                      </a:lnTo>
                      <a:lnTo>
                        <a:pt x="1083502" y="48681"/>
                      </a:lnTo>
                      <a:lnTo>
                        <a:pt x="1083502" y="39210"/>
                      </a:lnTo>
                      <a:lnTo>
                        <a:pt x="1085724" y="30904"/>
                      </a:lnTo>
                      <a:lnTo>
                        <a:pt x="1102275" y="23752"/>
                      </a:lnTo>
                      <a:lnTo>
                        <a:pt x="1123197" y="17850"/>
                      </a:lnTo>
                      <a:lnTo>
                        <a:pt x="1147714" y="7322"/>
                      </a:lnTo>
                      <a:moveTo>
                        <a:pt x="1149438" y="0"/>
                      </a:moveTo>
                      <a:lnTo>
                        <a:pt x="1145334" y="1736"/>
                      </a:lnTo>
                      <a:lnTo>
                        <a:pt x="1121243" y="11937"/>
                      </a:lnTo>
                      <a:lnTo>
                        <a:pt x="1100697" y="17729"/>
                      </a:lnTo>
                      <a:lnTo>
                        <a:pt x="1100308" y="17838"/>
                      </a:lnTo>
                      <a:lnTo>
                        <a:pt x="1099944" y="17996"/>
                      </a:lnTo>
                      <a:lnTo>
                        <a:pt x="1083393" y="25148"/>
                      </a:lnTo>
                      <a:lnTo>
                        <a:pt x="1080685" y="26314"/>
                      </a:lnTo>
                      <a:lnTo>
                        <a:pt x="1079932" y="29155"/>
                      </a:lnTo>
                      <a:lnTo>
                        <a:pt x="1077710" y="37461"/>
                      </a:lnTo>
                      <a:lnTo>
                        <a:pt x="1077503" y="38226"/>
                      </a:lnTo>
                      <a:lnTo>
                        <a:pt x="1077503" y="39015"/>
                      </a:lnTo>
                      <a:lnTo>
                        <a:pt x="1077503" y="47467"/>
                      </a:lnTo>
                      <a:lnTo>
                        <a:pt x="1074881" y="55007"/>
                      </a:lnTo>
                      <a:lnTo>
                        <a:pt x="1064924" y="43872"/>
                      </a:lnTo>
                      <a:lnTo>
                        <a:pt x="1061742" y="40327"/>
                      </a:lnTo>
                      <a:lnTo>
                        <a:pt x="1057541" y="42573"/>
                      </a:lnTo>
                      <a:lnTo>
                        <a:pt x="1044280" y="49653"/>
                      </a:lnTo>
                      <a:lnTo>
                        <a:pt x="1030571" y="56513"/>
                      </a:lnTo>
                      <a:lnTo>
                        <a:pt x="1019971" y="59938"/>
                      </a:lnTo>
                      <a:lnTo>
                        <a:pt x="1018963" y="60265"/>
                      </a:lnTo>
                      <a:lnTo>
                        <a:pt x="1018125" y="60921"/>
                      </a:lnTo>
                      <a:lnTo>
                        <a:pt x="1008592" y="68328"/>
                      </a:lnTo>
                      <a:lnTo>
                        <a:pt x="1006613" y="69895"/>
                      </a:lnTo>
                      <a:lnTo>
                        <a:pt x="996887" y="73914"/>
                      </a:lnTo>
                      <a:lnTo>
                        <a:pt x="989759" y="76901"/>
                      </a:lnTo>
                      <a:lnTo>
                        <a:pt x="987464" y="77873"/>
                      </a:lnTo>
                      <a:lnTo>
                        <a:pt x="970002" y="86081"/>
                      </a:lnTo>
                      <a:lnTo>
                        <a:pt x="947623" y="93112"/>
                      </a:lnTo>
                      <a:lnTo>
                        <a:pt x="943421" y="94460"/>
                      </a:lnTo>
                      <a:lnTo>
                        <a:pt x="939973" y="88425"/>
                      </a:lnTo>
                      <a:lnTo>
                        <a:pt x="937811" y="84636"/>
                      </a:lnTo>
                      <a:lnTo>
                        <a:pt x="933513" y="85486"/>
                      </a:lnTo>
                      <a:lnTo>
                        <a:pt x="921455" y="87878"/>
                      </a:lnTo>
                      <a:lnTo>
                        <a:pt x="904807" y="91388"/>
                      </a:lnTo>
                      <a:lnTo>
                        <a:pt x="890369" y="94509"/>
                      </a:lnTo>
                      <a:lnTo>
                        <a:pt x="888159" y="94994"/>
                      </a:lnTo>
                      <a:lnTo>
                        <a:pt x="879841" y="96075"/>
                      </a:lnTo>
                      <a:lnTo>
                        <a:pt x="876902" y="96464"/>
                      </a:lnTo>
                      <a:lnTo>
                        <a:pt x="875409" y="99038"/>
                      </a:lnTo>
                      <a:lnTo>
                        <a:pt x="864735" y="117349"/>
                      </a:lnTo>
                      <a:lnTo>
                        <a:pt x="860182" y="122231"/>
                      </a:lnTo>
                      <a:lnTo>
                        <a:pt x="856636" y="126044"/>
                      </a:lnTo>
                      <a:lnTo>
                        <a:pt x="847359" y="133742"/>
                      </a:lnTo>
                      <a:lnTo>
                        <a:pt x="839138" y="138575"/>
                      </a:lnTo>
                      <a:lnTo>
                        <a:pt x="835738" y="140542"/>
                      </a:lnTo>
                      <a:lnTo>
                        <a:pt x="834584" y="141210"/>
                      </a:lnTo>
                      <a:lnTo>
                        <a:pt x="833819" y="142303"/>
                      </a:lnTo>
                      <a:lnTo>
                        <a:pt x="830917" y="146407"/>
                      </a:lnTo>
                      <a:lnTo>
                        <a:pt x="826412" y="152540"/>
                      </a:lnTo>
                      <a:lnTo>
                        <a:pt x="821336" y="157919"/>
                      </a:lnTo>
                      <a:lnTo>
                        <a:pt x="811695" y="165945"/>
                      </a:lnTo>
                      <a:lnTo>
                        <a:pt x="810529" y="166965"/>
                      </a:lnTo>
                      <a:lnTo>
                        <a:pt x="802976" y="172940"/>
                      </a:lnTo>
                      <a:lnTo>
                        <a:pt x="801932" y="173765"/>
                      </a:lnTo>
                      <a:lnTo>
                        <a:pt x="801325" y="174956"/>
                      </a:lnTo>
                      <a:lnTo>
                        <a:pt x="795921" y="185629"/>
                      </a:lnTo>
                      <a:lnTo>
                        <a:pt x="795362" y="186746"/>
                      </a:lnTo>
                      <a:lnTo>
                        <a:pt x="795278" y="187997"/>
                      </a:lnTo>
                      <a:lnTo>
                        <a:pt x="794634" y="198185"/>
                      </a:lnTo>
                      <a:lnTo>
                        <a:pt x="794209" y="203236"/>
                      </a:lnTo>
                      <a:lnTo>
                        <a:pt x="788004" y="209113"/>
                      </a:lnTo>
                      <a:lnTo>
                        <a:pt x="777124" y="213364"/>
                      </a:lnTo>
                      <a:lnTo>
                        <a:pt x="776808" y="213485"/>
                      </a:lnTo>
                      <a:lnTo>
                        <a:pt x="776504" y="213643"/>
                      </a:lnTo>
                      <a:lnTo>
                        <a:pt x="764119" y="220164"/>
                      </a:lnTo>
                      <a:lnTo>
                        <a:pt x="753263" y="221220"/>
                      </a:lnTo>
                      <a:lnTo>
                        <a:pt x="734721" y="222361"/>
                      </a:lnTo>
                      <a:lnTo>
                        <a:pt x="733251" y="222446"/>
                      </a:lnTo>
                      <a:lnTo>
                        <a:pt x="731989" y="223199"/>
                      </a:lnTo>
                      <a:lnTo>
                        <a:pt x="723792" y="228093"/>
                      </a:lnTo>
                      <a:lnTo>
                        <a:pt x="711394" y="227073"/>
                      </a:lnTo>
                      <a:lnTo>
                        <a:pt x="710581" y="227012"/>
                      </a:lnTo>
                      <a:lnTo>
                        <a:pt x="709779" y="227170"/>
                      </a:lnTo>
                      <a:lnTo>
                        <a:pt x="690982" y="230728"/>
                      </a:lnTo>
                      <a:lnTo>
                        <a:pt x="674358" y="232926"/>
                      </a:lnTo>
                      <a:lnTo>
                        <a:pt x="646672" y="230667"/>
                      </a:lnTo>
                      <a:lnTo>
                        <a:pt x="636120" y="228372"/>
                      </a:lnTo>
                      <a:lnTo>
                        <a:pt x="635477" y="228239"/>
                      </a:lnTo>
                      <a:lnTo>
                        <a:pt x="634821" y="228239"/>
                      </a:lnTo>
                      <a:lnTo>
                        <a:pt x="623746" y="228239"/>
                      </a:lnTo>
                      <a:lnTo>
                        <a:pt x="613243" y="229259"/>
                      </a:lnTo>
                      <a:lnTo>
                        <a:pt x="602861" y="222228"/>
                      </a:lnTo>
                      <a:lnTo>
                        <a:pt x="591130" y="213048"/>
                      </a:lnTo>
                      <a:lnTo>
                        <a:pt x="589479" y="211761"/>
                      </a:lnTo>
                      <a:lnTo>
                        <a:pt x="587390" y="211761"/>
                      </a:lnTo>
                      <a:lnTo>
                        <a:pt x="576365" y="211761"/>
                      </a:lnTo>
                      <a:lnTo>
                        <a:pt x="574579" y="211761"/>
                      </a:lnTo>
                      <a:lnTo>
                        <a:pt x="573086" y="212732"/>
                      </a:lnTo>
                      <a:lnTo>
                        <a:pt x="562424" y="219593"/>
                      </a:lnTo>
                      <a:lnTo>
                        <a:pt x="551168" y="225045"/>
                      </a:lnTo>
                      <a:lnTo>
                        <a:pt x="537447" y="228409"/>
                      </a:lnTo>
                      <a:lnTo>
                        <a:pt x="514836" y="231857"/>
                      </a:lnTo>
                      <a:lnTo>
                        <a:pt x="502001" y="232974"/>
                      </a:lnTo>
                      <a:lnTo>
                        <a:pt x="501637" y="232999"/>
                      </a:lnTo>
                      <a:lnTo>
                        <a:pt x="501273" y="233084"/>
                      </a:lnTo>
                      <a:lnTo>
                        <a:pt x="491073" y="235257"/>
                      </a:lnTo>
                      <a:lnTo>
                        <a:pt x="461832" y="232768"/>
                      </a:lnTo>
                      <a:lnTo>
                        <a:pt x="456489" y="232307"/>
                      </a:lnTo>
                      <a:lnTo>
                        <a:pt x="455385" y="237564"/>
                      </a:lnTo>
                      <a:lnTo>
                        <a:pt x="454911" y="239835"/>
                      </a:lnTo>
                      <a:lnTo>
                        <a:pt x="450722" y="243842"/>
                      </a:lnTo>
                      <a:lnTo>
                        <a:pt x="443059" y="244960"/>
                      </a:lnTo>
                      <a:lnTo>
                        <a:pt x="442088" y="244498"/>
                      </a:lnTo>
                      <a:lnTo>
                        <a:pt x="436709" y="240078"/>
                      </a:lnTo>
                      <a:lnTo>
                        <a:pt x="435980" y="239495"/>
                      </a:lnTo>
                      <a:lnTo>
                        <a:pt x="435130" y="239155"/>
                      </a:lnTo>
                      <a:lnTo>
                        <a:pt x="431839" y="237832"/>
                      </a:lnTo>
                      <a:lnTo>
                        <a:pt x="429933" y="237054"/>
                      </a:lnTo>
                      <a:lnTo>
                        <a:pt x="427941" y="237601"/>
                      </a:lnTo>
                      <a:lnTo>
                        <a:pt x="425148" y="238378"/>
                      </a:lnTo>
                      <a:lnTo>
                        <a:pt x="419866" y="239847"/>
                      </a:lnTo>
                      <a:lnTo>
                        <a:pt x="420777" y="245251"/>
                      </a:lnTo>
                      <a:lnTo>
                        <a:pt x="420838" y="245579"/>
                      </a:lnTo>
                      <a:lnTo>
                        <a:pt x="420328" y="245324"/>
                      </a:lnTo>
                      <a:lnTo>
                        <a:pt x="416843" y="243490"/>
                      </a:lnTo>
                      <a:lnTo>
                        <a:pt x="414997" y="242519"/>
                      </a:lnTo>
                      <a:lnTo>
                        <a:pt x="412957" y="242883"/>
                      </a:lnTo>
                      <a:lnTo>
                        <a:pt x="407311" y="243891"/>
                      </a:lnTo>
                      <a:lnTo>
                        <a:pt x="406145" y="244097"/>
                      </a:lnTo>
                      <a:lnTo>
                        <a:pt x="405137" y="244729"/>
                      </a:lnTo>
                      <a:lnTo>
                        <a:pt x="393540" y="252027"/>
                      </a:lnTo>
                      <a:lnTo>
                        <a:pt x="389242" y="254018"/>
                      </a:lnTo>
                      <a:lnTo>
                        <a:pt x="381725" y="254953"/>
                      </a:lnTo>
                      <a:lnTo>
                        <a:pt x="380001" y="254820"/>
                      </a:lnTo>
                      <a:lnTo>
                        <a:pt x="372266" y="252622"/>
                      </a:lnTo>
                      <a:lnTo>
                        <a:pt x="371355" y="252367"/>
                      </a:lnTo>
                      <a:lnTo>
                        <a:pt x="370396" y="252403"/>
                      </a:lnTo>
                      <a:lnTo>
                        <a:pt x="367008" y="252525"/>
                      </a:lnTo>
                      <a:lnTo>
                        <a:pt x="366134" y="252549"/>
                      </a:lnTo>
                      <a:lnTo>
                        <a:pt x="365296" y="252828"/>
                      </a:lnTo>
                      <a:lnTo>
                        <a:pt x="359261" y="254856"/>
                      </a:lnTo>
                      <a:lnTo>
                        <a:pt x="359164" y="254856"/>
                      </a:lnTo>
                      <a:lnTo>
                        <a:pt x="355582" y="247364"/>
                      </a:lnTo>
                      <a:lnTo>
                        <a:pt x="355400" y="246987"/>
                      </a:lnTo>
                      <a:lnTo>
                        <a:pt x="355156" y="246647"/>
                      </a:lnTo>
                      <a:lnTo>
                        <a:pt x="353444" y="244061"/>
                      </a:lnTo>
                      <a:lnTo>
                        <a:pt x="352182" y="242154"/>
                      </a:lnTo>
                      <a:lnTo>
                        <a:pt x="349984" y="241547"/>
                      </a:lnTo>
                      <a:lnTo>
                        <a:pt x="347203" y="240782"/>
                      </a:lnTo>
                      <a:lnTo>
                        <a:pt x="346584" y="240612"/>
                      </a:lnTo>
                      <a:lnTo>
                        <a:pt x="345940" y="240576"/>
                      </a:lnTo>
                      <a:lnTo>
                        <a:pt x="338363" y="240139"/>
                      </a:lnTo>
                      <a:lnTo>
                        <a:pt x="337707" y="240102"/>
                      </a:lnTo>
                      <a:lnTo>
                        <a:pt x="337064" y="240199"/>
                      </a:lnTo>
                      <a:lnTo>
                        <a:pt x="334489" y="240600"/>
                      </a:lnTo>
                      <a:lnTo>
                        <a:pt x="333154" y="240819"/>
                      </a:lnTo>
                      <a:lnTo>
                        <a:pt x="332036" y="241572"/>
                      </a:lnTo>
                      <a:lnTo>
                        <a:pt x="328709" y="243818"/>
                      </a:lnTo>
                      <a:lnTo>
                        <a:pt x="327617" y="244559"/>
                      </a:lnTo>
                      <a:lnTo>
                        <a:pt x="326924" y="245676"/>
                      </a:lnTo>
                      <a:lnTo>
                        <a:pt x="324981" y="248833"/>
                      </a:lnTo>
                      <a:lnTo>
                        <a:pt x="324727" y="249258"/>
                      </a:lnTo>
                      <a:lnTo>
                        <a:pt x="324532" y="249720"/>
                      </a:lnTo>
                      <a:lnTo>
                        <a:pt x="323221" y="252937"/>
                      </a:lnTo>
                      <a:lnTo>
                        <a:pt x="321606" y="255621"/>
                      </a:lnTo>
                      <a:lnTo>
                        <a:pt x="320282" y="256945"/>
                      </a:lnTo>
                      <a:lnTo>
                        <a:pt x="318315" y="258183"/>
                      </a:lnTo>
                      <a:lnTo>
                        <a:pt x="315996" y="259191"/>
                      </a:lnTo>
                      <a:lnTo>
                        <a:pt x="313968" y="259725"/>
                      </a:lnTo>
                      <a:lnTo>
                        <a:pt x="312049" y="259774"/>
                      </a:lnTo>
                      <a:lnTo>
                        <a:pt x="310980" y="259373"/>
                      </a:lnTo>
                      <a:lnTo>
                        <a:pt x="305917" y="256386"/>
                      </a:lnTo>
                      <a:lnTo>
                        <a:pt x="305091" y="255900"/>
                      </a:lnTo>
                      <a:lnTo>
                        <a:pt x="304156" y="255682"/>
                      </a:lnTo>
                      <a:lnTo>
                        <a:pt x="297721" y="254249"/>
                      </a:lnTo>
                      <a:lnTo>
                        <a:pt x="297004" y="254091"/>
                      </a:lnTo>
                      <a:lnTo>
                        <a:pt x="296264" y="254103"/>
                      </a:lnTo>
                      <a:lnTo>
                        <a:pt x="283368" y="254370"/>
                      </a:lnTo>
                      <a:lnTo>
                        <a:pt x="277175" y="253654"/>
                      </a:lnTo>
                      <a:lnTo>
                        <a:pt x="276810" y="253617"/>
                      </a:lnTo>
                      <a:lnTo>
                        <a:pt x="276446" y="253617"/>
                      </a:lnTo>
                      <a:lnTo>
                        <a:pt x="270873" y="253642"/>
                      </a:lnTo>
                      <a:lnTo>
                        <a:pt x="269610" y="253642"/>
                      </a:lnTo>
                      <a:lnTo>
                        <a:pt x="268444" y="254152"/>
                      </a:lnTo>
                      <a:lnTo>
                        <a:pt x="259191" y="258232"/>
                      </a:lnTo>
                      <a:lnTo>
                        <a:pt x="259167" y="258244"/>
                      </a:lnTo>
                      <a:lnTo>
                        <a:pt x="248457" y="258839"/>
                      </a:lnTo>
                      <a:lnTo>
                        <a:pt x="206333" y="261182"/>
                      </a:lnTo>
                      <a:lnTo>
                        <a:pt x="183626" y="258705"/>
                      </a:lnTo>
                      <a:lnTo>
                        <a:pt x="163893" y="248845"/>
                      </a:lnTo>
                      <a:lnTo>
                        <a:pt x="146857" y="237115"/>
                      </a:lnTo>
                      <a:lnTo>
                        <a:pt x="145715" y="236326"/>
                      </a:lnTo>
                      <a:lnTo>
                        <a:pt x="144343" y="236119"/>
                      </a:lnTo>
                      <a:lnTo>
                        <a:pt x="138017" y="235148"/>
                      </a:lnTo>
                      <a:lnTo>
                        <a:pt x="136608" y="234929"/>
                      </a:lnTo>
                      <a:lnTo>
                        <a:pt x="135248" y="235367"/>
                      </a:lnTo>
                      <a:lnTo>
                        <a:pt x="131472" y="236569"/>
                      </a:lnTo>
                      <a:lnTo>
                        <a:pt x="130476" y="236884"/>
                      </a:lnTo>
                      <a:lnTo>
                        <a:pt x="129638" y="237528"/>
                      </a:lnTo>
                      <a:lnTo>
                        <a:pt x="126930" y="239592"/>
                      </a:lnTo>
                      <a:lnTo>
                        <a:pt x="126651" y="239811"/>
                      </a:lnTo>
                      <a:lnTo>
                        <a:pt x="126396" y="240066"/>
                      </a:lnTo>
                      <a:lnTo>
                        <a:pt x="124149" y="242240"/>
                      </a:lnTo>
                      <a:lnTo>
                        <a:pt x="122267" y="243636"/>
                      </a:lnTo>
                      <a:lnTo>
                        <a:pt x="120749" y="244109"/>
                      </a:lnTo>
                      <a:lnTo>
                        <a:pt x="114909" y="243879"/>
                      </a:lnTo>
                      <a:lnTo>
                        <a:pt x="114532" y="243867"/>
                      </a:lnTo>
                      <a:lnTo>
                        <a:pt x="114168" y="243903"/>
                      </a:lnTo>
                      <a:lnTo>
                        <a:pt x="110719" y="244194"/>
                      </a:lnTo>
                      <a:lnTo>
                        <a:pt x="109250" y="244316"/>
                      </a:lnTo>
                      <a:lnTo>
                        <a:pt x="107999" y="245093"/>
                      </a:lnTo>
                      <a:lnTo>
                        <a:pt x="101746" y="249003"/>
                      </a:lnTo>
                      <a:lnTo>
                        <a:pt x="100034" y="250072"/>
                      </a:lnTo>
                      <a:lnTo>
                        <a:pt x="99305" y="251954"/>
                      </a:lnTo>
                      <a:lnTo>
                        <a:pt x="95128" y="262688"/>
                      </a:lnTo>
                      <a:lnTo>
                        <a:pt x="92590" y="264898"/>
                      </a:lnTo>
                      <a:lnTo>
                        <a:pt x="87320" y="266355"/>
                      </a:lnTo>
                      <a:lnTo>
                        <a:pt x="66483" y="268274"/>
                      </a:lnTo>
                      <a:lnTo>
                        <a:pt x="65997" y="268323"/>
                      </a:lnTo>
                      <a:lnTo>
                        <a:pt x="65523" y="268444"/>
                      </a:lnTo>
                      <a:lnTo>
                        <a:pt x="54121" y="271395"/>
                      </a:lnTo>
                      <a:lnTo>
                        <a:pt x="51304" y="271650"/>
                      </a:lnTo>
                      <a:lnTo>
                        <a:pt x="50539" y="271540"/>
                      </a:lnTo>
                      <a:lnTo>
                        <a:pt x="47187" y="270520"/>
                      </a:lnTo>
                      <a:lnTo>
                        <a:pt x="46629" y="270350"/>
                      </a:lnTo>
                      <a:lnTo>
                        <a:pt x="46058" y="270290"/>
                      </a:lnTo>
                      <a:lnTo>
                        <a:pt x="44625" y="270071"/>
                      </a:lnTo>
                      <a:lnTo>
                        <a:pt x="44140" y="273216"/>
                      </a:lnTo>
                      <a:lnTo>
                        <a:pt x="43083" y="275548"/>
                      </a:lnTo>
                      <a:lnTo>
                        <a:pt x="39489" y="274248"/>
                      </a:lnTo>
                      <a:lnTo>
                        <a:pt x="38566" y="276798"/>
                      </a:lnTo>
                      <a:lnTo>
                        <a:pt x="37813" y="278838"/>
                      </a:lnTo>
                      <a:lnTo>
                        <a:pt x="38542" y="280890"/>
                      </a:lnTo>
                      <a:lnTo>
                        <a:pt x="42330" y="291613"/>
                      </a:lnTo>
                      <a:lnTo>
                        <a:pt x="42962" y="294381"/>
                      </a:lnTo>
                      <a:lnTo>
                        <a:pt x="44540" y="312911"/>
                      </a:lnTo>
                      <a:lnTo>
                        <a:pt x="42792" y="315716"/>
                      </a:lnTo>
                      <a:lnTo>
                        <a:pt x="42513" y="316166"/>
                      </a:lnTo>
                      <a:lnTo>
                        <a:pt x="42306" y="316664"/>
                      </a:lnTo>
                      <a:lnTo>
                        <a:pt x="42039" y="317344"/>
                      </a:lnTo>
                      <a:lnTo>
                        <a:pt x="41687" y="318424"/>
                      </a:lnTo>
                      <a:lnTo>
                        <a:pt x="41407" y="319456"/>
                      </a:lnTo>
                      <a:lnTo>
                        <a:pt x="39452" y="324775"/>
                      </a:lnTo>
                      <a:lnTo>
                        <a:pt x="39331" y="325103"/>
                      </a:lnTo>
                      <a:lnTo>
                        <a:pt x="39246" y="325455"/>
                      </a:lnTo>
                      <a:lnTo>
                        <a:pt x="38335" y="329329"/>
                      </a:lnTo>
                      <a:lnTo>
                        <a:pt x="36611" y="341641"/>
                      </a:lnTo>
                      <a:lnTo>
                        <a:pt x="36125" y="341921"/>
                      </a:lnTo>
                      <a:lnTo>
                        <a:pt x="35822" y="342103"/>
                      </a:lnTo>
                      <a:lnTo>
                        <a:pt x="35542" y="342322"/>
                      </a:lnTo>
                      <a:lnTo>
                        <a:pt x="34000" y="343475"/>
                      </a:lnTo>
                      <a:lnTo>
                        <a:pt x="33515" y="343839"/>
                      </a:lnTo>
                      <a:lnTo>
                        <a:pt x="33114" y="344301"/>
                      </a:lnTo>
                      <a:lnTo>
                        <a:pt x="32531" y="344957"/>
                      </a:lnTo>
                      <a:lnTo>
                        <a:pt x="31134" y="346523"/>
                      </a:lnTo>
                      <a:lnTo>
                        <a:pt x="31001" y="348612"/>
                      </a:lnTo>
                      <a:lnTo>
                        <a:pt x="30940" y="349559"/>
                      </a:lnTo>
                      <a:lnTo>
                        <a:pt x="30989" y="351817"/>
                      </a:lnTo>
                      <a:lnTo>
                        <a:pt x="31025" y="352582"/>
                      </a:lnTo>
                      <a:lnTo>
                        <a:pt x="28026" y="354076"/>
                      </a:lnTo>
                      <a:lnTo>
                        <a:pt x="27030" y="354574"/>
                      </a:lnTo>
                      <a:lnTo>
                        <a:pt x="26277" y="355387"/>
                      </a:lnTo>
                      <a:lnTo>
                        <a:pt x="25707" y="356007"/>
                      </a:lnTo>
                      <a:lnTo>
                        <a:pt x="25112" y="356650"/>
                      </a:lnTo>
                      <a:lnTo>
                        <a:pt x="24723" y="357427"/>
                      </a:lnTo>
                      <a:lnTo>
                        <a:pt x="23909" y="359079"/>
                      </a:lnTo>
                      <a:lnTo>
                        <a:pt x="21614" y="364592"/>
                      </a:lnTo>
                      <a:lnTo>
                        <a:pt x="20995" y="365004"/>
                      </a:lnTo>
                      <a:lnTo>
                        <a:pt x="19902" y="365308"/>
                      </a:lnTo>
                      <a:lnTo>
                        <a:pt x="16745" y="366207"/>
                      </a:lnTo>
                      <a:lnTo>
                        <a:pt x="15762" y="369327"/>
                      </a:lnTo>
                      <a:lnTo>
                        <a:pt x="15361" y="370651"/>
                      </a:lnTo>
                      <a:lnTo>
                        <a:pt x="14778" y="372472"/>
                      </a:lnTo>
                      <a:lnTo>
                        <a:pt x="15361" y="374294"/>
                      </a:lnTo>
                      <a:lnTo>
                        <a:pt x="15628" y="375192"/>
                      </a:lnTo>
                      <a:lnTo>
                        <a:pt x="15324" y="375290"/>
                      </a:lnTo>
                      <a:lnTo>
                        <a:pt x="11232" y="376892"/>
                      </a:lnTo>
                      <a:lnTo>
                        <a:pt x="6254" y="377961"/>
                      </a:lnTo>
                      <a:lnTo>
                        <a:pt x="1566" y="378969"/>
                      </a:lnTo>
                      <a:lnTo>
                        <a:pt x="1457" y="383765"/>
                      </a:lnTo>
                      <a:lnTo>
                        <a:pt x="1384" y="387092"/>
                      </a:lnTo>
                      <a:lnTo>
                        <a:pt x="0" y="390687"/>
                      </a:lnTo>
                      <a:lnTo>
                        <a:pt x="2951" y="393480"/>
                      </a:lnTo>
                      <a:lnTo>
                        <a:pt x="3412" y="393917"/>
                      </a:lnTo>
                      <a:lnTo>
                        <a:pt x="4177" y="394658"/>
                      </a:lnTo>
                      <a:lnTo>
                        <a:pt x="5149" y="395083"/>
                      </a:lnTo>
                      <a:lnTo>
                        <a:pt x="7456" y="396091"/>
                      </a:lnTo>
                      <a:lnTo>
                        <a:pt x="8221" y="396418"/>
                      </a:lnTo>
                      <a:lnTo>
                        <a:pt x="9046" y="396528"/>
                      </a:lnTo>
                      <a:lnTo>
                        <a:pt x="10419" y="396722"/>
                      </a:lnTo>
                      <a:lnTo>
                        <a:pt x="11086" y="396819"/>
                      </a:lnTo>
                      <a:lnTo>
                        <a:pt x="11766" y="396758"/>
                      </a:lnTo>
                      <a:lnTo>
                        <a:pt x="14013" y="396564"/>
                      </a:lnTo>
                      <a:lnTo>
                        <a:pt x="14280" y="397305"/>
                      </a:lnTo>
                      <a:lnTo>
                        <a:pt x="14972" y="400086"/>
                      </a:lnTo>
                      <a:lnTo>
                        <a:pt x="15166" y="400814"/>
                      </a:lnTo>
                      <a:lnTo>
                        <a:pt x="15531" y="401482"/>
                      </a:lnTo>
                      <a:lnTo>
                        <a:pt x="17012" y="404202"/>
                      </a:lnTo>
                      <a:lnTo>
                        <a:pt x="17194" y="404530"/>
                      </a:lnTo>
                      <a:lnTo>
                        <a:pt x="17425" y="404833"/>
                      </a:lnTo>
                      <a:lnTo>
                        <a:pt x="18907" y="406898"/>
                      </a:lnTo>
                      <a:lnTo>
                        <a:pt x="18907" y="406922"/>
                      </a:lnTo>
                      <a:lnTo>
                        <a:pt x="18627" y="408500"/>
                      </a:lnTo>
                      <a:lnTo>
                        <a:pt x="18469" y="409302"/>
                      </a:lnTo>
                      <a:lnTo>
                        <a:pt x="18542" y="410116"/>
                      </a:lnTo>
                      <a:lnTo>
                        <a:pt x="18834" y="413613"/>
                      </a:lnTo>
                      <a:lnTo>
                        <a:pt x="18943" y="414912"/>
                      </a:lnTo>
                      <a:lnTo>
                        <a:pt x="19587" y="416053"/>
                      </a:lnTo>
                      <a:lnTo>
                        <a:pt x="20619" y="417899"/>
                      </a:lnTo>
                      <a:lnTo>
                        <a:pt x="20861" y="418324"/>
                      </a:lnTo>
                      <a:lnTo>
                        <a:pt x="21153" y="418701"/>
                      </a:lnTo>
                      <a:lnTo>
                        <a:pt x="24675" y="423157"/>
                      </a:lnTo>
                      <a:lnTo>
                        <a:pt x="25865" y="425331"/>
                      </a:lnTo>
                      <a:lnTo>
                        <a:pt x="26059" y="425671"/>
                      </a:lnTo>
                      <a:lnTo>
                        <a:pt x="26301" y="425986"/>
                      </a:lnTo>
                      <a:lnTo>
                        <a:pt x="27346" y="427419"/>
                      </a:lnTo>
                      <a:lnTo>
                        <a:pt x="28463" y="428949"/>
                      </a:lnTo>
                      <a:lnTo>
                        <a:pt x="30236" y="429581"/>
                      </a:lnTo>
                      <a:lnTo>
                        <a:pt x="31365" y="429981"/>
                      </a:lnTo>
                      <a:lnTo>
                        <a:pt x="33648" y="430783"/>
                      </a:lnTo>
                      <a:lnTo>
                        <a:pt x="35664" y="429884"/>
                      </a:lnTo>
                      <a:lnTo>
                        <a:pt x="68790" y="455700"/>
                      </a:lnTo>
                      <a:lnTo>
                        <a:pt x="70453" y="456987"/>
                      </a:lnTo>
                      <a:lnTo>
                        <a:pt x="72566" y="456975"/>
                      </a:lnTo>
                      <a:cubicBezTo>
                        <a:pt x="86397" y="456890"/>
                        <a:pt x="91691" y="451620"/>
                        <a:pt x="96634" y="441906"/>
                      </a:cubicBezTo>
                      <a:lnTo>
                        <a:pt x="97338" y="440485"/>
                      </a:lnTo>
                      <a:cubicBezTo>
                        <a:pt x="98552" y="438020"/>
                        <a:pt x="98552" y="438020"/>
                        <a:pt x="100641" y="437413"/>
                      </a:cubicBezTo>
                      <a:cubicBezTo>
                        <a:pt x="103907" y="436454"/>
                        <a:pt x="107307" y="436259"/>
                        <a:pt x="111424" y="436259"/>
                      </a:cubicBezTo>
                      <a:lnTo>
                        <a:pt x="113245" y="436271"/>
                      </a:lnTo>
                      <a:lnTo>
                        <a:pt x="114653" y="436284"/>
                      </a:lnTo>
                      <a:lnTo>
                        <a:pt x="116730" y="436296"/>
                      </a:lnTo>
                      <a:cubicBezTo>
                        <a:pt x="121514" y="436296"/>
                        <a:pt x="124380" y="435798"/>
                        <a:pt x="129820" y="432762"/>
                      </a:cubicBezTo>
                      <a:lnTo>
                        <a:pt x="131921" y="431560"/>
                      </a:lnTo>
                      <a:cubicBezTo>
                        <a:pt x="134204" y="430236"/>
                        <a:pt x="136365" y="428986"/>
                        <a:pt x="138369" y="428634"/>
                      </a:cubicBezTo>
                      <a:cubicBezTo>
                        <a:pt x="140579" y="428257"/>
                        <a:pt x="142983" y="428087"/>
                        <a:pt x="146201" y="428087"/>
                      </a:cubicBezTo>
                      <a:cubicBezTo>
                        <a:pt x="147561" y="428087"/>
                        <a:pt x="148921" y="428111"/>
                        <a:pt x="150269" y="428148"/>
                      </a:cubicBezTo>
                      <a:cubicBezTo>
                        <a:pt x="151714" y="428172"/>
                        <a:pt x="153147" y="428196"/>
                        <a:pt x="154592" y="428196"/>
                      </a:cubicBezTo>
                      <a:cubicBezTo>
                        <a:pt x="157883" y="428196"/>
                        <a:pt x="162242" y="428063"/>
                        <a:pt x="166783" y="427019"/>
                      </a:cubicBezTo>
                      <a:cubicBezTo>
                        <a:pt x="170159" y="426241"/>
                        <a:pt x="174106" y="425343"/>
                        <a:pt x="177530" y="425343"/>
                      </a:cubicBezTo>
                      <a:cubicBezTo>
                        <a:pt x="181780" y="425343"/>
                        <a:pt x="182849" y="426715"/>
                        <a:pt x="183201" y="427176"/>
                      </a:cubicBezTo>
                      <a:cubicBezTo>
                        <a:pt x="183346" y="427383"/>
                        <a:pt x="183395" y="427516"/>
                        <a:pt x="183553" y="428658"/>
                      </a:cubicBezTo>
                      <a:cubicBezTo>
                        <a:pt x="183856" y="430759"/>
                        <a:pt x="184366" y="434268"/>
                        <a:pt x="188252" y="437352"/>
                      </a:cubicBezTo>
                      <a:cubicBezTo>
                        <a:pt x="192150" y="440473"/>
                        <a:pt x="198076" y="440716"/>
                        <a:pt x="199776" y="440716"/>
                      </a:cubicBezTo>
                      <a:cubicBezTo>
                        <a:pt x="201391" y="440716"/>
                        <a:pt x="203771" y="440546"/>
                        <a:pt x="205969" y="439744"/>
                      </a:cubicBezTo>
                      <a:cubicBezTo>
                        <a:pt x="209041" y="438627"/>
                        <a:pt x="211348" y="436284"/>
                        <a:pt x="213594" y="434025"/>
                      </a:cubicBezTo>
                      <a:cubicBezTo>
                        <a:pt x="215270" y="432337"/>
                        <a:pt x="217565" y="430006"/>
                        <a:pt x="218828" y="430006"/>
                      </a:cubicBezTo>
                      <a:cubicBezTo>
                        <a:pt x="219228" y="430006"/>
                        <a:pt x="219836" y="430261"/>
                        <a:pt x="220540" y="430734"/>
                      </a:cubicBezTo>
                      <a:cubicBezTo>
                        <a:pt x="220661" y="430892"/>
                        <a:pt x="221062" y="431742"/>
                        <a:pt x="221329" y="432301"/>
                      </a:cubicBezTo>
                      <a:cubicBezTo>
                        <a:pt x="222046" y="433794"/>
                        <a:pt x="223017" y="435846"/>
                        <a:pt x="224863" y="437571"/>
                      </a:cubicBezTo>
                      <a:cubicBezTo>
                        <a:pt x="227291" y="439854"/>
                        <a:pt x="230388" y="441226"/>
                        <a:pt x="233120" y="442452"/>
                      </a:cubicBezTo>
                      <a:cubicBezTo>
                        <a:pt x="234407" y="443023"/>
                        <a:pt x="235694" y="443569"/>
                        <a:pt x="236763" y="444225"/>
                      </a:cubicBezTo>
                      <a:cubicBezTo>
                        <a:pt x="237929" y="444942"/>
                        <a:pt x="238924" y="445597"/>
                        <a:pt x="239835" y="446204"/>
                      </a:cubicBezTo>
                      <a:cubicBezTo>
                        <a:pt x="244061" y="448985"/>
                        <a:pt x="247400" y="451195"/>
                        <a:pt x="255257" y="451875"/>
                      </a:cubicBezTo>
                      <a:lnTo>
                        <a:pt x="258292" y="452106"/>
                      </a:lnTo>
                      <a:cubicBezTo>
                        <a:pt x="264073" y="452507"/>
                        <a:pt x="266197" y="452786"/>
                        <a:pt x="269039" y="455433"/>
                      </a:cubicBezTo>
                      <a:cubicBezTo>
                        <a:pt x="269731" y="456076"/>
                        <a:pt x="270338" y="456684"/>
                        <a:pt x="270909" y="457254"/>
                      </a:cubicBezTo>
                      <a:cubicBezTo>
                        <a:pt x="274370" y="460703"/>
                        <a:pt x="277964" y="464273"/>
                        <a:pt x="286671" y="464479"/>
                      </a:cubicBezTo>
                      <a:cubicBezTo>
                        <a:pt x="286683" y="464479"/>
                        <a:pt x="286683" y="464479"/>
                        <a:pt x="286695" y="464479"/>
                      </a:cubicBezTo>
                      <a:cubicBezTo>
                        <a:pt x="296919" y="464479"/>
                        <a:pt x="300853" y="458870"/>
                        <a:pt x="304035" y="454364"/>
                      </a:cubicBezTo>
                      <a:lnTo>
                        <a:pt x="304703" y="453417"/>
                      </a:lnTo>
                      <a:cubicBezTo>
                        <a:pt x="306354" y="451013"/>
                        <a:pt x="308127" y="448864"/>
                        <a:pt x="308734" y="448366"/>
                      </a:cubicBezTo>
                      <a:cubicBezTo>
                        <a:pt x="308674" y="448427"/>
                        <a:pt x="308819" y="448451"/>
                        <a:pt x="309038" y="448451"/>
                      </a:cubicBezTo>
                      <a:cubicBezTo>
                        <a:pt x="309329" y="448451"/>
                        <a:pt x="309803" y="448414"/>
                        <a:pt x="310167" y="448378"/>
                      </a:cubicBezTo>
                      <a:cubicBezTo>
                        <a:pt x="312511" y="448172"/>
                        <a:pt x="315729" y="447880"/>
                        <a:pt x="318509" y="445524"/>
                      </a:cubicBezTo>
                      <a:cubicBezTo>
                        <a:pt x="321654" y="442780"/>
                        <a:pt x="321861" y="439064"/>
                        <a:pt x="321982" y="437061"/>
                      </a:cubicBezTo>
                      <a:cubicBezTo>
                        <a:pt x="321994" y="436806"/>
                        <a:pt x="321994" y="436551"/>
                        <a:pt x="322019" y="436308"/>
                      </a:cubicBezTo>
                      <a:cubicBezTo>
                        <a:pt x="322213" y="436126"/>
                        <a:pt x="322432" y="435944"/>
                        <a:pt x="322638" y="435774"/>
                      </a:cubicBezTo>
                      <a:cubicBezTo>
                        <a:pt x="323731" y="434802"/>
                        <a:pt x="325224" y="433479"/>
                        <a:pt x="326123" y="431536"/>
                      </a:cubicBezTo>
                      <a:cubicBezTo>
                        <a:pt x="327131" y="429435"/>
                        <a:pt x="327835" y="427237"/>
                        <a:pt x="328442" y="425294"/>
                      </a:cubicBezTo>
                      <a:cubicBezTo>
                        <a:pt x="330191" y="419818"/>
                        <a:pt x="330944" y="418348"/>
                        <a:pt x="333894" y="417620"/>
                      </a:cubicBezTo>
                      <a:cubicBezTo>
                        <a:pt x="334914" y="417365"/>
                        <a:pt x="335849" y="417243"/>
                        <a:pt x="336675" y="417243"/>
                      </a:cubicBezTo>
                      <a:cubicBezTo>
                        <a:pt x="339383" y="417243"/>
                        <a:pt x="341107" y="418628"/>
                        <a:pt x="344192" y="421287"/>
                      </a:cubicBezTo>
                      <a:cubicBezTo>
                        <a:pt x="347009" y="423716"/>
                        <a:pt x="350518" y="426727"/>
                        <a:pt x="355630" y="428124"/>
                      </a:cubicBezTo>
                      <a:cubicBezTo>
                        <a:pt x="357913" y="428743"/>
                        <a:pt x="360002" y="429034"/>
                        <a:pt x="362054" y="429034"/>
                      </a:cubicBezTo>
                      <a:cubicBezTo>
                        <a:pt x="368514" y="429034"/>
                        <a:pt x="372776" y="426084"/>
                        <a:pt x="376528" y="423485"/>
                      </a:cubicBezTo>
                      <a:cubicBezTo>
                        <a:pt x="378082" y="422416"/>
                        <a:pt x="379540" y="421408"/>
                        <a:pt x="381155" y="420571"/>
                      </a:cubicBezTo>
                      <a:cubicBezTo>
                        <a:pt x="384445" y="418895"/>
                        <a:pt x="388380" y="418130"/>
                        <a:pt x="392521" y="417304"/>
                      </a:cubicBezTo>
                      <a:cubicBezTo>
                        <a:pt x="398410" y="416139"/>
                        <a:pt x="404506" y="414936"/>
                        <a:pt x="409921" y="410990"/>
                      </a:cubicBezTo>
                      <a:cubicBezTo>
                        <a:pt x="412204" y="409326"/>
                        <a:pt x="413856" y="407760"/>
                        <a:pt x="415325" y="406388"/>
                      </a:cubicBezTo>
                      <a:cubicBezTo>
                        <a:pt x="417729" y="404117"/>
                        <a:pt x="419174" y="402745"/>
                        <a:pt x="422465" y="401628"/>
                      </a:cubicBezTo>
                      <a:lnTo>
                        <a:pt x="424080" y="401069"/>
                      </a:lnTo>
                      <a:cubicBezTo>
                        <a:pt x="427152" y="399988"/>
                        <a:pt x="430346" y="398871"/>
                        <a:pt x="433199" y="398871"/>
                      </a:cubicBezTo>
                      <a:cubicBezTo>
                        <a:pt x="434195" y="398871"/>
                        <a:pt x="435106" y="399005"/>
                        <a:pt x="435980" y="399272"/>
                      </a:cubicBezTo>
                      <a:cubicBezTo>
                        <a:pt x="438457" y="400037"/>
                        <a:pt x="439101" y="401251"/>
                        <a:pt x="439198" y="408780"/>
                      </a:cubicBezTo>
                      <a:cubicBezTo>
                        <a:pt x="439247" y="412532"/>
                        <a:pt x="439307" y="416406"/>
                        <a:pt x="440813" y="419939"/>
                      </a:cubicBezTo>
                      <a:cubicBezTo>
                        <a:pt x="441274" y="420996"/>
                        <a:pt x="441675" y="421906"/>
                        <a:pt x="442039" y="422696"/>
                      </a:cubicBezTo>
                      <a:cubicBezTo>
                        <a:pt x="442379" y="423448"/>
                        <a:pt x="442768" y="424286"/>
                        <a:pt x="442950" y="424784"/>
                      </a:cubicBezTo>
                      <a:cubicBezTo>
                        <a:pt x="442562" y="425646"/>
                        <a:pt x="441469" y="427371"/>
                        <a:pt x="441019" y="428087"/>
                      </a:cubicBezTo>
                      <a:cubicBezTo>
                        <a:pt x="440388" y="429095"/>
                        <a:pt x="439708" y="430127"/>
                        <a:pt x="439003" y="431184"/>
                      </a:cubicBezTo>
                      <a:cubicBezTo>
                        <a:pt x="435045" y="437194"/>
                        <a:pt x="430564" y="444019"/>
                        <a:pt x="429896" y="452009"/>
                      </a:cubicBezTo>
                      <a:cubicBezTo>
                        <a:pt x="429775" y="452252"/>
                        <a:pt x="429010" y="453029"/>
                        <a:pt x="428500" y="453551"/>
                      </a:cubicBezTo>
                      <a:cubicBezTo>
                        <a:pt x="427407" y="454656"/>
                        <a:pt x="426047" y="456052"/>
                        <a:pt x="425003" y="457959"/>
                      </a:cubicBezTo>
                      <a:lnTo>
                        <a:pt x="424675" y="458578"/>
                      </a:lnTo>
                      <a:lnTo>
                        <a:pt x="424481" y="459258"/>
                      </a:lnTo>
                      <a:lnTo>
                        <a:pt x="424298" y="459890"/>
                      </a:lnTo>
                      <a:cubicBezTo>
                        <a:pt x="423303" y="463508"/>
                        <a:pt x="421943" y="468475"/>
                        <a:pt x="426169" y="474024"/>
                      </a:cubicBezTo>
                      <a:cubicBezTo>
                        <a:pt x="428172" y="476817"/>
                        <a:pt x="431014" y="477740"/>
                        <a:pt x="432726" y="478286"/>
                      </a:cubicBezTo>
                      <a:cubicBezTo>
                        <a:pt x="432775" y="478298"/>
                        <a:pt x="432835" y="478322"/>
                        <a:pt x="432896" y="478335"/>
                      </a:cubicBezTo>
                      <a:lnTo>
                        <a:pt x="433017" y="478456"/>
                      </a:lnTo>
                      <a:cubicBezTo>
                        <a:pt x="433515" y="479804"/>
                        <a:pt x="434620" y="482184"/>
                        <a:pt x="437874" y="483544"/>
                      </a:cubicBezTo>
                      <a:cubicBezTo>
                        <a:pt x="438979" y="484066"/>
                        <a:pt x="440230" y="484333"/>
                        <a:pt x="441602" y="484333"/>
                      </a:cubicBezTo>
                      <a:cubicBezTo>
                        <a:pt x="443982" y="484333"/>
                        <a:pt x="446532" y="483507"/>
                        <a:pt x="448196" y="482560"/>
                      </a:cubicBezTo>
                      <a:cubicBezTo>
                        <a:pt x="451195" y="481298"/>
                        <a:pt x="454231" y="480460"/>
                        <a:pt x="457425" y="479585"/>
                      </a:cubicBezTo>
                      <a:cubicBezTo>
                        <a:pt x="460084" y="479330"/>
                        <a:pt x="462367" y="479124"/>
                        <a:pt x="464394" y="479124"/>
                      </a:cubicBezTo>
                      <a:cubicBezTo>
                        <a:pt x="464917" y="479124"/>
                        <a:pt x="465415" y="479136"/>
                        <a:pt x="465888" y="479172"/>
                      </a:cubicBezTo>
                      <a:lnTo>
                        <a:pt x="467467" y="479330"/>
                      </a:lnTo>
                      <a:cubicBezTo>
                        <a:pt x="468766" y="479476"/>
                        <a:pt x="470041" y="479598"/>
                        <a:pt x="471255" y="479598"/>
                      </a:cubicBezTo>
                      <a:cubicBezTo>
                        <a:pt x="474680" y="479598"/>
                        <a:pt x="477509" y="478578"/>
                        <a:pt x="479646" y="476562"/>
                      </a:cubicBezTo>
                      <a:lnTo>
                        <a:pt x="480666" y="475784"/>
                      </a:lnTo>
                      <a:cubicBezTo>
                        <a:pt x="482548" y="474315"/>
                        <a:pt x="483107" y="473878"/>
                        <a:pt x="484576" y="473732"/>
                      </a:cubicBezTo>
                      <a:cubicBezTo>
                        <a:pt x="485791" y="473830"/>
                        <a:pt x="488049" y="474060"/>
                        <a:pt x="488802" y="474485"/>
                      </a:cubicBezTo>
                      <a:lnTo>
                        <a:pt x="488875" y="474522"/>
                      </a:lnTo>
                      <a:lnTo>
                        <a:pt x="489360" y="474825"/>
                      </a:lnTo>
                      <a:cubicBezTo>
                        <a:pt x="491413" y="475930"/>
                        <a:pt x="493623" y="477606"/>
                        <a:pt x="495262" y="479318"/>
                      </a:cubicBezTo>
                      <a:lnTo>
                        <a:pt x="495650" y="479731"/>
                      </a:lnTo>
                      <a:lnTo>
                        <a:pt x="496112" y="480059"/>
                      </a:lnTo>
                      <a:cubicBezTo>
                        <a:pt x="496416" y="480278"/>
                        <a:pt x="497047" y="481055"/>
                        <a:pt x="497496" y="481625"/>
                      </a:cubicBezTo>
                      <a:cubicBezTo>
                        <a:pt x="498298" y="482621"/>
                        <a:pt x="499269" y="483823"/>
                        <a:pt x="500544" y="484892"/>
                      </a:cubicBezTo>
                      <a:cubicBezTo>
                        <a:pt x="503373" y="488340"/>
                        <a:pt x="506652" y="489142"/>
                        <a:pt x="509554" y="489858"/>
                      </a:cubicBezTo>
                      <a:lnTo>
                        <a:pt x="510841" y="490186"/>
                      </a:lnTo>
                      <a:lnTo>
                        <a:pt x="511388" y="490332"/>
                      </a:lnTo>
                      <a:lnTo>
                        <a:pt x="511934" y="490368"/>
                      </a:lnTo>
                      <a:cubicBezTo>
                        <a:pt x="512881" y="490441"/>
                        <a:pt x="515735" y="490647"/>
                        <a:pt x="516609" y="491145"/>
                      </a:cubicBezTo>
                      <a:cubicBezTo>
                        <a:pt x="517835" y="491995"/>
                        <a:pt x="519232" y="492432"/>
                        <a:pt x="520689" y="492432"/>
                      </a:cubicBezTo>
                      <a:cubicBezTo>
                        <a:pt x="522972" y="492432"/>
                        <a:pt x="524745" y="491425"/>
                        <a:pt x="526166" y="490162"/>
                      </a:cubicBezTo>
                      <a:cubicBezTo>
                        <a:pt x="526190" y="490186"/>
                        <a:pt x="526202" y="490198"/>
                        <a:pt x="526214" y="490223"/>
                      </a:cubicBezTo>
                      <a:cubicBezTo>
                        <a:pt x="525996" y="491631"/>
                        <a:pt x="525449" y="492991"/>
                        <a:pt x="525073" y="493404"/>
                      </a:cubicBezTo>
                      <a:lnTo>
                        <a:pt x="524514" y="494035"/>
                      </a:lnTo>
                      <a:lnTo>
                        <a:pt x="524150" y="494788"/>
                      </a:lnTo>
                      <a:cubicBezTo>
                        <a:pt x="524077" y="494861"/>
                        <a:pt x="523871" y="495068"/>
                        <a:pt x="523664" y="495286"/>
                      </a:cubicBezTo>
                      <a:cubicBezTo>
                        <a:pt x="522523" y="496500"/>
                        <a:pt x="520628" y="498516"/>
                        <a:pt x="520374" y="501734"/>
                      </a:cubicBezTo>
                      <a:cubicBezTo>
                        <a:pt x="520033" y="505948"/>
                        <a:pt x="520799" y="509275"/>
                        <a:pt x="522851" y="512517"/>
                      </a:cubicBezTo>
                      <a:cubicBezTo>
                        <a:pt x="526287" y="517544"/>
                        <a:pt x="531411" y="519014"/>
                        <a:pt x="535163" y="520094"/>
                      </a:cubicBezTo>
                      <a:cubicBezTo>
                        <a:pt x="536596" y="520507"/>
                        <a:pt x="537956" y="520896"/>
                        <a:pt x="538794" y="521357"/>
                      </a:cubicBezTo>
                      <a:cubicBezTo>
                        <a:pt x="539826" y="521903"/>
                        <a:pt x="540725" y="522365"/>
                        <a:pt x="541575" y="522778"/>
                      </a:cubicBezTo>
                      <a:cubicBezTo>
                        <a:pt x="542826" y="523397"/>
                        <a:pt x="543906" y="523907"/>
                        <a:pt x="544975" y="524660"/>
                      </a:cubicBezTo>
                      <a:lnTo>
                        <a:pt x="545764" y="525231"/>
                      </a:lnTo>
                      <a:lnTo>
                        <a:pt x="546712" y="525522"/>
                      </a:lnTo>
                      <a:cubicBezTo>
                        <a:pt x="547234" y="525680"/>
                        <a:pt x="547634" y="526056"/>
                        <a:pt x="548849" y="527404"/>
                      </a:cubicBezTo>
                      <a:cubicBezTo>
                        <a:pt x="549152" y="527744"/>
                        <a:pt x="549480" y="528096"/>
                        <a:pt x="549808" y="528448"/>
                      </a:cubicBezTo>
                      <a:cubicBezTo>
                        <a:pt x="550840" y="529966"/>
                        <a:pt x="550792" y="530476"/>
                        <a:pt x="550731" y="531181"/>
                      </a:cubicBezTo>
                      <a:lnTo>
                        <a:pt x="550658" y="532067"/>
                      </a:lnTo>
                      <a:lnTo>
                        <a:pt x="550840" y="532941"/>
                      </a:lnTo>
                      <a:cubicBezTo>
                        <a:pt x="551423" y="535759"/>
                        <a:pt x="552030" y="538661"/>
                        <a:pt x="553499" y="541308"/>
                      </a:cubicBezTo>
                      <a:cubicBezTo>
                        <a:pt x="553851" y="542328"/>
                        <a:pt x="554325" y="543360"/>
                        <a:pt x="554811" y="544392"/>
                      </a:cubicBezTo>
                      <a:cubicBezTo>
                        <a:pt x="554957" y="544696"/>
                        <a:pt x="555102" y="545011"/>
                        <a:pt x="555248" y="545327"/>
                      </a:cubicBezTo>
                      <a:cubicBezTo>
                        <a:pt x="555005" y="546396"/>
                        <a:pt x="554592" y="547598"/>
                        <a:pt x="553985" y="548922"/>
                      </a:cubicBezTo>
                      <a:lnTo>
                        <a:pt x="553463" y="550306"/>
                      </a:lnTo>
                      <a:cubicBezTo>
                        <a:pt x="552953" y="551702"/>
                        <a:pt x="552115" y="554034"/>
                        <a:pt x="551520" y="554714"/>
                      </a:cubicBezTo>
                      <a:lnTo>
                        <a:pt x="551277" y="554981"/>
                      </a:lnTo>
                      <a:lnTo>
                        <a:pt x="551071" y="555272"/>
                      </a:lnTo>
                      <a:cubicBezTo>
                        <a:pt x="550816" y="555649"/>
                        <a:pt x="550476" y="555891"/>
                        <a:pt x="549590" y="556474"/>
                      </a:cubicBezTo>
                      <a:cubicBezTo>
                        <a:pt x="548727" y="557045"/>
                        <a:pt x="547671" y="557749"/>
                        <a:pt x="546615" y="558818"/>
                      </a:cubicBezTo>
                      <a:cubicBezTo>
                        <a:pt x="546165" y="559182"/>
                        <a:pt x="545825" y="559498"/>
                        <a:pt x="545510" y="559802"/>
                      </a:cubicBezTo>
                      <a:cubicBezTo>
                        <a:pt x="544502" y="559874"/>
                        <a:pt x="543117" y="560081"/>
                        <a:pt x="541551" y="560979"/>
                      </a:cubicBezTo>
                      <a:cubicBezTo>
                        <a:pt x="539049" y="561805"/>
                        <a:pt x="537228" y="563372"/>
                        <a:pt x="535953" y="564452"/>
                      </a:cubicBezTo>
                      <a:lnTo>
                        <a:pt x="535370" y="564926"/>
                      </a:lnTo>
                      <a:cubicBezTo>
                        <a:pt x="533099" y="566274"/>
                        <a:pt x="531691" y="567719"/>
                        <a:pt x="530647" y="568799"/>
                      </a:cubicBezTo>
                      <a:cubicBezTo>
                        <a:pt x="530173" y="569297"/>
                        <a:pt x="529723" y="569795"/>
                        <a:pt x="529080" y="570269"/>
                      </a:cubicBezTo>
                      <a:lnTo>
                        <a:pt x="528837" y="570451"/>
                      </a:lnTo>
                      <a:cubicBezTo>
                        <a:pt x="528691" y="570475"/>
                        <a:pt x="528558" y="570499"/>
                        <a:pt x="528412" y="570524"/>
                      </a:cubicBezTo>
                      <a:cubicBezTo>
                        <a:pt x="526931" y="570803"/>
                        <a:pt x="524684" y="571228"/>
                        <a:pt x="522462" y="572892"/>
                      </a:cubicBezTo>
                      <a:cubicBezTo>
                        <a:pt x="521393" y="573693"/>
                        <a:pt x="520665" y="574616"/>
                        <a:pt x="520167" y="575430"/>
                      </a:cubicBezTo>
                      <a:cubicBezTo>
                        <a:pt x="519948" y="575430"/>
                        <a:pt x="519718" y="575442"/>
                        <a:pt x="519487" y="575442"/>
                      </a:cubicBezTo>
                      <a:cubicBezTo>
                        <a:pt x="518103" y="575442"/>
                        <a:pt x="516816" y="575332"/>
                        <a:pt x="515723" y="575247"/>
                      </a:cubicBezTo>
                      <a:cubicBezTo>
                        <a:pt x="515104" y="575199"/>
                        <a:pt x="514581" y="575187"/>
                        <a:pt x="514071" y="575187"/>
                      </a:cubicBezTo>
                      <a:cubicBezTo>
                        <a:pt x="509955" y="575187"/>
                        <a:pt x="506640" y="576413"/>
                        <a:pt x="503701" y="577494"/>
                      </a:cubicBezTo>
                      <a:cubicBezTo>
                        <a:pt x="501783" y="578210"/>
                        <a:pt x="500095" y="578830"/>
                        <a:pt x="498577" y="578939"/>
                      </a:cubicBezTo>
                      <a:cubicBezTo>
                        <a:pt x="497727" y="578878"/>
                        <a:pt x="496877" y="578817"/>
                        <a:pt x="496088" y="578817"/>
                      </a:cubicBezTo>
                      <a:cubicBezTo>
                        <a:pt x="493343" y="578817"/>
                        <a:pt x="491328" y="579473"/>
                        <a:pt x="489846" y="580396"/>
                      </a:cubicBezTo>
                      <a:cubicBezTo>
                        <a:pt x="488170" y="579983"/>
                        <a:pt x="486033" y="579582"/>
                        <a:pt x="483726" y="579582"/>
                      </a:cubicBezTo>
                      <a:cubicBezTo>
                        <a:pt x="475250" y="579582"/>
                        <a:pt x="469543" y="584925"/>
                        <a:pt x="468050" y="594239"/>
                      </a:cubicBezTo>
                      <a:lnTo>
                        <a:pt x="467479" y="597845"/>
                      </a:lnTo>
                      <a:lnTo>
                        <a:pt x="470405" y="600043"/>
                      </a:lnTo>
                      <a:lnTo>
                        <a:pt x="471146" y="600590"/>
                      </a:lnTo>
                      <a:lnTo>
                        <a:pt x="472057" y="600942"/>
                      </a:lnTo>
                      <a:lnTo>
                        <a:pt x="473089" y="601306"/>
                      </a:lnTo>
                      <a:lnTo>
                        <a:pt x="474922" y="601962"/>
                      </a:lnTo>
                      <a:lnTo>
                        <a:pt x="476793" y="601427"/>
                      </a:lnTo>
                      <a:lnTo>
                        <a:pt x="476829" y="601415"/>
                      </a:lnTo>
                      <a:lnTo>
                        <a:pt x="478444" y="603467"/>
                      </a:lnTo>
                      <a:lnTo>
                        <a:pt x="478845" y="603978"/>
                      </a:lnTo>
                      <a:lnTo>
                        <a:pt x="479355" y="604390"/>
                      </a:lnTo>
                      <a:lnTo>
                        <a:pt x="482002" y="606576"/>
                      </a:lnTo>
                      <a:lnTo>
                        <a:pt x="484673" y="608446"/>
                      </a:lnTo>
                      <a:lnTo>
                        <a:pt x="485159" y="608786"/>
                      </a:lnTo>
                      <a:lnTo>
                        <a:pt x="485718" y="609029"/>
                      </a:lnTo>
                      <a:lnTo>
                        <a:pt x="488255" y="610122"/>
                      </a:lnTo>
                      <a:lnTo>
                        <a:pt x="488705" y="610316"/>
                      </a:lnTo>
                      <a:lnTo>
                        <a:pt x="489191" y="610438"/>
                      </a:lnTo>
                      <a:lnTo>
                        <a:pt x="492566" y="611275"/>
                      </a:lnTo>
                      <a:lnTo>
                        <a:pt x="492894" y="611361"/>
                      </a:lnTo>
                      <a:lnTo>
                        <a:pt x="493222" y="611397"/>
                      </a:lnTo>
                      <a:lnTo>
                        <a:pt x="501260" y="612453"/>
                      </a:lnTo>
                      <a:lnTo>
                        <a:pt x="503483" y="615489"/>
                      </a:lnTo>
                      <a:lnTo>
                        <a:pt x="504479" y="616861"/>
                      </a:lnTo>
                      <a:lnTo>
                        <a:pt x="506057" y="617517"/>
                      </a:lnTo>
                      <a:lnTo>
                        <a:pt x="510938" y="619545"/>
                      </a:lnTo>
                      <a:lnTo>
                        <a:pt x="512845" y="620662"/>
                      </a:lnTo>
                      <a:lnTo>
                        <a:pt x="513039" y="621633"/>
                      </a:lnTo>
                      <a:lnTo>
                        <a:pt x="513319" y="623018"/>
                      </a:lnTo>
                      <a:lnTo>
                        <a:pt x="513319" y="627086"/>
                      </a:lnTo>
                      <a:lnTo>
                        <a:pt x="517860" y="628349"/>
                      </a:lnTo>
                      <a:lnTo>
                        <a:pt x="519293" y="628725"/>
                      </a:lnTo>
                      <a:lnTo>
                        <a:pt x="519523" y="628810"/>
                      </a:lnTo>
                      <a:lnTo>
                        <a:pt x="520604" y="629575"/>
                      </a:lnTo>
                      <a:lnTo>
                        <a:pt x="521503" y="630231"/>
                      </a:lnTo>
                      <a:lnTo>
                        <a:pt x="516730" y="632623"/>
                      </a:lnTo>
                      <a:lnTo>
                        <a:pt x="528801" y="637759"/>
                      </a:lnTo>
                      <a:lnTo>
                        <a:pt x="532383" y="639277"/>
                      </a:lnTo>
                      <a:lnTo>
                        <a:pt x="532492" y="639386"/>
                      </a:lnTo>
                      <a:lnTo>
                        <a:pt x="533111" y="640734"/>
                      </a:lnTo>
                      <a:lnTo>
                        <a:pt x="533367" y="642252"/>
                      </a:lnTo>
                      <a:lnTo>
                        <a:pt x="532638" y="643321"/>
                      </a:lnTo>
                      <a:lnTo>
                        <a:pt x="528230" y="644438"/>
                      </a:lnTo>
                      <a:lnTo>
                        <a:pt x="519900" y="647146"/>
                      </a:lnTo>
                      <a:lnTo>
                        <a:pt x="517071" y="645446"/>
                      </a:lnTo>
                      <a:lnTo>
                        <a:pt x="504393" y="637954"/>
                      </a:lnTo>
                      <a:lnTo>
                        <a:pt x="502973" y="637116"/>
                      </a:lnTo>
                      <a:lnTo>
                        <a:pt x="502220" y="637116"/>
                      </a:lnTo>
                      <a:lnTo>
                        <a:pt x="496015" y="635088"/>
                      </a:lnTo>
                      <a:lnTo>
                        <a:pt x="493841" y="634371"/>
                      </a:lnTo>
                      <a:lnTo>
                        <a:pt x="491740" y="635270"/>
                      </a:lnTo>
                      <a:lnTo>
                        <a:pt x="486288" y="637601"/>
                      </a:lnTo>
                      <a:lnTo>
                        <a:pt x="483702" y="638706"/>
                      </a:lnTo>
                      <a:lnTo>
                        <a:pt x="482876" y="641390"/>
                      </a:lnTo>
                      <a:lnTo>
                        <a:pt x="481844" y="644717"/>
                      </a:lnTo>
                      <a:lnTo>
                        <a:pt x="481370" y="646235"/>
                      </a:lnTo>
                      <a:lnTo>
                        <a:pt x="481698" y="647777"/>
                      </a:lnTo>
                      <a:lnTo>
                        <a:pt x="482451" y="651286"/>
                      </a:lnTo>
                      <a:lnTo>
                        <a:pt x="483071" y="654152"/>
                      </a:lnTo>
                      <a:lnTo>
                        <a:pt x="483629" y="654431"/>
                      </a:lnTo>
                      <a:lnTo>
                        <a:pt x="484953" y="657831"/>
                      </a:lnTo>
                      <a:lnTo>
                        <a:pt x="485171" y="659896"/>
                      </a:lnTo>
                      <a:lnTo>
                        <a:pt x="485086" y="662215"/>
                      </a:lnTo>
                      <a:lnTo>
                        <a:pt x="484770" y="664328"/>
                      </a:lnTo>
                      <a:lnTo>
                        <a:pt x="475432" y="689731"/>
                      </a:lnTo>
                      <a:lnTo>
                        <a:pt x="475299" y="690095"/>
                      </a:lnTo>
                      <a:lnTo>
                        <a:pt x="475214" y="690472"/>
                      </a:lnTo>
                      <a:lnTo>
                        <a:pt x="473453" y="698219"/>
                      </a:lnTo>
                      <a:lnTo>
                        <a:pt x="473150" y="700405"/>
                      </a:lnTo>
                      <a:lnTo>
                        <a:pt x="472907" y="702287"/>
                      </a:lnTo>
                      <a:lnTo>
                        <a:pt x="473781" y="703962"/>
                      </a:lnTo>
                      <a:lnTo>
                        <a:pt x="474097" y="704582"/>
                      </a:lnTo>
                      <a:lnTo>
                        <a:pt x="474485" y="705347"/>
                      </a:lnTo>
                      <a:lnTo>
                        <a:pt x="475092" y="705978"/>
                      </a:lnTo>
                      <a:cubicBezTo>
                        <a:pt x="477205" y="708188"/>
                        <a:pt x="479561" y="709682"/>
                        <a:pt x="481625" y="710993"/>
                      </a:cubicBezTo>
                      <a:cubicBezTo>
                        <a:pt x="482475" y="711540"/>
                        <a:pt x="483337" y="712062"/>
                        <a:pt x="484103" y="712645"/>
                      </a:cubicBezTo>
                      <a:cubicBezTo>
                        <a:pt x="485086" y="713762"/>
                        <a:pt x="485365" y="714758"/>
                        <a:pt x="485705" y="717890"/>
                      </a:cubicBezTo>
                      <a:cubicBezTo>
                        <a:pt x="486361" y="722335"/>
                        <a:pt x="487915" y="725662"/>
                        <a:pt x="490028" y="729341"/>
                      </a:cubicBezTo>
                      <a:cubicBezTo>
                        <a:pt x="490818" y="730726"/>
                        <a:pt x="490708" y="733239"/>
                        <a:pt x="490575" y="735911"/>
                      </a:cubicBezTo>
                      <a:cubicBezTo>
                        <a:pt x="490405" y="739481"/>
                        <a:pt x="490223" y="743524"/>
                        <a:pt x="491959" y="747519"/>
                      </a:cubicBezTo>
                      <a:cubicBezTo>
                        <a:pt x="493489" y="751016"/>
                        <a:pt x="495747" y="753384"/>
                        <a:pt x="497290" y="754866"/>
                      </a:cubicBezTo>
                      <a:lnTo>
                        <a:pt x="498601" y="756116"/>
                      </a:lnTo>
                      <a:lnTo>
                        <a:pt x="500386" y="756444"/>
                      </a:lnTo>
                      <a:lnTo>
                        <a:pt x="509239" y="758047"/>
                      </a:lnTo>
                      <a:cubicBezTo>
                        <a:pt x="510331" y="758241"/>
                        <a:pt x="511424" y="758339"/>
                        <a:pt x="512481" y="758339"/>
                      </a:cubicBezTo>
                      <a:cubicBezTo>
                        <a:pt x="523858" y="758339"/>
                        <a:pt x="531302" y="747786"/>
                        <a:pt x="535746" y="741472"/>
                      </a:cubicBezTo>
                      <a:cubicBezTo>
                        <a:pt x="536451" y="740464"/>
                        <a:pt x="537009" y="739481"/>
                        <a:pt x="537556" y="738533"/>
                      </a:cubicBezTo>
                      <a:cubicBezTo>
                        <a:pt x="537969" y="737793"/>
                        <a:pt x="538612" y="736676"/>
                        <a:pt x="538904" y="736421"/>
                      </a:cubicBezTo>
                      <a:cubicBezTo>
                        <a:pt x="540154" y="737198"/>
                        <a:pt x="541369" y="741764"/>
                        <a:pt x="542037" y="744216"/>
                      </a:cubicBezTo>
                      <a:cubicBezTo>
                        <a:pt x="543979" y="751417"/>
                        <a:pt x="546906" y="762309"/>
                        <a:pt x="558417" y="762309"/>
                      </a:cubicBezTo>
                      <a:cubicBezTo>
                        <a:pt x="559413" y="762309"/>
                        <a:pt x="560470" y="762212"/>
                        <a:pt x="561611" y="762018"/>
                      </a:cubicBezTo>
                      <a:cubicBezTo>
                        <a:pt x="566674" y="761107"/>
                        <a:pt x="569905" y="756724"/>
                        <a:pt x="572491" y="753202"/>
                      </a:cubicBezTo>
                      <a:cubicBezTo>
                        <a:pt x="573463" y="751891"/>
                        <a:pt x="574458" y="750518"/>
                        <a:pt x="575175" y="749875"/>
                      </a:cubicBezTo>
                      <a:cubicBezTo>
                        <a:pt x="581817" y="743961"/>
                        <a:pt x="585897" y="736918"/>
                        <a:pt x="589831" y="730094"/>
                      </a:cubicBezTo>
                      <a:cubicBezTo>
                        <a:pt x="590742" y="728528"/>
                        <a:pt x="591640" y="726961"/>
                        <a:pt x="592587" y="725419"/>
                      </a:cubicBezTo>
                      <a:cubicBezTo>
                        <a:pt x="593729" y="723525"/>
                        <a:pt x="594834" y="721290"/>
                        <a:pt x="595975" y="718935"/>
                      </a:cubicBezTo>
                      <a:cubicBezTo>
                        <a:pt x="598805" y="713106"/>
                        <a:pt x="602023" y="706488"/>
                        <a:pt x="606613" y="705784"/>
                      </a:cubicBezTo>
                      <a:cubicBezTo>
                        <a:pt x="606892" y="705748"/>
                        <a:pt x="607256" y="705748"/>
                        <a:pt x="607657" y="705748"/>
                      </a:cubicBezTo>
                      <a:cubicBezTo>
                        <a:pt x="609940" y="705748"/>
                        <a:pt x="612818" y="706100"/>
                        <a:pt x="613558" y="706330"/>
                      </a:cubicBezTo>
                      <a:lnTo>
                        <a:pt x="614202" y="706792"/>
                      </a:lnTo>
                      <a:cubicBezTo>
                        <a:pt x="614919" y="707605"/>
                        <a:pt x="616109" y="708965"/>
                        <a:pt x="618452" y="710289"/>
                      </a:cubicBezTo>
                      <a:cubicBezTo>
                        <a:pt x="623540" y="713143"/>
                        <a:pt x="629769" y="713871"/>
                        <a:pt x="635258" y="714503"/>
                      </a:cubicBezTo>
                      <a:lnTo>
                        <a:pt x="637262" y="714745"/>
                      </a:lnTo>
                      <a:lnTo>
                        <a:pt x="641815" y="715304"/>
                      </a:lnTo>
                      <a:lnTo>
                        <a:pt x="643600" y="711078"/>
                      </a:lnTo>
                      <a:lnTo>
                        <a:pt x="645689" y="706136"/>
                      </a:lnTo>
                      <a:lnTo>
                        <a:pt x="646077" y="705201"/>
                      </a:lnTo>
                      <a:lnTo>
                        <a:pt x="646150" y="704205"/>
                      </a:lnTo>
                      <a:cubicBezTo>
                        <a:pt x="646320" y="701910"/>
                        <a:pt x="645968" y="699907"/>
                        <a:pt x="645689" y="698316"/>
                      </a:cubicBezTo>
                      <a:cubicBezTo>
                        <a:pt x="645555" y="697502"/>
                        <a:pt x="645433" y="696810"/>
                        <a:pt x="645397" y="696191"/>
                      </a:cubicBezTo>
                      <a:cubicBezTo>
                        <a:pt x="646138" y="695050"/>
                        <a:pt x="648032" y="693617"/>
                        <a:pt x="649222" y="692694"/>
                      </a:cubicBezTo>
                      <a:lnTo>
                        <a:pt x="649696" y="692342"/>
                      </a:lnTo>
                      <a:lnTo>
                        <a:pt x="650133" y="691856"/>
                      </a:lnTo>
                      <a:cubicBezTo>
                        <a:pt x="656132" y="685092"/>
                        <a:pt x="657479" y="677321"/>
                        <a:pt x="658050" y="669926"/>
                      </a:cubicBezTo>
                      <a:cubicBezTo>
                        <a:pt x="658184" y="668517"/>
                        <a:pt x="658123" y="667048"/>
                        <a:pt x="658038" y="665494"/>
                      </a:cubicBezTo>
                      <a:cubicBezTo>
                        <a:pt x="657977" y="664340"/>
                        <a:pt x="657892" y="663126"/>
                        <a:pt x="658001" y="661778"/>
                      </a:cubicBezTo>
                      <a:cubicBezTo>
                        <a:pt x="658172" y="659264"/>
                        <a:pt x="658414" y="656702"/>
                        <a:pt x="659143" y="654359"/>
                      </a:cubicBezTo>
                      <a:lnTo>
                        <a:pt x="659350" y="653703"/>
                      </a:lnTo>
                      <a:lnTo>
                        <a:pt x="659410" y="653023"/>
                      </a:lnTo>
                      <a:cubicBezTo>
                        <a:pt x="659519" y="651481"/>
                        <a:pt x="659665" y="649550"/>
                        <a:pt x="660297" y="647874"/>
                      </a:cubicBezTo>
                      <a:lnTo>
                        <a:pt x="660418" y="647571"/>
                      </a:lnTo>
                      <a:cubicBezTo>
                        <a:pt x="660479" y="647510"/>
                        <a:pt x="660539" y="647437"/>
                        <a:pt x="660600" y="647364"/>
                      </a:cubicBezTo>
                      <a:cubicBezTo>
                        <a:pt x="661037" y="646879"/>
                        <a:pt x="661462" y="646381"/>
                        <a:pt x="661826" y="645883"/>
                      </a:cubicBezTo>
                      <a:cubicBezTo>
                        <a:pt x="662907" y="644596"/>
                        <a:pt x="663539" y="643333"/>
                        <a:pt x="663964" y="642471"/>
                      </a:cubicBezTo>
                      <a:cubicBezTo>
                        <a:pt x="664085" y="642228"/>
                        <a:pt x="664194" y="641997"/>
                        <a:pt x="664316" y="641791"/>
                      </a:cubicBezTo>
                      <a:lnTo>
                        <a:pt x="665372" y="641001"/>
                      </a:lnTo>
                      <a:lnTo>
                        <a:pt x="665579" y="640273"/>
                      </a:lnTo>
                      <a:cubicBezTo>
                        <a:pt x="666332" y="638901"/>
                        <a:pt x="667935" y="637431"/>
                        <a:pt x="669489" y="635986"/>
                      </a:cubicBezTo>
                      <a:cubicBezTo>
                        <a:pt x="670205" y="635331"/>
                        <a:pt x="670897" y="634687"/>
                        <a:pt x="671553" y="634043"/>
                      </a:cubicBezTo>
                      <a:lnTo>
                        <a:pt x="671808" y="633789"/>
                      </a:lnTo>
                      <a:lnTo>
                        <a:pt x="672039" y="633497"/>
                      </a:lnTo>
                      <a:cubicBezTo>
                        <a:pt x="674115" y="630862"/>
                        <a:pt x="676082" y="628919"/>
                        <a:pt x="678620" y="627013"/>
                      </a:cubicBezTo>
                      <a:cubicBezTo>
                        <a:pt x="681765" y="624645"/>
                        <a:pt x="684716" y="621026"/>
                        <a:pt x="687400" y="616254"/>
                      </a:cubicBezTo>
                      <a:cubicBezTo>
                        <a:pt x="690059" y="612320"/>
                        <a:pt x="690605" y="607790"/>
                        <a:pt x="691091" y="603795"/>
                      </a:cubicBezTo>
                      <a:cubicBezTo>
                        <a:pt x="691310" y="601950"/>
                        <a:pt x="691516" y="600213"/>
                        <a:pt x="691941" y="598720"/>
                      </a:cubicBezTo>
                      <a:cubicBezTo>
                        <a:pt x="692828" y="595684"/>
                        <a:pt x="693787" y="592575"/>
                        <a:pt x="694746" y="589467"/>
                      </a:cubicBezTo>
                      <a:lnTo>
                        <a:pt x="696677" y="583189"/>
                      </a:lnTo>
                      <a:cubicBezTo>
                        <a:pt x="699664" y="573098"/>
                        <a:pt x="705821" y="562801"/>
                        <a:pt x="715486" y="551702"/>
                      </a:cubicBezTo>
                      <a:cubicBezTo>
                        <a:pt x="715996" y="551119"/>
                        <a:pt x="716834" y="550476"/>
                        <a:pt x="717720" y="549735"/>
                      </a:cubicBezTo>
                      <a:cubicBezTo>
                        <a:pt x="721327" y="546748"/>
                        <a:pt x="725808" y="543032"/>
                        <a:pt x="725395" y="537665"/>
                      </a:cubicBezTo>
                      <a:cubicBezTo>
                        <a:pt x="725140" y="533209"/>
                        <a:pt x="721060" y="530319"/>
                        <a:pt x="717441" y="527768"/>
                      </a:cubicBezTo>
                      <a:cubicBezTo>
                        <a:pt x="716433" y="527052"/>
                        <a:pt x="715450" y="526433"/>
                        <a:pt x="714891" y="525850"/>
                      </a:cubicBezTo>
                      <a:cubicBezTo>
                        <a:pt x="714369" y="525231"/>
                        <a:pt x="714138" y="524247"/>
                        <a:pt x="713798" y="522559"/>
                      </a:cubicBezTo>
                      <a:cubicBezTo>
                        <a:pt x="713385" y="520592"/>
                        <a:pt x="712876" y="518151"/>
                        <a:pt x="711370" y="515698"/>
                      </a:cubicBezTo>
                      <a:cubicBezTo>
                        <a:pt x="709354" y="512371"/>
                        <a:pt x="706513" y="510598"/>
                        <a:pt x="704230" y="509153"/>
                      </a:cubicBezTo>
                      <a:cubicBezTo>
                        <a:pt x="702979" y="508376"/>
                        <a:pt x="701922" y="507696"/>
                        <a:pt x="701182" y="506919"/>
                      </a:cubicBezTo>
                      <a:cubicBezTo>
                        <a:pt x="700235" y="505899"/>
                        <a:pt x="699773" y="504442"/>
                        <a:pt x="699251" y="502268"/>
                      </a:cubicBezTo>
                      <a:cubicBezTo>
                        <a:pt x="700174" y="502645"/>
                        <a:pt x="701218" y="502863"/>
                        <a:pt x="702396" y="502863"/>
                      </a:cubicBezTo>
                      <a:cubicBezTo>
                        <a:pt x="703562" y="502863"/>
                        <a:pt x="704715" y="502620"/>
                        <a:pt x="705833" y="502135"/>
                      </a:cubicBezTo>
                      <a:cubicBezTo>
                        <a:pt x="706428" y="501880"/>
                        <a:pt x="707399" y="501528"/>
                        <a:pt x="708492" y="501115"/>
                      </a:cubicBezTo>
                      <a:cubicBezTo>
                        <a:pt x="713422" y="499293"/>
                        <a:pt x="715911" y="498273"/>
                        <a:pt x="717502" y="496938"/>
                      </a:cubicBezTo>
                      <a:cubicBezTo>
                        <a:pt x="720161" y="494643"/>
                        <a:pt x="721157" y="491935"/>
                        <a:pt x="721873" y="489967"/>
                      </a:cubicBezTo>
                      <a:cubicBezTo>
                        <a:pt x="722141" y="489215"/>
                        <a:pt x="722432" y="488438"/>
                        <a:pt x="722675" y="488098"/>
                      </a:cubicBezTo>
                      <a:cubicBezTo>
                        <a:pt x="723646" y="486786"/>
                        <a:pt x="724654" y="485693"/>
                        <a:pt x="725601" y="484649"/>
                      </a:cubicBezTo>
                      <a:cubicBezTo>
                        <a:pt x="728115" y="481892"/>
                        <a:pt x="730944" y="478772"/>
                        <a:pt x="732425" y="473259"/>
                      </a:cubicBezTo>
                      <a:cubicBezTo>
                        <a:pt x="733858" y="467964"/>
                        <a:pt x="734077" y="467151"/>
                        <a:pt x="738946" y="462804"/>
                      </a:cubicBezTo>
                      <a:cubicBezTo>
                        <a:pt x="743694" y="458542"/>
                        <a:pt x="744860" y="454000"/>
                        <a:pt x="745795" y="450345"/>
                      </a:cubicBezTo>
                      <a:cubicBezTo>
                        <a:pt x="746086" y="449228"/>
                        <a:pt x="746378" y="448062"/>
                        <a:pt x="746815" y="446848"/>
                      </a:cubicBezTo>
                      <a:cubicBezTo>
                        <a:pt x="749317" y="440036"/>
                        <a:pt x="756651" y="430054"/>
                        <a:pt x="763354" y="429896"/>
                      </a:cubicBezTo>
                      <a:cubicBezTo>
                        <a:pt x="763366" y="429896"/>
                        <a:pt x="763366" y="429896"/>
                        <a:pt x="763366" y="429896"/>
                      </a:cubicBezTo>
                      <a:cubicBezTo>
                        <a:pt x="765078" y="429896"/>
                        <a:pt x="766656" y="430892"/>
                        <a:pt x="769146" y="432495"/>
                      </a:cubicBezTo>
                      <a:cubicBezTo>
                        <a:pt x="771465" y="434013"/>
                        <a:pt x="774112" y="435749"/>
                        <a:pt x="777500" y="436624"/>
                      </a:cubicBezTo>
                      <a:cubicBezTo>
                        <a:pt x="779358" y="437109"/>
                        <a:pt x="781629" y="437340"/>
                        <a:pt x="784264" y="437340"/>
                      </a:cubicBezTo>
                      <a:cubicBezTo>
                        <a:pt x="789291" y="437340"/>
                        <a:pt x="794974" y="436454"/>
                        <a:pt x="798386" y="435130"/>
                      </a:cubicBezTo>
                      <a:cubicBezTo>
                        <a:pt x="808501" y="431184"/>
                        <a:pt x="810748" y="429459"/>
                        <a:pt x="811428" y="420012"/>
                      </a:cubicBezTo>
                      <a:lnTo>
                        <a:pt x="811512" y="418810"/>
                      </a:lnTo>
                      <a:lnTo>
                        <a:pt x="811853" y="414402"/>
                      </a:lnTo>
                      <a:cubicBezTo>
                        <a:pt x="812788" y="402150"/>
                        <a:pt x="814184" y="383632"/>
                        <a:pt x="818823" y="374306"/>
                      </a:cubicBezTo>
                      <a:lnTo>
                        <a:pt x="819236" y="373468"/>
                      </a:lnTo>
                      <a:cubicBezTo>
                        <a:pt x="821943" y="368004"/>
                        <a:pt x="823303" y="365272"/>
                        <a:pt x="827784" y="361823"/>
                      </a:cubicBezTo>
                      <a:cubicBezTo>
                        <a:pt x="835410" y="355958"/>
                        <a:pt x="837365" y="347579"/>
                        <a:pt x="839089" y="340172"/>
                      </a:cubicBezTo>
                      <a:cubicBezTo>
                        <a:pt x="839818" y="337064"/>
                        <a:pt x="840498" y="334125"/>
                        <a:pt x="841530" y="331696"/>
                      </a:cubicBezTo>
                      <a:cubicBezTo>
                        <a:pt x="842647" y="329086"/>
                        <a:pt x="843084" y="326609"/>
                        <a:pt x="843485" y="324411"/>
                      </a:cubicBezTo>
                      <a:cubicBezTo>
                        <a:pt x="843898" y="322079"/>
                        <a:pt x="844238" y="320246"/>
                        <a:pt x="845233" y="318788"/>
                      </a:cubicBezTo>
                      <a:cubicBezTo>
                        <a:pt x="847953" y="314903"/>
                        <a:pt x="849326" y="314101"/>
                        <a:pt x="850649" y="314101"/>
                      </a:cubicBezTo>
                      <a:cubicBezTo>
                        <a:pt x="851014" y="314101"/>
                        <a:pt x="851439" y="314162"/>
                        <a:pt x="851900" y="314271"/>
                      </a:cubicBezTo>
                      <a:cubicBezTo>
                        <a:pt x="851839" y="314308"/>
                        <a:pt x="852155" y="314587"/>
                        <a:pt x="852507" y="314842"/>
                      </a:cubicBezTo>
                      <a:cubicBezTo>
                        <a:pt x="853879" y="315886"/>
                        <a:pt x="855968" y="317477"/>
                        <a:pt x="858833" y="317841"/>
                      </a:cubicBezTo>
                      <a:cubicBezTo>
                        <a:pt x="860157" y="318011"/>
                        <a:pt x="861104" y="318072"/>
                        <a:pt x="861797" y="318072"/>
                      </a:cubicBezTo>
                      <a:cubicBezTo>
                        <a:pt x="866471" y="318072"/>
                        <a:pt x="868208" y="315133"/>
                        <a:pt x="868876" y="314028"/>
                      </a:cubicBezTo>
                      <a:cubicBezTo>
                        <a:pt x="869107" y="313652"/>
                        <a:pt x="869204" y="313470"/>
                        <a:pt x="869677" y="313045"/>
                      </a:cubicBezTo>
                      <a:cubicBezTo>
                        <a:pt x="870588" y="312231"/>
                        <a:pt x="871474" y="311491"/>
                        <a:pt x="872325" y="310774"/>
                      </a:cubicBezTo>
                      <a:cubicBezTo>
                        <a:pt x="875894" y="307751"/>
                        <a:pt x="879258" y="304909"/>
                        <a:pt x="881687" y="300149"/>
                      </a:cubicBezTo>
                      <a:cubicBezTo>
                        <a:pt x="883132" y="297380"/>
                        <a:pt x="883641" y="294126"/>
                        <a:pt x="884079" y="291248"/>
                      </a:cubicBezTo>
                      <a:cubicBezTo>
                        <a:pt x="884346" y="289488"/>
                        <a:pt x="884771" y="286816"/>
                        <a:pt x="885317" y="286027"/>
                      </a:cubicBezTo>
                      <a:cubicBezTo>
                        <a:pt x="886022" y="285019"/>
                        <a:pt x="889300" y="282918"/>
                        <a:pt x="891255" y="281655"/>
                      </a:cubicBezTo>
                      <a:cubicBezTo>
                        <a:pt x="893417" y="280271"/>
                        <a:pt x="895445" y="278960"/>
                        <a:pt x="897096" y="277551"/>
                      </a:cubicBezTo>
                      <a:cubicBezTo>
                        <a:pt x="901322" y="273969"/>
                        <a:pt x="904370" y="272415"/>
                        <a:pt x="909397" y="269852"/>
                      </a:cubicBezTo>
                      <a:cubicBezTo>
                        <a:pt x="912615" y="268237"/>
                        <a:pt x="915274" y="266368"/>
                        <a:pt x="917848" y="264558"/>
                      </a:cubicBezTo>
                      <a:cubicBezTo>
                        <a:pt x="920277" y="262858"/>
                        <a:pt x="922572" y="261255"/>
                        <a:pt x="925195" y="259968"/>
                      </a:cubicBezTo>
                      <a:cubicBezTo>
                        <a:pt x="930173" y="257527"/>
                        <a:pt x="934800" y="255572"/>
                        <a:pt x="940677" y="253411"/>
                      </a:cubicBezTo>
                      <a:cubicBezTo>
                        <a:pt x="949104" y="250278"/>
                        <a:pt x="957131" y="245980"/>
                        <a:pt x="964550" y="240612"/>
                      </a:cubicBezTo>
                      <a:cubicBezTo>
                        <a:pt x="966566" y="239155"/>
                        <a:pt x="968496" y="237443"/>
                        <a:pt x="970427" y="235707"/>
                      </a:cubicBezTo>
                      <a:cubicBezTo>
                        <a:pt x="973402" y="233047"/>
                        <a:pt x="976220" y="230534"/>
                        <a:pt x="979267" y="229247"/>
                      </a:cubicBezTo>
                      <a:cubicBezTo>
                        <a:pt x="980858" y="228591"/>
                        <a:pt x="982558" y="227899"/>
                        <a:pt x="984294" y="227206"/>
                      </a:cubicBezTo>
                      <a:cubicBezTo>
                        <a:pt x="987330" y="225980"/>
                        <a:pt x="990475" y="224717"/>
                        <a:pt x="993353" y="223442"/>
                      </a:cubicBezTo>
                      <a:cubicBezTo>
                        <a:pt x="996279" y="222155"/>
                        <a:pt x="999024" y="220564"/>
                        <a:pt x="1001659" y="219034"/>
                      </a:cubicBezTo>
                      <a:cubicBezTo>
                        <a:pt x="1006552" y="216193"/>
                        <a:pt x="1011179" y="213509"/>
                        <a:pt x="1015915" y="213509"/>
                      </a:cubicBezTo>
                      <a:cubicBezTo>
                        <a:pt x="1016704" y="213509"/>
                        <a:pt x="1017530" y="213582"/>
                        <a:pt x="1018367" y="213740"/>
                      </a:cubicBezTo>
                      <a:lnTo>
                        <a:pt x="1022533" y="214517"/>
                      </a:lnTo>
                      <a:lnTo>
                        <a:pt x="1024512" y="211190"/>
                      </a:lnTo>
                      <a:cubicBezTo>
                        <a:pt x="1029175" y="208130"/>
                        <a:pt x="1032975" y="203006"/>
                        <a:pt x="1036983" y="197614"/>
                      </a:cubicBezTo>
                      <a:cubicBezTo>
                        <a:pt x="1040808" y="192465"/>
                        <a:pt x="1045155" y="186637"/>
                        <a:pt x="1048834" y="185253"/>
                      </a:cubicBezTo>
                      <a:cubicBezTo>
                        <a:pt x="1052004" y="184075"/>
                        <a:pt x="1055488" y="182703"/>
                        <a:pt x="1058925" y="181355"/>
                      </a:cubicBezTo>
                      <a:lnTo>
                        <a:pt x="1061742" y="180250"/>
                      </a:lnTo>
                      <a:cubicBezTo>
                        <a:pt x="1067802" y="177821"/>
                        <a:pt x="1069307" y="176206"/>
                        <a:pt x="1072088" y="172235"/>
                      </a:cubicBezTo>
                      <a:cubicBezTo>
                        <a:pt x="1072501" y="171628"/>
                        <a:pt x="1072987" y="170936"/>
                        <a:pt x="1073594" y="170122"/>
                      </a:cubicBezTo>
                      <a:lnTo>
                        <a:pt x="1074966" y="168216"/>
                      </a:lnTo>
                      <a:cubicBezTo>
                        <a:pt x="1076872" y="165533"/>
                        <a:pt x="1079264" y="162193"/>
                        <a:pt x="1081329" y="160651"/>
                      </a:cubicBezTo>
                      <a:cubicBezTo>
                        <a:pt x="1082859" y="159510"/>
                        <a:pt x="1084328" y="159376"/>
                        <a:pt x="1087497" y="159157"/>
                      </a:cubicBezTo>
                      <a:cubicBezTo>
                        <a:pt x="1089404" y="159036"/>
                        <a:pt x="1091407" y="158890"/>
                        <a:pt x="1093581" y="158453"/>
                      </a:cubicBezTo>
                      <a:cubicBezTo>
                        <a:pt x="1098025" y="157567"/>
                        <a:pt x="1101838" y="155697"/>
                        <a:pt x="1105190" y="154057"/>
                      </a:cubicBezTo>
                      <a:cubicBezTo>
                        <a:pt x="1107497" y="152928"/>
                        <a:pt x="1109694" y="151860"/>
                        <a:pt x="1111905" y="151168"/>
                      </a:cubicBezTo>
                      <a:cubicBezTo>
                        <a:pt x="1113726" y="150609"/>
                        <a:pt x="1114892" y="150536"/>
                        <a:pt x="1115693" y="150536"/>
                      </a:cubicBezTo>
                      <a:cubicBezTo>
                        <a:pt x="1116883" y="150536"/>
                        <a:pt x="1117976" y="150706"/>
                        <a:pt x="1119203" y="150876"/>
                      </a:cubicBezTo>
                      <a:cubicBezTo>
                        <a:pt x="1120563" y="151070"/>
                        <a:pt x="1122020" y="151265"/>
                        <a:pt x="1123756" y="151386"/>
                      </a:cubicBezTo>
                      <a:cubicBezTo>
                        <a:pt x="1124703" y="151447"/>
                        <a:pt x="1125651" y="151483"/>
                        <a:pt x="1126610" y="151483"/>
                      </a:cubicBezTo>
                      <a:cubicBezTo>
                        <a:pt x="1138158" y="151483"/>
                        <a:pt x="1150968" y="146929"/>
                        <a:pt x="1160039" y="139620"/>
                      </a:cubicBezTo>
                      <a:lnTo>
                        <a:pt x="1163706" y="136669"/>
                      </a:lnTo>
                      <a:cubicBezTo>
                        <a:pt x="1170482" y="131265"/>
                        <a:pt x="1177489" y="125667"/>
                        <a:pt x="1182771" y="118624"/>
                      </a:cubicBezTo>
                      <a:cubicBezTo>
                        <a:pt x="1184252" y="116645"/>
                        <a:pt x="1188818" y="110598"/>
                        <a:pt x="1186681" y="104320"/>
                      </a:cubicBezTo>
                      <a:cubicBezTo>
                        <a:pt x="1184495" y="97884"/>
                        <a:pt x="1177355" y="95905"/>
                        <a:pt x="1170446" y="93974"/>
                      </a:cubicBezTo>
                      <a:cubicBezTo>
                        <a:pt x="1168175" y="93343"/>
                        <a:pt x="1165819" y="92699"/>
                        <a:pt x="1163597" y="91861"/>
                      </a:cubicBezTo>
                      <a:cubicBezTo>
                        <a:pt x="1158825" y="90088"/>
                        <a:pt x="1154721" y="89323"/>
                        <a:pt x="1151406" y="88704"/>
                      </a:cubicBezTo>
                      <a:cubicBezTo>
                        <a:pt x="1144848" y="87478"/>
                        <a:pt x="1144848" y="87478"/>
                        <a:pt x="1144691" y="83082"/>
                      </a:cubicBezTo>
                      <a:cubicBezTo>
                        <a:pt x="1144557" y="78480"/>
                        <a:pt x="1142711" y="75383"/>
                        <a:pt x="1141375" y="73125"/>
                      </a:cubicBezTo>
                      <a:cubicBezTo>
                        <a:pt x="1140562" y="71753"/>
                        <a:pt x="1140088" y="70939"/>
                        <a:pt x="1139955" y="70077"/>
                      </a:cubicBezTo>
                      <a:cubicBezTo>
                        <a:pt x="1139251" y="65523"/>
                        <a:pt x="1143634" y="61553"/>
                        <a:pt x="1150932" y="55554"/>
                      </a:cubicBezTo>
                      <a:cubicBezTo>
                        <a:pt x="1159809" y="48244"/>
                        <a:pt x="1171988" y="38238"/>
                        <a:pt x="1164933" y="22416"/>
                      </a:cubicBezTo>
                      <a:cubicBezTo>
                        <a:pt x="1162274" y="16514"/>
                        <a:pt x="1157574" y="9326"/>
                        <a:pt x="1152316" y="3169"/>
                      </a:cubicBezTo>
                      <a:lnTo>
                        <a:pt x="1149438" y="0"/>
                      </a:lnTo>
                      <a:lnTo>
                        <a:pt x="1149438" y="0"/>
                      </a:lnTo>
                      <a:close/>
                    </a:path>
                  </a:pathLst>
                </a:custGeom>
                <a:solidFill>
                  <a:srgbClr val="FFFFFF"/>
                </a:solidFill>
                <a:ln w="12138" cap="flat">
                  <a:noFill/>
                  <a:prstDash val="solid"/>
                  <a:miter/>
                </a:ln>
              </p:spPr>
              <p:txBody>
                <a:bodyPr rtlCol="0" anchor="ctr"/>
                <a:lstStyle/>
                <a:p>
                  <a:endParaRPr lang="en-US"/>
                </a:p>
              </p:txBody>
            </p:sp>
          </p:grpSp>
          <p:grpSp>
            <p:nvGrpSpPr>
              <p:cNvPr id="283" name="Graphic 280">
                <a:extLst>
                  <a:ext uri="{FF2B5EF4-FFF2-40B4-BE49-F238E27FC236}">
                    <a16:creationId xmlns:a16="http://schemas.microsoft.com/office/drawing/2014/main" id="{CA01F000-A4FC-46E2-A128-5BB3176A7B6F}"/>
                  </a:ext>
                </a:extLst>
              </p:cNvPr>
              <p:cNvGrpSpPr/>
              <p:nvPr/>
            </p:nvGrpSpPr>
            <p:grpSpPr>
              <a:xfrm>
                <a:off x="8396164" y="2513327"/>
                <a:ext cx="437801" cy="315971"/>
                <a:chOff x="8396164" y="2513327"/>
                <a:chExt cx="437801" cy="315971"/>
              </a:xfrm>
            </p:grpSpPr>
            <p:sp>
              <p:nvSpPr>
                <p:cNvPr id="284" name="Freeform: Shape 283">
                  <a:extLst>
                    <a:ext uri="{FF2B5EF4-FFF2-40B4-BE49-F238E27FC236}">
                      <a16:creationId xmlns:a16="http://schemas.microsoft.com/office/drawing/2014/main" id="{1ECC2377-087A-43CE-9765-09AF55E1451C}"/>
                    </a:ext>
                  </a:extLst>
                </p:cNvPr>
                <p:cNvSpPr/>
                <p:nvPr/>
              </p:nvSpPr>
              <p:spPr>
                <a:xfrm>
                  <a:off x="8400972" y="2516897"/>
                  <a:ext cx="415907" cy="309316"/>
                </a:xfrm>
                <a:custGeom>
                  <a:avLst/>
                  <a:gdLst>
                    <a:gd name="connsiteX0" fmla="*/ 37473 w 415907"/>
                    <a:gd name="connsiteY0" fmla="*/ 308698 h 309316"/>
                    <a:gd name="connsiteX1" fmla="*/ 31329 w 415907"/>
                    <a:gd name="connsiteY1" fmla="*/ 280235 h 309316"/>
                    <a:gd name="connsiteX2" fmla="*/ 23193 w 415907"/>
                    <a:gd name="connsiteY2" fmla="*/ 265748 h 309316"/>
                    <a:gd name="connsiteX3" fmla="*/ 23557 w 415907"/>
                    <a:gd name="connsiteY3" fmla="*/ 261097 h 309316"/>
                    <a:gd name="connsiteX4" fmla="*/ 23764 w 415907"/>
                    <a:gd name="connsiteY4" fmla="*/ 260842 h 309316"/>
                    <a:gd name="connsiteX5" fmla="*/ 21105 w 415907"/>
                    <a:gd name="connsiteY5" fmla="*/ 254722 h 309316"/>
                    <a:gd name="connsiteX6" fmla="*/ 19356 w 415907"/>
                    <a:gd name="connsiteY6" fmla="*/ 251347 h 309316"/>
                    <a:gd name="connsiteX7" fmla="*/ 17401 w 415907"/>
                    <a:gd name="connsiteY7" fmla="*/ 251857 h 309316"/>
                    <a:gd name="connsiteX8" fmla="*/ 15652 w 415907"/>
                    <a:gd name="connsiteY8" fmla="*/ 251857 h 309316"/>
                    <a:gd name="connsiteX9" fmla="*/ 14499 w 415907"/>
                    <a:gd name="connsiteY9" fmla="*/ 250060 h 309316"/>
                    <a:gd name="connsiteX10" fmla="*/ 11414 w 415907"/>
                    <a:gd name="connsiteY10" fmla="*/ 236447 h 309316"/>
                    <a:gd name="connsiteX11" fmla="*/ 12289 w 415907"/>
                    <a:gd name="connsiteY11" fmla="*/ 234929 h 309316"/>
                    <a:gd name="connsiteX12" fmla="*/ 14146 w 415907"/>
                    <a:gd name="connsiteY12" fmla="*/ 234929 h 309316"/>
                    <a:gd name="connsiteX13" fmla="*/ 5914 w 415907"/>
                    <a:gd name="connsiteY13" fmla="*/ 226114 h 309316"/>
                    <a:gd name="connsiteX14" fmla="*/ 0 w 415907"/>
                    <a:gd name="connsiteY14" fmla="*/ 225057 h 309316"/>
                    <a:gd name="connsiteX15" fmla="*/ 2671 w 415907"/>
                    <a:gd name="connsiteY15" fmla="*/ 220576 h 309316"/>
                    <a:gd name="connsiteX16" fmla="*/ 4007 w 415907"/>
                    <a:gd name="connsiteY16" fmla="*/ 219180 h 309316"/>
                    <a:gd name="connsiteX17" fmla="*/ 15033 w 415907"/>
                    <a:gd name="connsiteY17" fmla="*/ 207268 h 309316"/>
                    <a:gd name="connsiteX18" fmla="*/ 30989 w 415907"/>
                    <a:gd name="connsiteY18" fmla="*/ 191822 h 309316"/>
                    <a:gd name="connsiteX19" fmla="*/ 40934 w 415907"/>
                    <a:gd name="connsiteY19" fmla="*/ 187973 h 309316"/>
                    <a:gd name="connsiteX20" fmla="*/ 43763 w 415907"/>
                    <a:gd name="connsiteY20" fmla="*/ 186868 h 309316"/>
                    <a:gd name="connsiteX21" fmla="*/ 49944 w 415907"/>
                    <a:gd name="connsiteY21" fmla="*/ 182132 h 309316"/>
                    <a:gd name="connsiteX22" fmla="*/ 52882 w 415907"/>
                    <a:gd name="connsiteY22" fmla="*/ 178016 h 309316"/>
                    <a:gd name="connsiteX23" fmla="*/ 61249 w 415907"/>
                    <a:gd name="connsiteY23" fmla="*/ 168422 h 309316"/>
                    <a:gd name="connsiteX24" fmla="*/ 72226 w 415907"/>
                    <a:gd name="connsiteY24" fmla="*/ 165168 h 309316"/>
                    <a:gd name="connsiteX25" fmla="*/ 77132 w 415907"/>
                    <a:gd name="connsiteY25" fmla="*/ 164622 h 309316"/>
                    <a:gd name="connsiteX26" fmla="*/ 86518 w 415907"/>
                    <a:gd name="connsiteY26" fmla="*/ 160979 h 309316"/>
                    <a:gd name="connsiteX27" fmla="*/ 94496 w 415907"/>
                    <a:gd name="connsiteY27" fmla="*/ 157579 h 309316"/>
                    <a:gd name="connsiteX28" fmla="*/ 101017 w 415907"/>
                    <a:gd name="connsiteY28" fmla="*/ 156535 h 309316"/>
                    <a:gd name="connsiteX29" fmla="*/ 105789 w 415907"/>
                    <a:gd name="connsiteY29" fmla="*/ 156960 h 309316"/>
                    <a:gd name="connsiteX30" fmla="*/ 109687 w 415907"/>
                    <a:gd name="connsiteY30" fmla="*/ 157397 h 309316"/>
                    <a:gd name="connsiteX31" fmla="*/ 111946 w 415907"/>
                    <a:gd name="connsiteY31" fmla="*/ 157470 h 309316"/>
                    <a:gd name="connsiteX32" fmla="*/ 139644 w 415907"/>
                    <a:gd name="connsiteY32" fmla="*/ 147622 h 309316"/>
                    <a:gd name="connsiteX33" fmla="*/ 143360 w 415907"/>
                    <a:gd name="connsiteY33" fmla="*/ 144647 h 309316"/>
                    <a:gd name="connsiteX34" fmla="*/ 160821 w 415907"/>
                    <a:gd name="connsiteY34" fmla="*/ 128254 h 309316"/>
                    <a:gd name="connsiteX35" fmla="*/ 163408 w 415907"/>
                    <a:gd name="connsiteY35" fmla="*/ 122340 h 309316"/>
                    <a:gd name="connsiteX36" fmla="*/ 153353 w 415907"/>
                    <a:gd name="connsiteY36" fmla="*/ 117847 h 309316"/>
                    <a:gd name="connsiteX37" fmla="*/ 145764 w 415907"/>
                    <a:gd name="connsiteY37" fmla="*/ 115504 h 309316"/>
                    <a:gd name="connsiteX38" fmla="*/ 135078 w 415907"/>
                    <a:gd name="connsiteY38" fmla="*/ 112759 h 309316"/>
                    <a:gd name="connsiteX39" fmla="*/ 120931 w 415907"/>
                    <a:gd name="connsiteY39" fmla="*/ 98528 h 309316"/>
                    <a:gd name="connsiteX40" fmla="*/ 118891 w 415907"/>
                    <a:gd name="connsiteY40" fmla="*/ 92906 h 309316"/>
                    <a:gd name="connsiteX41" fmla="*/ 116293 w 415907"/>
                    <a:gd name="connsiteY41" fmla="*/ 86543 h 309316"/>
                    <a:gd name="connsiteX42" fmla="*/ 130488 w 415907"/>
                    <a:gd name="connsiteY42" fmla="*/ 63629 h 309316"/>
                    <a:gd name="connsiteX43" fmla="*/ 141951 w 415907"/>
                    <a:gd name="connsiteY43" fmla="*/ 41237 h 309316"/>
                    <a:gd name="connsiteX44" fmla="*/ 130719 w 415907"/>
                    <a:gd name="connsiteY44" fmla="*/ 24189 h 309316"/>
                    <a:gd name="connsiteX45" fmla="*/ 128023 w 415907"/>
                    <a:gd name="connsiteY45" fmla="*/ 21044 h 309316"/>
                    <a:gd name="connsiteX46" fmla="*/ 138235 w 415907"/>
                    <a:gd name="connsiteY46" fmla="*/ 16721 h 309316"/>
                    <a:gd name="connsiteX47" fmla="*/ 164695 w 415907"/>
                    <a:gd name="connsiteY47" fmla="*/ 5999 h 309316"/>
                    <a:gd name="connsiteX48" fmla="*/ 176437 w 415907"/>
                    <a:gd name="connsiteY48" fmla="*/ 4493 h 309316"/>
                    <a:gd name="connsiteX49" fmla="*/ 182375 w 415907"/>
                    <a:gd name="connsiteY49" fmla="*/ 7784 h 309316"/>
                    <a:gd name="connsiteX50" fmla="*/ 185799 w 415907"/>
                    <a:gd name="connsiteY50" fmla="*/ 13855 h 309316"/>
                    <a:gd name="connsiteX51" fmla="*/ 195186 w 415907"/>
                    <a:gd name="connsiteY51" fmla="*/ 20546 h 309316"/>
                    <a:gd name="connsiteX52" fmla="*/ 203443 w 415907"/>
                    <a:gd name="connsiteY52" fmla="*/ 24492 h 309316"/>
                    <a:gd name="connsiteX53" fmla="*/ 216472 w 415907"/>
                    <a:gd name="connsiteY53" fmla="*/ 19077 h 309316"/>
                    <a:gd name="connsiteX54" fmla="*/ 231226 w 415907"/>
                    <a:gd name="connsiteY54" fmla="*/ 18858 h 309316"/>
                    <a:gd name="connsiteX55" fmla="*/ 239179 w 415907"/>
                    <a:gd name="connsiteY55" fmla="*/ 13977 h 309316"/>
                    <a:gd name="connsiteX56" fmla="*/ 246004 w 415907"/>
                    <a:gd name="connsiteY56" fmla="*/ 15009 h 309316"/>
                    <a:gd name="connsiteX57" fmla="*/ 251043 w 415907"/>
                    <a:gd name="connsiteY57" fmla="*/ 7189 h 309316"/>
                    <a:gd name="connsiteX58" fmla="*/ 257612 w 415907"/>
                    <a:gd name="connsiteY58" fmla="*/ 5039 h 309316"/>
                    <a:gd name="connsiteX59" fmla="*/ 268772 w 415907"/>
                    <a:gd name="connsiteY59" fmla="*/ 9897 h 309316"/>
                    <a:gd name="connsiteX60" fmla="*/ 272427 w 415907"/>
                    <a:gd name="connsiteY60" fmla="*/ 9229 h 309316"/>
                    <a:gd name="connsiteX61" fmla="*/ 273435 w 415907"/>
                    <a:gd name="connsiteY61" fmla="*/ 3716 h 309316"/>
                    <a:gd name="connsiteX62" fmla="*/ 282263 w 415907"/>
                    <a:gd name="connsiteY62" fmla="*/ 0 h 309316"/>
                    <a:gd name="connsiteX63" fmla="*/ 290325 w 415907"/>
                    <a:gd name="connsiteY63" fmla="*/ 7189 h 309316"/>
                    <a:gd name="connsiteX64" fmla="*/ 300283 w 415907"/>
                    <a:gd name="connsiteY64" fmla="*/ 16769 h 309316"/>
                    <a:gd name="connsiteX65" fmla="*/ 306573 w 415907"/>
                    <a:gd name="connsiteY65" fmla="*/ 21238 h 309316"/>
                    <a:gd name="connsiteX66" fmla="*/ 314259 w 415907"/>
                    <a:gd name="connsiteY66" fmla="*/ 23472 h 309316"/>
                    <a:gd name="connsiteX67" fmla="*/ 324751 w 415907"/>
                    <a:gd name="connsiteY67" fmla="*/ 35992 h 309316"/>
                    <a:gd name="connsiteX68" fmla="*/ 330494 w 415907"/>
                    <a:gd name="connsiteY68" fmla="*/ 42185 h 309316"/>
                    <a:gd name="connsiteX69" fmla="*/ 339359 w 415907"/>
                    <a:gd name="connsiteY69" fmla="*/ 43229 h 309316"/>
                    <a:gd name="connsiteX70" fmla="*/ 349753 w 415907"/>
                    <a:gd name="connsiteY70" fmla="*/ 45997 h 309316"/>
                    <a:gd name="connsiteX71" fmla="*/ 355072 w 415907"/>
                    <a:gd name="connsiteY71" fmla="*/ 54121 h 309316"/>
                    <a:gd name="connsiteX72" fmla="*/ 369194 w 415907"/>
                    <a:gd name="connsiteY72" fmla="*/ 56282 h 309316"/>
                    <a:gd name="connsiteX73" fmla="*/ 388355 w 415907"/>
                    <a:gd name="connsiteY73" fmla="*/ 65681 h 309316"/>
                    <a:gd name="connsiteX74" fmla="*/ 388355 w 415907"/>
                    <a:gd name="connsiteY74" fmla="*/ 67673 h 309316"/>
                    <a:gd name="connsiteX75" fmla="*/ 415908 w 415907"/>
                    <a:gd name="connsiteY75" fmla="*/ 55712 h 309316"/>
                    <a:gd name="connsiteX76" fmla="*/ 396576 w 415907"/>
                    <a:gd name="connsiteY76" fmla="*/ 72408 h 309316"/>
                    <a:gd name="connsiteX77" fmla="*/ 394548 w 415907"/>
                    <a:gd name="connsiteY77" fmla="*/ 73671 h 309316"/>
                    <a:gd name="connsiteX78" fmla="*/ 392132 w 415907"/>
                    <a:gd name="connsiteY78" fmla="*/ 74461 h 309316"/>
                    <a:gd name="connsiteX79" fmla="*/ 390991 w 415907"/>
                    <a:gd name="connsiteY79" fmla="*/ 76731 h 309316"/>
                    <a:gd name="connsiteX80" fmla="*/ 388853 w 415907"/>
                    <a:gd name="connsiteY80" fmla="*/ 79111 h 309316"/>
                    <a:gd name="connsiteX81" fmla="*/ 384810 w 415907"/>
                    <a:gd name="connsiteY81" fmla="*/ 80471 h 309316"/>
                    <a:gd name="connsiteX82" fmla="*/ 384409 w 415907"/>
                    <a:gd name="connsiteY82" fmla="*/ 81819 h 309316"/>
                    <a:gd name="connsiteX83" fmla="*/ 384118 w 415907"/>
                    <a:gd name="connsiteY83" fmla="*/ 84855 h 309316"/>
                    <a:gd name="connsiteX84" fmla="*/ 382563 w 415907"/>
                    <a:gd name="connsiteY84" fmla="*/ 86591 h 309316"/>
                    <a:gd name="connsiteX85" fmla="*/ 380535 w 415907"/>
                    <a:gd name="connsiteY85" fmla="*/ 87344 h 309316"/>
                    <a:gd name="connsiteX86" fmla="*/ 377499 w 415907"/>
                    <a:gd name="connsiteY86" fmla="*/ 88000 h 309316"/>
                    <a:gd name="connsiteX87" fmla="*/ 371513 w 415907"/>
                    <a:gd name="connsiteY87" fmla="*/ 89748 h 309316"/>
                    <a:gd name="connsiteX88" fmla="*/ 369801 w 415907"/>
                    <a:gd name="connsiteY88" fmla="*/ 90950 h 309316"/>
                    <a:gd name="connsiteX89" fmla="*/ 364154 w 415907"/>
                    <a:gd name="connsiteY89" fmla="*/ 98115 h 309316"/>
                    <a:gd name="connsiteX90" fmla="*/ 360524 w 415907"/>
                    <a:gd name="connsiteY90" fmla="*/ 101333 h 309316"/>
                    <a:gd name="connsiteX91" fmla="*/ 352752 w 415907"/>
                    <a:gd name="connsiteY91" fmla="*/ 106542 h 309316"/>
                    <a:gd name="connsiteX92" fmla="*/ 350008 w 415907"/>
                    <a:gd name="connsiteY92" fmla="*/ 108958 h 309316"/>
                    <a:gd name="connsiteX93" fmla="*/ 348029 w 415907"/>
                    <a:gd name="connsiteY93" fmla="*/ 111921 h 309316"/>
                    <a:gd name="connsiteX94" fmla="*/ 346826 w 415907"/>
                    <a:gd name="connsiteY94" fmla="*/ 115261 h 309316"/>
                    <a:gd name="connsiteX95" fmla="*/ 347033 w 415907"/>
                    <a:gd name="connsiteY95" fmla="*/ 118406 h 309316"/>
                    <a:gd name="connsiteX96" fmla="*/ 349377 w 415907"/>
                    <a:gd name="connsiteY96" fmla="*/ 121830 h 309316"/>
                    <a:gd name="connsiteX97" fmla="*/ 350336 w 415907"/>
                    <a:gd name="connsiteY97" fmla="*/ 124465 h 309316"/>
                    <a:gd name="connsiteX98" fmla="*/ 350591 w 415907"/>
                    <a:gd name="connsiteY98" fmla="*/ 127112 h 309316"/>
                    <a:gd name="connsiteX99" fmla="*/ 351222 w 415907"/>
                    <a:gd name="connsiteY99" fmla="*/ 130488 h 309316"/>
                    <a:gd name="connsiteX100" fmla="*/ 351781 w 415907"/>
                    <a:gd name="connsiteY100" fmla="*/ 131605 h 309316"/>
                    <a:gd name="connsiteX101" fmla="*/ 352364 w 415907"/>
                    <a:gd name="connsiteY101" fmla="*/ 136244 h 309316"/>
                    <a:gd name="connsiteX102" fmla="*/ 349971 w 415907"/>
                    <a:gd name="connsiteY102" fmla="*/ 142012 h 309316"/>
                    <a:gd name="connsiteX103" fmla="*/ 350591 w 415907"/>
                    <a:gd name="connsiteY103" fmla="*/ 144938 h 309316"/>
                    <a:gd name="connsiteX104" fmla="*/ 354671 w 415907"/>
                    <a:gd name="connsiteY104" fmla="*/ 151180 h 309316"/>
                    <a:gd name="connsiteX105" fmla="*/ 385028 w 415907"/>
                    <a:gd name="connsiteY105" fmla="*/ 189563 h 309316"/>
                    <a:gd name="connsiteX106" fmla="*/ 389958 w 415907"/>
                    <a:gd name="connsiteY106" fmla="*/ 194493 h 309316"/>
                    <a:gd name="connsiteX107" fmla="*/ 391925 w 415907"/>
                    <a:gd name="connsiteY107" fmla="*/ 197286 h 309316"/>
                    <a:gd name="connsiteX108" fmla="*/ 391998 w 415907"/>
                    <a:gd name="connsiteY108" fmla="*/ 201840 h 309316"/>
                    <a:gd name="connsiteX109" fmla="*/ 392107 w 415907"/>
                    <a:gd name="connsiteY109" fmla="*/ 202119 h 309316"/>
                    <a:gd name="connsiteX110" fmla="*/ 393055 w 415907"/>
                    <a:gd name="connsiteY110" fmla="*/ 203139 h 309316"/>
                    <a:gd name="connsiteX111" fmla="*/ 394050 w 415907"/>
                    <a:gd name="connsiteY111" fmla="*/ 203576 h 309316"/>
                    <a:gd name="connsiteX112" fmla="*/ 396552 w 415907"/>
                    <a:gd name="connsiteY112" fmla="*/ 205446 h 309316"/>
                    <a:gd name="connsiteX113" fmla="*/ 398337 w 415907"/>
                    <a:gd name="connsiteY113" fmla="*/ 209174 h 309316"/>
                    <a:gd name="connsiteX114" fmla="*/ 397766 w 415907"/>
                    <a:gd name="connsiteY114" fmla="*/ 211749 h 309316"/>
                    <a:gd name="connsiteX115" fmla="*/ 395762 w 415907"/>
                    <a:gd name="connsiteY115" fmla="*/ 217346 h 309316"/>
                    <a:gd name="connsiteX116" fmla="*/ 394366 w 415907"/>
                    <a:gd name="connsiteY116" fmla="*/ 220018 h 309316"/>
                    <a:gd name="connsiteX117" fmla="*/ 389667 w 415907"/>
                    <a:gd name="connsiteY117" fmla="*/ 221852 h 309316"/>
                    <a:gd name="connsiteX118" fmla="*/ 387008 w 415907"/>
                    <a:gd name="connsiteY118" fmla="*/ 220661 h 309316"/>
                    <a:gd name="connsiteX119" fmla="*/ 384798 w 415907"/>
                    <a:gd name="connsiteY119" fmla="*/ 218949 h 309316"/>
                    <a:gd name="connsiteX120" fmla="*/ 384299 w 415907"/>
                    <a:gd name="connsiteY120" fmla="*/ 218852 h 309316"/>
                    <a:gd name="connsiteX121" fmla="*/ 382794 w 415907"/>
                    <a:gd name="connsiteY121" fmla="*/ 219022 h 309316"/>
                    <a:gd name="connsiteX122" fmla="*/ 382090 w 415907"/>
                    <a:gd name="connsiteY122" fmla="*/ 219459 h 309316"/>
                    <a:gd name="connsiteX123" fmla="*/ 380001 w 415907"/>
                    <a:gd name="connsiteY123" fmla="*/ 220334 h 309316"/>
                    <a:gd name="connsiteX124" fmla="*/ 376516 w 415907"/>
                    <a:gd name="connsiteY124" fmla="*/ 220759 h 309316"/>
                    <a:gd name="connsiteX125" fmla="*/ 373140 w 415907"/>
                    <a:gd name="connsiteY125" fmla="*/ 219362 h 309316"/>
                    <a:gd name="connsiteX126" fmla="*/ 371270 w 415907"/>
                    <a:gd name="connsiteY126" fmla="*/ 217444 h 309316"/>
                    <a:gd name="connsiteX127" fmla="*/ 369740 w 415907"/>
                    <a:gd name="connsiteY127" fmla="*/ 215561 h 309316"/>
                    <a:gd name="connsiteX128" fmla="*/ 368404 w 415907"/>
                    <a:gd name="connsiteY128" fmla="*/ 214384 h 309316"/>
                    <a:gd name="connsiteX129" fmla="*/ 343390 w 415907"/>
                    <a:gd name="connsiteY129" fmla="*/ 203370 h 309316"/>
                    <a:gd name="connsiteX130" fmla="*/ 337416 w 415907"/>
                    <a:gd name="connsiteY130" fmla="*/ 198719 h 309316"/>
                    <a:gd name="connsiteX131" fmla="*/ 337112 w 415907"/>
                    <a:gd name="connsiteY131" fmla="*/ 193328 h 309316"/>
                    <a:gd name="connsiteX132" fmla="*/ 339298 w 415907"/>
                    <a:gd name="connsiteY132" fmla="*/ 189187 h 309316"/>
                    <a:gd name="connsiteX133" fmla="*/ 340123 w 415907"/>
                    <a:gd name="connsiteY133" fmla="*/ 187025 h 309316"/>
                    <a:gd name="connsiteX134" fmla="*/ 339917 w 415907"/>
                    <a:gd name="connsiteY134" fmla="*/ 186722 h 309316"/>
                    <a:gd name="connsiteX135" fmla="*/ 334501 w 415907"/>
                    <a:gd name="connsiteY135" fmla="*/ 182484 h 309316"/>
                    <a:gd name="connsiteX136" fmla="*/ 331903 w 415907"/>
                    <a:gd name="connsiteY136" fmla="*/ 179497 h 309316"/>
                    <a:gd name="connsiteX137" fmla="*/ 327726 w 415907"/>
                    <a:gd name="connsiteY137" fmla="*/ 172612 h 309316"/>
                    <a:gd name="connsiteX138" fmla="*/ 325698 w 415907"/>
                    <a:gd name="connsiteY138" fmla="*/ 170584 h 309316"/>
                    <a:gd name="connsiteX139" fmla="*/ 322905 w 415907"/>
                    <a:gd name="connsiteY139" fmla="*/ 168726 h 309316"/>
                    <a:gd name="connsiteX140" fmla="*/ 316906 w 415907"/>
                    <a:gd name="connsiteY140" fmla="*/ 166067 h 309316"/>
                    <a:gd name="connsiteX141" fmla="*/ 313858 w 415907"/>
                    <a:gd name="connsiteY141" fmla="*/ 165362 h 309316"/>
                    <a:gd name="connsiteX142" fmla="*/ 311685 w 415907"/>
                    <a:gd name="connsiteY142" fmla="*/ 165265 h 309316"/>
                    <a:gd name="connsiteX143" fmla="*/ 310810 w 415907"/>
                    <a:gd name="connsiteY143" fmla="*/ 165593 h 309316"/>
                    <a:gd name="connsiteX144" fmla="*/ 308176 w 415907"/>
                    <a:gd name="connsiteY144" fmla="*/ 168386 h 309316"/>
                    <a:gd name="connsiteX145" fmla="*/ 304885 w 415907"/>
                    <a:gd name="connsiteY145" fmla="*/ 170317 h 309316"/>
                    <a:gd name="connsiteX146" fmla="*/ 301072 w 415907"/>
                    <a:gd name="connsiteY146" fmla="*/ 170572 h 309316"/>
                    <a:gd name="connsiteX147" fmla="*/ 299020 w 415907"/>
                    <a:gd name="connsiteY147" fmla="*/ 169564 h 309316"/>
                    <a:gd name="connsiteX148" fmla="*/ 297210 w 415907"/>
                    <a:gd name="connsiteY148" fmla="*/ 168119 h 309316"/>
                    <a:gd name="connsiteX149" fmla="*/ 296057 w 415907"/>
                    <a:gd name="connsiteY149" fmla="*/ 167536 h 309316"/>
                    <a:gd name="connsiteX150" fmla="*/ 293240 w 415907"/>
                    <a:gd name="connsiteY150" fmla="*/ 167050 h 309316"/>
                    <a:gd name="connsiteX151" fmla="*/ 292839 w 415907"/>
                    <a:gd name="connsiteY151" fmla="*/ 167390 h 309316"/>
                    <a:gd name="connsiteX152" fmla="*/ 291528 w 415907"/>
                    <a:gd name="connsiteY152" fmla="*/ 170208 h 309316"/>
                    <a:gd name="connsiteX153" fmla="*/ 287278 w 415907"/>
                    <a:gd name="connsiteY153" fmla="*/ 175332 h 309316"/>
                    <a:gd name="connsiteX154" fmla="*/ 283550 w 415907"/>
                    <a:gd name="connsiteY154" fmla="*/ 177590 h 309316"/>
                    <a:gd name="connsiteX155" fmla="*/ 279057 w 415907"/>
                    <a:gd name="connsiteY155" fmla="*/ 179072 h 309316"/>
                    <a:gd name="connsiteX156" fmla="*/ 274503 w 415907"/>
                    <a:gd name="connsiteY156" fmla="*/ 179545 h 309316"/>
                    <a:gd name="connsiteX157" fmla="*/ 270435 w 415907"/>
                    <a:gd name="connsiteY157" fmla="*/ 178489 h 309316"/>
                    <a:gd name="connsiteX158" fmla="*/ 258632 w 415907"/>
                    <a:gd name="connsiteY158" fmla="*/ 178052 h 309316"/>
                    <a:gd name="connsiteX159" fmla="*/ 209563 w 415907"/>
                    <a:gd name="connsiteY159" fmla="*/ 186224 h 309316"/>
                    <a:gd name="connsiteX160" fmla="*/ 197481 w 415907"/>
                    <a:gd name="connsiteY160" fmla="*/ 191603 h 309316"/>
                    <a:gd name="connsiteX161" fmla="*/ 186564 w 415907"/>
                    <a:gd name="connsiteY161" fmla="*/ 199229 h 309316"/>
                    <a:gd name="connsiteX162" fmla="*/ 180031 w 415907"/>
                    <a:gd name="connsiteY162" fmla="*/ 208191 h 309316"/>
                    <a:gd name="connsiteX163" fmla="*/ 173425 w 415907"/>
                    <a:gd name="connsiteY163" fmla="*/ 220528 h 309316"/>
                    <a:gd name="connsiteX164" fmla="*/ 169151 w 415907"/>
                    <a:gd name="connsiteY164" fmla="*/ 226612 h 309316"/>
                    <a:gd name="connsiteX165" fmla="*/ 163529 w 415907"/>
                    <a:gd name="connsiteY165" fmla="*/ 231979 h 309316"/>
                    <a:gd name="connsiteX166" fmla="*/ 157713 w 415907"/>
                    <a:gd name="connsiteY166" fmla="*/ 235063 h 309316"/>
                    <a:gd name="connsiteX167" fmla="*/ 146261 w 415907"/>
                    <a:gd name="connsiteY167" fmla="*/ 237237 h 309316"/>
                    <a:gd name="connsiteX168" fmla="*/ 142497 w 415907"/>
                    <a:gd name="connsiteY168" fmla="*/ 238742 h 309316"/>
                    <a:gd name="connsiteX169" fmla="*/ 134969 w 415907"/>
                    <a:gd name="connsiteY169" fmla="*/ 247801 h 309316"/>
                    <a:gd name="connsiteX170" fmla="*/ 130403 w 415907"/>
                    <a:gd name="connsiteY170" fmla="*/ 255463 h 309316"/>
                    <a:gd name="connsiteX171" fmla="*/ 127756 w 415907"/>
                    <a:gd name="connsiteY171" fmla="*/ 258693 h 309316"/>
                    <a:gd name="connsiteX172" fmla="*/ 124586 w 415907"/>
                    <a:gd name="connsiteY172" fmla="*/ 259980 h 309316"/>
                    <a:gd name="connsiteX173" fmla="*/ 115176 w 415907"/>
                    <a:gd name="connsiteY173" fmla="*/ 261158 h 309316"/>
                    <a:gd name="connsiteX174" fmla="*/ 113743 w 415907"/>
                    <a:gd name="connsiteY174" fmla="*/ 261777 h 309316"/>
                    <a:gd name="connsiteX175" fmla="*/ 112128 w 415907"/>
                    <a:gd name="connsiteY175" fmla="*/ 263769 h 309316"/>
                    <a:gd name="connsiteX176" fmla="*/ 110768 w 415907"/>
                    <a:gd name="connsiteY176" fmla="*/ 267728 h 309316"/>
                    <a:gd name="connsiteX177" fmla="*/ 107841 w 415907"/>
                    <a:gd name="connsiteY177" fmla="*/ 273070 h 309316"/>
                    <a:gd name="connsiteX178" fmla="*/ 103215 w 415907"/>
                    <a:gd name="connsiteY178" fmla="*/ 275353 h 309316"/>
                    <a:gd name="connsiteX179" fmla="*/ 98685 w 415907"/>
                    <a:gd name="connsiteY179" fmla="*/ 275256 h 309316"/>
                    <a:gd name="connsiteX180" fmla="*/ 94569 w 415907"/>
                    <a:gd name="connsiteY180" fmla="*/ 274564 h 309316"/>
                    <a:gd name="connsiteX181" fmla="*/ 88413 w 415907"/>
                    <a:gd name="connsiteY181" fmla="*/ 276082 h 309316"/>
                    <a:gd name="connsiteX182" fmla="*/ 84017 w 415907"/>
                    <a:gd name="connsiteY182" fmla="*/ 281959 h 309316"/>
                    <a:gd name="connsiteX183" fmla="*/ 79986 w 415907"/>
                    <a:gd name="connsiteY183" fmla="*/ 289961 h 309316"/>
                    <a:gd name="connsiteX184" fmla="*/ 74132 w 415907"/>
                    <a:gd name="connsiteY184" fmla="*/ 297271 h 309316"/>
                    <a:gd name="connsiteX185" fmla="*/ 70016 w 415907"/>
                    <a:gd name="connsiteY185" fmla="*/ 299967 h 309316"/>
                    <a:gd name="connsiteX186" fmla="*/ 54947 w 415907"/>
                    <a:gd name="connsiteY186" fmla="*/ 304824 h 309316"/>
                    <a:gd name="connsiteX187" fmla="*/ 48365 w 415907"/>
                    <a:gd name="connsiteY187" fmla="*/ 307921 h 309316"/>
                    <a:gd name="connsiteX188" fmla="*/ 43933 w 415907"/>
                    <a:gd name="connsiteY188" fmla="*/ 309317 h 309316"/>
                    <a:gd name="connsiteX189" fmla="*/ 37473 w 415907"/>
                    <a:gd name="connsiteY189" fmla="*/ 308698 h 309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415907" h="309316">
                      <a:moveTo>
                        <a:pt x="37473" y="308698"/>
                      </a:moveTo>
                      <a:lnTo>
                        <a:pt x="31329" y="280235"/>
                      </a:lnTo>
                      <a:cubicBezTo>
                        <a:pt x="27977" y="275730"/>
                        <a:pt x="24116" y="270108"/>
                        <a:pt x="23193" y="265748"/>
                      </a:cubicBezTo>
                      <a:cubicBezTo>
                        <a:pt x="22817" y="264060"/>
                        <a:pt x="22465" y="262445"/>
                        <a:pt x="23557" y="261097"/>
                      </a:cubicBezTo>
                      <a:lnTo>
                        <a:pt x="23764" y="260842"/>
                      </a:lnTo>
                      <a:cubicBezTo>
                        <a:pt x="23193" y="258560"/>
                        <a:pt x="22173" y="256677"/>
                        <a:pt x="21105" y="254722"/>
                      </a:cubicBezTo>
                      <a:cubicBezTo>
                        <a:pt x="20497" y="253593"/>
                        <a:pt x="19890" y="252476"/>
                        <a:pt x="19356" y="251347"/>
                      </a:cubicBezTo>
                      <a:lnTo>
                        <a:pt x="17401" y="251857"/>
                      </a:lnTo>
                      <a:lnTo>
                        <a:pt x="15652" y="251857"/>
                      </a:lnTo>
                      <a:lnTo>
                        <a:pt x="14499" y="250060"/>
                      </a:lnTo>
                      <a:cubicBezTo>
                        <a:pt x="14450" y="249962"/>
                        <a:pt x="10078" y="238779"/>
                        <a:pt x="11414" y="236447"/>
                      </a:cubicBezTo>
                      <a:lnTo>
                        <a:pt x="12289" y="234929"/>
                      </a:lnTo>
                      <a:lnTo>
                        <a:pt x="14146" y="234929"/>
                      </a:lnTo>
                      <a:cubicBezTo>
                        <a:pt x="13224" y="230388"/>
                        <a:pt x="10916" y="227571"/>
                        <a:pt x="5914" y="226114"/>
                      </a:cubicBezTo>
                      <a:lnTo>
                        <a:pt x="0" y="225057"/>
                      </a:lnTo>
                      <a:lnTo>
                        <a:pt x="2671" y="220576"/>
                      </a:lnTo>
                      <a:lnTo>
                        <a:pt x="4007" y="219180"/>
                      </a:lnTo>
                      <a:cubicBezTo>
                        <a:pt x="7589" y="217273"/>
                        <a:pt x="11378" y="212186"/>
                        <a:pt x="15033" y="207268"/>
                      </a:cubicBezTo>
                      <a:cubicBezTo>
                        <a:pt x="19842" y="200808"/>
                        <a:pt x="24808" y="194129"/>
                        <a:pt x="30989" y="191822"/>
                      </a:cubicBezTo>
                      <a:cubicBezTo>
                        <a:pt x="34122" y="190656"/>
                        <a:pt x="37558" y="189308"/>
                        <a:pt x="40934" y="187973"/>
                      </a:cubicBezTo>
                      <a:lnTo>
                        <a:pt x="43763" y="186868"/>
                      </a:lnTo>
                      <a:cubicBezTo>
                        <a:pt x="47758" y="185265"/>
                        <a:pt x="48013" y="184900"/>
                        <a:pt x="49944" y="182132"/>
                      </a:cubicBezTo>
                      <a:lnTo>
                        <a:pt x="52882" y="178016"/>
                      </a:lnTo>
                      <a:cubicBezTo>
                        <a:pt x="55165" y="174810"/>
                        <a:pt x="58019" y="170827"/>
                        <a:pt x="61249" y="168422"/>
                      </a:cubicBezTo>
                      <a:cubicBezTo>
                        <a:pt x="65013" y="165642"/>
                        <a:pt x="68668" y="165399"/>
                        <a:pt x="72226" y="165168"/>
                      </a:cubicBezTo>
                      <a:cubicBezTo>
                        <a:pt x="73768" y="165059"/>
                        <a:pt x="75395" y="164962"/>
                        <a:pt x="77132" y="164622"/>
                      </a:cubicBezTo>
                      <a:cubicBezTo>
                        <a:pt x="80423" y="163966"/>
                        <a:pt x="83386" y="162509"/>
                        <a:pt x="86518" y="160979"/>
                      </a:cubicBezTo>
                      <a:cubicBezTo>
                        <a:pt x="89117" y="159716"/>
                        <a:pt x="91715" y="158453"/>
                        <a:pt x="94496" y="157579"/>
                      </a:cubicBezTo>
                      <a:cubicBezTo>
                        <a:pt x="96840" y="156862"/>
                        <a:pt x="98904" y="156535"/>
                        <a:pt x="101017" y="156535"/>
                      </a:cubicBezTo>
                      <a:cubicBezTo>
                        <a:pt x="102632" y="156535"/>
                        <a:pt x="104138" y="156729"/>
                        <a:pt x="105789" y="156960"/>
                      </a:cubicBezTo>
                      <a:cubicBezTo>
                        <a:pt x="106955" y="157130"/>
                        <a:pt x="108218" y="157300"/>
                        <a:pt x="109687" y="157397"/>
                      </a:cubicBezTo>
                      <a:cubicBezTo>
                        <a:pt x="110440" y="157445"/>
                        <a:pt x="111181" y="157470"/>
                        <a:pt x="111946" y="157470"/>
                      </a:cubicBezTo>
                      <a:cubicBezTo>
                        <a:pt x="121369" y="157470"/>
                        <a:pt x="132249" y="153608"/>
                        <a:pt x="139644" y="147622"/>
                      </a:cubicBezTo>
                      <a:lnTo>
                        <a:pt x="143360" y="144647"/>
                      </a:lnTo>
                      <a:cubicBezTo>
                        <a:pt x="149686" y="139595"/>
                        <a:pt x="156231" y="134374"/>
                        <a:pt x="160821" y="128254"/>
                      </a:cubicBezTo>
                      <a:cubicBezTo>
                        <a:pt x="163675" y="124465"/>
                        <a:pt x="163577" y="122850"/>
                        <a:pt x="163408" y="122340"/>
                      </a:cubicBezTo>
                      <a:cubicBezTo>
                        <a:pt x="162764" y="120458"/>
                        <a:pt x="157555" y="119013"/>
                        <a:pt x="153353" y="117847"/>
                      </a:cubicBezTo>
                      <a:cubicBezTo>
                        <a:pt x="150852" y="117155"/>
                        <a:pt x="148229" y="116414"/>
                        <a:pt x="145764" y="115504"/>
                      </a:cubicBezTo>
                      <a:cubicBezTo>
                        <a:pt x="141745" y="114010"/>
                        <a:pt x="138199" y="113342"/>
                        <a:pt x="135078" y="112759"/>
                      </a:cubicBezTo>
                      <a:cubicBezTo>
                        <a:pt x="127731" y="111387"/>
                        <a:pt x="121369" y="110197"/>
                        <a:pt x="120931" y="98528"/>
                      </a:cubicBezTo>
                      <a:cubicBezTo>
                        <a:pt x="120871" y="96209"/>
                        <a:pt x="119996" y="94751"/>
                        <a:pt x="118891" y="92906"/>
                      </a:cubicBezTo>
                      <a:cubicBezTo>
                        <a:pt x="117859" y="91181"/>
                        <a:pt x="116693" y="89226"/>
                        <a:pt x="116293" y="86543"/>
                      </a:cubicBezTo>
                      <a:cubicBezTo>
                        <a:pt x="114751" y="76573"/>
                        <a:pt x="122753" y="69992"/>
                        <a:pt x="130488" y="63629"/>
                      </a:cubicBezTo>
                      <a:cubicBezTo>
                        <a:pt x="140263" y="55602"/>
                        <a:pt x="145909" y="50090"/>
                        <a:pt x="141951" y="41237"/>
                      </a:cubicBezTo>
                      <a:cubicBezTo>
                        <a:pt x="139656" y="36101"/>
                        <a:pt x="135454" y="29726"/>
                        <a:pt x="130719" y="24189"/>
                      </a:cubicBezTo>
                      <a:lnTo>
                        <a:pt x="128023" y="21044"/>
                      </a:lnTo>
                      <a:lnTo>
                        <a:pt x="138235" y="16721"/>
                      </a:lnTo>
                      <a:lnTo>
                        <a:pt x="164695" y="5999"/>
                      </a:lnTo>
                      <a:lnTo>
                        <a:pt x="176437" y="4493"/>
                      </a:lnTo>
                      <a:lnTo>
                        <a:pt x="182375" y="7784"/>
                      </a:lnTo>
                      <a:lnTo>
                        <a:pt x="185799" y="13855"/>
                      </a:lnTo>
                      <a:lnTo>
                        <a:pt x="195186" y="20546"/>
                      </a:lnTo>
                      <a:lnTo>
                        <a:pt x="203443" y="24492"/>
                      </a:lnTo>
                      <a:lnTo>
                        <a:pt x="216472" y="19077"/>
                      </a:lnTo>
                      <a:lnTo>
                        <a:pt x="231226" y="18858"/>
                      </a:lnTo>
                      <a:lnTo>
                        <a:pt x="239179" y="13977"/>
                      </a:lnTo>
                      <a:lnTo>
                        <a:pt x="246004" y="15009"/>
                      </a:lnTo>
                      <a:lnTo>
                        <a:pt x="251043" y="7189"/>
                      </a:lnTo>
                      <a:lnTo>
                        <a:pt x="257612" y="5039"/>
                      </a:lnTo>
                      <a:lnTo>
                        <a:pt x="268772" y="9897"/>
                      </a:lnTo>
                      <a:lnTo>
                        <a:pt x="272427" y="9229"/>
                      </a:lnTo>
                      <a:lnTo>
                        <a:pt x="273435" y="3716"/>
                      </a:lnTo>
                      <a:lnTo>
                        <a:pt x="282263" y="0"/>
                      </a:lnTo>
                      <a:lnTo>
                        <a:pt x="290325" y="7189"/>
                      </a:lnTo>
                      <a:lnTo>
                        <a:pt x="300283" y="16769"/>
                      </a:lnTo>
                      <a:lnTo>
                        <a:pt x="306573" y="21238"/>
                      </a:lnTo>
                      <a:lnTo>
                        <a:pt x="314259" y="23472"/>
                      </a:lnTo>
                      <a:lnTo>
                        <a:pt x="324751" y="35992"/>
                      </a:lnTo>
                      <a:lnTo>
                        <a:pt x="330494" y="42185"/>
                      </a:lnTo>
                      <a:lnTo>
                        <a:pt x="339359" y="43229"/>
                      </a:lnTo>
                      <a:lnTo>
                        <a:pt x="349753" y="45997"/>
                      </a:lnTo>
                      <a:lnTo>
                        <a:pt x="355072" y="54121"/>
                      </a:lnTo>
                      <a:lnTo>
                        <a:pt x="369194" y="56282"/>
                      </a:lnTo>
                      <a:lnTo>
                        <a:pt x="388355" y="65681"/>
                      </a:lnTo>
                      <a:lnTo>
                        <a:pt x="388355" y="67673"/>
                      </a:lnTo>
                      <a:lnTo>
                        <a:pt x="415908" y="55712"/>
                      </a:lnTo>
                      <a:lnTo>
                        <a:pt x="396576" y="72408"/>
                      </a:lnTo>
                      <a:lnTo>
                        <a:pt x="394548" y="73671"/>
                      </a:lnTo>
                      <a:lnTo>
                        <a:pt x="392132" y="74461"/>
                      </a:lnTo>
                      <a:lnTo>
                        <a:pt x="390991" y="76731"/>
                      </a:lnTo>
                      <a:lnTo>
                        <a:pt x="388853" y="79111"/>
                      </a:lnTo>
                      <a:lnTo>
                        <a:pt x="384810" y="80471"/>
                      </a:lnTo>
                      <a:lnTo>
                        <a:pt x="384409" y="81819"/>
                      </a:lnTo>
                      <a:lnTo>
                        <a:pt x="384118" y="84855"/>
                      </a:lnTo>
                      <a:lnTo>
                        <a:pt x="382563" y="86591"/>
                      </a:lnTo>
                      <a:lnTo>
                        <a:pt x="380535" y="87344"/>
                      </a:lnTo>
                      <a:lnTo>
                        <a:pt x="377499" y="88000"/>
                      </a:lnTo>
                      <a:lnTo>
                        <a:pt x="371513" y="89748"/>
                      </a:lnTo>
                      <a:lnTo>
                        <a:pt x="369801" y="90950"/>
                      </a:lnTo>
                      <a:lnTo>
                        <a:pt x="364154" y="98115"/>
                      </a:lnTo>
                      <a:lnTo>
                        <a:pt x="360524" y="101333"/>
                      </a:lnTo>
                      <a:lnTo>
                        <a:pt x="352752" y="106542"/>
                      </a:lnTo>
                      <a:lnTo>
                        <a:pt x="350008" y="108958"/>
                      </a:lnTo>
                      <a:lnTo>
                        <a:pt x="348029" y="111921"/>
                      </a:lnTo>
                      <a:lnTo>
                        <a:pt x="346826" y="115261"/>
                      </a:lnTo>
                      <a:lnTo>
                        <a:pt x="347033" y="118406"/>
                      </a:lnTo>
                      <a:lnTo>
                        <a:pt x="349377" y="121830"/>
                      </a:lnTo>
                      <a:lnTo>
                        <a:pt x="350336" y="124465"/>
                      </a:lnTo>
                      <a:lnTo>
                        <a:pt x="350591" y="127112"/>
                      </a:lnTo>
                      <a:lnTo>
                        <a:pt x="351222" y="130488"/>
                      </a:lnTo>
                      <a:lnTo>
                        <a:pt x="351781" y="131605"/>
                      </a:lnTo>
                      <a:lnTo>
                        <a:pt x="352364" y="136244"/>
                      </a:lnTo>
                      <a:lnTo>
                        <a:pt x="349971" y="142012"/>
                      </a:lnTo>
                      <a:lnTo>
                        <a:pt x="350591" y="144938"/>
                      </a:lnTo>
                      <a:lnTo>
                        <a:pt x="354671" y="151180"/>
                      </a:lnTo>
                      <a:lnTo>
                        <a:pt x="385028" y="189563"/>
                      </a:lnTo>
                      <a:lnTo>
                        <a:pt x="389958" y="194493"/>
                      </a:lnTo>
                      <a:lnTo>
                        <a:pt x="391925" y="197286"/>
                      </a:lnTo>
                      <a:lnTo>
                        <a:pt x="391998" y="201840"/>
                      </a:lnTo>
                      <a:lnTo>
                        <a:pt x="392107" y="202119"/>
                      </a:lnTo>
                      <a:lnTo>
                        <a:pt x="393055" y="203139"/>
                      </a:lnTo>
                      <a:lnTo>
                        <a:pt x="394050" y="203576"/>
                      </a:lnTo>
                      <a:lnTo>
                        <a:pt x="396552" y="205446"/>
                      </a:lnTo>
                      <a:lnTo>
                        <a:pt x="398337" y="209174"/>
                      </a:lnTo>
                      <a:lnTo>
                        <a:pt x="397766" y="211749"/>
                      </a:lnTo>
                      <a:lnTo>
                        <a:pt x="395762" y="217346"/>
                      </a:lnTo>
                      <a:lnTo>
                        <a:pt x="394366" y="220018"/>
                      </a:lnTo>
                      <a:lnTo>
                        <a:pt x="389667" y="221852"/>
                      </a:lnTo>
                      <a:lnTo>
                        <a:pt x="387008" y="220661"/>
                      </a:lnTo>
                      <a:lnTo>
                        <a:pt x="384798" y="218949"/>
                      </a:lnTo>
                      <a:lnTo>
                        <a:pt x="384299" y="218852"/>
                      </a:lnTo>
                      <a:lnTo>
                        <a:pt x="382794" y="219022"/>
                      </a:lnTo>
                      <a:lnTo>
                        <a:pt x="382090" y="219459"/>
                      </a:lnTo>
                      <a:lnTo>
                        <a:pt x="380001" y="220334"/>
                      </a:lnTo>
                      <a:lnTo>
                        <a:pt x="376516" y="220759"/>
                      </a:lnTo>
                      <a:lnTo>
                        <a:pt x="373140" y="219362"/>
                      </a:lnTo>
                      <a:lnTo>
                        <a:pt x="371270" y="217444"/>
                      </a:lnTo>
                      <a:lnTo>
                        <a:pt x="369740" y="215561"/>
                      </a:lnTo>
                      <a:lnTo>
                        <a:pt x="368404" y="214384"/>
                      </a:lnTo>
                      <a:lnTo>
                        <a:pt x="343390" y="203370"/>
                      </a:lnTo>
                      <a:lnTo>
                        <a:pt x="337416" y="198719"/>
                      </a:lnTo>
                      <a:lnTo>
                        <a:pt x="337112" y="193328"/>
                      </a:lnTo>
                      <a:lnTo>
                        <a:pt x="339298" y="189187"/>
                      </a:lnTo>
                      <a:lnTo>
                        <a:pt x="340123" y="187025"/>
                      </a:lnTo>
                      <a:lnTo>
                        <a:pt x="339917" y="186722"/>
                      </a:lnTo>
                      <a:lnTo>
                        <a:pt x="334501" y="182484"/>
                      </a:lnTo>
                      <a:lnTo>
                        <a:pt x="331903" y="179497"/>
                      </a:lnTo>
                      <a:lnTo>
                        <a:pt x="327726" y="172612"/>
                      </a:lnTo>
                      <a:lnTo>
                        <a:pt x="325698" y="170584"/>
                      </a:lnTo>
                      <a:lnTo>
                        <a:pt x="322905" y="168726"/>
                      </a:lnTo>
                      <a:lnTo>
                        <a:pt x="316906" y="166067"/>
                      </a:lnTo>
                      <a:lnTo>
                        <a:pt x="313858" y="165362"/>
                      </a:lnTo>
                      <a:lnTo>
                        <a:pt x="311685" y="165265"/>
                      </a:lnTo>
                      <a:lnTo>
                        <a:pt x="310810" y="165593"/>
                      </a:lnTo>
                      <a:lnTo>
                        <a:pt x="308176" y="168386"/>
                      </a:lnTo>
                      <a:lnTo>
                        <a:pt x="304885" y="170317"/>
                      </a:lnTo>
                      <a:lnTo>
                        <a:pt x="301072" y="170572"/>
                      </a:lnTo>
                      <a:lnTo>
                        <a:pt x="299020" y="169564"/>
                      </a:lnTo>
                      <a:lnTo>
                        <a:pt x="297210" y="168119"/>
                      </a:lnTo>
                      <a:lnTo>
                        <a:pt x="296057" y="167536"/>
                      </a:lnTo>
                      <a:lnTo>
                        <a:pt x="293240" y="167050"/>
                      </a:lnTo>
                      <a:lnTo>
                        <a:pt x="292839" y="167390"/>
                      </a:lnTo>
                      <a:lnTo>
                        <a:pt x="291528" y="170208"/>
                      </a:lnTo>
                      <a:lnTo>
                        <a:pt x="287278" y="175332"/>
                      </a:lnTo>
                      <a:lnTo>
                        <a:pt x="283550" y="177590"/>
                      </a:lnTo>
                      <a:lnTo>
                        <a:pt x="279057" y="179072"/>
                      </a:lnTo>
                      <a:lnTo>
                        <a:pt x="274503" y="179545"/>
                      </a:lnTo>
                      <a:lnTo>
                        <a:pt x="270435" y="178489"/>
                      </a:lnTo>
                      <a:lnTo>
                        <a:pt x="258632" y="178052"/>
                      </a:lnTo>
                      <a:lnTo>
                        <a:pt x="209563" y="186224"/>
                      </a:lnTo>
                      <a:lnTo>
                        <a:pt x="197481" y="191603"/>
                      </a:lnTo>
                      <a:lnTo>
                        <a:pt x="186564" y="199229"/>
                      </a:lnTo>
                      <a:lnTo>
                        <a:pt x="180031" y="208191"/>
                      </a:lnTo>
                      <a:lnTo>
                        <a:pt x="173425" y="220528"/>
                      </a:lnTo>
                      <a:lnTo>
                        <a:pt x="169151" y="226612"/>
                      </a:lnTo>
                      <a:lnTo>
                        <a:pt x="163529" y="231979"/>
                      </a:lnTo>
                      <a:lnTo>
                        <a:pt x="157713" y="235063"/>
                      </a:lnTo>
                      <a:lnTo>
                        <a:pt x="146261" y="237237"/>
                      </a:lnTo>
                      <a:lnTo>
                        <a:pt x="142497" y="238742"/>
                      </a:lnTo>
                      <a:lnTo>
                        <a:pt x="134969" y="247801"/>
                      </a:lnTo>
                      <a:lnTo>
                        <a:pt x="130403" y="255463"/>
                      </a:lnTo>
                      <a:lnTo>
                        <a:pt x="127756" y="258693"/>
                      </a:lnTo>
                      <a:lnTo>
                        <a:pt x="124586" y="259980"/>
                      </a:lnTo>
                      <a:lnTo>
                        <a:pt x="115176" y="261158"/>
                      </a:lnTo>
                      <a:lnTo>
                        <a:pt x="113743" y="261777"/>
                      </a:lnTo>
                      <a:lnTo>
                        <a:pt x="112128" y="263769"/>
                      </a:lnTo>
                      <a:lnTo>
                        <a:pt x="110768" y="267728"/>
                      </a:lnTo>
                      <a:lnTo>
                        <a:pt x="107841" y="273070"/>
                      </a:lnTo>
                      <a:lnTo>
                        <a:pt x="103215" y="275353"/>
                      </a:lnTo>
                      <a:lnTo>
                        <a:pt x="98685" y="275256"/>
                      </a:lnTo>
                      <a:lnTo>
                        <a:pt x="94569" y="274564"/>
                      </a:lnTo>
                      <a:lnTo>
                        <a:pt x="88413" y="276082"/>
                      </a:lnTo>
                      <a:lnTo>
                        <a:pt x="84017" y="281959"/>
                      </a:lnTo>
                      <a:lnTo>
                        <a:pt x="79986" y="289961"/>
                      </a:lnTo>
                      <a:lnTo>
                        <a:pt x="74132" y="297271"/>
                      </a:lnTo>
                      <a:lnTo>
                        <a:pt x="70016" y="299967"/>
                      </a:lnTo>
                      <a:lnTo>
                        <a:pt x="54947" y="304824"/>
                      </a:lnTo>
                      <a:lnTo>
                        <a:pt x="48365" y="307921"/>
                      </a:lnTo>
                      <a:lnTo>
                        <a:pt x="43933" y="309317"/>
                      </a:lnTo>
                      <a:lnTo>
                        <a:pt x="37473" y="308698"/>
                      </a:lnTo>
                      <a:close/>
                    </a:path>
                  </a:pathLst>
                </a:custGeom>
                <a:solidFill>
                  <a:srgbClr val="D7D7D2"/>
                </a:solidFill>
                <a:ln w="12138" cap="flat">
                  <a:noFill/>
                  <a:prstDash val="solid"/>
                  <a:miter/>
                </a:ln>
              </p:spPr>
              <p:txBody>
                <a:bodyPr rtlCol="0" anchor="ctr"/>
                <a:lstStyle/>
                <a:p>
                  <a:endParaRPr lang="en-US"/>
                </a:p>
              </p:txBody>
            </p:sp>
            <p:sp>
              <p:nvSpPr>
                <p:cNvPr id="285" name="Freeform: Shape 284">
                  <a:extLst>
                    <a:ext uri="{FF2B5EF4-FFF2-40B4-BE49-F238E27FC236}">
                      <a16:creationId xmlns:a16="http://schemas.microsoft.com/office/drawing/2014/main" id="{BE922417-BEB6-4D0B-97E1-D9337869DACB}"/>
                    </a:ext>
                  </a:extLst>
                </p:cNvPr>
                <p:cNvSpPr/>
                <p:nvPr/>
              </p:nvSpPr>
              <p:spPr>
                <a:xfrm>
                  <a:off x="8396164" y="2513327"/>
                  <a:ext cx="437801" cy="315971"/>
                </a:xfrm>
                <a:custGeom>
                  <a:avLst/>
                  <a:gdLst>
                    <a:gd name="connsiteX0" fmla="*/ 286537 w 437801"/>
                    <a:gd name="connsiteY0" fmla="*/ 7079 h 315971"/>
                    <a:gd name="connsiteX1" fmla="*/ 293179 w 437801"/>
                    <a:gd name="connsiteY1" fmla="*/ 12993 h 315971"/>
                    <a:gd name="connsiteX2" fmla="*/ 303039 w 437801"/>
                    <a:gd name="connsiteY2" fmla="*/ 22501 h 315971"/>
                    <a:gd name="connsiteX3" fmla="*/ 309669 w 437801"/>
                    <a:gd name="connsiteY3" fmla="*/ 27249 h 315971"/>
                    <a:gd name="connsiteX4" fmla="*/ 317368 w 437801"/>
                    <a:gd name="connsiteY4" fmla="*/ 29641 h 315971"/>
                    <a:gd name="connsiteX5" fmla="*/ 327289 w 437801"/>
                    <a:gd name="connsiteY5" fmla="*/ 41480 h 315971"/>
                    <a:gd name="connsiteX6" fmla="*/ 333882 w 437801"/>
                    <a:gd name="connsiteY6" fmla="*/ 48596 h 315971"/>
                    <a:gd name="connsiteX7" fmla="*/ 343864 w 437801"/>
                    <a:gd name="connsiteY7" fmla="*/ 49774 h 315971"/>
                    <a:gd name="connsiteX8" fmla="*/ 352716 w 437801"/>
                    <a:gd name="connsiteY8" fmla="*/ 52154 h 315971"/>
                    <a:gd name="connsiteX9" fmla="*/ 358144 w 437801"/>
                    <a:gd name="connsiteY9" fmla="*/ 60448 h 315971"/>
                    <a:gd name="connsiteX10" fmla="*/ 373602 w 437801"/>
                    <a:gd name="connsiteY10" fmla="*/ 62815 h 315971"/>
                    <a:gd name="connsiteX11" fmla="*/ 390189 w 437801"/>
                    <a:gd name="connsiteY11" fmla="*/ 71097 h 315971"/>
                    <a:gd name="connsiteX12" fmla="*/ 390189 w 437801"/>
                    <a:gd name="connsiteY12" fmla="*/ 75845 h 315971"/>
                    <a:gd name="connsiteX13" fmla="*/ 403716 w 437801"/>
                    <a:gd name="connsiteY13" fmla="*/ 69968 h 315971"/>
                    <a:gd name="connsiteX14" fmla="*/ 399454 w 437801"/>
                    <a:gd name="connsiteY14" fmla="*/ 73647 h 315971"/>
                    <a:gd name="connsiteX15" fmla="*/ 397839 w 437801"/>
                    <a:gd name="connsiteY15" fmla="*/ 74618 h 315971"/>
                    <a:gd name="connsiteX16" fmla="*/ 395835 w 437801"/>
                    <a:gd name="connsiteY16" fmla="*/ 75189 h 315971"/>
                    <a:gd name="connsiteX17" fmla="*/ 394621 w 437801"/>
                    <a:gd name="connsiteY17" fmla="*/ 75942 h 315971"/>
                    <a:gd name="connsiteX18" fmla="*/ 393128 w 437801"/>
                    <a:gd name="connsiteY18" fmla="*/ 78905 h 315971"/>
                    <a:gd name="connsiteX19" fmla="*/ 392047 w 437801"/>
                    <a:gd name="connsiteY19" fmla="*/ 80010 h 315971"/>
                    <a:gd name="connsiteX20" fmla="*/ 388307 w 437801"/>
                    <a:gd name="connsiteY20" fmla="*/ 81273 h 315971"/>
                    <a:gd name="connsiteX21" fmla="*/ 386995 w 437801"/>
                    <a:gd name="connsiteY21" fmla="*/ 82341 h 315971"/>
                    <a:gd name="connsiteX22" fmla="*/ 386352 w 437801"/>
                    <a:gd name="connsiteY22" fmla="*/ 84503 h 315971"/>
                    <a:gd name="connsiteX23" fmla="*/ 386060 w 437801"/>
                    <a:gd name="connsiteY23" fmla="*/ 87101 h 315971"/>
                    <a:gd name="connsiteX24" fmla="*/ 385380 w 437801"/>
                    <a:gd name="connsiteY24" fmla="*/ 87854 h 315971"/>
                    <a:gd name="connsiteX25" fmla="*/ 384227 w 437801"/>
                    <a:gd name="connsiteY25" fmla="*/ 87854 h 315971"/>
                    <a:gd name="connsiteX26" fmla="*/ 381507 w 437801"/>
                    <a:gd name="connsiteY26" fmla="*/ 88631 h 315971"/>
                    <a:gd name="connsiteX27" fmla="*/ 375496 w 437801"/>
                    <a:gd name="connsiteY27" fmla="*/ 90380 h 315971"/>
                    <a:gd name="connsiteX28" fmla="*/ 373031 w 437801"/>
                    <a:gd name="connsiteY28" fmla="*/ 91934 h 315971"/>
                    <a:gd name="connsiteX29" fmla="*/ 366656 w 437801"/>
                    <a:gd name="connsiteY29" fmla="*/ 99742 h 315971"/>
                    <a:gd name="connsiteX30" fmla="*/ 363377 w 437801"/>
                    <a:gd name="connsiteY30" fmla="*/ 102584 h 315971"/>
                    <a:gd name="connsiteX31" fmla="*/ 355921 w 437801"/>
                    <a:gd name="connsiteY31" fmla="*/ 107562 h 315971"/>
                    <a:gd name="connsiteX32" fmla="*/ 352874 w 437801"/>
                    <a:gd name="connsiteY32" fmla="*/ 110221 h 315971"/>
                    <a:gd name="connsiteX33" fmla="*/ 350409 w 437801"/>
                    <a:gd name="connsiteY33" fmla="*/ 113731 h 315971"/>
                    <a:gd name="connsiteX34" fmla="*/ 348855 w 437801"/>
                    <a:gd name="connsiteY34" fmla="*/ 117714 h 315971"/>
                    <a:gd name="connsiteX35" fmla="*/ 348855 w 437801"/>
                    <a:gd name="connsiteY35" fmla="*/ 121964 h 315971"/>
                    <a:gd name="connsiteX36" fmla="*/ 349643 w 437801"/>
                    <a:gd name="connsiteY36" fmla="*/ 123979 h 315971"/>
                    <a:gd name="connsiteX37" fmla="*/ 351708 w 437801"/>
                    <a:gd name="connsiteY37" fmla="*/ 127076 h 315971"/>
                    <a:gd name="connsiteX38" fmla="*/ 352303 w 437801"/>
                    <a:gd name="connsiteY38" fmla="*/ 128946 h 315971"/>
                    <a:gd name="connsiteX39" fmla="*/ 352424 w 437801"/>
                    <a:gd name="connsiteY39" fmla="*/ 130865 h 315971"/>
                    <a:gd name="connsiteX40" fmla="*/ 353104 w 437801"/>
                    <a:gd name="connsiteY40" fmla="*/ 134592 h 315971"/>
                    <a:gd name="connsiteX41" fmla="*/ 353857 w 437801"/>
                    <a:gd name="connsiteY41" fmla="*/ 136353 h 315971"/>
                    <a:gd name="connsiteX42" fmla="*/ 354137 w 437801"/>
                    <a:gd name="connsiteY42" fmla="*/ 139340 h 315971"/>
                    <a:gd name="connsiteX43" fmla="*/ 351672 w 437801"/>
                    <a:gd name="connsiteY43" fmla="*/ 145278 h 315971"/>
                    <a:gd name="connsiteX44" fmla="*/ 352473 w 437801"/>
                    <a:gd name="connsiteY44" fmla="*/ 149127 h 315971"/>
                    <a:gd name="connsiteX45" fmla="*/ 356954 w 437801"/>
                    <a:gd name="connsiteY45" fmla="*/ 156340 h 315971"/>
                    <a:gd name="connsiteX46" fmla="*/ 387505 w 437801"/>
                    <a:gd name="connsiteY46" fmla="*/ 195004 h 315971"/>
                    <a:gd name="connsiteX47" fmla="*/ 392666 w 437801"/>
                    <a:gd name="connsiteY47" fmla="*/ 200201 h 315971"/>
                    <a:gd name="connsiteX48" fmla="*/ 393771 w 437801"/>
                    <a:gd name="connsiteY48" fmla="*/ 201816 h 315971"/>
                    <a:gd name="connsiteX49" fmla="*/ 393832 w 437801"/>
                    <a:gd name="connsiteY49" fmla="*/ 205458 h 315971"/>
                    <a:gd name="connsiteX50" fmla="*/ 394342 w 437801"/>
                    <a:gd name="connsiteY50" fmla="*/ 207329 h 315971"/>
                    <a:gd name="connsiteX51" fmla="*/ 395702 w 437801"/>
                    <a:gd name="connsiteY51" fmla="*/ 208786 h 315971"/>
                    <a:gd name="connsiteX52" fmla="*/ 397390 w 437801"/>
                    <a:gd name="connsiteY52" fmla="*/ 209769 h 315971"/>
                    <a:gd name="connsiteX53" fmla="*/ 399005 w 437801"/>
                    <a:gd name="connsiteY53" fmla="*/ 210996 h 315971"/>
                    <a:gd name="connsiteX54" fmla="*/ 400025 w 437801"/>
                    <a:gd name="connsiteY54" fmla="*/ 213121 h 315971"/>
                    <a:gd name="connsiteX55" fmla="*/ 399685 w 437801"/>
                    <a:gd name="connsiteY55" fmla="*/ 214675 h 315971"/>
                    <a:gd name="connsiteX56" fmla="*/ 397791 w 437801"/>
                    <a:gd name="connsiteY56" fmla="*/ 219897 h 315971"/>
                    <a:gd name="connsiteX57" fmla="*/ 397098 w 437801"/>
                    <a:gd name="connsiteY57" fmla="*/ 221184 h 315971"/>
                    <a:gd name="connsiteX58" fmla="*/ 394633 w 437801"/>
                    <a:gd name="connsiteY58" fmla="*/ 222143 h 315971"/>
                    <a:gd name="connsiteX59" fmla="*/ 393139 w 437801"/>
                    <a:gd name="connsiteY59" fmla="*/ 221475 h 315971"/>
                    <a:gd name="connsiteX60" fmla="*/ 391646 w 437801"/>
                    <a:gd name="connsiteY60" fmla="*/ 220212 h 315971"/>
                    <a:gd name="connsiteX61" fmla="*/ 389254 w 437801"/>
                    <a:gd name="connsiteY61" fmla="*/ 219362 h 315971"/>
                    <a:gd name="connsiteX62" fmla="*/ 387347 w 437801"/>
                    <a:gd name="connsiteY62" fmla="*/ 219581 h 315971"/>
                    <a:gd name="connsiteX63" fmla="*/ 385805 w 437801"/>
                    <a:gd name="connsiteY63" fmla="*/ 220237 h 315971"/>
                    <a:gd name="connsiteX64" fmla="*/ 383729 w 437801"/>
                    <a:gd name="connsiteY64" fmla="*/ 221099 h 315971"/>
                    <a:gd name="connsiteX65" fmla="*/ 381907 w 437801"/>
                    <a:gd name="connsiteY65" fmla="*/ 221244 h 315971"/>
                    <a:gd name="connsiteX66" fmla="*/ 379770 w 437801"/>
                    <a:gd name="connsiteY66" fmla="*/ 220358 h 315971"/>
                    <a:gd name="connsiteX67" fmla="*/ 378337 w 437801"/>
                    <a:gd name="connsiteY67" fmla="*/ 218889 h 315971"/>
                    <a:gd name="connsiteX68" fmla="*/ 377014 w 437801"/>
                    <a:gd name="connsiteY68" fmla="*/ 217225 h 315971"/>
                    <a:gd name="connsiteX69" fmla="*/ 375350 w 437801"/>
                    <a:gd name="connsiteY69" fmla="*/ 215707 h 315971"/>
                    <a:gd name="connsiteX70" fmla="*/ 349522 w 437801"/>
                    <a:gd name="connsiteY70" fmla="*/ 204171 h 315971"/>
                    <a:gd name="connsiteX71" fmla="*/ 345260 w 437801"/>
                    <a:gd name="connsiteY71" fmla="*/ 200771 h 315971"/>
                    <a:gd name="connsiteX72" fmla="*/ 345078 w 437801"/>
                    <a:gd name="connsiteY72" fmla="*/ 197566 h 315971"/>
                    <a:gd name="connsiteX73" fmla="*/ 346863 w 437801"/>
                    <a:gd name="connsiteY73" fmla="*/ 194166 h 315971"/>
                    <a:gd name="connsiteX74" fmla="*/ 348405 w 437801"/>
                    <a:gd name="connsiteY74" fmla="*/ 190207 h 315971"/>
                    <a:gd name="connsiteX75" fmla="*/ 347324 w 437801"/>
                    <a:gd name="connsiteY75" fmla="*/ 188604 h 315971"/>
                    <a:gd name="connsiteX76" fmla="*/ 341289 w 437801"/>
                    <a:gd name="connsiteY76" fmla="*/ 183698 h 315971"/>
                    <a:gd name="connsiteX77" fmla="*/ 339104 w 437801"/>
                    <a:gd name="connsiteY77" fmla="*/ 181112 h 315971"/>
                    <a:gd name="connsiteX78" fmla="*/ 335206 w 437801"/>
                    <a:gd name="connsiteY78" fmla="*/ 174616 h 315971"/>
                    <a:gd name="connsiteX79" fmla="*/ 332789 w 437801"/>
                    <a:gd name="connsiteY79" fmla="*/ 172065 h 315971"/>
                    <a:gd name="connsiteX80" fmla="*/ 329511 w 437801"/>
                    <a:gd name="connsiteY80" fmla="*/ 169795 h 315971"/>
                    <a:gd name="connsiteX81" fmla="*/ 323026 w 437801"/>
                    <a:gd name="connsiteY81" fmla="*/ 166868 h 315971"/>
                    <a:gd name="connsiteX82" fmla="*/ 319468 w 437801"/>
                    <a:gd name="connsiteY82" fmla="*/ 165982 h 315971"/>
                    <a:gd name="connsiteX83" fmla="*/ 316081 w 437801"/>
                    <a:gd name="connsiteY83" fmla="*/ 165775 h 315971"/>
                    <a:gd name="connsiteX84" fmla="*/ 313955 w 437801"/>
                    <a:gd name="connsiteY84" fmla="*/ 166577 h 315971"/>
                    <a:gd name="connsiteX85" fmla="*/ 310847 w 437801"/>
                    <a:gd name="connsiteY85" fmla="*/ 169880 h 315971"/>
                    <a:gd name="connsiteX86" fmla="*/ 308904 w 437801"/>
                    <a:gd name="connsiteY86" fmla="*/ 170912 h 315971"/>
                    <a:gd name="connsiteX87" fmla="*/ 306548 w 437801"/>
                    <a:gd name="connsiteY87" fmla="*/ 171070 h 315971"/>
                    <a:gd name="connsiteX88" fmla="*/ 305237 w 437801"/>
                    <a:gd name="connsiteY88" fmla="*/ 170426 h 315971"/>
                    <a:gd name="connsiteX89" fmla="*/ 304071 w 437801"/>
                    <a:gd name="connsiteY89" fmla="*/ 169418 h 315971"/>
                    <a:gd name="connsiteX90" fmla="*/ 302420 w 437801"/>
                    <a:gd name="connsiteY90" fmla="*/ 168483 h 315971"/>
                    <a:gd name="connsiteX91" fmla="*/ 297247 w 437801"/>
                    <a:gd name="connsiteY91" fmla="*/ 167415 h 315971"/>
                    <a:gd name="connsiteX92" fmla="*/ 295231 w 437801"/>
                    <a:gd name="connsiteY92" fmla="*/ 169078 h 315971"/>
                    <a:gd name="connsiteX93" fmla="*/ 293628 w 437801"/>
                    <a:gd name="connsiteY93" fmla="*/ 172527 h 315971"/>
                    <a:gd name="connsiteX94" fmla="*/ 289840 w 437801"/>
                    <a:gd name="connsiteY94" fmla="*/ 176947 h 315971"/>
                    <a:gd name="connsiteX95" fmla="*/ 286962 w 437801"/>
                    <a:gd name="connsiteY95" fmla="*/ 178525 h 315971"/>
                    <a:gd name="connsiteX96" fmla="*/ 283015 w 437801"/>
                    <a:gd name="connsiteY96" fmla="*/ 179764 h 315971"/>
                    <a:gd name="connsiteX97" fmla="*/ 279117 w 437801"/>
                    <a:gd name="connsiteY97" fmla="*/ 180104 h 315971"/>
                    <a:gd name="connsiteX98" fmla="*/ 276240 w 437801"/>
                    <a:gd name="connsiteY98" fmla="*/ 179181 h 315971"/>
                    <a:gd name="connsiteX99" fmla="*/ 263659 w 437801"/>
                    <a:gd name="connsiteY99" fmla="*/ 178610 h 315971"/>
                    <a:gd name="connsiteX100" fmla="*/ 213946 w 437801"/>
                    <a:gd name="connsiteY100" fmla="*/ 186819 h 315971"/>
                    <a:gd name="connsiteX101" fmla="*/ 201136 w 437801"/>
                    <a:gd name="connsiteY101" fmla="*/ 192417 h 315971"/>
                    <a:gd name="connsiteX102" fmla="*/ 189709 w 437801"/>
                    <a:gd name="connsiteY102" fmla="*/ 200322 h 315971"/>
                    <a:gd name="connsiteX103" fmla="*/ 182472 w 437801"/>
                    <a:gd name="connsiteY103" fmla="*/ 209964 h 315971"/>
                    <a:gd name="connsiteX104" fmla="*/ 175635 w 437801"/>
                    <a:gd name="connsiteY104" fmla="*/ 222677 h 315971"/>
                    <a:gd name="connsiteX105" fmla="*/ 171555 w 437801"/>
                    <a:gd name="connsiteY105" fmla="*/ 228457 h 315971"/>
                    <a:gd name="connsiteX106" fmla="*/ 166334 w 437801"/>
                    <a:gd name="connsiteY106" fmla="*/ 233363 h 315971"/>
                    <a:gd name="connsiteX107" fmla="*/ 161222 w 437801"/>
                    <a:gd name="connsiteY107" fmla="*/ 235949 h 315971"/>
                    <a:gd name="connsiteX108" fmla="*/ 150609 w 437801"/>
                    <a:gd name="connsiteY108" fmla="*/ 237844 h 315971"/>
                    <a:gd name="connsiteX109" fmla="*/ 145545 w 437801"/>
                    <a:gd name="connsiteY109" fmla="*/ 239799 h 315971"/>
                    <a:gd name="connsiteX110" fmla="*/ 137519 w 437801"/>
                    <a:gd name="connsiteY110" fmla="*/ 249440 h 315971"/>
                    <a:gd name="connsiteX111" fmla="*/ 132698 w 437801"/>
                    <a:gd name="connsiteY111" fmla="*/ 257479 h 315971"/>
                    <a:gd name="connsiteX112" fmla="*/ 130804 w 437801"/>
                    <a:gd name="connsiteY112" fmla="*/ 259750 h 315971"/>
                    <a:gd name="connsiteX113" fmla="*/ 128339 w 437801"/>
                    <a:gd name="connsiteY113" fmla="*/ 260757 h 315971"/>
                    <a:gd name="connsiteX114" fmla="*/ 119729 w 437801"/>
                    <a:gd name="connsiteY114" fmla="*/ 261729 h 315971"/>
                    <a:gd name="connsiteX115" fmla="*/ 116742 w 437801"/>
                    <a:gd name="connsiteY115" fmla="*/ 262882 h 315971"/>
                    <a:gd name="connsiteX116" fmla="*/ 114666 w 437801"/>
                    <a:gd name="connsiteY116" fmla="*/ 265457 h 315971"/>
                    <a:gd name="connsiteX117" fmla="*/ 112832 w 437801"/>
                    <a:gd name="connsiteY117" fmla="*/ 270229 h 315971"/>
                    <a:gd name="connsiteX118" fmla="*/ 110549 w 437801"/>
                    <a:gd name="connsiteY118" fmla="*/ 274358 h 315971"/>
                    <a:gd name="connsiteX119" fmla="*/ 107441 w 437801"/>
                    <a:gd name="connsiteY119" fmla="*/ 275888 h 315971"/>
                    <a:gd name="connsiteX120" fmla="*/ 103652 w 437801"/>
                    <a:gd name="connsiteY120" fmla="*/ 275803 h 315971"/>
                    <a:gd name="connsiteX121" fmla="*/ 99353 w 437801"/>
                    <a:gd name="connsiteY121" fmla="*/ 275050 h 315971"/>
                    <a:gd name="connsiteX122" fmla="*/ 91533 w 437801"/>
                    <a:gd name="connsiteY122" fmla="*/ 276968 h 315971"/>
                    <a:gd name="connsiteX123" fmla="*/ 86482 w 437801"/>
                    <a:gd name="connsiteY123" fmla="*/ 283720 h 315971"/>
                    <a:gd name="connsiteX124" fmla="*/ 82183 w 437801"/>
                    <a:gd name="connsiteY124" fmla="*/ 292159 h 315971"/>
                    <a:gd name="connsiteX125" fmla="*/ 76670 w 437801"/>
                    <a:gd name="connsiteY125" fmla="*/ 298935 h 315971"/>
                    <a:gd name="connsiteX126" fmla="*/ 73343 w 437801"/>
                    <a:gd name="connsiteY126" fmla="*/ 300951 h 315971"/>
                    <a:gd name="connsiteX127" fmla="*/ 58930 w 437801"/>
                    <a:gd name="connsiteY127" fmla="*/ 305516 h 315971"/>
                    <a:gd name="connsiteX128" fmla="*/ 51984 w 437801"/>
                    <a:gd name="connsiteY128" fmla="*/ 308759 h 315971"/>
                    <a:gd name="connsiteX129" fmla="*/ 48535 w 437801"/>
                    <a:gd name="connsiteY129" fmla="*/ 309815 h 315971"/>
                    <a:gd name="connsiteX130" fmla="*/ 46010 w 437801"/>
                    <a:gd name="connsiteY130" fmla="*/ 309560 h 315971"/>
                    <a:gd name="connsiteX131" fmla="*/ 44795 w 437801"/>
                    <a:gd name="connsiteY131" fmla="*/ 309451 h 315971"/>
                    <a:gd name="connsiteX132" fmla="*/ 39112 w 437801"/>
                    <a:gd name="connsiteY132" fmla="*/ 283161 h 315971"/>
                    <a:gd name="connsiteX133" fmla="*/ 38250 w 437801"/>
                    <a:gd name="connsiteY133" fmla="*/ 281898 h 315971"/>
                    <a:gd name="connsiteX134" fmla="*/ 30977 w 437801"/>
                    <a:gd name="connsiteY134" fmla="*/ 268687 h 315971"/>
                    <a:gd name="connsiteX135" fmla="*/ 30806 w 437801"/>
                    <a:gd name="connsiteY135" fmla="*/ 266537 h 315971"/>
                    <a:gd name="connsiteX136" fmla="*/ 31717 w 437801"/>
                    <a:gd name="connsiteY136" fmla="*/ 267145 h 315971"/>
                    <a:gd name="connsiteX137" fmla="*/ 31875 w 437801"/>
                    <a:gd name="connsiteY137" fmla="*/ 265105 h 315971"/>
                    <a:gd name="connsiteX138" fmla="*/ 26605 w 437801"/>
                    <a:gd name="connsiteY138" fmla="*/ 252937 h 315971"/>
                    <a:gd name="connsiteX139" fmla="*/ 22537 w 437801"/>
                    <a:gd name="connsiteY139" fmla="*/ 247425 h 315971"/>
                    <a:gd name="connsiteX140" fmla="*/ 11609 w 437801"/>
                    <a:gd name="connsiteY140" fmla="*/ 226769 h 315971"/>
                    <a:gd name="connsiteX141" fmla="*/ 9678 w 437801"/>
                    <a:gd name="connsiteY141" fmla="*/ 226429 h 315971"/>
                    <a:gd name="connsiteX142" fmla="*/ 10273 w 437801"/>
                    <a:gd name="connsiteY142" fmla="*/ 225434 h 315971"/>
                    <a:gd name="connsiteX143" fmla="*/ 36902 w 437801"/>
                    <a:gd name="connsiteY143" fmla="*/ 198233 h 315971"/>
                    <a:gd name="connsiteX144" fmla="*/ 49725 w 437801"/>
                    <a:gd name="connsiteY144" fmla="*/ 193255 h 315971"/>
                    <a:gd name="connsiteX145" fmla="*/ 58893 w 437801"/>
                    <a:gd name="connsiteY145" fmla="*/ 185180 h 315971"/>
                    <a:gd name="connsiteX146" fmla="*/ 67915 w 437801"/>
                    <a:gd name="connsiteY146" fmla="*/ 174421 h 315971"/>
                    <a:gd name="connsiteX147" fmla="*/ 82596 w 437801"/>
                    <a:gd name="connsiteY147" fmla="*/ 171155 h 315971"/>
                    <a:gd name="connsiteX148" fmla="*/ 100289 w 437801"/>
                    <a:gd name="connsiteY148" fmla="*/ 164027 h 315971"/>
                    <a:gd name="connsiteX149" fmla="*/ 105898 w 437801"/>
                    <a:gd name="connsiteY149" fmla="*/ 163116 h 315971"/>
                    <a:gd name="connsiteX150" fmla="*/ 114362 w 437801"/>
                    <a:gd name="connsiteY150" fmla="*/ 163978 h 315971"/>
                    <a:gd name="connsiteX151" fmla="*/ 116815 w 437801"/>
                    <a:gd name="connsiteY151" fmla="*/ 164063 h 315971"/>
                    <a:gd name="connsiteX152" fmla="*/ 146419 w 437801"/>
                    <a:gd name="connsiteY152" fmla="*/ 153548 h 315971"/>
                    <a:gd name="connsiteX153" fmla="*/ 168107 w 437801"/>
                    <a:gd name="connsiteY153" fmla="*/ 133633 h 315971"/>
                    <a:gd name="connsiteX154" fmla="*/ 151665 w 437801"/>
                    <a:gd name="connsiteY154" fmla="*/ 116208 h 315971"/>
                    <a:gd name="connsiteX155" fmla="*/ 128812 w 437801"/>
                    <a:gd name="connsiteY155" fmla="*/ 101964 h 315971"/>
                    <a:gd name="connsiteX156" fmla="*/ 124137 w 437801"/>
                    <a:gd name="connsiteY156" fmla="*/ 89639 h 315971"/>
                    <a:gd name="connsiteX157" fmla="*/ 149577 w 437801"/>
                    <a:gd name="connsiteY157" fmla="*/ 43545 h 315971"/>
                    <a:gd name="connsiteX158" fmla="*/ 137883 w 437801"/>
                    <a:gd name="connsiteY158" fmla="*/ 25767 h 315971"/>
                    <a:gd name="connsiteX159" fmla="*/ 144270 w 437801"/>
                    <a:gd name="connsiteY159" fmla="*/ 23059 h 315971"/>
                    <a:gd name="connsiteX160" fmla="*/ 170681 w 437801"/>
                    <a:gd name="connsiteY160" fmla="*/ 12362 h 315971"/>
                    <a:gd name="connsiteX161" fmla="*/ 180663 w 437801"/>
                    <a:gd name="connsiteY161" fmla="*/ 11171 h 315971"/>
                    <a:gd name="connsiteX162" fmla="*/ 184997 w 437801"/>
                    <a:gd name="connsiteY162" fmla="*/ 13576 h 315971"/>
                    <a:gd name="connsiteX163" fmla="*/ 188325 w 437801"/>
                    <a:gd name="connsiteY163" fmla="*/ 19489 h 315971"/>
                    <a:gd name="connsiteX164" fmla="*/ 198258 w 437801"/>
                    <a:gd name="connsiteY164" fmla="*/ 26569 h 315971"/>
                    <a:gd name="connsiteX165" fmla="*/ 208191 w 437801"/>
                    <a:gd name="connsiteY165" fmla="*/ 31365 h 315971"/>
                    <a:gd name="connsiteX166" fmla="*/ 222471 w 437801"/>
                    <a:gd name="connsiteY166" fmla="*/ 25427 h 315971"/>
                    <a:gd name="connsiteX167" fmla="*/ 236933 w 437801"/>
                    <a:gd name="connsiteY167" fmla="*/ 25427 h 315971"/>
                    <a:gd name="connsiteX168" fmla="*/ 244656 w 437801"/>
                    <a:gd name="connsiteY168" fmla="*/ 20692 h 315971"/>
                    <a:gd name="connsiteX169" fmla="*/ 252330 w 437801"/>
                    <a:gd name="connsiteY169" fmla="*/ 21857 h 315971"/>
                    <a:gd name="connsiteX170" fmla="*/ 257855 w 437801"/>
                    <a:gd name="connsiteY170" fmla="*/ 13284 h 315971"/>
                    <a:gd name="connsiteX171" fmla="*/ 262299 w 437801"/>
                    <a:gd name="connsiteY171" fmla="*/ 11827 h 315971"/>
                    <a:gd name="connsiteX172" fmla="*/ 273240 w 437801"/>
                    <a:gd name="connsiteY172" fmla="*/ 16599 h 315971"/>
                    <a:gd name="connsiteX173" fmla="*/ 279870 w 437801"/>
                    <a:gd name="connsiteY173" fmla="*/ 15385 h 315971"/>
                    <a:gd name="connsiteX174" fmla="*/ 280963 w 437801"/>
                    <a:gd name="connsiteY174" fmla="*/ 9423 h 315971"/>
                    <a:gd name="connsiteX175" fmla="*/ 286537 w 437801"/>
                    <a:gd name="connsiteY175" fmla="*/ 7079 h 315971"/>
                    <a:gd name="connsiteX176" fmla="*/ 18870 w 437801"/>
                    <a:gd name="connsiteY176" fmla="*/ 241523 h 315971"/>
                    <a:gd name="connsiteX177" fmla="*/ 19064 w 437801"/>
                    <a:gd name="connsiteY177" fmla="*/ 242130 h 315971"/>
                    <a:gd name="connsiteX178" fmla="*/ 22537 w 437801"/>
                    <a:gd name="connsiteY178" fmla="*/ 247412 h 315971"/>
                    <a:gd name="connsiteX179" fmla="*/ 22416 w 437801"/>
                    <a:gd name="connsiteY179" fmla="*/ 251565 h 315971"/>
                    <a:gd name="connsiteX180" fmla="*/ 22209 w 437801"/>
                    <a:gd name="connsiteY180" fmla="*/ 252379 h 315971"/>
                    <a:gd name="connsiteX181" fmla="*/ 18870 w 437801"/>
                    <a:gd name="connsiteY181" fmla="*/ 241523 h 315971"/>
                    <a:gd name="connsiteX182" fmla="*/ 287715 w 437801"/>
                    <a:gd name="connsiteY182" fmla="*/ 0 h 315971"/>
                    <a:gd name="connsiteX183" fmla="*/ 284181 w 437801"/>
                    <a:gd name="connsiteY183" fmla="*/ 1494 h 315971"/>
                    <a:gd name="connsiteX184" fmla="*/ 278644 w 437801"/>
                    <a:gd name="connsiteY184" fmla="*/ 3825 h 315971"/>
                    <a:gd name="connsiteX185" fmla="*/ 275620 w 437801"/>
                    <a:gd name="connsiteY185" fmla="*/ 5100 h 315971"/>
                    <a:gd name="connsiteX186" fmla="*/ 275025 w 437801"/>
                    <a:gd name="connsiteY186" fmla="*/ 8330 h 315971"/>
                    <a:gd name="connsiteX187" fmla="*/ 274697 w 437801"/>
                    <a:gd name="connsiteY187" fmla="*/ 10164 h 315971"/>
                    <a:gd name="connsiteX188" fmla="*/ 274005 w 437801"/>
                    <a:gd name="connsiteY188" fmla="*/ 10285 h 315971"/>
                    <a:gd name="connsiteX189" fmla="*/ 264764 w 437801"/>
                    <a:gd name="connsiteY189" fmla="*/ 6254 h 315971"/>
                    <a:gd name="connsiteX190" fmla="*/ 262640 w 437801"/>
                    <a:gd name="connsiteY190" fmla="*/ 5331 h 315971"/>
                    <a:gd name="connsiteX191" fmla="*/ 260429 w 437801"/>
                    <a:gd name="connsiteY191" fmla="*/ 6059 h 315971"/>
                    <a:gd name="connsiteX192" fmla="*/ 255985 w 437801"/>
                    <a:gd name="connsiteY192" fmla="*/ 7517 h 315971"/>
                    <a:gd name="connsiteX193" fmla="*/ 253945 w 437801"/>
                    <a:gd name="connsiteY193" fmla="*/ 8184 h 315971"/>
                    <a:gd name="connsiteX194" fmla="*/ 252779 w 437801"/>
                    <a:gd name="connsiteY194" fmla="*/ 9994 h 315971"/>
                    <a:gd name="connsiteX195" fmla="*/ 249379 w 437801"/>
                    <a:gd name="connsiteY195" fmla="*/ 15264 h 315971"/>
                    <a:gd name="connsiteX196" fmla="*/ 245591 w 437801"/>
                    <a:gd name="connsiteY196" fmla="*/ 14693 h 315971"/>
                    <a:gd name="connsiteX197" fmla="*/ 243393 w 437801"/>
                    <a:gd name="connsiteY197" fmla="*/ 14353 h 315971"/>
                    <a:gd name="connsiteX198" fmla="*/ 241499 w 437801"/>
                    <a:gd name="connsiteY198" fmla="*/ 15519 h 315971"/>
                    <a:gd name="connsiteX199" fmla="*/ 235233 w 437801"/>
                    <a:gd name="connsiteY199" fmla="*/ 19356 h 315971"/>
                    <a:gd name="connsiteX200" fmla="*/ 222483 w 437801"/>
                    <a:gd name="connsiteY200" fmla="*/ 19356 h 315971"/>
                    <a:gd name="connsiteX201" fmla="*/ 221268 w 437801"/>
                    <a:gd name="connsiteY201" fmla="*/ 19356 h 315971"/>
                    <a:gd name="connsiteX202" fmla="*/ 220139 w 437801"/>
                    <a:gd name="connsiteY202" fmla="*/ 19829 h 315971"/>
                    <a:gd name="connsiteX203" fmla="*/ 208385 w 437801"/>
                    <a:gd name="connsiteY203" fmla="*/ 24723 h 315971"/>
                    <a:gd name="connsiteX204" fmla="*/ 201366 w 437801"/>
                    <a:gd name="connsiteY204" fmla="*/ 21335 h 315971"/>
                    <a:gd name="connsiteX205" fmla="*/ 192951 w 437801"/>
                    <a:gd name="connsiteY205" fmla="*/ 15337 h 315971"/>
                    <a:gd name="connsiteX206" fmla="*/ 190280 w 437801"/>
                    <a:gd name="connsiteY206" fmla="*/ 10601 h 315971"/>
                    <a:gd name="connsiteX207" fmla="*/ 189442 w 437801"/>
                    <a:gd name="connsiteY207" fmla="*/ 9095 h 315971"/>
                    <a:gd name="connsiteX208" fmla="*/ 187936 w 437801"/>
                    <a:gd name="connsiteY208" fmla="*/ 8257 h 315971"/>
                    <a:gd name="connsiteX209" fmla="*/ 183601 w 437801"/>
                    <a:gd name="connsiteY209" fmla="*/ 5853 h 315971"/>
                    <a:gd name="connsiteX210" fmla="*/ 181889 w 437801"/>
                    <a:gd name="connsiteY210" fmla="*/ 4906 h 315971"/>
                    <a:gd name="connsiteX211" fmla="*/ 179946 w 437801"/>
                    <a:gd name="connsiteY211" fmla="*/ 5137 h 315971"/>
                    <a:gd name="connsiteX212" fmla="*/ 169964 w 437801"/>
                    <a:gd name="connsiteY212" fmla="*/ 6326 h 315971"/>
                    <a:gd name="connsiteX213" fmla="*/ 169151 w 437801"/>
                    <a:gd name="connsiteY213" fmla="*/ 6424 h 315971"/>
                    <a:gd name="connsiteX214" fmla="*/ 168398 w 437801"/>
                    <a:gd name="connsiteY214" fmla="*/ 6727 h 315971"/>
                    <a:gd name="connsiteX215" fmla="*/ 141987 w 437801"/>
                    <a:gd name="connsiteY215" fmla="*/ 17425 h 315971"/>
                    <a:gd name="connsiteX216" fmla="*/ 135503 w 437801"/>
                    <a:gd name="connsiteY216" fmla="*/ 20169 h 315971"/>
                    <a:gd name="connsiteX217" fmla="*/ 127877 w 437801"/>
                    <a:gd name="connsiteY217" fmla="*/ 23399 h 315971"/>
                    <a:gd name="connsiteX218" fmla="*/ 133244 w 437801"/>
                    <a:gd name="connsiteY218" fmla="*/ 29714 h 315971"/>
                    <a:gd name="connsiteX219" fmla="*/ 144027 w 437801"/>
                    <a:gd name="connsiteY219" fmla="*/ 46034 h 315971"/>
                    <a:gd name="connsiteX220" fmla="*/ 133402 w 437801"/>
                    <a:gd name="connsiteY220" fmla="*/ 64843 h 315971"/>
                    <a:gd name="connsiteX221" fmla="*/ 118126 w 437801"/>
                    <a:gd name="connsiteY221" fmla="*/ 90574 h 315971"/>
                    <a:gd name="connsiteX222" fmla="*/ 121114 w 437801"/>
                    <a:gd name="connsiteY222" fmla="*/ 98018 h 315971"/>
                    <a:gd name="connsiteX223" fmla="*/ 122729 w 437801"/>
                    <a:gd name="connsiteY223" fmla="*/ 102134 h 315971"/>
                    <a:gd name="connsiteX224" fmla="*/ 139352 w 437801"/>
                    <a:gd name="connsiteY224" fmla="*/ 119304 h 315971"/>
                    <a:gd name="connsiteX225" fmla="*/ 149540 w 437801"/>
                    <a:gd name="connsiteY225" fmla="*/ 121903 h 315971"/>
                    <a:gd name="connsiteX226" fmla="*/ 157385 w 437801"/>
                    <a:gd name="connsiteY226" fmla="*/ 124332 h 315971"/>
                    <a:gd name="connsiteX227" fmla="*/ 165107 w 437801"/>
                    <a:gd name="connsiteY227" fmla="*/ 126954 h 315971"/>
                    <a:gd name="connsiteX228" fmla="*/ 163250 w 437801"/>
                    <a:gd name="connsiteY228" fmla="*/ 129990 h 315971"/>
                    <a:gd name="connsiteX229" fmla="*/ 146310 w 437801"/>
                    <a:gd name="connsiteY229" fmla="*/ 145837 h 315971"/>
                    <a:gd name="connsiteX230" fmla="*/ 142570 w 437801"/>
                    <a:gd name="connsiteY230" fmla="*/ 148836 h 315971"/>
                    <a:gd name="connsiteX231" fmla="*/ 116791 w 437801"/>
                    <a:gd name="connsiteY231" fmla="*/ 157992 h 315971"/>
                    <a:gd name="connsiteX232" fmla="*/ 114738 w 437801"/>
                    <a:gd name="connsiteY232" fmla="*/ 157919 h 315971"/>
                    <a:gd name="connsiteX233" fmla="*/ 111047 w 437801"/>
                    <a:gd name="connsiteY233" fmla="*/ 157506 h 315971"/>
                    <a:gd name="connsiteX234" fmla="*/ 105862 w 437801"/>
                    <a:gd name="connsiteY234" fmla="*/ 157045 h 315971"/>
                    <a:gd name="connsiteX235" fmla="*/ 98467 w 437801"/>
                    <a:gd name="connsiteY235" fmla="*/ 158222 h 315971"/>
                    <a:gd name="connsiteX236" fmla="*/ 90040 w 437801"/>
                    <a:gd name="connsiteY236" fmla="*/ 161805 h 315971"/>
                    <a:gd name="connsiteX237" fmla="*/ 81370 w 437801"/>
                    <a:gd name="connsiteY237" fmla="*/ 165205 h 315971"/>
                    <a:gd name="connsiteX238" fmla="*/ 76865 w 437801"/>
                    <a:gd name="connsiteY238" fmla="*/ 165702 h 315971"/>
                    <a:gd name="connsiteX239" fmla="*/ 64284 w 437801"/>
                    <a:gd name="connsiteY239" fmla="*/ 169540 h 315971"/>
                    <a:gd name="connsiteX240" fmla="*/ 55250 w 437801"/>
                    <a:gd name="connsiteY240" fmla="*/ 179813 h 315971"/>
                    <a:gd name="connsiteX241" fmla="*/ 53975 w 437801"/>
                    <a:gd name="connsiteY241" fmla="*/ 181586 h 315971"/>
                    <a:gd name="connsiteX242" fmla="*/ 52287 w 437801"/>
                    <a:gd name="connsiteY242" fmla="*/ 183953 h 315971"/>
                    <a:gd name="connsiteX243" fmla="*/ 47454 w 437801"/>
                    <a:gd name="connsiteY243" fmla="*/ 187621 h 315971"/>
                    <a:gd name="connsiteX244" fmla="*/ 44674 w 437801"/>
                    <a:gd name="connsiteY244" fmla="*/ 188713 h 315971"/>
                    <a:gd name="connsiteX245" fmla="*/ 34777 w 437801"/>
                    <a:gd name="connsiteY245" fmla="*/ 192538 h 315971"/>
                    <a:gd name="connsiteX246" fmla="*/ 17437 w 437801"/>
                    <a:gd name="connsiteY246" fmla="*/ 209016 h 315971"/>
                    <a:gd name="connsiteX247" fmla="*/ 7419 w 437801"/>
                    <a:gd name="connsiteY247" fmla="*/ 220066 h 315971"/>
                    <a:gd name="connsiteX248" fmla="*/ 5914 w 437801"/>
                    <a:gd name="connsiteY248" fmla="*/ 220856 h 315971"/>
                    <a:gd name="connsiteX249" fmla="*/ 5051 w 437801"/>
                    <a:gd name="connsiteY249" fmla="*/ 222313 h 315971"/>
                    <a:gd name="connsiteX250" fmla="*/ 4456 w 437801"/>
                    <a:gd name="connsiteY250" fmla="*/ 223309 h 315971"/>
                    <a:gd name="connsiteX251" fmla="*/ 0 w 437801"/>
                    <a:gd name="connsiteY251" fmla="*/ 230801 h 315971"/>
                    <a:gd name="connsiteX252" fmla="*/ 8573 w 437801"/>
                    <a:gd name="connsiteY252" fmla="*/ 232392 h 315971"/>
                    <a:gd name="connsiteX253" fmla="*/ 9556 w 437801"/>
                    <a:gd name="connsiteY253" fmla="*/ 232537 h 315971"/>
                    <a:gd name="connsiteX254" fmla="*/ 14450 w 437801"/>
                    <a:gd name="connsiteY254" fmla="*/ 235452 h 315971"/>
                    <a:gd name="connsiteX255" fmla="*/ 12798 w 437801"/>
                    <a:gd name="connsiteY255" fmla="*/ 235452 h 315971"/>
                    <a:gd name="connsiteX256" fmla="*/ 12798 w 437801"/>
                    <a:gd name="connsiteY256" fmla="*/ 241523 h 315971"/>
                    <a:gd name="connsiteX257" fmla="*/ 22209 w 437801"/>
                    <a:gd name="connsiteY257" fmla="*/ 258450 h 315971"/>
                    <a:gd name="connsiteX258" fmla="*/ 22537 w 437801"/>
                    <a:gd name="connsiteY258" fmla="*/ 258438 h 315971"/>
                    <a:gd name="connsiteX259" fmla="*/ 23242 w 437801"/>
                    <a:gd name="connsiteY259" fmla="*/ 259725 h 315971"/>
                    <a:gd name="connsiteX260" fmla="*/ 25282 w 437801"/>
                    <a:gd name="connsiteY260" fmla="*/ 263842 h 315971"/>
                    <a:gd name="connsiteX261" fmla="*/ 25026 w 437801"/>
                    <a:gd name="connsiteY261" fmla="*/ 269974 h 315971"/>
                    <a:gd name="connsiteX262" fmla="*/ 33077 w 437801"/>
                    <a:gd name="connsiteY262" fmla="*/ 285116 h 315971"/>
                    <a:gd name="connsiteX263" fmla="*/ 33405 w 437801"/>
                    <a:gd name="connsiteY263" fmla="*/ 285602 h 315971"/>
                    <a:gd name="connsiteX264" fmla="*/ 38833 w 437801"/>
                    <a:gd name="connsiteY264" fmla="*/ 310726 h 315971"/>
                    <a:gd name="connsiteX265" fmla="*/ 39768 w 437801"/>
                    <a:gd name="connsiteY265" fmla="*/ 315073 h 315971"/>
                    <a:gd name="connsiteX266" fmla="*/ 44188 w 437801"/>
                    <a:gd name="connsiteY266" fmla="*/ 315486 h 315971"/>
                    <a:gd name="connsiteX267" fmla="*/ 45402 w 437801"/>
                    <a:gd name="connsiteY267" fmla="*/ 315595 h 315971"/>
                    <a:gd name="connsiteX268" fmla="*/ 47867 w 437801"/>
                    <a:gd name="connsiteY268" fmla="*/ 315850 h 315971"/>
                    <a:gd name="connsiteX269" fmla="*/ 49106 w 437801"/>
                    <a:gd name="connsiteY269" fmla="*/ 315971 h 315971"/>
                    <a:gd name="connsiteX270" fmla="*/ 50296 w 437801"/>
                    <a:gd name="connsiteY270" fmla="*/ 315607 h 315971"/>
                    <a:gd name="connsiteX271" fmla="*/ 53732 w 437801"/>
                    <a:gd name="connsiteY271" fmla="*/ 314551 h 315971"/>
                    <a:gd name="connsiteX272" fmla="*/ 54133 w 437801"/>
                    <a:gd name="connsiteY272" fmla="*/ 314429 h 315971"/>
                    <a:gd name="connsiteX273" fmla="*/ 54509 w 437801"/>
                    <a:gd name="connsiteY273" fmla="*/ 314247 h 315971"/>
                    <a:gd name="connsiteX274" fmla="*/ 61103 w 437801"/>
                    <a:gd name="connsiteY274" fmla="*/ 311175 h 315971"/>
                    <a:gd name="connsiteX275" fmla="*/ 75140 w 437801"/>
                    <a:gd name="connsiteY275" fmla="*/ 306731 h 315971"/>
                    <a:gd name="connsiteX276" fmla="*/ 75833 w 437801"/>
                    <a:gd name="connsiteY276" fmla="*/ 306512 h 315971"/>
                    <a:gd name="connsiteX277" fmla="*/ 76452 w 437801"/>
                    <a:gd name="connsiteY277" fmla="*/ 306136 h 315971"/>
                    <a:gd name="connsiteX278" fmla="*/ 79779 w 437801"/>
                    <a:gd name="connsiteY278" fmla="*/ 304120 h 315971"/>
                    <a:gd name="connsiteX279" fmla="*/ 80677 w 437801"/>
                    <a:gd name="connsiteY279" fmla="*/ 303573 h 315971"/>
                    <a:gd name="connsiteX280" fmla="*/ 81345 w 437801"/>
                    <a:gd name="connsiteY280" fmla="*/ 302760 h 315971"/>
                    <a:gd name="connsiteX281" fmla="*/ 86858 w 437801"/>
                    <a:gd name="connsiteY281" fmla="*/ 295984 h 315971"/>
                    <a:gd name="connsiteX282" fmla="*/ 87259 w 437801"/>
                    <a:gd name="connsiteY282" fmla="*/ 295474 h 315971"/>
                    <a:gd name="connsiteX283" fmla="*/ 87550 w 437801"/>
                    <a:gd name="connsiteY283" fmla="*/ 294903 h 315971"/>
                    <a:gd name="connsiteX284" fmla="*/ 91618 w 437801"/>
                    <a:gd name="connsiteY284" fmla="*/ 286925 h 315971"/>
                    <a:gd name="connsiteX285" fmla="*/ 95055 w 437801"/>
                    <a:gd name="connsiteY285" fmla="*/ 282336 h 315971"/>
                    <a:gd name="connsiteX286" fmla="*/ 99523 w 437801"/>
                    <a:gd name="connsiteY286" fmla="*/ 281243 h 315971"/>
                    <a:gd name="connsiteX287" fmla="*/ 102571 w 437801"/>
                    <a:gd name="connsiteY287" fmla="*/ 281777 h 315971"/>
                    <a:gd name="connsiteX288" fmla="*/ 103020 w 437801"/>
                    <a:gd name="connsiteY288" fmla="*/ 281850 h 315971"/>
                    <a:gd name="connsiteX289" fmla="*/ 103482 w 437801"/>
                    <a:gd name="connsiteY289" fmla="*/ 281862 h 315971"/>
                    <a:gd name="connsiteX290" fmla="*/ 107271 w 437801"/>
                    <a:gd name="connsiteY290" fmla="*/ 281947 h 315971"/>
                    <a:gd name="connsiteX291" fmla="*/ 108752 w 437801"/>
                    <a:gd name="connsiteY291" fmla="*/ 281971 h 315971"/>
                    <a:gd name="connsiteX292" fmla="*/ 110076 w 437801"/>
                    <a:gd name="connsiteY292" fmla="*/ 281316 h 315971"/>
                    <a:gd name="connsiteX293" fmla="*/ 113184 w 437801"/>
                    <a:gd name="connsiteY293" fmla="*/ 279785 h 315971"/>
                    <a:gd name="connsiteX294" fmla="*/ 114896 w 437801"/>
                    <a:gd name="connsiteY294" fmla="*/ 278948 h 315971"/>
                    <a:gd name="connsiteX295" fmla="*/ 115819 w 437801"/>
                    <a:gd name="connsiteY295" fmla="*/ 277284 h 315971"/>
                    <a:gd name="connsiteX296" fmla="*/ 118102 w 437801"/>
                    <a:gd name="connsiteY296" fmla="*/ 273156 h 315971"/>
                    <a:gd name="connsiteX297" fmla="*/ 118308 w 437801"/>
                    <a:gd name="connsiteY297" fmla="*/ 272779 h 315971"/>
                    <a:gd name="connsiteX298" fmla="*/ 118466 w 437801"/>
                    <a:gd name="connsiteY298" fmla="*/ 272390 h 315971"/>
                    <a:gd name="connsiteX299" fmla="*/ 119960 w 437801"/>
                    <a:gd name="connsiteY299" fmla="*/ 268505 h 315971"/>
                    <a:gd name="connsiteX300" fmla="*/ 120421 w 437801"/>
                    <a:gd name="connsiteY300" fmla="*/ 267934 h 315971"/>
                    <a:gd name="connsiteX301" fmla="*/ 121162 w 437801"/>
                    <a:gd name="connsiteY301" fmla="*/ 267655 h 315971"/>
                    <a:gd name="connsiteX302" fmla="*/ 128994 w 437801"/>
                    <a:gd name="connsiteY302" fmla="*/ 266780 h 315971"/>
                    <a:gd name="connsiteX303" fmla="*/ 129832 w 437801"/>
                    <a:gd name="connsiteY303" fmla="*/ 266683 h 315971"/>
                    <a:gd name="connsiteX304" fmla="*/ 130609 w 437801"/>
                    <a:gd name="connsiteY304" fmla="*/ 266368 h 315971"/>
                    <a:gd name="connsiteX305" fmla="*/ 133074 w 437801"/>
                    <a:gd name="connsiteY305" fmla="*/ 265360 h 315971"/>
                    <a:gd name="connsiteX306" fmla="*/ 134459 w 437801"/>
                    <a:gd name="connsiteY306" fmla="*/ 264789 h 315971"/>
                    <a:gd name="connsiteX307" fmla="*/ 135430 w 437801"/>
                    <a:gd name="connsiteY307" fmla="*/ 263635 h 315971"/>
                    <a:gd name="connsiteX308" fmla="*/ 137324 w 437801"/>
                    <a:gd name="connsiteY308" fmla="*/ 261365 h 315971"/>
                    <a:gd name="connsiteX309" fmla="*/ 137616 w 437801"/>
                    <a:gd name="connsiteY309" fmla="*/ 261000 h 315971"/>
                    <a:gd name="connsiteX310" fmla="*/ 137871 w 437801"/>
                    <a:gd name="connsiteY310" fmla="*/ 260600 h 315971"/>
                    <a:gd name="connsiteX311" fmla="*/ 142461 w 437801"/>
                    <a:gd name="connsiteY311" fmla="*/ 252962 h 315971"/>
                    <a:gd name="connsiteX312" fmla="*/ 149176 w 437801"/>
                    <a:gd name="connsiteY312" fmla="*/ 244887 h 315971"/>
                    <a:gd name="connsiteX313" fmla="*/ 152236 w 437801"/>
                    <a:gd name="connsiteY313" fmla="*/ 243709 h 315971"/>
                    <a:gd name="connsiteX314" fmla="*/ 162266 w 437801"/>
                    <a:gd name="connsiteY314" fmla="*/ 241924 h 315971"/>
                    <a:gd name="connsiteX315" fmla="*/ 163140 w 437801"/>
                    <a:gd name="connsiteY315" fmla="*/ 241766 h 315971"/>
                    <a:gd name="connsiteX316" fmla="*/ 163942 w 437801"/>
                    <a:gd name="connsiteY316" fmla="*/ 241353 h 315971"/>
                    <a:gd name="connsiteX317" fmla="*/ 169042 w 437801"/>
                    <a:gd name="connsiteY317" fmla="*/ 238767 h 315971"/>
                    <a:gd name="connsiteX318" fmla="*/ 169819 w 437801"/>
                    <a:gd name="connsiteY318" fmla="*/ 238378 h 315971"/>
                    <a:gd name="connsiteX319" fmla="*/ 170463 w 437801"/>
                    <a:gd name="connsiteY319" fmla="*/ 237783 h 315971"/>
                    <a:gd name="connsiteX320" fmla="*/ 175684 w 437801"/>
                    <a:gd name="connsiteY320" fmla="*/ 232877 h 315971"/>
                    <a:gd name="connsiteX321" fmla="*/ 176121 w 437801"/>
                    <a:gd name="connsiteY321" fmla="*/ 232452 h 315971"/>
                    <a:gd name="connsiteX322" fmla="*/ 176473 w 437801"/>
                    <a:gd name="connsiteY322" fmla="*/ 231942 h 315971"/>
                    <a:gd name="connsiteX323" fmla="*/ 180553 w 437801"/>
                    <a:gd name="connsiteY323" fmla="*/ 226162 h 315971"/>
                    <a:gd name="connsiteX324" fmla="*/ 180772 w 437801"/>
                    <a:gd name="connsiteY324" fmla="*/ 225871 h 315971"/>
                    <a:gd name="connsiteX325" fmla="*/ 180954 w 437801"/>
                    <a:gd name="connsiteY325" fmla="*/ 225543 h 315971"/>
                    <a:gd name="connsiteX326" fmla="*/ 187584 w 437801"/>
                    <a:gd name="connsiteY326" fmla="*/ 213230 h 315971"/>
                    <a:gd name="connsiteX327" fmla="*/ 193947 w 437801"/>
                    <a:gd name="connsiteY327" fmla="*/ 204742 h 315971"/>
                    <a:gd name="connsiteX328" fmla="*/ 204074 w 437801"/>
                    <a:gd name="connsiteY328" fmla="*/ 197736 h 315971"/>
                    <a:gd name="connsiteX329" fmla="*/ 215646 w 437801"/>
                    <a:gd name="connsiteY329" fmla="*/ 192672 h 315971"/>
                    <a:gd name="connsiteX330" fmla="*/ 263975 w 437801"/>
                    <a:gd name="connsiteY330" fmla="*/ 184694 h 315971"/>
                    <a:gd name="connsiteX331" fmla="*/ 275122 w 437801"/>
                    <a:gd name="connsiteY331" fmla="*/ 185204 h 315971"/>
                    <a:gd name="connsiteX332" fmla="*/ 277235 w 437801"/>
                    <a:gd name="connsiteY332" fmla="*/ 185884 h 315971"/>
                    <a:gd name="connsiteX333" fmla="*/ 278401 w 437801"/>
                    <a:gd name="connsiteY333" fmla="*/ 186261 h 315971"/>
                    <a:gd name="connsiteX334" fmla="*/ 279627 w 437801"/>
                    <a:gd name="connsiteY334" fmla="*/ 186151 h 315971"/>
                    <a:gd name="connsiteX335" fmla="*/ 283525 w 437801"/>
                    <a:gd name="connsiteY335" fmla="*/ 185811 h 315971"/>
                    <a:gd name="connsiteX336" fmla="*/ 284181 w 437801"/>
                    <a:gd name="connsiteY336" fmla="*/ 185750 h 315971"/>
                    <a:gd name="connsiteX337" fmla="*/ 284812 w 437801"/>
                    <a:gd name="connsiteY337" fmla="*/ 185556 h 315971"/>
                    <a:gd name="connsiteX338" fmla="*/ 288759 w 437801"/>
                    <a:gd name="connsiteY338" fmla="*/ 184318 h 315971"/>
                    <a:gd name="connsiteX339" fmla="*/ 289342 w 437801"/>
                    <a:gd name="connsiteY339" fmla="*/ 184136 h 315971"/>
                    <a:gd name="connsiteX340" fmla="*/ 289864 w 437801"/>
                    <a:gd name="connsiteY340" fmla="*/ 183844 h 315971"/>
                    <a:gd name="connsiteX341" fmla="*/ 292742 w 437801"/>
                    <a:gd name="connsiteY341" fmla="*/ 182266 h 315971"/>
                    <a:gd name="connsiteX342" fmla="*/ 293713 w 437801"/>
                    <a:gd name="connsiteY342" fmla="*/ 181743 h 315971"/>
                    <a:gd name="connsiteX343" fmla="*/ 294430 w 437801"/>
                    <a:gd name="connsiteY343" fmla="*/ 180906 h 315971"/>
                    <a:gd name="connsiteX344" fmla="*/ 298218 w 437801"/>
                    <a:gd name="connsiteY344" fmla="*/ 176485 h 315971"/>
                    <a:gd name="connsiteX345" fmla="*/ 298777 w 437801"/>
                    <a:gd name="connsiteY345" fmla="*/ 175854 h 315971"/>
                    <a:gd name="connsiteX346" fmla="*/ 299117 w 437801"/>
                    <a:gd name="connsiteY346" fmla="*/ 175089 h 315971"/>
                    <a:gd name="connsiteX347" fmla="*/ 299578 w 437801"/>
                    <a:gd name="connsiteY347" fmla="*/ 174105 h 315971"/>
                    <a:gd name="connsiteX348" fmla="*/ 300246 w 437801"/>
                    <a:gd name="connsiteY348" fmla="*/ 174239 h 315971"/>
                    <a:gd name="connsiteX349" fmla="*/ 300526 w 437801"/>
                    <a:gd name="connsiteY349" fmla="*/ 174409 h 315971"/>
                    <a:gd name="connsiteX350" fmla="*/ 301242 w 437801"/>
                    <a:gd name="connsiteY350" fmla="*/ 175016 h 315971"/>
                    <a:gd name="connsiteX351" fmla="*/ 301837 w 437801"/>
                    <a:gd name="connsiteY351" fmla="*/ 175526 h 315971"/>
                    <a:gd name="connsiteX352" fmla="*/ 302541 w 437801"/>
                    <a:gd name="connsiteY352" fmla="*/ 175866 h 315971"/>
                    <a:gd name="connsiteX353" fmla="*/ 303853 w 437801"/>
                    <a:gd name="connsiteY353" fmla="*/ 176510 h 315971"/>
                    <a:gd name="connsiteX354" fmla="*/ 305322 w 437801"/>
                    <a:gd name="connsiteY354" fmla="*/ 177226 h 315971"/>
                    <a:gd name="connsiteX355" fmla="*/ 306949 w 437801"/>
                    <a:gd name="connsiteY355" fmla="*/ 177117 h 315971"/>
                    <a:gd name="connsiteX356" fmla="*/ 309305 w 437801"/>
                    <a:gd name="connsiteY356" fmla="*/ 176959 h 315971"/>
                    <a:gd name="connsiteX357" fmla="*/ 310592 w 437801"/>
                    <a:gd name="connsiteY357" fmla="*/ 176874 h 315971"/>
                    <a:gd name="connsiteX358" fmla="*/ 311733 w 437801"/>
                    <a:gd name="connsiteY358" fmla="*/ 176267 h 315971"/>
                    <a:gd name="connsiteX359" fmla="*/ 313676 w 437801"/>
                    <a:gd name="connsiteY359" fmla="*/ 175235 h 315971"/>
                    <a:gd name="connsiteX360" fmla="*/ 314563 w 437801"/>
                    <a:gd name="connsiteY360" fmla="*/ 174761 h 315971"/>
                    <a:gd name="connsiteX361" fmla="*/ 315255 w 437801"/>
                    <a:gd name="connsiteY361" fmla="*/ 174033 h 315971"/>
                    <a:gd name="connsiteX362" fmla="*/ 317234 w 437801"/>
                    <a:gd name="connsiteY362" fmla="*/ 171920 h 315971"/>
                    <a:gd name="connsiteX363" fmla="*/ 318521 w 437801"/>
                    <a:gd name="connsiteY363" fmla="*/ 171993 h 315971"/>
                    <a:gd name="connsiteX364" fmla="*/ 321010 w 437801"/>
                    <a:gd name="connsiteY364" fmla="*/ 172612 h 315971"/>
                    <a:gd name="connsiteX365" fmla="*/ 326487 w 437801"/>
                    <a:gd name="connsiteY365" fmla="*/ 175089 h 315971"/>
                    <a:gd name="connsiteX366" fmla="*/ 328782 w 437801"/>
                    <a:gd name="connsiteY366" fmla="*/ 176680 h 315971"/>
                    <a:gd name="connsiteX367" fmla="*/ 330312 w 437801"/>
                    <a:gd name="connsiteY367" fmla="*/ 178295 h 315971"/>
                    <a:gd name="connsiteX368" fmla="*/ 333870 w 437801"/>
                    <a:gd name="connsiteY368" fmla="*/ 184221 h 315971"/>
                    <a:gd name="connsiteX369" fmla="*/ 334125 w 437801"/>
                    <a:gd name="connsiteY369" fmla="*/ 184646 h 315971"/>
                    <a:gd name="connsiteX370" fmla="*/ 334441 w 437801"/>
                    <a:gd name="connsiteY370" fmla="*/ 185022 h 315971"/>
                    <a:gd name="connsiteX371" fmla="*/ 336626 w 437801"/>
                    <a:gd name="connsiteY371" fmla="*/ 187608 h 315971"/>
                    <a:gd name="connsiteX372" fmla="*/ 336991 w 437801"/>
                    <a:gd name="connsiteY372" fmla="*/ 188046 h 315971"/>
                    <a:gd name="connsiteX373" fmla="*/ 337428 w 437801"/>
                    <a:gd name="connsiteY373" fmla="*/ 188410 h 315971"/>
                    <a:gd name="connsiteX374" fmla="*/ 341326 w 437801"/>
                    <a:gd name="connsiteY374" fmla="*/ 191567 h 315971"/>
                    <a:gd name="connsiteX375" fmla="*/ 341289 w 437801"/>
                    <a:gd name="connsiteY375" fmla="*/ 191628 h 315971"/>
                    <a:gd name="connsiteX376" fmla="*/ 339662 w 437801"/>
                    <a:gd name="connsiteY376" fmla="*/ 194724 h 315971"/>
                    <a:gd name="connsiteX377" fmla="*/ 338885 w 437801"/>
                    <a:gd name="connsiteY377" fmla="*/ 196218 h 315971"/>
                    <a:gd name="connsiteX378" fmla="*/ 338982 w 437801"/>
                    <a:gd name="connsiteY378" fmla="*/ 197893 h 315971"/>
                    <a:gd name="connsiteX379" fmla="*/ 339164 w 437801"/>
                    <a:gd name="connsiteY379" fmla="*/ 201099 h 315971"/>
                    <a:gd name="connsiteX380" fmla="*/ 339322 w 437801"/>
                    <a:gd name="connsiteY380" fmla="*/ 203807 h 315971"/>
                    <a:gd name="connsiteX381" fmla="*/ 341435 w 437801"/>
                    <a:gd name="connsiteY381" fmla="*/ 205507 h 315971"/>
                    <a:gd name="connsiteX382" fmla="*/ 345697 w 437801"/>
                    <a:gd name="connsiteY382" fmla="*/ 208907 h 315971"/>
                    <a:gd name="connsiteX383" fmla="*/ 346304 w 437801"/>
                    <a:gd name="connsiteY383" fmla="*/ 209393 h 315971"/>
                    <a:gd name="connsiteX384" fmla="*/ 347021 w 437801"/>
                    <a:gd name="connsiteY384" fmla="*/ 209709 h 315971"/>
                    <a:gd name="connsiteX385" fmla="*/ 371962 w 437801"/>
                    <a:gd name="connsiteY385" fmla="*/ 220844 h 315971"/>
                    <a:gd name="connsiteX386" fmla="*/ 372545 w 437801"/>
                    <a:gd name="connsiteY386" fmla="*/ 221378 h 315971"/>
                    <a:gd name="connsiteX387" fmla="*/ 373577 w 437801"/>
                    <a:gd name="connsiteY387" fmla="*/ 222665 h 315971"/>
                    <a:gd name="connsiteX388" fmla="*/ 375411 w 437801"/>
                    <a:gd name="connsiteY388" fmla="*/ 224584 h 315971"/>
                    <a:gd name="connsiteX389" fmla="*/ 376273 w 437801"/>
                    <a:gd name="connsiteY389" fmla="*/ 225482 h 315971"/>
                    <a:gd name="connsiteX390" fmla="*/ 377427 w 437801"/>
                    <a:gd name="connsiteY390" fmla="*/ 225956 h 315971"/>
                    <a:gd name="connsiteX391" fmla="*/ 379564 w 437801"/>
                    <a:gd name="connsiteY391" fmla="*/ 226842 h 315971"/>
                    <a:gd name="connsiteX392" fmla="*/ 380912 w 437801"/>
                    <a:gd name="connsiteY392" fmla="*/ 227401 h 315971"/>
                    <a:gd name="connsiteX393" fmla="*/ 382357 w 437801"/>
                    <a:gd name="connsiteY393" fmla="*/ 227292 h 315971"/>
                    <a:gd name="connsiteX394" fmla="*/ 384178 w 437801"/>
                    <a:gd name="connsiteY394" fmla="*/ 227146 h 315971"/>
                    <a:gd name="connsiteX395" fmla="*/ 385150 w 437801"/>
                    <a:gd name="connsiteY395" fmla="*/ 227073 h 315971"/>
                    <a:gd name="connsiteX396" fmla="*/ 386036 w 437801"/>
                    <a:gd name="connsiteY396" fmla="*/ 226697 h 315971"/>
                    <a:gd name="connsiteX397" fmla="*/ 388112 w 437801"/>
                    <a:gd name="connsiteY397" fmla="*/ 225834 h 315971"/>
                    <a:gd name="connsiteX398" fmla="*/ 388623 w 437801"/>
                    <a:gd name="connsiteY398" fmla="*/ 225616 h 315971"/>
                    <a:gd name="connsiteX399" fmla="*/ 389205 w 437801"/>
                    <a:gd name="connsiteY399" fmla="*/ 226102 h 315971"/>
                    <a:gd name="connsiteX400" fmla="*/ 389861 w 437801"/>
                    <a:gd name="connsiteY400" fmla="*/ 226648 h 315971"/>
                    <a:gd name="connsiteX401" fmla="*/ 390626 w 437801"/>
                    <a:gd name="connsiteY401" fmla="*/ 227000 h 315971"/>
                    <a:gd name="connsiteX402" fmla="*/ 392120 w 437801"/>
                    <a:gd name="connsiteY402" fmla="*/ 227668 h 315971"/>
                    <a:gd name="connsiteX403" fmla="*/ 394439 w 437801"/>
                    <a:gd name="connsiteY403" fmla="*/ 228712 h 315971"/>
                    <a:gd name="connsiteX404" fmla="*/ 396807 w 437801"/>
                    <a:gd name="connsiteY404" fmla="*/ 227789 h 315971"/>
                    <a:gd name="connsiteX405" fmla="*/ 399272 w 437801"/>
                    <a:gd name="connsiteY405" fmla="*/ 226830 h 315971"/>
                    <a:gd name="connsiteX406" fmla="*/ 401360 w 437801"/>
                    <a:gd name="connsiteY406" fmla="*/ 226017 h 315971"/>
                    <a:gd name="connsiteX407" fmla="*/ 402429 w 437801"/>
                    <a:gd name="connsiteY407" fmla="*/ 224037 h 315971"/>
                    <a:gd name="connsiteX408" fmla="*/ 403121 w 437801"/>
                    <a:gd name="connsiteY408" fmla="*/ 222750 h 315971"/>
                    <a:gd name="connsiteX409" fmla="*/ 403328 w 437801"/>
                    <a:gd name="connsiteY409" fmla="*/ 222361 h 315971"/>
                    <a:gd name="connsiteX410" fmla="*/ 403473 w 437801"/>
                    <a:gd name="connsiteY410" fmla="*/ 221961 h 315971"/>
                    <a:gd name="connsiteX411" fmla="*/ 405368 w 437801"/>
                    <a:gd name="connsiteY411" fmla="*/ 216739 h 315971"/>
                    <a:gd name="connsiteX412" fmla="*/ 405513 w 437801"/>
                    <a:gd name="connsiteY412" fmla="*/ 216363 h 315971"/>
                    <a:gd name="connsiteX413" fmla="*/ 405598 w 437801"/>
                    <a:gd name="connsiteY413" fmla="*/ 215974 h 315971"/>
                    <a:gd name="connsiteX414" fmla="*/ 405938 w 437801"/>
                    <a:gd name="connsiteY414" fmla="*/ 214420 h 315971"/>
                    <a:gd name="connsiteX415" fmla="*/ 406387 w 437801"/>
                    <a:gd name="connsiteY415" fmla="*/ 212380 h 315971"/>
                    <a:gd name="connsiteX416" fmla="*/ 405477 w 437801"/>
                    <a:gd name="connsiteY416" fmla="*/ 210486 h 315971"/>
                    <a:gd name="connsiteX417" fmla="*/ 404457 w 437801"/>
                    <a:gd name="connsiteY417" fmla="*/ 208361 h 315971"/>
                    <a:gd name="connsiteX418" fmla="*/ 403825 w 437801"/>
                    <a:gd name="connsiteY418" fmla="*/ 207037 h 315971"/>
                    <a:gd name="connsiteX419" fmla="*/ 402660 w 437801"/>
                    <a:gd name="connsiteY419" fmla="*/ 206151 h 315971"/>
                    <a:gd name="connsiteX420" fmla="*/ 401045 w 437801"/>
                    <a:gd name="connsiteY420" fmla="*/ 204924 h 315971"/>
                    <a:gd name="connsiteX421" fmla="*/ 400753 w 437801"/>
                    <a:gd name="connsiteY421" fmla="*/ 204694 h 315971"/>
                    <a:gd name="connsiteX422" fmla="*/ 400438 w 437801"/>
                    <a:gd name="connsiteY422" fmla="*/ 204511 h 315971"/>
                    <a:gd name="connsiteX423" fmla="*/ 399867 w 437801"/>
                    <a:gd name="connsiteY423" fmla="*/ 204184 h 315971"/>
                    <a:gd name="connsiteX424" fmla="*/ 399831 w 437801"/>
                    <a:gd name="connsiteY424" fmla="*/ 201706 h 315971"/>
                    <a:gd name="connsiteX425" fmla="*/ 399794 w 437801"/>
                    <a:gd name="connsiteY425" fmla="*/ 199897 h 315971"/>
                    <a:gd name="connsiteX426" fmla="*/ 398774 w 437801"/>
                    <a:gd name="connsiteY426" fmla="*/ 198391 h 315971"/>
                    <a:gd name="connsiteX427" fmla="*/ 397669 w 437801"/>
                    <a:gd name="connsiteY427" fmla="*/ 196776 h 315971"/>
                    <a:gd name="connsiteX428" fmla="*/ 397366 w 437801"/>
                    <a:gd name="connsiteY428" fmla="*/ 196315 h 315971"/>
                    <a:gd name="connsiteX429" fmla="*/ 396965 w 437801"/>
                    <a:gd name="connsiteY429" fmla="*/ 195914 h 315971"/>
                    <a:gd name="connsiteX430" fmla="*/ 392059 w 437801"/>
                    <a:gd name="connsiteY430" fmla="*/ 190972 h 315971"/>
                    <a:gd name="connsiteX431" fmla="*/ 361944 w 437801"/>
                    <a:gd name="connsiteY431" fmla="*/ 152843 h 315971"/>
                    <a:gd name="connsiteX432" fmla="*/ 358204 w 437801"/>
                    <a:gd name="connsiteY432" fmla="*/ 146833 h 315971"/>
                    <a:gd name="connsiteX433" fmla="*/ 357998 w 437801"/>
                    <a:gd name="connsiteY433" fmla="*/ 145873 h 315971"/>
                    <a:gd name="connsiteX434" fmla="*/ 359746 w 437801"/>
                    <a:gd name="connsiteY434" fmla="*/ 141672 h 315971"/>
                    <a:gd name="connsiteX435" fmla="*/ 360329 w 437801"/>
                    <a:gd name="connsiteY435" fmla="*/ 140275 h 315971"/>
                    <a:gd name="connsiteX436" fmla="*/ 360184 w 437801"/>
                    <a:gd name="connsiteY436" fmla="*/ 138770 h 315971"/>
                    <a:gd name="connsiteX437" fmla="*/ 359904 w 437801"/>
                    <a:gd name="connsiteY437" fmla="*/ 135782 h 315971"/>
                    <a:gd name="connsiteX438" fmla="*/ 359807 w 437801"/>
                    <a:gd name="connsiteY438" fmla="*/ 134847 h 315971"/>
                    <a:gd name="connsiteX439" fmla="*/ 359443 w 437801"/>
                    <a:gd name="connsiteY439" fmla="*/ 133985 h 315971"/>
                    <a:gd name="connsiteX440" fmla="*/ 358969 w 437801"/>
                    <a:gd name="connsiteY440" fmla="*/ 132844 h 315971"/>
                    <a:gd name="connsiteX441" fmla="*/ 358472 w 437801"/>
                    <a:gd name="connsiteY441" fmla="*/ 130136 h 315971"/>
                    <a:gd name="connsiteX442" fmla="*/ 358375 w 437801"/>
                    <a:gd name="connsiteY442" fmla="*/ 128569 h 315971"/>
                    <a:gd name="connsiteX443" fmla="*/ 358326 w 437801"/>
                    <a:gd name="connsiteY443" fmla="*/ 127817 h 315971"/>
                    <a:gd name="connsiteX444" fmla="*/ 358095 w 437801"/>
                    <a:gd name="connsiteY444" fmla="*/ 127100 h 315971"/>
                    <a:gd name="connsiteX445" fmla="*/ 357500 w 437801"/>
                    <a:gd name="connsiteY445" fmla="*/ 125230 h 315971"/>
                    <a:gd name="connsiteX446" fmla="*/ 357245 w 437801"/>
                    <a:gd name="connsiteY446" fmla="*/ 124417 h 315971"/>
                    <a:gd name="connsiteX447" fmla="*/ 356771 w 437801"/>
                    <a:gd name="connsiteY447" fmla="*/ 123700 h 315971"/>
                    <a:gd name="connsiteX448" fmla="*/ 355059 w 437801"/>
                    <a:gd name="connsiteY448" fmla="*/ 121150 h 315971"/>
                    <a:gd name="connsiteX449" fmla="*/ 354926 w 437801"/>
                    <a:gd name="connsiteY449" fmla="*/ 120810 h 315971"/>
                    <a:gd name="connsiteX450" fmla="*/ 354926 w 437801"/>
                    <a:gd name="connsiteY450" fmla="*/ 118855 h 315971"/>
                    <a:gd name="connsiteX451" fmla="*/ 355788 w 437801"/>
                    <a:gd name="connsiteY451" fmla="*/ 116609 h 315971"/>
                    <a:gd name="connsiteX452" fmla="*/ 357415 w 437801"/>
                    <a:gd name="connsiteY452" fmla="*/ 114302 h 315971"/>
                    <a:gd name="connsiteX453" fmla="*/ 359625 w 437801"/>
                    <a:gd name="connsiteY453" fmla="*/ 112383 h 315971"/>
                    <a:gd name="connsiteX454" fmla="*/ 366753 w 437801"/>
                    <a:gd name="connsiteY454" fmla="*/ 107623 h 315971"/>
                    <a:gd name="connsiteX455" fmla="*/ 367069 w 437801"/>
                    <a:gd name="connsiteY455" fmla="*/ 107404 h 315971"/>
                    <a:gd name="connsiteX456" fmla="*/ 367360 w 437801"/>
                    <a:gd name="connsiteY456" fmla="*/ 107149 h 315971"/>
                    <a:gd name="connsiteX457" fmla="*/ 370639 w 437801"/>
                    <a:gd name="connsiteY457" fmla="*/ 104308 h 315971"/>
                    <a:gd name="connsiteX458" fmla="*/ 371027 w 437801"/>
                    <a:gd name="connsiteY458" fmla="*/ 103968 h 315971"/>
                    <a:gd name="connsiteX459" fmla="*/ 371343 w 437801"/>
                    <a:gd name="connsiteY459" fmla="*/ 103567 h 315971"/>
                    <a:gd name="connsiteX460" fmla="*/ 377111 w 437801"/>
                    <a:gd name="connsiteY460" fmla="*/ 96524 h 315971"/>
                    <a:gd name="connsiteX461" fmla="*/ 378009 w 437801"/>
                    <a:gd name="connsiteY461" fmla="*/ 95954 h 315971"/>
                    <a:gd name="connsiteX462" fmla="*/ 383207 w 437801"/>
                    <a:gd name="connsiteY462" fmla="*/ 94436 h 315971"/>
                    <a:gd name="connsiteX463" fmla="*/ 385077 w 437801"/>
                    <a:gd name="connsiteY463" fmla="*/ 93901 h 315971"/>
                    <a:gd name="connsiteX464" fmla="*/ 385368 w 437801"/>
                    <a:gd name="connsiteY464" fmla="*/ 93901 h 315971"/>
                    <a:gd name="connsiteX465" fmla="*/ 388076 w 437801"/>
                    <a:gd name="connsiteY465" fmla="*/ 93901 h 315971"/>
                    <a:gd name="connsiteX466" fmla="*/ 389885 w 437801"/>
                    <a:gd name="connsiteY466" fmla="*/ 91886 h 315971"/>
                    <a:gd name="connsiteX467" fmla="*/ 390565 w 437801"/>
                    <a:gd name="connsiteY467" fmla="*/ 91133 h 315971"/>
                    <a:gd name="connsiteX468" fmla="*/ 391852 w 437801"/>
                    <a:gd name="connsiteY468" fmla="*/ 89688 h 315971"/>
                    <a:gd name="connsiteX469" fmla="*/ 392083 w 437801"/>
                    <a:gd name="connsiteY469" fmla="*/ 87757 h 315971"/>
                    <a:gd name="connsiteX470" fmla="*/ 392253 w 437801"/>
                    <a:gd name="connsiteY470" fmla="*/ 86312 h 315971"/>
                    <a:gd name="connsiteX471" fmla="*/ 393990 w 437801"/>
                    <a:gd name="connsiteY471" fmla="*/ 85729 h 315971"/>
                    <a:gd name="connsiteX472" fmla="*/ 395362 w 437801"/>
                    <a:gd name="connsiteY472" fmla="*/ 85256 h 315971"/>
                    <a:gd name="connsiteX473" fmla="*/ 396382 w 437801"/>
                    <a:gd name="connsiteY473" fmla="*/ 84223 h 315971"/>
                    <a:gd name="connsiteX474" fmla="*/ 397463 w 437801"/>
                    <a:gd name="connsiteY474" fmla="*/ 83118 h 315971"/>
                    <a:gd name="connsiteX475" fmla="*/ 398130 w 437801"/>
                    <a:gd name="connsiteY475" fmla="*/ 82451 h 315971"/>
                    <a:gd name="connsiteX476" fmla="*/ 398543 w 437801"/>
                    <a:gd name="connsiteY476" fmla="*/ 81613 h 315971"/>
                    <a:gd name="connsiteX477" fmla="*/ 399078 w 437801"/>
                    <a:gd name="connsiteY477" fmla="*/ 80556 h 315971"/>
                    <a:gd name="connsiteX478" fmla="*/ 399490 w 437801"/>
                    <a:gd name="connsiteY478" fmla="*/ 80435 h 315971"/>
                    <a:gd name="connsiteX479" fmla="*/ 400267 w 437801"/>
                    <a:gd name="connsiteY479" fmla="*/ 80216 h 315971"/>
                    <a:gd name="connsiteX480" fmla="*/ 400960 w 437801"/>
                    <a:gd name="connsiteY480" fmla="*/ 79791 h 315971"/>
                    <a:gd name="connsiteX481" fmla="*/ 402575 w 437801"/>
                    <a:gd name="connsiteY481" fmla="*/ 78820 h 315971"/>
                    <a:gd name="connsiteX482" fmla="*/ 403024 w 437801"/>
                    <a:gd name="connsiteY482" fmla="*/ 78553 h 315971"/>
                    <a:gd name="connsiteX483" fmla="*/ 403413 w 437801"/>
                    <a:gd name="connsiteY483" fmla="*/ 78213 h 315971"/>
                    <a:gd name="connsiteX484" fmla="*/ 407675 w 437801"/>
                    <a:gd name="connsiteY484" fmla="*/ 74533 h 315971"/>
                    <a:gd name="connsiteX485" fmla="*/ 437801 w 437801"/>
                    <a:gd name="connsiteY485" fmla="*/ 48499 h 315971"/>
                    <a:gd name="connsiteX486" fmla="*/ 401275 w 437801"/>
                    <a:gd name="connsiteY486" fmla="*/ 64370 h 315971"/>
                    <a:gd name="connsiteX487" fmla="*/ 395435 w 437801"/>
                    <a:gd name="connsiteY487" fmla="*/ 66908 h 315971"/>
                    <a:gd name="connsiteX488" fmla="*/ 392885 w 437801"/>
                    <a:gd name="connsiteY488" fmla="*/ 65645 h 315971"/>
                    <a:gd name="connsiteX489" fmla="*/ 376297 w 437801"/>
                    <a:gd name="connsiteY489" fmla="*/ 57363 h 315971"/>
                    <a:gd name="connsiteX490" fmla="*/ 375447 w 437801"/>
                    <a:gd name="connsiteY490" fmla="*/ 56938 h 315971"/>
                    <a:gd name="connsiteX491" fmla="*/ 374500 w 437801"/>
                    <a:gd name="connsiteY491" fmla="*/ 56793 h 315971"/>
                    <a:gd name="connsiteX492" fmla="*/ 361714 w 437801"/>
                    <a:gd name="connsiteY492" fmla="*/ 54838 h 315971"/>
                    <a:gd name="connsiteX493" fmla="*/ 357767 w 437801"/>
                    <a:gd name="connsiteY493" fmla="*/ 48802 h 315971"/>
                    <a:gd name="connsiteX494" fmla="*/ 356504 w 437801"/>
                    <a:gd name="connsiteY494" fmla="*/ 46872 h 315971"/>
                    <a:gd name="connsiteX495" fmla="*/ 354258 w 437801"/>
                    <a:gd name="connsiteY495" fmla="*/ 46265 h 315971"/>
                    <a:gd name="connsiteX496" fmla="*/ 345406 w 437801"/>
                    <a:gd name="connsiteY496" fmla="*/ 43885 h 315971"/>
                    <a:gd name="connsiteX497" fmla="*/ 344981 w 437801"/>
                    <a:gd name="connsiteY497" fmla="*/ 43775 h 315971"/>
                    <a:gd name="connsiteX498" fmla="*/ 344544 w 437801"/>
                    <a:gd name="connsiteY498" fmla="*/ 43727 h 315971"/>
                    <a:gd name="connsiteX499" fmla="*/ 336784 w 437801"/>
                    <a:gd name="connsiteY499" fmla="*/ 42804 h 315971"/>
                    <a:gd name="connsiteX500" fmla="*/ 331708 w 437801"/>
                    <a:gd name="connsiteY500" fmla="*/ 37327 h 315971"/>
                    <a:gd name="connsiteX501" fmla="*/ 321970 w 437801"/>
                    <a:gd name="connsiteY501" fmla="*/ 25707 h 315971"/>
                    <a:gd name="connsiteX502" fmla="*/ 320828 w 437801"/>
                    <a:gd name="connsiteY502" fmla="*/ 24347 h 315971"/>
                    <a:gd name="connsiteX503" fmla="*/ 319116 w 437801"/>
                    <a:gd name="connsiteY503" fmla="*/ 23812 h 315971"/>
                    <a:gd name="connsiteX504" fmla="*/ 312353 w 437801"/>
                    <a:gd name="connsiteY504" fmla="*/ 21712 h 315971"/>
                    <a:gd name="connsiteX505" fmla="*/ 306876 w 437801"/>
                    <a:gd name="connsiteY505" fmla="*/ 17802 h 315971"/>
                    <a:gd name="connsiteX506" fmla="*/ 297332 w 437801"/>
                    <a:gd name="connsiteY506" fmla="*/ 8597 h 315971"/>
                    <a:gd name="connsiteX507" fmla="*/ 290520 w 437801"/>
                    <a:gd name="connsiteY507" fmla="*/ 2526 h 315971"/>
                    <a:gd name="connsiteX508" fmla="*/ 287715 w 437801"/>
                    <a:gd name="connsiteY508" fmla="*/ 0 h 315971"/>
                    <a:gd name="connsiteX509" fmla="*/ 287715 w 437801"/>
                    <a:gd name="connsiteY509" fmla="*/ 0 h 31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Lst>
                  <a:rect l="l" t="t" r="r" b="b"/>
                  <a:pathLst>
                    <a:path w="437801" h="315971">
                      <a:moveTo>
                        <a:pt x="286537" y="7079"/>
                      </a:moveTo>
                      <a:lnTo>
                        <a:pt x="293179" y="12993"/>
                      </a:lnTo>
                      <a:lnTo>
                        <a:pt x="303039" y="22501"/>
                      </a:lnTo>
                      <a:lnTo>
                        <a:pt x="309669" y="27249"/>
                      </a:lnTo>
                      <a:lnTo>
                        <a:pt x="317368" y="29641"/>
                      </a:lnTo>
                      <a:lnTo>
                        <a:pt x="327289" y="41480"/>
                      </a:lnTo>
                      <a:lnTo>
                        <a:pt x="333882" y="48596"/>
                      </a:lnTo>
                      <a:lnTo>
                        <a:pt x="343864" y="49774"/>
                      </a:lnTo>
                      <a:lnTo>
                        <a:pt x="352716" y="52154"/>
                      </a:lnTo>
                      <a:lnTo>
                        <a:pt x="358144" y="60448"/>
                      </a:lnTo>
                      <a:lnTo>
                        <a:pt x="373602" y="62815"/>
                      </a:lnTo>
                      <a:lnTo>
                        <a:pt x="390189" y="71097"/>
                      </a:lnTo>
                      <a:lnTo>
                        <a:pt x="390189" y="75845"/>
                      </a:lnTo>
                      <a:lnTo>
                        <a:pt x="403716" y="69968"/>
                      </a:lnTo>
                      <a:lnTo>
                        <a:pt x="399454" y="73647"/>
                      </a:lnTo>
                      <a:lnTo>
                        <a:pt x="397839" y="74618"/>
                      </a:lnTo>
                      <a:lnTo>
                        <a:pt x="395835" y="75189"/>
                      </a:lnTo>
                      <a:lnTo>
                        <a:pt x="394621" y="75942"/>
                      </a:lnTo>
                      <a:lnTo>
                        <a:pt x="393128" y="78905"/>
                      </a:lnTo>
                      <a:lnTo>
                        <a:pt x="392047" y="80010"/>
                      </a:lnTo>
                      <a:lnTo>
                        <a:pt x="388307" y="81273"/>
                      </a:lnTo>
                      <a:lnTo>
                        <a:pt x="386995" y="82341"/>
                      </a:lnTo>
                      <a:lnTo>
                        <a:pt x="386352" y="84503"/>
                      </a:lnTo>
                      <a:lnTo>
                        <a:pt x="386060" y="87101"/>
                      </a:lnTo>
                      <a:lnTo>
                        <a:pt x="385380" y="87854"/>
                      </a:lnTo>
                      <a:lnTo>
                        <a:pt x="384227" y="87854"/>
                      </a:lnTo>
                      <a:lnTo>
                        <a:pt x="381507" y="88631"/>
                      </a:lnTo>
                      <a:lnTo>
                        <a:pt x="375496" y="90380"/>
                      </a:lnTo>
                      <a:lnTo>
                        <a:pt x="373031" y="91934"/>
                      </a:lnTo>
                      <a:lnTo>
                        <a:pt x="366656" y="99742"/>
                      </a:lnTo>
                      <a:lnTo>
                        <a:pt x="363377" y="102584"/>
                      </a:lnTo>
                      <a:lnTo>
                        <a:pt x="355921" y="107562"/>
                      </a:lnTo>
                      <a:lnTo>
                        <a:pt x="352874" y="110221"/>
                      </a:lnTo>
                      <a:lnTo>
                        <a:pt x="350409" y="113731"/>
                      </a:lnTo>
                      <a:lnTo>
                        <a:pt x="348855" y="117714"/>
                      </a:lnTo>
                      <a:lnTo>
                        <a:pt x="348855" y="121964"/>
                      </a:lnTo>
                      <a:lnTo>
                        <a:pt x="349643" y="123979"/>
                      </a:lnTo>
                      <a:lnTo>
                        <a:pt x="351708" y="127076"/>
                      </a:lnTo>
                      <a:lnTo>
                        <a:pt x="352303" y="128946"/>
                      </a:lnTo>
                      <a:lnTo>
                        <a:pt x="352424" y="130865"/>
                      </a:lnTo>
                      <a:lnTo>
                        <a:pt x="353104" y="134592"/>
                      </a:lnTo>
                      <a:lnTo>
                        <a:pt x="353857" y="136353"/>
                      </a:lnTo>
                      <a:lnTo>
                        <a:pt x="354137" y="139340"/>
                      </a:lnTo>
                      <a:lnTo>
                        <a:pt x="351672" y="145278"/>
                      </a:lnTo>
                      <a:lnTo>
                        <a:pt x="352473" y="149127"/>
                      </a:lnTo>
                      <a:lnTo>
                        <a:pt x="356954" y="156340"/>
                      </a:lnTo>
                      <a:lnTo>
                        <a:pt x="387505" y="195004"/>
                      </a:lnTo>
                      <a:lnTo>
                        <a:pt x="392666" y="200201"/>
                      </a:lnTo>
                      <a:lnTo>
                        <a:pt x="393771" y="201816"/>
                      </a:lnTo>
                      <a:lnTo>
                        <a:pt x="393832" y="205458"/>
                      </a:lnTo>
                      <a:lnTo>
                        <a:pt x="394342" y="207329"/>
                      </a:lnTo>
                      <a:lnTo>
                        <a:pt x="395702" y="208786"/>
                      </a:lnTo>
                      <a:lnTo>
                        <a:pt x="397390" y="209769"/>
                      </a:lnTo>
                      <a:lnTo>
                        <a:pt x="399005" y="210996"/>
                      </a:lnTo>
                      <a:lnTo>
                        <a:pt x="400025" y="213121"/>
                      </a:lnTo>
                      <a:lnTo>
                        <a:pt x="399685" y="214675"/>
                      </a:lnTo>
                      <a:lnTo>
                        <a:pt x="397791" y="219897"/>
                      </a:lnTo>
                      <a:lnTo>
                        <a:pt x="397098" y="221184"/>
                      </a:lnTo>
                      <a:lnTo>
                        <a:pt x="394633" y="222143"/>
                      </a:lnTo>
                      <a:lnTo>
                        <a:pt x="393139" y="221475"/>
                      </a:lnTo>
                      <a:lnTo>
                        <a:pt x="391646" y="220212"/>
                      </a:lnTo>
                      <a:lnTo>
                        <a:pt x="389254" y="219362"/>
                      </a:lnTo>
                      <a:lnTo>
                        <a:pt x="387347" y="219581"/>
                      </a:lnTo>
                      <a:lnTo>
                        <a:pt x="385805" y="220237"/>
                      </a:lnTo>
                      <a:lnTo>
                        <a:pt x="383729" y="221099"/>
                      </a:lnTo>
                      <a:lnTo>
                        <a:pt x="381907" y="221244"/>
                      </a:lnTo>
                      <a:lnTo>
                        <a:pt x="379770" y="220358"/>
                      </a:lnTo>
                      <a:lnTo>
                        <a:pt x="378337" y="218889"/>
                      </a:lnTo>
                      <a:lnTo>
                        <a:pt x="377014" y="217225"/>
                      </a:lnTo>
                      <a:lnTo>
                        <a:pt x="375350" y="215707"/>
                      </a:lnTo>
                      <a:lnTo>
                        <a:pt x="349522" y="204171"/>
                      </a:lnTo>
                      <a:lnTo>
                        <a:pt x="345260" y="200771"/>
                      </a:lnTo>
                      <a:lnTo>
                        <a:pt x="345078" y="197566"/>
                      </a:lnTo>
                      <a:lnTo>
                        <a:pt x="346863" y="194166"/>
                      </a:lnTo>
                      <a:lnTo>
                        <a:pt x="348405" y="190207"/>
                      </a:lnTo>
                      <a:lnTo>
                        <a:pt x="347324" y="188604"/>
                      </a:lnTo>
                      <a:lnTo>
                        <a:pt x="341289" y="183698"/>
                      </a:lnTo>
                      <a:lnTo>
                        <a:pt x="339104" y="181112"/>
                      </a:lnTo>
                      <a:lnTo>
                        <a:pt x="335206" y="174616"/>
                      </a:lnTo>
                      <a:lnTo>
                        <a:pt x="332789" y="172065"/>
                      </a:lnTo>
                      <a:lnTo>
                        <a:pt x="329511" y="169795"/>
                      </a:lnTo>
                      <a:lnTo>
                        <a:pt x="323026" y="166868"/>
                      </a:lnTo>
                      <a:lnTo>
                        <a:pt x="319468" y="165982"/>
                      </a:lnTo>
                      <a:lnTo>
                        <a:pt x="316081" y="165775"/>
                      </a:lnTo>
                      <a:lnTo>
                        <a:pt x="313955" y="166577"/>
                      </a:lnTo>
                      <a:lnTo>
                        <a:pt x="310847" y="169880"/>
                      </a:lnTo>
                      <a:lnTo>
                        <a:pt x="308904" y="170912"/>
                      </a:lnTo>
                      <a:lnTo>
                        <a:pt x="306548" y="171070"/>
                      </a:lnTo>
                      <a:lnTo>
                        <a:pt x="305237" y="170426"/>
                      </a:lnTo>
                      <a:lnTo>
                        <a:pt x="304071" y="169418"/>
                      </a:lnTo>
                      <a:lnTo>
                        <a:pt x="302420" y="168483"/>
                      </a:lnTo>
                      <a:lnTo>
                        <a:pt x="297247" y="167415"/>
                      </a:lnTo>
                      <a:lnTo>
                        <a:pt x="295231" y="169078"/>
                      </a:lnTo>
                      <a:lnTo>
                        <a:pt x="293628" y="172527"/>
                      </a:lnTo>
                      <a:lnTo>
                        <a:pt x="289840" y="176947"/>
                      </a:lnTo>
                      <a:lnTo>
                        <a:pt x="286962" y="178525"/>
                      </a:lnTo>
                      <a:lnTo>
                        <a:pt x="283015" y="179764"/>
                      </a:lnTo>
                      <a:lnTo>
                        <a:pt x="279117" y="180104"/>
                      </a:lnTo>
                      <a:lnTo>
                        <a:pt x="276240" y="179181"/>
                      </a:lnTo>
                      <a:lnTo>
                        <a:pt x="263659" y="178610"/>
                      </a:lnTo>
                      <a:lnTo>
                        <a:pt x="213946" y="186819"/>
                      </a:lnTo>
                      <a:lnTo>
                        <a:pt x="201136" y="192417"/>
                      </a:lnTo>
                      <a:lnTo>
                        <a:pt x="189709" y="200322"/>
                      </a:lnTo>
                      <a:lnTo>
                        <a:pt x="182472" y="209964"/>
                      </a:lnTo>
                      <a:lnTo>
                        <a:pt x="175635" y="222677"/>
                      </a:lnTo>
                      <a:lnTo>
                        <a:pt x="171555" y="228457"/>
                      </a:lnTo>
                      <a:lnTo>
                        <a:pt x="166334" y="233363"/>
                      </a:lnTo>
                      <a:lnTo>
                        <a:pt x="161222" y="235949"/>
                      </a:lnTo>
                      <a:lnTo>
                        <a:pt x="150609" y="237844"/>
                      </a:lnTo>
                      <a:lnTo>
                        <a:pt x="145545" y="239799"/>
                      </a:lnTo>
                      <a:lnTo>
                        <a:pt x="137519" y="249440"/>
                      </a:lnTo>
                      <a:lnTo>
                        <a:pt x="132698" y="257479"/>
                      </a:lnTo>
                      <a:lnTo>
                        <a:pt x="130804" y="259750"/>
                      </a:lnTo>
                      <a:lnTo>
                        <a:pt x="128339" y="260757"/>
                      </a:lnTo>
                      <a:lnTo>
                        <a:pt x="119729" y="261729"/>
                      </a:lnTo>
                      <a:lnTo>
                        <a:pt x="116742" y="262882"/>
                      </a:lnTo>
                      <a:lnTo>
                        <a:pt x="114666" y="265457"/>
                      </a:lnTo>
                      <a:lnTo>
                        <a:pt x="112832" y="270229"/>
                      </a:lnTo>
                      <a:lnTo>
                        <a:pt x="110549" y="274358"/>
                      </a:lnTo>
                      <a:lnTo>
                        <a:pt x="107441" y="275888"/>
                      </a:lnTo>
                      <a:lnTo>
                        <a:pt x="103652" y="275803"/>
                      </a:lnTo>
                      <a:lnTo>
                        <a:pt x="99353" y="275050"/>
                      </a:lnTo>
                      <a:lnTo>
                        <a:pt x="91533" y="276968"/>
                      </a:lnTo>
                      <a:lnTo>
                        <a:pt x="86482" y="283720"/>
                      </a:lnTo>
                      <a:lnTo>
                        <a:pt x="82183" y="292159"/>
                      </a:lnTo>
                      <a:lnTo>
                        <a:pt x="76670" y="298935"/>
                      </a:lnTo>
                      <a:lnTo>
                        <a:pt x="73343" y="300951"/>
                      </a:lnTo>
                      <a:lnTo>
                        <a:pt x="58930" y="305516"/>
                      </a:lnTo>
                      <a:lnTo>
                        <a:pt x="51984" y="308759"/>
                      </a:lnTo>
                      <a:lnTo>
                        <a:pt x="48535" y="309815"/>
                      </a:lnTo>
                      <a:lnTo>
                        <a:pt x="46010" y="309560"/>
                      </a:lnTo>
                      <a:lnTo>
                        <a:pt x="44795" y="309451"/>
                      </a:lnTo>
                      <a:lnTo>
                        <a:pt x="39112" y="283161"/>
                      </a:lnTo>
                      <a:cubicBezTo>
                        <a:pt x="38857" y="282773"/>
                        <a:pt x="38541" y="282336"/>
                        <a:pt x="38250" y="281898"/>
                      </a:cubicBezTo>
                      <a:cubicBezTo>
                        <a:pt x="35579" y="278000"/>
                        <a:pt x="31802" y="272512"/>
                        <a:pt x="30977" y="268687"/>
                      </a:cubicBezTo>
                      <a:cubicBezTo>
                        <a:pt x="30612" y="266987"/>
                        <a:pt x="30636" y="266537"/>
                        <a:pt x="30806" y="266537"/>
                      </a:cubicBezTo>
                      <a:cubicBezTo>
                        <a:pt x="31025" y="266537"/>
                        <a:pt x="31438" y="267145"/>
                        <a:pt x="31717" y="267145"/>
                      </a:cubicBezTo>
                      <a:cubicBezTo>
                        <a:pt x="31948" y="267145"/>
                        <a:pt x="32069" y="266708"/>
                        <a:pt x="31875" y="265105"/>
                      </a:cubicBezTo>
                      <a:cubicBezTo>
                        <a:pt x="31329" y="260818"/>
                        <a:pt x="28354" y="256932"/>
                        <a:pt x="26605" y="252937"/>
                      </a:cubicBezTo>
                      <a:cubicBezTo>
                        <a:pt x="25864" y="251225"/>
                        <a:pt x="24152" y="249331"/>
                        <a:pt x="22537" y="247425"/>
                      </a:cubicBezTo>
                      <a:cubicBezTo>
                        <a:pt x="22744" y="238900"/>
                        <a:pt x="22221" y="229866"/>
                        <a:pt x="11609" y="226769"/>
                      </a:cubicBezTo>
                      <a:cubicBezTo>
                        <a:pt x="10941" y="226575"/>
                        <a:pt x="10321" y="226551"/>
                        <a:pt x="9678" y="226429"/>
                      </a:cubicBezTo>
                      <a:lnTo>
                        <a:pt x="10273" y="225434"/>
                      </a:lnTo>
                      <a:cubicBezTo>
                        <a:pt x="19283" y="220649"/>
                        <a:pt x="26897" y="201973"/>
                        <a:pt x="36902" y="198233"/>
                      </a:cubicBezTo>
                      <a:cubicBezTo>
                        <a:pt x="40909" y="196740"/>
                        <a:pt x="45451" y="194931"/>
                        <a:pt x="49725" y="193255"/>
                      </a:cubicBezTo>
                      <a:cubicBezTo>
                        <a:pt x="55627" y="190887"/>
                        <a:pt x="55262" y="190122"/>
                        <a:pt x="58893" y="185180"/>
                      </a:cubicBezTo>
                      <a:cubicBezTo>
                        <a:pt x="61358" y="181816"/>
                        <a:pt x="64479" y="176971"/>
                        <a:pt x="67915" y="174421"/>
                      </a:cubicBezTo>
                      <a:cubicBezTo>
                        <a:pt x="72469" y="171058"/>
                        <a:pt x="76901" y="172284"/>
                        <a:pt x="82596" y="171155"/>
                      </a:cubicBezTo>
                      <a:cubicBezTo>
                        <a:pt x="89056" y="169855"/>
                        <a:pt x="94156" y="165945"/>
                        <a:pt x="100289" y="164027"/>
                      </a:cubicBezTo>
                      <a:cubicBezTo>
                        <a:pt x="102523" y="163335"/>
                        <a:pt x="104271" y="163116"/>
                        <a:pt x="105898" y="163116"/>
                      </a:cubicBezTo>
                      <a:cubicBezTo>
                        <a:pt x="108582" y="163116"/>
                        <a:pt x="110901" y="163748"/>
                        <a:pt x="114362" y="163978"/>
                      </a:cubicBezTo>
                      <a:cubicBezTo>
                        <a:pt x="115163" y="164027"/>
                        <a:pt x="115989" y="164063"/>
                        <a:pt x="116815" y="164063"/>
                      </a:cubicBezTo>
                      <a:cubicBezTo>
                        <a:pt x="127428" y="164063"/>
                        <a:pt x="138842" y="159655"/>
                        <a:pt x="146419" y="153548"/>
                      </a:cubicBezTo>
                      <a:cubicBezTo>
                        <a:pt x="153996" y="147391"/>
                        <a:pt x="162363" y="141295"/>
                        <a:pt x="168107" y="133633"/>
                      </a:cubicBezTo>
                      <a:cubicBezTo>
                        <a:pt x="178027" y="120458"/>
                        <a:pt x="163213" y="120506"/>
                        <a:pt x="151665" y="116208"/>
                      </a:cubicBezTo>
                      <a:cubicBezTo>
                        <a:pt x="137737" y="111023"/>
                        <a:pt x="129310" y="115297"/>
                        <a:pt x="128812" y="101964"/>
                      </a:cubicBezTo>
                      <a:cubicBezTo>
                        <a:pt x="128654" y="96391"/>
                        <a:pt x="124841" y="94302"/>
                        <a:pt x="124137" y="89639"/>
                      </a:cubicBezTo>
                      <a:cubicBezTo>
                        <a:pt x="121332" y="71498"/>
                        <a:pt x="159084" y="64868"/>
                        <a:pt x="149577" y="43545"/>
                      </a:cubicBezTo>
                      <a:cubicBezTo>
                        <a:pt x="147294" y="38445"/>
                        <a:pt x="143019" y="31778"/>
                        <a:pt x="137883" y="25767"/>
                      </a:cubicBezTo>
                      <a:lnTo>
                        <a:pt x="144270" y="23059"/>
                      </a:lnTo>
                      <a:lnTo>
                        <a:pt x="170681" y="12362"/>
                      </a:lnTo>
                      <a:lnTo>
                        <a:pt x="180663" y="11171"/>
                      </a:lnTo>
                      <a:lnTo>
                        <a:pt x="184997" y="13576"/>
                      </a:lnTo>
                      <a:lnTo>
                        <a:pt x="188325" y="19489"/>
                      </a:lnTo>
                      <a:lnTo>
                        <a:pt x="198258" y="26569"/>
                      </a:lnTo>
                      <a:lnTo>
                        <a:pt x="208191" y="31365"/>
                      </a:lnTo>
                      <a:lnTo>
                        <a:pt x="222471" y="25427"/>
                      </a:lnTo>
                      <a:lnTo>
                        <a:pt x="236933" y="25427"/>
                      </a:lnTo>
                      <a:lnTo>
                        <a:pt x="244656" y="20692"/>
                      </a:lnTo>
                      <a:lnTo>
                        <a:pt x="252330" y="21857"/>
                      </a:lnTo>
                      <a:lnTo>
                        <a:pt x="257855" y="13284"/>
                      </a:lnTo>
                      <a:lnTo>
                        <a:pt x="262299" y="11827"/>
                      </a:lnTo>
                      <a:lnTo>
                        <a:pt x="273240" y="16599"/>
                      </a:lnTo>
                      <a:lnTo>
                        <a:pt x="279870" y="15385"/>
                      </a:lnTo>
                      <a:lnTo>
                        <a:pt x="280963" y="9423"/>
                      </a:lnTo>
                      <a:lnTo>
                        <a:pt x="286537" y="7079"/>
                      </a:lnTo>
                      <a:moveTo>
                        <a:pt x="18870" y="241523"/>
                      </a:moveTo>
                      <a:cubicBezTo>
                        <a:pt x="18882" y="241523"/>
                        <a:pt x="18943" y="241705"/>
                        <a:pt x="19064" y="242130"/>
                      </a:cubicBezTo>
                      <a:cubicBezTo>
                        <a:pt x="19514" y="243769"/>
                        <a:pt x="20983" y="245591"/>
                        <a:pt x="22537" y="247412"/>
                      </a:cubicBezTo>
                      <a:cubicBezTo>
                        <a:pt x="22501" y="248821"/>
                        <a:pt x="22452" y="250205"/>
                        <a:pt x="22416" y="251565"/>
                      </a:cubicBezTo>
                      <a:cubicBezTo>
                        <a:pt x="22404" y="252124"/>
                        <a:pt x="22331" y="252379"/>
                        <a:pt x="22209" y="252379"/>
                      </a:cubicBezTo>
                      <a:cubicBezTo>
                        <a:pt x="21457" y="252379"/>
                        <a:pt x="18785" y="241523"/>
                        <a:pt x="18870" y="241523"/>
                      </a:cubicBezTo>
                      <a:moveTo>
                        <a:pt x="287715" y="0"/>
                      </a:moveTo>
                      <a:lnTo>
                        <a:pt x="284181" y="1494"/>
                      </a:lnTo>
                      <a:lnTo>
                        <a:pt x="278644" y="3825"/>
                      </a:lnTo>
                      <a:lnTo>
                        <a:pt x="275620" y="5100"/>
                      </a:lnTo>
                      <a:lnTo>
                        <a:pt x="275025" y="8330"/>
                      </a:lnTo>
                      <a:lnTo>
                        <a:pt x="274697" y="10164"/>
                      </a:lnTo>
                      <a:lnTo>
                        <a:pt x="274005" y="10285"/>
                      </a:lnTo>
                      <a:lnTo>
                        <a:pt x="264764" y="6254"/>
                      </a:lnTo>
                      <a:lnTo>
                        <a:pt x="262640" y="5331"/>
                      </a:lnTo>
                      <a:lnTo>
                        <a:pt x="260429" y="6059"/>
                      </a:lnTo>
                      <a:lnTo>
                        <a:pt x="255985" y="7517"/>
                      </a:lnTo>
                      <a:lnTo>
                        <a:pt x="253945" y="8184"/>
                      </a:lnTo>
                      <a:lnTo>
                        <a:pt x="252779" y="9994"/>
                      </a:lnTo>
                      <a:lnTo>
                        <a:pt x="249379" y="15264"/>
                      </a:lnTo>
                      <a:lnTo>
                        <a:pt x="245591" y="14693"/>
                      </a:lnTo>
                      <a:lnTo>
                        <a:pt x="243393" y="14353"/>
                      </a:lnTo>
                      <a:lnTo>
                        <a:pt x="241499" y="15519"/>
                      </a:lnTo>
                      <a:lnTo>
                        <a:pt x="235233" y="19356"/>
                      </a:lnTo>
                      <a:lnTo>
                        <a:pt x="222483" y="19356"/>
                      </a:lnTo>
                      <a:lnTo>
                        <a:pt x="221268" y="19356"/>
                      </a:lnTo>
                      <a:lnTo>
                        <a:pt x="220139" y="19829"/>
                      </a:lnTo>
                      <a:lnTo>
                        <a:pt x="208385" y="24723"/>
                      </a:lnTo>
                      <a:lnTo>
                        <a:pt x="201366" y="21335"/>
                      </a:lnTo>
                      <a:lnTo>
                        <a:pt x="192951" y="15337"/>
                      </a:lnTo>
                      <a:lnTo>
                        <a:pt x="190280" y="10601"/>
                      </a:lnTo>
                      <a:lnTo>
                        <a:pt x="189442" y="9095"/>
                      </a:lnTo>
                      <a:lnTo>
                        <a:pt x="187936" y="8257"/>
                      </a:lnTo>
                      <a:lnTo>
                        <a:pt x="183601" y="5853"/>
                      </a:lnTo>
                      <a:lnTo>
                        <a:pt x="181889" y="4906"/>
                      </a:lnTo>
                      <a:lnTo>
                        <a:pt x="179946" y="5137"/>
                      </a:lnTo>
                      <a:lnTo>
                        <a:pt x="169964" y="6326"/>
                      </a:lnTo>
                      <a:lnTo>
                        <a:pt x="169151" y="6424"/>
                      </a:lnTo>
                      <a:lnTo>
                        <a:pt x="168398" y="6727"/>
                      </a:lnTo>
                      <a:lnTo>
                        <a:pt x="141987" y="17425"/>
                      </a:lnTo>
                      <a:lnTo>
                        <a:pt x="135503" y="20169"/>
                      </a:lnTo>
                      <a:lnTo>
                        <a:pt x="127877" y="23399"/>
                      </a:lnTo>
                      <a:lnTo>
                        <a:pt x="133244" y="29714"/>
                      </a:lnTo>
                      <a:cubicBezTo>
                        <a:pt x="137725" y="34972"/>
                        <a:pt x="141866" y="41225"/>
                        <a:pt x="144027" y="46034"/>
                      </a:cubicBezTo>
                      <a:cubicBezTo>
                        <a:pt x="147014" y="52737"/>
                        <a:pt x="143274" y="56707"/>
                        <a:pt x="133402" y="64843"/>
                      </a:cubicBezTo>
                      <a:cubicBezTo>
                        <a:pt x="125400" y="71425"/>
                        <a:pt x="116317" y="78881"/>
                        <a:pt x="118126" y="90574"/>
                      </a:cubicBezTo>
                      <a:cubicBezTo>
                        <a:pt x="118612" y="93816"/>
                        <a:pt x="119996" y="96136"/>
                        <a:pt x="121114" y="98018"/>
                      </a:cubicBezTo>
                      <a:cubicBezTo>
                        <a:pt x="122182" y="99791"/>
                        <a:pt x="122692" y="100701"/>
                        <a:pt x="122729" y="102134"/>
                      </a:cubicBezTo>
                      <a:cubicBezTo>
                        <a:pt x="123263" y="116293"/>
                        <a:pt x="132176" y="117957"/>
                        <a:pt x="139352" y="119304"/>
                      </a:cubicBezTo>
                      <a:cubicBezTo>
                        <a:pt x="142352" y="119863"/>
                        <a:pt x="145752" y="120506"/>
                        <a:pt x="149540" y="121903"/>
                      </a:cubicBezTo>
                      <a:cubicBezTo>
                        <a:pt x="152090" y="122850"/>
                        <a:pt x="154786" y="123615"/>
                        <a:pt x="157385" y="124332"/>
                      </a:cubicBezTo>
                      <a:cubicBezTo>
                        <a:pt x="159922" y="125036"/>
                        <a:pt x="163589" y="126056"/>
                        <a:pt x="165107" y="126954"/>
                      </a:cubicBezTo>
                      <a:cubicBezTo>
                        <a:pt x="164865" y="127513"/>
                        <a:pt x="164367" y="128497"/>
                        <a:pt x="163250" y="129990"/>
                      </a:cubicBezTo>
                      <a:cubicBezTo>
                        <a:pt x="158890" y="135807"/>
                        <a:pt x="152491" y="140907"/>
                        <a:pt x="146310" y="145837"/>
                      </a:cubicBezTo>
                      <a:lnTo>
                        <a:pt x="142570" y="148836"/>
                      </a:lnTo>
                      <a:cubicBezTo>
                        <a:pt x="135697" y="154397"/>
                        <a:pt x="125570" y="157992"/>
                        <a:pt x="116791" y="157992"/>
                      </a:cubicBezTo>
                      <a:cubicBezTo>
                        <a:pt x="116098" y="157992"/>
                        <a:pt x="115418" y="157968"/>
                        <a:pt x="114738" y="157919"/>
                      </a:cubicBezTo>
                      <a:cubicBezTo>
                        <a:pt x="113354" y="157834"/>
                        <a:pt x="112152" y="157664"/>
                        <a:pt x="111047" y="157506"/>
                      </a:cubicBezTo>
                      <a:cubicBezTo>
                        <a:pt x="109262" y="157251"/>
                        <a:pt x="107623" y="157045"/>
                        <a:pt x="105862" y="157045"/>
                      </a:cubicBezTo>
                      <a:cubicBezTo>
                        <a:pt x="103433" y="157045"/>
                        <a:pt x="101078" y="157421"/>
                        <a:pt x="98467" y="158222"/>
                      </a:cubicBezTo>
                      <a:cubicBezTo>
                        <a:pt x="95358" y="159206"/>
                        <a:pt x="92650" y="160518"/>
                        <a:pt x="90040" y="161805"/>
                      </a:cubicBezTo>
                      <a:cubicBezTo>
                        <a:pt x="87077" y="163250"/>
                        <a:pt x="84272" y="164622"/>
                        <a:pt x="81370" y="165205"/>
                      </a:cubicBezTo>
                      <a:cubicBezTo>
                        <a:pt x="79767" y="165520"/>
                        <a:pt x="78273" y="165605"/>
                        <a:pt x="76865" y="165702"/>
                      </a:cubicBezTo>
                      <a:cubicBezTo>
                        <a:pt x="73064" y="165958"/>
                        <a:pt x="68753" y="166237"/>
                        <a:pt x="64284" y="169540"/>
                      </a:cubicBezTo>
                      <a:cubicBezTo>
                        <a:pt x="60654" y="172236"/>
                        <a:pt x="57654" y="176437"/>
                        <a:pt x="55250" y="179813"/>
                      </a:cubicBezTo>
                      <a:lnTo>
                        <a:pt x="53975" y="181586"/>
                      </a:lnTo>
                      <a:cubicBezTo>
                        <a:pt x="53307" y="182496"/>
                        <a:pt x="52761" y="183273"/>
                        <a:pt x="52287" y="183953"/>
                      </a:cubicBezTo>
                      <a:cubicBezTo>
                        <a:pt x="50624" y="186346"/>
                        <a:pt x="50624" y="186346"/>
                        <a:pt x="47454" y="187621"/>
                      </a:cubicBezTo>
                      <a:lnTo>
                        <a:pt x="44674" y="188713"/>
                      </a:lnTo>
                      <a:cubicBezTo>
                        <a:pt x="41310" y="190037"/>
                        <a:pt x="37874" y="191385"/>
                        <a:pt x="34777" y="192538"/>
                      </a:cubicBezTo>
                      <a:cubicBezTo>
                        <a:pt x="27747" y="195173"/>
                        <a:pt x="22501" y="202216"/>
                        <a:pt x="17437" y="209016"/>
                      </a:cubicBezTo>
                      <a:cubicBezTo>
                        <a:pt x="13977" y="213667"/>
                        <a:pt x="10394" y="218476"/>
                        <a:pt x="7419" y="220066"/>
                      </a:cubicBezTo>
                      <a:lnTo>
                        <a:pt x="5914" y="220856"/>
                      </a:lnTo>
                      <a:lnTo>
                        <a:pt x="5051" y="222313"/>
                      </a:lnTo>
                      <a:lnTo>
                        <a:pt x="4456" y="223309"/>
                      </a:lnTo>
                      <a:lnTo>
                        <a:pt x="0" y="230801"/>
                      </a:lnTo>
                      <a:lnTo>
                        <a:pt x="8573" y="232392"/>
                      </a:lnTo>
                      <a:lnTo>
                        <a:pt x="9556" y="232537"/>
                      </a:lnTo>
                      <a:cubicBezTo>
                        <a:pt x="11803" y="233169"/>
                        <a:pt x="13369" y="234043"/>
                        <a:pt x="14450" y="235452"/>
                      </a:cubicBezTo>
                      <a:lnTo>
                        <a:pt x="12798" y="235452"/>
                      </a:lnTo>
                      <a:lnTo>
                        <a:pt x="12798" y="241523"/>
                      </a:lnTo>
                      <a:cubicBezTo>
                        <a:pt x="12798" y="241693"/>
                        <a:pt x="13952" y="258450"/>
                        <a:pt x="22209" y="258450"/>
                      </a:cubicBezTo>
                      <a:cubicBezTo>
                        <a:pt x="22319" y="258450"/>
                        <a:pt x="22440" y="258450"/>
                        <a:pt x="22537" y="258438"/>
                      </a:cubicBezTo>
                      <a:cubicBezTo>
                        <a:pt x="22780" y="258875"/>
                        <a:pt x="22999" y="259300"/>
                        <a:pt x="23242" y="259725"/>
                      </a:cubicBezTo>
                      <a:cubicBezTo>
                        <a:pt x="24019" y="261170"/>
                        <a:pt x="24784" y="262567"/>
                        <a:pt x="25282" y="263842"/>
                      </a:cubicBezTo>
                      <a:cubicBezTo>
                        <a:pt x="24164" y="266040"/>
                        <a:pt x="24674" y="268359"/>
                        <a:pt x="25026" y="269974"/>
                      </a:cubicBezTo>
                      <a:cubicBezTo>
                        <a:pt x="25986" y="274516"/>
                        <a:pt x="29252" y="279518"/>
                        <a:pt x="33077" y="285116"/>
                      </a:cubicBezTo>
                      <a:lnTo>
                        <a:pt x="33405" y="285602"/>
                      </a:lnTo>
                      <a:lnTo>
                        <a:pt x="38833" y="310726"/>
                      </a:lnTo>
                      <a:lnTo>
                        <a:pt x="39768" y="315073"/>
                      </a:lnTo>
                      <a:lnTo>
                        <a:pt x="44188" y="315486"/>
                      </a:lnTo>
                      <a:lnTo>
                        <a:pt x="45402" y="315595"/>
                      </a:lnTo>
                      <a:lnTo>
                        <a:pt x="47867" y="315850"/>
                      </a:lnTo>
                      <a:lnTo>
                        <a:pt x="49106" y="315971"/>
                      </a:lnTo>
                      <a:lnTo>
                        <a:pt x="50296" y="315607"/>
                      </a:lnTo>
                      <a:lnTo>
                        <a:pt x="53732" y="314551"/>
                      </a:lnTo>
                      <a:lnTo>
                        <a:pt x="54133" y="314429"/>
                      </a:lnTo>
                      <a:lnTo>
                        <a:pt x="54509" y="314247"/>
                      </a:lnTo>
                      <a:lnTo>
                        <a:pt x="61103" y="311175"/>
                      </a:lnTo>
                      <a:lnTo>
                        <a:pt x="75140" y="306731"/>
                      </a:lnTo>
                      <a:lnTo>
                        <a:pt x="75833" y="306512"/>
                      </a:lnTo>
                      <a:lnTo>
                        <a:pt x="76452" y="306136"/>
                      </a:lnTo>
                      <a:lnTo>
                        <a:pt x="79779" y="304120"/>
                      </a:lnTo>
                      <a:lnTo>
                        <a:pt x="80677" y="303573"/>
                      </a:lnTo>
                      <a:lnTo>
                        <a:pt x="81345" y="302760"/>
                      </a:lnTo>
                      <a:lnTo>
                        <a:pt x="86858" y="295984"/>
                      </a:lnTo>
                      <a:lnTo>
                        <a:pt x="87259" y="295474"/>
                      </a:lnTo>
                      <a:lnTo>
                        <a:pt x="87550" y="294903"/>
                      </a:lnTo>
                      <a:lnTo>
                        <a:pt x="91618" y="286925"/>
                      </a:lnTo>
                      <a:lnTo>
                        <a:pt x="95055" y="282336"/>
                      </a:lnTo>
                      <a:lnTo>
                        <a:pt x="99523" y="281243"/>
                      </a:lnTo>
                      <a:lnTo>
                        <a:pt x="102571" y="281777"/>
                      </a:lnTo>
                      <a:lnTo>
                        <a:pt x="103020" y="281850"/>
                      </a:lnTo>
                      <a:lnTo>
                        <a:pt x="103482" y="281862"/>
                      </a:lnTo>
                      <a:lnTo>
                        <a:pt x="107271" y="281947"/>
                      </a:lnTo>
                      <a:lnTo>
                        <a:pt x="108752" y="281971"/>
                      </a:lnTo>
                      <a:lnTo>
                        <a:pt x="110076" y="281316"/>
                      </a:lnTo>
                      <a:lnTo>
                        <a:pt x="113184" y="279785"/>
                      </a:lnTo>
                      <a:lnTo>
                        <a:pt x="114896" y="278948"/>
                      </a:lnTo>
                      <a:lnTo>
                        <a:pt x="115819" y="277284"/>
                      </a:lnTo>
                      <a:lnTo>
                        <a:pt x="118102" y="273156"/>
                      </a:lnTo>
                      <a:lnTo>
                        <a:pt x="118308" y="272779"/>
                      </a:lnTo>
                      <a:lnTo>
                        <a:pt x="118466" y="272390"/>
                      </a:lnTo>
                      <a:lnTo>
                        <a:pt x="119960" y="268505"/>
                      </a:lnTo>
                      <a:lnTo>
                        <a:pt x="120421" y="267934"/>
                      </a:lnTo>
                      <a:lnTo>
                        <a:pt x="121162" y="267655"/>
                      </a:lnTo>
                      <a:lnTo>
                        <a:pt x="128994" y="266780"/>
                      </a:lnTo>
                      <a:lnTo>
                        <a:pt x="129832" y="266683"/>
                      </a:lnTo>
                      <a:lnTo>
                        <a:pt x="130609" y="266368"/>
                      </a:lnTo>
                      <a:lnTo>
                        <a:pt x="133074" y="265360"/>
                      </a:lnTo>
                      <a:lnTo>
                        <a:pt x="134459" y="264789"/>
                      </a:lnTo>
                      <a:lnTo>
                        <a:pt x="135430" y="263635"/>
                      </a:lnTo>
                      <a:lnTo>
                        <a:pt x="137324" y="261365"/>
                      </a:lnTo>
                      <a:lnTo>
                        <a:pt x="137616" y="261000"/>
                      </a:lnTo>
                      <a:lnTo>
                        <a:pt x="137871" y="260600"/>
                      </a:lnTo>
                      <a:lnTo>
                        <a:pt x="142461" y="252962"/>
                      </a:lnTo>
                      <a:lnTo>
                        <a:pt x="149176" y="244887"/>
                      </a:lnTo>
                      <a:lnTo>
                        <a:pt x="152236" y="243709"/>
                      </a:lnTo>
                      <a:lnTo>
                        <a:pt x="162266" y="241924"/>
                      </a:lnTo>
                      <a:lnTo>
                        <a:pt x="163140" y="241766"/>
                      </a:lnTo>
                      <a:lnTo>
                        <a:pt x="163942" y="241353"/>
                      </a:lnTo>
                      <a:lnTo>
                        <a:pt x="169042" y="238767"/>
                      </a:lnTo>
                      <a:lnTo>
                        <a:pt x="169819" y="238378"/>
                      </a:lnTo>
                      <a:lnTo>
                        <a:pt x="170463" y="237783"/>
                      </a:lnTo>
                      <a:lnTo>
                        <a:pt x="175684" y="232877"/>
                      </a:lnTo>
                      <a:lnTo>
                        <a:pt x="176121" y="232452"/>
                      </a:lnTo>
                      <a:lnTo>
                        <a:pt x="176473" y="231942"/>
                      </a:lnTo>
                      <a:lnTo>
                        <a:pt x="180553" y="226162"/>
                      </a:lnTo>
                      <a:lnTo>
                        <a:pt x="180772" y="225871"/>
                      </a:lnTo>
                      <a:lnTo>
                        <a:pt x="180954" y="225543"/>
                      </a:lnTo>
                      <a:lnTo>
                        <a:pt x="187584" y="213230"/>
                      </a:lnTo>
                      <a:lnTo>
                        <a:pt x="193947" y="204742"/>
                      </a:lnTo>
                      <a:lnTo>
                        <a:pt x="204074" y="197736"/>
                      </a:lnTo>
                      <a:lnTo>
                        <a:pt x="215646" y="192672"/>
                      </a:lnTo>
                      <a:lnTo>
                        <a:pt x="263975" y="184694"/>
                      </a:lnTo>
                      <a:lnTo>
                        <a:pt x="275122" y="185204"/>
                      </a:lnTo>
                      <a:lnTo>
                        <a:pt x="277235" y="185884"/>
                      </a:lnTo>
                      <a:lnTo>
                        <a:pt x="278401" y="186261"/>
                      </a:lnTo>
                      <a:lnTo>
                        <a:pt x="279627" y="186151"/>
                      </a:lnTo>
                      <a:lnTo>
                        <a:pt x="283525" y="185811"/>
                      </a:lnTo>
                      <a:lnTo>
                        <a:pt x="284181" y="185750"/>
                      </a:lnTo>
                      <a:lnTo>
                        <a:pt x="284812" y="185556"/>
                      </a:lnTo>
                      <a:lnTo>
                        <a:pt x="288759" y="184318"/>
                      </a:lnTo>
                      <a:lnTo>
                        <a:pt x="289342" y="184136"/>
                      </a:lnTo>
                      <a:lnTo>
                        <a:pt x="289864" y="183844"/>
                      </a:lnTo>
                      <a:lnTo>
                        <a:pt x="292742" y="182266"/>
                      </a:lnTo>
                      <a:lnTo>
                        <a:pt x="293713" y="181743"/>
                      </a:lnTo>
                      <a:lnTo>
                        <a:pt x="294430" y="180906"/>
                      </a:lnTo>
                      <a:lnTo>
                        <a:pt x="298218" y="176485"/>
                      </a:lnTo>
                      <a:lnTo>
                        <a:pt x="298777" y="175854"/>
                      </a:lnTo>
                      <a:lnTo>
                        <a:pt x="299117" y="175089"/>
                      </a:lnTo>
                      <a:lnTo>
                        <a:pt x="299578" y="174105"/>
                      </a:lnTo>
                      <a:lnTo>
                        <a:pt x="300246" y="174239"/>
                      </a:lnTo>
                      <a:lnTo>
                        <a:pt x="300526" y="174409"/>
                      </a:lnTo>
                      <a:lnTo>
                        <a:pt x="301242" y="175016"/>
                      </a:lnTo>
                      <a:lnTo>
                        <a:pt x="301837" y="175526"/>
                      </a:lnTo>
                      <a:lnTo>
                        <a:pt x="302541" y="175866"/>
                      </a:lnTo>
                      <a:lnTo>
                        <a:pt x="303853" y="176510"/>
                      </a:lnTo>
                      <a:lnTo>
                        <a:pt x="305322" y="177226"/>
                      </a:lnTo>
                      <a:lnTo>
                        <a:pt x="306949" y="177117"/>
                      </a:lnTo>
                      <a:lnTo>
                        <a:pt x="309305" y="176959"/>
                      </a:lnTo>
                      <a:lnTo>
                        <a:pt x="310592" y="176874"/>
                      </a:lnTo>
                      <a:lnTo>
                        <a:pt x="311733" y="176267"/>
                      </a:lnTo>
                      <a:lnTo>
                        <a:pt x="313676" y="175235"/>
                      </a:lnTo>
                      <a:lnTo>
                        <a:pt x="314563" y="174761"/>
                      </a:lnTo>
                      <a:lnTo>
                        <a:pt x="315255" y="174033"/>
                      </a:lnTo>
                      <a:lnTo>
                        <a:pt x="317234" y="171920"/>
                      </a:lnTo>
                      <a:lnTo>
                        <a:pt x="318521" y="171993"/>
                      </a:lnTo>
                      <a:lnTo>
                        <a:pt x="321010" y="172612"/>
                      </a:lnTo>
                      <a:lnTo>
                        <a:pt x="326487" y="175089"/>
                      </a:lnTo>
                      <a:lnTo>
                        <a:pt x="328782" y="176680"/>
                      </a:lnTo>
                      <a:lnTo>
                        <a:pt x="330312" y="178295"/>
                      </a:lnTo>
                      <a:lnTo>
                        <a:pt x="333870" y="184221"/>
                      </a:lnTo>
                      <a:lnTo>
                        <a:pt x="334125" y="184646"/>
                      </a:lnTo>
                      <a:lnTo>
                        <a:pt x="334441" y="185022"/>
                      </a:lnTo>
                      <a:lnTo>
                        <a:pt x="336626" y="187608"/>
                      </a:lnTo>
                      <a:lnTo>
                        <a:pt x="336991" y="188046"/>
                      </a:lnTo>
                      <a:lnTo>
                        <a:pt x="337428" y="188410"/>
                      </a:lnTo>
                      <a:lnTo>
                        <a:pt x="341326" y="191567"/>
                      </a:lnTo>
                      <a:lnTo>
                        <a:pt x="341289" y="191628"/>
                      </a:lnTo>
                      <a:lnTo>
                        <a:pt x="339662" y="194724"/>
                      </a:lnTo>
                      <a:lnTo>
                        <a:pt x="338885" y="196218"/>
                      </a:lnTo>
                      <a:lnTo>
                        <a:pt x="338982" y="197893"/>
                      </a:lnTo>
                      <a:lnTo>
                        <a:pt x="339164" y="201099"/>
                      </a:lnTo>
                      <a:lnTo>
                        <a:pt x="339322" y="203807"/>
                      </a:lnTo>
                      <a:lnTo>
                        <a:pt x="341435" y="205507"/>
                      </a:lnTo>
                      <a:lnTo>
                        <a:pt x="345697" y="208907"/>
                      </a:lnTo>
                      <a:lnTo>
                        <a:pt x="346304" y="209393"/>
                      </a:lnTo>
                      <a:lnTo>
                        <a:pt x="347021" y="209709"/>
                      </a:lnTo>
                      <a:lnTo>
                        <a:pt x="371962" y="220844"/>
                      </a:lnTo>
                      <a:lnTo>
                        <a:pt x="372545" y="221378"/>
                      </a:lnTo>
                      <a:lnTo>
                        <a:pt x="373577" y="222665"/>
                      </a:lnTo>
                      <a:lnTo>
                        <a:pt x="375411" y="224584"/>
                      </a:lnTo>
                      <a:lnTo>
                        <a:pt x="376273" y="225482"/>
                      </a:lnTo>
                      <a:lnTo>
                        <a:pt x="377427" y="225956"/>
                      </a:lnTo>
                      <a:lnTo>
                        <a:pt x="379564" y="226842"/>
                      </a:lnTo>
                      <a:lnTo>
                        <a:pt x="380912" y="227401"/>
                      </a:lnTo>
                      <a:lnTo>
                        <a:pt x="382357" y="227292"/>
                      </a:lnTo>
                      <a:lnTo>
                        <a:pt x="384178" y="227146"/>
                      </a:lnTo>
                      <a:lnTo>
                        <a:pt x="385150" y="227073"/>
                      </a:lnTo>
                      <a:lnTo>
                        <a:pt x="386036" y="226697"/>
                      </a:lnTo>
                      <a:lnTo>
                        <a:pt x="388112" y="225834"/>
                      </a:lnTo>
                      <a:lnTo>
                        <a:pt x="388623" y="225616"/>
                      </a:lnTo>
                      <a:lnTo>
                        <a:pt x="389205" y="226102"/>
                      </a:lnTo>
                      <a:lnTo>
                        <a:pt x="389861" y="226648"/>
                      </a:lnTo>
                      <a:lnTo>
                        <a:pt x="390626" y="227000"/>
                      </a:lnTo>
                      <a:lnTo>
                        <a:pt x="392120" y="227668"/>
                      </a:lnTo>
                      <a:lnTo>
                        <a:pt x="394439" y="228712"/>
                      </a:lnTo>
                      <a:lnTo>
                        <a:pt x="396807" y="227789"/>
                      </a:lnTo>
                      <a:lnTo>
                        <a:pt x="399272" y="226830"/>
                      </a:lnTo>
                      <a:lnTo>
                        <a:pt x="401360" y="226017"/>
                      </a:lnTo>
                      <a:lnTo>
                        <a:pt x="402429" y="224037"/>
                      </a:lnTo>
                      <a:lnTo>
                        <a:pt x="403121" y="222750"/>
                      </a:lnTo>
                      <a:lnTo>
                        <a:pt x="403328" y="222361"/>
                      </a:lnTo>
                      <a:lnTo>
                        <a:pt x="403473" y="221961"/>
                      </a:lnTo>
                      <a:lnTo>
                        <a:pt x="405368" y="216739"/>
                      </a:lnTo>
                      <a:lnTo>
                        <a:pt x="405513" y="216363"/>
                      </a:lnTo>
                      <a:lnTo>
                        <a:pt x="405598" y="215974"/>
                      </a:lnTo>
                      <a:lnTo>
                        <a:pt x="405938" y="214420"/>
                      </a:lnTo>
                      <a:lnTo>
                        <a:pt x="406387" y="212380"/>
                      </a:lnTo>
                      <a:lnTo>
                        <a:pt x="405477" y="210486"/>
                      </a:lnTo>
                      <a:lnTo>
                        <a:pt x="404457" y="208361"/>
                      </a:lnTo>
                      <a:lnTo>
                        <a:pt x="403825" y="207037"/>
                      </a:lnTo>
                      <a:lnTo>
                        <a:pt x="402660" y="206151"/>
                      </a:lnTo>
                      <a:lnTo>
                        <a:pt x="401045" y="204924"/>
                      </a:lnTo>
                      <a:lnTo>
                        <a:pt x="400753" y="204694"/>
                      </a:lnTo>
                      <a:lnTo>
                        <a:pt x="400438" y="204511"/>
                      </a:lnTo>
                      <a:lnTo>
                        <a:pt x="399867" y="204184"/>
                      </a:lnTo>
                      <a:lnTo>
                        <a:pt x="399831" y="201706"/>
                      </a:lnTo>
                      <a:lnTo>
                        <a:pt x="399794" y="199897"/>
                      </a:lnTo>
                      <a:lnTo>
                        <a:pt x="398774" y="198391"/>
                      </a:lnTo>
                      <a:lnTo>
                        <a:pt x="397669" y="196776"/>
                      </a:lnTo>
                      <a:lnTo>
                        <a:pt x="397366" y="196315"/>
                      </a:lnTo>
                      <a:lnTo>
                        <a:pt x="396965" y="195914"/>
                      </a:lnTo>
                      <a:lnTo>
                        <a:pt x="392059" y="190972"/>
                      </a:lnTo>
                      <a:lnTo>
                        <a:pt x="361944" y="152843"/>
                      </a:lnTo>
                      <a:lnTo>
                        <a:pt x="358204" y="146833"/>
                      </a:lnTo>
                      <a:lnTo>
                        <a:pt x="357998" y="145873"/>
                      </a:lnTo>
                      <a:lnTo>
                        <a:pt x="359746" y="141672"/>
                      </a:lnTo>
                      <a:lnTo>
                        <a:pt x="360329" y="140275"/>
                      </a:lnTo>
                      <a:lnTo>
                        <a:pt x="360184" y="138770"/>
                      </a:lnTo>
                      <a:lnTo>
                        <a:pt x="359904" y="135782"/>
                      </a:lnTo>
                      <a:lnTo>
                        <a:pt x="359807" y="134847"/>
                      </a:lnTo>
                      <a:lnTo>
                        <a:pt x="359443" y="133985"/>
                      </a:lnTo>
                      <a:lnTo>
                        <a:pt x="358969" y="132844"/>
                      </a:lnTo>
                      <a:lnTo>
                        <a:pt x="358472" y="130136"/>
                      </a:lnTo>
                      <a:lnTo>
                        <a:pt x="358375" y="128569"/>
                      </a:lnTo>
                      <a:lnTo>
                        <a:pt x="358326" y="127817"/>
                      </a:lnTo>
                      <a:lnTo>
                        <a:pt x="358095" y="127100"/>
                      </a:lnTo>
                      <a:lnTo>
                        <a:pt x="357500" y="125230"/>
                      </a:lnTo>
                      <a:lnTo>
                        <a:pt x="357245" y="124417"/>
                      </a:lnTo>
                      <a:lnTo>
                        <a:pt x="356771" y="123700"/>
                      </a:lnTo>
                      <a:lnTo>
                        <a:pt x="355059" y="121150"/>
                      </a:lnTo>
                      <a:lnTo>
                        <a:pt x="354926" y="120810"/>
                      </a:lnTo>
                      <a:lnTo>
                        <a:pt x="354926" y="118855"/>
                      </a:lnTo>
                      <a:lnTo>
                        <a:pt x="355788" y="116609"/>
                      </a:lnTo>
                      <a:lnTo>
                        <a:pt x="357415" y="114302"/>
                      </a:lnTo>
                      <a:lnTo>
                        <a:pt x="359625" y="112383"/>
                      </a:lnTo>
                      <a:lnTo>
                        <a:pt x="366753" y="107623"/>
                      </a:lnTo>
                      <a:lnTo>
                        <a:pt x="367069" y="107404"/>
                      </a:lnTo>
                      <a:lnTo>
                        <a:pt x="367360" y="107149"/>
                      </a:lnTo>
                      <a:lnTo>
                        <a:pt x="370639" y="104308"/>
                      </a:lnTo>
                      <a:lnTo>
                        <a:pt x="371027" y="103968"/>
                      </a:lnTo>
                      <a:lnTo>
                        <a:pt x="371343" y="103567"/>
                      </a:lnTo>
                      <a:lnTo>
                        <a:pt x="377111" y="96524"/>
                      </a:lnTo>
                      <a:lnTo>
                        <a:pt x="378009" y="95954"/>
                      </a:lnTo>
                      <a:lnTo>
                        <a:pt x="383207" y="94436"/>
                      </a:lnTo>
                      <a:lnTo>
                        <a:pt x="385077" y="93901"/>
                      </a:lnTo>
                      <a:lnTo>
                        <a:pt x="385368" y="93901"/>
                      </a:lnTo>
                      <a:lnTo>
                        <a:pt x="388076" y="93901"/>
                      </a:lnTo>
                      <a:lnTo>
                        <a:pt x="389885" y="91886"/>
                      </a:lnTo>
                      <a:lnTo>
                        <a:pt x="390565" y="91133"/>
                      </a:lnTo>
                      <a:lnTo>
                        <a:pt x="391852" y="89688"/>
                      </a:lnTo>
                      <a:lnTo>
                        <a:pt x="392083" y="87757"/>
                      </a:lnTo>
                      <a:lnTo>
                        <a:pt x="392253" y="86312"/>
                      </a:lnTo>
                      <a:lnTo>
                        <a:pt x="393990" y="85729"/>
                      </a:lnTo>
                      <a:lnTo>
                        <a:pt x="395362" y="85256"/>
                      </a:lnTo>
                      <a:lnTo>
                        <a:pt x="396382" y="84223"/>
                      </a:lnTo>
                      <a:lnTo>
                        <a:pt x="397463" y="83118"/>
                      </a:lnTo>
                      <a:lnTo>
                        <a:pt x="398130" y="82451"/>
                      </a:lnTo>
                      <a:lnTo>
                        <a:pt x="398543" y="81613"/>
                      </a:lnTo>
                      <a:lnTo>
                        <a:pt x="399078" y="80556"/>
                      </a:lnTo>
                      <a:lnTo>
                        <a:pt x="399490" y="80435"/>
                      </a:lnTo>
                      <a:lnTo>
                        <a:pt x="400267" y="80216"/>
                      </a:lnTo>
                      <a:lnTo>
                        <a:pt x="400960" y="79791"/>
                      </a:lnTo>
                      <a:lnTo>
                        <a:pt x="402575" y="78820"/>
                      </a:lnTo>
                      <a:lnTo>
                        <a:pt x="403024" y="78553"/>
                      </a:lnTo>
                      <a:lnTo>
                        <a:pt x="403413" y="78213"/>
                      </a:lnTo>
                      <a:lnTo>
                        <a:pt x="407675" y="74533"/>
                      </a:lnTo>
                      <a:lnTo>
                        <a:pt x="437801" y="48499"/>
                      </a:lnTo>
                      <a:lnTo>
                        <a:pt x="401275" y="64370"/>
                      </a:lnTo>
                      <a:lnTo>
                        <a:pt x="395435" y="66908"/>
                      </a:lnTo>
                      <a:lnTo>
                        <a:pt x="392885" y="65645"/>
                      </a:lnTo>
                      <a:lnTo>
                        <a:pt x="376297" y="57363"/>
                      </a:lnTo>
                      <a:lnTo>
                        <a:pt x="375447" y="56938"/>
                      </a:lnTo>
                      <a:lnTo>
                        <a:pt x="374500" y="56793"/>
                      </a:lnTo>
                      <a:lnTo>
                        <a:pt x="361714" y="54838"/>
                      </a:lnTo>
                      <a:lnTo>
                        <a:pt x="357767" y="48802"/>
                      </a:lnTo>
                      <a:lnTo>
                        <a:pt x="356504" y="46872"/>
                      </a:lnTo>
                      <a:lnTo>
                        <a:pt x="354258" y="46265"/>
                      </a:lnTo>
                      <a:lnTo>
                        <a:pt x="345406" y="43885"/>
                      </a:lnTo>
                      <a:lnTo>
                        <a:pt x="344981" y="43775"/>
                      </a:lnTo>
                      <a:lnTo>
                        <a:pt x="344544" y="43727"/>
                      </a:lnTo>
                      <a:lnTo>
                        <a:pt x="336784" y="42804"/>
                      </a:lnTo>
                      <a:lnTo>
                        <a:pt x="331708" y="37327"/>
                      </a:lnTo>
                      <a:lnTo>
                        <a:pt x="321970" y="25707"/>
                      </a:lnTo>
                      <a:lnTo>
                        <a:pt x="320828" y="24347"/>
                      </a:lnTo>
                      <a:lnTo>
                        <a:pt x="319116" y="23812"/>
                      </a:lnTo>
                      <a:lnTo>
                        <a:pt x="312353" y="21712"/>
                      </a:lnTo>
                      <a:lnTo>
                        <a:pt x="306876" y="17802"/>
                      </a:lnTo>
                      <a:lnTo>
                        <a:pt x="297332" y="8597"/>
                      </a:lnTo>
                      <a:lnTo>
                        <a:pt x="290520" y="2526"/>
                      </a:lnTo>
                      <a:lnTo>
                        <a:pt x="287715" y="0"/>
                      </a:lnTo>
                      <a:lnTo>
                        <a:pt x="287715" y="0"/>
                      </a:lnTo>
                      <a:close/>
                    </a:path>
                  </a:pathLst>
                </a:custGeom>
                <a:solidFill>
                  <a:srgbClr val="FFFFFF"/>
                </a:solidFill>
                <a:ln w="12138" cap="flat">
                  <a:noFill/>
                  <a:prstDash val="solid"/>
                  <a:miter/>
                </a:ln>
              </p:spPr>
              <p:txBody>
                <a:bodyPr rtlCol="0" anchor="ctr"/>
                <a:lstStyle/>
                <a:p>
                  <a:endParaRPr lang="en-US"/>
                </a:p>
              </p:txBody>
            </p:sp>
          </p:grpSp>
        </p:grpSp>
        <p:pic>
          <p:nvPicPr>
            <p:cNvPr id="242" name="Disputed_Territories">
              <a:extLst>
                <a:ext uri="{FF2B5EF4-FFF2-40B4-BE49-F238E27FC236}">
                  <a16:creationId xmlns:a16="http://schemas.microsoft.com/office/drawing/2014/main" id="{66749AD2-9A73-43E3-91AF-6B89DC218C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51696" y="651512"/>
              <a:ext cx="5488608" cy="6035040"/>
            </a:xfrm>
            <a:prstGeom prst="rect">
              <a:avLst/>
            </a:prstGeom>
          </p:spPr>
        </p:pic>
      </p:grpSp>
    </p:spTree>
    <p:extLst>
      <p:ext uri="{BB962C8B-B14F-4D97-AF65-F5344CB8AC3E}">
        <p14:creationId xmlns:p14="http://schemas.microsoft.com/office/powerpoint/2010/main" val="1627147932"/>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descr="Add text and order accordingly">
            <a:hlinkClick r:id="rId2" action="ppaction://hlinksldjump" tooltip="Return to Index"/>
            <a:extLst>
              <a:ext uri="{FF2B5EF4-FFF2-40B4-BE49-F238E27FC236}">
                <a16:creationId xmlns:a16="http://schemas.microsoft.com/office/drawing/2014/main" id="{0DE3F75C-CF1B-47BB-A358-FF97AF03C85D}"/>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itle 6">
            <a:extLst>
              <a:ext uri="{FF2B5EF4-FFF2-40B4-BE49-F238E27FC236}">
                <a16:creationId xmlns:a16="http://schemas.microsoft.com/office/drawing/2014/main" id="{F7C4124B-B9D5-4FB9-AA46-3262DD2B40DB}"/>
              </a:ext>
            </a:extLst>
          </p:cNvPr>
          <p:cNvSpPr>
            <a:spLocks noGrp="1"/>
          </p:cNvSpPr>
          <p:nvPr>
            <p:ph type="title"/>
          </p:nvPr>
        </p:nvSpPr>
        <p:spPr/>
        <p:txBody>
          <a:bodyPr/>
          <a:lstStyle/>
          <a:p>
            <a:r>
              <a:rPr lang="en-US" dirty="0"/>
              <a:t>Project Management</a:t>
            </a:r>
          </a:p>
        </p:txBody>
      </p:sp>
      <p:sp>
        <p:nvSpPr>
          <p:cNvPr id="9" name="Text Placeholder 8">
            <a:extLst>
              <a:ext uri="{FF2B5EF4-FFF2-40B4-BE49-F238E27FC236}">
                <a16:creationId xmlns:a16="http://schemas.microsoft.com/office/drawing/2014/main" id="{1265ADBE-657A-4DC7-A6A6-2F0E697C4723}"/>
              </a:ext>
            </a:extLst>
          </p:cNvPr>
          <p:cNvSpPr>
            <a:spLocks noGrp="1"/>
          </p:cNvSpPr>
          <p:nvPr>
            <p:ph type="body" sz="quarter" idx="15"/>
          </p:nvPr>
        </p:nvSpPr>
        <p:spPr/>
        <p:txBody>
          <a:bodyPr/>
          <a:lstStyle/>
          <a:p>
            <a:r>
              <a:rPr lang="en-US" dirty="0"/>
              <a:t>Part of </a:t>
            </a:r>
            <a:br>
              <a:rPr lang="en-US" dirty="0"/>
            </a:br>
            <a:r>
              <a:rPr lang="en-US" dirty="0">
                <a:hlinkClick r:id="rId3" action="ppaction://hlinksldjump">
                  <a:extLst>
                    <a:ext uri="{A12FA001-AC4F-418D-AE19-62706E023703}">
                      <ahyp:hlinkClr xmlns:ahyp="http://schemas.microsoft.com/office/drawing/2018/hyperlinkcolor" val="tx"/>
                    </a:ext>
                  </a:extLst>
                </a:hlinkClick>
              </a:rPr>
              <a:t>Standard Visuals</a:t>
            </a:r>
            <a:endParaRPr lang="en-US" dirty="0"/>
          </a:p>
        </p:txBody>
      </p:sp>
      <p:sp>
        <p:nvSpPr>
          <p:cNvPr id="5" name="Footer Placeholder 4">
            <a:extLst>
              <a:ext uri="{FF2B5EF4-FFF2-40B4-BE49-F238E27FC236}">
                <a16:creationId xmlns:a16="http://schemas.microsoft.com/office/drawing/2014/main" id="{9DC78945-A645-4563-BCA9-927812C9C4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BEE2891-AE3F-4D8A-B562-5662B242B3DF}"/>
              </a:ext>
            </a:extLst>
          </p:cNvPr>
          <p:cNvSpPr>
            <a:spLocks noGrp="1"/>
          </p:cNvSpPr>
          <p:nvPr>
            <p:ph type="sldNum" sz="quarter" idx="17"/>
          </p:nvPr>
        </p:nvSpPr>
        <p:spPr/>
        <p:txBody>
          <a:bodyPr/>
          <a:lstStyle/>
          <a:p>
            <a:fld id="{1F90F471-3972-4120-B8B3-0237DE626C35}" type="slidenum">
              <a:rPr lang="en-US" smtClean="0"/>
              <a:pPr/>
              <a:t>369</a:t>
            </a:fld>
            <a:endParaRPr lang="en-US" dirty="0"/>
          </a:p>
        </p:txBody>
      </p:sp>
    </p:spTree>
    <p:extLst>
      <p:ext uri="{BB962C8B-B14F-4D97-AF65-F5344CB8AC3E}">
        <p14:creationId xmlns:p14="http://schemas.microsoft.com/office/powerpoint/2010/main" val="392087331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descr="Agenda title">
            <a:extLst>
              <a:ext uri="{FF2B5EF4-FFF2-40B4-BE49-F238E27FC236}">
                <a16:creationId xmlns:a16="http://schemas.microsoft.com/office/drawing/2014/main" id="{651DC24B-AB70-4983-B766-42BF4110C6AA}"/>
              </a:ext>
            </a:extLst>
          </p:cNvPr>
          <p:cNvSpPr>
            <a:spLocks noGrp="1"/>
          </p:cNvSpPr>
          <p:nvPr>
            <p:ph type="title"/>
          </p:nvPr>
        </p:nvSpPr>
        <p:spPr>
          <a:xfrm>
            <a:off x="381002" y="1371601"/>
            <a:ext cx="3267011" cy="810399"/>
          </a:xfrm>
        </p:spPr>
        <p:txBody>
          <a:bodyPr/>
          <a:lstStyle/>
          <a:p>
            <a:r>
              <a:rPr lang="en-GB"/>
              <a:t>Agenda title</a:t>
            </a:r>
            <a:endParaRPr lang="en-US" dirty="0"/>
          </a:p>
        </p:txBody>
      </p:sp>
      <p:sp>
        <p:nvSpPr>
          <p:cNvPr id="2" name="Text Placeholder 1" descr="Agenda Subtitle">
            <a:extLst>
              <a:ext uri="{FF2B5EF4-FFF2-40B4-BE49-F238E27FC236}">
                <a16:creationId xmlns:a16="http://schemas.microsoft.com/office/drawing/2014/main" id="{0D56783D-2F75-40DC-AF61-234BA5EA06AC}"/>
              </a:ext>
            </a:extLst>
          </p:cNvPr>
          <p:cNvSpPr>
            <a:spLocks noGrp="1"/>
          </p:cNvSpPr>
          <p:nvPr>
            <p:ph type="body" sz="quarter" idx="14"/>
          </p:nvPr>
        </p:nvSpPr>
        <p:spPr>
          <a:xfrm>
            <a:off x="381001" y="2182000"/>
            <a:ext cx="3267012" cy="2699330"/>
          </a:xfrm>
        </p:spPr>
        <p:txBody>
          <a:bodyPr/>
          <a:lstStyle/>
          <a:p>
            <a:r>
              <a:rPr lang="en-US" dirty="0"/>
              <a:t>Place agenda summary here in GT Sectra Fine </a:t>
            </a:r>
            <a:r>
              <a:rPr lang="en-US" dirty="0" err="1"/>
              <a:t>Rg</a:t>
            </a:r>
            <a:r>
              <a:rPr lang="en-US" dirty="0"/>
              <a:t> 24pt</a:t>
            </a:r>
          </a:p>
        </p:txBody>
      </p:sp>
      <p:sp>
        <p:nvSpPr>
          <p:cNvPr id="13" name="Text Placeholder 12" descr="No. 1">
            <a:extLst>
              <a:ext uri="{FF2B5EF4-FFF2-40B4-BE49-F238E27FC236}">
                <a16:creationId xmlns:a16="http://schemas.microsoft.com/office/drawing/2014/main" id="{4EECF1EB-FE9A-4395-9803-48D1366F41A2}"/>
              </a:ext>
            </a:extLst>
          </p:cNvPr>
          <p:cNvSpPr>
            <a:spLocks noGrp="1"/>
          </p:cNvSpPr>
          <p:nvPr>
            <p:ph type="body" sz="quarter" idx="31"/>
          </p:nvPr>
        </p:nvSpPr>
        <p:spPr>
          <a:xfrm>
            <a:off x="4426242" y="1371600"/>
            <a:ext cx="405128" cy="485340"/>
          </a:xfrm>
        </p:spPr>
        <p:txBody>
          <a:bodyPr/>
          <a:lstStyle/>
          <a:p>
            <a:r>
              <a:rPr lang="en-GB" dirty="0"/>
              <a:t>##</a:t>
            </a:r>
            <a:endParaRPr lang="en-US" dirty="0"/>
          </a:p>
        </p:txBody>
      </p:sp>
      <p:sp>
        <p:nvSpPr>
          <p:cNvPr id="5" name="Text Placeholder 4" descr="Agenda Item 1">
            <a:extLst>
              <a:ext uri="{FF2B5EF4-FFF2-40B4-BE49-F238E27FC236}">
                <a16:creationId xmlns:a16="http://schemas.microsoft.com/office/drawing/2014/main" id="{CE422875-EDAA-48FF-A282-26952DB0C58F}"/>
              </a:ext>
            </a:extLst>
          </p:cNvPr>
          <p:cNvSpPr>
            <a:spLocks noGrp="1"/>
          </p:cNvSpPr>
          <p:nvPr>
            <p:ph type="body" sz="quarter" idx="16"/>
          </p:nvPr>
        </p:nvSpPr>
        <p:spPr>
          <a:xfrm>
            <a:off x="4966971" y="1371600"/>
            <a:ext cx="2953039" cy="485340"/>
          </a:xfrm>
        </p:spPr>
        <p:txBody>
          <a:bodyPr/>
          <a:lstStyle/>
          <a:p>
            <a:r>
              <a:rPr lang="en-GB" dirty="0"/>
              <a:t>Agenda item</a:t>
            </a:r>
            <a:endParaRPr lang="en-US" dirty="0"/>
          </a:p>
        </p:txBody>
      </p:sp>
      <p:sp>
        <p:nvSpPr>
          <p:cNvPr id="14" name="Text Placeholder 13" descr="No. 2">
            <a:extLst>
              <a:ext uri="{FF2B5EF4-FFF2-40B4-BE49-F238E27FC236}">
                <a16:creationId xmlns:a16="http://schemas.microsoft.com/office/drawing/2014/main" id="{325A2794-9D7F-4F8A-B659-3126A5AE36E3}"/>
              </a:ext>
            </a:extLst>
          </p:cNvPr>
          <p:cNvSpPr>
            <a:spLocks noGrp="1"/>
          </p:cNvSpPr>
          <p:nvPr>
            <p:ph type="body" sz="quarter" idx="32"/>
          </p:nvPr>
        </p:nvSpPr>
        <p:spPr>
          <a:xfrm>
            <a:off x="4426242" y="1976478"/>
            <a:ext cx="405128" cy="485340"/>
          </a:xfrm>
        </p:spPr>
        <p:txBody>
          <a:bodyPr/>
          <a:lstStyle/>
          <a:p>
            <a:pPr lvl="0"/>
            <a:r>
              <a:rPr lang="en-GB"/>
              <a:t>##</a:t>
            </a:r>
            <a:endParaRPr lang="en-US" dirty="0"/>
          </a:p>
        </p:txBody>
      </p:sp>
      <p:sp>
        <p:nvSpPr>
          <p:cNvPr id="6" name="Text Placeholder 5" descr="Agenda Item 2">
            <a:extLst>
              <a:ext uri="{FF2B5EF4-FFF2-40B4-BE49-F238E27FC236}">
                <a16:creationId xmlns:a16="http://schemas.microsoft.com/office/drawing/2014/main" id="{75C65787-9125-4790-B3F2-CF1B59158F48}"/>
              </a:ext>
            </a:extLst>
          </p:cNvPr>
          <p:cNvSpPr>
            <a:spLocks noGrp="1"/>
          </p:cNvSpPr>
          <p:nvPr>
            <p:ph type="body" sz="quarter" idx="18"/>
          </p:nvPr>
        </p:nvSpPr>
        <p:spPr>
          <a:xfrm>
            <a:off x="4966971" y="1976478"/>
            <a:ext cx="2953039" cy="485340"/>
          </a:xfrm>
        </p:spPr>
        <p:txBody>
          <a:bodyPr/>
          <a:lstStyle/>
          <a:p>
            <a:r>
              <a:rPr lang="en-GB" dirty="0"/>
              <a:t>Agenda item</a:t>
            </a:r>
            <a:endParaRPr lang="en-US" dirty="0"/>
          </a:p>
        </p:txBody>
      </p:sp>
      <p:sp>
        <p:nvSpPr>
          <p:cNvPr id="15" name="Text Placeholder 14" descr="No. 3">
            <a:extLst>
              <a:ext uri="{FF2B5EF4-FFF2-40B4-BE49-F238E27FC236}">
                <a16:creationId xmlns:a16="http://schemas.microsoft.com/office/drawing/2014/main" id="{304C0A50-C2E5-47D6-A07E-8078A7EADE10}"/>
              </a:ext>
            </a:extLst>
          </p:cNvPr>
          <p:cNvSpPr>
            <a:spLocks noGrp="1"/>
          </p:cNvSpPr>
          <p:nvPr>
            <p:ph type="body" sz="quarter" idx="33"/>
          </p:nvPr>
        </p:nvSpPr>
        <p:spPr>
          <a:xfrm>
            <a:off x="4426242" y="2581356"/>
            <a:ext cx="405128" cy="485340"/>
          </a:xfrm>
        </p:spPr>
        <p:txBody>
          <a:bodyPr/>
          <a:lstStyle/>
          <a:p>
            <a:pPr lvl="0"/>
            <a:r>
              <a:rPr lang="en-GB"/>
              <a:t>##</a:t>
            </a:r>
            <a:endParaRPr lang="en-US" dirty="0"/>
          </a:p>
        </p:txBody>
      </p:sp>
      <p:sp>
        <p:nvSpPr>
          <p:cNvPr id="7" name="Text Placeholder 6" descr="Agenda Item 3">
            <a:extLst>
              <a:ext uri="{FF2B5EF4-FFF2-40B4-BE49-F238E27FC236}">
                <a16:creationId xmlns:a16="http://schemas.microsoft.com/office/drawing/2014/main" id="{91845080-64D9-4192-98A6-69D53C705628}"/>
              </a:ext>
            </a:extLst>
          </p:cNvPr>
          <p:cNvSpPr>
            <a:spLocks noGrp="1"/>
          </p:cNvSpPr>
          <p:nvPr>
            <p:ph type="body" sz="quarter" idx="20"/>
          </p:nvPr>
        </p:nvSpPr>
        <p:spPr>
          <a:xfrm>
            <a:off x="4966971" y="2581356"/>
            <a:ext cx="2953039" cy="485340"/>
          </a:xfrm>
        </p:spPr>
        <p:txBody>
          <a:bodyPr/>
          <a:lstStyle/>
          <a:p>
            <a:r>
              <a:rPr lang="en-GB"/>
              <a:t>Agenda item</a:t>
            </a:r>
            <a:endParaRPr lang="en-US" dirty="0"/>
          </a:p>
        </p:txBody>
      </p:sp>
      <p:sp>
        <p:nvSpPr>
          <p:cNvPr id="16" name="Text Placeholder 15" descr="No. 4">
            <a:extLst>
              <a:ext uri="{FF2B5EF4-FFF2-40B4-BE49-F238E27FC236}">
                <a16:creationId xmlns:a16="http://schemas.microsoft.com/office/drawing/2014/main" id="{E9921B81-A763-4EA2-AC60-D1AEB3C65E43}"/>
              </a:ext>
            </a:extLst>
          </p:cNvPr>
          <p:cNvSpPr>
            <a:spLocks noGrp="1"/>
          </p:cNvSpPr>
          <p:nvPr>
            <p:ph type="body" sz="quarter" idx="34"/>
          </p:nvPr>
        </p:nvSpPr>
        <p:spPr>
          <a:xfrm>
            <a:off x="4426242" y="3186234"/>
            <a:ext cx="405128" cy="485340"/>
          </a:xfrm>
        </p:spPr>
        <p:txBody>
          <a:bodyPr/>
          <a:lstStyle/>
          <a:p>
            <a:pPr lvl="0"/>
            <a:r>
              <a:rPr lang="en-GB"/>
              <a:t>##</a:t>
            </a:r>
            <a:endParaRPr lang="en-US" dirty="0"/>
          </a:p>
        </p:txBody>
      </p:sp>
      <p:sp>
        <p:nvSpPr>
          <p:cNvPr id="8" name="Text Placeholder 7" descr="Agenda Item 4">
            <a:extLst>
              <a:ext uri="{FF2B5EF4-FFF2-40B4-BE49-F238E27FC236}">
                <a16:creationId xmlns:a16="http://schemas.microsoft.com/office/drawing/2014/main" id="{500B9542-3140-4DAC-81AA-3DECE8BBA013}"/>
              </a:ext>
            </a:extLst>
          </p:cNvPr>
          <p:cNvSpPr>
            <a:spLocks noGrp="1"/>
          </p:cNvSpPr>
          <p:nvPr>
            <p:ph type="body" sz="quarter" idx="22"/>
          </p:nvPr>
        </p:nvSpPr>
        <p:spPr>
          <a:xfrm>
            <a:off x="4966971" y="3186234"/>
            <a:ext cx="2953039" cy="485340"/>
          </a:xfrm>
        </p:spPr>
        <p:txBody>
          <a:bodyPr/>
          <a:lstStyle/>
          <a:p>
            <a:r>
              <a:rPr lang="en-GB"/>
              <a:t>Agenda item</a:t>
            </a:r>
            <a:endParaRPr lang="en-US" dirty="0"/>
          </a:p>
        </p:txBody>
      </p:sp>
      <p:sp>
        <p:nvSpPr>
          <p:cNvPr id="17" name="Text Placeholder 16" descr="No. 5">
            <a:extLst>
              <a:ext uri="{FF2B5EF4-FFF2-40B4-BE49-F238E27FC236}">
                <a16:creationId xmlns:a16="http://schemas.microsoft.com/office/drawing/2014/main" id="{C4FFBA75-22E6-402C-AEB3-C41D3882CCB5}"/>
              </a:ext>
            </a:extLst>
          </p:cNvPr>
          <p:cNvSpPr>
            <a:spLocks noGrp="1"/>
          </p:cNvSpPr>
          <p:nvPr>
            <p:ph type="body" sz="quarter" idx="35"/>
          </p:nvPr>
        </p:nvSpPr>
        <p:spPr>
          <a:xfrm>
            <a:off x="4426242" y="3791112"/>
            <a:ext cx="405128" cy="485340"/>
          </a:xfrm>
        </p:spPr>
        <p:txBody>
          <a:bodyPr/>
          <a:lstStyle/>
          <a:p>
            <a:pPr lvl="0"/>
            <a:r>
              <a:rPr lang="en-GB"/>
              <a:t>##</a:t>
            </a:r>
            <a:endParaRPr lang="en-US" dirty="0"/>
          </a:p>
        </p:txBody>
      </p:sp>
      <p:sp>
        <p:nvSpPr>
          <p:cNvPr id="9" name="Text Placeholder 8" descr="Agenda Item 5">
            <a:extLst>
              <a:ext uri="{FF2B5EF4-FFF2-40B4-BE49-F238E27FC236}">
                <a16:creationId xmlns:a16="http://schemas.microsoft.com/office/drawing/2014/main" id="{B9C70C9F-B466-4D01-A087-327C9CEBA3EB}"/>
              </a:ext>
            </a:extLst>
          </p:cNvPr>
          <p:cNvSpPr>
            <a:spLocks noGrp="1"/>
          </p:cNvSpPr>
          <p:nvPr>
            <p:ph type="body" sz="quarter" idx="24"/>
          </p:nvPr>
        </p:nvSpPr>
        <p:spPr>
          <a:xfrm>
            <a:off x="4966971" y="3791112"/>
            <a:ext cx="2953039" cy="485340"/>
          </a:xfrm>
        </p:spPr>
        <p:txBody>
          <a:bodyPr/>
          <a:lstStyle/>
          <a:p>
            <a:r>
              <a:rPr lang="en-GB"/>
              <a:t>Agenda item</a:t>
            </a:r>
            <a:endParaRPr lang="en-US" dirty="0"/>
          </a:p>
        </p:txBody>
      </p:sp>
      <p:sp>
        <p:nvSpPr>
          <p:cNvPr id="18" name="Text Placeholder 17" descr="No. 6">
            <a:extLst>
              <a:ext uri="{FF2B5EF4-FFF2-40B4-BE49-F238E27FC236}">
                <a16:creationId xmlns:a16="http://schemas.microsoft.com/office/drawing/2014/main" id="{4280AB87-8516-4AC1-804E-704DD95DF304}"/>
              </a:ext>
            </a:extLst>
          </p:cNvPr>
          <p:cNvSpPr>
            <a:spLocks noGrp="1"/>
          </p:cNvSpPr>
          <p:nvPr>
            <p:ph type="body" sz="quarter" idx="36"/>
          </p:nvPr>
        </p:nvSpPr>
        <p:spPr>
          <a:xfrm>
            <a:off x="4426242" y="4395990"/>
            <a:ext cx="405128" cy="485340"/>
          </a:xfrm>
        </p:spPr>
        <p:txBody>
          <a:bodyPr/>
          <a:lstStyle/>
          <a:p>
            <a:pPr lvl="0"/>
            <a:r>
              <a:rPr lang="en-GB"/>
              <a:t>##</a:t>
            </a:r>
            <a:endParaRPr lang="en-US" dirty="0"/>
          </a:p>
        </p:txBody>
      </p:sp>
      <p:sp>
        <p:nvSpPr>
          <p:cNvPr id="10" name="Text Placeholder 9" descr="Agenda Item 6">
            <a:extLst>
              <a:ext uri="{FF2B5EF4-FFF2-40B4-BE49-F238E27FC236}">
                <a16:creationId xmlns:a16="http://schemas.microsoft.com/office/drawing/2014/main" id="{957E685F-2D7B-47FC-B5C9-F7D7083B14BB}"/>
              </a:ext>
            </a:extLst>
          </p:cNvPr>
          <p:cNvSpPr>
            <a:spLocks noGrp="1"/>
          </p:cNvSpPr>
          <p:nvPr>
            <p:ph type="body" sz="quarter" idx="26"/>
          </p:nvPr>
        </p:nvSpPr>
        <p:spPr>
          <a:xfrm>
            <a:off x="4966971" y="4395990"/>
            <a:ext cx="2953039" cy="485340"/>
          </a:xfrm>
        </p:spPr>
        <p:txBody>
          <a:bodyPr/>
          <a:lstStyle/>
          <a:p>
            <a:r>
              <a:rPr lang="en-GB"/>
              <a:t>Agenda item</a:t>
            </a:r>
            <a:endParaRPr lang="en-US" dirty="0"/>
          </a:p>
        </p:txBody>
      </p:sp>
      <p:sp>
        <p:nvSpPr>
          <p:cNvPr id="19" name="Text Placeholder 18" descr="No. 7">
            <a:extLst>
              <a:ext uri="{FF2B5EF4-FFF2-40B4-BE49-F238E27FC236}">
                <a16:creationId xmlns:a16="http://schemas.microsoft.com/office/drawing/2014/main" id="{4D3DC6CF-9870-44CD-80AD-B67181908436}"/>
              </a:ext>
            </a:extLst>
          </p:cNvPr>
          <p:cNvSpPr>
            <a:spLocks noGrp="1"/>
          </p:cNvSpPr>
          <p:nvPr>
            <p:ph type="body" sz="quarter" idx="37"/>
          </p:nvPr>
        </p:nvSpPr>
        <p:spPr>
          <a:xfrm>
            <a:off x="4426242" y="5000868"/>
            <a:ext cx="405128" cy="485340"/>
          </a:xfrm>
        </p:spPr>
        <p:txBody>
          <a:bodyPr/>
          <a:lstStyle/>
          <a:p>
            <a:pPr lvl="0"/>
            <a:r>
              <a:rPr lang="en-GB"/>
              <a:t>##</a:t>
            </a:r>
            <a:endParaRPr lang="en-US" dirty="0"/>
          </a:p>
        </p:txBody>
      </p:sp>
      <p:sp>
        <p:nvSpPr>
          <p:cNvPr id="11" name="Text Placeholder 10" descr="Agenda Item 7">
            <a:extLst>
              <a:ext uri="{FF2B5EF4-FFF2-40B4-BE49-F238E27FC236}">
                <a16:creationId xmlns:a16="http://schemas.microsoft.com/office/drawing/2014/main" id="{DE400299-0FDB-4390-ADDE-CF5AEED5DC62}"/>
              </a:ext>
            </a:extLst>
          </p:cNvPr>
          <p:cNvSpPr>
            <a:spLocks noGrp="1"/>
          </p:cNvSpPr>
          <p:nvPr>
            <p:ph type="body" sz="quarter" idx="28"/>
          </p:nvPr>
        </p:nvSpPr>
        <p:spPr>
          <a:xfrm>
            <a:off x="4966971" y="5000868"/>
            <a:ext cx="2953039" cy="485340"/>
          </a:xfrm>
        </p:spPr>
        <p:txBody>
          <a:bodyPr/>
          <a:lstStyle/>
          <a:p>
            <a:r>
              <a:rPr lang="en-GB"/>
              <a:t>Agenda item</a:t>
            </a:r>
            <a:endParaRPr lang="en-US" dirty="0"/>
          </a:p>
        </p:txBody>
      </p:sp>
      <p:sp>
        <p:nvSpPr>
          <p:cNvPr id="20" name="Text Placeholder 19" descr="No. 8">
            <a:extLst>
              <a:ext uri="{FF2B5EF4-FFF2-40B4-BE49-F238E27FC236}">
                <a16:creationId xmlns:a16="http://schemas.microsoft.com/office/drawing/2014/main" id="{51CE8229-7B4F-4140-BEAF-4B7A3B2F54B8}"/>
              </a:ext>
            </a:extLst>
          </p:cNvPr>
          <p:cNvSpPr>
            <a:spLocks noGrp="1"/>
          </p:cNvSpPr>
          <p:nvPr>
            <p:ph type="body" sz="quarter" idx="38"/>
          </p:nvPr>
        </p:nvSpPr>
        <p:spPr>
          <a:xfrm>
            <a:off x="4426242" y="5605747"/>
            <a:ext cx="405128" cy="485340"/>
          </a:xfrm>
        </p:spPr>
        <p:txBody>
          <a:bodyPr/>
          <a:lstStyle/>
          <a:p>
            <a:pPr lvl="0"/>
            <a:r>
              <a:rPr lang="en-GB"/>
              <a:t>##</a:t>
            </a:r>
            <a:endParaRPr lang="en-US" dirty="0"/>
          </a:p>
        </p:txBody>
      </p:sp>
      <p:sp>
        <p:nvSpPr>
          <p:cNvPr id="12" name="Text Placeholder 11" descr="Agenda Item 8">
            <a:extLst>
              <a:ext uri="{FF2B5EF4-FFF2-40B4-BE49-F238E27FC236}">
                <a16:creationId xmlns:a16="http://schemas.microsoft.com/office/drawing/2014/main" id="{C7F17630-7ADA-42EA-951E-085406AFC143}"/>
              </a:ext>
            </a:extLst>
          </p:cNvPr>
          <p:cNvSpPr>
            <a:spLocks noGrp="1"/>
          </p:cNvSpPr>
          <p:nvPr>
            <p:ph type="body" sz="quarter" idx="30"/>
          </p:nvPr>
        </p:nvSpPr>
        <p:spPr>
          <a:xfrm>
            <a:off x="4966971" y="5605747"/>
            <a:ext cx="2953039" cy="485340"/>
          </a:xfrm>
        </p:spPr>
        <p:txBody>
          <a:bodyPr/>
          <a:lstStyle/>
          <a:p>
            <a:r>
              <a:rPr lang="en-GB"/>
              <a:t>Agenda item</a:t>
            </a:r>
            <a:endParaRPr lang="en-US" dirty="0"/>
          </a:p>
        </p:txBody>
      </p:sp>
      <p:sp>
        <p:nvSpPr>
          <p:cNvPr id="29" name="Text Placeholder 28" descr="No. 9">
            <a:extLst>
              <a:ext uri="{FF2B5EF4-FFF2-40B4-BE49-F238E27FC236}">
                <a16:creationId xmlns:a16="http://schemas.microsoft.com/office/drawing/2014/main" id="{A4B967A4-9715-47F7-AE1B-2992B282E40C}"/>
              </a:ext>
            </a:extLst>
          </p:cNvPr>
          <p:cNvSpPr>
            <a:spLocks noGrp="1"/>
          </p:cNvSpPr>
          <p:nvPr>
            <p:ph type="body" sz="quarter" idx="47"/>
          </p:nvPr>
        </p:nvSpPr>
        <p:spPr>
          <a:xfrm>
            <a:off x="8317230" y="1371600"/>
            <a:ext cx="405128" cy="485340"/>
          </a:xfrm>
        </p:spPr>
        <p:txBody>
          <a:bodyPr/>
          <a:lstStyle/>
          <a:p>
            <a:pPr lvl="0"/>
            <a:r>
              <a:rPr lang="en-GB"/>
              <a:t>##</a:t>
            </a:r>
            <a:endParaRPr lang="en-US" dirty="0"/>
          </a:p>
        </p:txBody>
      </p:sp>
      <p:sp>
        <p:nvSpPr>
          <p:cNvPr id="21" name="Text Placeholder 20" descr="Agenda Item 9">
            <a:extLst>
              <a:ext uri="{FF2B5EF4-FFF2-40B4-BE49-F238E27FC236}">
                <a16:creationId xmlns:a16="http://schemas.microsoft.com/office/drawing/2014/main" id="{C0A49B54-BC4A-476F-A603-5BE17A7A85B8}"/>
              </a:ext>
            </a:extLst>
          </p:cNvPr>
          <p:cNvSpPr>
            <a:spLocks noGrp="1"/>
          </p:cNvSpPr>
          <p:nvPr>
            <p:ph type="body" sz="quarter" idx="39"/>
          </p:nvPr>
        </p:nvSpPr>
        <p:spPr>
          <a:xfrm>
            <a:off x="8857959" y="1371600"/>
            <a:ext cx="2953039" cy="485340"/>
          </a:xfrm>
        </p:spPr>
        <p:txBody>
          <a:bodyPr/>
          <a:lstStyle/>
          <a:p>
            <a:r>
              <a:rPr lang="en-GB"/>
              <a:t>Agenda item</a:t>
            </a:r>
            <a:endParaRPr lang="en-US" dirty="0"/>
          </a:p>
        </p:txBody>
      </p:sp>
      <p:sp>
        <p:nvSpPr>
          <p:cNvPr id="30" name="Text Placeholder 29" descr="No. 10">
            <a:extLst>
              <a:ext uri="{FF2B5EF4-FFF2-40B4-BE49-F238E27FC236}">
                <a16:creationId xmlns:a16="http://schemas.microsoft.com/office/drawing/2014/main" id="{9A0A48D4-B010-41A9-B158-77F3D8729AF1}"/>
              </a:ext>
            </a:extLst>
          </p:cNvPr>
          <p:cNvSpPr>
            <a:spLocks noGrp="1"/>
          </p:cNvSpPr>
          <p:nvPr>
            <p:ph type="body" sz="quarter" idx="48"/>
          </p:nvPr>
        </p:nvSpPr>
        <p:spPr>
          <a:xfrm>
            <a:off x="8317230" y="1976478"/>
            <a:ext cx="405128" cy="485340"/>
          </a:xfrm>
        </p:spPr>
        <p:txBody>
          <a:bodyPr/>
          <a:lstStyle/>
          <a:p>
            <a:pPr lvl="0"/>
            <a:r>
              <a:rPr lang="en-GB"/>
              <a:t>##</a:t>
            </a:r>
            <a:endParaRPr lang="en-US" dirty="0"/>
          </a:p>
        </p:txBody>
      </p:sp>
      <p:sp>
        <p:nvSpPr>
          <p:cNvPr id="22" name="Text Placeholder 21" descr="Agenda Item 10">
            <a:extLst>
              <a:ext uri="{FF2B5EF4-FFF2-40B4-BE49-F238E27FC236}">
                <a16:creationId xmlns:a16="http://schemas.microsoft.com/office/drawing/2014/main" id="{A42A74CC-88B3-4A8B-B104-A4EA5745FD2B}"/>
              </a:ext>
            </a:extLst>
          </p:cNvPr>
          <p:cNvSpPr>
            <a:spLocks noGrp="1"/>
          </p:cNvSpPr>
          <p:nvPr>
            <p:ph type="body" sz="quarter" idx="40"/>
          </p:nvPr>
        </p:nvSpPr>
        <p:spPr>
          <a:xfrm>
            <a:off x="8857959" y="1976478"/>
            <a:ext cx="2953039" cy="485340"/>
          </a:xfrm>
        </p:spPr>
        <p:txBody>
          <a:bodyPr/>
          <a:lstStyle/>
          <a:p>
            <a:r>
              <a:rPr lang="en-GB" dirty="0"/>
              <a:t>Agenda item</a:t>
            </a:r>
            <a:endParaRPr lang="en-US" dirty="0"/>
          </a:p>
        </p:txBody>
      </p:sp>
      <p:sp>
        <p:nvSpPr>
          <p:cNvPr id="31" name="Text Placeholder 30" descr="No. 11">
            <a:extLst>
              <a:ext uri="{FF2B5EF4-FFF2-40B4-BE49-F238E27FC236}">
                <a16:creationId xmlns:a16="http://schemas.microsoft.com/office/drawing/2014/main" id="{C56C9BF9-D470-42C7-A0E2-AF775B63A297}"/>
              </a:ext>
            </a:extLst>
          </p:cNvPr>
          <p:cNvSpPr>
            <a:spLocks noGrp="1"/>
          </p:cNvSpPr>
          <p:nvPr>
            <p:ph type="body" sz="quarter" idx="49"/>
          </p:nvPr>
        </p:nvSpPr>
        <p:spPr>
          <a:xfrm>
            <a:off x="8317230" y="2581356"/>
            <a:ext cx="405128" cy="485340"/>
          </a:xfrm>
        </p:spPr>
        <p:txBody>
          <a:bodyPr/>
          <a:lstStyle/>
          <a:p>
            <a:pPr lvl="0"/>
            <a:r>
              <a:rPr lang="en-GB"/>
              <a:t>##</a:t>
            </a:r>
            <a:endParaRPr lang="en-US" dirty="0"/>
          </a:p>
        </p:txBody>
      </p:sp>
      <p:sp>
        <p:nvSpPr>
          <p:cNvPr id="23" name="Text Placeholder 22" descr="Agenda Item 11">
            <a:extLst>
              <a:ext uri="{FF2B5EF4-FFF2-40B4-BE49-F238E27FC236}">
                <a16:creationId xmlns:a16="http://schemas.microsoft.com/office/drawing/2014/main" id="{928379D8-C798-45AB-A6C6-BD4EB9E51A7B}"/>
              </a:ext>
            </a:extLst>
          </p:cNvPr>
          <p:cNvSpPr>
            <a:spLocks noGrp="1"/>
          </p:cNvSpPr>
          <p:nvPr>
            <p:ph type="body" sz="quarter" idx="41"/>
          </p:nvPr>
        </p:nvSpPr>
        <p:spPr>
          <a:xfrm>
            <a:off x="8857959" y="2581356"/>
            <a:ext cx="2953039" cy="485340"/>
          </a:xfrm>
        </p:spPr>
        <p:txBody>
          <a:bodyPr/>
          <a:lstStyle/>
          <a:p>
            <a:r>
              <a:rPr lang="en-GB"/>
              <a:t>Agenda item</a:t>
            </a:r>
            <a:endParaRPr lang="en-US" dirty="0"/>
          </a:p>
        </p:txBody>
      </p:sp>
      <p:sp>
        <p:nvSpPr>
          <p:cNvPr id="32" name="Text Placeholder 31" descr="No. 12">
            <a:extLst>
              <a:ext uri="{FF2B5EF4-FFF2-40B4-BE49-F238E27FC236}">
                <a16:creationId xmlns:a16="http://schemas.microsoft.com/office/drawing/2014/main" id="{ACBB4BBA-9EA8-48E4-90F1-3AD8B74A5B2B}"/>
              </a:ext>
            </a:extLst>
          </p:cNvPr>
          <p:cNvSpPr>
            <a:spLocks noGrp="1"/>
          </p:cNvSpPr>
          <p:nvPr>
            <p:ph type="body" sz="quarter" idx="50"/>
          </p:nvPr>
        </p:nvSpPr>
        <p:spPr>
          <a:xfrm>
            <a:off x="8317230" y="3186234"/>
            <a:ext cx="405128" cy="485340"/>
          </a:xfrm>
        </p:spPr>
        <p:txBody>
          <a:bodyPr/>
          <a:lstStyle/>
          <a:p>
            <a:pPr lvl="0"/>
            <a:r>
              <a:rPr lang="en-GB"/>
              <a:t>##</a:t>
            </a:r>
            <a:endParaRPr lang="en-US" dirty="0"/>
          </a:p>
        </p:txBody>
      </p:sp>
      <p:sp>
        <p:nvSpPr>
          <p:cNvPr id="24" name="Text Placeholder 23" descr="Agenda Item 12">
            <a:extLst>
              <a:ext uri="{FF2B5EF4-FFF2-40B4-BE49-F238E27FC236}">
                <a16:creationId xmlns:a16="http://schemas.microsoft.com/office/drawing/2014/main" id="{EFAA4D69-1078-4AFD-AB1E-0CAAA0E6D1A6}"/>
              </a:ext>
            </a:extLst>
          </p:cNvPr>
          <p:cNvSpPr>
            <a:spLocks noGrp="1"/>
          </p:cNvSpPr>
          <p:nvPr>
            <p:ph type="body" sz="quarter" idx="42"/>
          </p:nvPr>
        </p:nvSpPr>
        <p:spPr>
          <a:xfrm>
            <a:off x="8857959" y="3186234"/>
            <a:ext cx="2953039" cy="485340"/>
          </a:xfrm>
        </p:spPr>
        <p:txBody>
          <a:bodyPr/>
          <a:lstStyle/>
          <a:p>
            <a:r>
              <a:rPr lang="en-GB"/>
              <a:t>Agenda item</a:t>
            </a:r>
            <a:endParaRPr lang="en-US" dirty="0"/>
          </a:p>
        </p:txBody>
      </p:sp>
      <p:sp>
        <p:nvSpPr>
          <p:cNvPr id="33" name="Text Placeholder 32" descr="No. 13">
            <a:extLst>
              <a:ext uri="{FF2B5EF4-FFF2-40B4-BE49-F238E27FC236}">
                <a16:creationId xmlns:a16="http://schemas.microsoft.com/office/drawing/2014/main" id="{47070DEF-D816-4720-B27C-1B470254E577}"/>
              </a:ext>
            </a:extLst>
          </p:cNvPr>
          <p:cNvSpPr>
            <a:spLocks noGrp="1"/>
          </p:cNvSpPr>
          <p:nvPr>
            <p:ph type="body" sz="quarter" idx="51"/>
          </p:nvPr>
        </p:nvSpPr>
        <p:spPr>
          <a:xfrm>
            <a:off x="8317230" y="3791112"/>
            <a:ext cx="405128" cy="485340"/>
          </a:xfrm>
        </p:spPr>
        <p:txBody>
          <a:bodyPr/>
          <a:lstStyle/>
          <a:p>
            <a:pPr lvl="0"/>
            <a:r>
              <a:rPr lang="en-GB"/>
              <a:t>##</a:t>
            </a:r>
            <a:endParaRPr lang="en-US" dirty="0"/>
          </a:p>
        </p:txBody>
      </p:sp>
      <p:sp>
        <p:nvSpPr>
          <p:cNvPr id="25" name="Text Placeholder 24" descr="Agenda Item 13">
            <a:extLst>
              <a:ext uri="{FF2B5EF4-FFF2-40B4-BE49-F238E27FC236}">
                <a16:creationId xmlns:a16="http://schemas.microsoft.com/office/drawing/2014/main" id="{11406D80-647D-43BA-B8D4-EBBF1E2104A8}"/>
              </a:ext>
            </a:extLst>
          </p:cNvPr>
          <p:cNvSpPr>
            <a:spLocks noGrp="1"/>
          </p:cNvSpPr>
          <p:nvPr>
            <p:ph type="body" sz="quarter" idx="43"/>
          </p:nvPr>
        </p:nvSpPr>
        <p:spPr>
          <a:xfrm>
            <a:off x="8857959" y="3791112"/>
            <a:ext cx="2953039" cy="485340"/>
          </a:xfrm>
        </p:spPr>
        <p:txBody>
          <a:bodyPr/>
          <a:lstStyle/>
          <a:p>
            <a:r>
              <a:rPr lang="en-GB"/>
              <a:t>Agenda item</a:t>
            </a:r>
            <a:endParaRPr lang="en-US" dirty="0"/>
          </a:p>
        </p:txBody>
      </p:sp>
      <p:sp>
        <p:nvSpPr>
          <p:cNvPr id="34" name="Text Placeholder 33" descr="No. 14">
            <a:extLst>
              <a:ext uri="{FF2B5EF4-FFF2-40B4-BE49-F238E27FC236}">
                <a16:creationId xmlns:a16="http://schemas.microsoft.com/office/drawing/2014/main" id="{40753BB6-656E-4480-A7EA-BE625C6D9ACD}"/>
              </a:ext>
            </a:extLst>
          </p:cNvPr>
          <p:cNvSpPr>
            <a:spLocks noGrp="1"/>
          </p:cNvSpPr>
          <p:nvPr>
            <p:ph type="body" sz="quarter" idx="52"/>
          </p:nvPr>
        </p:nvSpPr>
        <p:spPr>
          <a:xfrm>
            <a:off x="8317230" y="4395990"/>
            <a:ext cx="405128" cy="485340"/>
          </a:xfrm>
        </p:spPr>
        <p:txBody>
          <a:bodyPr/>
          <a:lstStyle/>
          <a:p>
            <a:pPr lvl="0"/>
            <a:r>
              <a:rPr lang="en-GB"/>
              <a:t>##</a:t>
            </a:r>
            <a:endParaRPr lang="en-US" dirty="0"/>
          </a:p>
        </p:txBody>
      </p:sp>
      <p:sp>
        <p:nvSpPr>
          <p:cNvPr id="26" name="Text Placeholder 25" descr="Agenda Item 14">
            <a:extLst>
              <a:ext uri="{FF2B5EF4-FFF2-40B4-BE49-F238E27FC236}">
                <a16:creationId xmlns:a16="http://schemas.microsoft.com/office/drawing/2014/main" id="{F0721294-7AAC-4545-AF24-CDA2E068CFEA}"/>
              </a:ext>
            </a:extLst>
          </p:cNvPr>
          <p:cNvSpPr>
            <a:spLocks noGrp="1"/>
          </p:cNvSpPr>
          <p:nvPr>
            <p:ph type="body" sz="quarter" idx="44"/>
          </p:nvPr>
        </p:nvSpPr>
        <p:spPr>
          <a:xfrm>
            <a:off x="8857959" y="4395990"/>
            <a:ext cx="2953039" cy="485340"/>
          </a:xfrm>
        </p:spPr>
        <p:txBody>
          <a:bodyPr/>
          <a:lstStyle/>
          <a:p>
            <a:r>
              <a:rPr lang="en-GB"/>
              <a:t>Agenda item</a:t>
            </a:r>
            <a:endParaRPr lang="en-US" dirty="0"/>
          </a:p>
        </p:txBody>
      </p:sp>
      <p:sp>
        <p:nvSpPr>
          <p:cNvPr id="35" name="Text Placeholder 34" descr="No. 15">
            <a:extLst>
              <a:ext uri="{FF2B5EF4-FFF2-40B4-BE49-F238E27FC236}">
                <a16:creationId xmlns:a16="http://schemas.microsoft.com/office/drawing/2014/main" id="{4DCD9BA7-1119-4462-8F01-3062069AA817}"/>
              </a:ext>
            </a:extLst>
          </p:cNvPr>
          <p:cNvSpPr>
            <a:spLocks noGrp="1"/>
          </p:cNvSpPr>
          <p:nvPr>
            <p:ph type="body" sz="quarter" idx="53"/>
          </p:nvPr>
        </p:nvSpPr>
        <p:spPr>
          <a:xfrm>
            <a:off x="8317230" y="5000868"/>
            <a:ext cx="405128" cy="485340"/>
          </a:xfrm>
        </p:spPr>
        <p:txBody>
          <a:bodyPr/>
          <a:lstStyle/>
          <a:p>
            <a:pPr lvl="0"/>
            <a:r>
              <a:rPr lang="en-GB"/>
              <a:t>##</a:t>
            </a:r>
            <a:endParaRPr lang="en-US" dirty="0"/>
          </a:p>
        </p:txBody>
      </p:sp>
      <p:sp>
        <p:nvSpPr>
          <p:cNvPr id="27" name="Text Placeholder 26" descr="Agenda Item 15">
            <a:extLst>
              <a:ext uri="{FF2B5EF4-FFF2-40B4-BE49-F238E27FC236}">
                <a16:creationId xmlns:a16="http://schemas.microsoft.com/office/drawing/2014/main" id="{FCCA5C5F-D264-41A1-9DFA-031FFCC6ADD9}"/>
              </a:ext>
            </a:extLst>
          </p:cNvPr>
          <p:cNvSpPr>
            <a:spLocks noGrp="1"/>
          </p:cNvSpPr>
          <p:nvPr>
            <p:ph type="body" sz="quarter" idx="45"/>
          </p:nvPr>
        </p:nvSpPr>
        <p:spPr>
          <a:xfrm>
            <a:off x="8857959" y="5000868"/>
            <a:ext cx="2953039" cy="485340"/>
          </a:xfrm>
        </p:spPr>
        <p:txBody>
          <a:bodyPr/>
          <a:lstStyle/>
          <a:p>
            <a:r>
              <a:rPr lang="en-GB"/>
              <a:t>Agenda item</a:t>
            </a:r>
            <a:endParaRPr lang="en-US" dirty="0"/>
          </a:p>
        </p:txBody>
      </p:sp>
      <p:sp>
        <p:nvSpPr>
          <p:cNvPr id="36" name="Text Placeholder 35" descr="No. 16">
            <a:extLst>
              <a:ext uri="{FF2B5EF4-FFF2-40B4-BE49-F238E27FC236}">
                <a16:creationId xmlns:a16="http://schemas.microsoft.com/office/drawing/2014/main" id="{7650D558-0B4D-43CE-8B01-51CC4EF6D3C4}"/>
              </a:ext>
            </a:extLst>
          </p:cNvPr>
          <p:cNvSpPr>
            <a:spLocks noGrp="1"/>
          </p:cNvSpPr>
          <p:nvPr>
            <p:ph type="body" sz="quarter" idx="54"/>
          </p:nvPr>
        </p:nvSpPr>
        <p:spPr>
          <a:xfrm>
            <a:off x="8317230" y="5605747"/>
            <a:ext cx="405128" cy="485340"/>
          </a:xfrm>
        </p:spPr>
        <p:txBody>
          <a:bodyPr/>
          <a:lstStyle/>
          <a:p>
            <a:pPr lvl="0"/>
            <a:r>
              <a:rPr lang="en-GB"/>
              <a:t>##</a:t>
            </a:r>
            <a:endParaRPr lang="en-US" dirty="0"/>
          </a:p>
        </p:txBody>
      </p:sp>
      <p:sp>
        <p:nvSpPr>
          <p:cNvPr id="28" name="Text Placeholder 27" descr="Agenda Item 16">
            <a:extLst>
              <a:ext uri="{FF2B5EF4-FFF2-40B4-BE49-F238E27FC236}">
                <a16:creationId xmlns:a16="http://schemas.microsoft.com/office/drawing/2014/main" id="{B430BF5D-3648-4FA8-9E82-9C3FFA9DA9B2}"/>
              </a:ext>
            </a:extLst>
          </p:cNvPr>
          <p:cNvSpPr>
            <a:spLocks noGrp="1"/>
          </p:cNvSpPr>
          <p:nvPr>
            <p:ph type="body" sz="quarter" idx="46"/>
          </p:nvPr>
        </p:nvSpPr>
        <p:spPr>
          <a:xfrm>
            <a:off x="8857959" y="5605747"/>
            <a:ext cx="2953039" cy="485340"/>
          </a:xfrm>
        </p:spPr>
        <p:txBody>
          <a:bodyPr/>
          <a:lstStyle/>
          <a:p>
            <a:r>
              <a:rPr lang="en-GB"/>
              <a:t>Agenda item</a:t>
            </a:r>
            <a:endParaRPr lang="en-US" dirty="0"/>
          </a:p>
        </p:txBody>
      </p:sp>
      <p:sp>
        <p:nvSpPr>
          <p:cNvPr id="37" name="Footer Placeholder 36">
            <a:extLst>
              <a:ext uri="{FF2B5EF4-FFF2-40B4-BE49-F238E27FC236}">
                <a16:creationId xmlns:a16="http://schemas.microsoft.com/office/drawing/2014/main" id="{03741C61-192B-4BFE-AEFD-61F9F96359DB}"/>
              </a:ext>
            </a:extLst>
          </p:cNvPr>
          <p:cNvSpPr>
            <a:spLocks noGrp="1"/>
          </p:cNvSpPr>
          <p:nvPr>
            <p:ph type="ftr" sz="quarter" idx="56"/>
          </p:nvPr>
        </p:nvSpPr>
        <p:spPr/>
        <p:txBody>
          <a:bodyPr/>
          <a:lstStyle/>
          <a:p>
            <a:pPr algn="r" defTabSz="228600">
              <a:spcAft>
                <a:spcPts val="1200"/>
              </a:spcAft>
              <a:defRPr/>
            </a:pPr>
            <a:r>
              <a:rPr lang="en-GB"/>
              <a:t>Copyright © 2021 Accenture. All rights reserved.</a:t>
            </a:r>
            <a:endParaRPr lang="en-GB" dirty="0"/>
          </a:p>
        </p:txBody>
      </p:sp>
      <p:sp>
        <p:nvSpPr>
          <p:cNvPr id="39" name="Slide Number Placeholder 38">
            <a:extLst>
              <a:ext uri="{FF2B5EF4-FFF2-40B4-BE49-F238E27FC236}">
                <a16:creationId xmlns:a16="http://schemas.microsoft.com/office/drawing/2014/main" id="{E3C58D7A-1144-40F3-A5A2-E2C8A20B9B2C}"/>
              </a:ext>
            </a:extLst>
          </p:cNvPr>
          <p:cNvSpPr>
            <a:spLocks noGrp="1"/>
          </p:cNvSpPr>
          <p:nvPr>
            <p:ph type="sldNum" sz="quarter" idx="57"/>
          </p:nvPr>
        </p:nvSpPr>
        <p:spPr/>
        <p:txBody>
          <a:bodyPr/>
          <a:lstStyle/>
          <a:p>
            <a:fld id="{1F90F471-3972-4120-B8B3-0237DE626C35}" type="slidenum">
              <a:rPr lang="en-US" smtClean="0"/>
              <a:pPr/>
              <a:t>37</a:t>
            </a:fld>
            <a:endParaRPr lang="en-US" dirty="0"/>
          </a:p>
        </p:txBody>
      </p:sp>
    </p:spTree>
    <p:extLst>
      <p:ext uri="{BB962C8B-B14F-4D97-AF65-F5344CB8AC3E}">
        <p14:creationId xmlns:p14="http://schemas.microsoft.com/office/powerpoint/2010/main" val="1368541299"/>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Project Phases</a:t>
            </a:r>
            <a:endParaRPr lang="de-DE" dirty="0"/>
          </a:p>
        </p:txBody>
      </p:sp>
      <p:sp>
        <p:nvSpPr>
          <p:cNvPr id="39" name="AutoShape 5">
            <a:extLst>
              <a:ext uri="{FF2B5EF4-FFF2-40B4-BE49-F238E27FC236}">
                <a16:creationId xmlns:a16="http://schemas.microsoft.com/office/drawing/2014/main" id="{9286E6FC-FC5D-4B77-B5DA-484B0C11865F}"/>
              </a:ext>
            </a:extLst>
          </p:cNvPr>
          <p:cNvSpPr>
            <a:spLocks noChangeArrowheads="1"/>
          </p:cNvSpPr>
          <p:nvPr/>
        </p:nvSpPr>
        <p:spPr bwMode="auto">
          <a:xfrm>
            <a:off x="1822451" y="1763713"/>
            <a:ext cx="2616200" cy="485775"/>
          </a:xfrm>
          <a:prstGeom prst="homePlate">
            <a:avLst>
              <a:gd name="adj" fmla="val 27116"/>
            </a:avLst>
          </a:prstGeom>
          <a:solidFill>
            <a:schemeClr val="accent3"/>
          </a:solidFill>
          <a:ln w="6350">
            <a:noFill/>
            <a:miter lim="800000"/>
            <a:headEnd/>
            <a:tailEnd/>
          </a:ln>
        </p:spPr>
        <p:txBody>
          <a:bodyPr lIns="72000" tIns="144000" rIns="72000" bIns="72000" anchor="ctr" anchorCtr="0"/>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mj-lt"/>
                <a:ea typeface="+mn-ea"/>
                <a:cs typeface="+mn-cs"/>
              </a:rPr>
              <a:t>Text</a:t>
            </a:r>
          </a:p>
        </p:txBody>
      </p:sp>
      <p:sp>
        <p:nvSpPr>
          <p:cNvPr id="38" name="Content Placeholder 7">
            <a:extLst>
              <a:ext uri="{FF2B5EF4-FFF2-40B4-BE49-F238E27FC236}">
                <a16:creationId xmlns:a16="http://schemas.microsoft.com/office/drawing/2014/main" id="{4805A04A-5B7A-4A51-8A7B-BC9E7B8C74A5}"/>
              </a:ext>
            </a:extLst>
          </p:cNvPr>
          <p:cNvSpPr txBox="1">
            <a:spLocks/>
          </p:cNvSpPr>
          <p:nvPr/>
        </p:nvSpPr>
        <p:spPr bwMode="auto">
          <a:xfrm>
            <a:off x="1822451" y="2466836"/>
            <a:ext cx="2613024" cy="2870340"/>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cxnSp>
        <p:nvCxnSpPr>
          <p:cNvPr id="36" name="Straight Connector 35">
            <a:extLst>
              <a:ext uri="{FF2B5EF4-FFF2-40B4-BE49-F238E27FC236}">
                <a16:creationId xmlns:a16="http://schemas.microsoft.com/office/drawing/2014/main" id="{DE9C67ED-C344-413F-B2A2-1D6706577A93}"/>
              </a:ext>
              <a:ext uri="{C183D7F6-B498-43B3-948B-1728B52AA6E4}">
                <adec:decorative xmlns:adec="http://schemas.microsoft.com/office/drawing/2017/decorative" val="1"/>
              </a:ext>
            </a:extLst>
          </p:cNvPr>
          <p:cNvCxnSpPr/>
          <p:nvPr/>
        </p:nvCxnSpPr>
        <p:spPr>
          <a:xfrm>
            <a:off x="4600157" y="1763712"/>
            <a:ext cx="0" cy="3488052"/>
          </a:xfrm>
          <a:prstGeom prst="line">
            <a:avLst/>
          </a:prstGeom>
          <a:noFill/>
          <a:ln w="19050" cap="rnd" cmpd="sng" algn="ctr">
            <a:solidFill>
              <a:srgbClr val="96968C">
                <a:lumMod val="40000"/>
                <a:lumOff val="60000"/>
              </a:srgbClr>
            </a:solidFill>
            <a:prstDash val="sysDot"/>
          </a:ln>
          <a:effectLst/>
        </p:spPr>
      </p:cxnSp>
      <p:sp>
        <p:nvSpPr>
          <p:cNvPr id="40" name="AutoShape 5">
            <a:extLst>
              <a:ext uri="{FF2B5EF4-FFF2-40B4-BE49-F238E27FC236}">
                <a16:creationId xmlns:a16="http://schemas.microsoft.com/office/drawing/2014/main" id="{9023CC6C-BEE1-4A0A-AB55-259324053F8D}"/>
              </a:ext>
            </a:extLst>
          </p:cNvPr>
          <p:cNvSpPr>
            <a:spLocks noChangeArrowheads="1"/>
          </p:cNvSpPr>
          <p:nvPr/>
        </p:nvSpPr>
        <p:spPr bwMode="auto">
          <a:xfrm>
            <a:off x="4794250" y="1763713"/>
            <a:ext cx="2616200" cy="485775"/>
          </a:xfrm>
          <a:prstGeom prst="homePlate">
            <a:avLst>
              <a:gd name="adj" fmla="val 27116"/>
            </a:avLst>
          </a:prstGeom>
          <a:solidFill>
            <a:schemeClr val="accent2"/>
          </a:solidFill>
          <a:ln w="6350">
            <a:noFill/>
            <a:miter lim="800000"/>
            <a:headEnd/>
            <a:tailEnd/>
          </a:ln>
        </p:spPr>
        <p:txBody>
          <a:bodyPr lIns="72000" tIns="144000" rIns="72000" bIns="72000" anchor="ctr" anchorCtr="0"/>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mj-lt"/>
                <a:ea typeface="+mn-ea"/>
                <a:cs typeface="+mn-cs"/>
              </a:rPr>
              <a:t>Text</a:t>
            </a:r>
          </a:p>
        </p:txBody>
      </p:sp>
      <p:sp>
        <p:nvSpPr>
          <p:cNvPr id="42" name="Content Placeholder 7">
            <a:extLst>
              <a:ext uri="{FF2B5EF4-FFF2-40B4-BE49-F238E27FC236}">
                <a16:creationId xmlns:a16="http://schemas.microsoft.com/office/drawing/2014/main" id="{394B22E3-883F-4C4A-B825-B3ABE78409AF}"/>
              </a:ext>
            </a:extLst>
          </p:cNvPr>
          <p:cNvSpPr txBox="1">
            <a:spLocks/>
          </p:cNvSpPr>
          <p:nvPr/>
        </p:nvSpPr>
        <p:spPr bwMode="auto">
          <a:xfrm>
            <a:off x="4791075" y="2466836"/>
            <a:ext cx="2613024" cy="2870340"/>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cxnSp>
        <p:nvCxnSpPr>
          <p:cNvPr id="37" name="Straight Connector 36">
            <a:extLst>
              <a:ext uri="{FF2B5EF4-FFF2-40B4-BE49-F238E27FC236}">
                <a16:creationId xmlns:a16="http://schemas.microsoft.com/office/drawing/2014/main" id="{DDC18F4C-354D-46B5-A60C-41C64CD95203}"/>
              </a:ext>
              <a:ext uri="{C183D7F6-B498-43B3-948B-1728B52AA6E4}">
                <adec:decorative xmlns:adec="http://schemas.microsoft.com/office/drawing/2017/decorative" val="1"/>
              </a:ext>
            </a:extLst>
          </p:cNvPr>
          <p:cNvCxnSpPr/>
          <p:nvPr/>
        </p:nvCxnSpPr>
        <p:spPr>
          <a:xfrm>
            <a:off x="7582461" y="1763712"/>
            <a:ext cx="0" cy="3488052"/>
          </a:xfrm>
          <a:prstGeom prst="line">
            <a:avLst/>
          </a:prstGeom>
          <a:noFill/>
          <a:ln w="19050" cap="rnd" cmpd="sng" algn="ctr">
            <a:solidFill>
              <a:srgbClr val="96968C">
                <a:lumMod val="40000"/>
                <a:lumOff val="60000"/>
              </a:srgbClr>
            </a:solidFill>
            <a:prstDash val="sysDot"/>
          </a:ln>
          <a:effectLst/>
        </p:spPr>
      </p:cxnSp>
      <p:sp>
        <p:nvSpPr>
          <p:cNvPr id="41" name="AutoShape 5">
            <a:extLst>
              <a:ext uri="{FF2B5EF4-FFF2-40B4-BE49-F238E27FC236}">
                <a16:creationId xmlns:a16="http://schemas.microsoft.com/office/drawing/2014/main" id="{2B78A563-8D9E-4F1B-8721-2E85BF98786E}"/>
              </a:ext>
            </a:extLst>
          </p:cNvPr>
          <p:cNvSpPr>
            <a:spLocks noChangeArrowheads="1"/>
          </p:cNvSpPr>
          <p:nvPr/>
        </p:nvSpPr>
        <p:spPr bwMode="auto">
          <a:xfrm>
            <a:off x="7766049" y="1763713"/>
            <a:ext cx="2616200" cy="485775"/>
          </a:xfrm>
          <a:prstGeom prst="homePlate">
            <a:avLst>
              <a:gd name="adj" fmla="val 27116"/>
            </a:avLst>
          </a:prstGeom>
          <a:solidFill>
            <a:schemeClr val="accent1"/>
          </a:solidFill>
          <a:ln w="6350">
            <a:noFill/>
            <a:miter lim="800000"/>
            <a:headEnd/>
            <a:tailEnd/>
          </a:ln>
        </p:spPr>
        <p:txBody>
          <a:bodyPr lIns="72000" tIns="144000" rIns="72000" bIns="72000" anchor="ctr" anchorCtr="0"/>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mj-lt"/>
                <a:ea typeface="+mn-ea"/>
                <a:cs typeface="+mn-cs"/>
              </a:rPr>
              <a:t>Text</a:t>
            </a:r>
          </a:p>
        </p:txBody>
      </p:sp>
      <p:sp>
        <p:nvSpPr>
          <p:cNvPr id="43" name="Content Placeholder 7">
            <a:extLst>
              <a:ext uri="{FF2B5EF4-FFF2-40B4-BE49-F238E27FC236}">
                <a16:creationId xmlns:a16="http://schemas.microsoft.com/office/drawing/2014/main" id="{286A9176-D730-496B-A95C-10F04219B58D}"/>
              </a:ext>
            </a:extLst>
          </p:cNvPr>
          <p:cNvSpPr txBox="1">
            <a:spLocks/>
          </p:cNvSpPr>
          <p:nvPr/>
        </p:nvSpPr>
        <p:spPr bwMode="auto">
          <a:xfrm>
            <a:off x="7759699" y="2466836"/>
            <a:ext cx="2613024" cy="2870340"/>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4" name="Footer Placeholder 3">
            <a:extLst>
              <a:ext uri="{FF2B5EF4-FFF2-40B4-BE49-F238E27FC236}">
                <a16:creationId xmlns:a16="http://schemas.microsoft.com/office/drawing/2014/main" id="{50E97A1A-9DF0-4BF2-8C91-43E1D643739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F430C949-BBEC-4596-9A2B-BDE1A53BA7E6}"/>
              </a:ext>
            </a:extLst>
          </p:cNvPr>
          <p:cNvSpPr>
            <a:spLocks noGrp="1"/>
          </p:cNvSpPr>
          <p:nvPr>
            <p:ph type="sldNum" sz="quarter" idx="10"/>
          </p:nvPr>
        </p:nvSpPr>
        <p:spPr/>
        <p:txBody>
          <a:bodyPr/>
          <a:lstStyle/>
          <a:p>
            <a:fld id="{1F90F471-3972-4120-B8B3-0237DE626C35}" type="slidenum">
              <a:rPr lang="en-US" smtClean="0"/>
              <a:pPr/>
              <a:t>370</a:t>
            </a:fld>
            <a:endParaRPr lang="en-US" dirty="0"/>
          </a:p>
        </p:txBody>
      </p:sp>
    </p:spTree>
    <p:extLst>
      <p:ext uri="{BB962C8B-B14F-4D97-AF65-F5344CB8AC3E}">
        <p14:creationId xmlns:p14="http://schemas.microsoft.com/office/powerpoint/2010/main" val="366215108"/>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ED4DA0F-1D9D-421C-957D-E92017F4C552}"/>
              </a:ext>
            </a:extLst>
          </p:cNvPr>
          <p:cNvSpPr>
            <a:spLocks noGrp="1"/>
          </p:cNvSpPr>
          <p:nvPr>
            <p:ph type="title"/>
          </p:nvPr>
        </p:nvSpPr>
        <p:spPr/>
        <p:txBody>
          <a:bodyPr/>
          <a:lstStyle/>
          <a:p>
            <a:r>
              <a:rPr lang="en-US" dirty="0"/>
              <a:t>Process Chart</a:t>
            </a:r>
          </a:p>
        </p:txBody>
      </p:sp>
      <p:sp>
        <p:nvSpPr>
          <p:cNvPr id="12" name="Rectangle 11">
            <a:extLst>
              <a:ext uri="{FF2B5EF4-FFF2-40B4-BE49-F238E27FC236}">
                <a16:creationId xmlns:a16="http://schemas.microsoft.com/office/drawing/2014/main" id="{87C6B71B-5306-4382-878C-6C4E84141467}"/>
              </a:ext>
            </a:extLst>
          </p:cNvPr>
          <p:cNvSpPr/>
          <p:nvPr/>
        </p:nvSpPr>
        <p:spPr>
          <a:xfrm>
            <a:off x="2902714" y="1487105"/>
            <a:ext cx="2194504" cy="276999"/>
          </a:xfrm>
          <a:prstGeom prst="rect">
            <a:avLst/>
          </a:prstGeom>
        </p:spPr>
        <p:txBody>
          <a:bodyPr wrap="none" lIns="0" tIns="0" rIns="0" bIns="0">
            <a:noAutofit/>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mj-lt"/>
                <a:ea typeface="ArialUnicodeMS"/>
                <a:cs typeface="Gotham-MediumItalic"/>
              </a:rPr>
              <a:t>Phase 1</a:t>
            </a:r>
          </a:p>
        </p:txBody>
      </p:sp>
      <p:sp>
        <p:nvSpPr>
          <p:cNvPr id="10" name="AutoShape 5">
            <a:extLst>
              <a:ext uri="{FF2B5EF4-FFF2-40B4-BE49-F238E27FC236}">
                <a16:creationId xmlns:a16="http://schemas.microsoft.com/office/drawing/2014/main" id="{CA07E23A-4B2E-4363-80E2-C7C1FCD618D4}"/>
              </a:ext>
            </a:extLst>
          </p:cNvPr>
          <p:cNvSpPr>
            <a:spLocks noChangeArrowheads="1"/>
          </p:cNvSpPr>
          <p:nvPr/>
        </p:nvSpPr>
        <p:spPr bwMode="auto">
          <a:xfrm>
            <a:off x="2902714" y="1763713"/>
            <a:ext cx="2340000" cy="485775"/>
          </a:xfrm>
          <a:prstGeom prst="homePlate">
            <a:avLst>
              <a:gd name="adj" fmla="val 27116"/>
            </a:avLst>
          </a:prstGeom>
          <a:solidFill>
            <a:schemeClr val="accent3"/>
          </a:solidFill>
          <a:ln w="6350">
            <a:noFill/>
            <a:miter lim="800000"/>
            <a:headEnd/>
            <a:tailEnd/>
          </a:ln>
        </p:spPr>
        <p:txBody>
          <a:bodyPr lIns="144000" tIns="72000" rIns="144000" bIns="72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mj-lt"/>
                <a:ea typeface="+mn-ea"/>
                <a:cs typeface="+mn-cs"/>
              </a:rPr>
              <a:t>Name of phase 1</a:t>
            </a:r>
          </a:p>
        </p:txBody>
      </p:sp>
      <p:sp>
        <p:nvSpPr>
          <p:cNvPr id="13" name="Rectangle 12">
            <a:extLst>
              <a:ext uri="{FF2B5EF4-FFF2-40B4-BE49-F238E27FC236}">
                <a16:creationId xmlns:a16="http://schemas.microsoft.com/office/drawing/2014/main" id="{6469DB83-70ED-4FD9-BC10-29F0CB5116BC}"/>
              </a:ext>
            </a:extLst>
          </p:cNvPr>
          <p:cNvSpPr/>
          <p:nvPr/>
        </p:nvSpPr>
        <p:spPr>
          <a:xfrm>
            <a:off x="5097218" y="1487105"/>
            <a:ext cx="2194504" cy="276999"/>
          </a:xfrm>
          <a:prstGeom prst="rect">
            <a:avLst/>
          </a:prstGeom>
        </p:spPr>
        <p:txBody>
          <a:bodyPr wrap="none" lIns="0" tIns="0" rIns="0" bIns="0">
            <a:noAutofit/>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mj-lt"/>
                <a:ea typeface="ArialUnicodeMS"/>
                <a:cs typeface="Gotham-MediumItalic"/>
              </a:rPr>
              <a:t>Phase 2</a:t>
            </a:r>
          </a:p>
        </p:txBody>
      </p:sp>
      <p:sp>
        <p:nvSpPr>
          <p:cNvPr id="9" name="AutoShape 5">
            <a:extLst>
              <a:ext uri="{FF2B5EF4-FFF2-40B4-BE49-F238E27FC236}">
                <a16:creationId xmlns:a16="http://schemas.microsoft.com/office/drawing/2014/main" id="{2419AEB9-0D17-4347-91C6-BA772DFF3755}"/>
              </a:ext>
            </a:extLst>
          </p:cNvPr>
          <p:cNvSpPr>
            <a:spLocks noChangeArrowheads="1"/>
          </p:cNvSpPr>
          <p:nvPr/>
        </p:nvSpPr>
        <p:spPr bwMode="auto">
          <a:xfrm>
            <a:off x="5097218" y="1763713"/>
            <a:ext cx="2340000" cy="485775"/>
          </a:xfrm>
          <a:prstGeom prst="homePlate">
            <a:avLst>
              <a:gd name="adj" fmla="val 27116"/>
            </a:avLst>
          </a:prstGeom>
          <a:solidFill>
            <a:schemeClr val="accent2"/>
          </a:solidFill>
          <a:ln w="6350">
            <a:noFill/>
            <a:miter lim="800000"/>
            <a:headEnd/>
            <a:tailEnd/>
          </a:ln>
        </p:spPr>
        <p:txBody>
          <a:bodyPr lIns="144000" tIns="72000" rIns="144000" bIns="72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mj-lt"/>
                <a:ea typeface="+mn-ea"/>
                <a:cs typeface="+mn-cs"/>
              </a:rPr>
              <a:t>Name of phase 1</a:t>
            </a:r>
          </a:p>
        </p:txBody>
      </p:sp>
      <p:sp>
        <p:nvSpPr>
          <p:cNvPr id="14" name="Rectangle 13">
            <a:extLst>
              <a:ext uri="{FF2B5EF4-FFF2-40B4-BE49-F238E27FC236}">
                <a16:creationId xmlns:a16="http://schemas.microsoft.com/office/drawing/2014/main" id="{C0D63588-96C7-40A7-B303-53B8B7E0E47E}"/>
              </a:ext>
            </a:extLst>
          </p:cNvPr>
          <p:cNvSpPr/>
          <p:nvPr/>
        </p:nvSpPr>
        <p:spPr>
          <a:xfrm>
            <a:off x="7291721" y="1487105"/>
            <a:ext cx="2194504" cy="276999"/>
          </a:xfrm>
          <a:prstGeom prst="rect">
            <a:avLst/>
          </a:prstGeom>
        </p:spPr>
        <p:txBody>
          <a:bodyPr wrap="none" lIns="0" tIns="0" rIns="0" bIns="0">
            <a:noAutofit/>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mj-lt"/>
                <a:ea typeface="ArialUnicodeMS"/>
                <a:cs typeface="Gotham-MediumItalic"/>
              </a:rPr>
              <a:t>Phase 3</a:t>
            </a:r>
          </a:p>
        </p:txBody>
      </p:sp>
      <p:sp>
        <p:nvSpPr>
          <p:cNvPr id="8" name="AutoShape 5">
            <a:extLst>
              <a:ext uri="{FF2B5EF4-FFF2-40B4-BE49-F238E27FC236}">
                <a16:creationId xmlns:a16="http://schemas.microsoft.com/office/drawing/2014/main" id="{42D0B0FB-863F-49E5-A22C-AF72836097E7}"/>
              </a:ext>
            </a:extLst>
          </p:cNvPr>
          <p:cNvSpPr>
            <a:spLocks noChangeArrowheads="1"/>
          </p:cNvSpPr>
          <p:nvPr/>
        </p:nvSpPr>
        <p:spPr bwMode="auto">
          <a:xfrm>
            <a:off x="7291722" y="1763713"/>
            <a:ext cx="2340000" cy="485775"/>
          </a:xfrm>
          <a:prstGeom prst="homePlate">
            <a:avLst>
              <a:gd name="adj" fmla="val 27116"/>
            </a:avLst>
          </a:prstGeom>
          <a:solidFill>
            <a:schemeClr val="accent1"/>
          </a:solidFill>
          <a:ln w="6350">
            <a:noFill/>
            <a:miter lim="800000"/>
            <a:headEnd/>
            <a:tailEnd/>
          </a:ln>
        </p:spPr>
        <p:txBody>
          <a:bodyPr lIns="144000" tIns="72000" rIns="144000" bIns="72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mj-lt"/>
                <a:ea typeface="+mn-ea"/>
                <a:cs typeface="+mn-cs"/>
              </a:rPr>
              <a:t>Name of phase 1</a:t>
            </a:r>
          </a:p>
        </p:txBody>
      </p:sp>
      <p:sp>
        <p:nvSpPr>
          <p:cNvPr id="15" name="Rectangle 14">
            <a:extLst>
              <a:ext uri="{FF2B5EF4-FFF2-40B4-BE49-F238E27FC236}">
                <a16:creationId xmlns:a16="http://schemas.microsoft.com/office/drawing/2014/main" id="{6A129999-96EF-46AE-8E99-FC69CBC96A7E}"/>
              </a:ext>
            </a:extLst>
          </p:cNvPr>
          <p:cNvSpPr/>
          <p:nvPr/>
        </p:nvSpPr>
        <p:spPr>
          <a:xfrm>
            <a:off x="9504498" y="1487105"/>
            <a:ext cx="2194504" cy="276999"/>
          </a:xfrm>
          <a:prstGeom prst="rect">
            <a:avLst/>
          </a:prstGeom>
        </p:spPr>
        <p:txBody>
          <a:bodyPr wrap="none" lIns="0" tIns="0" rIns="0" bIns="0">
            <a:noAutofit/>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mj-lt"/>
                <a:ea typeface="ArialUnicodeMS"/>
                <a:cs typeface="Gotham-MediumItalic"/>
              </a:rPr>
              <a:t>Phase 4</a:t>
            </a:r>
          </a:p>
        </p:txBody>
      </p:sp>
      <p:sp>
        <p:nvSpPr>
          <p:cNvPr id="7" name="AutoShape 5">
            <a:extLst>
              <a:ext uri="{FF2B5EF4-FFF2-40B4-BE49-F238E27FC236}">
                <a16:creationId xmlns:a16="http://schemas.microsoft.com/office/drawing/2014/main" id="{83E9E2C6-BC8C-493F-935C-0D8CEDA6336E}"/>
              </a:ext>
            </a:extLst>
          </p:cNvPr>
          <p:cNvSpPr>
            <a:spLocks noChangeArrowheads="1"/>
          </p:cNvSpPr>
          <p:nvPr/>
        </p:nvSpPr>
        <p:spPr bwMode="auto">
          <a:xfrm>
            <a:off x="9486225" y="1763713"/>
            <a:ext cx="2320776" cy="485775"/>
          </a:xfrm>
          <a:prstGeom prst="homePlate">
            <a:avLst>
              <a:gd name="adj" fmla="val 27116"/>
            </a:avLst>
          </a:prstGeom>
          <a:solidFill>
            <a:schemeClr val="accent4"/>
          </a:solidFill>
          <a:ln w="6350">
            <a:noFill/>
            <a:miter lim="800000"/>
            <a:headEnd/>
            <a:tailEnd/>
          </a:ln>
        </p:spPr>
        <p:txBody>
          <a:bodyPr lIns="144000" tIns="72000" rIns="144000" bIns="72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mj-lt"/>
                <a:ea typeface="+mn-ea"/>
                <a:cs typeface="+mn-cs"/>
              </a:rPr>
              <a:t>Name of phase 1</a:t>
            </a:r>
          </a:p>
        </p:txBody>
      </p:sp>
      <p:graphicFrame>
        <p:nvGraphicFramePr>
          <p:cNvPr id="11" name="Table 10">
            <a:extLst>
              <a:ext uri="{FF2B5EF4-FFF2-40B4-BE49-F238E27FC236}">
                <a16:creationId xmlns:a16="http://schemas.microsoft.com/office/drawing/2014/main" id="{E55D772B-7765-4840-A700-D3B6CBA924C6}"/>
              </a:ext>
            </a:extLst>
          </p:cNvPr>
          <p:cNvGraphicFramePr>
            <a:graphicFrameLocks noGrp="1"/>
          </p:cNvGraphicFramePr>
          <p:nvPr>
            <p:extLst>
              <p:ext uri="{D42A27DB-BD31-4B8C-83A1-F6EECF244321}">
                <p14:modId xmlns:p14="http://schemas.microsoft.com/office/powerpoint/2010/main" val="1454867397"/>
              </p:ext>
            </p:extLst>
          </p:nvPr>
        </p:nvGraphicFramePr>
        <p:xfrm>
          <a:off x="380366" y="2254711"/>
          <a:ext cx="11430000" cy="3748139"/>
        </p:xfrm>
        <a:graphic>
          <a:graphicData uri="http://schemas.openxmlformats.org/drawingml/2006/table">
            <a:tbl>
              <a:tblPr firstRow="1" bandRow="1"/>
              <a:tblGrid>
                <a:gridCol w="2608290">
                  <a:extLst>
                    <a:ext uri="{9D8B030D-6E8A-4147-A177-3AD203B41FA5}">
                      <a16:colId xmlns:a16="http://schemas.microsoft.com/office/drawing/2014/main" val="3257024030"/>
                    </a:ext>
                  </a:extLst>
                </a:gridCol>
                <a:gridCol w="2173035">
                  <a:extLst>
                    <a:ext uri="{9D8B030D-6E8A-4147-A177-3AD203B41FA5}">
                      <a16:colId xmlns:a16="http://schemas.microsoft.com/office/drawing/2014/main" val="3487455746"/>
                    </a:ext>
                  </a:extLst>
                </a:gridCol>
                <a:gridCol w="2163068">
                  <a:extLst>
                    <a:ext uri="{9D8B030D-6E8A-4147-A177-3AD203B41FA5}">
                      <a16:colId xmlns:a16="http://schemas.microsoft.com/office/drawing/2014/main" val="1287227841"/>
                    </a:ext>
                  </a:extLst>
                </a:gridCol>
                <a:gridCol w="2199607">
                  <a:extLst>
                    <a:ext uri="{9D8B030D-6E8A-4147-A177-3AD203B41FA5}">
                      <a16:colId xmlns:a16="http://schemas.microsoft.com/office/drawing/2014/main" val="1001841147"/>
                    </a:ext>
                  </a:extLst>
                </a:gridCol>
                <a:gridCol w="2286000">
                  <a:extLst>
                    <a:ext uri="{9D8B030D-6E8A-4147-A177-3AD203B41FA5}">
                      <a16:colId xmlns:a16="http://schemas.microsoft.com/office/drawing/2014/main" val="859802438"/>
                    </a:ext>
                  </a:extLst>
                </a:gridCol>
              </a:tblGrid>
              <a:tr h="3708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AU" sz="1400" cap="none" baseline="0" dirty="0">
                          <a:latin typeface="+mn-lt"/>
                        </a:rPr>
                        <a:t>Timing</a:t>
                      </a:r>
                      <a:endParaRPr lang="en-GB" sz="1400" cap="none" baseline="0" dirty="0">
                        <a:latin typeface="+mn-lt"/>
                      </a:endParaRPr>
                    </a:p>
                  </a:txBody>
                  <a:tcPr marL="0" anchor="ctr">
                    <a:lnL w="12700" cmpd="sng">
                      <a:solidFill>
                        <a:srgbClr val="FFFFFF"/>
                      </a:solidFill>
                    </a:lnL>
                    <a:lnR w="12700" cmpd="sng">
                      <a:solidFill>
                        <a:srgbClr val="FFFFFF"/>
                      </a:solidFill>
                    </a:lnR>
                    <a:lnT w="12700" cmpd="sng">
                      <a:solidFill>
                        <a:srgbClr val="FFFFFF"/>
                      </a:solidFill>
                    </a:lnT>
                    <a:lnB w="12700" cap="flat" cmpd="sng" algn="ctr">
                      <a:solidFill>
                        <a:srgbClr val="96968C">
                          <a:lumMod val="60000"/>
                          <a:lumOff val="4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400" b="1" dirty="0">
                          <a:latin typeface="+mj-lt"/>
                        </a:rPr>
                        <a:t>2 week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96968C">
                          <a:lumMod val="60000"/>
                          <a:lumOff val="4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400" b="1" dirty="0">
                          <a:latin typeface="+mj-lt"/>
                        </a:rPr>
                        <a:t>4 week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96968C">
                          <a:lumMod val="60000"/>
                          <a:lumOff val="4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400" b="1" dirty="0">
                          <a:latin typeface="+mj-lt"/>
                        </a:rPr>
                        <a:t>3 week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96968C">
                          <a:lumMod val="60000"/>
                          <a:lumOff val="4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400" b="1" dirty="0">
                          <a:latin typeface="+mj-lt"/>
                        </a:rPr>
                        <a:t>2 week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96968C">
                          <a:lumMod val="60000"/>
                          <a:lumOff val="4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3702299"/>
                  </a:ext>
                </a:extLst>
              </a:tr>
              <a:tr h="337729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AU" sz="1400" cap="none" baseline="0" dirty="0">
                          <a:latin typeface="+mn-lt"/>
                        </a:rPr>
                        <a:t>Key tasks</a:t>
                      </a:r>
                      <a:endParaRPr lang="en-GB" sz="1400" cap="none" baseline="0" dirty="0">
                        <a:latin typeface="+mn-lt"/>
                      </a:endParaRPr>
                    </a:p>
                  </a:txBody>
                  <a:tcPr marL="0" marT="108000">
                    <a:lnL w="12700" cmpd="sng">
                      <a:solidFill>
                        <a:srgbClr val="FFFFFF"/>
                      </a:solidFill>
                    </a:lnL>
                    <a:lnR w="12700" cmpd="sng">
                      <a:solidFill>
                        <a:srgbClr val="FFFFFF"/>
                      </a:solidFill>
                    </a:lnR>
                    <a:lnT w="12700" cap="flat" cmpd="sng" algn="ctr">
                      <a:solidFill>
                        <a:srgbClr val="96968C">
                          <a:lumMod val="60000"/>
                          <a:lumOff val="40000"/>
                        </a:srgbClr>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7800" indent="-177800" defTabSz="708025">
                        <a:spcBef>
                          <a:spcPts val="100"/>
                        </a:spcBef>
                        <a:spcAft>
                          <a:spcPts val="100"/>
                        </a:spcAft>
                        <a:buClr>
                          <a:schemeClr val="tx1"/>
                        </a:buClr>
                        <a:buFontTx/>
                        <a:buChar char="•"/>
                      </a:pPr>
                      <a:r>
                        <a:rPr lang="en-US" sz="1400" dirty="0">
                          <a:latin typeface="+mn-lt"/>
                        </a:rPr>
                        <a:t>Task 1</a:t>
                      </a:r>
                    </a:p>
                    <a:p>
                      <a:pPr marL="177800" indent="-177800" defTabSz="708025">
                        <a:spcBef>
                          <a:spcPts val="100"/>
                        </a:spcBef>
                        <a:spcAft>
                          <a:spcPts val="100"/>
                        </a:spcAft>
                        <a:buClr>
                          <a:schemeClr val="tx1"/>
                        </a:buClr>
                        <a:buFontTx/>
                        <a:buChar char="•"/>
                      </a:pPr>
                      <a:r>
                        <a:rPr lang="en-US" sz="1400" dirty="0">
                          <a:latin typeface="+mn-lt"/>
                        </a:rPr>
                        <a:t>Task 2</a:t>
                      </a:r>
                    </a:p>
                    <a:p>
                      <a:pPr marL="177800" indent="-177800" defTabSz="708025">
                        <a:spcBef>
                          <a:spcPts val="100"/>
                        </a:spcBef>
                        <a:spcAft>
                          <a:spcPts val="100"/>
                        </a:spcAft>
                        <a:buClr>
                          <a:schemeClr val="tx1"/>
                        </a:buClr>
                        <a:buFontTx/>
                        <a:buChar char="•"/>
                      </a:pPr>
                      <a:r>
                        <a:rPr lang="en-US" sz="1400" dirty="0">
                          <a:latin typeface="+mn-lt"/>
                        </a:rPr>
                        <a:t>Task 3</a:t>
                      </a:r>
                      <a:endParaRPr lang="en-GB" sz="1400" dirty="0">
                        <a:latin typeface="+mn-lt"/>
                      </a:endParaRPr>
                    </a:p>
                  </a:txBody>
                  <a:tcPr marT="108000">
                    <a:lnL w="12700" cmpd="sng">
                      <a:solidFill>
                        <a:srgbClr val="FFFFFF"/>
                      </a:solidFill>
                    </a:lnL>
                    <a:lnR w="12700" cmpd="sng">
                      <a:solidFill>
                        <a:srgbClr val="FFFFFF"/>
                      </a:solidFill>
                    </a:lnR>
                    <a:lnT w="12700" cap="flat" cmpd="sng" algn="ctr">
                      <a:solidFill>
                        <a:srgbClr val="96968C">
                          <a:lumMod val="60000"/>
                          <a:lumOff val="40000"/>
                        </a:srgbClr>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7800" indent="-177800" defTabSz="708025">
                        <a:spcBef>
                          <a:spcPts val="100"/>
                        </a:spcBef>
                        <a:spcAft>
                          <a:spcPts val="100"/>
                        </a:spcAft>
                        <a:buClr>
                          <a:schemeClr val="tx1"/>
                        </a:buClr>
                        <a:buFontTx/>
                        <a:buChar char="•"/>
                      </a:pPr>
                      <a:r>
                        <a:rPr lang="en-US" sz="1400" dirty="0">
                          <a:latin typeface="+mn-lt"/>
                        </a:rPr>
                        <a:t>Task 1</a:t>
                      </a:r>
                    </a:p>
                    <a:p>
                      <a:pPr marL="177800" indent="-177800" defTabSz="708025">
                        <a:spcBef>
                          <a:spcPts val="100"/>
                        </a:spcBef>
                        <a:spcAft>
                          <a:spcPts val="100"/>
                        </a:spcAft>
                        <a:buClr>
                          <a:schemeClr val="tx1"/>
                        </a:buClr>
                        <a:buFontTx/>
                        <a:buChar char="•"/>
                      </a:pPr>
                      <a:r>
                        <a:rPr lang="en-US" sz="1400" dirty="0">
                          <a:latin typeface="+mn-lt"/>
                        </a:rPr>
                        <a:t>Task 2</a:t>
                      </a:r>
                    </a:p>
                    <a:p>
                      <a:pPr marL="177800" indent="-177800" defTabSz="708025">
                        <a:spcBef>
                          <a:spcPts val="100"/>
                        </a:spcBef>
                        <a:spcAft>
                          <a:spcPts val="100"/>
                        </a:spcAft>
                        <a:buClr>
                          <a:schemeClr val="tx1"/>
                        </a:buClr>
                        <a:buFontTx/>
                        <a:buChar char="•"/>
                      </a:pPr>
                      <a:r>
                        <a:rPr lang="en-US" sz="1400" dirty="0">
                          <a:latin typeface="+mn-lt"/>
                        </a:rPr>
                        <a:t>Task 3</a:t>
                      </a:r>
                      <a:endParaRPr lang="en-GB" sz="1400" dirty="0">
                        <a:latin typeface="+mn-lt"/>
                      </a:endParaRPr>
                    </a:p>
                    <a:p>
                      <a:endParaRPr lang="en-GB" sz="1400" dirty="0">
                        <a:latin typeface="+mn-lt"/>
                      </a:endParaRPr>
                    </a:p>
                  </a:txBody>
                  <a:tcPr marT="108000">
                    <a:lnL w="12700" cmpd="sng">
                      <a:solidFill>
                        <a:srgbClr val="FFFFFF"/>
                      </a:solidFill>
                    </a:lnL>
                    <a:lnR w="12700" cmpd="sng">
                      <a:solidFill>
                        <a:srgbClr val="FFFFFF"/>
                      </a:solidFill>
                    </a:lnR>
                    <a:lnT w="12700" cap="flat" cmpd="sng" algn="ctr">
                      <a:solidFill>
                        <a:srgbClr val="96968C">
                          <a:lumMod val="60000"/>
                          <a:lumOff val="40000"/>
                        </a:srgbClr>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7800" indent="-177800" defTabSz="708025">
                        <a:spcBef>
                          <a:spcPts val="100"/>
                        </a:spcBef>
                        <a:spcAft>
                          <a:spcPts val="100"/>
                        </a:spcAft>
                        <a:buClr>
                          <a:schemeClr val="tx1"/>
                        </a:buClr>
                        <a:buFontTx/>
                        <a:buChar char="•"/>
                      </a:pPr>
                      <a:r>
                        <a:rPr lang="en-US" sz="1400" dirty="0">
                          <a:latin typeface="+mn-lt"/>
                        </a:rPr>
                        <a:t>Task 1</a:t>
                      </a:r>
                    </a:p>
                    <a:p>
                      <a:pPr marL="177800" indent="-177800" defTabSz="708025">
                        <a:spcBef>
                          <a:spcPts val="100"/>
                        </a:spcBef>
                        <a:spcAft>
                          <a:spcPts val="100"/>
                        </a:spcAft>
                        <a:buClr>
                          <a:schemeClr val="tx1"/>
                        </a:buClr>
                        <a:buFontTx/>
                        <a:buChar char="•"/>
                      </a:pPr>
                      <a:r>
                        <a:rPr lang="en-US" sz="1400" dirty="0">
                          <a:latin typeface="+mn-lt"/>
                        </a:rPr>
                        <a:t>Task 2</a:t>
                      </a:r>
                    </a:p>
                    <a:p>
                      <a:pPr marL="177800" indent="-177800" defTabSz="708025">
                        <a:spcBef>
                          <a:spcPts val="100"/>
                        </a:spcBef>
                        <a:spcAft>
                          <a:spcPts val="100"/>
                        </a:spcAft>
                        <a:buClr>
                          <a:schemeClr val="tx1"/>
                        </a:buClr>
                        <a:buFontTx/>
                        <a:buChar char="•"/>
                      </a:pPr>
                      <a:r>
                        <a:rPr lang="en-US" sz="1400" dirty="0">
                          <a:latin typeface="+mn-lt"/>
                        </a:rPr>
                        <a:t>Task 3</a:t>
                      </a:r>
                      <a:endParaRPr lang="en-GB" sz="1400" dirty="0">
                        <a:latin typeface="+mn-lt"/>
                      </a:endParaRPr>
                    </a:p>
                    <a:p>
                      <a:endParaRPr lang="en-GB" sz="1400" dirty="0">
                        <a:latin typeface="+mn-lt"/>
                      </a:endParaRPr>
                    </a:p>
                  </a:txBody>
                  <a:tcPr marT="108000">
                    <a:lnL w="12700" cmpd="sng">
                      <a:solidFill>
                        <a:srgbClr val="FFFFFF"/>
                      </a:solidFill>
                    </a:lnL>
                    <a:lnR w="12700" cmpd="sng">
                      <a:solidFill>
                        <a:srgbClr val="FFFFFF"/>
                      </a:solidFill>
                    </a:lnR>
                    <a:lnT w="12700" cap="flat" cmpd="sng" algn="ctr">
                      <a:solidFill>
                        <a:srgbClr val="96968C">
                          <a:lumMod val="60000"/>
                          <a:lumOff val="40000"/>
                        </a:srgbClr>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7800" indent="-177800" defTabSz="708025">
                        <a:spcBef>
                          <a:spcPts val="100"/>
                        </a:spcBef>
                        <a:spcAft>
                          <a:spcPts val="100"/>
                        </a:spcAft>
                        <a:buClr>
                          <a:schemeClr val="tx1"/>
                        </a:buClr>
                        <a:buFontTx/>
                        <a:buChar char="•"/>
                      </a:pPr>
                      <a:r>
                        <a:rPr lang="en-US" sz="1400" dirty="0">
                          <a:latin typeface="+mn-lt"/>
                        </a:rPr>
                        <a:t>Task 1</a:t>
                      </a:r>
                    </a:p>
                    <a:p>
                      <a:pPr marL="177800" indent="-177800" defTabSz="708025">
                        <a:spcBef>
                          <a:spcPts val="100"/>
                        </a:spcBef>
                        <a:spcAft>
                          <a:spcPts val="100"/>
                        </a:spcAft>
                        <a:buClr>
                          <a:schemeClr val="tx1"/>
                        </a:buClr>
                        <a:buFontTx/>
                        <a:buChar char="•"/>
                      </a:pPr>
                      <a:r>
                        <a:rPr lang="en-US" sz="1400" dirty="0">
                          <a:latin typeface="+mn-lt"/>
                        </a:rPr>
                        <a:t>Task 2</a:t>
                      </a:r>
                    </a:p>
                    <a:p>
                      <a:pPr marL="177800" indent="-177800" defTabSz="708025">
                        <a:spcBef>
                          <a:spcPts val="100"/>
                        </a:spcBef>
                        <a:spcAft>
                          <a:spcPts val="100"/>
                        </a:spcAft>
                        <a:buClr>
                          <a:schemeClr val="tx1"/>
                        </a:buClr>
                        <a:buFontTx/>
                        <a:buChar char="•"/>
                      </a:pPr>
                      <a:r>
                        <a:rPr lang="en-US" sz="1400" dirty="0">
                          <a:latin typeface="+mn-lt"/>
                        </a:rPr>
                        <a:t>Task 3</a:t>
                      </a:r>
                      <a:endParaRPr lang="en-GB" sz="1400" dirty="0">
                        <a:latin typeface="+mn-lt"/>
                      </a:endParaRPr>
                    </a:p>
                    <a:p>
                      <a:endParaRPr lang="en-GB" sz="1400" dirty="0">
                        <a:latin typeface="+mn-lt"/>
                      </a:endParaRPr>
                    </a:p>
                  </a:txBody>
                  <a:tcPr marT="108000">
                    <a:lnL w="12700" cmpd="sng">
                      <a:solidFill>
                        <a:srgbClr val="FFFFFF"/>
                      </a:solidFill>
                    </a:lnL>
                    <a:lnR w="12700" cmpd="sng">
                      <a:solidFill>
                        <a:srgbClr val="FFFFFF"/>
                      </a:solidFill>
                    </a:lnR>
                    <a:lnT w="12700" cap="flat" cmpd="sng" algn="ctr">
                      <a:solidFill>
                        <a:srgbClr val="96968C">
                          <a:lumMod val="60000"/>
                          <a:lumOff val="40000"/>
                        </a:srgbClr>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2767826105"/>
                  </a:ext>
                </a:extLst>
              </a:tr>
            </a:tbl>
          </a:graphicData>
        </a:graphic>
      </p:graphicFrame>
      <p:grpSp>
        <p:nvGrpSpPr>
          <p:cNvPr id="16" name="Group 15">
            <a:extLst>
              <a:ext uri="{FF2B5EF4-FFF2-40B4-BE49-F238E27FC236}">
                <a16:creationId xmlns:a16="http://schemas.microsoft.com/office/drawing/2014/main" id="{2D29F856-0199-4C0D-BE47-DB1D8BCC0EC0}"/>
              </a:ext>
              <a:ext uri="{C183D7F6-B498-43B3-948B-1728B52AA6E4}">
                <adec:decorative xmlns:adec="http://schemas.microsoft.com/office/drawing/2017/decorative" val="1"/>
              </a:ext>
            </a:extLst>
          </p:cNvPr>
          <p:cNvGrpSpPr/>
          <p:nvPr/>
        </p:nvGrpSpPr>
        <p:grpSpPr>
          <a:xfrm>
            <a:off x="9912680" y="1108215"/>
            <a:ext cx="1942769" cy="209821"/>
            <a:chOff x="9912680" y="1108215"/>
            <a:chExt cx="1942769" cy="209821"/>
          </a:xfrm>
        </p:grpSpPr>
        <p:sp>
          <p:nvSpPr>
            <p:cNvPr id="17" name="AutoShape 5">
              <a:extLst>
                <a:ext uri="{FF2B5EF4-FFF2-40B4-BE49-F238E27FC236}">
                  <a16:creationId xmlns:a16="http://schemas.microsoft.com/office/drawing/2014/main" id="{E0F5AD2B-A5FA-4A5E-B86A-8B00233D6956}"/>
                </a:ext>
              </a:extLst>
            </p:cNvPr>
            <p:cNvSpPr>
              <a:spLocks noChangeArrowheads="1"/>
            </p:cNvSpPr>
            <p:nvPr/>
          </p:nvSpPr>
          <p:spPr bwMode="auto">
            <a:xfrm>
              <a:off x="11288493" y="1108215"/>
              <a:ext cx="566956" cy="209821"/>
            </a:xfrm>
            <a:prstGeom prst="homePlate">
              <a:avLst>
                <a:gd name="adj" fmla="val 27116"/>
              </a:avLst>
            </a:prstGeom>
            <a:solidFill>
              <a:srgbClr val="96968C">
                <a:lumMod val="40000"/>
                <a:lumOff val="60000"/>
              </a:srgbClr>
            </a:solidFill>
            <a:ln w="12700">
              <a:solidFill>
                <a:srgbClr val="FFFFFF"/>
              </a:solidFill>
              <a:miter lim="800000"/>
              <a:headEnd/>
              <a:tailEnd/>
            </a:ln>
          </p:spPr>
          <p:txBody>
            <a:bodyPr lIns="144000" tIns="72000" rIns="144000" bIns="72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8" name="AutoShape 5">
              <a:extLst>
                <a:ext uri="{FF2B5EF4-FFF2-40B4-BE49-F238E27FC236}">
                  <a16:creationId xmlns:a16="http://schemas.microsoft.com/office/drawing/2014/main" id="{1091F1E7-61A9-4242-AF25-0BFEF3223D52}"/>
                </a:ext>
              </a:extLst>
            </p:cNvPr>
            <p:cNvSpPr>
              <a:spLocks noChangeArrowheads="1"/>
            </p:cNvSpPr>
            <p:nvPr/>
          </p:nvSpPr>
          <p:spPr bwMode="auto">
            <a:xfrm>
              <a:off x="10829888" y="1108215"/>
              <a:ext cx="571652" cy="209821"/>
            </a:xfrm>
            <a:prstGeom prst="homePlate">
              <a:avLst>
                <a:gd name="adj" fmla="val 27116"/>
              </a:avLst>
            </a:prstGeom>
            <a:solidFill>
              <a:srgbClr val="96968C">
                <a:lumMod val="40000"/>
                <a:lumOff val="60000"/>
              </a:srgbClr>
            </a:solidFill>
            <a:ln w="12700">
              <a:solidFill>
                <a:srgbClr val="FFFFFF"/>
              </a:solidFill>
              <a:miter lim="800000"/>
              <a:headEnd/>
              <a:tailEnd/>
            </a:ln>
          </p:spPr>
          <p:txBody>
            <a:bodyPr lIns="144000" tIns="72000" rIns="144000" bIns="72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9" name="AutoShape 5">
              <a:extLst>
                <a:ext uri="{FF2B5EF4-FFF2-40B4-BE49-F238E27FC236}">
                  <a16:creationId xmlns:a16="http://schemas.microsoft.com/office/drawing/2014/main" id="{0FFF6294-436B-44F2-A0EC-8E5ABF63D128}"/>
                </a:ext>
              </a:extLst>
            </p:cNvPr>
            <p:cNvSpPr>
              <a:spLocks noChangeArrowheads="1"/>
            </p:cNvSpPr>
            <p:nvPr/>
          </p:nvSpPr>
          <p:spPr bwMode="auto">
            <a:xfrm>
              <a:off x="10371284" y="1108215"/>
              <a:ext cx="571652" cy="209821"/>
            </a:xfrm>
            <a:prstGeom prst="homePlate">
              <a:avLst>
                <a:gd name="adj" fmla="val 27116"/>
              </a:avLst>
            </a:prstGeom>
            <a:solidFill>
              <a:srgbClr val="96968C">
                <a:lumMod val="40000"/>
                <a:lumOff val="60000"/>
              </a:srgbClr>
            </a:solidFill>
            <a:ln w="12700">
              <a:solidFill>
                <a:srgbClr val="FFFFFF"/>
              </a:solidFill>
              <a:miter lim="800000"/>
              <a:headEnd/>
              <a:tailEnd/>
            </a:ln>
          </p:spPr>
          <p:txBody>
            <a:bodyPr lIns="144000" tIns="72000" rIns="144000" bIns="72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20" name="AutoShape 5">
              <a:extLst>
                <a:ext uri="{FF2B5EF4-FFF2-40B4-BE49-F238E27FC236}">
                  <a16:creationId xmlns:a16="http://schemas.microsoft.com/office/drawing/2014/main" id="{7A724ABD-C620-4DEF-9B93-33934EA21BAA}"/>
                </a:ext>
              </a:extLst>
            </p:cNvPr>
            <p:cNvSpPr>
              <a:spLocks noChangeArrowheads="1"/>
            </p:cNvSpPr>
            <p:nvPr/>
          </p:nvSpPr>
          <p:spPr bwMode="auto">
            <a:xfrm>
              <a:off x="9912680" y="1108215"/>
              <a:ext cx="571652" cy="209821"/>
            </a:xfrm>
            <a:prstGeom prst="homePlate">
              <a:avLst>
                <a:gd name="adj" fmla="val 27116"/>
              </a:avLst>
            </a:prstGeom>
            <a:solidFill>
              <a:srgbClr val="A100FF"/>
            </a:solidFill>
            <a:ln w="12700">
              <a:solidFill>
                <a:srgbClr val="FFFFFF"/>
              </a:solidFill>
              <a:miter lim="800000"/>
              <a:headEnd/>
              <a:tailEnd/>
            </a:ln>
          </p:spPr>
          <p:txBody>
            <a:bodyPr lIns="144000" tIns="72000" rIns="144000" bIns="72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sp>
        <p:nvSpPr>
          <p:cNvPr id="3" name="Footer Placeholder 2">
            <a:extLst>
              <a:ext uri="{FF2B5EF4-FFF2-40B4-BE49-F238E27FC236}">
                <a16:creationId xmlns:a16="http://schemas.microsoft.com/office/drawing/2014/main" id="{E4E0A698-2509-49C8-95EE-0703C3E27979}"/>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4" name="Slide Number Placeholder 3">
            <a:extLst>
              <a:ext uri="{FF2B5EF4-FFF2-40B4-BE49-F238E27FC236}">
                <a16:creationId xmlns:a16="http://schemas.microsoft.com/office/drawing/2014/main" id="{0D0512DE-6F8A-4D7D-B3DA-9D5835FA08E4}"/>
              </a:ext>
            </a:extLst>
          </p:cNvPr>
          <p:cNvSpPr>
            <a:spLocks noGrp="1"/>
          </p:cNvSpPr>
          <p:nvPr>
            <p:ph type="sldNum" sz="quarter" idx="10"/>
          </p:nvPr>
        </p:nvSpPr>
        <p:spPr/>
        <p:txBody>
          <a:bodyPr/>
          <a:lstStyle/>
          <a:p>
            <a:fld id="{1F90F471-3972-4120-B8B3-0237DE626C35}" type="slidenum">
              <a:rPr lang="en-US" smtClean="0"/>
              <a:pPr/>
              <a:t>371</a:t>
            </a:fld>
            <a:endParaRPr lang="en-US" dirty="0"/>
          </a:p>
        </p:txBody>
      </p:sp>
    </p:spTree>
    <p:extLst>
      <p:ext uri="{BB962C8B-B14F-4D97-AF65-F5344CB8AC3E}">
        <p14:creationId xmlns:p14="http://schemas.microsoft.com/office/powerpoint/2010/main" val="1885043573"/>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C19AF25-CE3E-4D10-96DD-4E666FF5020A}"/>
              </a:ext>
            </a:extLst>
          </p:cNvPr>
          <p:cNvSpPr>
            <a:spLocks noGrp="1"/>
          </p:cNvSpPr>
          <p:nvPr>
            <p:ph type="title"/>
          </p:nvPr>
        </p:nvSpPr>
        <p:spPr/>
        <p:txBody>
          <a:bodyPr/>
          <a:lstStyle/>
          <a:p>
            <a:r>
              <a:rPr lang="en-US" dirty="0"/>
              <a:t>Implementation Plan</a:t>
            </a:r>
          </a:p>
        </p:txBody>
      </p:sp>
      <p:sp>
        <p:nvSpPr>
          <p:cNvPr id="13" name="Rectangle 7">
            <a:extLst>
              <a:ext uri="{FF2B5EF4-FFF2-40B4-BE49-F238E27FC236}">
                <a16:creationId xmlns:a16="http://schemas.microsoft.com/office/drawing/2014/main" id="{26054D6E-C656-435B-B55A-76A5EB191183}"/>
              </a:ext>
            </a:extLst>
          </p:cNvPr>
          <p:cNvSpPr>
            <a:spLocks noChangeArrowheads="1"/>
          </p:cNvSpPr>
          <p:nvPr/>
        </p:nvSpPr>
        <p:spPr bwMode="auto">
          <a:xfrm>
            <a:off x="4606027" y="1306272"/>
            <a:ext cx="4422357" cy="392807"/>
          </a:xfrm>
          <a:prstGeom prst="rect">
            <a:avLst/>
          </a:prstGeom>
          <a:noFill/>
          <a:ln w="6350">
            <a:noFill/>
            <a:miter lim="800000"/>
            <a:headEnd/>
            <a:tailEnd/>
          </a:ln>
          <a:effectLst/>
        </p:spPr>
        <p:txBody>
          <a:bodyPr lIns="0" tIns="72000" rIns="72000" bIns="72000" anchor="b"/>
          <a:lstStyle/>
          <a:p>
            <a:pPr marL="0" marR="0" lvl="0" indent="0" algn="l" defTabSz="739775" rtl="0" eaLnBrk="0" fontAlgn="auto" latinLnBrk="0" hangingPunct="0">
              <a:lnSpc>
                <a:spcPct val="10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mj-lt"/>
                <a:ea typeface="+mn-ea"/>
                <a:cs typeface="+mn-cs"/>
              </a:rPr>
              <a:t>Activities per phase</a:t>
            </a:r>
          </a:p>
        </p:txBody>
      </p:sp>
      <p:sp>
        <p:nvSpPr>
          <p:cNvPr id="14" name="Rectangle 4">
            <a:extLst>
              <a:ext uri="{FF2B5EF4-FFF2-40B4-BE49-F238E27FC236}">
                <a16:creationId xmlns:a16="http://schemas.microsoft.com/office/drawing/2014/main" id="{5507E7CE-03AB-4E8C-9E68-1A9169DE1220}"/>
              </a:ext>
            </a:extLst>
          </p:cNvPr>
          <p:cNvSpPr>
            <a:spLocks noChangeArrowheads="1"/>
          </p:cNvSpPr>
          <p:nvPr/>
        </p:nvSpPr>
        <p:spPr bwMode="auto">
          <a:xfrm>
            <a:off x="1582918" y="2881086"/>
            <a:ext cx="1017588" cy="215444"/>
          </a:xfrm>
          <a:prstGeom prst="rect">
            <a:avLst/>
          </a:prstGeom>
          <a:noFill/>
          <a:ln w="6350">
            <a:noFill/>
            <a:miter lim="800000"/>
            <a:headEnd/>
            <a:tailEnd/>
          </a:ln>
          <a:effectLst/>
        </p:spPr>
        <p:txBody>
          <a:bodyPr lIns="0" tIns="0" rIns="0" bIns="0">
            <a:spAutoFit/>
          </a:bodyPr>
          <a:lstStyle/>
          <a:p>
            <a:pPr marL="0" marR="0" lvl="0" indent="0" algn="r" defTabSz="739775"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Review</a:t>
            </a:r>
          </a:p>
        </p:txBody>
      </p:sp>
      <p:sp>
        <p:nvSpPr>
          <p:cNvPr id="12" name="AutoShape 9">
            <a:extLst>
              <a:ext uri="{FF2B5EF4-FFF2-40B4-BE49-F238E27FC236}">
                <a16:creationId xmlns:a16="http://schemas.microsoft.com/office/drawing/2014/main" id="{918B20BF-DF94-4454-9E51-696931915242}"/>
              </a:ext>
            </a:extLst>
          </p:cNvPr>
          <p:cNvSpPr>
            <a:spLocks noChangeArrowheads="1"/>
          </p:cNvSpPr>
          <p:nvPr/>
        </p:nvSpPr>
        <p:spPr bwMode="auto">
          <a:xfrm rot="16200000" flipH="1">
            <a:off x="2788987" y="1796255"/>
            <a:ext cx="1738583" cy="1677283"/>
          </a:xfrm>
          <a:prstGeom prst="homePlate">
            <a:avLst>
              <a:gd name="adj" fmla="val 33521"/>
            </a:avLst>
          </a:prstGeom>
          <a:solidFill>
            <a:schemeClr val="accent3"/>
          </a:solidFill>
          <a:ln w="6350">
            <a:noFill/>
            <a:miter lim="800000"/>
            <a:headEnd/>
            <a:tailEnd/>
          </a:ln>
          <a:effectLst/>
        </p:spPr>
        <p:txBody>
          <a:bodyPr vert="eaVert" wrap="none" lIns="45720" rIns="45720" anchor="ctr"/>
          <a:lstStyle/>
          <a:p>
            <a:pPr marL="0" marR="0" lvl="0" indent="0" algn="ctr" defTabSz="914400" rtl="0" eaLnBrk="0" fontAlgn="auto" latinLnBrk="0" hangingPunct="0">
              <a:lnSpc>
                <a:spcPct val="85000"/>
              </a:lnSpc>
              <a:spcBef>
                <a:spcPts val="100"/>
              </a:spcBef>
              <a:spcAft>
                <a:spcPts val="300"/>
              </a:spcAft>
              <a:buClr>
                <a:srgbClr val="FFFFFF"/>
              </a:buClr>
              <a:buSzTx/>
              <a:buFontTx/>
              <a:buNone/>
              <a:tabLst/>
              <a:defRPr/>
            </a:pPr>
            <a:r>
              <a:rPr kumimoji="0" lang="en-GB" sz="1600" b="1" i="0" u="none" strike="noStrike" kern="0" cap="none" spc="0" normalizeH="0" baseline="0" noProof="0" dirty="0">
                <a:ln>
                  <a:noFill/>
                </a:ln>
                <a:solidFill>
                  <a:srgbClr val="FFFFFF"/>
                </a:solidFill>
                <a:effectLst/>
                <a:uLnTx/>
                <a:uFillTx/>
                <a:latin typeface="+mj-lt"/>
                <a:ea typeface="+mn-ea"/>
                <a:cs typeface="+mn-cs"/>
              </a:rPr>
              <a:t>Phase 1</a:t>
            </a:r>
          </a:p>
        </p:txBody>
      </p:sp>
      <p:sp>
        <p:nvSpPr>
          <p:cNvPr id="9" name="Rectangle 6">
            <a:extLst>
              <a:ext uri="{FF2B5EF4-FFF2-40B4-BE49-F238E27FC236}">
                <a16:creationId xmlns:a16="http://schemas.microsoft.com/office/drawing/2014/main" id="{E679E93E-69B6-4085-9A31-324BD9158C78}"/>
              </a:ext>
            </a:extLst>
          </p:cNvPr>
          <p:cNvSpPr>
            <a:spLocks noChangeArrowheads="1"/>
          </p:cNvSpPr>
          <p:nvPr/>
        </p:nvSpPr>
        <p:spPr bwMode="auto">
          <a:xfrm>
            <a:off x="4606028" y="1765605"/>
            <a:ext cx="4422358" cy="1170298"/>
          </a:xfrm>
          <a:prstGeom prst="rect">
            <a:avLst/>
          </a:prstGeom>
          <a:solidFill>
            <a:schemeClr val="accent3"/>
          </a:solidFill>
          <a:ln w="6350">
            <a:noFill/>
            <a:miter lim="800000"/>
            <a:headEnd/>
            <a:tailEnd/>
          </a:ln>
        </p:spPr>
        <p:txBody>
          <a:bodyPr lIns="252000" tIns="144000" rIns="72000" bIns="72000"/>
          <a:lstStyle/>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400" b="0" i="0" u="none" strike="noStrike" kern="0" cap="none" spc="0" normalizeH="0" baseline="0" noProof="0" dirty="0">
                <a:ln>
                  <a:noFill/>
                </a:ln>
                <a:solidFill>
                  <a:srgbClr val="FFFFFF"/>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400" b="0" i="0" u="none" strike="noStrike" kern="0" cap="none" spc="0" normalizeH="0" baseline="0" noProof="0" dirty="0">
                <a:ln>
                  <a:noFill/>
                </a:ln>
                <a:solidFill>
                  <a:srgbClr val="FFFFFF"/>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400" b="0" i="0" u="none" strike="noStrike" kern="0" cap="none" spc="0" normalizeH="0" baseline="0" noProof="0" dirty="0">
                <a:ln>
                  <a:noFill/>
                </a:ln>
                <a:solidFill>
                  <a:srgbClr val="FFFFFF"/>
                </a:solidFill>
                <a:effectLst/>
                <a:uLnTx/>
                <a:uFillTx/>
                <a:ea typeface="+mn-ea"/>
                <a:cs typeface="+mn-cs"/>
              </a:rPr>
              <a:t>Text</a:t>
            </a:r>
          </a:p>
        </p:txBody>
      </p:sp>
      <p:sp>
        <p:nvSpPr>
          <p:cNvPr id="15" name="Rectangle 5">
            <a:extLst>
              <a:ext uri="{FF2B5EF4-FFF2-40B4-BE49-F238E27FC236}">
                <a16:creationId xmlns:a16="http://schemas.microsoft.com/office/drawing/2014/main" id="{1F4879B0-717E-4B60-A8C3-56C1DF49388A}"/>
              </a:ext>
            </a:extLst>
          </p:cNvPr>
          <p:cNvSpPr>
            <a:spLocks noChangeArrowheads="1"/>
          </p:cNvSpPr>
          <p:nvPr/>
        </p:nvSpPr>
        <p:spPr bwMode="auto">
          <a:xfrm>
            <a:off x="1582918" y="4111533"/>
            <a:ext cx="1016000" cy="215444"/>
          </a:xfrm>
          <a:prstGeom prst="rect">
            <a:avLst/>
          </a:prstGeom>
          <a:noFill/>
          <a:ln w="6350">
            <a:noFill/>
            <a:miter lim="800000"/>
            <a:headEnd/>
            <a:tailEnd/>
          </a:ln>
          <a:effectLst/>
        </p:spPr>
        <p:txBody>
          <a:bodyPr lIns="0" tIns="0" rIns="0" bIns="0">
            <a:spAutoFit/>
          </a:bodyPr>
          <a:lstStyle/>
          <a:p>
            <a:pPr marL="0" marR="0" lvl="0" indent="0" algn="r" defTabSz="739775"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Review</a:t>
            </a:r>
          </a:p>
        </p:txBody>
      </p:sp>
      <p:sp>
        <p:nvSpPr>
          <p:cNvPr id="7" name="Freeform: Shape 6">
            <a:extLst>
              <a:ext uri="{FF2B5EF4-FFF2-40B4-BE49-F238E27FC236}">
                <a16:creationId xmlns:a16="http://schemas.microsoft.com/office/drawing/2014/main" id="{5BFD1CC1-4B10-4600-B121-56D178A42AC3}"/>
              </a:ext>
            </a:extLst>
          </p:cNvPr>
          <p:cNvSpPr>
            <a:spLocks noChangeArrowheads="1"/>
          </p:cNvSpPr>
          <p:nvPr/>
        </p:nvSpPr>
        <p:spPr bwMode="auto">
          <a:xfrm rot="16200000" flipH="1">
            <a:off x="2818175" y="3063362"/>
            <a:ext cx="1680208" cy="1677283"/>
          </a:xfrm>
          <a:custGeom>
            <a:avLst/>
            <a:gdLst>
              <a:gd name="connsiteX0" fmla="*/ 0 w 1785883"/>
              <a:gd name="connsiteY0" fmla="*/ 1782773 h 1782774"/>
              <a:gd name="connsiteX1" fmla="*/ 0 w 1785883"/>
              <a:gd name="connsiteY1" fmla="*/ 1782774 h 1782774"/>
              <a:gd name="connsiteX2" fmla="*/ 1191631 w 1785883"/>
              <a:gd name="connsiteY2" fmla="*/ 1782774 h 1782774"/>
              <a:gd name="connsiteX3" fmla="*/ 1785883 w 1785883"/>
              <a:gd name="connsiteY3" fmla="*/ 891387 h 1782774"/>
              <a:gd name="connsiteX4" fmla="*/ 1191631 w 1785883"/>
              <a:gd name="connsiteY4" fmla="*/ 0 h 1782774"/>
              <a:gd name="connsiteX5" fmla="*/ 3834 w 1785883"/>
              <a:gd name="connsiteY5" fmla="*/ 0 h 1782774"/>
              <a:gd name="connsiteX6" fmla="*/ 601438 w 1785883"/>
              <a:gd name="connsiteY6" fmla="*/ 891387 h 1782774"/>
              <a:gd name="connsiteX7" fmla="*/ 3834 w 1785883"/>
              <a:gd name="connsiteY7" fmla="*/ 1782773 h 178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5883" h="1782774">
                <a:moveTo>
                  <a:pt x="0" y="1782773"/>
                </a:moveTo>
                <a:lnTo>
                  <a:pt x="0" y="1782774"/>
                </a:lnTo>
                <a:lnTo>
                  <a:pt x="1191631" y="1782774"/>
                </a:lnTo>
                <a:lnTo>
                  <a:pt x="1785883" y="891387"/>
                </a:lnTo>
                <a:lnTo>
                  <a:pt x="1191631" y="0"/>
                </a:lnTo>
                <a:lnTo>
                  <a:pt x="3834" y="0"/>
                </a:lnTo>
                <a:lnTo>
                  <a:pt x="601438" y="891387"/>
                </a:lnTo>
                <a:lnTo>
                  <a:pt x="3834" y="1782773"/>
                </a:lnTo>
                <a:close/>
              </a:path>
            </a:pathLst>
          </a:custGeom>
          <a:solidFill>
            <a:schemeClr val="accent2"/>
          </a:solidFill>
          <a:ln w="6350">
            <a:noFill/>
            <a:miter lim="800000"/>
            <a:headEnd/>
            <a:tailEnd/>
          </a:ln>
          <a:effectLst/>
        </p:spPr>
        <p:txBody>
          <a:bodyPr vert="eaVert" wrap="square" lIns="36000" tIns="0" rIns="252000" anchor="ctr">
            <a:noAutofit/>
          </a:bodyPr>
          <a:lstStyle/>
          <a:p>
            <a:pPr marL="0" marR="0" lvl="0" indent="0" algn="ctr" defTabSz="914400" rtl="0" eaLnBrk="0" fontAlgn="auto" latinLnBrk="0" hangingPunct="0">
              <a:lnSpc>
                <a:spcPct val="85000"/>
              </a:lnSpc>
              <a:spcBef>
                <a:spcPts val="100"/>
              </a:spcBef>
              <a:spcAft>
                <a:spcPts val="300"/>
              </a:spcAft>
              <a:buClr>
                <a:srgbClr val="FFFFFF"/>
              </a:buClr>
              <a:buSzTx/>
              <a:buFontTx/>
              <a:buNone/>
              <a:tabLst/>
              <a:defRPr/>
            </a:pPr>
            <a:r>
              <a:rPr kumimoji="0" lang="en-AU" sz="1600" b="1" i="0" u="none" strike="noStrike" kern="0" cap="none" spc="0" normalizeH="0" baseline="0" noProof="0" dirty="0">
                <a:ln>
                  <a:noFill/>
                </a:ln>
                <a:solidFill>
                  <a:srgbClr val="FFFFFF"/>
                </a:solidFill>
                <a:effectLst/>
                <a:uLnTx/>
                <a:uFillTx/>
                <a:latin typeface="+mj-lt"/>
                <a:ea typeface="+mn-ea"/>
                <a:cs typeface="+mn-cs"/>
              </a:rPr>
              <a:t>Phase 2</a:t>
            </a:r>
            <a:endParaRPr kumimoji="0" lang="en-GB" sz="1600" b="1" i="0" u="none" strike="noStrike" kern="0" cap="none" spc="0" normalizeH="0" baseline="0" noProof="0" dirty="0">
              <a:ln>
                <a:noFill/>
              </a:ln>
              <a:solidFill>
                <a:srgbClr val="FFFFFF"/>
              </a:solidFill>
              <a:effectLst/>
              <a:uLnTx/>
              <a:uFillTx/>
              <a:latin typeface="+mj-lt"/>
              <a:ea typeface="+mn-ea"/>
              <a:cs typeface="+mn-cs"/>
            </a:endParaRPr>
          </a:p>
        </p:txBody>
      </p:sp>
      <p:sp>
        <p:nvSpPr>
          <p:cNvPr id="10" name="Rectangle 7">
            <a:extLst>
              <a:ext uri="{FF2B5EF4-FFF2-40B4-BE49-F238E27FC236}">
                <a16:creationId xmlns:a16="http://schemas.microsoft.com/office/drawing/2014/main" id="{55E61B14-7579-4740-9362-D9D53B2AB329}"/>
              </a:ext>
            </a:extLst>
          </p:cNvPr>
          <p:cNvSpPr>
            <a:spLocks noChangeArrowheads="1"/>
          </p:cNvSpPr>
          <p:nvPr/>
        </p:nvSpPr>
        <p:spPr bwMode="auto">
          <a:xfrm>
            <a:off x="4606027" y="3057766"/>
            <a:ext cx="4422359" cy="1118909"/>
          </a:xfrm>
          <a:prstGeom prst="rect">
            <a:avLst/>
          </a:prstGeom>
          <a:solidFill>
            <a:schemeClr val="accent2"/>
          </a:solidFill>
          <a:ln w="6350">
            <a:noFill/>
            <a:miter lim="800000"/>
            <a:headEnd/>
            <a:tailEnd/>
          </a:ln>
        </p:spPr>
        <p:txBody>
          <a:bodyPr lIns="252000" tIns="144000" rIns="72000" bIns="72000"/>
          <a:lstStyle/>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400" b="0" i="0" u="none" strike="noStrike" kern="0" cap="none" spc="0" normalizeH="0" baseline="0" noProof="0" dirty="0">
                <a:ln>
                  <a:noFill/>
                </a:ln>
                <a:solidFill>
                  <a:srgbClr val="FFFFFF"/>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400" b="0" i="0" u="none" strike="noStrike" kern="0" cap="none" spc="0" normalizeH="0" baseline="0" noProof="0" dirty="0">
                <a:ln>
                  <a:noFill/>
                </a:ln>
                <a:solidFill>
                  <a:srgbClr val="FFFFFF"/>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400" b="0" i="0" u="none" strike="noStrike" kern="0" cap="none" spc="0" normalizeH="0" baseline="0" noProof="0" dirty="0">
                <a:ln>
                  <a:noFill/>
                </a:ln>
                <a:solidFill>
                  <a:srgbClr val="FFFFFF"/>
                </a:solidFill>
                <a:effectLst/>
                <a:uLnTx/>
                <a:uFillTx/>
                <a:ea typeface="+mn-ea"/>
                <a:cs typeface="+mn-cs"/>
              </a:rPr>
              <a:t>Text</a:t>
            </a:r>
          </a:p>
        </p:txBody>
      </p:sp>
      <p:sp>
        <p:nvSpPr>
          <p:cNvPr id="16" name="Rectangle 6">
            <a:extLst>
              <a:ext uri="{FF2B5EF4-FFF2-40B4-BE49-F238E27FC236}">
                <a16:creationId xmlns:a16="http://schemas.microsoft.com/office/drawing/2014/main" id="{A5ED4C1D-410A-415B-9635-9357CCA8A254}"/>
              </a:ext>
            </a:extLst>
          </p:cNvPr>
          <p:cNvSpPr>
            <a:spLocks noChangeArrowheads="1"/>
          </p:cNvSpPr>
          <p:nvPr/>
        </p:nvSpPr>
        <p:spPr bwMode="auto">
          <a:xfrm>
            <a:off x="1582918" y="5415431"/>
            <a:ext cx="1016000" cy="215444"/>
          </a:xfrm>
          <a:prstGeom prst="rect">
            <a:avLst/>
          </a:prstGeom>
          <a:noFill/>
          <a:ln w="6350">
            <a:noFill/>
            <a:miter lim="800000"/>
            <a:headEnd/>
            <a:tailEnd/>
          </a:ln>
          <a:effectLst/>
        </p:spPr>
        <p:txBody>
          <a:bodyPr lIns="0" tIns="0" rIns="0" bIns="0">
            <a:spAutoFit/>
          </a:bodyPr>
          <a:lstStyle/>
          <a:p>
            <a:pPr marL="0" marR="0" lvl="0" indent="0" algn="r" defTabSz="739775"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Review</a:t>
            </a:r>
          </a:p>
        </p:txBody>
      </p:sp>
      <p:sp>
        <p:nvSpPr>
          <p:cNvPr id="8" name="Freeform: Shape 7">
            <a:extLst>
              <a:ext uri="{FF2B5EF4-FFF2-40B4-BE49-F238E27FC236}">
                <a16:creationId xmlns:a16="http://schemas.microsoft.com/office/drawing/2014/main" id="{15217DFD-7032-4083-98E1-2C744B9C89C6}"/>
              </a:ext>
            </a:extLst>
          </p:cNvPr>
          <p:cNvSpPr>
            <a:spLocks noChangeArrowheads="1"/>
          </p:cNvSpPr>
          <p:nvPr/>
        </p:nvSpPr>
        <p:spPr bwMode="auto">
          <a:xfrm rot="16200000" flipH="1">
            <a:off x="2751648" y="4283639"/>
            <a:ext cx="1813261" cy="1677283"/>
          </a:xfrm>
          <a:custGeom>
            <a:avLst/>
            <a:gdLst>
              <a:gd name="connsiteX0" fmla="*/ 0 w 1927304"/>
              <a:gd name="connsiteY0" fmla="*/ 0 h 1782774"/>
              <a:gd name="connsiteX1" fmla="*/ 0 w 1927304"/>
              <a:gd name="connsiteY1" fmla="*/ 1 h 1782774"/>
              <a:gd name="connsiteX2" fmla="*/ 101065 w 1927304"/>
              <a:gd name="connsiteY2" fmla="*/ 1 h 1782774"/>
              <a:gd name="connsiteX3" fmla="*/ 695317 w 1927304"/>
              <a:gd name="connsiteY3" fmla="*/ 891388 h 1782774"/>
              <a:gd name="connsiteX4" fmla="*/ 101065 w 1927304"/>
              <a:gd name="connsiteY4" fmla="*/ 1782774 h 1782774"/>
              <a:gd name="connsiteX5" fmla="*/ 1333052 w 1927304"/>
              <a:gd name="connsiteY5" fmla="*/ 1782774 h 1782774"/>
              <a:gd name="connsiteX6" fmla="*/ 1927304 w 1927304"/>
              <a:gd name="connsiteY6" fmla="*/ 891387 h 1782774"/>
              <a:gd name="connsiteX7" fmla="*/ 1333052 w 1927304"/>
              <a:gd name="connsiteY7" fmla="*/ 0 h 178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7304" h="1782774">
                <a:moveTo>
                  <a:pt x="0" y="0"/>
                </a:moveTo>
                <a:lnTo>
                  <a:pt x="0" y="1"/>
                </a:lnTo>
                <a:lnTo>
                  <a:pt x="101065" y="1"/>
                </a:lnTo>
                <a:lnTo>
                  <a:pt x="695317" y="891388"/>
                </a:lnTo>
                <a:lnTo>
                  <a:pt x="101065" y="1782774"/>
                </a:lnTo>
                <a:lnTo>
                  <a:pt x="1333052" y="1782774"/>
                </a:lnTo>
                <a:lnTo>
                  <a:pt x="1927304" y="891387"/>
                </a:lnTo>
                <a:lnTo>
                  <a:pt x="1333052" y="0"/>
                </a:lnTo>
                <a:close/>
              </a:path>
            </a:pathLst>
          </a:custGeom>
          <a:solidFill>
            <a:schemeClr val="accent1"/>
          </a:solidFill>
          <a:ln w="6350">
            <a:noFill/>
            <a:miter lim="800000"/>
            <a:headEnd/>
            <a:tailEnd/>
          </a:ln>
          <a:effectLst/>
        </p:spPr>
        <p:txBody>
          <a:bodyPr vert="eaVert" wrap="square" lIns="36000" tIns="0" rIns="252000" anchor="ctr">
            <a:noAutofit/>
          </a:bodyPr>
          <a:lstStyle/>
          <a:p>
            <a:pPr marL="0" marR="0" lvl="0" indent="0" algn="ctr" defTabSz="914400" rtl="0" eaLnBrk="0" fontAlgn="auto" latinLnBrk="0" hangingPunct="0">
              <a:lnSpc>
                <a:spcPct val="85000"/>
              </a:lnSpc>
              <a:spcBef>
                <a:spcPts val="100"/>
              </a:spcBef>
              <a:spcAft>
                <a:spcPts val="300"/>
              </a:spcAft>
              <a:buClr>
                <a:srgbClr val="FFFFFF"/>
              </a:buClr>
              <a:buSzTx/>
              <a:buFontTx/>
              <a:buNone/>
              <a:tabLst/>
              <a:defRPr/>
            </a:pPr>
            <a:r>
              <a:rPr kumimoji="0" lang="en-AU" sz="1600" b="1" i="0" u="none" strike="noStrike" kern="0" cap="none" spc="0" normalizeH="0" baseline="0" noProof="0" dirty="0">
                <a:ln>
                  <a:noFill/>
                </a:ln>
                <a:solidFill>
                  <a:srgbClr val="FFFFFF"/>
                </a:solidFill>
                <a:effectLst/>
                <a:uLnTx/>
                <a:uFillTx/>
                <a:latin typeface="+mj-lt"/>
                <a:ea typeface="+mn-ea"/>
                <a:cs typeface="+mn-cs"/>
              </a:rPr>
              <a:t>Phase 3</a:t>
            </a:r>
            <a:endParaRPr kumimoji="0" lang="en-GB" sz="1600" b="1" i="0" u="none" strike="noStrike" kern="0" cap="none" spc="0" normalizeH="0" baseline="0" noProof="0" dirty="0">
              <a:ln>
                <a:noFill/>
              </a:ln>
              <a:solidFill>
                <a:srgbClr val="FFFFFF"/>
              </a:solidFill>
              <a:effectLst/>
              <a:uLnTx/>
              <a:uFillTx/>
              <a:latin typeface="+mj-lt"/>
              <a:ea typeface="+mn-ea"/>
              <a:cs typeface="+mn-cs"/>
            </a:endParaRPr>
          </a:p>
        </p:txBody>
      </p:sp>
      <p:sp>
        <p:nvSpPr>
          <p:cNvPr id="11" name="Rectangle 8">
            <a:extLst>
              <a:ext uri="{FF2B5EF4-FFF2-40B4-BE49-F238E27FC236}">
                <a16:creationId xmlns:a16="http://schemas.microsoft.com/office/drawing/2014/main" id="{5216927F-8C40-4B55-B041-47051ACB5F87}"/>
              </a:ext>
            </a:extLst>
          </p:cNvPr>
          <p:cNvSpPr>
            <a:spLocks noChangeArrowheads="1"/>
          </p:cNvSpPr>
          <p:nvPr/>
        </p:nvSpPr>
        <p:spPr bwMode="auto">
          <a:xfrm>
            <a:off x="4606027" y="4309728"/>
            <a:ext cx="4422357" cy="1163242"/>
          </a:xfrm>
          <a:prstGeom prst="rect">
            <a:avLst/>
          </a:prstGeom>
          <a:solidFill>
            <a:schemeClr val="accent1"/>
          </a:solidFill>
          <a:ln w="6350">
            <a:noFill/>
            <a:miter lim="800000"/>
            <a:headEnd/>
            <a:tailEnd/>
          </a:ln>
        </p:spPr>
        <p:txBody>
          <a:bodyPr lIns="252000" tIns="144000" rIns="72000" bIns="72000"/>
          <a:lstStyle/>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400" b="0" i="0" u="none" strike="noStrike" kern="0" cap="none" spc="0" normalizeH="0" baseline="0" noProof="0" dirty="0">
                <a:ln>
                  <a:noFill/>
                </a:ln>
                <a:solidFill>
                  <a:srgbClr val="FFFFFF"/>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400" b="0" i="0" u="none" strike="noStrike" kern="0" cap="none" spc="0" normalizeH="0" baseline="0" noProof="0" dirty="0">
                <a:ln>
                  <a:noFill/>
                </a:ln>
                <a:solidFill>
                  <a:srgbClr val="FFFFFF"/>
                </a:solidFill>
                <a:effectLst/>
                <a:uLnTx/>
                <a:uFillTx/>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400" b="0" i="0" u="none" strike="noStrike" kern="0" cap="none" spc="0" normalizeH="0" baseline="0" noProof="0" dirty="0">
                <a:ln>
                  <a:noFill/>
                </a:ln>
                <a:solidFill>
                  <a:srgbClr val="FFFFFF"/>
                </a:solidFill>
                <a:effectLst/>
                <a:uLnTx/>
                <a:uFillTx/>
                <a:ea typeface="+mn-ea"/>
                <a:cs typeface="+mn-cs"/>
              </a:rPr>
              <a:t>Text</a:t>
            </a:r>
          </a:p>
        </p:txBody>
      </p:sp>
      <p:sp>
        <p:nvSpPr>
          <p:cNvPr id="3" name="Footer Placeholder 2">
            <a:extLst>
              <a:ext uri="{FF2B5EF4-FFF2-40B4-BE49-F238E27FC236}">
                <a16:creationId xmlns:a16="http://schemas.microsoft.com/office/drawing/2014/main" id="{92D5445F-2B2F-49A3-AF7C-32E0B1F7339E}"/>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4" name="Slide Number Placeholder 3">
            <a:extLst>
              <a:ext uri="{FF2B5EF4-FFF2-40B4-BE49-F238E27FC236}">
                <a16:creationId xmlns:a16="http://schemas.microsoft.com/office/drawing/2014/main" id="{15809859-34EE-4A28-9B6E-06771AB360F5}"/>
              </a:ext>
            </a:extLst>
          </p:cNvPr>
          <p:cNvSpPr>
            <a:spLocks noGrp="1"/>
          </p:cNvSpPr>
          <p:nvPr>
            <p:ph type="sldNum" sz="quarter" idx="10"/>
          </p:nvPr>
        </p:nvSpPr>
        <p:spPr/>
        <p:txBody>
          <a:bodyPr/>
          <a:lstStyle/>
          <a:p>
            <a:fld id="{1F90F471-3972-4120-B8B3-0237DE626C35}" type="slidenum">
              <a:rPr lang="en-US" smtClean="0"/>
              <a:pPr/>
              <a:t>372</a:t>
            </a:fld>
            <a:endParaRPr lang="en-US" dirty="0"/>
          </a:p>
        </p:txBody>
      </p:sp>
    </p:spTree>
    <p:extLst>
      <p:ext uri="{BB962C8B-B14F-4D97-AF65-F5344CB8AC3E}">
        <p14:creationId xmlns:p14="http://schemas.microsoft.com/office/powerpoint/2010/main" val="17890271"/>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BF56B6C-CB85-4BF8-9F1A-B1CD782313C8}"/>
              </a:ext>
            </a:extLst>
          </p:cNvPr>
          <p:cNvSpPr>
            <a:spLocks noGrp="1"/>
          </p:cNvSpPr>
          <p:nvPr>
            <p:ph type="title"/>
          </p:nvPr>
        </p:nvSpPr>
        <p:spPr/>
        <p:txBody>
          <a:bodyPr/>
          <a:lstStyle/>
          <a:p>
            <a:r>
              <a:rPr lang="en-US" dirty="0"/>
              <a:t>Gantt Chart 1</a:t>
            </a:r>
          </a:p>
        </p:txBody>
      </p:sp>
      <p:sp>
        <p:nvSpPr>
          <p:cNvPr id="125" name="Rectangle 124">
            <a:extLst>
              <a:ext uri="{FF2B5EF4-FFF2-40B4-BE49-F238E27FC236}">
                <a16:creationId xmlns:a16="http://schemas.microsoft.com/office/drawing/2014/main" id="{F843D28B-6E63-41D5-BE30-937309CB546D}"/>
              </a:ext>
            </a:extLst>
          </p:cNvPr>
          <p:cNvSpPr/>
          <p:nvPr/>
        </p:nvSpPr>
        <p:spPr>
          <a:xfrm>
            <a:off x="336351" y="1592933"/>
            <a:ext cx="2487634" cy="276999"/>
          </a:xfrm>
          <a:prstGeom prst="rect">
            <a:avLst/>
          </a:prstGeom>
        </p:spPr>
        <p:txBody>
          <a:bodyPr wrap="none" lIns="0" tIns="0" rIns="0" bIns="0">
            <a:noAutofit/>
          </a:bodyPr>
          <a:lstStyle/>
          <a:p>
            <a:pPr lvl="0" defTabSz="1734634">
              <a:defRPr/>
            </a:pPr>
            <a:r>
              <a:rPr lang="en-US" sz="1200" dirty="0">
                <a:ea typeface="ArialUnicodeMS"/>
                <a:cs typeface="Gotham-MediumItalic"/>
              </a:rPr>
              <a:t>Phases</a:t>
            </a:r>
          </a:p>
        </p:txBody>
      </p:sp>
      <p:grpSp>
        <p:nvGrpSpPr>
          <p:cNvPr id="77" name="Group 76" descr="phases calendar">
            <a:extLst>
              <a:ext uri="{FF2B5EF4-FFF2-40B4-BE49-F238E27FC236}">
                <a16:creationId xmlns:a16="http://schemas.microsoft.com/office/drawing/2014/main" id="{9635A2F2-46C3-40E0-A117-18044680A34F}"/>
              </a:ext>
            </a:extLst>
          </p:cNvPr>
          <p:cNvGrpSpPr/>
          <p:nvPr/>
        </p:nvGrpSpPr>
        <p:grpSpPr>
          <a:xfrm>
            <a:off x="-1" y="1423065"/>
            <a:ext cx="12223281" cy="4680856"/>
            <a:chOff x="-1" y="1423065"/>
            <a:chExt cx="12223281" cy="4680856"/>
          </a:xfrm>
        </p:grpSpPr>
        <p:sp>
          <p:nvSpPr>
            <p:cNvPr id="78" name="Rectangle 77">
              <a:extLst>
                <a:ext uri="{FF2B5EF4-FFF2-40B4-BE49-F238E27FC236}">
                  <a16:creationId xmlns:a16="http://schemas.microsoft.com/office/drawing/2014/main" id="{10CE3981-017F-4E0B-8E3E-0AA60194EB1E}"/>
                </a:ext>
              </a:extLst>
            </p:cNvPr>
            <p:cNvSpPr/>
            <p:nvPr/>
          </p:nvSpPr>
          <p:spPr>
            <a:xfrm>
              <a:off x="0" y="1991117"/>
              <a:ext cx="12192000" cy="4084113"/>
            </a:xfrm>
            <a:prstGeom prst="rect">
              <a:avLst/>
            </a:prstGeom>
            <a:pattFill prst="wdUpDiag">
              <a:fgClr>
                <a:schemeClr val="bg1">
                  <a:lumMod val="95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9" name="Rectangle 78">
              <a:extLst>
                <a:ext uri="{FF2B5EF4-FFF2-40B4-BE49-F238E27FC236}">
                  <a16:creationId xmlns:a16="http://schemas.microsoft.com/office/drawing/2014/main" id="{6DAAD4F5-3C0C-4248-9E36-B7DBD560205F}"/>
                </a:ext>
              </a:extLst>
            </p:cNvPr>
            <p:cNvSpPr/>
            <p:nvPr/>
          </p:nvSpPr>
          <p:spPr>
            <a:xfrm>
              <a:off x="-1" y="1991116"/>
              <a:ext cx="3095897" cy="411280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80" name="Group 79">
              <a:extLst>
                <a:ext uri="{FF2B5EF4-FFF2-40B4-BE49-F238E27FC236}">
                  <a16:creationId xmlns:a16="http://schemas.microsoft.com/office/drawing/2014/main" id="{41A3D7E9-3607-4788-8E81-82F120E69188}"/>
                </a:ext>
              </a:extLst>
            </p:cNvPr>
            <p:cNvGrpSpPr/>
            <p:nvPr/>
          </p:nvGrpSpPr>
          <p:grpSpPr>
            <a:xfrm>
              <a:off x="0" y="1423065"/>
              <a:ext cx="12192000" cy="335148"/>
              <a:chOff x="0" y="1423065"/>
              <a:chExt cx="12192000" cy="335148"/>
            </a:xfrm>
          </p:grpSpPr>
          <p:sp>
            <p:nvSpPr>
              <p:cNvPr id="89" name="TextBox 88">
                <a:extLst>
                  <a:ext uri="{FF2B5EF4-FFF2-40B4-BE49-F238E27FC236}">
                    <a16:creationId xmlns:a16="http://schemas.microsoft.com/office/drawing/2014/main" id="{D0BAD95E-3BF8-480D-82F2-C70DAC635172}"/>
                  </a:ext>
                </a:extLst>
              </p:cNvPr>
              <p:cNvSpPr txBox="1"/>
              <p:nvPr/>
            </p:nvSpPr>
            <p:spPr>
              <a:xfrm>
                <a:off x="3274072" y="1644988"/>
                <a:ext cx="311418" cy="113225"/>
              </a:xfrm>
              <a:prstGeom prst="rect">
                <a:avLst/>
              </a:prstGeom>
              <a:ln w="25400">
                <a:noFill/>
              </a:ln>
            </p:spPr>
            <p:txBody>
              <a:bodyPr vert="horz" wrap="square" lIns="0" tIns="0" rIns="0" bIns="0" rtlCol="0" anchor="b" anchorCtr="0">
                <a:noAutofit/>
              </a:bodyPr>
              <a:lstStyle/>
              <a:p>
                <a:pPr algn="ctr"/>
                <a:r>
                  <a:rPr lang="en-US" sz="1050" dirty="0"/>
                  <a:t>Jan</a:t>
                </a:r>
              </a:p>
            </p:txBody>
          </p:sp>
          <p:sp>
            <p:nvSpPr>
              <p:cNvPr id="90" name="TextBox 89">
                <a:extLst>
                  <a:ext uri="{FF2B5EF4-FFF2-40B4-BE49-F238E27FC236}">
                    <a16:creationId xmlns:a16="http://schemas.microsoft.com/office/drawing/2014/main" id="{F4A50912-4B6B-4530-98E1-73ED9F35AB8F}"/>
                  </a:ext>
                </a:extLst>
              </p:cNvPr>
              <p:cNvSpPr txBox="1"/>
              <p:nvPr/>
            </p:nvSpPr>
            <p:spPr>
              <a:xfrm>
                <a:off x="4015606" y="1644987"/>
                <a:ext cx="295992" cy="113225"/>
              </a:xfrm>
              <a:prstGeom prst="rect">
                <a:avLst/>
              </a:prstGeom>
              <a:ln w="25400">
                <a:noFill/>
              </a:ln>
            </p:spPr>
            <p:txBody>
              <a:bodyPr vert="horz" wrap="square" lIns="0" tIns="0" rIns="0" bIns="0" rtlCol="0" anchor="b" anchorCtr="0">
                <a:noAutofit/>
              </a:bodyPr>
              <a:lstStyle/>
              <a:p>
                <a:pPr algn="ctr"/>
                <a:r>
                  <a:rPr lang="en-US" sz="1050" dirty="0"/>
                  <a:t>Feb</a:t>
                </a:r>
              </a:p>
            </p:txBody>
          </p:sp>
          <p:sp>
            <p:nvSpPr>
              <p:cNvPr id="91" name="TextBox 90">
                <a:extLst>
                  <a:ext uri="{FF2B5EF4-FFF2-40B4-BE49-F238E27FC236}">
                    <a16:creationId xmlns:a16="http://schemas.microsoft.com/office/drawing/2014/main" id="{497D0730-891D-45CA-976D-49EE423CA583}"/>
                  </a:ext>
                </a:extLst>
              </p:cNvPr>
              <p:cNvSpPr txBox="1"/>
              <p:nvPr/>
            </p:nvSpPr>
            <p:spPr>
              <a:xfrm>
                <a:off x="4741714" y="1644986"/>
                <a:ext cx="344302" cy="113225"/>
              </a:xfrm>
              <a:prstGeom prst="rect">
                <a:avLst/>
              </a:prstGeom>
              <a:ln w="25400">
                <a:noFill/>
              </a:ln>
            </p:spPr>
            <p:txBody>
              <a:bodyPr vert="horz" wrap="square" lIns="0" tIns="0" rIns="0" bIns="0" rtlCol="0" anchor="b" anchorCtr="0">
                <a:noAutofit/>
              </a:bodyPr>
              <a:lstStyle/>
              <a:p>
                <a:pPr algn="ctr"/>
                <a:r>
                  <a:rPr lang="en-US" sz="1050" dirty="0"/>
                  <a:t>Mar</a:t>
                </a:r>
              </a:p>
            </p:txBody>
          </p:sp>
          <p:sp>
            <p:nvSpPr>
              <p:cNvPr id="92" name="TextBox 91">
                <a:extLst>
                  <a:ext uri="{FF2B5EF4-FFF2-40B4-BE49-F238E27FC236}">
                    <a16:creationId xmlns:a16="http://schemas.microsoft.com/office/drawing/2014/main" id="{70B1DCD1-F3E0-447E-863D-1F931EEBF5BF}"/>
                  </a:ext>
                </a:extLst>
              </p:cNvPr>
              <p:cNvSpPr txBox="1"/>
              <p:nvPr/>
            </p:nvSpPr>
            <p:spPr>
              <a:xfrm>
                <a:off x="5516132" y="1643481"/>
                <a:ext cx="330904" cy="113225"/>
              </a:xfrm>
              <a:prstGeom prst="rect">
                <a:avLst/>
              </a:prstGeom>
              <a:ln w="25400">
                <a:noFill/>
              </a:ln>
            </p:spPr>
            <p:txBody>
              <a:bodyPr vert="horz" wrap="square" lIns="0" tIns="0" rIns="0" bIns="0" rtlCol="0" anchor="b" anchorCtr="0">
                <a:noAutofit/>
              </a:bodyPr>
              <a:lstStyle/>
              <a:p>
                <a:pPr algn="ctr"/>
                <a:r>
                  <a:rPr lang="en-US" sz="1050" dirty="0"/>
                  <a:t>Apr</a:t>
                </a:r>
              </a:p>
            </p:txBody>
          </p:sp>
          <p:sp>
            <p:nvSpPr>
              <p:cNvPr id="93" name="TextBox 92">
                <a:extLst>
                  <a:ext uri="{FF2B5EF4-FFF2-40B4-BE49-F238E27FC236}">
                    <a16:creationId xmlns:a16="http://schemas.microsoft.com/office/drawing/2014/main" id="{BEED91AE-B5A5-4E43-8FFA-1D3A51D04D4F}"/>
                  </a:ext>
                </a:extLst>
              </p:cNvPr>
              <p:cNvSpPr txBox="1"/>
              <p:nvPr/>
            </p:nvSpPr>
            <p:spPr>
              <a:xfrm>
                <a:off x="6277152" y="1643481"/>
                <a:ext cx="354336" cy="113225"/>
              </a:xfrm>
              <a:prstGeom prst="rect">
                <a:avLst/>
              </a:prstGeom>
              <a:ln w="25400">
                <a:noFill/>
              </a:ln>
            </p:spPr>
            <p:txBody>
              <a:bodyPr vert="horz" wrap="square" lIns="0" tIns="0" rIns="0" bIns="0" rtlCol="0" anchor="b" anchorCtr="0">
                <a:noAutofit/>
              </a:bodyPr>
              <a:lstStyle/>
              <a:p>
                <a:pPr algn="ctr"/>
                <a:r>
                  <a:rPr lang="en-US" sz="1050" dirty="0"/>
                  <a:t>May</a:t>
                </a:r>
              </a:p>
            </p:txBody>
          </p:sp>
          <p:sp>
            <p:nvSpPr>
              <p:cNvPr id="94" name="TextBox 93">
                <a:extLst>
                  <a:ext uri="{FF2B5EF4-FFF2-40B4-BE49-F238E27FC236}">
                    <a16:creationId xmlns:a16="http://schemas.microsoft.com/office/drawing/2014/main" id="{C3CE8DD2-03F1-48ED-9310-2735616315D2}"/>
                  </a:ext>
                </a:extLst>
              </p:cNvPr>
              <p:cNvSpPr txBox="1"/>
              <p:nvPr/>
            </p:nvSpPr>
            <p:spPr>
              <a:xfrm>
                <a:off x="7061604" y="1643481"/>
                <a:ext cx="315840" cy="113225"/>
              </a:xfrm>
              <a:prstGeom prst="rect">
                <a:avLst/>
              </a:prstGeom>
              <a:ln w="25400">
                <a:noFill/>
              </a:ln>
            </p:spPr>
            <p:txBody>
              <a:bodyPr vert="horz" wrap="square" lIns="0" tIns="0" rIns="0" bIns="0" rtlCol="0" anchor="b" anchorCtr="0">
                <a:noAutofit/>
              </a:bodyPr>
              <a:lstStyle/>
              <a:p>
                <a:pPr algn="ctr"/>
                <a:r>
                  <a:rPr lang="en-US" sz="1050" dirty="0"/>
                  <a:t>Jun</a:t>
                </a:r>
              </a:p>
            </p:txBody>
          </p:sp>
          <p:sp>
            <p:nvSpPr>
              <p:cNvPr id="95" name="TextBox 94">
                <a:extLst>
                  <a:ext uri="{FF2B5EF4-FFF2-40B4-BE49-F238E27FC236}">
                    <a16:creationId xmlns:a16="http://schemas.microsoft.com/office/drawing/2014/main" id="{EC8051C0-31C2-473C-ABA8-10598710D82D}"/>
                  </a:ext>
                </a:extLst>
              </p:cNvPr>
              <p:cNvSpPr txBox="1"/>
              <p:nvPr/>
            </p:nvSpPr>
            <p:spPr>
              <a:xfrm>
                <a:off x="7807560" y="1643481"/>
                <a:ext cx="291650" cy="113225"/>
              </a:xfrm>
              <a:prstGeom prst="rect">
                <a:avLst/>
              </a:prstGeom>
              <a:ln w="25400">
                <a:noFill/>
              </a:ln>
            </p:spPr>
            <p:txBody>
              <a:bodyPr vert="horz" wrap="square" lIns="0" tIns="0" rIns="0" bIns="0" rtlCol="0" anchor="b" anchorCtr="0">
                <a:noAutofit/>
              </a:bodyPr>
              <a:lstStyle/>
              <a:p>
                <a:pPr algn="ctr"/>
                <a:r>
                  <a:rPr lang="en-US" sz="1050" dirty="0"/>
                  <a:t>Jul</a:t>
                </a:r>
              </a:p>
            </p:txBody>
          </p:sp>
          <p:sp>
            <p:nvSpPr>
              <p:cNvPr id="96" name="TextBox 95">
                <a:extLst>
                  <a:ext uri="{FF2B5EF4-FFF2-40B4-BE49-F238E27FC236}">
                    <a16:creationId xmlns:a16="http://schemas.microsoft.com/office/drawing/2014/main" id="{CA82A7B5-A528-4A64-B454-B02417A4B7D2}"/>
                  </a:ext>
                </a:extLst>
              </p:cNvPr>
              <p:cNvSpPr txBox="1"/>
              <p:nvPr/>
            </p:nvSpPr>
            <p:spPr>
              <a:xfrm>
                <a:off x="8529326" y="1643481"/>
                <a:ext cx="336592" cy="113225"/>
              </a:xfrm>
              <a:prstGeom prst="rect">
                <a:avLst/>
              </a:prstGeom>
              <a:ln w="25400">
                <a:noFill/>
              </a:ln>
            </p:spPr>
            <p:txBody>
              <a:bodyPr vert="horz" wrap="square" lIns="0" tIns="0" rIns="0" bIns="0" rtlCol="0" anchor="b" anchorCtr="0">
                <a:noAutofit/>
              </a:bodyPr>
              <a:lstStyle/>
              <a:p>
                <a:pPr algn="ctr"/>
                <a:r>
                  <a:rPr lang="en-US" sz="1050" dirty="0"/>
                  <a:t>Aug</a:t>
                </a:r>
              </a:p>
            </p:txBody>
          </p:sp>
          <p:sp>
            <p:nvSpPr>
              <p:cNvPr id="97" name="TextBox 96">
                <a:extLst>
                  <a:ext uri="{FF2B5EF4-FFF2-40B4-BE49-F238E27FC236}">
                    <a16:creationId xmlns:a16="http://schemas.microsoft.com/office/drawing/2014/main" id="{FB527BB6-5AD5-404E-A6F7-BD961C690DB5}"/>
                  </a:ext>
                </a:extLst>
              </p:cNvPr>
              <p:cNvSpPr txBox="1"/>
              <p:nvPr/>
            </p:nvSpPr>
            <p:spPr>
              <a:xfrm>
                <a:off x="9296034" y="1643481"/>
                <a:ext cx="293516" cy="113225"/>
              </a:xfrm>
              <a:prstGeom prst="rect">
                <a:avLst/>
              </a:prstGeom>
              <a:ln w="25400">
                <a:noFill/>
              </a:ln>
            </p:spPr>
            <p:txBody>
              <a:bodyPr vert="horz" wrap="square" lIns="0" tIns="0" rIns="0" bIns="0" rtlCol="0" anchor="b" anchorCtr="0">
                <a:noAutofit/>
              </a:bodyPr>
              <a:lstStyle/>
              <a:p>
                <a:pPr algn="ctr"/>
                <a:r>
                  <a:rPr lang="en-US" sz="1050" dirty="0"/>
                  <a:t>Sep</a:t>
                </a:r>
              </a:p>
            </p:txBody>
          </p:sp>
          <p:sp>
            <p:nvSpPr>
              <p:cNvPr id="98" name="TextBox 97">
                <a:extLst>
                  <a:ext uri="{FF2B5EF4-FFF2-40B4-BE49-F238E27FC236}">
                    <a16:creationId xmlns:a16="http://schemas.microsoft.com/office/drawing/2014/main" id="{96195630-9E6B-4F63-B6ED-9288B9202972}"/>
                  </a:ext>
                </a:extLst>
              </p:cNvPr>
              <p:cNvSpPr txBox="1"/>
              <p:nvPr/>
            </p:nvSpPr>
            <p:spPr>
              <a:xfrm>
                <a:off x="10019666" y="1643481"/>
                <a:ext cx="328296" cy="113225"/>
              </a:xfrm>
              <a:prstGeom prst="rect">
                <a:avLst/>
              </a:prstGeom>
              <a:ln w="25400">
                <a:noFill/>
              </a:ln>
            </p:spPr>
            <p:txBody>
              <a:bodyPr vert="horz" wrap="square" lIns="0" tIns="0" rIns="0" bIns="0" rtlCol="0" anchor="b" anchorCtr="0">
                <a:noAutofit/>
              </a:bodyPr>
              <a:lstStyle/>
              <a:p>
                <a:pPr algn="ctr"/>
                <a:r>
                  <a:rPr lang="en-US" sz="1050" dirty="0"/>
                  <a:t>Oct</a:t>
                </a:r>
              </a:p>
            </p:txBody>
          </p:sp>
          <p:sp>
            <p:nvSpPr>
              <p:cNvPr id="99" name="TextBox 98">
                <a:extLst>
                  <a:ext uri="{FF2B5EF4-FFF2-40B4-BE49-F238E27FC236}">
                    <a16:creationId xmlns:a16="http://schemas.microsoft.com/office/drawing/2014/main" id="{1F711383-4898-4ABA-AF2E-D800594F8622}"/>
                  </a:ext>
                </a:extLst>
              </p:cNvPr>
              <p:cNvSpPr txBox="1"/>
              <p:nvPr/>
            </p:nvSpPr>
            <p:spPr>
              <a:xfrm>
                <a:off x="10778078" y="1643481"/>
                <a:ext cx="339666" cy="113225"/>
              </a:xfrm>
              <a:prstGeom prst="rect">
                <a:avLst/>
              </a:prstGeom>
              <a:ln w="25400">
                <a:noFill/>
              </a:ln>
            </p:spPr>
            <p:txBody>
              <a:bodyPr vert="horz" wrap="square" lIns="0" tIns="0" rIns="0" bIns="0" rtlCol="0" anchor="b" anchorCtr="0">
                <a:noAutofit/>
              </a:bodyPr>
              <a:lstStyle/>
              <a:p>
                <a:pPr algn="ctr"/>
                <a:r>
                  <a:rPr lang="en-US" sz="1050" dirty="0"/>
                  <a:t>Nov</a:t>
                </a:r>
              </a:p>
            </p:txBody>
          </p:sp>
          <p:sp>
            <p:nvSpPr>
              <p:cNvPr id="100" name="TextBox 99">
                <a:extLst>
                  <a:ext uri="{FF2B5EF4-FFF2-40B4-BE49-F238E27FC236}">
                    <a16:creationId xmlns:a16="http://schemas.microsoft.com/office/drawing/2014/main" id="{2B01517F-9B93-46EA-A169-F7900578354B}"/>
                  </a:ext>
                </a:extLst>
              </p:cNvPr>
              <p:cNvSpPr txBox="1"/>
              <p:nvPr/>
            </p:nvSpPr>
            <p:spPr>
              <a:xfrm>
                <a:off x="11547862" y="1638341"/>
                <a:ext cx="307588" cy="113225"/>
              </a:xfrm>
              <a:prstGeom prst="rect">
                <a:avLst/>
              </a:prstGeom>
              <a:ln w="25400">
                <a:noFill/>
              </a:ln>
            </p:spPr>
            <p:txBody>
              <a:bodyPr vert="horz" wrap="square" lIns="0" tIns="0" rIns="0" bIns="0" rtlCol="0" anchor="b" anchorCtr="0">
                <a:noAutofit/>
              </a:bodyPr>
              <a:lstStyle/>
              <a:p>
                <a:pPr algn="ctr"/>
                <a:r>
                  <a:rPr lang="en-US" sz="1050" dirty="0"/>
                  <a:t>Dec</a:t>
                </a:r>
              </a:p>
            </p:txBody>
          </p:sp>
          <p:grpSp>
            <p:nvGrpSpPr>
              <p:cNvPr id="101" name="Group 100">
                <a:extLst>
                  <a:ext uri="{FF2B5EF4-FFF2-40B4-BE49-F238E27FC236}">
                    <a16:creationId xmlns:a16="http://schemas.microsoft.com/office/drawing/2014/main" id="{FC99AB63-9281-44A9-937B-B274A7FA5711}"/>
                  </a:ext>
                </a:extLst>
              </p:cNvPr>
              <p:cNvGrpSpPr/>
              <p:nvPr/>
            </p:nvGrpSpPr>
            <p:grpSpPr>
              <a:xfrm>
                <a:off x="0" y="1423065"/>
                <a:ext cx="12192000" cy="125807"/>
                <a:chOff x="0" y="1423065"/>
                <a:chExt cx="12192000" cy="125807"/>
              </a:xfrm>
            </p:grpSpPr>
            <p:cxnSp>
              <p:nvCxnSpPr>
                <p:cNvPr id="102" name="Straight Connector 101">
                  <a:extLst>
                    <a:ext uri="{FF2B5EF4-FFF2-40B4-BE49-F238E27FC236}">
                      <a16:creationId xmlns:a16="http://schemas.microsoft.com/office/drawing/2014/main" id="{1BFE695F-B874-4FA0-9BE6-8ED0A9A2A31D}"/>
                    </a:ext>
                  </a:extLst>
                </p:cNvPr>
                <p:cNvCxnSpPr/>
                <p:nvPr/>
              </p:nvCxnSpPr>
              <p:spPr>
                <a:xfrm>
                  <a:off x="0" y="1423065"/>
                  <a:ext cx="12192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1860BDBC-1E22-4979-ACDC-B30BCAABA1BB}"/>
                    </a:ext>
                  </a:extLst>
                </p:cNvPr>
                <p:cNvCxnSpPr/>
                <p:nvPr/>
              </p:nvCxnSpPr>
              <p:spPr>
                <a:xfrm>
                  <a:off x="3429781" y="1423066"/>
                  <a:ext cx="0" cy="12580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F611137B-7647-4C81-B86E-C4A2E7FB111A}"/>
                    </a:ext>
                  </a:extLst>
                </p:cNvPr>
                <p:cNvCxnSpPr/>
                <p:nvPr/>
              </p:nvCxnSpPr>
              <p:spPr>
                <a:xfrm>
                  <a:off x="4163602" y="1423066"/>
                  <a:ext cx="0" cy="12580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EE6085A0-E980-4809-AB2F-E9747566DC87}"/>
                    </a:ext>
                  </a:extLst>
                </p:cNvPr>
                <p:cNvCxnSpPr/>
                <p:nvPr/>
              </p:nvCxnSpPr>
              <p:spPr>
                <a:xfrm>
                  <a:off x="4913865" y="1423066"/>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81FAC05C-CEF6-476C-80D3-F05CAB6732C4}"/>
                    </a:ext>
                  </a:extLst>
                </p:cNvPr>
                <p:cNvCxnSpPr/>
                <p:nvPr/>
              </p:nvCxnSpPr>
              <p:spPr>
                <a:xfrm>
                  <a:off x="5681584" y="1423066"/>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0893060-949F-4EA0-848D-2A1FAF8225A5}"/>
                    </a:ext>
                  </a:extLst>
                </p:cNvPr>
                <p:cNvCxnSpPr/>
                <p:nvPr/>
              </p:nvCxnSpPr>
              <p:spPr>
                <a:xfrm>
                  <a:off x="6454320" y="1423066"/>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2C4B9E2B-A979-48EE-A00F-E93AF74E97E4}"/>
                    </a:ext>
                  </a:extLst>
                </p:cNvPr>
                <p:cNvCxnSpPr/>
                <p:nvPr/>
              </p:nvCxnSpPr>
              <p:spPr>
                <a:xfrm>
                  <a:off x="7219524" y="1423066"/>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B306CDC-8851-42FF-8945-DD52B30F9BBE}"/>
                    </a:ext>
                  </a:extLst>
                </p:cNvPr>
                <p:cNvCxnSpPr/>
                <p:nvPr/>
              </p:nvCxnSpPr>
              <p:spPr>
                <a:xfrm>
                  <a:off x="7953385" y="1423066"/>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D7E5ACB5-2C3F-4C6C-93DA-160285EC70CF}"/>
                    </a:ext>
                  </a:extLst>
                </p:cNvPr>
                <p:cNvCxnSpPr/>
                <p:nvPr/>
              </p:nvCxnSpPr>
              <p:spPr>
                <a:xfrm>
                  <a:off x="8697622" y="1423066"/>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29664CB-5327-4F90-A16F-AAFF1A8164C5}"/>
                    </a:ext>
                  </a:extLst>
                </p:cNvPr>
                <p:cNvCxnSpPr/>
                <p:nvPr/>
              </p:nvCxnSpPr>
              <p:spPr>
                <a:xfrm>
                  <a:off x="9442792" y="1423066"/>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CF3C6E63-B71F-4328-8AD0-2E46E00493DC}"/>
                    </a:ext>
                  </a:extLst>
                </p:cNvPr>
                <p:cNvCxnSpPr/>
                <p:nvPr/>
              </p:nvCxnSpPr>
              <p:spPr>
                <a:xfrm>
                  <a:off x="10183814" y="1423066"/>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69791E09-853D-4865-B0F1-8D2D27BD05A5}"/>
                    </a:ext>
                  </a:extLst>
                </p:cNvPr>
                <p:cNvCxnSpPr/>
                <p:nvPr/>
              </p:nvCxnSpPr>
              <p:spPr>
                <a:xfrm>
                  <a:off x="10947911" y="1423066"/>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AB5F1FF4-804E-40DB-8FE7-7C384AB632A2}"/>
                    </a:ext>
                  </a:extLst>
                </p:cNvPr>
                <p:cNvCxnSpPr/>
                <p:nvPr/>
              </p:nvCxnSpPr>
              <p:spPr>
                <a:xfrm>
                  <a:off x="11701656" y="1423066"/>
                  <a:ext cx="0" cy="12580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grpSp>
        <p:grpSp>
          <p:nvGrpSpPr>
            <p:cNvPr id="81" name="Group 80">
              <a:extLst>
                <a:ext uri="{FF2B5EF4-FFF2-40B4-BE49-F238E27FC236}">
                  <a16:creationId xmlns:a16="http://schemas.microsoft.com/office/drawing/2014/main" id="{F655FC28-0990-4C7E-8F87-5167AE7EDD1F}"/>
                </a:ext>
              </a:extLst>
            </p:cNvPr>
            <p:cNvGrpSpPr/>
            <p:nvPr/>
          </p:nvGrpSpPr>
          <p:grpSpPr>
            <a:xfrm>
              <a:off x="0" y="2514039"/>
              <a:ext cx="12223280" cy="3078730"/>
              <a:chOff x="0" y="2514039"/>
              <a:chExt cx="12223280" cy="3078730"/>
            </a:xfrm>
          </p:grpSpPr>
          <p:cxnSp>
            <p:nvCxnSpPr>
              <p:cNvPr id="82" name="Straight Connector 81">
                <a:extLst>
                  <a:ext uri="{FF2B5EF4-FFF2-40B4-BE49-F238E27FC236}">
                    <a16:creationId xmlns:a16="http://schemas.microsoft.com/office/drawing/2014/main" id="{7E549C76-3CF8-4C74-AC8F-EA3B65C0B1DF}"/>
                  </a:ext>
                </a:extLst>
              </p:cNvPr>
              <p:cNvCxnSpPr/>
              <p:nvPr/>
            </p:nvCxnSpPr>
            <p:spPr>
              <a:xfrm>
                <a:off x="0" y="2514039"/>
                <a:ext cx="12223280" cy="0"/>
              </a:xfrm>
              <a:prstGeom prst="line">
                <a:avLst/>
              </a:prstGeom>
              <a:ln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A9EF69A-DD4E-41E0-B1F2-833F52C50E1E}"/>
                  </a:ext>
                </a:extLst>
              </p:cNvPr>
              <p:cNvCxnSpPr/>
              <p:nvPr/>
            </p:nvCxnSpPr>
            <p:spPr>
              <a:xfrm>
                <a:off x="0" y="3027873"/>
                <a:ext cx="12223280" cy="0"/>
              </a:xfrm>
              <a:prstGeom prst="line">
                <a:avLst/>
              </a:prstGeom>
              <a:ln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1200AA9B-A940-461E-AEAC-DBA3D857C7B3}"/>
                  </a:ext>
                </a:extLst>
              </p:cNvPr>
              <p:cNvCxnSpPr/>
              <p:nvPr/>
            </p:nvCxnSpPr>
            <p:spPr>
              <a:xfrm>
                <a:off x="0" y="3540923"/>
                <a:ext cx="12223280" cy="0"/>
              </a:xfrm>
              <a:prstGeom prst="line">
                <a:avLst/>
              </a:prstGeom>
              <a:ln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19E0193C-9070-40D1-9CB6-C78E31CE8FA0}"/>
                  </a:ext>
                </a:extLst>
              </p:cNvPr>
              <p:cNvCxnSpPr/>
              <p:nvPr/>
            </p:nvCxnSpPr>
            <p:spPr>
              <a:xfrm>
                <a:off x="0" y="4054757"/>
                <a:ext cx="12223280" cy="0"/>
              </a:xfrm>
              <a:prstGeom prst="line">
                <a:avLst/>
              </a:prstGeom>
              <a:ln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54A166FF-72E8-4F28-925B-95A31A237709}"/>
                  </a:ext>
                </a:extLst>
              </p:cNvPr>
              <p:cNvCxnSpPr/>
              <p:nvPr/>
            </p:nvCxnSpPr>
            <p:spPr>
              <a:xfrm>
                <a:off x="0" y="4565885"/>
                <a:ext cx="12223280" cy="0"/>
              </a:xfrm>
              <a:prstGeom prst="line">
                <a:avLst/>
              </a:prstGeom>
              <a:ln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CF51A33E-4DAB-40E8-B4DE-F55C9B292358}"/>
                  </a:ext>
                </a:extLst>
              </p:cNvPr>
              <p:cNvCxnSpPr/>
              <p:nvPr/>
            </p:nvCxnSpPr>
            <p:spPr>
              <a:xfrm>
                <a:off x="0" y="5078935"/>
                <a:ext cx="12223280" cy="0"/>
              </a:xfrm>
              <a:prstGeom prst="line">
                <a:avLst/>
              </a:prstGeom>
              <a:ln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681A3357-FC19-480E-A33F-33A9C6C24248}"/>
                  </a:ext>
                </a:extLst>
              </p:cNvPr>
              <p:cNvCxnSpPr/>
              <p:nvPr/>
            </p:nvCxnSpPr>
            <p:spPr>
              <a:xfrm>
                <a:off x="0" y="5592769"/>
                <a:ext cx="12223280" cy="0"/>
              </a:xfrm>
              <a:prstGeom prst="line">
                <a:avLst/>
              </a:prstGeom>
              <a:ln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grpSp>
      <p:sp>
        <p:nvSpPr>
          <p:cNvPr id="126" name="Rectangle 125">
            <a:extLst>
              <a:ext uri="{FF2B5EF4-FFF2-40B4-BE49-F238E27FC236}">
                <a16:creationId xmlns:a16="http://schemas.microsoft.com/office/drawing/2014/main" id="{6F61223F-39D9-4D60-A4A2-E1CD53F58E66}"/>
              </a:ext>
            </a:extLst>
          </p:cNvPr>
          <p:cNvSpPr/>
          <p:nvPr/>
        </p:nvSpPr>
        <p:spPr>
          <a:xfrm>
            <a:off x="336350" y="1995451"/>
            <a:ext cx="2595535" cy="513051"/>
          </a:xfrm>
          <a:prstGeom prst="rect">
            <a:avLst/>
          </a:prstGeom>
        </p:spPr>
        <p:txBody>
          <a:bodyPr wrap="square" lIns="0" tIns="0" rIns="0" bIns="0" anchor="ctr" anchorCtr="0">
            <a:noAutofit/>
          </a:bodyPr>
          <a:lstStyle/>
          <a:p>
            <a:pPr lvl="0" defTabSz="1734634">
              <a:defRPr/>
            </a:pPr>
            <a:r>
              <a:rPr lang="en-US" sz="1200" dirty="0">
                <a:ea typeface="ArialUnicodeMS"/>
                <a:cs typeface="Gotham-MediumItalic"/>
              </a:rPr>
              <a:t>Insert text here max 2 lines, min 12pt</a:t>
            </a:r>
          </a:p>
        </p:txBody>
      </p:sp>
      <p:grpSp>
        <p:nvGrpSpPr>
          <p:cNvPr id="115" name="Group 114" descr="step 1">
            <a:extLst>
              <a:ext uri="{FF2B5EF4-FFF2-40B4-BE49-F238E27FC236}">
                <a16:creationId xmlns:a16="http://schemas.microsoft.com/office/drawing/2014/main" id="{3B7F41E9-E4D3-452A-B997-F4D8C7EE34FB}"/>
              </a:ext>
            </a:extLst>
          </p:cNvPr>
          <p:cNvGrpSpPr/>
          <p:nvPr/>
        </p:nvGrpSpPr>
        <p:grpSpPr>
          <a:xfrm>
            <a:off x="3429781" y="2076691"/>
            <a:ext cx="2523034" cy="350570"/>
            <a:chOff x="327677" y="3722771"/>
            <a:chExt cx="2523034" cy="350570"/>
          </a:xfrm>
        </p:grpSpPr>
        <p:sp>
          <p:nvSpPr>
            <p:cNvPr id="116" name="Rectangle 115">
              <a:extLst>
                <a:ext uri="{FF2B5EF4-FFF2-40B4-BE49-F238E27FC236}">
                  <a16:creationId xmlns:a16="http://schemas.microsoft.com/office/drawing/2014/main" id="{B7CC29C4-D464-4ABA-9468-296588E9EA69}"/>
                </a:ext>
              </a:extLst>
            </p:cNvPr>
            <p:cNvSpPr/>
            <p:nvPr/>
          </p:nvSpPr>
          <p:spPr>
            <a:xfrm>
              <a:off x="334963" y="3934193"/>
              <a:ext cx="2244517" cy="13914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7" name="Rectangle 116">
              <a:extLst>
                <a:ext uri="{FF2B5EF4-FFF2-40B4-BE49-F238E27FC236}">
                  <a16:creationId xmlns:a16="http://schemas.microsoft.com/office/drawing/2014/main" id="{F4D80D83-11FE-4322-AB70-5BDB89CCA452}"/>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200" b="1" dirty="0">
                  <a:solidFill>
                    <a:schemeClr val="accent1"/>
                  </a:solidFill>
                </a:rPr>
                <a:t>Step 1</a:t>
              </a:r>
            </a:p>
          </p:txBody>
        </p:sp>
      </p:grpSp>
      <p:sp>
        <p:nvSpPr>
          <p:cNvPr id="124" name="Rectangle 123">
            <a:extLst>
              <a:ext uri="{FF2B5EF4-FFF2-40B4-BE49-F238E27FC236}">
                <a16:creationId xmlns:a16="http://schemas.microsoft.com/office/drawing/2014/main" id="{226D0307-A11C-4D10-9339-EDC7BC323D4B}"/>
              </a:ext>
            </a:extLst>
          </p:cNvPr>
          <p:cNvSpPr/>
          <p:nvPr/>
        </p:nvSpPr>
        <p:spPr>
          <a:xfrm>
            <a:off x="336350" y="2514038"/>
            <a:ext cx="2595535" cy="513051"/>
          </a:xfrm>
          <a:prstGeom prst="rect">
            <a:avLst/>
          </a:prstGeom>
        </p:spPr>
        <p:txBody>
          <a:bodyPr wrap="square" lIns="0" tIns="0" rIns="0" bIns="0" anchor="ctr" anchorCtr="0">
            <a:noAutofit/>
          </a:bodyPr>
          <a:lstStyle/>
          <a:p>
            <a:pPr lvl="0" defTabSz="1734634">
              <a:defRPr/>
            </a:pPr>
            <a:r>
              <a:rPr lang="en-US" sz="1200" dirty="0">
                <a:ea typeface="ArialUnicodeMS"/>
                <a:cs typeface="Gotham-MediumItalic"/>
              </a:rPr>
              <a:t>Insert text here max 2 lines, min 12pt</a:t>
            </a:r>
          </a:p>
        </p:txBody>
      </p:sp>
      <p:grpSp>
        <p:nvGrpSpPr>
          <p:cNvPr id="118" name="Group 117" descr="step 2">
            <a:extLst>
              <a:ext uri="{FF2B5EF4-FFF2-40B4-BE49-F238E27FC236}">
                <a16:creationId xmlns:a16="http://schemas.microsoft.com/office/drawing/2014/main" id="{F47CBF9B-2F4F-4612-A751-FFDC4EE6394C}"/>
              </a:ext>
            </a:extLst>
          </p:cNvPr>
          <p:cNvGrpSpPr/>
          <p:nvPr/>
        </p:nvGrpSpPr>
        <p:grpSpPr>
          <a:xfrm>
            <a:off x="4489046" y="2595278"/>
            <a:ext cx="2730478" cy="350570"/>
            <a:chOff x="327677" y="3722771"/>
            <a:chExt cx="2730478" cy="350570"/>
          </a:xfrm>
        </p:grpSpPr>
        <p:sp>
          <p:nvSpPr>
            <p:cNvPr id="119" name="Rectangle 118">
              <a:extLst>
                <a:ext uri="{FF2B5EF4-FFF2-40B4-BE49-F238E27FC236}">
                  <a16:creationId xmlns:a16="http://schemas.microsoft.com/office/drawing/2014/main" id="{79FC6A6F-78E1-4A92-BB3B-1C9FDD98964F}"/>
                </a:ext>
              </a:extLst>
            </p:cNvPr>
            <p:cNvSpPr/>
            <p:nvPr/>
          </p:nvSpPr>
          <p:spPr>
            <a:xfrm>
              <a:off x="334963" y="3934193"/>
              <a:ext cx="2723192" cy="13914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0" name="Rectangle 119">
              <a:extLst>
                <a:ext uri="{FF2B5EF4-FFF2-40B4-BE49-F238E27FC236}">
                  <a16:creationId xmlns:a16="http://schemas.microsoft.com/office/drawing/2014/main" id="{A5019E82-64E7-43ED-96C5-C61FEDAA9A20}"/>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200" b="1" dirty="0">
                  <a:solidFill>
                    <a:schemeClr val="accent3"/>
                  </a:solidFill>
                </a:rPr>
                <a:t>Step 2</a:t>
              </a:r>
            </a:p>
          </p:txBody>
        </p:sp>
      </p:grpSp>
      <p:sp>
        <p:nvSpPr>
          <p:cNvPr id="127" name="Rectangle 126">
            <a:extLst>
              <a:ext uri="{FF2B5EF4-FFF2-40B4-BE49-F238E27FC236}">
                <a16:creationId xmlns:a16="http://schemas.microsoft.com/office/drawing/2014/main" id="{9218DC55-DF2B-4AA2-BD3F-96F5BCB47A76}"/>
              </a:ext>
            </a:extLst>
          </p:cNvPr>
          <p:cNvSpPr/>
          <p:nvPr/>
        </p:nvSpPr>
        <p:spPr>
          <a:xfrm>
            <a:off x="336350" y="3023282"/>
            <a:ext cx="2595535" cy="513051"/>
          </a:xfrm>
          <a:prstGeom prst="rect">
            <a:avLst/>
          </a:prstGeom>
        </p:spPr>
        <p:txBody>
          <a:bodyPr wrap="square" lIns="0" tIns="0" rIns="0" bIns="0" anchor="ctr" anchorCtr="0">
            <a:noAutofit/>
          </a:bodyPr>
          <a:lstStyle/>
          <a:p>
            <a:pPr lvl="0" defTabSz="1734634">
              <a:defRPr/>
            </a:pPr>
            <a:r>
              <a:rPr lang="en-US" sz="1200" dirty="0">
                <a:ea typeface="ArialUnicodeMS"/>
                <a:cs typeface="Gotham-MediumItalic"/>
              </a:rPr>
              <a:t>Insert text here max 2 lines, min 12pt</a:t>
            </a:r>
          </a:p>
        </p:txBody>
      </p:sp>
      <p:grpSp>
        <p:nvGrpSpPr>
          <p:cNvPr id="121" name="Group 120" descr="step 3">
            <a:extLst>
              <a:ext uri="{FF2B5EF4-FFF2-40B4-BE49-F238E27FC236}">
                <a16:creationId xmlns:a16="http://schemas.microsoft.com/office/drawing/2014/main" id="{243F61A7-2BA7-4CC1-ACBD-ABF021FAB78B}"/>
              </a:ext>
            </a:extLst>
          </p:cNvPr>
          <p:cNvGrpSpPr/>
          <p:nvPr/>
        </p:nvGrpSpPr>
        <p:grpSpPr>
          <a:xfrm>
            <a:off x="6169160" y="3104522"/>
            <a:ext cx="2523034" cy="350570"/>
            <a:chOff x="327677" y="3722771"/>
            <a:chExt cx="2523034" cy="350570"/>
          </a:xfrm>
        </p:grpSpPr>
        <p:sp>
          <p:nvSpPr>
            <p:cNvPr id="122" name="Rectangle 121">
              <a:extLst>
                <a:ext uri="{FF2B5EF4-FFF2-40B4-BE49-F238E27FC236}">
                  <a16:creationId xmlns:a16="http://schemas.microsoft.com/office/drawing/2014/main" id="{FACD1C18-5657-4A00-A399-7A7CCBDCBA01}"/>
                </a:ext>
              </a:extLst>
            </p:cNvPr>
            <p:cNvSpPr/>
            <p:nvPr/>
          </p:nvSpPr>
          <p:spPr>
            <a:xfrm>
              <a:off x="334963" y="3934193"/>
              <a:ext cx="2213527" cy="13914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3" name="Rectangle 122">
              <a:extLst>
                <a:ext uri="{FF2B5EF4-FFF2-40B4-BE49-F238E27FC236}">
                  <a16:creationId xmlns:a16="http://schemas.microsoft.com/office/drawing/2014/main" id="{7F0471B8-EC84-4272-9B02-E026879E5CBB}"/>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200" b="1" dirty="0">
                  <a:solidFill>
                    <a:schemeClr val="accent4"/>
                  </a:solidFill>
                </a:rPr>
                <a:t>Step 3</a:t>
              </a:r>
            </a:p>
          </p:txBody>
        </p:sp>
      </p:grpSp>
      <p:sp>
        <p:nvSpPr>
          <p:cNvPr id="128" name="Rectangle 127">
            <a:extLst>
              <a:ext uri="{FF2B5EF4-FFF2-40B4-BE49-F238E27FC236}">
                <a16:creationId xmlns:a16="http://schemas.microsoft.com/office/drawing/2014/main" id="{97276DF9-50FA-4692-AE23-3049F7C514D5}"/>
              </a:ext>
            </a:extLst>
          </p:cNvPr>
          <p:cNvSpPr/>
          <p:nvPr/>
        </p:nvSpPr>
        <p:spPr>
          <a:xfrm>
            <a:off x="336350" y="3540922"/>
            <a:ext cx="2595535" cy="513051"/>
          </a:xfrm>
          <a:prstGeom prst="rect">
            <a:avLst/>
          </a:prstGeom>
        </p:spPr>
        <p:txBody>
          <a:bodyPr wrap="square" lIns="0" tIns="0" rIns="0" bIns="0" anchor="ctr" anchorCtr="0">
            <a:noAutofit/>
          </a:bodyPr>
          <a:lstStyle/>
          <a:p>
            <a:pPr lvl="0" defTabSz="1734634">
              <a:defRPr/>
            </a:pPr>
            <a:r>
              <a:rPr lang="en-US" sz="1200" dirty="0">
                <a:ea typeface="ArialUnicodeMS"/>
                <a:cs typeface="Gotham-MediumItalic"/>
              </a:rPr>
              <a:t>Insert text here max 2 lines, min 12pt</a:t>
            </a:r>
          </a:p>
        </p:txBody>
      </p:sp>
      <p:grpSp>
        <p:nvGrpSpPr>
          <p:cNvPr id="133" name="Group 132" descr="step 4">
            <a:extLst>
              <a:ext uri="{FF2B5EF4-FFF2-40B4-BE49-F238E27FC236}">
                <a16:creationId xmlns:a16="http://schemas.microsoft.com/office/drawing/2014/main" id="{D0EC0278-E002-4630-BA82-D06D06840874}"/>
              </a:ext>
            </a:extLst>
          </p:cNvPr>
          <p:cNvGrpSpPr/>
          <p:nvPr/>
        </p:nvGrpSpPr>
        <p:grpSpPr>
          <a:xfrm>
            <a:off x="7221979" y="3610571"/>
            <a:ext cx="2523034" cy="350570"/>
            <a:chOff x="327677" y="3722771"/>
            <a:chExt cx="2523034" cy="350570"/>
          </a:xfrm>
        </p:grpSpPr>
        <p:sp>
          <p:nvSpPr>
            <p:cNvPr id="134" name="Rectangle 133">
              <a:extLst>
                <a:ext uri="{FF2B5EF4-FFF2-40B4-BE49-F238E27FC236}">
                  <a16:creationId xmlns:a16="http://schemas.microsoft.com/office/drawing/2014/main" id="{DE5EF03A-DD23-458D-9022-92195996E585}"/>
                </a:ext>
              </a:extLst>
            </p:cNvPr>
            <p:cNvSpPr/>
            <p:nvPr/>
          </p:nvSpPr>
          <p:spPr>
            <a:xfrm>
              <a:off x="334963" y="3934193"/>
              <a:ext cx="2213527" cy="13914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5" name="Rectangle 134">
              <a:extLst>
                <a:ext uri="{FF2B5EF4-FFF2-40B4-BE49-F238E27FC236}">
                  <a16:creationId xmlns:a16="http://schemas.microsoft.com/office/drawing/2014/main" id="{545CD0F8-5AD3-45BF-A9C7-7C7097CFD775}"/>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200" b="1" dirty="0">
                  <a:solidFill>
                    <a:schemeClr val="accent4"/>
                  </a:solidFill>
                </a:rPr>
                <a:t>Step 4</a:t>
              </a:r>
            </a:p>
          </p:txBody>
        </p:sp>
      </p:grpSp>
      <p:sp>
        <p:nvSpPr>
          <p:cNvPr id="129" name="Rectangle 128">
            <a:extLst>
              <a:ext uri="{FF2B5EF4-FFF2-40B4-BE49-F238E27FC236}">
                <a16:creationId xmlns:a16="http://schemas.microsoft.com/office/drawing/2014/main" id="{8F957C77-84BF-48E8-B01E-AE93205AE93E}"/>
              </a:ext>
            </a:extLst>
          </p:cNvPr>
          <p:cNvSpPr/>
          <p:nvPr/>
        </p:nvSpPr>
        <p:spPr>
          <a:xfrm>
            <a:off x="336350" y="4052858"/>
            <a:ext cx="2595535" cy="513051"/>
          </a:xfrm>
          <a:prstGeom prst="rect">
            <a:avLst/>
          </a:prstGeom>
        </p:spPr>
        <p:txBody>
          <a:bodyPr wrap="square" lIns="0" tIns="0" rIns="0" bIns="0" anchor="ctr" anchorCtr="0">
            <a:noAutofit/>
          </a:bodyPr>
          <a:lstStyle/>
          <a:p>
            <a:pPr lvl="0" defTabSz="1734634">
              <a:defRPr/>
            </a:pPr>
            <a:r>
              <a:rPr lang="en-US" sz="1200" dirty="0">
                <a:ea typeface="ArialUnicodeMS"/>
                <a:cs typeface="Gotham-MediumItalic"/>
              </a:rPr>
              <a:t>Insert text here max 2 lines, min 12pt</a:t>
            </a:r>
          </a:p>
        </p:txBody>
      </p:sp>
      <p:grpSp>
        <p:nvGrpSpPr>
          <p:cNvPr id="130" name="Group 129" descr="step 5">
            <a:extLst>
              <a:ext uri="{FF2B5EF4-FFF2-40B4-BE49-F238E27FC236}">
                <a16:creationId xmlns:a16="http://schemas.microsoft.com/office/drawing/2014/main" id="{7E7B7CB0-5631-43BC-BB9A-77665D629FCB}"/>
              </a:ext>
            </a:extLst>
          </p:cNvPr>
          <p:cNvGrpSpPr/>
          <p:nvPr/>
        </p:nvGrpSpPr>
        <p:grpSpPr>
          <a:xfrm>
            <a:off x="5293589" y="4133290"/>
            <a:ext cx="2730478" cy="350570"/>
            <a:chOff x="327677" y="3722771"/>
            <a:chExt cx="2730478" cy="350570"/>
          </a:xfrm>
        </p:grpSpPr>
        <p:sp>
          <p:nvSpPr>
            <p:cNvPr id="131" name="Rectangle 130">
              <a:extLst>
                <a:ext uri="{FF2B5EF4-FFF2-40B4-BE49-F238E27FC236}">
                  <a16:creationId xmlns:a16="http://schemas.microsoft.com/office/drawing/2014/main" id="{551BB68E-AB76-4B73-82DD-54F09BD158CB}"/>
                </a:ext>
              </a:extLst>
            </p:cNvPr>
            <p:cNvSpPr/>
            <p:nvPr/>
          </p:nvSpPr>
          <p:spPr>
            <a:xfrm>
              <a:off x="334963" y="3934193"/>
              <a:ext cx="2723192" cy="139148"/>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2" name="Rectangle 131">
              <a:extLst>
                <a:ext uri="{FF2B5EF4-FFF2-40B4-BE49-F238E27FC236}">
                  <a16:creationId xmlns:a16="http://schemas.microsoft.com/office/drawing/2014/main" id="{90B82752-A054-4539-84A0-B62C353B0160}"/>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200" b="1" dirty="0">
                  <a:solidFill>
                    <a:schemeClr val="accent6"/>
                  </a:solidFill>
                </a:rPr>
                <a:t>Step 5</a:t>
              </a:r>
            </a:p>
          </p:txBody>
        </p:sp>
      </p:grpSp>
      <p:sp>
        <p:nvSpPr>
          <p:cNvPr id="142" name="Rectangle 141">
            <a:extLst>
              <a:ext uri="{FF2B5EF4-FFF2-40B4-BE49-F238E27FC236}">
                <a16:creationId xmlns:a16="http://schemas.microsoft.com/office/drawing/2014/main" id="{5110D20E-0862-41AA-9C5D-54F1A90F5B2C}"/>
              </a:ext>
            </a:extLst>
          </p:cNvPr>
          <p:cNvSpPr/>
          <p:nvPr/>
        </p:nvSpPr>
        <p:spPr>
          <a:xfrm>
            <a:off x="336350" y="4561294"/>
            <a:ext cx="2595535" cy="513051"/>
          </a:xfrm>
          <a:prstGeom prst="rect">
            <a:avLst/>
          </a:prstGeom>
        </p:spPr>
        <p:txBody>
          <a:bodyPr wrap="square" lIns="0" tIns="0" rIns="0" bIns="0" anchor="ctr" anchorCtr="0">
            <a:noAutofit/>
          </a:bodyPr>
          <a:lstStyle/>
          <a:p>
            <a:pPr lvl="0" defTabSz="1734634">
              <a:defRPr/>
            </a:pPr>
            <a:r>
              <a:rPr lang="en-US" sz="1200" dirty="0">
                <a:ea typeface="ArialUnicodeMS"/>
                <a:cs typeface="Gotham-MediumItalic"/>
              </a:rPr>
              <a:t>Insert text here max 2 lines, min 12pt</a:t>
            </a:r>
          </a:p>
        </p:txBody>
      </p:sp>
      <p:grpSp>
        <p:nvGrpSpPr>
          <p:cNvPr id="145" name="Group 144" descr="step 6">
            <a:extLst>
              <a:ext uri="{FF2B5EF4-FFF2-40B4-BE49-F238E27FC236}">
                <a16:creationId xmlns:a16="http://schemas.microsoft.com/office/drawing/2014/main" id="{19301E0B-F813-4543-B75B-E3E7D8AE26C2}"/>
              </a:ext>
            </a:extLst>
          </p:cNvPr>
          <p:cNvGrpSpPr/>
          <p:nvPr/>
        </p:nvGrpSpPr>
        <p:grpSpPr>
          <a:xfrm>
            <a:off x="4489046" y="4642534"/>
            <a:ext cx="2730478" cy="350570"/>
            <a:chOff x="327677" y="3722771"/>
            <a:chExt cx="2730478" cy="350570"/>
          </a:xfrm>
        </p:grpSpPr>
        <p:sp>
          <p:nvSpPr>
            <p:cNvPr id="146" name="Rectangle 145">
              <a:extLst>
                <a:ext uri="{FF2B5EF4-FFF2-40B4-BE49-F238E27FC236}">
                  <a16:creationId xmlns:a16="http://schemas.microsoft.com/office/drawing/2014/main" id="{1C08ECAB-607A-4C16-80F9-1AF443524CCA}"/>
                </a:ext>
              </a:extLst>
            </p:cNvPr>
            <p:cNvSpPr/>
            <p:nvPr/>
          </p:nvSpPr>
          <p:spPr>
            <a:xfrm>
              <a:off x="334963" y="3934193"/>
              <a:ext cx="2723192" cy="13914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7" name="Rectangle 146">
              <a:extLst>
                <a:ext uri="{FF2B5EF4-FFF2-40B4-BE49-F238E27FC236}">
                  <a16:creationId xmlns:a16="http://schemas.microsoft.com/office/drawing/2014/main" id="{981FBA39-93DF-4E05-B176-FED49F91DD1E}"/>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200" b="1" dirty="0">
                  <a:solidFill>
                    <a:schemeClr val="accent5"/>
                  </a:solidFill>
                </a:rPr>
                <a:t>Step 6</a:t>
              </a:r>
            </a:p>
          </p:txBody>
        </p:sp>
      </p:grpSp>
      <p:sp>
        <p:nvSpPr>
          <p:cNvPr id="143" name="Rectangle 142">
            <a:extLst>
              <a:ext uri="{FF2B5EF4-FFF2-40B4-BE49-F238E27FC236}">
                <a16:creationId xmlns:a16="http://schemas.microsoft.com/office/drawing/2014/main" id="{C139B3C4-9344-4370-8A1E-7D56E0F249A9}"/>
              </a:ext>
            </a:extLst>
          </p:cNvPr>
          <p:cNvSpPr/>
          <p:nvPr/>
        </p:nvSpPr>
        <p:spPr>
          <a:xfrm>
            <a:off x="336350" y="5078934"/>
            <a:ext cx="2595535" cy="513051"/>
          </a:xfrm>
          <a:prstGeom prst="rect">
            <a:avLst/>
          </a:prstGeom>
        </p:spPr>
        <p:txBody>
          <a:bodyPr wrap="square" lIns="0" tIns="0" rIns="0" bIns="0" anchor="ctr" anchorCtr="0">
            <a:noAutofit/>
          </a:bodyPr>
          <a:lstStyle/>
          <a:p>
            <a:pPr lvl="0" defTabSz="1734634">
              <a:defRPr/>
            </a:pPr>
            <a:r>
              <a:rPr lang="en-US" sz="1200" dirty="0">
                <a:ea typeface="ArialUnicodeMS"/>
                <a:cs typeface="Gotham-MediumItalic"/>
              </a:rPr>
              <a:t>Insert text here max 2 lines, min 12pt</a:t>
            </a:r>
          </a:p>
        </p:txBody>
      </p:sp>
      <p:grpSp>
        <p:nvGrpSpPr>
          <p:cNvPr id="139" name="Group 138" descr="step 7">
            <a:extLst>
              <a:ext uri="{FF2B5EF4-FFF2-40B4-BE49-F238E27FC236}">
                <a16:creationId xmlns:a16="http://schemas.microsoft.com/office/drawing/2014/main" id="{9AE56F96-2737-4D1B-8D11-A8E73E3D243C}"/>
              </a:ext>
            </a:extLst>
          </p:cNvPr>
          <p:cNvGrpSpPr/>
          <p:nvPr/>
        </p:nvGrpSpPr>
        <p:grpSpPr>
          <a:xfrm>
            <a:off x="8181275" y="5160174"/>
            <a:ext cx="2523034" cy="350570"/>
            <a:chOff x="327677" y="3722771"/>
            <a:chExt cx="2523034" cy="350570"/>
          </a:xfrm>
        </p:grpSpPr>
        <p:sp>
          <p:nvSpPr>
            <p:cNvPr id="140" name="Rectangle 139">
              <a:extLst>
                <a:ext uri="{FF2B5EF4-FFF2-40B4-BE49-F238E27FC236}">
                  <a16:creationId xmlns:a16="http://schemas.microsoft.com/office/drawing/2014/main" id="{B15B9913-A135-4B12-B0D5-12DB90C5730B}"/>
                </a:ext>
              </a:extLst>
            </p:cNvPr>
            <p:cNvSpPr/>
            <p:nvPr/>
          </p:nvSpPr>
          <p:spPr>
            <a:xfrm>
              <a:off x="334963" y="3934193"/>
              <a:ext cx="1497833" cy="13914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1" name="Rectangle 140">
              <a:extLst>
                <a:ext uri="{FF2B5EF4-FFF2-40B4-BE49-F238E27FC236}">
                  <a16:creationId xmlns:a16="http://schemas.microsoft.com/office/drawing/2014/main" id="{5B490DF7-DCE2-4A1A-AC29-74CABFB5F980}"/>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200" b="1" dirty="0">
                  <a:solidFill>
                    <a:schemeClr val="accent4"/>
                  </a:solidFill>
                </a:rPr>
                <a:t>Step 7</a:t>
              </a:r>
            </a:p>
          </p:txBody>
        </p:sp>
      </p:grpSp>
      <p:sp>
        <p:nvSpPr>
          <p:cNvPr id="144" name="Rectangle 143">
            <a:extLst>
              <a:ext uri="{FF2B5EF4-FFF2-40B4-BE49-F238E27FC236}">
                <a16:creationId xmlns:a16="http://schemas.microsoft.com/office/drawing/2014/main" id="{8D192323-A18E-4B7B-8A9E-35B0BD6B047E}"/>
              </a:ext>
            </a:extLst>
          </p:cNvPr>
          <p:cNvSpPr/>
          <p:nvPr/>
        </p:nvSpPr>
        <p:spPr>
          <a:xfrm>
            <a:off x="336350" y="5590870"/>
            <a:ext cx="2595535" cy="513051"/>
          </a:xfrm>
          <a:prstGeom prst="rect">
            <a:avLst/>
          </a:prstGeom>
        </p:spPr>
        <p:txBody>
          <a:bodyPr wrap="square" lIns="0" tIns="0" rIns="0" bIns="0" anchor="ctr" anchorCtr="0">
            <a:noAutofit/>
          </a:bodyPr>
          <a:lstStyle/>
          <a:p>
            <a:pPr lvl="0" defTabSz="1734634">
              <a:defRPr/>
            </a:pPr>
            <a:r>
              <a:rPr lang="en-US" sz="1200" dirty="0">
                <a:ea typeface="ArialUnicodeMS"/>
                <a:cs typeface="Gotham-MediumItalic"/>
              </a:rPr>
              <a:t>Insert text here max 2 lines, min 12pt</a:t>
            </a:r>
          </a:p>
        </p:txBody>
      </p:sp>
      <p:grpSp>
        <p:nvGrpSpPr>
          <p:cNvPr id="136" name="Group 135" descr="step 8">
            <a:extLst>
              <a:ext uri="{FF2B5EF4-FFF2-40B4-BE49-F238E27FC236}">
                <a16:creationId xmlns:a16="http://schemas.microsoft.com/office/drawing/2014/main" id="{2C67600E-25FB-42C0-9912-11C25FD782F0}"/>
              </a:ext>
            </a:extLst>
          </p:cNvPr>
          <p:cNvGrpSpPr/>
          <p:nvPr/>
        </p:nvGrpSpPr>
        <p:grpSpPr>
          <a:xfrm>
            <a:off x="8692194" y="5672110"/>
            <a:ext cx="3009462" cy="350570"/>
            <a:chOff x="327677" y="3722771"/>
            <a:chExt cx="3009462" cy="350570"/>
          </a:xfrm>
        </p:grpSpPr>
        <p:sp>
          <p:nvSpPr>
            <p:cNvPr id="137" name="Rectangle 136">
              <a:extLst>
                <a:ext uri="{FF2B5EF4-FFF2-40B4-BE49-F238E27FC236}">
                  <a16:creationId xmlns:a16="http://schemas.microsoft.com/office/drawing/2014/main" id="{9E02E9F8-E756-465D-A6AC-3BEAFF079579}"/>
                </a:ext>
              </a:extLst>
            </p:cNvPr>
            <p:cNvSpPr/>
            <p:nvPr/>
          </p:nvSpPr>
          <p:spPr>
            <a:xfrm>
              <a:off x="334962" y="3934193"/>
              <a:ext cx="3002177" cy="13914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8" name="Rectangle 137">
              <a:extLst>
                <a:ext uri="{FF2B5EF4-FFF2-40B4-BE49-F238E27FC236}">
                  <a16:creationId xmlns:a16="http://schemas.microsoft.com/office/drawing/2014/main" id="{88D782A5-F055-4AEE-934D-DEB9287FAC24}"/>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200" b="1" dirty="0">
                  <a:solidFill>
                    <a:schemeClr val="accent3"/>
                  </a:solidFill>
                </a:rPr>
                <a:t>Step 8</a:t>
              </a:r>
            </a:p>
          </p:txBody>
        </p:sp>
      </p:grpSp>
      <p:sp>
        <p:nvSpPr>
          <p:cNvPr id="3" name="Footer Placeholder 2">
            <a:extLst>
              <a:ext uri="{FF2B5EF4-FFF2-40B4-BE49-F238E27FC236}">
                <a16:creationId xmlns:a16="http://schemas.microsoft.com/office/drawing/2014/main" id="{AF132B8F-C3CC-4172-B0CE-3689BC55B56D}"/>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DB108F4-7980-4E00-BB59-32A422569F7A}"/>
              </a:ext>
            </a:extLst>
          </p:cNvPr>
          <p:cNvSpPr>
            <a:spLocks noGrp="1"/>
          </p:cNvSpPr>
          <p:nvPr>
            <p:ph type="sldNum" sz="quarter" idx="10"/>
          </p:nvPr>
        </p:nvSpPr>
        <p:spPr/>
        <p:txBody>
          <a:bodyPr/>
          <a:lstStyle/>
          <a:p>
            <a:fld id="{1F90F471-3972-4120-B8B3-0237DE626C35}" type="slidenum">
              <a:rPr lang="en-US" smtClean="0"/>
              <a:pPr/>
              <a:t>373</a:t>
            </a:fld>
            <a:endParaRPr lang="en-US" dirty="0"/>
          </a:p>
        </p:txBody>
      </p:sp>
    </p:spTree>
    <p:extLst>
      <p:ext uri="{BB962C8B-B14F-4D97-AF65-F5344CB8AC3E}">
        <p14:creationId xmlns:p14="http://schemas.microsoft.com/office/powerpoint/2010/main" val="3278319809"/>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35E2146-7591-4624-B41E-A6994C5B2ADF}"/>
              </a:ext>
            </a:extLst>
          </p:cNvPr>
          <p:cNvSpPr>
            <a:spLocks noGrp="1"/>
          </p:cNvSpPr>
          <p:nvPr>
            <p:ph type="title"/>
          </p:nvPr>
        </p:nvSpPr>
        <p:spPr/>
        <p:txBody>
          <a:bodyPr/>
          <a:lstStyle/>
          <a:p>
            <a:r>
              <a:rPr lang="en-US" dirty="0"/>
              <a:t>Gantt Chart 2</a:t>
            </a:r>
          </a:p>
        </p:txBody>
      </p:sp>
      <p:grpSp>
        <p:nvGrpSpPr>
          <p:cNvPr id="204" name="Group 203" descr="Phase 1">
            <a:extLst>
              <a:ext uri="{FF2B5EF4-FFF2-40B4-BE49-F238E27FC236}">
                <a16:creationId xmlns:a16="http://schemas.microsoft.com/office/drawing/2014/main" id="{406BE3A1-8B9A-4FB0-871D-CB171C0DBF20}"/>
              </a:ext>
            </a:extLst>
          </p:cNvPr>
          <p:cNvGrpSpPr/>
          <p:nvPr/>
        </p:nvGrpSpPr>
        <p:grpSpPr>
          <a:xfrm>
            <a:off x="8275956" y="914662"/>
            <a:ext cx="904874" cy="178676"/>
            <a:chOff x="9164037" y="693683"/>
            <a:chExt cx="904874" cy="178676"/>
          </a:xfrm>
        </p:grpSpPr>
        <p:sp>
          <p:nvSpPr>
            <p:cNvPr id="205" name="Rectangle 204">
              <a:extLst>
                <a:ext uri="{FF2B5EF4-FFF2-40B4-BE49-F238E27FC236}">
                  <a16:creationId xmlns:a16="http://schemas.microsoft.com/office/drawing/2014/main" id="{99AE9A55-3137-4A88-A5AC-4165104479F7}"/>
                </a:ext>
              </a:extLst>
            </p:cNvPr>
            <p:cNvSpPr/>
            <p:nvPr/>
          </p:nvSpPr>
          <p:spPr>
            <a:xfrm>
              <a:off x="9164037" y="693683"/>
              <a:ext cx="169149" cy="17867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06" name="TextBox 205">
              <a:extLst>
                <a:ext uri="{FF2B5EF4-FFF2-40B4-BE49-F238E27FC236}">
                  <a16:creationId xmlns:a16="http://schemas.microsoft.com/office/drawing/2014/main" id="{B4389987-3803-4294-8AE9-D32C29FA4746}"/>
                </a:ext>
              </a:extLst>
            </p:cNvPr>
            <p:cNvSpPr txBox="1"/>
            <p:nvPr/>
          </p:nvSpPr>
          <p:spPr>
            <a:xfrm>
              <a:off x="9467851" y="704193"/>
              <a:ext cx="601060" cy="168166"/>
            </a:xfrm>
            <a:prstGeom prst="rect">
              <a:avLst/>
            </a:prstGeom>
          </p:spPr>
          <p:txBody>
            <a:bodyPr vert="horz" wrap="square" lIns="0" tIns="0" rIns="0" bIns="0" rtlCol="0">
              <a:noAutofit/>
            </a:bodyPr>
            <a:lstStyle/>
            <a:p>
              <a:r>
                <a:rPr lang="en-AU" sz="1000" dirty="0"/>
                <a:t>Phase 1</a:t>
              </a:r>
            </a:p>
          </p:txBody>
        </p:sp>
      </p:grpSp>
      <p:grpSp>
        <p:nvGrpSpPr>
          <p:cNvPr id="207" name="Group 206" descr="Phase 2">
            <a:extLst>
              <a:ext uri="{FF2B5EF4-FFF2-40B4-BE49-F238E27FC236}">
                <a16:creationId xmlns:a16="http://schemas.microsoft.com/office/drawing/2014/main" id="{D09E3076-E921-4CAB-90FB-3B1946B3D72E}"/>
              </a:ext>
            </a:extLst>
          </p:cNvPr>
          <p:cNvGrpSpPr/>
          <p:nvPr/>
        </p:nvGrpSpPr>
        <p:grpSpPr>
          <a:xfrm>
            <a:off x="9214692" y="914662"/>
            <a:ext cx="904874" cy="178676"/>
            <a:chOff x="9164037" y="693683"/>
            <a:chExt cx="904874" cy="178676"/>
          </a:xfrm>
        </p:grpSpPr>
        <p:sp>
          <p:nvSpPr>
            <p:cNvPr id="208" name="Rectangle 207">
              <a:extLst>
                <a:ext uri="{FF2B5EF4-FFF2-40B4-BE49-F238E27FC236}">
                  <a16:creationId xmlns:a16="http://schemas.microsoft.com/office/drawing/2014/main" id="{13DFC079-0E7D-466C-8DF8-9FBF36E3328D}"/>
                </a:ext>
              </a:extLst>
            </p:cNvPr>
            <p:cNvSpPr/>
            <p:nvPr/>
          </p:nvSpPr>
          <p:spPr>
            <a:xfrm>
              <a:off x="9164037" y="693683"/>
              <a:ext cx="169149" cy="178676"/>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09" name="TextBox 208">
              <a:extLst>
                <a:ext uri="{FF2B5EF4-FFF2-40B4-BE49-F238E27FC236}">
                  <a16:creationId xmlns:a16="http://schemas.microsoft.com/office/drawing/2014/main" id="{B82D1411-E328-4165-9F9B-D8BEC80FC4BB}"/>
                </a:ext>
              </a:extLst>
            </p:cNvPr>
            <p:cNvSpPr txBox="1"/>
            <p:nvPr/>
          </p:nvSpPr>
          <p:spPr>
            <a:xfrm>
              <a:off x="9467851" y="704193"/>
              <a:ext cx="601060" cy="168166"/>
            </a:xfrm>
            <a:prstGeom prst="rect">
              <a:avLst/>
            </a:prstGeom>
          </p:spPr>
          <p:txBody>
            <a:bodyPr vert="horz" wrap="square" lIns="0" tIns="0" rIns="0" bIns="0" rtlCol="0">
              <a:noAutofit/>
            </a:bodyPr>
            <a:lstStyle/>
            <a:p>
              <a:r>
                <a:rPr lang="en-AU" sz="1000"/>
                <a:t>Phase 2</a:t>
              </a:r>
            </a:p>
          </p:txBody>
        </p:sp>
      </p:grpSp>
      <p:grpSp>
        <p:nvGrpSpPr>
          <p:cNvPr id="210" name="Group 209" descr="Phase 3">
            <a:extLst>
              <a:ext uri="{FF2B5EF4-FFF2-40B4-BE49-F238E27FC236}">
                <a16:creationId xmlns:a16="http://schemas.microsoft.com/office/drawing/2014/main" id="{A855C3DF-9E76-4F7B-8A66-8F1ADF7121CF}"/>
              </a:ext>
            </a:extLst>
          </p:cNvPr>
          <p:cNvGrpSpPr/>
          <p:nvPr/>
        </p:nvGrpSpPr>
        <p:grpSpPr>
          <a:xfrm>
            <a:off x="10153428" y="914662"/>
            <a:ext cx="904874" cy="178676"/>
            <a:chOff x="9164037" y="693683"/>
            <a:chExt cx="904874" cy="178676"/>
          </a:xfrm>
        </p:grpSpPr>
        <p:sp>
          <p:nvSpPr>
            <p:cNvPr id="211" name="Rectangle 210">
              <a:extLst>
                <a:ext uri="{FF2B5EF4-FFF2-40B4-BE49-F238E27FC236}">
                  <a16:creationId xmlns:a16="http://schemas.microsoft.com/office/drawing/2014/main" id="{6BA69122-F1F5-492D-913D-16B607080339}"/>
                </a:ext>
              </a:extLst>
            </p:cNvPr>
            <p:cNvSpPr/>
            <p:nvPr/>
          </p:nvSpPr>
          <p:spPr>
            <a:xfrm>
              <a:off x="9164037" y="693683"/>
              <a:ext cx="169149" cy="17867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12" name="TextBox 211">
              <a:extLst>
                <a:ext uri="{FF2B5EF4-FFF2-40B4-BE49-F238E27FC236}">
                  <a16:creationId xmlns:a16="http://schemas.microsoft.com/office/drawing/2014/main" id="{967D3E2A-A057-4A37-AFEC-5196FE584C60}"/>
                </a:ext>
              </a:extLst>
            </p:cNvPr>
            <p:cNvSpPr txBox="1"/>
            <p:nvPr/>
          </p:nvSpPr>
          <p:spPr>
            <a:xfrm>
              <a:off x="9467851" y="704193"/>
              <a:ext cx="601060" cy="168166"/>
            </a:xfrm>
            <a:prstGeom prst="rect">
              <a:avLst/>
            </a:prstGeom>
          </p:spPr>
          <p:txBody>
            <a:bodyPr vert="horz" wrap="square" lIns="0" tIns="0" rIns="0" bIns="0" rtlCol="0">
              <a:noAutofit/>
            </a:bodyPr>
            <a:lstStyle/>
            <a:p>
              <a:r>
                <a:rPr lang="en-AU" sz="1000"/>
                <a:t>Phase 3</a:t>
              </a:r>
            </a:p>
          </p:txBody>
        </p:sp>
      </p:grpSp>
      <p:grpSp>
        <p:nvGrpSpPr>
          <p:cNvPr id="213" name="Group 212" descr="Phase 4">
            <a:extLst>
              <a:ext uri="{FF2B5EF4-FFF2-40B4-BE49-F238E27FC236}">
                <a16:creationId xmlns:a16="http://schemas.microsoft.com/office/drawing/2014/main" id="{3B5C0B51-C2B6-453D-8A7A-2952CFEABD11}"/>
              </a:ext>
            </a:extLst>
          </p:cNvPr>
          <p:cNvGrpSpPr/>
          <p:nvPr/>
        </p:nvGrpSpPr>
        <p:grpSpPr>
          <a:xfrm>
            <a:off x="11092164" y="914662"/>
            <a:ext cx="904874" cy="178676"/>
            <a:chOff x="9164037" y="693683"/>
            <a:chExt cx="904874" cy="178676"/>
          </a:xfrm>
        </p:grpSpPr>
        <p:sp>
          <p:nvSpPr>
            <p:cNvPr id="214" name="Rectangle 213">
              <a:extLst>
                <a:ext uri="{FF2B5EF4-FFF2-40B4-BE49-F238E27FC236}">
                  <a16:creationId xmlns:a16="http://schemas.microsoft.com/office/drawing/2014/main" id="{3D7026AD-9BE2-4758-8027-8EDDA8BBE7C1}"/>
                </a:ext>
              </a:extLst>
            </p:cNvPr>
            <p:cNvSpPr/>
            <p:nvPr/>
          </p:nvSpPr>
          <p:spPr>
            <a:xfrm>
              <a:off x="9164037" y="693683"/>
              <a:ext cx="169149" cy="178676"/>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15" name="TextBox 214">
              <a:extLst>
                <a:ext uri="{FF2B5EF4-FFF2-40B4-BE49-F238E27FC236}">
                  <a16:creationId xmlns:a16="http://schemas.microsoft.com/office/drawing/2014/main" id="{696878CE-4716-4AE2-898F-F873215B398C}"/>
                </a:ext>
              </a:extLst>
            </p:cNvPr>
            <p:cNvSpPr txBox="1"/>
            <p:nvPr/>
          </p:nvSpPr>
          <p:spPr>
            <a:xfrm>
              <a:off x="9467851" y="704193"/>
              <a:ext cx="601060" cy="168166"/>
            </a:xfrm>
            <a:prstGeom prst="rect">
              <a:avLst/>
            </a:prstGeom>
          </p:spPr>
          <p:txBody>
            <a:bodyPr vert="horz" wrap="square" lIns="0" tIns="0" rIns="0" bIns="0" rtlCol="0">
              <a:noAutofit/>
            </a:bodyPr>
            <a:lstStyle/>
            <a:p>
              <a:r>
                <a:rPr lang="en-AU" sz="1000"/>
                <a:t>Phase 4</a:t>
              </a:r>
            </a:p>
          </p:txBody>
        </p:sp>
      </p:grpSp>
      <p:grpSp>
        <p:nvGrpSpPr>
          <p:cNvPr id="111" name="Group 110" descr="Phase 1">
            <a:extLst>
              <a:ext uri="{FF2B5EF4-FFF2-40B4-BE49-F238E27FC236}">
                <a16:creationId xmlns:a16="http://schemas.microsoft.com/office/drawing/2014/main" id="{1F02B153-1058-41E7-B02C-16B86BFA4533}"/>
              </a:ext>
            </a:extLst>
          </p:cNvPr>
          <p:cNvGrpSpPr/>
          <p:nvPr/>
        </p:nvGrpSpPr>
        <p:grpSpPr>
          <a:xfrm>
            <a:off x="805453" y="1412658"/>
            <a:ext cx="3070357" cy="2087780"/>
            <a:chOff x="805453" y="1412658"/>
            <a:chExt cx="3070357" cy="2087780"/>
          </a:xfrm>
        </p:grpSpPr>
        <p:cxnSp>
          <p:nvCxnSpPr>
            <p:cNvPr id="112" name="Straight Connector 111">
              <a:extLst>
                <a:ext uri="{FF2B5EF4-FFF2-40B4-BE49-F238E27FC236}">
                  <a16:creationId xmlns:a16="http://schemas.microsoft.com/office/drawing/2014/main" id="{82A2AF0A-E472-49F3-8D9C-EAB24A10A0CA}"/>
                </a:ext>
              </a:extLst>
            </p:cNvPr>
            <p:cNvCxnSpPr/>
            <p:nvPr/>
          </p:nvCxnSpPr>
          <p:spPr>
            <a:xfrm>
              <a:off x="805453" y="2394705"/>
              <a:ext cx="0" cy="1105733"/>
            </a:xfrm>
            <a:prstGeom prst="line">
              <a:avLst/>
            </a:prstGeom>
            <a:ln w="9525"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13" name="Group 112">
              <a:extLst>
                <a:ext uri="{FF2B5EF4-FFF2-40B4-BE49-F238E27FC236}">
                  <a16:creationId xmlns:a16="http://schemas.microsoft.com/office/drawing/2014/main" id="{C0C50218-6A89-44F1-B9F3-5E840A1EC0E5}"/>
                </a:ext>
              </a:extLst>
            </p:cNvPr>
            <p:cNvGrpSpPr/>
            <p:nvPr/>
          </p:nvGrpSpPr>
          <p:grpSpPr>
            <a:xfrm>
              <a:off x="812739" y="1412658"/>
              <a:ext cx="3063071" cy="328500"/>
              <a:chOff x="327677" y="3722771"/>
              <a:chExt cx="3063071" cy="328500"/>
            </a:xfrm>
          </p:grpSpPr>
          <p:sp>
            <p:nvSpPr>
              <p:cNvPr id="117" name="Rectangle 116">
                <a:extLst>
                  <a:ext uri="{FF2B5EF4-FFF2-40B4-BE49-F238E27FC236}">
                    <a16:creationId xmlns:a16="http://schemas.microsoft.com/office/drawing/2014/main" id="{C4289393-CB98-41E7-A3DA-B73B34F100BB}"/>
                  </a:ext>
                </a:extLst>
              </p:cNvPr>
              <p:cNvSpPr/>
              <p:nvPr/>
            </p:nvSpPr>
            <p:spPr>
              <a:xfrm>
                <a:off x="334963" y="3934193"/>
                <a:ext cx="3055785" cy="11707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8" name="Rectangle 117">
                <a:extLst>
                  <a:ext uri="{FF2B5EF4-FFF2-40B4-BE49-F238E27FC236}">
                    <a16:creationId xmlns:a16="http://schemas.microsoft.com/office/drawing/2014/main" id="{F64CECBF-F243-49E4-B2FB-4E83FB5CA501}"/>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dirty="0">
                    <a:solidFill>
                      <a:schemeClr val="tx1"/>
                    </a:solidFill>
                  </a:rPr>
                  <a:t>Phase 1</a:t>
                </a:r>
              </a:p>
            </p:txBody>
          </p:sp>
        </p:grpSp>
        <p:grpSp>
          <p:nvGrpSpPr>
            <p:cNvPr id="114" name="Group 113">
              <a:extLst>
                <a:ext uri="{FF2B5EF4-FFF2-40B4-BE49-F238E27FC236}">
                  <a16:creationId xmlns:a16="http://schemas.microsoft.com/office/drawing/2014/main" id="{507D9B60-A48C-4D27-AAB4-515C4EE55F1A}"/>
                </a:ext>
              </a:extLst>
            </p:cNvPr>
            <p:cNvGrpSpPr/>
            <p:nvPr/>
          </p:nvGrpSpPr>
          <p:grpSpPr>
            <a:xfrm>
              <a:off x="805453" y="1929819"/>
              <a:ext cx="2523034" cy="328500"/>
              <a:chOff x="327677" y="3722771"/>
              <a:chExt cx="2523034" cy="328500"/>
            </a:xfrm>
          </p:grpSpPr>
          <p:sp>
            <p:nvSpPr>
              <p:cNvPr id="115" name="Rectangle 114">
                <a:extLst>
                  <a:ext uri="{FF2B5EF4-FFF2-40B4-BE49-F238E27FC236}">
                    <a16:creationId xmlns:a16="http://schemas.microsoft.com/office/drawing/2014/main" id="{757497C9-1A7E-48CF-BE15-9B44F2C535A3}"/>
                  </a:ext>
                </a:extLst>
              </p:cNvPr>
              <p:cNvSpPr/>
              <p:nvPr/>
            </p:nvSpPr>
            <p:spPr>
              <a:xfrm>
                <a:off x="334963" y="3934193"/>
                <a:ext cx="1692000" cy="11707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6" name="Rectangle 115">
                <a:extLst>
                  <a:ext uri="{FF2B5EF4-FFF2-40B4-BE49-F238E27FC236}">
                    <a16:creationId xmlns:a16="http://schemas.microsoft.com/office/drawing/2014/main" id="{D755E450-ED0F-4C77-A0D2-CC407DB67D15}"/>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dirty="0">
                    <a:solidFill>
                      <a:schemeClr val="tx1"/>
                    </a:solidFill>
                  </a:rPr>
                  <a:t>Phase 1</a:t>
                </a:r>
              </a:p>
            </p:txBody>
          </p:sp>
        </p:grpSp>
      </p:grpSp>
      <p:grpSp>
        <p:nvGrpSpPr>
          <p:cNvPr id="119" name="Group 118" descr="Add text and order accordingly">
            <a:extLst>
              <a:ext uri="{FF2B5EF4-FFF2-40B4-BE49-F238E27FC236}">
                <a16:creationId xmlns:a16="http://schemas.microsoft.com/office/drawing/2014/main" id="{1BE60E8F-8C52-4166-B6CD-6777784871C1}"/>
              </a:ext>
            </a:extLst>
          </p:cNvPr>
          <p:cNvGrpSpPr/>
          <p:nvPr/>
        </p:nvGrpSpPr>
        <p:grpSpPr>
          <a:xfrm>
            <a:off x="1743963" y="2446980"/>
            <a:ext cx="2523034" cy="1053458"/>
            <a:chOff x="1743963" y="2446980"/>
            <a:chExt cx="2523034" cy="1053458"/>
          </a:xfrm>
        </p:grpSpPr>
        <p:cxnSp>
          <p:nvCxnSpPr>
            <p:cNvPr id="120" name="Straight Connector 119">
              <a:extLst>
                <a:ext uri="{FF2B5EF4-FFF2-40B4-BE49-F238E27FC236}">
                  <a16:creationId xmlns:a16="http://schemas.microsoft.com/office/drawing/2014/main" id="{40ACC5CB-9140-4861-9952-4638BCFB645F}"/>
                </a:ext>
              </a:extLst>
            </p:cNvPr>
            <p:cNvCxnSpPr/>
            <p:nvPr/>
          </p:nvCxnSpPr>
          <p:spPr>
            <a:xfrm>
              <a:off x="1743963" y="2875402"/>
              <a:ext cx="0" cy="625036"/>
            </a:xfrm>
            <a:prstGeom prst="line">
              <a:avLst/>
            </a:prstGeom>
            <a:ln w="9525"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21" name="Group 120">
              <a:extLst>
                <a:ext uri="{FF2B5EF4-FFF2-40B4-BE49-F238E27FC236}">
                  <a16:creationId xmlns:a16="http://schemas.microsoft.com/office/drawing/2014/main" id="{4F13D1EC-43A1-4182-88F8-5134F389CA48}"/>
                </a:ext>
              </a:extLst>
            </p:cNvPr>
            <p:cNvGrpSpPr/>
            <p:nvPr/>
          </p:nvGrpSpPr>
          <p:grpSpPr>
            <a:xfrm>
              <a:off x="1743963" y="2446980"/>
              <a:ext cx="2523034" cy="328500"/>
              <a:chOff x="327677" y="3722771"/>
              <a:chExt cx="2523034" cy="328500"/>
            </a:xfrm>
          </p:grpSpPr>
          <p:sp>
            <p:nvSpPr>
              <p:cNvPr id="122" name="Rectangle 121">
                <a:extLst>
                  <a:ext uri="{FF2B5EF4-FFF2-40B4-BE49-F238E27FC236}">
                    <a16:creationId xmlns:a16="http://schemas.microsoft.com/office/drawing/2014/main" id="{18AFF9AC-D088-47A0-99CA-4945481BC436}"/>
                  </a:ext>
                </a:extLst>
              </p:cNvPr>
              <p:cNvSpPr/>
              <p:nvPr/>
            </p:nvSpPr>
            <p:spPr>
              <a:xfrm>
                <a:off x="334963" y="3934193"/>
                <a:ext cx="1692000" cy="11707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3" name="Rectangle 122">
                <a:extLst>
                  <a:ext uri="{FF2B5EF4-FFF2-40B4-BE49-F238E27FC236}">
                    <a16:creationId xmlns:a16="http://schemas.microsoft.com/office/drawing/2014/main" id="{ED2A13E2-0B4E-4AF9-B97E-B2A58FC6CF66}"/>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dirty="0">
                    <a:solidFill>
                      <a:schemeClr val="tx1"/>
                    </a:solidFill>
                  </a:rPr>
                  <a:t>Phase 1</a:t>
                </a:r>
              </a:p>
            </p:txBody>
          </p:sp>
        </p:grpSp>
      </p:grpSp>
      <p:grpSp>
        <p:nvGrpSpPr>
          <p:cNvPr id="124" name="Group 123" descr="Add text and order accordingly">
            <a:extLst>
              <a:ext uri="{FF2B5EF4-FFF2-40B4-BE49-F238E27FC236}">
                <a16:creationId xmlns:a16="http://schemas.microsoft.com/office/drawing/2014/main" id="{22D93806-1EBE-485D-B71F-A5CD5D91B197}"/>
              </a:ext>
            </a:extLst>
          </p:cNvPr>
          <p:cNvGrpSpPr/>
          <p:nvPr/>
        </p:nvGrpSpPr>
        <p:grpSpPr>
          <a:xfrm>
            <a:off x="2504739" y="2964142"/>
            <a:ext cx="2523034" cy="536296"/>
            <a:chOff x="2504739" y="2964142"/>
            <a:chExt cx="2523034" cy="536296"/>
          </a:xfrm>
        </p:grpSpPr>
        <p:cxnSp>
          <p:nvCxnSpPr>
            <p:cNvPr id="125" name="Straight Connector 124">
              <a:extLst>
                <a:ext uri="{FF2B5EF4-FFF2-40B4-BE49-F238E27FC236}">
                  <a16:creationId xmlns:a16="http://schemas.microsoft.com/office/drawing/2014/main" id="{7DCD8D99-BA88-49D9-ACA0-BFF369970759}"/>
                </a:ext>
              </a:extLst>
            </p:cNvPr>
            <p:cNvCxnSpPr/>
            <p:nvPr/>
          </p:nvCxnSpPr>
          <p:spPr>
            <a:xfrm>
              <a:off x="2509644" y="3378994"/>
              <a:ext cx="0" cy="121444"/>
            </a:xfrm>
            <a:prstGeom prst="line">
              <a:avLst/>
            </a:prstGeom>
            <a:ln w="9525"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26" name="Group 125">
              <a:extLst>
                <a:ext uri="{FF2B5EF4-FFF2-40B4-BE49-F238E27FC236}">
                  <a16:creationId xmlns:a16="http://schemas.microsoft.com/office/drawing/2014/main" id="{722611AA-B594-4003-9C24-DA4B831CA4CA}"/>
                </a:ext>
              </a:extLst>
            </p:cNvPr>
            <p:cNvGrpSpPr/>
            <p:nvPr/>
          </p:nvGrpSpPr>
          <p:grpSpPr>
            <a:xfrm>
              <a:off x="2504739" y="2964142"/>
              <a:ext cx="2523034" cy="328500"/>
              <a:chOff x="327677" y="3722771"/>
              <a:chExt cx="2523034" cy="328500"/>
            </a:xfrm>
          </p:grpSpPr>
          <p:sp>
            <p:nvSpPr>
              <p:cNvPr id="127" name="Rectangle 126">
                <a:extLst>
                  <a:ext uri="{FF2B5EF4-FFF2-40B4-BE49-F238E27FC236}">
                    <a16:creationId xmlns:a16="http://schemas.microsoft.com/office/drawing/2014/main" id="{0D2E9000-6037-4EC6-8523-72DAAAD5BDFD}"/>
                  </a:ext>
                </a:extLst>
              </p:cNvPr>
              <p:cNvSpPr/>
              <p:nvPr/>
            </p:nvSpPr>
            <p:spPr>
              <a:xfrm>
                <a:off x="334963" y="3934193"/>
                <a:ext cx="2088000" cy="11707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8" name="Rectangle 127">
                <a:extLst>
                  <a:ext uri="{FF2B5EF4-FFF2-40B4-BE49-F238E27FC236}">
                    <a16:creationId xmlns:a16="http://schemas.microsoft.com/office/drawing/2014/main" id="{3FB8A72E-1D8D-41A4-A873-54B6915DC7BA}"/>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dirty="0">
                    <a:solidFill>
                      <a:schemeClr val="tx1"/>
                    </a:solidFill>
                  </a:rPr>
                  <a:t>Phase 1</a:t>
                </a:r>
              </a:p>
            </p:txBody>
          </p:sp>
        </p:grpSp>
      </p:grpSp>
      <p:grpSp>
        <p:nvGrpSpPr>
          <p:cNvPr id="129" name="Group 128" descr="Phase 3">
            <a:extLst>
              <a:ext uri="{FF2B5EF4-FFF2-40B4-BE49-F238E27FC236}">
                <a16:creationId xmlns:a16="http://schemas.microsoft.com/office/drawing/2014/main" id="{0016A8D5-6B46-4371-958C-3D405C951EB8}"/>
              </a:ext>
            </a:extLst>
          </p:cNvPr>
          <p:cNvGrpSpPr/>
          <p:nvPr/>
        </p:nvGrpSpPr>
        <p:grpSpPr>
          <a:xfrm>
            <a:off x="5319610" y="1412658"/>
            <a:ext cx="2887286" cy="2087780"/>
            <a:chOff x="5319610" y="1412658"/>
            <a:chExt cx="2887286" cy="2087780"/>
          </a:xfrm>
        </p:grpSpPr>
        <p:cxnSp>
          <p:nvCxnSpPr>
            <p:cNvPr id="130" name="Straight Connector 129">
              <a:extLst>
                <a:ext uri="{FF2B5EF4-FFF2-40B4-BE49-F238E27FC236}">
                  <a16:creationId xmlns:a16="http://schemas.microsoft.com/office/drawing/2014/main" id="{F25B9A87-8717-4B56-8BAC-CF5BC731246D}"/>
                </a:ext>
              </a:extLst>
            </p:cNvPr>
            <p:cNvCxnSpPr/>
            <p:nvPr/>
          </p:nvCxnSpPr>
          <p:spPr>
            <a:xfrm>
              <a:off x="5319610" y="2394705"/>
              <a:ext cx="0" cy="1105733"/>
            </a:xfrm>
            <a:prstGeom prst="line">
              <a:avLst/>
            </a:prstGeom>
            <a:ln w="9525"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F40844AF-E9D0-4E74-82F2-3E66D17BC59B}"/>
                </a:ext>
              </a:extLst>
            </p:cNvPr>
            <p:cNvGrpSpPr/>
            <p:nvPr/>
          </p:nvGrpSpPr>
          <p:grpSpPr>
            <a:xfrm>
              <a:off x="5326896" y="1412658"/>
              <a:ext cx="2523034" cy="328500"/>
              <a:chOff x="327677" y="3722771"/>
              <a:chExt cx="2523034" cy="328500"/>
            </a:xfrm>
          </p:grpSpPr>
          <p:sp>
            <p:nvSpPr>
              <p:cNvPr id="135" name="Rectangle 134">
                <a:extLst>
                  <a:ext uri="{FF2B5EF4-FFF2-40B4-BE49-F238E27FC236}">
                    <a16:creationId xmlns:a16="http://schemas.microsoft.com/office/drawing/2014/main" id="{1AA3C688-6329-4A47-9ED3-A882F195C525}"/>
                  </a:ext>
                </a:extLst>
              </p:cNvPr>
              <p:cNvSpPr/>
              <p:nvPr/>
            </p:nvSpPr>
            <p:spPr>
              <a:xfrm>
                <a:off x="334963" y="3934193"/>
                <a:ext cx="1800000" cy="11707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6" name="Rectangle 135">
                <a:extLst>
                  <a:ext uri="{FF2B5EF4-FFF2-40B4-BE49-F238E27FC236}">
                    <a16:creationId xmlns:a16="http://schemas.microsoft.com/office/drawing/2014/main" id="{9F844F8D-B907-470B-944D-1CD869A88AC3}"/>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dirty="0">
                    <a:solidFill>
                      <a:schemeClr val="tx1"/>
                    </a:solidFill>
                  </a:rPr>
                  <a:t>Phase 3</a:t>
                </a:r>
              </a:p>
            </p:txBody>
          </p:sp>
        </p:grpSp>
        <p:grpSp>
          <p:nvGrpSpPr>
            <p:cNvPr id="132" name="Group 131">
              <a:extLst>
                <a:ext uri="{FF2B5EF4-FFF2-40B4-BE49-F238E27FC236}">
                  <a16:creationId xmlns:a16="http://schemas.microsoft.com/office/drawing/2014/main" id="{9444922A-5A4A-4E3A-ABE0-3371FE81172D}"/>
                </a:ext>
              </a:extLst>
            </p:cNvPr>
            <p:cNvGrpSpPr/>
            <p:nvPr/>
          </p:nvGrpSpPr>
          <p:grpSpPr>
            <a:xfrm>
              <a:off x="5319610" y="1929819"/>
              <a:ext cx="2887286" cy="328500"/>
              <a:chOff x="327677" y="3722771"/>
              <a:chExt cx="2887286" cy="328500"/>
            </a:xfrm>
          </p:grpSpPr>
          <p:sp>
            <p:nvSpPr>
              <p:cNvPr id="133" name="Rectangle 132">
                <a:extLst>
                  <a:ext uri="{FF2B5EF4-FFF2-40B4-BE49-F238E27FC236}">
                    <a16:creationId xmlns:a16="http://schemas.microsoft.com/office/drawing/2014/main" id="{2BA647BF-F297-4E37-AE11-CFC9718B9C60}"/>
                  </a:ext>
                </a:extLst>
              </p:cNvPr>
              <p:cNvSpPr/>
              <p:nvPr/>
            </p:nvSpPr>
            <p:spPr>
              <a:xfrm>
                <a:off x="334963" y="3934193"/>
                <a:ext cx="2880000" cy="11707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4" name="Rectangle 133">
                <a:extLst>
                  <a:ext uri="{FF2B5EF4-FFF2-40B4-BE49-F238E27FC236}">
                    <a16:creationId xmlns:a16="http://schemas.microsoft.com/office/drawing/2014/main" id="{78CBB994-9B44-4931-B665-3D73FB851BC2}"/>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dirty="0">
                    <a:solidFill>
                      <a:schemeClr val="tx1"/>
                    </a:solidFill>
                  </a:rPr>
                  <a:t>Phase 3</a:t>
                </a:r>
              </a:p>
            </p:txBody>
          </p:sp>
        </p:grpSp>
      </p:grpSp>
      <p:grpSp>
        <p:nvGrpSpPr>
          <p:cNvPr id="137" name="Group 136" descr="Phase 3">
            <a:extLst>
              <a:ext uri="{FF2B5EF4-FFF2-40B4-BE49-F238E27FC236}">
                <a16:creationId xmlns:a16="http://schemas.microsoft.com/office/drawing/2014/main" id="{ABC07D2D-8EEB-4CCF-BDC8-157EF76EAE87}"/>
              </a:ext>
            </a:extLst>
          </p:cNvPr>
          <p:cNvGrpSpPr/>
          <p:nvPr/>
        </p:nvGrpSpPr>
        <p:grpSpPr>
          <a:xfrm>
            <a:off x="7315661" y="2446980"/>
            <a:ext cx="2523034" cy="1053458"/>
            <a:chOff x="7315661" y="2446980"/>
            <a:chExt cx="2523034" cy="1053458"/>
          </a:xfrm>
        </p:grpSpPr>
        <p:cxnSp>
          <p:nvCxnSpPr>
            <p:cNvPr id="138" name="Straight Connector 137">
              <a:extLst>
                <a:ext uri="{FF2B5EF4-FFF2-40B4-BE49-F238E27FC236}">
                  <a16:creationId xmlns:a16="http://schemas.microsoft.com/office/drawing/2014/main" id="{3E530F33-B0A4-41D4-937E-E3727007FA73}"/>
                </a:ext>
              </a:extLst>
            </p:cNvPr>
            <p:cNvCxnSpPr/>
            <p:nvPr/>
          </p:nvCxnSpPr>
          <p:spPr>
            <a:xfrm>
              <a:off x="7322947" y="2875402"/>
              <a:ext cx="0" cy="625036"/>
            </a:xfrm>
            <a:prstGeom prst="line">
              <a:avLst/>
            </a:prstGeom>
            <a:ln w="9525"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39" name="Group 138">
              <a:extLst>
                <a:ext uri="{FF2B5EF4-FFF2-40B4-BE49-F238E27FC236}">
                  <a16:creationId xmlns:a16="http://schemas.microsoft.com/office/drawing/2014/main" id="{DDF7AF06-E4D2-4594-80E7-40D687EABDC3}"/>
                </a:ext>
              </a:extLst>
            </p:cNvPr>
            <p:cNvGrpSpPr/>
            <p:nvPr/>
          </p:nvGrpSpPr>
          <p:grpSpPr>
            <a:xfrm>
              <a:off x="7315661" y="2446980"/>
              <a:ext cx="2523034" cy="328500"/>
              <a:chOff x="327677" y="3722771"/>
              <a:chExt cx="2523034" cy="328500"/>
            </a:xfrm>
          </p:grpSpPr>
          <p:sp>
            <p:nvSpPr>
              <p:cNvPr id="140" name="Rectangle 139">
                <a:extLst>
                  <a:ext uri="{FF2B5EF4-FFF2-40B4-BE49-F238E27FC236}">
                    <a16:creationId xmlns:a16="http://schemas.microsoft.com/office/drawing/2014/main" id="{CB948366-9930-48A7-AD81-3F0CDD073572}"/>
                  </a:ext>
                </a:extLst>
              </p:cNvPr>
              <p:cNvSpPr/>
              <p:nvPr/>
            </p:nvSpPr>
            <p:spPr>
              <a:xfrm>
                <a:off x="334963" y="3934193"/>
                <a:ext cx="1080000" cy="11707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1" name="Rectangle 140">
                <a:extLst>
                  <a:ext uri="{FF2B5EF4-FFF2-40B4-BE49-F238E27FC236}">
                    <a16:creationId xmlns:a16="http://schemas.microsoft.com/office/drawing/2014/main" id="{C4BB17F1-834C-42F9-9C04-2D8E3390735C}"/>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dirty="0">
                    <a:solidFill>
                      <a:schemeClr val="tx1"/>
                    </a:solidFill>
                  </a:rPr>
                  <a:t>Phase 3</a:t>
                </a:r>
              </a:p>
            </p:txBody>
          </p:sp>
        </p:grpSp>
      </p:grpSp>
      <p:grpSp>
        <p:nvGrpSpPr>
          <p:cNvPr id="142" name="Group 141" descr="Phase 3">
            <a:extLst>
              <a:ext uri="{FF2B5EF4-FFF2-40B4-BE49-F238E27FC236}">
                <a16:creationId xmlns:a16="http://schemas.microsoft.com/office/drawing/2014/main" id="{70D37354-4368-41AA-81A4-D24AD5F3E53A}"/>
              </a:ext>
            </a:extLst>
          </p:cNvPr>
          <p:cNvGrpSpPr/>
          <p:nvPr/>
        </p:nvGrpSpPr>
        <p:grpSpPr>
          <a:xfrm>
            <a:off x="8327521" y="2964142"/>
            <a:ext cx="2523034" cy="536296"/>
            <a:chOff x="8327521" y="2964142"/>
            <a:chExt cx="2523034" cy="536296"/>
          </a:xfrm>
        </p:grpSpPr>
        <p:grpSp>
          <p:nvGrpSpPr>
            <p:cNvPr id="143" name="Group 142">
              <a:extLst>
                <a:ext uri="{FF2B5EF4-FFF2-40B4-BE49-F238E27FC236}">
                  <a16:creationId xmlns:a16="http://schemas.microsoft.com/office/drawing/2014/main" id="{9C5EEE03-2F02-4499-A983-D865D6A4674F}"/>
                </a:ext>
              </a:extLst>
            </p:cNvPr>
            <p:cNvGrpSpPr/>
            <p:nvPr/>
          </p:nvGrpSpPr>
          <p:grpSpPr>
            <a:xfrm>
              <a:off x="8327521" y="2964142"/>
              <a:ext cx="2523034" cy="328500"/>
              <a:chOff x="327677" y="3722771"/>
              <a:chExt cx="2523034" cy="328500"/>
            </a:xfrm>
          </p:grpSpPr>
          <p:sp>
            <p:nvSpPr>
              <p:cNvPr id="145" name="Rectangle 144">
                <a:extLst>
                  <a:ext uri="{FF2B5EF4-FFF2-40B4-BE49-F238E27FC236}">
                    <a16:creationId xmlns:a16="http://schemas.microsoft.com/office/drawing/2014/main" id="{1674D8B3-38A0-4838-8C6D-A4D0F57BCDEC}"/>
                  </a:ext>
                </a:extLst>
              </p:cNvPr>
              <p:cNvSpPr/>
              <p:nvPr/>
            </p:nvSpPr>
            <p:spPr>
              <a:xfrm>
                <a:off x="334963" y="3934193"/>
                <a:ext cx="2160000" cy="11707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6" name="Rectangle 145">
                <a:extLst>
                  <a:ext uri="{FF2B5EF4-FFF2-40B4-BE49-F238E27FC236}">
                    <a16:creationId xmlns:a16="http://schemas.microsoft.com/office/drawing/2014/main" id="{E3AA222B-93E5-4AC8-9FC0-66D489D8C2DF}"/>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dirty="0">
                    <a:solidFill>
                      <a:schemeClr val="tx1"/>
                    </a:solidFill>
                  </a:rPr>
                  <a:t>Phase 3</a:t>
                </a:r>
              </a:p>
            </p:txBody>
          </p:sp>
        </p:grpSp>
        <p:cxnSp>
          <p:nvCxnSpPr>
            <p:cNvPr id="144" name="Straight Connector 143">
              <a:extLst>
                <a:ext uri="{FF2B5EF4-FFF2-40B4-BE49-F238E27FC236}">
                  <a16:creationId xmlns:a16="http://schemas.microsoft.com/office/drawing/2014/main" id="{190C6269-CC93-4B49-8F5E-2353454FA913}"/>
                </a:ext>
              </a:extLst>
            </p:cNvPr>
            <p:cNvCxnSpPr/>
            <p:nvPr/>
          </p:nvCxnSpPr>
          <p:spPr>
            <a:xfrm>
              <a:off x="8334986" y="3292642"/>
              <a:ext cx="0" cy="207796"/>
            </a:xfrm>
            <a:prstGeom prst="line">
              <a:avLst/>
            </a:prstGeom>
            <a:ln w="9525"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grpSp>
      <p:grpSp>
        <p:nvGrpSpPr>
          <p:cNvPr id="147" name="Group 146" descr="Phase 2">
            <a:extLst>
              <a:ext uri="{FF2B5EF4-FFF2-40B4-BE49-F238E27FC236}">
                <a16:creationId xmlns:a16="http://schemas.microsoft.com/office/drawing/2014/main" id="{D08730F2-2FFC-4867-B520-5B1C7FDE26C0}"/>
              </a:ext>
            </a:extLst>
          </p:cNvPr>
          <p:cNvGrpSpPr/>
          <p:nvPr/>
        </p:nvGrpSpPr>
        <p:grpSpPr>
          <a:xfrm>
            <a:off x="2005229" y="3500438"/>
            <a:ext cx="3067286" cy="2568802"/>
            <a:chOff x="2005229" y="3500438"/>
            <a:chExt cx="3067286" cy="2568802"/>
          </a:xfrm>
        </p:grpSpPr>
        <p:cxnSp>
          <p:nvCxnSpPr>
            <p:cNvPr id="148" name="Straight Connector 147">
              <a:extLst>
                <a:ext uri="{FF2B5EF4-FFF2-40B4-BE49-F238E27FC236}">
                  <a16:creationId xmlns:a16="http://schemas.microsoft.com/office/drawing/2014/main" id="{C6DB5294-CACA-4E02-A4A9-E6E7256F48DC}"/>
                </a:ext>
              </a:extLst>
            </p:cNvPr>
            <p:cNvCxnSpPr/>
            <p:nvPr/>
          </p:nvCxnSpPr>
          <p:spPr>
            <a:xfrm>
              <a:off x="2012515" y="3500438"/>
              <a:ext cx="0" cy="1622405"/>
            </a:xfrm>
            <a:prstGeom prst="line">
              <a:avLst/>
            </a:prstGeom>
            <a:ln w="9525"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49" name="Group 148">
              <a:extLst>
                <a:ext uri="{FF2B5EF4-FFF2-40B4-BE49-F238E27FC236}">
                  <a16:creationId xmlns:a16="http://schemas.microsoft.com/office/drawing/2014/main" id="{57383283-C936-4883-AA78-68A2565F5630}"/>
                </a:ext>
              </a:extLst>
            </p:cNvPr>
            <p:cNvGrpSpPr/>
            <p:nvPr/>
          </p:nvGrpSpPr>
          <p:grpSpPr>
            <a:xfrm>
              <a:off x="2012515" y="5223579"/>
              <a:ext cx="2523034" cy="328500"/>
              <a:chOff x="327677" y="3722771"/>
              <a:chExt cx="2523034" cy="328500"/>
            </a:xfrm>
          </p:grpSpPr>
          <p:sp>
            <p:nvSpPr>
              <p:cNvPr id="153" name="Rectangle 152">
                <a:extLst>
                  <a:ext uri="{FF2B5EF4-FFF2-40B4-BE49-F238E27FC236}">
                    <a16:creationId xmlns:a16="http://schemas.microsoft.com/office/drawing/2014/main" id="{490DBDBD-1F59-4513-B5D1-F03E51475E61}"/>
                  </a:ext>
                </a:extLst>
              </p:cNvPr>
              <p:cNvSpPr/>
              <p:nvPr/>
            </p:nvSpPr>
            <p:spPr>
              <a:xfrm>
                <a:off x="334963" y="3934193"/>
                <a:ext cx="2160000" cy="11707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4" name="Rectangle 153">
                <a:extLst>
                  <a:ext uri="{FF2B5EF4-FFF2-40B4-BE49-F238E27FC236}">
                    <a16:creationId xmlns:a16="http://schemas.microsoft.com/office/drawing/2014/main" id="{B7F4516F-5EE3-46B4-A13A-9A8B975BBA72}"/>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a:solidFill>
                      <a:schemeClr val="tx1"/>
                    </a:solidFill>
                  </a:rPr>
                  <a:t>Phase 2</a:t>
                </a:r>
              </a:p>
            </p:txBody>
          </p:sp>
        </p:grpSp>
        <p:grpSp>
          <p:nvGrpSpPr>
            <p:cNvPr id="150" name="Group 149">
              <a:extLst>
                <a:ext uri="{FF2B5EF4-FFF2-40B4-BE49-F238E27FC236}">
                  <a16:creationId xmlns:a16="http://schemas.microsoft.com/office/drawing/2014/main" id="{D1295A5B-A9C7-453B-B577-A5ADB93AFB5C}"/>
                </a:ext>
              </a:extLst>
            </p:cNvPr>
            <p:cNvGrpSpPr/>
            <p:nvPr/>
          </p:nvGrpSpPr>
          <p:grpSpPr>
            <a:xfrm>
              <a:off x="2005229" y="5740740"/>
              <a:ext cx="3067286" cy="328500"/>
              <a:chOff x="327677" y="3722771"/>
              <a:chExt cx="3067286" cy="328500"/>
            </a:xfrm>
          </p:grpSpPr>
          <p:sp>
            <p:nvSpPr>
              <p:cNvPr id="151" name="Rectangle 150">
                <a:extLst>
                  <a:ext uri="{FF2B5EF4-FFF2-40B4-BE49-F238E27FC236}">
                    <a16:creationId xmlns:a16="http://schemas.microsoft.com/office/drawing/2014/main" id="{40968F03-F340-4C08-A8C5-73F1053A49D1}"/>
                  </a:ext>
                </a:extLst>
              </p:cNvPr>
              <p:cNvSpPr/>
              <p:nvPr/>
            </p:nvSpPr>
            <p:spPr>
              <a:xfrm>
                <a:off x="334963" y="3934193"/>
                <a:ext cx="3060000" cy="11707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2" name="Rectangle 151">
                <a:extLst>
                  <a:ext uri="{FF2B5EF4-FFF2-40B4-BE49-F238E27FC236}">
                    <a16:creationId xmlns:a16="http://schemas.microsoft.com/office/drawing/2014/main" id="{22181D80-E802-438C-806A-30AFAAD2FC17}"/>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a:solidFill>
                      <a:schemeClr val="tx1"/>
                    </a:solidFill>
                  </a:rPr>
                  <a:t>Phase 2</a:t>
                </a:r>
              </a:p>
            </p:txBody>
          </p:sp>
        </p:grpSp>
      </p:grpSp>
      <p:grpSp>
        <p:nvGrpSpPr>
          <p:cNvPr id="155" name="Group 154" descr="Phase 2">
            <a:extLst>
              <a:ext uri="{FF2B5EF4-FFF2-40B4-BE49-F238E27FC236}">
                <a16:creationId xmlns:a16="http://schemas.microsoft.com/office/drawing/2014/main" id="{40611C78-1100-4657-9BF1-FA9DDE9F1BFB}"/>
              </a:ext>
            </a:extLst>
          </p:cNvPr>
          <p:cNvGrpSpPr/>
          <p:nvPr/>
        </p:nvGrpSpPr>
        <p:grpSpPr>
          <a:xfrm>
            <a:off x="4157730" y="3500438"/>
            <a:ext cx="2523034" cy="1518584"/>
            <a:chOff x="4157730" y="3500438"/>
            <a:chExt cx="2523034" cy="1518584"/>
          </a:xfrm>
        </p:grpSpPr>
        <p:cxnSp>
          <p:nvCxnSpPr>
            <p:cNvPr id="156" name="Straight Connector 155">
              <a:extLst>
                <a:ext uri="{FF2B5EF4-FFF2-40B4-BE49-F238E27FC236}">
                  <a16:creationId xmlns:a16="http://schemas.microsoft.com/office/drawing/2014/main" id="{D90308F1-B92E-4B63-8574-5405F69F6781}"/>
                </a:ext>
              </a:extLst>
            </p:cNvPr>
            <p:cNvCxnSpPr/>
            <p:nvPr/>
          </p:nvCxnSpPr>
          <p:spPr>
            <a:xfrm>
              <a:off x="4157730" y="3500438"/>
              <a:ext cx="0" cy="553769"/>
            </a:xfrm>
            <a:prstGeom prst="line">
              <a:avLst/>
            </a:prstGeom>
            <a:ln w="9525"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57" name="Group 156">
              <a:extLst>
                <a:ext uri="{FF2B5EF4-FFF2-40B4-BE49-F238E27FC236}">
                  <a16:creationId xmlns:a16="http://schemas.microsoft.com/office/drawing/2014/main" id="{3B90FC2C-A7DF-4E1D-9597-3A1E04D1BA14}"/>
                </a:ext>
              </a:extLst>
            </p:cNvPr>
            <p:cNvGrpSpPr/>
            <p:nvPr/>
          </p:nvGrpSpPr>
          <p:grpSpPr>
            <a:xfrm>
              <a:off x="4157730" y="4173361"/>
              <a:ext cx="2523034" cy="328500"/>
              <a:chOff x="327677" y="3722771"/>
              <a:chExt cx="2523034" cy="328500"/>
            </a:xfrm>
          </p:grpSpPr>
          <p:sp>
            <p:nvSpPr>
              <p:cNvPr id="161" name="Rectangle 160">
                <a:extLst>
                  <a:ext uri="{FF2B5EF4-FFF2-40B4-BE49-F238E27FC236}">
                    <a16:creationId xmlns:a16="http://schemas.microsoft.com/office/drawing/2014/main" id="{5C97A887-1ED1-4374-AFCE-C92197C3038D}"/>
                  </a:ext>
                </a:extLst>
              </p:cNvPr>
              <p:cNvSpPr/>
              <p:nvPr/>
            </p:nvSpPr>
            <p:spPr>
              <a:xfrm>
                <a:off x="334963" y="3934193"/>
                <a:ext cx="1080000" cy="11707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2" name="Rectangle 161">
                <a:extLst>
                  <a:ext uri="{FF2B5EF4-FFF2-40B4-BE49-F238E27FC236}">
                    <a16:creationId xmlns:a16="http://schemas.microsoft.com/office/drawing/2014/main" id="{62E7181B-BBA3-433A-8829-B10BE3B399BA}"/>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dirty="0">
                    <a:solidFill>
                      <a:schemeClr val="tx1"/>
                    </a:solidFill>
                  </a:rPr>
                  <a:t>Phase 2</a:t>
                </a:r>
              </a:p>
            </p:txBody>
          </p:sp>
        </p:grpSp>
        <p:grpSp>
          <p:nvGrpSpPr>
            <p:cNvPr id="158" name="Group 157">
              <a:extLst>
                <a:ext uri="{FF2B5EF4-FFF2-40B4-BE49-F238E27FC236}">
                  <a16:creationId xmlns:a16="http://schemas.microsoft.com/office/drawing/2014/main" id="{E99E645F-D9D2-468C-B8E7-9CA06F6210A2}"/>
                </a:ext>
              </a:extLst>
            </p:cNvPr>
            <p:cNvGrpSpPr/>
            <p:nvPr/>
          </p:nvGrpSpPr>
          <p:grpSpPr>
            <a:xfrm>
              <a:off x="4157730" y="4690522"/>
              <a:ext cx="2523034" cy="328500"/>
              <a:chOff x="327677" y="3722771"/>
              <a:chExt cx="2523034" cy="328500"/>
            </a:xfrm>
          </p:grpSpPr>
          <p:sp>
            <p:nvSpPr>
              <p:cNvPr id="159" name="Rectangle 158">
                <a:extLst>
                  <a:ext uri="{FF2B5EF4-FFF2-40B4-BE49-F238E27FC236}">
                    <a16:creationId xmlns:a16="http://schemas.microsoft.com/office/drawing/2014/main" id="{75578B3A-7E30-4D17-AC1C-770E4D94430A}"/>
                  </a:ext>
                </a:extLst>
              </p:cNvPr>
              <p:cNvSpPr/>
              <p:nvPr/>
            </p:nvSpPr>
            <p:spPr>
              <a:xfrm>
                <a:off x="334963" y="3934193"/>
                <a:ext cx="1800000" cy="11707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0" name="Rectangle 159">
                <a:extLst>
                  <a:ext uri="{FF2B5EF4-FFF2-40B4-BE49-F238E27FC236}">
                    <a16:creationId xmlns:a16="http://schemas.microsoft.com/office/drawing/2014/main" id="{AEFAA4EB-7E71-4951-B042-CCF6A0EE522F}"/>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a:solidFill>
                      <a:schemeClr val="tx1"/>
                    </a:solidFill>
                  </a:rPr>
                  <a:t>Phase 2</a:t>
                </a:r>
              </a:p>
            </p:txBody>
          </p:sp>
        </p:grpSp>
      </p:grpSp>
      <p:grpSp>
        <p:nvGrpSpPr>
          <p:cNvPr id="163" name="Group 162" descr="Phase 4">
            <a:extLst>
              <a:ext uri="{FF2B5EF4-FFF2-40B4-BE49-F238E27FC236}">
                <a16:creationId xmlns:a16="http://schemas.microsoft.com/office/drawing/2014/main" id="{F1832DE8-94C4-4B46-BF1A-77BD5E9B2BB1}"/>
              </a:ext>
            </a:extLst>
          </p:cNvPr>
          <p:cNvGrpSpPr/>
          <p:nvPr/>
        </p:nvGrpSpPr>
        <p:grpSpPr>
          <a:xfrm>
            <a:off x="8896350" y="3500438"/>
            <a:ext cx="2959286" cy="2051641"/>
            <a:chOff x="8896350" y="3500438"/>
            <a:chExt cx="2959286" cy="2051641"/>
          </a:xfrm>
        </p:grpSpPr>
        <p:cxnSp>
          <p:nvCxnSpPr>
            <p:cNvPr id="164" name="Straight Connector 163">
              <a:extLst>
                <a:ext uri="{FF2B5EF4-FFF2-40B4-BE49-F238E27FC236}">
                  <a16:creationId xmlns:a16="http://schemas.microsoft.com/office/drawing/2014/main" id="{CD6D357D-BDC5-4289-A023-0BC7B38255CD}"/>
                </a:ext>
              </a:extLst>
            </p:cNvPr>
            <p:cNvCxnSpPr/>
            <p:nvPr/>
          </p:nvCxnSpPr>
          <p:spPr>
            <a:xfrm>
              <a:off x="8903636" y="3500438"/>
              <a:ext cx="0" cy="1622405"/>
            </a:xfrm>
            <a:prstGeom prst="line">
              <a:avLst/>
            </a:prstGeom>
            <a:ln w="9525"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65" name="Group 164">
              <a:extLst>
                <a:ext uri="{FF2B5EF4-FFF2-40B4-BE49-F238E27FC236}">
                  <a16:creationId xmlns:a16="http://schemas.microsoft.com/office/drawing/2014/main" id="{4E28850A-8FC6-4008-8DFB-CB084F8F7AF5}"/>
                </a:ext>
              </a:extLst>
            </p:cNvPr>
            <p:cNvGrpSpPr/>
            <p:nvPr/>
          </p:nvGrpSpPr>
          <p:grpSpPr>
            <a:xfrm>
              <a:off x="8896350" y="5223579"/>
              <a:ext cx="2959286" cy="328500"/>
              <a:chOff x="327677" y="3722771"/>
              <a:chExt cx="2959286" cy="328500"/>
            </a:xfrm>
          </p:grpSpPr>
          <p:sp>
            <p:nvSpPr>
              <p:cNvPr id="166" name="Rectangle 165">
                <a:extLst>
                  <a:ext uri="{FF2B5EF4-FFF2-40B4-BE49-F238E27FC236}">
                    <a16:creationId xmlns:a16="http://schemas.microsoft.com/office/drawing/2014/main" id="{E5BAEA57-0695-402D-9748-20594DC75A18}"/>
                  </a:ext>
                </a:extLst>
              </p:cNvPr>
              <p:cNvSpPr/>
              <p:nvPr/>
            </p:nvSpPr>
            <p:spPr>
              <a:xfrm>
                <a:off x="334963" y="3934193"/>
                <a:ext cx="2952000" cy="117078"/>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7" name="Rectangle 166">
                <a:extLst>
                  <a:ext uri="{FF2B5EF4-FFF2-40B4-BE49-F238E27FC236}">
                    <a16:creationId xmlns:a16="http://schemas.microsoft.com/office/drawing/2014/main" id="{86B6450F-4830-4551-96C0-BD7590AE6C6C}"/>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dirty="0">
                    <a:solidFill>
                      <a:schemeClr val="tx1"/>
                    </a:solidFill>
                  </a:rPr>
                  <a:t>Phase 4</a:t>
                </a:r>
              </a:p>
            </p:txBody>
          </p:sp>
        </p:grpSp>
      </p:grpSp>
      <p:grpSp>
        <p:nvGrpSpPr>
          <p:cNvPr id="168" name="Group 167" descr="Phase 4">
            <a:extLst>
              <a:ext uri="{FF2B5EF4-FFF2-40B4-BE49-F238E27FC236}">
                <a16:creationId xmlns:a16="http://schemas.microsoft.com/office/drawing/2014/main" id="{9C7A0776-F9E9-4C7E-AD16-46B0BA4398D0}"/>
              </a:ext>
            </a:extLst>
          </p:cNvPr>
          <p:cNvGrpSpPr/>
          <p:nvPr/>
        </p:nvGrpSpPr>
        <p:grpSpPr>
          <a:xfrm>
            <a:off x="9928327" y="3500438"/>
            <a:ext cx="1944000" cy="1001423"/>
            <a:chOff x="9928327" y="3500438"/>
            <a:chExt cx="1944000" cy="1001423"/>
          </a:xfrm>
        </p:grpSpPr>
        <p:cxnSp>
          <p:nvCxnSpPr>
            <p:cNvPr id="169" name="Straight Connector 168">
              <a:extLst>
                <a:ext uri="{FF2B5EF4-FFF2-40B4-BE49-F238E27FC236}">
                  <a16:creationId xmlns:a16="http://schemas.microsoft.com/office/drawing/2014/main" id="{6995D872-81CA-40D2-B38A-978D454A6E25}"/>
                </a:ext>
              </a:extLst>
            </p:cNvPr>
            <p:cNvCxnSpPr/>
            <p:nvPr/>
          </p:nvCxnSpPr>
          <p:spPr>
            <a:xfrm>
              <a:off x="9928327" y="3500438"/>
              <a:ext cx="0" cy="553769"/>
            </a:xfrm>
            <a:prstGeom prst="line">
              <a:avLst/>
            </a:prstGeom>
            <a:ln w="9525"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70" name="Group 169">
              <a:extLst>
                <a:ext uri="{FF2B5EF4-FFF2-40B4-BE49-F238E27FC236}">
                  <a16:creationId xmlns:a16="http://schemas.microsoft.com/office/drawing/2014/main" id="{0920ED6B-F8B8-4E04-B76A-D88E3D94855B}"/>
                </a:ext>
              </a:extLst>
            </p:cNvPr>
            <p:cNvGrpSpPr/>
            <p:nvPr/>
          </p:nvGrpSpPr>
          <p:grpSpPr>
            <a:xfrm>
              <a:off x="9928327" y="4173361"/>
              <a:ext cx="1944000" cy="328500"/>
              <a:chOff x="327677" y="3722771"/>
              <a:chExt cx="1944000" cy="328500"/>
            </a:xfrm>
          </p:grpSpPr>
          <p:sp>
            <p:nvSpPr>
              <p:cNvPr id="171" name="Rectangle 170">
                <a:extLst>
                  <a:ext uri="{FF2B5EF4-FFF2-40B4-BE49-F238E27FC236}">
                    <a16:creationId xmlns:a16="http://schemas.microsoft.com/office/drawing/2014/main" id="{5F13311A-7315-4186-9E58-E76E4F0C3FE6}"/>
                  </a:ext>
                </a:extLst>
              </p:cNvPr>
              <p:cNvSpPr/>
              <p:nvPr/>
            </p:nvSpPr>
            <p:spPr>
              <a:xfrm>
                <a:off x="334963" y="3934193"/>
                <a:ext cx="1800000" cy="117078"/>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2" name="Rectangle 171">
                <a:extLst>
                  <a:ext uri="{FF2B5EF4-FFF2-40B4-BE49-F238E27FC236}">
                    <a16:creationId xmlns:a16="http://schemas.microsoft.com/office/drawing/2014/main" id="{93D54C6B-DD7A-4203-B570-D41562AEAF97}"/>
                  </a:ext>
                </a:extLst>
              </p:cNvPr>
              <p:cNvSpPr/>
              <p:nvPr/>
            </p:nvSpPr>
            <p:spPr>
              <a:xfrm>
                <a:off x="327677" y="3722771"/>
                <a:ext cx="1944000"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dirty="0">
                    <a:solidFill>
                      <a:schemeClr val="tx1"/>
                    </a:solidFill>
                  </a:rPr>
                  <a:t>Phase 4</a:t>
                </a:r>
              </a:p>
            </p:txBody>
          </p:sp>
        </p:grpSp>
      </p:grpSp>
      <p:grpSp>
        <p:nvGrpSpPr>
          <p:cNvPr id="173" name="Group 172" descr="Phase 4">
            <a:extLst>
              <a:ext uri="{FF2B5EF4-FFF2-40B4-BE49-F238E27FC236}">
                <a16:creationId xmlns:a16="http://schemas.microsoft.com/office/drawing/2014/main" id="{9B723247-6FFC-4F48-A266-8E0A9796EFFE}"/>
              </a:ext>
            </a:extLst>
          </p:cNvPr>
          <p:cNvGrpSpPr/>
          <p:nvPr/>
        </p:nvGrpSpPr>
        <p:grpSpPr>
          <a:xfrm>
            <a:off x="9224416" y="3500438"/>
            <a:ext cx="2523034" cy="1518584"/>
            <a:chOff x="9224416" y="3500438"/>
            <a:chExt cx="2523034" cy="1518584"/>
          </a:xfrm>
        </p:grpSpPr>
        <p:cxnSp>
          <p:nvCxnSpPr>
            <p:cNvPr id="174" name="Straight Connector 173">
              <a:extLst>
                <a:ext uri="{FF2B5EF4-FFF2-40B4-BE49-F238E27FC236}">
                  <a16:creationId xmlns:a16="http://schemas.microsoft.com/office/drawing/2014/main" id="{64D62A71-4832-4514-9363-405FE4B253DE}"/>
                </a:ext>
              </a:extLst>
            </p:cNvPr>
            <p:cNvCxnSpPr/>
            <p:nvPr/>
          </p:nvCxnSpPr>
          <p:spPr>
            <a:xfrm>
              <a:off x="9243621" y="3500438"/>
              <a:ext cx="0" cy="1001423"/>
            </a:xfrm>
            <a:prstGeom prst="line">
              <a:avLst/>
            </a:prstGeom>
            <a:ln w="9525"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75" name="Group 174">
              <a:extLst>
                <a:ext uri="{FF2B5EF4-FFF2-40B4-BE49-F238E27FC236}">
                  <a16:creationId xmlns:a16="http://schemas.microsoft.com/office/drawing/2014/main" id="{343D5251-40CC-4E83-B7FA-C9FDF451DFDD}"/>
                </a:ext>
              </a:extLst>
            </p:cNvPr>
            <p:cNvGrpSpPr/>
            <p:nvPr/>
          </p:nvGrpSpPr>
          <p:grpSpPr>
            <a:xfrm>
              <a:off x="9224416" y="4690522"/>
              <a:ext cx="2523034" cy="328500"/>
              <a:chOff x="327677" y="3722771"/>
              <a:chExt cx="2523034" cy="328500"/>
            </a:xfrm>
          </p:grpSpPr>
          <p:sp>
            <p:nvSpPr>
              <p:cNvPr id="176" name="Rectangle 175">
                <a:extLst>
                  <a:ext uri="{FF2B5EF4-FFF2-40B4-BE49-F238E27FC236}">
                    <a16:creationId xmlns:a16="http://schemas.microsoft.com/office/drawing/2014/main" id="{BD976B7A-AE8C-4E34-9F06-F818B26D3B4B}"/>
                  </a:ext>
                </a:extLst>
              </p:cNvPr>
              <p:cNvSpPr/>
              <p:nvPr/>
            </p:nvSpPr>
            <p:spPr>
              <a:xfrm>
                <a:off x="334963" y="3934193"/>
                <a:ext cx="1800000" cy="117078"/>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7" name="Rectangle 176">
                <a:extLst>
                  <a:ext uri="{FF2B5EF4-FFF2-40B4-BE49-F238E27FC236}">
                    <a16:creationId xmlns:a16="http://schemas.microsoft.com/office/drawing/2014/main" id="{2BA0935A-7733-4AE6-A806-B5457B7B5BAC}"/>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dirty="0">
                    <a:solidFill>
                      <a:schemeClr val="tx1"/>
                    </a:solidFill>
                  </a:rPr>
                  <a:t>Phase 4</a:t>
                </a:r>
              </a:p>
            </p:txBody>
          </p:sp>
        </p:grpSp>
      </p:grpSp>
      <p:grpSp>
        <p:nvGrpSpPr>
          <p:cNvPr id="178" name="Group 177" descr="Timeline">
            <a:extLst>
              <a:ext uri="{FF2B5EF4-FFF2-40B4-BE49-F238E27FC236}">
                <a16:creationId xmlns:a16="http://schemas.microsoft.com/office/drawing/2014/main" id="{78B6C940-8D53-4C81-8D1D-35C19BB2D530}"/>
              </a:ext>
            </a:extLst>
          </p:cNvPr>
          <p:cNvGrpSpPr/>
          <p:nvPr/>
        </p:nvGrpSpPr>
        <p:grpSpPr>
          <a:xfrm>
            <a:off x="0" y="3500438"/>
            <a:ext cx="12192000" cy="335148"/>
            <a:chOff x="0" y="3500438"/>
            <a:chExt cx="12192000" cy="335148"/>
          </a:xfrm>
        </p:grpSpPr>
        <p:sp>
          <p:nvSpPr>
            <p:cNvPr id="179" name="TextBox 178">
              <a:extLst>
                <a:ext uri="{FF2B5EF4-FFF2-40B4-BE49-F238E27FC236}">
                  <a16:creationId xmlns:a16="http://schemas.microsoft.com/office/drawing/2014/main" id="{1B775FAF-8E35-43BD-BA9C-F1DAEFE8CABD}"/>
                </a:ext>
              </a:extLst>
            </p:cNvPr>
            <p:cNvSpPr txBox="1"/>
            <p:nvPr/>
          </p:nvSpPr>
          <p:spPr>
            <a:xfrm>
              <a:off x="334963" y="3722361"/>
              <a:ext cx="311418" cy="113225"/>
            </a:xfrm>
            <a:prstGeom prst="rect">
              <a:avLst/>
            </a:prstGeom>
            <a:ln w="25400">
              <a:noFill/>
            </a:ln>
          </p:spPr>
          <p:txBody>
            <a:bodyPr vert="horz" wrap="square" lIns="0" tIns="0" rIns="0" bIns="0" rtlCol="0" anchor="b" anchorCtr="0">
              <a:noAutofit/>
            </a:bodyPr>
            <a:lstStyle/>
            <a:p>
              <a:pPr algn="ctr"/>
              <a:r>
                <a:rPr lang="en-US" sz="1050" cap="all" dirty="0"/>
                <a:t>Jan</a:t>
              </a:r>
            </a:p>
          </p:txBody>
        </p:sp>
        <p:cxnSp>
          <p:nvCxnSpPr>
            <p:cNvPr id="180" name="Straight Connector 179">
              <a:extLst>
                <a:ext uri="{FF2B5EF4-FFF2-40B4-BE49-F238E27FC236}">
                  <a16:creationId xmlns:a16="http://schemas.microsoft.com/office/drawing/2014/main" id="{DBEBA12C-E356-4637-9BD6-1911F841FE9C}"/>
                </a:ext>
              </a:extLst>
            </p:cNvPr>
            <p:cNvCxnSpPr/>
            <p:nvPr/>
          </p:nvCxnSpPr>
          <p:spPr>
            <a:xfrm>
              <a:off x="490672" y="3500439"/>
              <a:ext cx="0" cy="12580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81" name="TextBox 180">
              <a:extLst>
                <a:ext uri="{FF2B5EF4-FFF2-40B4-BE49-F238E27FC236}">
                  <a16:creationId xmlns:a16="http://schemas.microsoft.com/office/drawing/2014/main" id="{2DD97920-EDF4-4E88-B9CE-03BA7BB4567F}"/>
                </a:ext>
              </a:extLst>
            </p:cNvPr>
            <p:cNvSpPr txBox="1"/>
            <p:nvPr/>
          </p:nvSpPr>
          <p:spPr>
            <a:xfrm>
              <a:off x="1343689" y="3722360"/>
              <a:ext cx="295992" cy="113225"/>
            </a:xfrm>
            <a:prstGeom prst="rect">
              <a:avLst/>
            </a:prstGeom>
            <a:ln w="25400">
              <a:noFill/>
            </a:ln>
          </p:spPr>
          <p:txBody>
            <a:bodyPr vert="horz" wrap="square" lIns="0" tIns="0" rIns="0" bIns="0" rtlCol="0" anchor="b" anchorCtr="0">
              <a:noAutofit/>
            </a:bodyPr>
            <a:lstStyle/>
            <a:p>
              <a:pPr algn="ctr"/>
              <a:r>
                <a:rPr lang="en-US" sz="1050" cap="all"/>
                <a:t>Feb</a:t>
              </a:r>
            </a:p>
          </p:txBody>
        </p:sp>
        <p:cxnSp>
          <p:nvCxnSpPr>
            <p:cNvPr id="182" name="Straight Connector 181">
              <a:extLst>
                <a:ext uri="{FF2B5EF4-FFF2-40B4-BE49-F238E27FC236}">
                  <a16:creationId xmlns:a16="http://schemas.microsoft.com/office/drawing/2014/main" id="{71C316B9-B356-413E-95F5-55AF022E7DDF}"/>
                </a:ext>
              </a:extLst>
            </p:cNvPr>
            <p:cNvCxnSpPr/>
            <p:nvPr/>
          </p:nvCxnSpPr>
          <p:spPr>
            <a:xfrm>
              <a:off x="1491685" y="3500439"/>
              <a:ext cx="0" cy="12580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83" name="TextBox 182">
              <a:extLst>
                <a:ext uri="{FF2B5EF4-FFF2-40B4-BE49-F238E27FC236}">
                  <a16:creationId xmlns:a16="http://schemas.microsoft.com/office/drawing/2014/main" id="{8BBD815C-1370-44F4-BC14-5E651D09C0D7}"/>
                </a:ext>
              </a:extLst>
            </p:cNvPr>
            <p:cNvSpPr txBox="1"/>
            <p:nvPr/>
          </p:nvSpPr>
          <p:spPr>
            <a:xfrm>
              <a:off x="2336989" y="3722359"/>
              <a:ext cx="344302" cy="113225"/>
            </a:xfrm>
            <a:prstGeom prst="rect">
              <a:avLst/>
            </a:prstGeom>
            <a:ln w="25400">
              <a:noFill/>
            </a:ln>
          </p:spPr>
          <p:txBody>
            <a:bodyPr vert="horz" wrap="square" lIns="0" tIns="0" rIns="0" bIns="0" rtlCol="0" anchor="b" anchorCtr="0">
              <a:noAutofit/>
            </a:bodyPr>
            <a:lstStyle/>
            <a:p>
              <a:pPr algn="ctr"/>
              <a:r>
                <a:rPr lang="en-US" sz="1050" cap="all"/>
                <a:t>Mar</a:t>
              </a:r>
            </a:p>
          </p:txBody>
        </p:sp>
        <p:cxnSp>
          <p:nvCxnSpPr>
            <p:cNvPr id="184" name="Straight Connector 183">
              <a:extLst>
                <a:ext uri="{FF2B5EF4-FFF2-40B4-BE49-F238E27FC236}">
                  <a16:creationId xmlns:a16="http://schemas.microsoft.com/office/drawing/2014/main" id="{F3C31B46-6B9C-419B-8C1F-5109A1A2C05D}"/>
                </a:ext>
              </a:extLst>
            </p:cNvPr>
            <p:cNvCxnSpPr/>
            <p:nvPr/>
          </p:nvCxnSpPr>
          <p:spPr>
            <a:xfrm>
              <a:off x="2509140" y="3500439"/>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85" name="TextBox 184">
              <a:extLst>
                <a:ext uri="{FF2B5EF4-FFF2-40B4-BE49-F238E27FC236}">
                  <a16:creationId xmlns:a16="http://schemas.microsoft.com/office/drawing/2014/main" id="{B6CBBAAE-4564-4509-9916-EA63E1177FF4}"/>
                </a:ext>
              </a:extLst>
            </p:cNvPr>
            <p:cNvSpPr txBox="1"/>
            <p:nvPr/>
          </p:nvSpPr>
          <p:spPr>
            <a:xfrm>
              <a:off x="3378599" y="3720854"/>
              <a:ext cx="330904" cy="113225"/>
            </a:xfrm>
            <a:prstGeom prst="rect">
              <a:avLst/>
            </a:prstGeom>
            <a:ln w="25400">
              <a:noFill/>
            </a:ln>
          </p:spPr>
          <p:txBody>
            <a:bodyPr vert="horz" wrap="square" lIns="0" tIns="0" rIns="0" bIns="0" rtlCol="0" anchor="b" anchorCtr="0">
              <a:noAutofit/>
            </a:bodyPr>
            <a:lstStyle/>
            <a:p>
              <a:pPr algn="ctr"/>
              <a:r>
                <a:rPr lang="en-US" sz="1050" cap="all"/>
                <a:t>Apr</a:t>
              </a:r>
            </a:p>
          </p:txBody>
        </p:sp>
        <p:cxnSp>
          <p:nvCxnSpPr>
            <p:cNvPr id="186" name="Straight Connector 185">
              <a:extLst>
                <a:ext uri="{FF2B5EF4-FFF2-40B4-BE49-F238E27FC236}">
                  <a16:creationId xmlns:a16="http://schemas.microsoft.com/office/drawing/2014/main" id="{C159FD82-EACF-420B-80D1-FDB379B5F8A6}"/>
                </a:ext>
              </a:extLst>
            </p:cNvPr>
            <p:cNvCxnSpPr/>
            <p:nvPr/>
          </p:nvCxnSpPr>
          <p:spPr>
            <a:xfrm>
              <a:off x="3544051" y="3500439"/>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87" name="TextBox 186">
              <a:extLst>
                <a:ext uri="{FF2B5EF4-FFF2-40B4-BE49-F238E27FC236}">
                  <a16:creationId xmlns:a16="http://schemas.microsoft.com/office/drawing/2014/main" id="{0EB88BC8-A071-4EA1-BFC2-BF930B16D25D}"/>
                </a:ext>
              </a:extLst>
            </p:cNvPr>
            <p:cNvSpPr txBox="1"/>
            <p:nvPr/>
          </p:nvSpPr>
          <p:spPr>
            <a:xfrm>
              <a:off x="4406811" y="3720854"/>
              <a:ext cx="354336" cy="113225"/>
            </a:xfrm>
            <a:prstGeom prst="rect">
              <a:avLst/>
            </a:prstGeom>
            <a:ln w="25400">
              <a:noFill/>
            </a:ln>
          </p:spPr>
          <p:txBody>
            <a:bodyPr vert="horz" wrap="square" lIns="0" tIns="0" rIns="0" bIns="0" rtlCol="0" anchor="b" anchorCtr="0">
              <a:noAutofit/>
            </a:bodyPr>
            <a:lstStyle/>
            <a:p>
              <a:pPr algn="ctr"/>
              <a:r>
                <a:rPr lang="en-US" sz="1050" cap="all"/>
                <a:t>May</a:t>
              </a:r>
            </a:p>
          </p:txBody>
        </p:sp>
        <p:cxnSp>
          <p:nvCxnSpPr>
            <p:cNvPr id="188" name="Straight Connector 187">
              <a:extLst>
                <a:ext uri="{FF2B5EF4-FFF2-40B4-BE49-F238E27FC236}">
                  <a16:creationId xmlns:a16="http://schemas.microsoft.com/office/drawing/2014/main" id="{4F262ADE-C860-43A2-94DB-E50D50FA8601}"/>
                </a:ext>
              </a:extLst>
            </p:cNvPr>
            <p:cNvCxnSpPr/>
            <p:nvPr/>
          </p:nvCxnSpPr>
          <p:spPr>
            <a:xfrm>
              <a:off x="4583979" y="3500439"/>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89" name="TextBox 188">
              <a:extLst>
                <a:ext uri="{FF2B5EF4-FFF2-40B4-BE49-F238E27FC236}">
                  <a16:creationId xmlns:a16="http://schemas.microsoft.com/office/drawing/2014/main" id="{F618BD56-AFC0-4065-84E5-64856DDC3174}"/>
                </a:ext>
              </a:extLst>
            </p:cNvPr>
            <p:cNvSpPr txBox="1"/>
            <p:nvPr/>
          </p:nvSpPr>
          <p:spPr>
            <a:xfrm>
              <a:off x="5458455" y="3720854"/>
              <a:ext cx="315840" cy="113225"/>
            </a:xfrm>
            <a:prstGeom prst="rect">
              <a:avLst/>
            </a:prstGeom>
            <a:ln w="25400">
              <a:noFill/>
            </a:ln>
          </p:spPr>
          <p:txBody>
            <a:bodyPr vert="horz" wrap="square" lIns="0" tIns="0" rIns="0" bIns="0" rtlCol="0" anchor="b" anchorCtr="0">
              <a:noAutofit/>
            </a:bodyPr>
            <a:lstStyle/>
            <a:p>
              <a:pPr algn="ctr"/>
              <a:r>
                <a:rPr lang="en-US" sz="1050" cap="all"/>
                <a:t>Jun</a:t>
              </a:r>
            </a:p>
          </p:txBody>
        </p:sp>
        <p:cxnSp>
          <p:nvCxnSpPr>
            <p:cNvPr id="190" name="Straight Connector 189">
              <a:extLst>
                <a:ext uri="{FF2B5EF4-FFF2-40B4-BE49-F238E27FC236}">
                  <a16:creationId xmlns:a16="http://schemas.microsoft.com/office/drawing/2014/main" id="{0790EE83-CF10-473B-9AC9-24CC3D77938C}"/>
                </a:ext>
              </a:extLst>
            </p:cNvPr>
            <p:cNvCxnSpPr/>
            <p:nvPr/>
          </p:nvCxnSpPr>
          <p:spPr>
            <a:xfrm>
              <a:off x="5616375" y="3500439"/>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91" name="TextBox 190">
              <a:extLst>
                <a:ext uri="{FF2B5EF4-FFF2-40B4-BE49-F238E27FC236}">
                  <a16:creationId xmlns:a16="http://schemas.microsoft.com/office/drawing/2014/main" id="{C737D339-9B35-44F5-89A8-C847DD6ABD02}"/>
                </a:ext>
              </a:extLst>
            </p:cNvPr>
            <p:cNvSpPr txBox="1"/>
            <p:nvPr/>
          </p:nvSpPr>
          <p:spPr>
            <a:xfrm>
              <a:off x="6471603" y="3720854"/>
              <a:ext cx="291650" cy="113225"/>
            </a:xfrm>
            <a:prstGeom prst="rect">
              <a:avLst/>
            </a:prstGeom>
            <a:ln w="25400">
              <a:noFill/>
            </a:ln>
          </p:spPr>
          <p:txBody>
            <a:bodyPr vert="horz" wrap="square" lIns="0" tIns="0" rIns="0" bIns="0" rtlCol="0" anchor="b" anchorCtr="0">
              <a:noAutofit/>
            </a:bodyPr>
            <a:lstStyle/>
            <a:p>
              <a:pPr algn="ctr"/>
              <a:r>
                <a:rPr lang="en-US" sz="1050" cap="all"/>
                <a:t>Jul</a:t>
              </a:r>
            </a:p>
          </p:txBody>
        </p:sp>
        <p:cxnSp>
          <p:nvCxnSpPr>
            <p:cNvPr id="192" name="Straight Connector 191">
              <a:extLst>
                <a:ext uri="{FF2B5EF4-FFF2-40B4-BE49-F238E27FC236}">
                  <a16:creationId xmlns:a16="http://schemas.microsoft.com/office/drawing/2014/main" id="{D0D60B07-E6BD-41E8-A475-45BB6FD136B8}"/>
                </a:ext>
              </a:extLst>
            </p:cNvPr>
            <p:cNvCxnSpPr/>
            <p:nvPr/>
          </p:nvCxnSpPr>
          <p:spPr>
            <a:xfrm>
              <a:off x="6617428" y="3500439"/>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93" name="TextBox 192">
              <a:extLst>
                <a:ext uri="{FF2B5EF4-FFF2-40B4-BE49-F238E27FC236}">
                  <a16:creationId xmlns:a16="http://schemas.microsoft.com/office/drawing/2014/main" id="{898F70BC-1080-427E-8C27-6AB7E20F3C7F}"/>
                </a:ext>
              </a:extLst>
            </p:cNvPr>
            <p:cNvSpPr txBox="1"/>
            <p:nvPr/>
          </p:nvSpPr>
          <p:spPr>
            <a:xfrm>
              <a:off x="7460561" y="3720854"/>
              <a:ext cx="336592" cy="113225"/>
            </a:xfrm>
            <a:prstGeom prst="rect">
              <a:avLst/>
            </a:prstGeom>
            <a:ln w="25400">
              <a:noFill/>
            </a:ln>
          </p:spPr>
          <p:txBody>
            <a:bodyPr vert="horz" wrap="square" lIns="0" tIns="0" rIns="0" bIns="0" rtlCol="0" anchor="b" anchorCtr="0">
              <a:noAutofit/>
            </a:bodyPr>
            <a:lstStyle/>
            <a:p>
              <a:pPr algn="ctr"/>
              <a:r>
                <a:rPr lang="en-US" sz="1050" cap="all"/>
                <a:t>Aug</a:t>
              </a:r>
            </a:p>
          </p:txBody>
        </p:sp>
        <p:cxnSp>
          <p:nvCxnSpPr>
            <p:cNvPr id="194" name="Straight Connector 193">
              <a:extLst>
                <a:ext uri="{FF2B5EF4-FFF2-40B4-BE49-F238E27FC236}">
                  <a16:creationId xmlns:a16="http://schemas.microsoft.com/office/drawing/2014/main" id="{0D325875-482B-4829-B6B3-51A1E15347C8}"/>
                </a:ext>
              </a:extLst>
            </p:cNvPr>
            <p:cNvCxnSpPr/>
            <p:nvPr/>
          </p:nvCxnSpPr>
          <p:spPr>
            <a:xfrm>
              <a:off x="7628857" y="3500439"/>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95" name="TextBox 194">
              <a:extLst>
                <a:ext uri="{FF2B5EF4-FFF2-40B4-BE49-F238E27FC236}">
                  <a16:creationId xmlns:a16="http://schemas.microsoft.com/office/drawing/2014/main" id="{AD3D5E98-3B66-45C5-AEEE-D1B806167545}"/>
                </a:ext>
              </a:extLst>
            </p:cNvPr>
            <p:cNvSpPr txBox="1"/>
            <p:nvPr/>
          </p:nvSpPr>
          <p:spPr>
            <a:xfrm>
              <a:off x="8494461" y="3720854"/>
              <a:ext cx="293516" cy="113225"/>
            </a:xfrm>
            <a:prstGeom prst="rect">
              <a:avLst/>
            </a:prstGeom>
            <a:ln w="25400">
              <a:noFill/>
            </a:ln>
          </p:spPr>
          <p:txBody>
            <a:bodyPr vert="horz" wrap="square" lIns="0" tIns="0" rIns="0" bIns="0" rtlCol="0" anchor="b" anchorCtr="0">
              <a:noAutofit/>
            </a:bodyPr>
            <a:lstStyle/>
            <a:p>
              <a:pPr algn="ctr"/>
              <a:r>
                <a:rPr lang="en-US" sz="1050" cap="all"/>
                <a:t>Sep</a:t>
              </a:r>
            </a:p>
          </p:txBody>
        </p:sp>
        <p:cxnSp>
          <p:nvCxnSpPr>
            <p:cNvPr id="196" name="Straight Connector 195">
              <a:extLst>
                <a:ext uri="{FF2B5EF4-FFF2-40B4-BE49-F238E27FC236}">
                  <a16:creationId xmlns:a16="http://schemas.microsoft.com/office/drawing/2014/main" id="{499AAD18-DAEB-4597-9EAD-008B74A3FE7A}"/>
                </a:ext>
              </a:extLst>
            </p:cNvPr>
            <p:cNvCxnSpPr/>
            <p:nvPr/>
          </p:nvCxnSpPr>
          <p:spPr>
            <a:xfrm>
              <a:off x="8641219" y="3500439"/>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97" name="TextBox 196">
              <a:extLst>
                <a:ext uri="{FF2B5EF4-FFF2-40B4-BE49-F238E27FC236}">
                  <a16:creationId xmlns:a16="http://schemas.microsoft.com/office/drawing/2014/main" id="{38C884E6-79C4-4D02-A3C0-19F9AC8C572D}"/>
                </a:ext>
              </a:extLst>
            </p:cNvPr>
            <p:cNvSpPr txBox="1"/>
            <p:nvPr/>
          </p:nvSpPr>
          <p:spPr>
            <a:xfrm>
              <a:off x="9485285" y="3720854"/>
              <a:ext cx="328296" cy="113225"/>
            </a:xfrm>
            <a:prstGeom prst="rect">
              <a:avLst/>
            </a:prstGeom>
            <a:ln w="25400">
              <a:noFill/>
            </a:ln>
          </p:spPr>
          <p:txBody>
            <a:bodyPr vert="horz" wrap="square" lIns="0" tIns="0" rIns="0" bIns="0" rtlCol="0" anchor="b" anchorCtr="0">
              <a:noAutofit/>
            </a:bodyPr>
            <a:lstStyle/>
            <a:p>
              <a:pPr algn="ctr"/>
              <a:r>
                <a:rPr lang="en-US" sz="1050" cap="all"/>
                <a:t>Oct</a:t>
              </a:r>
            </a:p>
          </p:txBody>
        </p:sp>
        <p:cxnSp>
          <p:nvCxnSpPr>
            <p:cNvPr id="198" name="Straight Connector 197">
              <a:extLst>
                <a:ext uri="{FF2B5EF4-FFF2-40B4-BE49-F238E27FC236}">
                  <a16:creationId xmlns:a16="http://schemas.microsoft.com/office/drawing/2014/main" id="{5F7668AD-402C-4BEE-8C23-9DDFAFB20B83}"/>
                </a:ext>
              </a:extLst>
            </p:cNvPr>
            <p:cNvCxnSpPr/>
            <p:nvPr/>
          </p:nvCxnSpPr>
          <p:spPr>
            <a:xfrm>
              <a:off x="9649433" y="3500439"/>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99" name="TextBox 198">
              <a:extLst>
                <a:ext uri="{FF2B5EF4-FFF2-40B4-BE49-F238E27FC236}">
                  <a16:creationId xmlns:a16="http://schemas.microsoft.com/office/drawing/2014/main" id="{58EC2A81-2FE1-4077-B268-538F87CF77AC}"/>
                </a:ext>
              </a:extLst>
            </p:cNvPr>
            <p:cNvSpPr txBox="1"/>
            <p:nvPr/>
          </p:nvSpPr>
          <p:spPr>
            <a:xfrm>
              <a:off x="10510889" y="3720854"/>
              <a:ext cx="339666" cy="113225"/>
            </a:xfrm>
            <a:prstGeom prst="rect">
              <a:avLst/>
            </a:prstGeom>
            <a:ln w="25400">
              <a:noFill/>
            </a:ln>
          </p:spPr>
          <p:txBody>
            <a:bodyPr vert="horz" wrap="square" lIns="0" tIns="0" rIns="0" bIns="0" rtlCol="0" anchor="b" anchorCtr="0">
              <a:noAutofit/>
            </a:bodyPr>
            <a:lstStyle/>
            <a:p>
              <a:pPr algn="ctr"/>
              <a:r>
                <a:rPr lang="en-US" sz="1050" cap="all"/>
                <a:t>Nov</a:t>
              </a:r>
            </a:p>
          </p:txBody>
        </p:sp>
        <p:cxnSp>
          <p:nvCxnSpPr>
            <p:cNvPr id="200" name="Straight Connector 199">
              <a:extLst>
                <a:ext uri="{FF2B5EF4-FFF2-40B4-BE49-F238E27FC236}">
                  <a16:creationId xmlns:a16="http://schemas.microsoft.com/office/drawing/2014/main" id="{572BC444-DC26-4E87-B0F6-8743F2ACDFB7}"/>
                </a:ext>
              </a:extLst>
            </p:cNvPr>
            <p:cNvCxnSpPr/>
            <p:nvPr/>
          </p:nvCxnSpPr>
          <p:spPr>
            <a:xfrm>
              <a:off x="10680722" y="3500439"/>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01" name="TextBox 200">
              <a:extLst>
                <a:ext uri="{FF2B5EF4-FFF2-40B4-BE49-F238E27FC236}">
                  <a16:creationId xmlns:a16="http://schemas.microsoft.com/office/drawing/2014/main" id="{013E6850-2400-4666-897C-EE2C205484B8}"/>
                </a:ext>
              </a:extLst>
            </p:cNvPr>
            <p:cNvSpPr txBox="1"/>
            <p:nvPr/>
          </p:nvSpPr>
          <p:spPr>
            <a:xfrm>
              <a:off x="11547862" y="3715714"/>
              <a:ext cx="307588" cy="113225"/>
            </a:xfrm>
            <a:prstGeom prst="rect">
              <a:avLst/>
            </a:prstGeom>
            <a:ln w="25400">
              <a:noFill/>
            </a:ln>
          </p:spPr>
          <p:txBody>
            <a:bodyPr vert="horz" wrap="square" lIns="0" tIns="0" rIns="0" bIns="0" rtlCol="0" anchor="b" anchorCtr="0">
              <a:noAutofit/>
            </a:bodyPr>
            <a:lstStyle/>
            <a:p>
              <a:pPr algn="ctr"/>
              <a:r>
                <a:rPr lang="en-US" sz="1050" cap="all" dirty="0"/>
                <a:t>Dec</a:t>
              </a:r>
            </a:p>
          </p:txBody>
        </p:sp>
        <p:cxnSp>
          <p:nvCxnSpPr>
            <p:cNvPr id="202" name="Straight Connector 201">
              <a:extLst>
                <a:ext uri="{FF2B5EF4-FFF2-40B4-BE49-F238E27FC236}">
                  <a16:creationId xmlns:a16="http://schemas.microsoft.com/office/drawing/2014/main" id="{6530BE68-F73D-4E30-A2EC-A261D8A91B73}"/>
                </a:ext>
              </a:extLst>
            </p:cNvPr>
            <p:cNvCxnSpPr/>
            <p:nvPr/>
          </p:nvCxnSpPr>
          <p:spPr>
            <a:xfrm>
              <a:off x="11701656" y="3500439"/>
              <a:ext cx="0" cy="12580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9AD68828-5C95-4E00-8364-F33EF7FEBCEA}"/>
                </a:ext>
              </a:extLst>
            </p:cNvPr>
            <p:cNvCxnSpPr/>
            <p:nvPr/>
          </p:nvCxnSpPr>
          <p:spPr>
            <a:xfrm>
              <a:off x="0" y="3500438"/>
              <a:ext cx="12192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 name="Footer Placeholder 2">
            <a:extLst>
              <a:ext uri="{FF2B5EF4-FFF2-40B4-BE49-F238E27FC236}">
                <a16:creationId xmlns:a16="http://schemas.microsoft.com/office/drawing/2014/main" id="{B2B9FA4C-AE02-4E31-A613-34424393FCE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870BAD4C-8FCE-4C89-BCA5-2413787A0289}"/>
              </a:ext>
            </a:extLst>
          </p:cNvPr>
          <p:cNvSpPr>
            <a:spLocks noGrp="1"/>
          </p:cNvSpPr>
          <p:nvPr>
            <p:ph type="sldNum" sz="quarter" idx="10"/>
          </p:nvPr>
        </p:nvSpPr>
        <p:spPr/>
        <p:txBody>
          <a:bodyPr/>
          <a:lstStyle/>
          <a:p>
            <a:fld id="{1F90F471-3972-4120-B8B3-0237DE626C35}" type="slidenum">
              <a:rPr lang="en-US" smtClean="0"/>
              <a:pPr/>
              <a:t>374</a:t>
            </a:fld>
            <a:endParaRPr lang="en-US" dirty="0"/>
          </a:p>
        </p:txBody>
      </p:sp>
    </p:spTree>
    <p:extLst>
      <p:ext uri="{BB962C8B-B14F-4D97-AF65-F5344CB8AC3E}">
        <p14:creationId xmlns:p14="http://schemas.microsoft.com/office/powerpoint/2010/main" val="1638446539"/>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A15787-62BC-469B-8861-8C84BB2D172E}"/>
              </a:ext>
            </a:extLst>
          </p:cNvPr>
          <p:cNvSpPr>
            <a:spLocks noGrp="1"/>
          </p:cNvSpPr>
          <p:nvPr>
            <p:ph type="title"/>
          </p:nvPr>
        </p:nvSpPr>
        <p:spPr/>
        <p:txBody>
          <a:bodyPr/>
          <a:lstStyle/>
          <a:p>
            <a:r>
              <a:rPr lang="en-US" dirty="0"/>
              <a:t>Gantt Chart 3</a:t>
            </a:r>
          </a:p>
        </p:txBody>
      </p:sp>
      <p:grpSp>
        <p:nvGrpSpPr>
          <p:cNvPr id="27" name="Group 26" descr="Gantt Details">
            <a:extLst>
              <a:ext uri="{FF2B5EF4-FFF2-40B4-BE49-F238E27FC236}">
                <a16:creationId xmlns:a16="http://schemas.microsoft.com/office/drawing/2014/main" id="{4BF30D5C-4051-4AF1-AB21-78C43F10D27B}"/>
              </a:ext>
            </a:extLst>
          </p:cNvPr>
          <p:cNvGrpSpPr/>
          <p:nvPr/>
        </p:nvGrpSpPr>
        <p:grpSpPr>
          <a:xfrm>
            <a:off x="-1" y="1527605"/>
            <a:ext cx="11855450" cy="4365823"/>
            <a:chOff x="-1" y="1991116"/>
            <a:chExt cx="11855450" cy="4174884"/>
          </a:xfrm>
        </p:grpSpPr>
        <p:sp>
          <p:nvSpPr>
            <p:cNvPr id="28" name="Rectangle 27">
              <a:extLst>
                <a:ext uri="{FF2B5EF4-FFF2-40B4-BE49-F238E27FC236}">
                  <a16:creationId xmlns:a16="http://schemas.microsoft.com/office/drawing/2014/main" id="{3252195D-4781-407F-A48B-38B5DF86FF22}"/>
                </a:ext>
              </a:extLst>
            </p:cNvPr>
            <p:cNvSpPr/>
            <p:nvPr/>
          </p:nvSpPr>
          <p:spPr>
            <a:xfrm>
              <a:off x="0" y="1991117"/>
              <a:ext cx="11855449" cy="4174883"/>
            </a:xfrm>
            <a:prstGeom prst="rect">
              <a:avLst/>
            </a:prstGeom>
            <a:pattFill prst="wdUpDiag">
              <a:fgClr>
                <a:schemeClr val="bg1">
                  <a:lumMod val="95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a:extLst>
                <a:ext uri="{FF2B5EF4-FFF2-40B4-BE49-F238E27FC236}">
                  <a16:creationId xmlns:a16="http://schemas.microsoft.com/office/drawing/2014/main" id="{E6179015-19C0-4C01-BC07-15C2730B5A9F}"/>
                </a:ext>
              </a:extLst>
            </p:cNvPr>
            <p:cNvSpPr/>
            <p:nvPr/>
          </p:nvSpPr>
          <p:spPr>
            <a:xfrm>
              <a:off x="-1" y="1991116"/>
              <a:ext cx="4455994" cy="417488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aphicFrame>
        <p:nvGraphicFramePr>
          <p:cNvPr id="30" name="Table 29">
            <a:extLst>
              <a:ext uri="{FF2B5EF4-FFF2-40B4-BE49-F238E27FC236}">
                <a16:creationId xmlns:a16="http://schemas.microsoft.com/office/drawing/2014/main" id="{225E7DF1-1F0F-438D-A5F6-76AE1E731E89}"/>
              </a:ext>
            </a:extLst>
          </p:cNvPr>
          <p:cNvGraphicFramePr>
            <a:graphicFrameLocks noGrp="1"/>
          </p:cNvGraphicFramePr>
          <p:nvPr>
            <p:extLst>
              <p:ext uri="{D42A27DB-BD31-4B8C-83A1-F6EECF244321}">
                <p14:modId xmlns:p14="http://schemas.microsoft.com/office/powerpoint/2010/main" val="2458557257"/>
              </p:ext>
            </p:extLst>
          </p:nvPr>
        </p:nvGraphicFramePr>
        <p:xfrm>
          <a:off x="334963" y="1181100"/>
          <a:ext cx="11520487" cy="4970947"/>
        </p:xfrm>
        <a:graphic>
          <a:graphicData uri="http://schemas.openxmlformats.org/drawingml/2006/table">
            <a:tbl>
              <a:tblPr firstRow="1" bandRow="1">
                <a:tableStyleId>{5C22544A-7EE6-4342-B048-85BDC9FD1C3A}</a:tableStyleId>
              </a:tblPr>
              <a:tblGrid>
                <a:gridCol w="4110913">
                  <a:extLst>
                    <a:ext uri="{9D8B030D-6E8A-4147-A177-3AD203B41FA5}">
                      <a16:colId xmlns:a16="http://schemas.microsoft.com/office/drawing/2014/main" val="3698304851"/>
                    </a:ext>
                  </a:extLst>
                </a:gridCol>
                <a:gridCol w="1234929">
                  <a:extLst>
                    <a:ext uri="{9D8B030D-6E8A-4147-A177-3AD203B41FA5}">
                      <a16:colId xmlns:a16="http://schemas.microsoft.com/office/drawing/2014/main" val="2422821095"/>
                    </a:ext>
                  </a:extLst>
                </a:gridCol>
                <a:gridCol w="1234929">
                  <a:extLst>
                    <a:ext uri="{9D8B030D-6E8A-4147-A177-3AD203B41FA5}">
                      <a16:colId xmlns:a16="http://schemas.microsoft.com/office/drawing/2014/main" val="55153618"/>
                    </a:ext>
                  </a:extLst>
                </a:gridCol>
                <a:gridCol w="1234929">
                  <a:extLst>
                    <a:ext uri="{9D8B030D-6E8A-4147-A177-3AD203B41FA5}">
                      <a16:colId xmlns:a16="http://schemas.microsoft.com/office/drawing/2014/main" val="3283457396"/>
                    </a:ext>
                  </a:extLst>
                </a:gridCol>
                <a:gridCol w="1234929">
                  <a:extLst>
                    <a:ext uri="{9D8B030D-6E8A-4147-A177-3AD203B41FA5}">
                      <a16:colId xmlns:a16="http://schemas.microsoft.com/office/drawing/2014/main" val="2255681718"/>
                    </a:ext>
                  </a:extLst>
                </a:gridCol>
                <a:gridCol w="1234929">
                  <a:extLst>
                    <a:ext uri="{9D8B030D-6E8A-4147-A177-3AD203B41FA5}">
                      <a16:colId xmlns:a16="http://schemas.microsoft.com/office/drawing/2014/main" val="99406314"/>
                    </a:ext>
                  </a:extLst>
                </a:gridCol>
                <a:gridCol w="1234929">
                  <a:extLst>
                    <a:ext uri="{9D8B030D-6E8A-4147-A177-3AD203B41FA5}">
                      <a16:colId xmlns:a16="http://schemas.microsoft.com/office/drawing/2014/main" val="3371254486"/>
                    </a:ext>
                  </a:extLst>
                </a:gridCol>
              </a:tblGrid>
              <a:tr h="310371">
                <a:tc>
                  <a:txBody>
                    <a:bodyPr/>
                    <a:lstStyle/>
                    <a:p>
                      <a:endParaRPr lang="en-GB" sz="900" dirty="0"/>
                    </a:p>
                  </a:txBody>
                  <a:tcPr anchor="ctr">
                    <a:noFill/>
                  </a:tcPr>
                </a:tc>
                <a:tc>
                  <a:txBody>
                    <a:bodyPr/>
                    <a:lstStyle/>
                    <a:p>
                      <a:pPr algn="ctr"/>
                      <a:r>
                        <a:rPr lang="en-AU" sz="1200" cap="none" baseline="0" dirty="0">
                          <a:latin typeface="+mj-lt"/>
                        </a:rPr>
                        <a:t>Jan</a:t>
                      </a:r>
                      <a:endParaRPr lang="en-GB" sz="1200" cap="none" baseline="0" dirty="0">
                        <a:latin typeface="+mj-lt"/>
                      </a:endParaRPr>
                    </a:p>
                  </a:txBody>
                  <a:tcPr marT="36000" marB="36000" anchor="ctr">
                    <a:solidFill>
                      <a:schemeClr val="accent2"/>
                    </a:solidFill>
                  </a:tcPr>
                </a:tc>
                <a:tc>
                  <a:txBody>
                    <a:bodyPr/>
                    <a:lstStyle/>
                    <a:p>
                      <a:pPr algn="ctr"/>
                      <a:r>
                        <a:rPr lang="en-US" sz="1200" b="1" cap="none" baseline="0" dirty="0">
                          <a:solidFill>
                            <a:schemeClr val="bg1"/>
                          </a:solidFill>
                          <a:latin typeface="+mj-lt"/>
                        </a:rPr>
                        <a:t>Feb</a:t>
                      </a:r>
                      <a:endParaRPr lang="en-GB" sz="1200" cap="none" baseline="0" dirty="0">
                        <a:latin typeface="+mj-lt"/>
                      </a:endParaRPr>
                    </a:p>
                  </a:txBody>
                  <a:tcPr marT="36000" marB="36000" anchor="ctr">
                    <a:solidFill>
                      <a:schemeClr val="accent2"/>
                    </a:solidFill>
                  </a:tcPr>
                </a:tc>
                <a:tc>
                  <a:txBody>
                    <a:bodyPr/>
                    <a:lstStyle/>
                    <a:p>
                      <a:pPr algn="ctr"/>
                      <a:r>
                        <a:rPr lang="en-US" sz="1200" b="1" cap="none" baseline="0" dirty="0">
                          <a:solidFill>
                            <a:schemeClr val="bg1"/>
                          </a:solidFill>
                          <a:latin typeface="+mj-lt"/>
                        </a:rPr>
                        <a:t>Mar</a:t>
                      </a:r>
                      <a:endParaRPr lang="en-GB" sz="1200" cap="none" baseline="0" dirty="0">
                        <a:latin typeface="+mj-lt"/>
                      </a:endParaRPr>
                    </a:p>
                  </a:txBody>
                  <a:tcPr marT="36000" marB="36000" anchor="ctr">
                    <a:solidFill>
                      <a:schemeClr val="accent2"/>
                    </a:solidFill>
                  </a:tcPr>
                </a:tc>
                <a:tc>
                  <a:txBody>
                    <a:bodyPr/>
                    <a:lstStyle/>
                    <a:p>
                      <a:pPr marL="0" marR="0" lvl="0" indent="0" algn="ctr" defTabSz="1734634" rtl="0" eaLnBrk="1" fontAlgn="auto" latinLnBrk="0" hangingPunct="1">
                        <a:lnSpc>
                          <a:spcPct val="100000"/>
                        </a:lnSpc>
                        <a:spcBef>
                          <a:spcPts val="0"/>
                        </a:spcBef>
                        <a:spcAft>
                          <a:spcPts val="0"/>
                        </a:spcAft>
                        <a:buClrTx/>
                        <a:buSzTx/>
                        <a:buFontTx/>
                        <a:buNone/>
                        <a:tabLst/>
                        <a:defRPr/>
                      </a:pPr>
                      <a:r>
                        <a:rPr lang="en-US" sz="1200" b="1" cap="none" baseline="0" dirty="0">
                          <a:solidFill>
                            <a:schemeClr val="bg1"/>
                          </a:solidFill>
                          <a:latin typeface="+mj-lt"/>
                        </a:rPr>
                        <a:t>Apr</a:t>
                      </a:r>
                    </a:p>
                  </a:txBody>
                  <a:tcPr marT="36000" marB="36000" anchor="ctr">
                    <a:solidFill>
                      <a:schemeClr val="accent2"/>
                    </a:solidFill>
                  </a:tcPr>
                </a:tc>
                <a:tc>
                  <a:txBody>
                    <a:bodyPr/>
                    <a:lstStyle/>
                    <a:p>
                      <a:pPr algn="ctr"/>
                      <a:r>
                        <a:rPr lang="en-US" sz="1200" b="1" cap="none" baseline="0" dirty="0">
                          <a:solidFill>
                            <a:schemeClr val="bg1"/>
                          </a:solidFill>
                          <a:latin typeface="+mj-lt"/>
                        </a:rPr>
                        <a:t>May</a:t>
                      </a:r>
                      <a:endParaRPr lang="en-GB" sz="1200" cap="none" baseline="0" dirty="0">
                        <a:latin typeface="+mj-lt"/>
                      </a:endParaRPr>
                    </a:p>
                  </a:txBody>
                  <a:tcPr marT="36000" marB="36000" anchor="ctr">
                    <a:solidFill>
                      <a:schemeClr val="accent2"/>
                    </a:solidFill>
                  </a:tcPr>
                </a:tc>
                <a:tc>
                  <a:txBody>
                    <a:bodyPr/>
                    <a:lstStyle/>
                    <a:p>
                      <a:pPr algn="ctr"/>
                      <a:r>
                        <a:rPr lang="en-US" sz="1200" b="1" cap="none" baseline="0" dirty="0">
                          <a:solidFill>
                            <a:schemeClr val="bg1"/>
                          </a:solidFill>
                          <a:latin typeface="+mj-lt"/>
                        </a:rPr>
                        <a:t>Jun</a:t>
                      </a:r>
                      <a:endParaRPr lang="en-GB" sz="1200" cap="none" baseline="0" dirty="0">
                        <a:latin typeface="+mj-lt"/>
                      </a:endParaRPr>
                    </a:p>
                  </a:txBody>
                  <a:tcPr marT="36000" marB="36000" anchor="ctr">
                    <a:solidFill>
                      <a:schemeClr val="accent2"/>
                    </a:solidFill>
                  </a:tcPr>
                </a:tc>
                <a:extLst>
                  <a:ext uri="{0D108BD9-81ED-4DB2-BD59-A6C34878D82A}">
                    <a16:rowId xmlns:a16="http://schemas.microsoft.com/office/drawing/2014/main" val="2548553952"/>
                  </a:ext>
                </a:extLst>
              </a:tr>
              <a:tr h="291286">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b="1" cap="none" baseline="0" dirty="0">
                          <a:latin typeface="+mj-lt"/>
                        </a:rPr>
                        <a:t>100 phase 1</a:t>
                      </a:r>
                      <a:endParaRPr lang="en-US" sz="1200" cap="none" baseline="0" dirty="0">
                        <a:latin typeface="+mj-lt"/>
                      </a:endParaRPr>
                    </a:p>
                  </a:txBody>
                  <a:tcPr marL="0" anchor="ctr">
                    <a:lnB w="12700" cap="flat" cmpd="sng" algn="ctr">
                      <a:noFill/>
                      <a:prstDash val="solid"/>
                      <a:round/>
                      <a:headEnd type="none" w="med" len="med"/>
                      <a:tailEnd type="none" w="med" len="med"/>
                    </a:lnB>
                    <a:noFill/>
                  </a:tcPr>
                </a:tc>
                <a:tc>
                  <a:txBody>
                    <a:bodyPr/>
                    <a:lstStyle/>
                    <a:p>
                      <a:endParaRPr lang="en-GB" sz="900" dirty="0"/>
                    </a:p>
                  </a:txBody>
                  <a:tcPr anchor="ctr">
                    <a:lnB w="12700" cap="flat" cmpd="sng" algn="ctr">
                      <a:noFill/>
                      <a:prstDash val="solid"/>
                      <a:round/>
                      <a:headEnd type="none" w="med" len="med"/>
                      <a:tailEnd type="none" w="med" len="med"/>
                    </a:lnB>
                    <a:noFill/>
                  </a:tcPr>
                </a:tc>
                <a:tc>
                  <a:txBody>
                    <a:bodyPr/>
                    <a:lstStyle/>
                    <a:p>
                      <a:endParaRPr lang="en-GB" sz="900" dirty="0"/>
                    </a:p>
                  </a:txBody>
                  <a:tcPr anchor="ctr">
                    <a:lnB w="12700" cap="flat" cmpd="sng" algn="ctr">
                      <a:noFill/>
                      <a:prstDash val="solid"/>
                      <a:round/>
                      <a:headEnd type="none" w="med" len="med"/>
                      <a:tailEnd type="none" w="med" len="med"/>
                    </a:lnB>
                    <a:noFill/>
                  </a:tcPr>
                </a:tc>
                <a:tc>
                  <a:txBody>
                    <a:bodyPr/>
                    <a:lstStyle/>
                    <a:p>
                      <a:endParaRPr lang="en-GB" sz="900" dirty="0"/>
                    </a:p>
                  </a:txBody>
                  <a:tcPr anchor="ctr">
                    <a:lnB w="12700" cap="flat" cmpd="sng" algn="ctr">
                      <a:noFill/>
                      <a:prstDash val="solid"/>
                      <a:round/>
                      <a:headEnd type="none" w="med" len="med"/>
                      <a:tailEnd type="none" w="med" len="med"/>
                    </a:lnB>
                    <a:noFill/>
                  </a:tcPr>
                </a:tc>
                <a:tc>
                  <a:txBody>
                    <a:bodyPr/>
                    <a:lstStyle/>
                    <a:p>
                      <a:endParaRPr lang="en-GB" sz="900" dirty="0"/>
                    </a:p>
                  </a:txBody>
                  <a:tcPr anchor="ctr">
                    <a:lnB w="12700" cap="flat" cmpd="sng" algn="ctr">
                      <a:noFill/>
                      <a:prstDash val="solid"/>
                      <a:round/>
                      <a:headEnd type="none" w="med" len="med"/>
                      <a:tailEnd type="none" w="med" len="med"/>
                    </a:lnB>
                    <a:noFill/>
                  </a:tcPr>
                </a:tc>
                <a:tc>
                  <a:txBody>
                    <a:bodyPr/>
                    <a:lstStyle/>
                    <a:p>
                      <a:endParaRPr lang="en-GB" sz="900" dirty="0"/>
                    </a:p>
                  </a:txBody>
                  <a:tcPr anchor="ctr">
                    <a:lnB w="12700" cap="flat" cmpd="sng" algn="ctr">
                      <a:noFill/>
                      <a:prstDash val="solid"/>
                      <a:round/>
                      <a:headEnd type="none" w="med" len="med"/>
                      <a:tailEnd type="none" w="med" len="med"/>
                    </a:lnB>
                    <a:noFill/>
                  </a:tcPr>
                </a:tc>
                <a:tc>
                  <a:txBody>
                    <a:bodyPr/>
                    <a:lstStyle/>
                    <a:p>
                      <a:endParaRPr lang="en-GB" sz="900" dirty="0"/>
                    </a:p>
                  </a:txBody>
                  <a:tcPr anchor="ctr">
                    <a:lnB w="12700" cap="flat" cmpd="sng" algn="ctr">
                      <a:noFill/>
                      <a:prstDash val="solid"/>
                      <a:round/>
                      <a:headEnd type="none" w="med" len="med"/>
                      <a:tailEnd type="none" w="med" len="med"/>
                    </a:lnB>
                    <a:noFill/>
                  </a:tcPr>
                </a:tc>
                <a:extLst>
                  <a:ext uri="{0D108BD9-81ED-4DB2-BD59-A6C34878D82A}">
                    <a16:rowId xmlns:a16="http://schemas.microsoft.com/office/drawing/2014/main" val="3436556169"/>
                  </a:ext>
                </a:extLst>
              </a:tr>
              <a:tr h="291286">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1</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254728236"/>
                  </a:ext>
                </a:extLst>
              </a:tr>
              <a:tr h="291286">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2</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19329372"/>
                  </a:ext>
                </a:extLst>
              </a:tr>
              <a:tr h="291286">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3</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990573348"/>
                  </a:ext>
                </a:extLst>
              </a:tr>
              <a:tr h="291286">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4</a:t>
                      </a:r>
                    </a:p>
                  </a:txBody>
                  <a:tcPr marL="0"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107927866"/>
                  </a:ext>
                </a:extLst>
              </a:tr>
              <a:tr h="291286">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b="1" cap="none" baseline="0" dirty="0">
                          <a:latin typeface="+mj-lt"/>
                        </a:rPr>
                        <a:t>200 phase 2</a:t>
                      </a:r>
                      <a:endParaRPr lang="en-US" sz="1200" cap="none" baseline="0" dirty="0">
                        <a:latin typeface="+mj-lt"/>
                      </a:endParaRPr>
                    </a:p>
                  </a:txBody>
                  <a:tcPr marL="0"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631469834"/>
                  </a:ext>
                </a:extLst>
              </a:tr>
              <a:tr h="291286">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1</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934573186"/>
                  </a:ext>
                </a:extLst>
              </a:tr>
              <a:tr h="291286">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2</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54087819"/>
                  </a:ext>
                </a:extLst>
              </a:tr>
              <a:tr h="291286">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3</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527980715"/>
                  </a:ext>
                </a:extLst>
              </a:tr>
              <a:tr h="291286">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4</a:t>
                      </a:r>
                    </a:p>
                  </a:txBody>
                  <a:tcPr marL="0"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815448543"/>
                  </a:ext>
                </a:extLst>
              </a:tr>
              <a:tr h="291286">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b="1" cap="none" baseline="0" dirty="0">
                          <a:latin typeface="+mj-lt"/>
                        </a:rPr>
                        <a:t>300 phase 3</a:t>
                      </a:r>
                      <a:endParaRPr lang="en-US" sz="1200" cap="none" baseline="0" dirty="0">
                        <a:latin typeface="+mj-lt"/>
                      </a:endParaRPr>
                    </a:p>
                  </a:txBody>
                  <a:tcPr marL="0"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89485012"/>
                  </a:ext>
                </a:extLst>
              </a:tr>
              <a:tr h="291286">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1</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88100610"/>
                  </a:ext>
                </a:extLst>
              </a:tr>
              <a:tr h="291286">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2</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916655884"/>
                  </a:ext>
                </a:extLst>
              </a:tr>
              <a:tr h="291286">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3</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74176316"/>
                  </a:ext>
                </a:extLst>
              </a:tr>
              <a:tr h="291286">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4</a:t>
                      </a:r>
                    </a:p>
                  </a:txBody>
                  <a:tcPr marL="0"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793859019"/>
                  </a:ext>
                </a:extLst>
              </a:tr>
              <a:tr h="291286">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b="1" kern="1200" cap="none" baseline="0" dirty="0">
                          <a:solidFill>
                            <a:schemeClr val="dk1"/>
                          </a:solidFill>
                          <a:latin typeface="+mj-lt"/>
                          <a:ea typeface="+mn-ea"/>
                          <a:cs typeface="+mn-cs"/>
                        </a:rPr>
                        <a:t>Key decision points</a:t>
                      </a:r>
                      <a:endParaRPr lang="en-US" sz="1200" kern="1200" cap="none" baseline="0" dirty="0">
                        <a:solidFill>
                          <a:schemeClr val="dk1"/>
                        </a:solidFill>
                        <a:latin typeface="+mj-lt"/>
                        <a:ea typeface="+mn-ea"/>
                        <a:cs typeface="+mn-cs"/>
                      </a:endParaRPr>
                    </a:p>
                  </a:txBody>
                  <a:tcPr marL="0" anchor="ct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501114773"/>
                  </a:ext>
                </a:extLst>
              </a:tr>
            </a:tbl>
          </a:graphicData>
        </a:graphic>
      </p:graphicFrame>
      <p:sp>
        <p:nvSpPr>
          <p:cNvPr id="31" name="Rectangle 30">
            <a:extLst>
              <a:ext uri="{FF2B5EF4-FFF2-40B4-BE49-F238E27FC236}">
                <a16:creationId xmlns:a16="http://schemas.microsoft.com/office/drawing/2014/main" id="{249FC25A-B0A7-4151-81EE-67B7C981DD72}"/>
              </a:ext>
              <a:ext uri="{C183D7F6-B498-43B3-948B-1728B52AA6E4}">
                <adec:decorative xmlns:adec="http://schemas.microsoft.com/office/drawing/2017/decorative" val="1"/>
              </a:ext>
            </a:extLst>
          </p:cNvPr>
          <p:cNvSpPr/>
          <p:nvPr/>
        </p:nvSpPr>
        <p:spPr>
          <a:xfrm>
            <a:off x="4455994" y="1527605"/>
            <a:ext cx="4101328" cy="21030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E0E2DD5D-40F3-439A-88EC-27B970CB4284}"/>
              </a:ext>
              <a:ext uri="{C183D7F6-B498-43B3-948B-1728B52AA6E4}">
                <adec:decorative xmlns:adec="http://schemas.microsoft.com/office/drawing/2017/decorative" val="1"/>
              </a:ext>
            </a:extLst>
          </p:cNvPr>
          <p:cNvSpPr/>
          <p:nvPr/>
        </p:nvSpPr>
        <p:spPr>
          <a:xfrm>
            <a:off x="4455994" y="1806315"/>
            <a:ext cx="1751128" cy="210304"/>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C00F772B-1167-437A-8693-D824BC3DE78A}"/>
              </a:ext>
              <a:ext uri="{C183D7F6-B498-43B3-948B-1728B52AA6E4}">
                <adec:decorative xmlns:adec="http://schemas.microsoft.com/office/drawing/2017/decorative" val="1"/>
              </a:ext>
            </a:extLst>
          </p:cNvPr>
          <p:cNvSpPr/>
          <p:nvPr/>
        </p:nvSpPr>
        <p:spPr>
          <a:xfrm>
            <a:off x="5000552" y="2085025"/>
            <a:ext cx="1584198" cy="210304"/>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4" name="Rectangle 33">
            <a:extLst>
              <a:ext uri="{FF2B5EF4-FFF2-40B4-BE49-F238E27FC236}">
                <a16:creationId xmlns:a16="http://schemas.microsoft.com/office/drawing/2014/main" id="{35954CFE-8A75-4578-804E-A91E6C3A4AA6}"/>
              </a:ext>
              <a:ext uri="{C183D7F6-B498-43B3-948B-1728B52AA6E4}">
                <adec:decorative xmlns:adec="http://schemas.microsoft.com/office/drawing/2017/decorative" val="1"/>
              </a:ext>
            </a:extLst>
          </p:cNvPr>
          <p:cNvSpPr/>
          <p:nvPr/>
        </p:nvSpPr>
        <p:spPr>
          <a:xfrm>
            <a:off x="5453398" y="2363735"/>
            <a:ext cx="1300210" cy="210304"/>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5" name="Rectangle 34">
            <a:extLst>
              <a:ext uri="{FF2B5EF4-FFF2-40B4-BE49-F238E27FC236}">
                <a16:creationId xmlns:a16="http://schemas.microsoft.com/office/drawing/2014/main" id="{3A9496AD-FBF1-4A22-BB67-372C165526C3}"/>
              </a:ext>
              <a:ext uri="{C183D7F6-B498-43B3-948B-1728B52AA6E4}">
                <adec:decorative xmlns:adec="http://schemas.microsoft.com/office/drawing/2017/decorative" val="1"/>
              </a:ext>
            </a:extLst>
          </p:cNvPr>
          <p:cNvSpPr/>
          <p:nvPr/>
        </p:nvSpPr>
        <p:spPr>
          <a:xfrm>
            <a:off x="6022914" y="2642445"/>
            <a:ext cx="1317093" cy="210304"/>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6" name="Rectangle 35">
            <a:extLst>
              <a:ext uri="{FF2B5EF4-FFF2-40B4-BE49-F238E27FC236}">
                <a16:creationId xmlns:a16="http://schemas.microsoft.com/office/drawing/2014/main" id="{6C67E023-3926-48B4-BC22-40A0D32C5955}"/>
              </a:ext>
              <a:ext uri="{C183D7F6-B498-43B3-948B-1728B52AA6E4}">
                <adec:decorative xmlns:adec="http://schemas.microsoft.com/office/drawing/2017/decorative" val="1"/>
              </a:ext>
            </a:extLst>
          </p:cNvPr>
          <p:cNvSpPr/>
          <p:nvPr/>
        </p:nvSpPr>
        <p:spPr>
          <a:xfrm>
            <a:off x="5453397" y="2929864"/>
            <a:ext cx="5681148" cy="21030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7" name="Rectangle 36">
            <a:extLst>
              <a:ext uri="{FF2B5EF4-FFF2-40B4-BE49-F238E27FC236}">
                <a16:creationId xmlns:a16="http://schemas.microsoft.com/office/drawing/2014/main" id="{7F3333EF-7CEE-49CD-A3CB-BF08D3D0A27B}"/>
              </a:ext>
              <a:ext uri="{C183D7F6-B498-43B3-948B-1728B52AA6E4}">
                <adec:decorative xmlns:adec="http://schemas.microsoft.com/office/drawing/2017/decorative" val="1"/>
              </a:ext>
            </a:extLst>
          </p:cNvPr>
          <p:cNvSpPr/>
          <p:nvPr/>
        </p:nvSpPr>
        <p:spPr>
          <a:xfrm>
            <a:off x="5453397" y="3208574"/>
            <a:ext cx="2142022" cy="210304"/>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8" name="Rectangle 37">
            <a:extLst>
              <a:ext uri="{FF2B5EF4-FFF2-40B4-BE49-F238E27FC236}">
                <a16:creationId xmlns:a16="http://schemas.microsoft.com/office/drawing/2014/main" id="{4362EF1B-1D00-4F57-816E-968409E7EC6C}"/>
              </a:ext>
              <a:ext uri="{C183D7F6-B498-43B3-948B-1728B52AA6E4}">
                <adec:decorative xmlns:adec="http://schemas.microsoft.com/office/drawing/2017/decorative" val="1"/>
              </a:ext>
            </a:extLst>
          </p:cNvPr>
          <p:cNvSpPr/>
          <p:nvPr/>
        </p:nvSpPr>
        <p:spPr>
          <a:xfrm>
            <a:off x="7340007" y="3487284"/>
            <a:ext cx="1619638" cy="210304"/>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Rectangle 38">
            <a:extLst>
              <a:ext uri="{FF2B5EF4-FFF2-40B4-BE49-F238E27FC236}">
                <a16:creationId xmlns:a16="http://schemas.microsoft.com/office/drawing/2014/main" id="{99EABFBF-43F2-4A5F-9B4C-BBD39119BE6A}"/>
              </a:ext>
              <a:ext uri="{C183D7F6-B498-43B3-948B-1728B52AA6E4}">
                <adec:decorative xmlns:adec="http://schemas.microsoft.com/office/drawing/2017/decorative" val="1"/>
              </a:ext>
            </a:extLst>
          </p:cNvPr>
          <p:cNvSpPr/>
          <p:nvPr/>
        </p:nvSpPr>
        <p:spPr>
          <a:xfrm>
            <a:off x="8503425" y="3765994"/>
            <a:ext cx="1805698" cy="210304"/>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 name="Rectangle 39">
            <a:extLst>
              <a:ext uri="{FF2B5EF4-FFF2-40B4-BE49-F238E27FC236}">
                <a16:creationId xmlns:a16="http://schemas.microsoft.com/office/drawing/2014/main" id="{6BBAD3FB-A3FE-4E46-AECB-797B8DF3D795}"/>
              </a:ext>
              <a:ext uri="{C183D7F6-B498-43B3-948B-1728B52AA6E4}">
                <adec:decorative xmlns:adec="http://schemas.microsoft.com/office/drawing/2017/decorative" val="1"/>
              </a:ext>
            </a:extLst>
          </p:cNvPr>
          <p:cNvSpPr/>
          <p:nvPr/>
        </p:nvSpPr>
        <p:spPr>
          <a:xfrm>
            <a:off x="9036021" y="4044704"/>
            <a:ext cx="2098523" cy="210304"/>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 name="Rectangle 40">
            <a:extLst>
              <a:ext uri="{FF2B5EF4-FFF2-40B4-BE49-F238E27FC236}">
                <a16:creationId xmlns:a16="http://schemas.microsoft.com/office/drawing/2014/main" id="{45EF8347-188E-48EC-BD5C-AA21CC2EED9C}"/>
              </a:ext>
              <a:ext uri="{C183D7F6-B498-43B3-948B-1728B52AA6E4}">
                <adec:decorative xmlns:adec="http://schemas.microsoft.com/office/drawing/2017/decorative" val="1"/>
              </a:ext>
            </a:extLst>
          </p:cNvPr>
          <p:cNvSpPr/>
          <p:nvPr/>
        </p:nvSpPr>
        <p:spPr>
          <a:xfrm>
            <a:off x="7410450" y="4314705"/>
            <a:ext cx="4445000" cy="21030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2" name="Rectangle 41">
            <a:extLst>
              <a:ext uri="{FF2B5EF4-FFF2-40B4-BE49-F238E27FC236}">
                <a16:creationId xmlns:a16="http://schemas.microsoft.com/office/drawing/2014/main" id="{B3623AA3-2C0B-49C1-B9F1-A922AF4F2050}"/>
              </a:ext>
              <a:ext uri="{C183D7F6-B498-43B3-948B-1728B52AA6E4}">
                <adec:decorative xmlns:adec="http://schemas.microsoft.com/office/drawing/2017/decorative" val="1"/>
              </a:ext>
            </a:extLst>
          </p:cNvPr>
          <p:cNvSpPr/>
          <p:nvPr/>
        </p:nvSpPr>
        <p:spPr>
          <a:xfrm>
            <a:off x="7410450" y="4593415"/>
            <a:ext cx="1549195" cy="210304"/>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861A5CC7-68DC-4AD2-BDFB-1CA6C6685456}"/>
              </a:ext>
              <a:ext uri="{C183D7F6-B498-43B3-948B-1728B52AA6E4}">
                <adec:decorative xmlns:adec="http://schemas.microsoft.com/office/drawing/2017/decorative" val="1"/>
              </a:ext>
            </a:extLst>
          </p:cNvPr>
          <p:cNvSpPr/>
          <p:nvPr/>
        </p:nvSpPr>
        <p:spPr>
          <a:xfrm>
            <a:off x="8503426" y="4872125"/>
            <a:ext cx="1503354" cy="210304"/>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4" name="Rectangle 43">
            <a:extLst>
              <a:ext uri="{FF2B5EF4-FFF2-40B4-BE49-F238E27FC236}">
                <a16:creationId xmlns:a16="http://schemas.microsoft.com/office/drawing/2014/main" id="{174FADB8-A6C4-43E0-9F27-5C8A86C532DF}"/>
              </a:ext>
              <a:ext uri="{C183D7F6-B498-43B3-948B-1728B52AA6E4}">
                <adec:decorative xmlns:adec="http://schemas.microsoft.com/office/drawing/2017/decorative" val="1"/>
              </a:ext>
            </a:extLst>
          </p:cNvPr>
          <p:cNvSpPr/>
          <p:nvPr/>
        </p:nvSpPr>
        <p:spPr>
          <a:xfrm>
            <a:off x="9632950" y="5150835"/>
            <a:ext cx="1318800" cy="210304"/>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 name="Rectangle 44">
            <a:extLst>
              <a:ext uri="{FF2B5EF4-FFF2-40B4-BE49-F238E27FC236}">
                <a16:creationId xmlns:a16="http://schemas.microsoft.com/office/drawing/2014/main" id="{C85249FA-B674-4A20-8715-6E6820620FFD}"/>
              </a:ext>
              <a:ext uri="{C183D7F6-B498-43B3-948B-1728B52AA6E4}">
                <adec:decorative xmlns:adec="http://schemas.microsoft.com/office/drawing/2017/decorative" val="1"/>
              </a:ext>
            </a:extLst>
          </p:cNvPr>
          <p:cNvSpPr/>
          <p:nvPr/>
        </p:nvSpPr>
        <p:spPr>
          <a:xfrm>
            <a:off x="10132142" y="5429552"/>
            <a:ext cx="1723307" cy="210304"/>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6" name="Text Box 4">
            <a:extLst>
              <a:ext uri="{FF2B5EF4-FFF2-40B4-BE49-F238E27FC236}">
                <a16:creationId xmlns:a16="http://schemas.microsoft.com/office/drawing/2014/main" id="{B315F46B-D226-4C03-A32A-FA9668844D56}"/>
              </a:ext>
            </a:extLst>
          </p:cNvPr>
          <p:cNvSpPr txBox="1">
            <a:spLocks noChangeArrowheads="1"/>
          </p:cNvSpPr>
          <p:nvPr>
            <p:custDataLst>
              <p:tags r:id="rId1"/>
            </p:custDataLst>
          </p:nvPr>
        </p:nvSpPr>
        <p:spPr bwMode="auto">
          <a:xfrm>
            <a:off x="7253097" y="5628832"/>
            <a:ext cx="902624" cy="523220"/>
          </a:xfrm>
          <a:prstGeom prst="rect">
            <a:avLst/>
          </a:prstGeom>
          <a:noFill/>
          <a:ln w="6350">
            <a:noFill/>
            <a:miter lim="800000"/>
            <a:headEnd/>
            <a:tailEnd/>
          </a:ln>
          <a:effectLst/>
        </p:spPr>
        <p:txBody>
          <a:bodyPr>
            <a:spAutoFit/>
          </a:bodyPr>
          <a:lstStyle/>
          <a:p>
            <a:pPr eaLnBrk="0" hangingPunct="0">
              <a:spcBef>
                <a:spcPct val="0"/>
              </a:spcBef>
              <a:buClr>
                <a:schemeClr val="accent6"/>
              </a:buClr>
              <a:buFont typeface="Wingdings" pitchFamily="2" charset="2"/>
              <a:buChar char="u"/>
            </a:pPr>
            <a:r>
              <a:rPr lang="en-US" sz="1400" dirty="0">
                <a:solidFill>
                  <a:schemeClr val="tx1"/>
                </a:solidFill>
              </a:rPr>
              <a:t> </a:t>
            </a:r>
            <a:endParaRPr lang="en-US" sz="1400" dirty="0"/>
          </a:p>
          <a:p>
            <a:pPr eaLnBrk="0" hangingPunct="0">
              <a:spcBef>
                <a:spcPct val="0"/>
              </a:spcBef>
              <a:buClr>
                <a:schemeClr val="accent6"/>
              </a:buClr>
            </a:pPr>
            <a:r>
              <a:rPr lang="en-US" sz="1400" dirty="0"/>
              <a:t>Date</a:t>
            </a:r>
            <a:endParaRPr lang="en-US" sz="1400" dirty="0">
              <a:solidFill>
                <a:schemeClr val="tx1"/>
              </a:solidFill>
            </a:endParaRPr>
          </a:p>
        </p:txBody>
      </p:sp>
      <p:sp>
        <p:nvSpPr>
          <p:cNvPr id="47" name="Text Box 5">
            <a:extLst>
              <a:ext uri="{FF2B5EF4-FFF2-40B4-BE49-F238E27FC236}">
                <a16:creationId xmlns:a16="http://schemas.microsoft.com/office/drawing/2014/main" id="{93DFE4ED-BED5-4FC0-BC50-91E1310BDCDB}"/>
              </a:ext>
            </a:extLst>
          </p:cNvPr>
          <p:cNvSpPr txBox="1">
            <a:spLocks noChangeArrowheads="1"/>
          </p:cNvSpPr>
          <p:nvPr>
            <p:custDataLst>
              <p:tags r:id="rId2"/>
            </p:custDataLst>
          </p:nvPr>
        </p:nvSpPr>
        <p:spPr bwMode="auto">
          <a:xfrm>
            <a:off x="8778973" y="5628832"/>
            <a:ext cx="905694" cy="523220"/>
          </a:xfrm>
          <a:prstGeom prst="rect">
            <a:avLst/>
          </a:prstGeom>
          <a:noFill/>
          <a:ln w="6350">
            <a:noFill/>
            <a:miter lim="800000"/>
            <a:headEnd/>
            <a:tailEnd/>
          </a:ln>
          <a:effectLst/>
        </p:spPr>
        <p:txBody>
          <a:bodyPr>
            <a:spAutoFit/>
          </a:bodyPr>
          <a:lstStyle/>
          <a:p>
            <a:pPr eaLnBrk="0" hangingPunct="0">
              <a:spcBef>
                <a:spcPct val="0"/>
              </a:spcBef>
              <a:buClr>
                <a:schemeClr val="accent6"/>
              </a:buClr>
              <a:buFont typeface="Wingdings" pitchFamily="2" charset="2"/>
              <a:buChar char="u"/>
            </a:pPr>
            <a:r>
              <a:rPr lang="en-US" sz="1400" dirty="0">
                <a:solidFill>
                  <a:schemeClr val="tx1"/>
                </a:solidFill>
              </a:rPr>
              <a:t> </a:t>
            </a:r>
          </a:p>
          <a:p>
            <a:pPr eaLnBrk="0" hangingPunct="0">
              <a:spcBef>
                <a:spcPct val="0"/>
              </a:spcBef>
              <a:buClr>
                <a:schemeClr val="accent6"/>
              </a:buClr>
            </a:pPr>
            <a:r>
              <a:rPr lang="en-US" sz="1400" dirty="0">
                <a:solidFill>
                  <a:schemeClr val="tx1"/>
                </a:solidFill>
              </a:rPr>
              <a:t>Date</a:t>
            </a:r>
          </a:p>
        </p:txBody>
      </p:sp>
      <p:sp>
        <p:nvSpPr>
          <p:cNvPr id="3" name="Footer Placeholder 2">
            <a:extLst>
              <a:ext uri="{FF2B5EF4-FFF2-40B4-BE49-F238E27FC236}">
                <a16:creationId xmlns:a16="http://schemas.microsoft.com/office/drawing/2014/main" id="{CDA3FF3E-6A29-4BD3-97ED-FAF1C5DB71E5}"/>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E567C5EC-34F1-4D10-A622-1734C360E393}"/>
              </a:ext>
            </a:extLst>
          </p:cNvPr>
          <p:cNvSpPr>
            <a:spLocks noGrp="1"/>
          </p:cNvSpPr>
          <p:nvPr>
            <p:ph type="sldNum" sz="quarter" idx="10"/>
          </p:nvPr>
        </p:nvSpPr>
        <p:spPr/>
        <p:txBody>
          <a:bodyPr/>
          <a:lstStyle/>
          <a:p>
            <a:fld id="{1F90F471-3972-4120-B8B3-0237DE626C35}" type="slidenum">
              <a:rPr lang="en-US" smtClean="0"/>
              <a:pPr/>
              <a:t>375</a:t>
            </a:fld>
            <a:endParaRPr lang="en-US" dirty="0"/>
          </a:p>
        </p:txBody>
      </p:sp>
    </p:spTree>
    <p:extLst>
      <p:ext uri="{BB962C8B-B14F-4D97-AF65-F5344CB8AC3E}">
        <p14:creationId xmlns:p14="http://schemas.microsoft.com/office/powerpoint/2010/main" val="475750216"/>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6831BF9-C1A9-4605-B483-A332233A3017}"/>
              </a:ext>
            </a:extLst>
          </p:cNvPr>
          <p:cNvSpPr>
            <a:spLocks noGrp="1"/>
          </p:cNvSpPr>
          <p:nvPr>
            <p:ph type="title"/>
          </p:nvPr>
        </p:nvSpPr>
        <p:spPr/>
        <p:txBody>
          <a:bodyPr/>
          <a:lstStyle/>
          <a:p>
            <a:r>
              <a:rPr lang="en-US" dirty="0"/>
              <a:t>Gantt Chart 4</a:t>
            </a:r>
          </a:p>
        </p:txBody>
      </p:sp>
      <p:graphicFrame>
        <p:nvGraphicFramePr>
          <p:cNvPr id="3" name="Table 2">
            <a:extLst>
              <a:ext uri="{FF2B5EF4-FFF2-40B4-BE49-F238E27FC236}">
                <a16:creationId xmlns:a16="http://schemas.microsoft.com/office/drawing/2014/main" id="{8BA7E229-4E9D-469C-965C-2319CFD39AB1}"/>
              </a:ext>
            </a:extLst>
          </p:cNvPr>
          <p:cNvGraphicFramePr>
            <a:graphicFrameLocks noGrp="1"/>
          </p:cNvGraphicFramePr>
          <p:nvPr/>
        </p:nvGraphicFramePr>
        <p:xfrm>
          <a:off x="334963" y="1207908"/>
          <a:ext cx="11520487" cy="4681413"/>
        </p:xfrm>
        <a:graphic>
          <a:graphicData uri="http://schemas.openxmlformats.org/drawingml/2006/table">
            <a:tbl>
              <a:tblPr firstRow="1" bandRow="1">
                <a:tableStyleId>{5C22544A-7EE6-4342-B048-85BDC9FD1C3A}</a:tableStyleId>
              </a:tblPr>
              <a:tblGrid>
                <a:gridCol w="4110913">
                  <a:extLst>
                    <a:ext uri="{9D8B030D-6E8A-4147-A177-3AD203B41FA5}">
                      <a16:colId xmlns:a16="http://schemas.microsoft.com/office/drawing/2014/main" val="3698304851"/>
                    </a:ext>
                  </a:extLst>
                </a:gridCol>
                <a:gridCol w="1234929">
                  <a:extLst>
                    <a:ext uri="{9D8B030D-6E8A-4147-A177-3AD203B41FA5}">
                      <a16:colId xmlns:a16="http://schemas.microsoft.com/office/drawing/2014/main" val="2422821095"/>
                    </a:ext>
                  </a:extLst>
                </a:gridCol>
                <a:gridCol w="1234929">
                  <a:extLst>
                    <a:ext uri="{9D8B030D-6E8A-4147-A177-3AD203B41FA5}">
                      <a16:colId xmlns:a16="http://schemas.microsoft.com/office/drawing/2014/main" val="55153618"/>
                    </a:ext>
                  </a:extLst>
                </a:gridCol>
                <a:gridCol w="1234929">
                  <a:extLst>
                    <a:ext uri="{9D8B030D-6E8A-4147-A177-3AD203B41FA5}">
                      <a16:colId xmlns:a16="http://schemas.microsoft.com/office/drawing/2014/main" val="3283457396"/>
                    </a:ext>
                  </a:extLst>
                </a:gridCol>
                <a:gridCol w="1234929">
                  <a:extLst>
                    <a:ext uri="{9D8B030D-6E8A-4147-A177-3AD203B41FA5}">
                      <a16:colId xmlns:a16="http://schemas.microsoft.com/office/drawing/2014/main" val="2255681718"/>
                    </a:ext>
                  </a:extLst>
                </a:gridCol>
                <a:gridCol w="1234929">
                  <a:extLst>
                    <a:ext uri="{9D8B030D-6E8A-4147-A177-3AD203B41FA5}">
                      <a16:colId xmlns:a16="http://schemas.microsoft.com/office/drawing/2014/main" val="99406314"/>
                    </a:ext>
                  </a:extLst>
                </a:gridCol>
                <a:gridCol w="1234929">
                  <a:extLst>
                    <a:ext uri="{9D8B030D-6E8A-4147-A177-3AD203B41FA5}">
                      <a16:colId xmlns:a16="http://schemas.microsoft.com/office/drawing/2014/main" val="3371254486"/>
                    </a:ext>
                  </a:extLst>
                </a:gridCol>
              </a:tblGrid>
              <a:tr h="292293">
                <a:tc>
                  <a:txBody>
                    <a:bodyPr/>
                    <a:lstStyle/>
                    <a:p>
                      <a:endParaRPr lang="en-GB" sz="900" dirty="0"/>
                    </a:p>
                  </a:txBody>
                  <a:tcPr anchor="ctr">
                    <a:lnB w="12700" cap="flat" cmpd="sng" algn="ctr">
                      <a:solidFill>
                        <a:schemeClr val="tx1"/>
                      </a:solidFill>
                      <a:prstDash val="solid"/>
                      <a:round/>
                      <a:headEnd type="none" w="med" len="med"/>
                      <a:tailEnd type="none" w="med" len="med"/>
                    </a:lnB>
                    <a:noFill/>
                  </a:tcPr>
                </a:tc>
                <a:tc>
                  <a:txBody>
                    <a:bodyPr/>
                    <a:lstStyle/>
                    <a:p>
                      <a:pPr algn="ctr"/>
                      <a:r>
                        <a:rPr lang="en-AU" sz="1200" cap="none" baseline="0" dirty="0">
                          <a:solidFill>
                            <a:schemeClr val="tx1"/>
                          </a:solidFill>
                          <a:latin typeface="+mj-lt"/>
                        </a:rPr>
                        <a:t>Jan</a:t>
                      </a:r>
                      <a:endParaRPr lang="en-GB" sz="1200" cap="none" baseline="0" dirty="0">
                        <a:solidFill>
                          <a:schemeClr val="tx1"/>
                        </a:solidFill>
                        <a:latin typeface="+mj-lt"/>
                      </a:endParaRPr>
                    </a:p>
                  </a:txBody>
                  <a:tcPr marT="36000" marB="36000" anchor="ctr">
                    <a:lnB w="12700" cap="flat" cmpd="sng" algn="ctr">
                      <a:solidFill>
                        <a:schemeClr val="tx1"/>
                      </a:solidFill>
                      <a:prstDash val="solid"/>
                      <a:round/>
                      <a:headEnd type="none" w="med" len="med"/>
                      <a:tailEnd type="none" w="med" len="med"/>
                    </a:lnB>
                    <a:noFill/>
                  </a:tcPr>
                </a:tc>
                <a:tc>
                  <a:txBody>
                    <a:bodyPr/>
                    <a:lstStyle/>
                    <a:p>
                      <a:pPr algn="ctr"/>
                      <a:r>
                        <a:rPr lang="en-US" sz="1200" b="1" cap="none" baseline="0" dirty="0">
                          <a:solidFill>
                            <a:schemeClr val="tx1"/>
                          </a:solidFill>
                          <a:latin typeface="+mj-lt"/>
                        </a:rPr>
                        <a:t>Feb</a:t>
                      </a:r>
                      <a:endParaRPr lang="en-GB" sz="1200" cap="none" baseline="0" dirty="0">
                        <a:solidFill>
                          <a:schemeClr val="tx1"/>
                        </a:solidFill>
                        <a:latin typeface="+mj-lt"/>
                      </a:endParaRPr>
                    </a:p>
                  </a:txBody>
                  <a:tcPr marT="36000" marB="36000" anchor="ctr">
                    <a:lnB w="12700" cap="flat" cmpd="sng" algn="ctr">
                      <a:solidFill>
                        <a:schemeClr val="tx1"/>
                      </a:solidFill>
                      <a:prstDash val="solid"/>
                      <a:round/>
                      <a:headEnd type="none" w="med" len="med"/>
                      <a:tailEnd type="none" w="med" len="med"/>
                    </a:lnB>
                    <a:noFill/>
                  </a:tcPr>
                </a:tc>
                <a:tc>
                  <a:txBody>
                    <a:bodyPr/>
                    <a:lstStyle/>
                    <a:p>
                      <a:pPr algn="ctr"/>
                      <a:r>
                        <a:rPr lang="en-US" sz="1200" b="1" cap="none" baseline="0" dirty="0">
                          <a:solidFill>
                            <a:schemeClr val="tx1"/>
                          </a:solidFill>
                          <a:latin typeface="+mj-lt"/>
                        </a:rPr>
                        <a:t>Mar</a:t>
                      </a:r>
                      <a:endParaRPr lang="en-GB" sz="1200" cap="none" baseline="0" dirty="0">
                        <a:solidFill>
                          <a:schemeClr val="tx1"/>
                        </a:solidFill>
                        <a:latin typeface="+mj-lt"/>
                      </a:endParaRPr>
                    </a:p>
                  </a:txBody>
                  <a:tcPr marT="36000" marB="36000" anchor="ctr">
                    <a:lnB w="12700" cap="flat" cmpd="sng" algn="ctr">
                      <a:solidFill>
                        <a:schemeClr val="tx1"/>
                      </a:solidFill>
                      <a:prstDash val="solid"/>
                      <a:round/>
                      <a:headEnd type="none" w="med" len="med"/>
                      <a:tailEnd type="none" w="med" len="med"/>
                    </a:lnB>
                    <a:noFill/>
                  </a:tcPr>
                </a:tc>
                <a:tc>
                  <a:txBody>
                    <a:bodyPr/>
                    <a:lstStyle/>
                    <a:p>
                      <a:pPr marL="0" marR="0" lvl="0" indent="0" algn="ctr" defTabSz="1734634" rtl="0" eaLnBrk="1" fontAlgn="auto" latinLnBrk="0" hangingPunct="1">
                        <a:lnSpc>
                          <a:spcPct val="100000"/>
                        </a:lnSpc>
                        <a:spcBef>
                          <a:spcPts val="0"/>
                        </a:spcBef>
                        <a:spcAft>
                          <a:spcPts val="0"/>
                        </a:spcAft>
                        <a:buClrTx/>
                        <a:buSzTx/>
                        <a:buFontTx/>
                        <a:buNone/>
                        <a:tabLst/>
                        <a:defRPr/>
                      </a:pPr>
                      <a:r>
                        <a:rPr lang="en-US" sz="1200" b="1" cap="none" baseline="0" dirty="0">
                          <a:solidFill>
                            <a:schemeClr val="tx1"/>
                          </a:solidFill>
                          <a:latin typeface="+mj-lt"/>
                        </a:rPr>
                        <a:t>Apr</a:t>
                      </a:r>
                    </a:p>
                  </a:txBody>
                  <a:tcPr marT="36000" marB="36000" anchor="ctr">
                    <a:lnB w="12700" cap="flat" cmpd="sng" algn="ctr">
                      <a:solidFill>
                        <a:schemeClr val="tx1"/>
                      </a:solidFill>
                      <a:prstDash val="solid"/>
                      <a:round/>
                      <a:headEnd type="none" w="med" len="med"/>
                      <a:tailEnd type="none" w="med" len="med"/>
                    </a:lnB>
                    <a:noFill/>
                  </a:tcPr>
                </a:tc>
                <a:tc>
                  <a:txBody>
                    <a:bodyPr/>
                    <a:lstStyle/>
                    <a:p>
                      <a:pPr algn="ctr"/>
                      <a:r>
                        <a:rPr lang="en-US" sz="1200" b="1" cap="none" baseline="0" dirty="0">
                          <a:solidFill>
                            <a:schemeClr val="tx1"/>
                          </a:solidFill>
                          <a:latin typeface="+mj-lt"/>
                        </a:rPr>
                        <a:t>May</a:t>
                      </a:r>
                      <a:endParaRPr lang="en-GB" sz="1200" cap="none" baseline="0" dirty="0">
                        <a:solidFill>
                          <a:schemeClr val="tx1"/>
                        </a:solidFill>
                        <a:latin typeface="+mj-lt"/>
                      </a:endParaRPr>
                    </a:p>
                  </a:txBody>
                  <a:tcPr marT="36000" marB="36000" anchor="ctr">
                    <a:lnB w="12700" cap="flat" cmpd="sng" algn="ctr">
                      <a:solidFill>
                        <a:schemeClr val="tx1"/>
                      </a:solidFill>
                      <a:prstDash val="solid"/>
                      <a:round/>
                      <a:headEnd type="none" w="med" len="med"/>
                      <a:tailEnd type="none" w="med" len="med"/>
                    </a:lnB>
                    <a:noFill/>
                  </a:tcPr>
                </a:tc>
                <a:tc>
                  <a:txBody>
                    <a:bodyPr/>
                    <a:lstStyle/>
                    <a:p>
                      <a:pPr algn="ctr"/>
                      <a:r>
                        <a:rPr lang="en-US" sz="1200" b="1" cap="none" baseline="0" dirty="0">
                          <a:solidFill>
                            <a:schemeClr val="tx1"/>
                          </a:solidFill>
                          <a:latin typeface="+mj-lt"/>
                        </a:rPr>
                        <a:t>Jun</a:t>
                      </a:r>
                      <a:endParaRPr lang="en-GB" sz="1200" cap="none" baseline="0" dirty="0">
                        <a:solidFill>
                          <a:schemeClr val="tx1"/>
                        </a:solidFill>
                        <a:latin typeface="+mj-lt"/>
                      </a:endParaRPr>
                    </a:p>
                  </a:txBody>
                  <a:tcPr marT="36000" marB="36000"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48553952"/>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b="1" cap="none" baseline="0" dirty="0">
                          <a:latin typeface="+mj-lt"/>
                        </a:rPr>
                        <a:t>100 phase 1</a:t>
                      </a:r>
                      <a:endParaRPr lang="en-US" sz="1200" cap="none" baseline="0" dirty="0">
                        <a:latin typeface="+mj-lt"/>
                      </a:endParaRPr>
                    </a:p>
                  </a:txBody>
                  <a:tcPr marL="0" anchor="ct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36556169"/>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1</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254728236"/>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2</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19329372"/>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3</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990573348"/>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4</a:t>
                      </a:r>
                    </a:p>
                  </a:txBody>
                  <a:tcPr marL="0"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107927866"/>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b="1" cap="none" baseline="0" dirty="0">
                          <a:latin typeface="+mj-lt"/>
                        </a:rPr>
                        <a:t>200 phase 2</a:t>
                      </a:r>
                      <a:endParaRPr lang="en-US" sz="1200" cap="none" baseline="0" dirty="0">
                        <a:latin typeface="+mj-lt"/>
                      </a:endParaRPr>
                    </a:p>
                  </a:txBody>
                  <a:tcPr marL="0"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631469834"/>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1</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934573186"/>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2</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54087819"/>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3</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527980715"/>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4</a:t>
                      </a:r>
                    </a:p>
                  </a:txBody>
                  <a:tcPr marL="0"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815448543"/>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b="1" cap="none" baseline="0" dirty="0">
                          <a:latin typeface="+mj-lt"/>
                        </a:rPr>
                        <a:t>300 phase 3</a:t>
                      </a:r>
                      <a:endParaRPr lang="en-US" sz="1200" cap="none" baseline="0" dirty="0">
                        <a:latin typeface="+mj-lt"/>
                      </a:endParaRPr>
                    </a:p>
                  </a:txBody>
                  <a:tcPr marL="0"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89485012"/>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1</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88100610"/>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2</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916655884"/>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3</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74176316"/>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4</a:t>
                      </a:r>
                    </a:p>
                  </a:txBody>
                  <a:tcPr marL="0"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793859019"/>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b="1" kern="1200" cap="none" baseline="0" dirty="0">
                          <a:solidFill>
                            <a:schemeClr val="dk1"/>
                          </a:solidFill>
                          <a:latin typeface="+mj-lt"/>
                          <a:ea typeface="+mn-ea"/>
                          <a:cs typeface="+mn-cs"/>
                        </a:rPr>
                        <a:t>Key decision points</a:t>
                      </a:r>
                      <a:endParaRPr lang="en-US" sz="1200" kern="1200" cap="none" baseline="0" dirty="0">
                        <a:solidFill>
                          <a:schemeClr val="dk1"/>
                        </a:solidFill>
                        <a:latin typeface="+mj-lt"/>
                        <a:ea typeface="+mn-ea"/>
                        <a:cs typeface="+mn-cs"/>
                      </a:endParaRPr>
                    </a:p>
                  </a:txBody>
                  <a:tcPr marL="0" anchor="ct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501114773"/>
                  </a:ext>
                </a:extLst>
              </a:tr>
            </a:tbl>
          </a:graphicData>
        </a:graphic>
      </p:graphicFrame>
      <p:sp>
        <p:nvSpPr>
          <p:cNvPr id="26" name="Rectangle 25">
            <a:extLst>
              <a:ext uri="{FF2B5EF4-FFF2-40B4-BE49-F238E27FC236}">
                <a16:creationId xmlns:a16="http://schemas.microsoft.com/office/drawing/2014/main" id="{1098560B-A401-4621-BC3A-1938863C9ADE}"/>
              </a:ext>
              <a:ext uri="{C183D7F6-B498-43B3-948B-1728B52AA6E4}">
                <adec:decorative xmlns:adec="http://schemas.microsoft.com/office/drawing/2017/decorative" val="1"/>
              </a:ext>
            </a:extLst>
          </p:cNvPr>
          <p:cNvSpPr/>
          <p:nvPr/>
        </p:nvSpPr>
        <p:spPr>
          <a:xfrm>
            <a:off x="4455994" y="1552657"/>
            <a:ext cx="4101328" cy="21030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2C0F7775-2C1D-4C7F-8543-6307F8CE67DA}"/>
              </a:ext>
              <a:ext uri="{C183D7F6-B498-43B3-948B-1728B52AA6E4}">
                <adec:decorative xmlns:adec="http://schemas.microsoft.com/office/drawing/2017/decorative" val="1"/>
              </a:ext>
            </a:extLst>
          </p:cNvPr>
          <p:cNvSpPr/>
          <p:nvPr/>
        </p:nvSpPr>
        <p:spPr>
          <a:xfrm>
            <a:off x="4455994" y="1825104"/>
            <a:ext cx="1751128" cy="210304"/>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F74B3362-B999-47D0-9255-0CA81E236E67}"/>
              </a:ext>
              <a:ext uri="{C183D7F6-B498-43B3-948B-1728B52AA6E4}">
                <adec:decorative xmlns:adec="http://schemas.microsoft.com/office/drawing/2017/decorative" val="1"/>
              </a:ext>
            </a:extLst>
          </p:cNvPr>
          <p:cNvSpPr/>
          <p:nvPr/>
        </p:nvSpPr>
        <p:spPr>
          <a:xfrm>
            <a:off x="5000552" y="2097551"/>
            <a:ext cx="1584198" cy="210304"/>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3D63A6B1-188D-427D-AFA5-AE4015A34681}"/>
              </a:ext>
              <a:ext uri="{C183D7F6-B498-43B3-948B-1728B52AA6E4}">
                <adec:decorative xmlns:adec="http://schemas.microsoft.com/office/drawing/2017/decorative" val="1"/>
              </a:ext>
            </a:extLst>
          </p:cNvPr>
          <p:cNvSpPr/>
          <p:nvPr/>
        </p:nvSpPr>
        <p:spPr>
          <a:xfrm>
            <a:off x="5453398" y="2369998"/>
            <a:ext cx="1300210" cy="210304"/>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CD3EA462-3A15-42B8-A53C-56C51EEEEF77}"/>
              </a:ext>
              <a:ext uri="{C183D7F6-B498-43B3-948B-1728B52AA6E4}">
                <adec:decorative xmlns:adec="http://schemas.microsoft.com/office/drawing/2017/decorative" val="1"/>
              </a:ext>
            </a:extLst>
          </p:cNvPr>
          <p:cNvSpPr/>
          <p:nvPr/>
        </p:nvSpPr>
        <p:spPr>
          <a:xfrm>
            <a:off x="6022914" y="2642445"/>
            <a:ext cx="1317093" cy="210304"/>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39C257FA-FBDE-481F-BBC1-38474F71410D}"/>
              </a:ext>
              <a:ext uri="{C183D7F6-B498-43B3-948B-1728B52AA6E4}">
                <adec:decorative xmlns:adec="http://schemas.microsoft.com/office/drawing/2017/decorative" val="1"/>
              </a:ext>
            </a:extLst>
          </p:cNvPr>
          <p:cNvSpPr/>
          <p:nvPr/>
        </p:nvSpPr>
        <p:spPr>
          <a:xfrm>
            <a:off x="5453397" y="2922897"/>
            <a:ext cx="5681148" cy="21030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9E21F7DA-1844-47FD-9FB7-929B9AC5E5B6}"/>
              </a:ext>
              <a:ext uri="{C183D7F6-B498-43B3-948B-1728B52AA6E4}">
                <adec:decorative xmlns:adec="http://schemas.microsoft.com/office/drawing/2017/decorative" val="1"/>
              </a:ext>
            </a:extLst>
          </p:cNvPr>
          <p:cNvSpPr/>
          <p:nvPr/>
        </p:nvSpPr>
        <p:spPr>
          <a:xfrm>
            <a:off x="5453397" y="3203349"/>
            <a:ext cx="2142022" cy="210304"/>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2325D245-5BB0-4AF7-BABE-D03C722EF39F}"/>
              </a:ext>
              <a:ext uri="{C183D7F6-B498-43B3-948B-1728B52AA6E4}">
                <adec:decorative xmlns:adec="http://schemas.microsoft.com/office/drawing/2017/decorative" val="1"/>
              </a:ext>
            </a:extLst>
          </p:cNvPr>
          <p:cNvSpPr/>
          <p:nvPr/>
        </p:nvSpPr>
        <p:spPr>
          <a:xfrm>
            <a:off x="7340007" y="3483801"/>
            <a:ext cx="1619638" cy="210304"/>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6E29D6A9-3C0D-4A78-87DE-29C88F7DD142}"/>
              </a:ext>
              <a:ext uri="{C183D7F6-B498-43B3-948B-1728B52AA6E4}">
                <adec:decorative xmlns:adec="http://schemas.microsoft.com/office/drawing/2017/decorative" val="1"/>
              </a:ext>
            </a:extLst>
          </p:cNvPr>
          <p:cNvSpPr/>
          <p:nvPr/>
        </p:nvSpPr>
        <p:spPr>
          <a:xfrm>
            <a:off x="8503425" y="3764253"/>
            <a:ext cx="1805698" cy="210304"/>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708667F1-A7FB-4CC6-9A3D-359854A74BFC}"/>
              </a:ext>
              <a:ext uri="{C183D7F6-B498-43B3-948B-1728B52AA6E4}">
                <adec:decorative xmlns:adec="http://schemas.microsoft.com/office/drawing/2017/decorative" val="1"/>
              </a:ext>
            </a:extLst>
          </p:cNvPr>
          <p:cNvSpPr/>
          <p:nvPr/>
        </p:nvSpPr>
        <p:spPr>
          <a:xfrm>
            <a:off x="9036021" y="4044704"/>
            <a:ext cx="2098523" cy="210304"/>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2234C003-C5B4-49C5-9E4D-C3217A1E435A}"/>
              </a:ext>
              <a:ext uri="{C183D7F6-B498-43B3-948B-1728B52AA6E4}">
                <adec:decorative xmlns:adec="http://schemas.microsoft.com/office/drawing/2017/decorative" val="1"/>
              </a:ext>
            </a:extLst>
          </p:cNvPr>
          <p:cNvSpPr/>
          <p:nvPr/>
        </p:nvSpPr>
        <p:spPr>
          <a:xfrm>
            <a:off x="7410450" y="4314705"/>
            <a:ext cx="4445000" cy="21030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FA0274D9-25D9-47AC-81BA-9BA6D7009B64}"/>
              </a:ext>
              <a:ext uri="{C183D7F6-B498-43B3-948B-1728B52AA6E4}">
                <adec:decorative xmlns:adec="http://schemas.microsoft.com/office/drawing/2017/decorative" val="1"/>
              </a:ext>
            </a:extLst>
          </p:cNvPr>
          <p:cNvSpPr/>
          <p:nvPr/>
        </p:nvSpPr>
        <p:spPr>
          <a:xfrm>
            <a:off x="7410450" y="4593415"/>
            <a:ext cx="1549195" cy="210304"/>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2820D54E-00FD-4142-954A-E85E05E79A06}"/>
              </a:ext>
              <a:ext uri="{C183D7F6-B498-43B3-948B-1728B52AA6E4}">
                <adec:decorative xmlns:adec="http://schemas.microsoft.com/office/drawing/2017/decorative" val="1"/>
              </a:ext>
            </a:extLst>
          </p:cNvPr>
          <p:cNvSpPr/>
          <p:nvPr/>
        </p:nvSpPr>
        <p:spPr>
          <a:xfrm>
            <a:off x="8503426" y="4872125"/>
            <a:ext cx="1503354" cy="210304"/>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429A4623-5A7B-4B1B-8F23-1125B9A87A59}"/>
              </a:ext>
              <a:ext uri="{C183D7F6-B498-43B3-948B-1728B52AA6E4}">
                <adec:decorative xmlns:adec="http://schemas.microsoft.com/office/drawing/2017/decorative" val="1"/>
              </a:ext>
            </a:extLst>
          </p:cNvPr>
          <p:cNvSpPr/>
          <p:nvPr/>
        </p:nvSpPr>
        <p:spPr>
          <a:xfrm>
            <a:off x="9632950" y="5150835"/>
            <a:ext cx="1318800" cy="210304"/>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4" name="Rectangle 53">
            <a:extLst>
              <a:ext uri="{FF2B5EF4-FFF2-40B4-BE49-F238E27FC236}">
                <a16:creationId xmlns:a16="http://schemas.microsoft.com/office/drawing/2014/main" id="{A7B73390-92A3-46B7-A5AD-E7DBE66EA2FD}"/>
              </a:ext>
              <a:ext uri="{C183D7F6-B498-43B3-948B-1728B52AA6E4}">
                <adec:decorative xmlns:adec="http://schemas.microsoft.com/office/drawing/2017/decorative" val="1"/>
              </a:ext>
            </a:extLst>
          </p:cNvPr>
          <p:cNvSpPr/>
          <p:nvPr/>
        </p:nvSpPr>
        <p:spPr>
          <a:xfrm>
            <a:off x="10132142" y="5429552"/>
            <a:ext cx="1723307" cy="210304"/>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6" name="Text Box 46">
            <a:extLst>
              <a:ext uri="{FF2B5EF4-FFF2-40B4-BE49-F238E27FC236}">
                <a16:creationId xmlns:a16="http://schemas.microsoft.com/office/drawing/2014/main" id="{6BD47E2F-D998-4FA4-9BF4-9AC67F9F1AE7}"/>
              </a:ext>
              <a:ext uri="{C183D7F6-B498-43B3-948B-1728B52AA6E4}">
                <adec:decorative xmlns:adec="http://schemas.microsoft.com/office/drawing/2017/decorative" val="0"/>
              </a:ext>
            </a:extLst>
          </p:cNvPr>
          <p:cNvSpPr txBox="1">
            <a:spLocks noChangeArrowheads="1"/>
          </p:cNvSpPr>
          <p:nvPr>
            <p:custDataLst>
              <p:tags r:id="rId1"/>
            </p:custDataLst>
          </p:nvPr>
        </p:nvSpPr>
        <p:spPr bwMode="auto">
          <a:xfrm>
            <a:off x="7052922" y="5612926"/>
            <a:ext cx="1132125" cy="253222"/>
          </a:xfrm>
          <a:prstGeom prst="rect">
            <a:avLst/>
          </a:prstGeom>
          <a:noFill/>
          <a:ln w="6350">
            <a:noFill/>
            <a:miter lim="800000"/>
            <a:headEnd/>
            <a:tailEnd/>
          </a:ln>
          <a:effectLst/>
        </p:spPr>
        <p:txBody>
          <a:bodyPr lIns="45720" rIns="45720"/>
          <a:lstStyle/>
          <a:p>
            <a:pPr eaLnBrk="0" hangingPunct="0">
              <a:spcBef>
                <a:spcPct val="0"/>
              </a:spcBef>
              <a:buClr>
                <a:schemeClr val="accent6"/>
              </a:buClr>
              <a:buFont typeface="Wingdings" pitchFamily="2" charset="2"/>
              <a:buChar char="u"/>
            </a:pPr>
            <a:r>
              <a:rPr lang="en-US" sz="1400" dirty="0">
                <a:solidFill>
                  <a:schemeClr val="tx1"/>
                </a:solidFill>
              </a:rPr>
              <a:t> 13.03.02</a:t>
            </a:r>
          </a:p>
        </p:txBody>
      </p:sp>
      <p:sp>
        <p:nvSpPr>
          <p:cNvPr id="58" name="Text Box 47">
            <a:extLst>
              <a:ext uri="{FF2B5EF4-FFF2-40B4-BE49-F238E27FC236}">
                <a16:creationId xmlns:a16="http://schemas.microsoft.com/office/drawing/2014/main" id="{19B8CDD1-ECD9-4536-A355-0EF84CEC524B}"/>
              </a:ext>
            </a:extLst>
          </p:cNvPr>
          <p:cNvSpPr txBox="1">
            <a:spLocks noChangeArrowheads="1"/>
          </p:cNvSpPr>
          <p:nvPr>
            <p:custDataLst>
              <p:tags r:id="rId2"/>
            </p:custDataLst>
          </p:nvPr>
        </p:nvSpPr>
        <p:spPr bwMode="auto">
          <a:xfrm>
            <a:off x="9742076" y="5612926"/>
            <a:ext cx="1134094" cy="253222"/>
          </a:xfrm>
          <a:prstGeom prst="rect">
            <a:avLst/>
          </a:prstGeom>
          <a:noFill/>
          <a:ln w="6350">
            <a:noFill/>
            <a:miter lim="800000"/>
            <a:headEnd/>
            <a:tailEnd/>
          </a:ln>
          <a:effectLst/>
        </p:spPr>
        <p:txBody>
          <a:bodyPr lIns="45720" rIns="45720"/>
          <a:lstStyle/>
          <a:p>
            <a:pPr eaLnBrk="0" hangingPunct="0">
              <a:spcBef>
                <a:spcPct val="0"/>
              </a:spcBef>
              <a:buClr>
                <a:schemeClr val="accent6"/>
              </a:buClr>
              <a:buFont typeface="Wingdings" pitchFamily="2" charset="2"/>
              <a:buChar char="u"/>
            </a:pPr>
            <a:r>
              <a:rPr lang="en-US" sz="1400" dirty="0">
                <a:solidFill>
                  <a:schemeClr val="tx1"/>
                </a:solidFill>
              </a:rPr>
              <a:t> 15.05.02</a:t>
            </a:r>
          </a:p>
        </p:txBody>
      </p:sp>
      <p:sp>
        <p:nvSpPr>
          <p:cNvPr id="6" name="Footer Placeholder 5">
            <a:extLst>
              <a:ext uri="{FF2B5EF4-FFF2-40B4-BE49-F238E27FC236}">
                <a16:creationId xmlns:a16="http://schemas.microsoft.com/office/drawing/2014/main" id="{F9A79216-A4E7-448F-B368-626C856858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7" name="Slide Number Placeholder 6">
            <a:extLst>
              <a:ext uri="{FF2B5EF4-FFF2-40B4-BE49-F238E27FC236}">
                <a16:creationId xmlns:a16="http://schemas.microsoft.com/office/drawing/2014/main" id="{514E28BB-09C7-4C37-8528-CB8A5B98315E}"/>
              </a:ext>
            </a:extLst>
          </p:cNvPr>
          <p:cNvSpPr>
            <a:spLocks noGrp="1"/>
          </p:cNvSpPr>
          <p:nvPr>
            <p:ph type="sldNum" sz="quarter" idx="10"/>
          </p:nvPr>
        </p:nvSpPr>
        <p:spPr/>
        <p:txBody>
          <a:bodyPr/>
          <a:lstStyle/>
          <a:p>
            <a:fld id="{1F90F471-3972-4120-B8B3-0237DE626C35}" type="slidenum">
              <a:rPr lang="en-US" smtClean="0"/>
              <a:pPr/>
              <a:t>376</a:t>
            </a:fld>
            <a:endParaRPr lang="en-US" dirty="0"/>
          </a:p>
        </p:txBody>
      </p:sp>
    </p:spTree>
    <p:extLst>
      <p:ext uri="{BB962C8B-B14F-4D97-AF65-F5344CB8AC3E}">
        <p14:creationId xmlns:p14="http://schemas.microsoft.com/office/powerpoint/2010/main" val="537277778"/>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Program Status Dashboard</a:t>
            </a:r>
          </a:p>
        </p:txBody>
      </p:sp>
      <p:sp>
        <p:nvSpPr>
          <p:cNvPr id="44" name="Rectangle 83">
            <a:extLst>
              <a:ext uri="{FF2B5EF4-FFF2-40B4-BE49-F238E27FC236}">
                <a16:creationId xmlns:a16="http://schemas.microsoft.com/office/drawing/2014/main" id="{CE88FA97-245E-4FFC-9BA2-8F8CD9F48E23}"/>
              </a:ext>
              <a:ext uri="{C183D7F6-B498-43B3-948B-1728B52AA6E4}">
                <adec:decorative xmlns:adec="http://schemas.microsoft.com/office/drawing/2017/decorative" val="1"/>
              </a:ext>
            </a:extLst>
          </p:cNvPr>
          <p:cNvSpPr>
            <a:spLocks noChangeArrowheads="1"/>
          </p:cNvSpPr>
          <p:nvPr/>
        </p:nvSpPr>
        <p:spPr bwMode="auto">
          <a:xfrm rot="10800000">
            <a:off x="345018" y="1211553"/>
            <a:ext cx="323850" cy="711200"/>
          </a:xfrm>
          <a:prstGeom prst="rect">
            <a:avLst/>
          </a:prstGeom>
          <a:solidFill>
            <a:schemeClr val="tx2">
              <a:lumMod val="20000"/>
              <a:lumOff val="80000"/>
            </a:schemeClr>
          </a:solidFill>
          <a:ln w="9525">
            <a:noFill/>
            <a:miter lim="800000"/>
            <a:headEnd/>
            <a:tailEnd/>
          </a:ln>
          <a:effectLst/>
        </p:spPr>
        <p:txBody>
          <a:bodyPr wrap="none" anchor="ctr"/>
          <a:lstStyle/>
          <a:p>
            <a:pPr algn="l" rtl="0" fontAlgn="base">
              <a:spcBef>
                <a:spcPct val="0"/>
              </a:spcBef>
              <a:spcAft>
                <a:spcPct val="0"/>
              </a:spcAft>
              <a:defRPr/>
            </a:pPr>
            <a:endParaRPr lang="en-US" sz="1000">
              <a:solidFill>
                <a:srgbClr val="000000"/>
              </a:solidFill>
              <a:latin typeface="Arial" charset="0"/>
            </a:endParaRPr>
          </a:p>
        </p:txBody>
      </p:sp>
      <p:sp>
        <p:nvSpPr>
          <p:cNvPr id="45" name="Oval 84">
            <a:extLst>
              <a:ext uri="{FF2B5EF4-FFF2-40B4-BE49-F238E27FC236}">
                <a16:creationId xmlns:a16="http://schemas.microsoft.com/office/drawing/2014/main" id="{A47035B1-8986-4D9F-A49E-D78311FE1DBE}"/>
              </a:ext>
              <a:ext uri="{C183D7F6-B498-43B3-948B-1728B52AA6E4}">
                <adec:decorative xmlns:adec="http://schemas.microsoft.com/office/drawing/2017/decorative" val="1"/>
              </a:ext>
            </a:extLst>
          </p:cNvPr>
          <p:cNvSpPr>
            <a:spLocks noChangeArrowheads="1"/>
          </p:cNvSpPr>
          <p:nvPr/>
        </p:nvSpPr>
        <p:spPr bwMode="auto">
          <a:xfrm rot="10800000">
            <a:off x="419017" y="1682428"/>
            <a:ext cx="180000" cy="180000"/>
          </a:xfrm>
          <a:prstGeom prst="ellipse">
            <a:avLst/>
          </a:prstGeom>
          <a:solidFill>
            <a:schemeClr val="accent4"/>
          </a:solidFill>
          <a:ln w="9525" algn="ctr">
            <a:noFill/>
            <a:round/>
            <a:headEnd/>
            <a:tailEnd/>
          </a:ln>
          <a:effectLst/>
        </p:spPr>
        <p:txBody>
          <a:bodyPr wrap="none" anchor="ctr"/>
          <a:lstStyle/>
          <a:p>
            <a:pPr algn="l" rtl="0" fontAlgn="base">
              <a:spcBef>
                <a:spcPct val="0"/>
              </a:spcBef>
              <a:spcAft>
                <a:spcPct val="0"/>
              </a:spcAft>
              <a:defRPr/>
            </a:pPr>
            <a:endParaRPr lang="en-US" sz="1000">
              <a:solidFill>
                <a:srgbClr val="000000"/>
              </a:solidFill>
              <a:latin typeface="Arial" charset="0"/>
            </a:endParaRPr>
          </a:p>
        </p:txBody>
      </p:sp>
      <p:sp>
        <p:nvSpPr>
          <p:cNvPr id="46" name="Oval 85">
            <a:extLst>
              <a:ext uri="{FF2B5EF4-FFF2-40B4-BE49-F238E27FC236}">
                <a16:creationId xmlns:a16="http://schemas.microsoft.com/office/drawing/2014/main" id="{40772388-6A09-4ED2-B5C7-8716F1AD7E1D}"/>
              </a:ext>
              <a:ext uri="{C183D7F6-B498-43B3-948B-1728B52AA6E4}">
                <adec:decorative xmlns:adec="http://schemas.microsoft.com/office/drawing/2017/decorative" val="1"/>
              </a:ext>
            </a:extLst>
          </p:cNvPr>
          <p:cNvSpPr>
            <a:spLocks noChangeArrowheads="1"/>
          </p:cNvSpPr>
          <p:nvPr/>
        </p:nvSpPr>
        <p:spPr bwMode="auto">
          <a:xfrm rot="10800000">
            <a:off x="419632" y="1474466"/>
            <a:ext cx="179387" cy="180000"/>
          </a:xfrm>
          <a:prstGeom prst="ellipse">
            <a:avLst/>
          </a:prstGeom>
          <a:noFill/>
          <a:ln w="9525" algn="ctr">
            <a:solidFill>
              <a:schemeClr val="accent5"/>
            </a:solidFill>
            <a:round/>
            <a:headEnd/>
            <a:tailEnd/>
          </a:ln>
          <a:effectLst/>
        </p:spPr>
        <p:txBody>
          <a:bodyPr wrap="none" anchor="ctr"/>
          <a:lstStyle/>
          <a:p>
            <a:pPr algn="l" rtl="0" fontAlgn="base">
              <a:spcBef>
                <a:spcPct val="0"/>
              </a:spcBef>
              <a:spcAft>
                <a:spcPct val="0"/>
              </a:spcAft>
              <a:defRPr/>
            </a:pPr>
            <a:endParaRPr lang="en-US" sz="1000">
              <a:solidFill>
                <a:srgbClr val="000000"/>
              </a:solidFill>
              <a:latin typeface="Arial" charset="0"/>
            </a:endParaRPr>
          </a:p>
        </p:txBody>
      </p:sp>
      <p:sp>
        <p:nvSpPr>
          <p:cNvPr id="47" name="Oval 86">
            <a:extLst>
              <a:ext uri="{FF2B5EF4-FFF2-40B4-BE49-F238E27FC236}">
                <a16:creationId xmlns:a16="http://schemas.microsoft.com/office/drawing/2014/main" id="{DDE57C1A-CC44-4E4A-B488-F13D39DE9AE4}"/>
              </a:ext>
              <a:ext uri="{C183D7F6-B498-43B3-948B-1728B52AA6E4}">
                <adec:decorative xmlns:adec="http://schemas.microsoft.com/office/drawing/2017/decorative" val="1"/>
              </a:ext>
            </a:extLst>
          </p:cNvPr>
          <p:cNvSpPr>
            <a:spLocks noChangeArrowheads="1"/>
          </p:cNvSpPr>
          <p:nvPr/>
        </p:nvSpPr>
        <p:spPr bwMode="auto">
          <a:xfrm rot="10800000">
            <a:off x="419632" y="1266503"/>
            <a:ext cx="179387" cy="180000"/>
          </a:xfrm>
          <a:prstGeom prst="ellipse">
            <a:avLst/>
          </a:prstGeom>
          <a:noFill/>
          <a:ln w="9525" algn="ctr">
            <a:solidFill>
              <a:schemeClr val="accent5"/>
            </a:solidFill>
            <a:round/>
            <a:headEnd/>
            <a:tailEnd/>
          </a:ln>
          <a:effectLst/>
        </p:spPr>
        <p:txBody>
          <a:bodyPr wrap="none" anchor="ctr"/>
          <a:lstStyle/>
          <a:p>
            <a:pPr algn="l" rtl="0" fontAlgn="base">
              <a:spcBef>
                <a:spcPct val="0"/>
              </a:spcBef>
              <a:spcAft>
                <a:spcPct val="0"/>
              </a:spcAft>
              <a:defRPr/>
            </a:pPr>
            <a:endParaRPr lang="en-US" sz="1000">
              <a:solidFill>
                <a:srgbClr val="000000"/>
              </a:solidFill>
              <a:latin typeface="Arial" charset="0"/>
            </a:endParaRPr>
          </a:p>
        </p:txBody>
      </p:sp>
      <p:sp>
        <p:nvSpPr>
          <p:cNvPr id="41" name="Rectangle 2">
            <a:extLst>
              <a:ext uri="{FF2B5EF4-FFF2-40B4-BE49-F238E27FC236}">
                <a16:creationId xmlns:a16="http://schemas.microsoft.com/office/drawing/2014/main" id="{83B63532-501A-42A5-B405-8340C5D82E72}"/>
              </a:ext>
            </a:extLst>
          </p:cNvPr>
          <p:cNvSpPr txBox="1">
            <a:spLocks noChangeArrowheads="1"/>
          </p:cNvSpPr>
          <p:nvPr/>
        </p:nvSpPr>
        <p:spPr bwMode="auto">
          <a:xfrm>
            <a:off x="805393" y="1238678"/>
            <a:ext cx="5341938" cy="6546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762000" fontAlgn="base">
              <a:spcBef>
                <a:spcPts val="100"/>
              </a:spcBef>
              <a:spcAft>
                <a:spcPts val="100"/>
              </a:spcAft>
              <a:tabLst>
                <a:tab pos="2147888" algn="l"/>
              </a:tabLst>
              <a:defRPr/>
            </a:pPr>
            <a:r>
              <a:rPr lang="en-US" sz="1400" b="1" dirty="0">
                <a:solidFill>
                  <a:srgbClr val="000000"/>
                </a:solidFill>
              </a:rPr>
              <a:t>Workstream: </a:t>
            </a:r>
            <a:r>
              <a:rPr lang="en-US" sz="1400" dirty="0">
                <a:solidFill>
                  <a:srgbClr val="000000"/>
                </a:solidFill>
              </a:rPr>
              <a:t>&lt;Workstream Name&gt;</a:t>
            </a:r>
            <a:br>
              <a:rPr lang="en-US" sz="1400" dirty="0">
                <a:solidFill>
                  <a:srgbClr val="000000"/>
                </a:solidFill>
              </a:rPr>
            </a:br>
            <a:r>
              <a:rPr lang="en-US" sz="1400" b="1" dirty="0">
                <a:solidFill>
                  <a:srgbClr val="000000"/>
                </a:solidFill>
              </a:rPr>
              <a:t>Workstream Lead: </a:t>
            </a:r>
            <a:r>
              <a:rPr lang="en-US" sz="1400" dirty="0">
                <a:solidFill>
                  <a:srgbClr val="000000"/>
                </a:solidFill>
              </a:rPr>
              <a:t>&lt; Name&gt;</a:t>
            </a:r>
          </a:p>
        </p:txBody>
      </p:sp>
      <p:graphicFrame>
        <p:nvGraphicFramePr>
          <p:cNvPr id="43" name="Group 69" descr="Date details">
            <a:extLst>
              <a:ext uri="{FF2B5EF4-FFF2-40B4-BE49-F238E27FC236}">
                <a16:creationId xmlns:a16="http://schemas.microsoft.com/office/drawing/2014/main" id="{A4DC3A72-E101-4255-8413-610FA93549E3}"/>
              </a:ext>
            </a:extLst>
          </p:cNvPr>
          <p:cNvGraphicFramePr>
            <a:graphicFrameLocks noGrp="1"/>
          </p:cNvGraphicFramePr>
          <p:nvPr>
            <p:extLst>
              <p:ext uri="{D42A27DB-BD31-4B8C-83A1-F6EECF244321}">
                <p14:modId xmlns:p14="http://schemas.microsoft.com/office/powerpoint/2010/main" val="4004566115"/>
              </p:ext>
            </p:extLst>
          </p:nvPr>
        </p:nvGraphicFramePr>
        <p:xfrm>
          <a:off x="9345883" y="1379726"/>
          <a:ext cx="2454396" cy="489860"/>
        </p:xfrm>
        <a:graphic>
          <a:graphicData uri="http://schemas.openxmlformats.org/drawingml/2006/table">
            <a:tbl>
              <a:tblPr firstRow="1"/>
              <a:tblGrid>
                <a:gridCol w="1190241">
                  <a:extLst>
                    <a:ext uri="{9D8B030D-6E8A-4147-A177-3AD203B41FA5}">
                      <a16:colId xmlns:a16="http://schemas.microsoft.com/office/drawing/2014/main" val="20000"/>
                    </a:ext>
                  </a:extLst>
                </a:gridCol>
                <a:gridCol w="1264155">
                  <a:extLst>
                    <a:ext uri="{9D8B030D-6E8A-4147-A177-3AD203B41FA5}">
                      <a16:colId xmlns:a16="http://schemas.microsoft.com/office/drawing/2014/main" val="20001"/>
                    </a:ext>
                  </a:extLst>
                </a:gridCol>
              </a:tblGrid>
              <a:tr h="228692">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050" b="1" i="0" u="none" strike="noStrike" cap="none" normalizeH="0" baseline="0" dirty="0">
                          <a:ln>
                            <a:noFill/>
                          </a:ln>
                          <a:solidFill>
                            <a:schemeClr val="bg1"/>
                          </a:solidFill>
                          <a:effectLst/>
                          <a:latin typeface="+mn-lt"/>
                        </a:rPr>
                        <a:t>Start date:</a:t>
                      </a:r>
                    </a:p>
                  </a:txBody>
                  <a:tcPr marL="42455" marR="0" marT="42455" marB="42455" anchor="ctr"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050" b="1" i="0" u="none" strike="noStrike" cap="none" normalizeH="0" baseline="0" dirty="0">
                          <a:ln>
                            <a:noFill/>
                          </a:ln>
                          <a:solidFill>
                            <a:schemeClr val="bg1"/>
                          </a:solidFill>
                          <a:effectLst/>
                          <a:latin typeface="+mn-lt"/>
                        </a:rPr>
                        <a:t>End date:</a:t>
                      </a:r>
                    </a:p>
                  </a:txBody>
                  <a:tcPr marL="42455" marR="0" marT="42455" marB="42455" anchor="ctr"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228692">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050" b="0" i="0" u="none" strike="noStrike" cap="none" normalizeH="0" baseline="0" dirty="0">
                          <a:ln>
                            <a:noFill/>
                          </a:ln>
                          <a:solidFill>
                            <a:schemeClr val="tx1"/>
                          </a:solidFill>
                          <a:effectLst/>
                          <a:latin typeface="+mn-lt"/>
                        </a:rPr>
                        <a:t>DD.MM.YYYY</a:t>
                      </a:r>
                    </a:p>
                  </a:txBody>
                  <a:tcPr marL="42455" marR="0" marT="42455" marB="42455"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050" b="0" i="0" u="none" strike="noStrike" cap="none" normalizeH="0" baseline="0" dirty="0">
                          <a:ln>
                            <a:noFill/>
                          </a:ln>
                          <a:solidFill>
                            <a:schemeClr val="tx1"/>
                          </a:solidFill>
                          <a:effectLst/>
                          <a:latin typeface="+mn-lt"/>
                        </a:rPr>
                        <a:t>DD.MM.YYYY</a:t>
                      </a:r>
                    </a:p>
                  </a:txBody>
                  <a:tcPr marL="42455" marR="0" marT="42455" marB="42455"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graphicFrame>
        <p:nvGraphicFramePr>
          <p:cNvPr id="42" name="Group 97" descr="Dashboard details">
            <a:extLst>
              <a:ext uri="{FF2B5EF4-FFF2-40B4-BE49-F238E27FC236}">
                <a16:creationId xmlns:a16="http://schemas.microsoft.com/office/drawing/2014/main" id="{05285912-2E6E-4026-B234-4FF535D34CC1}"/>
              </a:ext>
            </a:extLst>
          </p:cNvPr>
          <p:cNvGraphicFramePr>
            <a:graphicFrameLocks noGrp="1"/>
          </p:cNvGraphicFramePr>
          <p:nvPr>
            <p:extLst>
              <p:ext uri="{D42A27DB-BD31-4B8C-83A1-F6EECF244321}">
                <p14:modId xmlns:p14="http://schemas.microsoft.com/office/powerpoint/2010/main" val="3218949905"/>
              </p:ext>
            </p:extLst>
          </p:nvPr>
        </p:nvGraphicFramePr>
        <p:xfrm>
          <a:off x="381001" y="2233856"/>
          <a:ext cx="11430001" cy="3996441"/>
        </p:xfrm>
        <a:graphic>
          <a:graphicData uri="http://schemas.openxmlformats.org/drawingml/2006/table">
            <a:tbl>
              <a:tblPr firstRow="1"/>
              <a:tblGrid>
                <a:gridCol w="2156024">
                  <a:extLst>
                    <a:ext uri="{9D8B030D-6E8A-4147-A177-3AD203B41FA5}">
                      <a16:colId xmlns:a16="http://schemas.microsoft.com/office/drawing/2014/main" val="20000"/>
                    </a:ext>
                  </a:extLst>
                </a:gridCol>
                <a:gridCol w="564977">
                  <a:extLst>
                    <a:ext uri="{9D8B030D-6E8A-4147-A177-3AD203B41FA5}">
                      <a16:colId xmlns:a16="http://schemas.microsoft.com/office/drawing/2014/main" val="20001"/>
                    </a:ext>
                  </a:extLst>
                </a:gridCol>
                <a:gridCol w="2796079">
                  <a:extLst>
                    <a:ext uri="{9D8B030D-6E8A-4147-A177-3AD203B41FA5}">
                      <a16:colId xmlns:a16="http://schemas.microsoft.com/office/drawing/2014/main" val="20002"/>
                    </a:ext>
                  </a:extLst>
                </a:gridCol>
                <a:gridCol w="4665346">
                  <a:extLst>
                    <a:ext uri="{9D8B030D-6E8A-4147-A177-3AD203B41FA5}">
                      <a16:colId xmlns:a16="http://schemas.microsoft.com/office/drawing/2014/main" val="20003"/>
                    </a:ext>
                  </a:extLst>
                </a:gridCol>
                <a:gridCol w="1247575">
                  <a:extLst>
                    <a:ext uri="{9D8B030D-6E8A-4147-A177-3AD203B41FA5}">
                      <a16:colId xmlns:a16="http://schemas.microsoft.com/office/drawing/2014/main" val="20004"/>
                    </a:ext>
                  </a:extLst>
                </a:gridCol>
              </a:tblGrid>
              <a:tr h="241931">
                <a:tc gridSpan="2">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184150" algn="l" defTabSz="914400" rtl="0" eaLnBrk="1" fontAlgn="base" latinLnBrk="0" hangingPunct="1">
                        <a:lnSpc>
                          <a:spcPct val="100000"/>
                        </a:lnSpc>
                        <a:spcBef>
                          <a:spcPts val="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mj-lt"/>
                        </a:rPr>
                        <a:t>Status</a:t>
                      </a:r>
                    </a:p>
                  </a:txBody>
                  <a:tcPr marL="72000" marR="36000" marT="36000" marB="36000" anchor="ctr"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cap="flat">
                      <a:noFill/>
                    </a:lnT>
                    <a:lnB w="6350" cap="flat" cmpd="sng" algn="ctr">
                      <a:solidFill>
                        <a:schemeClr val="accent5"/>
                      </a:solidFill>
                      <a:prstDash val="lgDash"/>
                      <a:round/>
                      <a:headEnd type="none" w="med" len="med"/>
                      <a:tailEnd type="none" w="med" len="med"/>
                    </a:lnB>
                    <a:lnTlToBr>
                      <a:noFill/>
                    </a:lnTlToBr>
                    <a:lnBlToTr>
                      <a:noFill/>
                    </a:lnBlToTr>
                    <a:solidFill>
                      <a:schemeClr val="accent1"/>
                    </a:solidFill>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ts val="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mj-lt"/>
                          <a:sym typeface="Webdings" pitchFamily="18" charset="2"/>
                        </a:rPr>
                        <a:t>Comment</a:t>
                      </a:r>
                      <a:endParaRPr kumimoji="0" lang="en-US" sz="1100" b="1" i="0" u="none" strike="noStrike" cap="none" normalizeH="0" baseline="0" dirty="0">
                        <a:ln>
                          <a:noFill/>
                        </a:ln>
                        <a:solidFill>
                          <a:schemeClr val="bg1"/>
                        </a:solidFill>
                        <a:effectLst/>
                        <a:latin typeface="+mj-lt"/>
                      </a:endParaRPr>
                    </a:p>
                  </a:txBody>
                  <a:tcPr marL="72000" marR="36000" marT="36000" marB="36000" anchor="ctr"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cap="flat">
                      <a:noFill/>
                    </a:lnT>
                    <a:lnB w="6350" cap="flat" cmpd="sng" algn="ctr">
                      <a:solidFill>
                        <a:schemeClr val="accent5"/>
                      </a:solidFill>
                      <a:prstDash val="lgDash"/>
                      <a:round/>
                      <a:headEnd type="none" w="med" len="med"/>
                      <a:tailEnd type="none" w="med" len="med"/>
                    </a:lnB>
                    <a:lnTlToBr>
                      <a:noFill/>
                    </a:lnTlToBr>
                    <a:lnBlToTr>
                      <a:noFill/>
                    </a:lnBlToTr>
                    <a:solidFill>
                      <a:schemeClr val="accent1"/>
                    </a:solidFill>
                  </a:tcPr>
                </a:tc>
                <a:tc gridSpan="2">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95250" algn="l" defTabSz="914400" rtl="0" eaLnBrk="1" fontAlgn="base" latinLnBrk="0" hangingPunct="1">
                        <a:lnSpc>
                          <a:spcPct val="100000"/>
                        </a:lnSpc>
                        <a:spcBef>
                          <a:spcPts val="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mj-lt"/>
                        </a:rPr>
                        <a:t>Progress Since Last Report</a:t>
                      </a:r>
                    </a:p>
                  </a:txBody>
                  <a:tcPr marL="72000" marR="36000" marT="36000" marB="36000" anchor="ctr" horzOverflow="overflow">
                    <a:lnL w="6350" cap="flat" cmpd="sng" algn="ctr">
                      <a:solidFill>
                        <a:schemeClr val="accent1"/>
                      </a:solidFill>
                      <a:prstDash val="lgDash"/>
                      <a:round/>
                      <a:headEnd type="none" w="med" len="med"/>
                      <a:tailEnd type="none" w="med" len="med"/>
                    </a:lnL>
                    <a:lnR cap="flat">
                      <a:noFill/>
                    </a:lnR>
                    <a:lnT cap="flat">
                      <a:noFill/>
                    </a:lnT>
                    <a:lnB w="6350" cap="flat" cmpd="sng" algn="ctr">
                      <a:solidFill>
                        <a:schemeClr val="accent5"/>
                      </a:solidFill>
                      <a:prstDash val="lgDash"/>
                      <a:round/>
                      <a:headEnd type="none" w="med" len="med"/>
                      <a:tailEnd type="none" w="med" len="med"/>
                    </a:lnB>
                    <a:lnTlToBr>
                      <a:noFill/>
                    </a:lnTlToBr>
                    <a:lnBlToTr>
                      <a:noFill/>
                    </a:lnBlToTr>
                    <a:solidFill>
                      <a:schemeClr val="accent1"/>
                    </a:solidFill>
                  </a:tcPr>
                </a:tc>
                <a:tc hMerge="1">
                  <a:txBody>
                    <a:bodyPr/>
                    <a:lstStyle/>
                    <a:p>
                      <a:endParaRPr lang="en-US"/>
                    </a:p>
                  </a:txBody>
                  <a:tcPr/>
                </a:tc>
                <a:extLst>
                  <a:ext uri="{0D108BD9-81ED-4DB2-BD59-A6C34878D82A}">
                    <a16:rowId xmlns:a16="http://schemas.microsoft.com/office/drawing/2014/main" val="10000"/>
                  </a:ext>
                </a:extLst>
              </a:tr>
              <a:tr h="317598">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1" i="0" u="none" strike="noStrike" cap="none" normalizeH="0" baseline="0" dirty="0">
                          <a:ln>
                            <a:noFill/>
                          </a:ln>
                          <a:solidFill>
                            <a:schemeClr val="tx1"/>
                          </a:solidFill>
                          <a:effectLst/>
                          <a:latin typeface="+mj-lt"/>
                        </a:rPr>
                        <a:t>Time</a:t>
                      </a:r>
                    </a:p>
                  </a:txBody>
                  <a:tcPr marL="72000" marR="18000" marT="18000" marB="18000" anchor="ctr" horzOverflow="overflow">
                    <a:lnL w="12700" cap="flat" cmpd="sng" algn="ctr">
                      <a:noFill/>
                      <a:prstDash val="solid"/>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5"/>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solidFill>
                      <a:schemeClr val="tx2">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175" marR="0" lvl="0" indent="-3175" algn="ctr"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accent1"/>
                        </a:solidFill>
                        <a:effectLst/>
                        <a:latin typeface="Arial" panose="020B0503030202060203" pitchFamily="34" charset="0"/>
                        <a:sym typeface="Webdings" pitchFamily="18" charset="2"/>
                      </a:endParaRPr>
                    </a:p>
                  </a:txBody>
                  <a:tcPr marL="18000" marR="18000" marT="18000" marB="18000"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5"/>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Arial" panose="020B0503030202060203" pitchFamily="34" charset="0"/>
                      </a:endParaRPr>
                    </a:p>
                  </a:txBody>
                  <a:tcPr marL="18000" marR="18000" marT="18000" marB="18000"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5"/>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noFill/>
                  </a:tcPr>
                </a:tc>
                <a:tc rowSpan="4" gridSpan="2">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dirty="0">
                          <a:ln>
                            <a:noFill/>
                          </a:ln>
                          <a:solidFill>
                            <a:schemeClr val="tx1"/>
                          </a:solidFill>
                          <a:effectLst/>
                          <a:latin typeface="+mn-lt"/>
                        </a:rPr>
                        <a:t>&lt;Brief statement on positive changes since last report&gt;</a:t>
                      </a:r>
                    </a:p>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dirty="0">
                          <a:ln>
                            <a:noFill/>
                          </a:ln>
                          <a:solidFill>
                            <a:schemeClr val="tx1"/>
                          </a:solidFill>
                          <a:effectLst/>
                          <a:latin typeface="+mn-lt"/>
                        </a:rPr>
                        <a:t>&lt;Continue to specifically focus on  Issues/Objectives met and overall Value Delivered to the client as documented in the Value Map/Business Case&gt;</a:t>
                      </a:r>
                    </a:p>
                  </a:txBody>
                  <a:tcPr marL="72000" marR="18000" marT="18000" marB="18000" horzOverflow="overflow">
                    <a:lnL w="6350" cap="flat" cmpd="sng" algn="ctr">
                      <a:solidFill>
                        <a:schemeClr val="accent1"/>
                      </a:solidFill>
                      <a:prstDash val="lgDash"/>
                      <a:round/>
                      <a:headEnd type="none" w="med" len="med"/>
                      <a:tailEnd type="none" w="med" len="med"/>
                    </a:lnL>
                    <a:lnR cap="flat">
                      <a:noFill/>
                    </a:lnR>
                    <a:lnT w="6350" cap="flat" cmpd="sng" algn="ctr">
                      <a:solidFill>
                        <a:schemeClr val="accent5"/>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noFill/>
                  </a:tcPr>
                </a:tc>
                <a:tc rowSpan="4" hMerge="1">
                  <a:txBody>
                    <a:bodyPr/>
                    <a:lstStyle/>
                    <a:p>
                      <a:endParaRPr lang="en-US"/>
                    </a:p>
                  </a:txBody>
                  <a:tcPr/>
                </a:tc>
                <a:extLst>
                  <a:ext uri="{0D108BD9-81ED-4DB2-BD59-A6C34878D82A}">
                    <a16:rowId xmlns:a16="http://schemas.microsoft.com/office/drawing/2014/main" val="10001"/>
                  </a:ext>
                </a:extLst>
              </a:tr>
              <a:tr h="401822">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1" i="0" u="none" strike="noStrike" cap="none" normalizeH="0" baseline="0" dirty="0">
                          <a:ln>
                            <a:noFill/>
                          </a:ln>
                          <a:solidFill>
                            <a:schemeClr val="tx1"/>
                          </a:solidFill>
                          <a:effectLst/>
                          <a:latin typeface="+mj-lt"/>
                        </a:rPr>
                        <a:t>Workstream Objectives</a:t>
                      </a:r>
                    </a:p>
                  </a:txBody>
                  <a:tcPr marL="72000" marR="18000" marT="18000" marB="18000" anchor="ctr" horzOverflow="overflow">
                    <a:lnL w="12700" cap="flat" cmpd="sng" algn="ctr">
                      <a:noFill/>
                      <a:prstDash val="solid"/>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solidFill>
                      <a:schemeClr val="tx2">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175" marR="0" lvl="0" indent="-3175" algn="ctr"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accent1"/>
                        </a:solidFill>
                        <a:effectLst/>
                        <a:latin typeface="Arial" panose="020B0503030202060203" pitchFamily="34" charset="0"/>
                        <a:sym typeface="Webdings" pitchFamily="18" charset="2"/>
                      </a:endParaRPr>
                    </a:p>
                  </a:txBody>
                  <a:tcPr marL="18000" marR="18000" marT="18000" marB="18000"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Arial" panose="020B0503030202060203" pitchFamily="34" charset="0"/>
                      </a:endParaRPr>
                    </a:p>
                  </a:txBody>
                  <a:tcPr marL="18000" marR="18000" marT="18000" marB="18000"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noFill/>
                  </a:tcPr>
                </a:tc>
                <a:tc gridSpan="2"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10002"/>
                  </a:ext>
                </a:extLst>
              </a:tr>
              <a:tr h="401822">
                <a:tc>
                  <a:txBody>
                    <a:bodyPr/>
                    <a:lstStyle/>
                    <a:p>
                      <a:pPr marL="0" marR="0" lvl="0" indent="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1" i="0" u="none" strike="noStrike" cap="none" normalizeH="0" baseline="0" dirty="0">
                          <a:ln>
                            <a:noFill/>
                          </a:ln>
                          <a:solidFill>
                            <a:schemeClr val="tx1"/>
                          </a:solidFill>
                          <a:effectLst/>
                          <a:latin typeface="+mj-lt"/>
                        </a:rPr>
                        <a:t>Client Value Delivered</a:t>
                      </a:r>
                    </a:p>
                  </a:txBody>
                  <a:tcPr marL="72000" marR="18000" marT="18000" marB="18000" anchor="ctr" horzOverflow="overflow">
                    <a:lnL w="12700" cap="flat" cmpd="sng" algn="ctr">
                      <a:noFill/>
                      <a:prstDash val="solid"/>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solidFill>
                      <a:schemeClr val="tx2">
                        <a:lumMod val="20000"/>
                        <a:lumOff val="80000"/>
                      </a:schemeClr>
                    </a:solidFill>
                  </a:tcPr>
                </a:tc>
                <a:tc>
                  <a:txBody>
                    <a:bodyPr/>
                    <a:lstStyle/>
                    <a:p>
                      <a:pPr marL="3175" marR="0" lvl="0" indent="-3175" algn="ctr"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accent1"/>
                        </a:solidFill>
                        <a:effectLst/>
                        <a:latin typeface="Arial" panose="020B0503030202060203" pitchFamily="34" charset="0"/>
                        <a:sym typeface="Webdings" pitchFamily="18" charset="2"/>
                      </a:endParaRPr>
                    </a:p>
                  </a:txBody>
                  <a:tcPr marL="18000" marR="18000" marT="18000" marB="18000"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noFill/>
                  </a:tcPr>
                </a:tc>
                <a:tc>
                  <a:txBody>
                    <a:body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Arial" panose="020B0503030202060203" pitchFamily="34" charset="0"/>
                      </a:endParaRPr>
                    </a:p>
                  </a:txBody>
                  <a:tcPr marL="18000" marR="18000" marT="18000" marB="18000"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noFill/>
                  </a:tcPr>
                </a:tc>
                <a:tc gridSpan="2"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10003"/>
                  </a:ext>
                </a:extLst>
              </a:tr>
              <a:tr h="398313">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1" i="0" u="none" strike="noStrike" cap="none" normalizeH="0" baseline="0" dirty="0">
                          <a:ln>
                            <a:noFill/>
                          </a:ln>
                          <a:solidFill>
                            <a:schemeClr val="tx1"/>
                          </a:solidFill>
                          <a:effectLst/>
                          <a:latin typeface="+mj-lt"/>
                        </a:rPr>
                        <a:t>Budget</a:t>
                      </a:r>
                    </a:p>
                  </a:txBody>
                  <a:tcPr marL="72000" marR="18000" marT="18000" marB="18000" anchor="ctr" horzOverflow="overflow">
                    <a:lnL w="12700" cap="flat" cmpd="sng" algn="ctr">
                      <a:noFill/>
                      <a:prstDash val="solid"/>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solidFill>
                      <a:schemeClr val="tx2">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175" marR="0" lvl="0" indent="-3175" algn="ctr"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accent1"/>
                        </a:solidFill>
                        <a:effectLst/>
                        <a:latin typeface="Arial" panose="020B0503030202060203" pitchFamily="34" charset="0"/>
                        <a:sym typeface="Webdings" pitchFamily="18" charset="2"/>
                      </a:endParaRPr>
                    </a:p>
                  </a:txBody>
                  <a:tcPr marL="18000" marR="18000" marT="18000" marB="18000"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Arial" panose="020B0503030202060203" pitchFamily="34" charset="0"/>
                      </a:endParaRPr>
                    </a:p>
                  </a:txBody>
                  <a:tcPr marL="18000" marR="18000" marT="18000" marB="18000"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noFill/>
                  </a:tcPr>
                </a:tc>
                <a:tc gridSpan="2"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10004"/>
                  </a:ext>
                </a:extLst>
              </a:tr>
              <a:tr h="191395">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900" b="1" i="0" u="none" strike="noStrike" cap="none" normalizeH="0" baseline="0" dirty="0">
                        <a:ln>
                          <a:noFill/>
                        </a:ln>
                        <a:solidFill>
                          <a:schemeClr val="tx1"/>
                        </a:solidFill>
                        <a:effectLst/>
                        <a:latin typeface="Arial" panose="020B0503030202060203" pitchFamily="34" charset="0"/>
                      </a:endParaRPr>
                    </a:p>
                  </a:txBody>
                  <a:tcPr marL="18000" marR="18000" marT="18000" marB="18000" horzOverflow="overflow">
                    <a:lnL cap="flat">
                      <a:noFill/>
                    </a:lnL>
                    <a:lnR w="6350" cap="flat" cmpd="sng" algn="ctr">
                      <a:no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175" marR="0" lvl="0" indent="-3175" algn="r"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900" b="1" i="0" u="none" strike="noStrike" cap="none" normalizeH="0" baseline="0" dirty="0">
                        <a:ln>
                          <a:noFill/>
                        </a:ln>
                        <a:solidFill>
                          <a:schemeClr val="accent1"/>
                        </a:solidFill>
                        <a:effectLst/>
                        <a:latin typeface="Arial" panose="020B0503030202060203" pitchFamily="34" charset="0"/>
                        <a:sym typeface="Webdings" pitchFamily="18" charset="2"/>
                      </a:endParaRPr>
                    </a:p>
                  </a:txBody>
                  <a:tcPr marL="18000" marR="18000" marT="18000" marB="18000"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900" b="1" i="0" u="none" strike="noStrike" cap="none" normalizeH="0" baseline="0">
                        <a:ln>
                          <a:noFill/>
                        </a:ln>
                        <a:solidFill>
                          <a:schemeClr val="tx1"/>
                        </a:solidFill>
                        <a:effectLst/>
                        <a:latin typeface="Arial" panose="020B0503030202060203" pitchFamily="34" charset="0"/>
                      </a:endParaRPr>
                    </a:p>
                  </a:txBody>
                  <a:tcPr marL="18000" marR="18000" marT="18000" marB="18000" horzOverflow="overflow">
                    <a:lnL w="6350" cap="flat" cmpd="sng" algn="ctr">
                      <a:noFill/>
                      <a:prstDash val="lgDash"/>
                      <a:round/>
                      <a:headEnd type="none" w="med" len="med"/>
                      <a:tailEnd type="none" w="med" len="med"/>
                    </a:lnL>
                    <a:lnR cap="flat">
                      <a:noFill/>
                    </a:lnR>
                    <a:lnT w="6350" cap="flat" cmpd="sng" algn="ctr">
                      <a:solidFill>
                        <a:schemeClr val="accent1"/>
                      </a:solid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75485">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mj-lt"/>
                        </a:rPr>
                        <a:t>Issues/Risks</a:t>
                      </a:r>
                    </a:p>
                  </a:txBody>
                  <a:tcPr marL="72000" marR="18000" marT="18000" marB="18000" anchor="ctr" horzOverflow="overflow">
                    <a:lnL cap="flat">
                      <a:noFill/>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mj-lt"/>
                        </a:rPr>
                        <a:t>Responsible</a:t>
                      </a:r>
                    </a:p>
                  </a:txBody>
                  <a:tcPr marL="72000" marR="18000" marT="18000" marB="18000" anchor="ctr"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mj-lt"/>
                        </a:rPr>
                        <a:t>End Date</a:t>
                      </a:r>
                    </a:p>
                  </a:txBody>
                  <a:tcPr marL="72000" marR="18000" marT="18000" marB="18000" anchor="ctr" horzOverflow="overflow">
                    <a:lnL w="6350" cap="flat" cmpd="sng" algn="ctr">
                      <a:noFill/>
                      <a:prstDash val="lgDash"/>
                      <a:round/>
                      <a:headEnd type="none" w="med" len="med"/>
                      <a:tailEnd type="none" w="med" len="med"/>
                    </a:lnL>
                    <a:lnR cap="flat">
                      <a:noFill/>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6"/>
                  </a:ext>
                </a:extLst>
              </a:tr>
              <a:tr h="400067">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dirty="0">
                          <a:ln>
                            <a:noFill/>
                          </a:ln>
                          <a:solidFill>
                            <a:schemeClr val="tx1"/>
                          </a:solidFill>
                          <a:effectLst/>
                          <a:latin typeface="+mn-lt"/>
                        </a:rPr>
                        <a:t>&lt;Issues and risks identified&gt;</a:t>
                      </a:r>
                    </a:p>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mn-lt"/>
                      </a:endParaRPr>
                    </a:p>
                  </a:txBody>
                  <a:tcPr marL="18000" marR="18000" marT="18000" marB="18000" horzOverflow="overflow">
                    <a:lnL cap="flat">
                      <a:noFill/>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dirty="0">
                          <a:ln>
                            <a:noFill/>
                          </a:ln>
                          <a:solidFill>
                            <a:schemeClr val="tx1"/>
                          </a:solidFill>
                          <a:effectLst/>
                          <a:latin typeface="+mn-lt"/>
                        </a:rPr>
                        <a:t>&lt;</a:t>
                      </a:r>
                      <a:r>
                        <a:rPr kumimoji="0" lang="en-US" sz="1000" b="0" i="0" u="none" strike="noStrike" cap="none" normalizeH="0" baseline="0" dirty="0" err="1">
                          <a:ln>
                            <a:noFill/>
                          </a:ln>
                          <a:solidFill>
                            <a:schemeClr val="tx1"/>
                          </a:solidFill>
                          <a:effectLst/>
                          <a:latin typeface="+mn-lt"/>
                        </a:rPr>
                        <a:t>Workstream</a:t>
                      </a:r>
                      <a:r>
                        <a:rPr kumimoji="0" lang="en-US" sz="1000" b="0" i="0" u="none" strike="noStrike" cap="none" normalizeH="0" baseline="0" dirty="0">
                          <a:ln>
                            <a:noFill/>
                          </a:ln>
                          <a:solidFill>
                            <a:schemeClr val="tx1"/>
                          </a:solidFill>
                          <a:effectLst/>
                          <a:latin typeface="+mn-lt"/>
                        </a:rPr>
                        <a:t> team member r&gt; </a:t>
                      </a:r>
                    </a:p>
                  </a:txBody>
                  <a:tcPr marL="18000" marR="18000" marT="18000" marB="18000"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0" i="0" u="none" strike="noStrike" cap="none" normalizeH="0" baseline="0" dirty="0">
                          <a:ln>
                            <a:noFill/>
                          </a:ln>
                          <a:solidFill>
                            <a:schemeClr val="tx1"/>
                          </a:solidFill>
                          <a:effectLst/>
                          <a:latin typeface="+mn-lt"/>
                        </a:rPr>
                        <a:t>DD.MM.YYYY</a:t>
                      </a:r>
                    </a:p>
                  </a:txBody>
                  <a:tcPr marL="18000" marR="18000" marT="18000" marB="18000" horzOverflow="overflow">
                    <a:lnL w="6350" cap="flat" cmpd="sng" algn="ctr">
                      <a:noFill/>
                      <a:prstDash val="lgDash"/>
                      <a:round/>
                      <a:headEnd type="none" w="med" len="med"/>
                      <a:tailEnd type="none" w="med" len="med"/>
                    </a:lnL>
                    <a:lnR cap="flat">
                      <a:noFill/>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87767">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ts val="1200"/>
                        </a:lnSpc>
                        <a:spcBef>
                          <a:spcPct val="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mj-lt"/>
                        </a:rPr>
                        <a:t>Necessary Decisions</a:t>
                      </a:r>
                    </a:p>
                  </a:txBody>
                  <a:tcPr marL="72000" marR="18000" marT="18000" marB="18000" anchor="ctr" horzOverflow="overflow">
                    <a:lnL cap="flat">
                      <a:noFill/>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a:ln>
                            <a:noFill/>
                          </a:ln>
                          <a:solidFill>
                            <a:schemeClr val="bg1"/>
                          </a:solidFill>
                          <a:effectLst/>
                          <a:latin typeface="+mj-lt"/>
                        </a:rPr>
                        <a:t>Responsible</a:t>
                      </a:r>
                    </a:p>
                  </a:txBody>
                  <a:tcPr marL="72000" marR="18000" marT="18000" marB="18000" anchor="ctr"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mj-lt"/>
                        </a:rPr>
                        <a:t>End Date</a:t>
                      </a:r>
                    </a:p>
                  </a:txBody>
                  <a:tcPr marL="72000" marR="18000" marT="18000" marB="18000" anchor="ctr" horzOverflow="overflow">
                    <a:lnL w="6350" cap="flat" cmpd="sng" algn="ctr">
                      <a:noFill/>
                      <a:prstDash val="lgDash"/>
                      <a:round/>
                      <a:headEnd type="none" w="med" len="med"/>
                      <a:tailEnd type="none" w="med" len="med"/>
                    </a:lnL>
                    <a:lnR cap="flat">
                      <a:noFill/>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8"/>
                  </a:ext>
                </a:extLst>
              </a:tr>
              <a:tr h="393534">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dirty="0">
                          <a:ln>
                            <a:noFill/>
                          </a:ln>
                          <a:solidFill>
                            <a:schemeClr val="tx1"/>
                          </a:solidFill>
                          <a:effectLst/>
                          <a:latin typeface="+mn-lt"/>
                        </a:rPr>
                        <a:t>&lt;Decisions needed to solve issues/risks&gt;</a:t>
                      </a:r>
                    </a:p>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mn-lt"/>
                      </a:endParaRPr>
                    </a:p>
                  </a:txBody>
                  <a:tcPr marL="18000" marR="18000" marT="18000" marB="18000" horzOverflow="overflow">
                    <a:lnL cap="flat">
                      <a:noFill/>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dirty="0">
                          <a:ln>
                            <a:noFill/>
                          </a:ln>
                          <a:solidFill>
                            <a:schemeClr val="tx1"/>
                          </a:solidFill>
                          <a:effectLst/>
                          <a:latin typeface="+mn-lt"/>
                        </a:rPr>
                        <a:t>&lt;Name, Department&gt;</a:t>
                      </a:r>
                    </a:p>
                  </a:txBody>
                  <a:tcPr marL="18000" marR="18000" marT="18000" marB="18000"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0" i="0" u="none" strike="noStrike" cap="none" normalizeH="0" baseline="0" dirty="0">
                          <a:ln>
                            <a:noFill/>
                          </a:ln>
                          <a:solidFill>
                            <a:schemeClr val="tx1"/>
                          </a:solidFill>
                          <a:effectLst/>
                          <a:latin typeface="+mn-lt"/>
                        </a:rPr>
                        <a:t>DD.MM.YYYY</a:t>
                      </a:r>
                    </a:p>
                  </a:txBody>
                  <a:tcPr marL="18000" marR="18000" marT="18000" marB="18000" horzOverflow="overflow">
                    <a:lnL w="6350" cap="flat" cmpd="sng" algn="ctr">
                      <a:noFill/>
                      <a:prstDash val="lgDash"/>
                      <a:round/>
                      <a:headEnd type="none" w="med" len="med"/>
                      <a:tailEnd type="none" w="med" len="med"/>
                    </a:lnL>
                    <a:lnR cap="flat">
                      <a:noFill/>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75485">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ts val="1200"/>
                        </a:lnSpc>
                        <a:spcBef>
                          <a:spcPct val="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mj-lt"/>
                        </a:rPr>
                        <a:t>Next Steps</a:t>
                      </a:r>
                    </a:p>
                  </a:txBody>
                  <a:tcPr marL="72000" marR="18000" marT="18000" marB="18000" anchor="ctr" horzOverflow="overflow">
                    <a:lnL cap="flat">
                      <a:noFill/>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175" marR="0" lvl="0" indent="-3175"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a:ln>
                            <a:noFill/>
                          </a:ln>
                          <a:solidFill>
                            <a:schemeClr val="bg1"/>
                          </a:solidFill>
                          <a:effectLst/>
                          <a:latin typeface="+mj-lt"/>
                        </a:rPr>
                        <a:t>Responsible</a:t>
                      </a:r>
                    </a:p>
                  </a:txBody>
                  <a:tcPr marL="72000" marR="18000" marT="18000" marB="18000" anchor="ctr"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mj-lt"/>
                        </a:rPr>
                        <a:t>End Date</a:t>
                      </a:r>
                    </a:p>
                  </a:txBody>
                  <a:tcPr marL="72000" marR="18000" marT="18000" marB="18000" anchor="ctr" horzOverflow="overflow">
                    <a:lnL w="6350" cap="flat" cmpd="sng" algn="ctr">
                      <a:noFill/>
                      <a:prstDash val="lgDash"/>
                      <a:round/>
                      <a:headEnd type="none" w="med" len="med"/>
                      <a:tailEnd type="none" w="med" len="med"/>
                    </a:lnL>
                    <a:lnR cap="flat">
                      <a:noFill/>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10"/>
                  </a:ext>
                </a:extLst>
              </a:tr>
              <a:tr h="411222">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dirty="0">
                          <a:ln>
                            <a:noFill/>
                          </a:ln>
                          <a:solidFill>
                            <a:schemeClr val="tx1"/>
                          </a:solidFill>
                          <a:effectLst/>
                          <a:latin typeface="+mn-lt"/>
                        </a:rPr>
                        <a:t>&lt;Action items to be done until next report&gt;</a:t>
                      </a:r>
                    </a:p>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mn-lt"/>
                      </a:endParaRPr>
                    </a:p>
                  </a:txBody>
                  <a:tcPr marL="18000" marR="18000" marT="18000" marB="18000" horzOverflow="overflow">
                    <a:lnL cap="flat">
                      <a:noFill/>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cap="flat">
                      <a:noFill/>
                    </a:lnB>
                    <a:lnTlToBr>
                      <a:noFill/>
                    </a:lnTlToBr>
                    <a:lnBlToTr>
                      <a:noFill/>
                    </a:lnBlToTr>
                    <a:no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dirty="0">
                          <a:ln>
                            <a:noFill/>
                          </a:ln>
                          <a:solidFill>
                            <a:schemeClr val="tx1"/>
                          </a:solidFill>
                          <a:effectLst/>
                          <a:latin typeface="+mn-lt"/>
                        </a:rPr>
                        <a:t>&lt;</a:t>
                      </a:r>
                      <a:r>
                        <a:rPr kumimoji="0" lang="en-US" sz="1000" b="0" i="0" u="none" strike="noStrike" cap="none" normalizeH="0" baseline="0" dirty="0" err="1">
                          <a:ln>
                            <a:noFill/>
                          </a:ln>
                          <a:solidFill>
                            <a:schemeClr val="tx1"/>
                          </a:solidFill>
                          <a:effectLst/>
                          <a:latin typeface="+mn-lt"/>
                        </a:rPr>
                        <a:t>Workstream</a:t>
                      </a:r>
                      <a:r>
                        <a:rPr kumimoji="0" lang="en-US" sz="1000" b="0" i="0" u="none" strike="noStrike" cap="none" normalizeH="0" baseline="0" dirty="0">
                          <a:ln>
                            <a:noFill/>
                          </a:ln>
                          <a:solidFill>
                            <a:schemeClr val="tx1"/>
                          </a:solidFill>
                          <a:effectLst/>
                          <a:latin typeface="+mn-lt"/>
                        </a:rPr>
                        <a:t> team member required&gt;</a:t>
                      </a:r>
                    </a:p>
                    <a:p>
                      <a:pPr marL="3175" marR="0" lvl="0" indent="-31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mn-lt"/>
                      </a:endParaRPr>
                    </a:p>
                  </a:txBody>
                  <a:tcPr marL="18000" marR="18000" marT="18000" marB="18000"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cap="flat">
                      <a:noFill/>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0" i="0" u="none" strike="noStrike" cap="none" normalizeH="0" baseline="0" dirty="0">
                          <a:ln>
                            <a:noFill/>
                          </a:ln>
                          <a:solidFill>
                            <a:schemeClr val="tx1"/>
                          </a:solidFill>
                          <a:effectLst/>
                          <a:latin typeface="+mn-lt"/>
                        </a:rPr>
                        <a:t>DD.MM.YYYY</a:t>
                      </a:r>
                    </a:p>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mn-lt"/>
                      </a:endParaRPr>
                    </a:p>
                  </a:txBody>
                  <a:tcPr marL="18000" marR="18000" marT="18000" marB="18000" horzOverflow="overflow">
                    <a:lnL w="6350" cap="flat" cmpd="sng" algn="ctr">
                      <a:noFill/>
                      <a:prstDash val="lgDash"/>
                      <a:round/>
                      <a:headEnd type="none" w="med" len="med"/>
                      <a:tailEnd type="none" w="med" len="med"/>
                    </a:lnL>
                    <a:lnR cap="flat">
                      <a:noFill/>
                    </a:lnR>
                    <a:lnT w="6350" cap="flat" cmpd="sng" algn="ctr">
                      <a:noFill/>
                      <a:prstDash val="lgDash"/>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11"/>
                  </a:ext>
                </a:extLst>
              </a:tr>
            </a:tbl>
          </a:graphicData>
        </a:graphic>
      </p:graphicFrame>
      <p:grpSp>
        <p:nvGrpSpPr>
          <p:cNvPr id="48" name="Group 47">
            <a:extLst>
              <a:ext uri="{FF2B5EF4-FFF2-40B4-BE49-F238E27FC236}">
                <a16:creationId xmlns:a16="http://schemas.microsoft.com/office/drawing/2014/main" id="{D9253A48-2F20-4FB3-8590-E808D4733CCC}"/>
              </a:ext>
              <a:ext uri="{C183D7F6-B498-43B3-948B-1728B52AA6E4}">
                <adec:decorative xmlns:adec="http://schemas.microsoft.com/office/drawing/2017/decorative" val="1"/>
              </a:ext>
            </a:extLst>
          </p:cNvPr>
          <p:cNvGrpSpPr/>
          <p:nvPr/>
        </p:nvGrpSpPr>
        <p:grpSpPr>
          <a:xfrm>
            <a:off x="2758399" y="2564923"/>
            <a:ext cx="180001" cy="1332128"/>
            <a:chOff x="3647747" y="2564923"/>
            <a:chExt cx="180001" cy="1332128"/>
          </a:xfrm>
        </p:grpSpPr>
        <p:sp>
          <p:nvSpPr>
            <p:cNvPr id="49" name="Oval 87">
              <a:extLst>
                <a:ext uri="{FF2B5EF4-FFF2-40B4-BE49-F238E27FC236}">
                  <a16:creationId xmlns:a16="http://schemas.microsoft.com/office/drawing/2014/main" id="{68A42AAC-4E0B-40E4-81C3-7F11992330A1}"/>
                </a:ext>
              </a:extLst>
            </p:cNvPr>
            <p:cNvSpPr>
              <a:spLocks noChangeArrowheads="1"/>
            </p:cNvSpPr>
            <p:nvPr/>
          </p:nvSpPr>
          <p:spPr bwMode="auto">
            <a:xfrm rot="10800000">
              <a:off x="3647748" y="2564923"/>
              <a:ext cx="180000" cy="180000"/>
            </a:xfrm>
            <a:prstGeom prst="ellipse">
              <a:avLst/>
            </a:prstGeom>
            <a:solidFill>
              <a:schemeClr val="accent4"/>
            </a:solidFill>
            <a:ln w="9525" algn="ctr">
              <a:noFill/>
              <a:round/>
              <a:headEnd/>
              <a:tailEnd/>
            </a:ln>
            <a:effectLst/>
          </p:spPr>
          <p:txBody>
            <a:bodyPr wrap="none" anchor="ctr"/>
            <a:lstStyle/>
            <a:p>
              <a:pPr fontAlgn="base">
                <a:spcBef>
                  <a:spcPct val="0"/>
                </a:spcBef>
                <a:spcAft>
                  <a:spcPct val="0"/>
                </a:spcAft>
              </a:pPr>
              <a:endParaRPr lang="en-US" sz="1000">
                <a:solidFill>
                  <a:srgbClr val="000000"/>
                </a:solidFill>
                <a:latin typeface="Arial" charset="0"/>
              </a:endParaRPr>
            </a:p>
          </p:txBody>
        </p:sp>
        <p:sp>
          <p:nvSpPr>
            <p:cNvPr id="50" name="Oval 88">
              <a:extLst>
                <a:ext uri="{FF2B5EF4-FFF2-40B4-BE49-F238E27FC236}">
                  <a16:creationId xmlns:a16="http://schemas.microsoft.com/office/drawing/2014/main" id="{99599576-1177-4205-9F13-46DCA570F93F}"/>
                </a:ext>
              </a:extLst>
            </p:cNvPr>
            <p:cNvSpPr>
              <a:spLocks noChangeArrowheads="1"/>
            </p:cNvSpPr>
            <p:nvPr/>
          </p:nvSpPr>
          <p:spPr bwMode="auto">
            <a:xfrm rot="10800000">
              <a:off x="3647747" y="2924944"/>
              <a:ext cx="180000" cy="180000"/>
            </a:xfrm>
            <a:prstGeom prst="ellipse">
              <a:avLst/>
            </a:prstGeom>
            <a:solidFill>
              <a:srgbClr val="A100FF"/>
            </a:solidFill>
            <a:ln w="9525" algn="ctr">
              <a:noFill/>
              <a:round/>
              <a:headEnd/>
              <a:tailEnd/>
            </a:ln>
            <a:effectLst/>
          </p:spPr>
          <p:txBody>
            <a:bodyPr wrap="none" anchor="ctr"/>
            <a:lstStyle/>
            <a:p>
              <a:pPr algn="l" rtl="0" fontAlgn="base">
                <a:spcBef>
                  <a:spcPct val="0"/>
                </a:spcBef>
                <a:spcAft>
                  <a:spcPct val="0"/>
                </a:spcAft>
                <a:defRPr/>
              </a:pPr>
              <a:endParaRPr lang="en-US" sz="1000">
                <a:solidFill>
                  <a:srgbClr val="000000"/>
                </a:solidFill>
              </a:endParaRPr>
            </a:p>
          </p:txBody>
        </p:sp>
        <p:sp>
          <p:nvSpPr>
            <p:cNvPr id="51" name="Oval 89">
              <a:extLst>
                <a:ext uri="{FF2B5EF4-FFF2-40B4-BE49-F238E27FC236}">
                  <a16:creationId xmlns:a16="http://schemas.microsoft.com/office/drawing/2014/main" id="{B8E19890-9273-4A45-AA22-35BB956277FE}"/>
                </a:ext>
              </a:extLst>
            </p:cNvPr>
            <p:cNvSpPr>
              <a:spLocks noChangeArrowheads="1"/>
            </p:cNvSpPr>
            <p:nvPr/>
          </p:nvSpPr>
          <p:spPr bwMode="auto">
            <a:xfrm rot="10800000">
              <a:off x="3647747" y="3321007"/>
              <a:ext cx="180000" cy="180000"/>
            </a:xfrm>
            <a:prstGeom prst="ellipse">
              <a:avLst/>
            </a:prstGeom>
            <a:solidFill>
              <a:srgbClr val="DCAFFF"/>
            </a:solidFill>
            <a:ln w="9525" algn="ctr">
              <a:noFill/>
              <a:round/>
              <a:headEnd/>
              <a:tailEnd/>
            </a:ln>
            <a:effectLst/>
          </p:spPr>
          <p:txBody>
            <a:bodyPr wrap="none" anchor="ctr"/>
            <a:lstStyle/>
            <a:p>
              <a:pPr algn="l" rtl="0" fontAlgn="base">
                <a:spcBef>
                  <a:spcPct val="0"/>
                </a:spcBef>
                <a:spcAft>
                  <a:spcPct val="0"/>
                </a:spcAft>
                <a:defRPr/>
              </a:pPr>
              <a:endParaRPr lang="en-US" sz="1000">
                <a:solidFill>
                  <a:srgbClr val="000000"/>
                </a:solidFill>
              </a:endParaRPr>
            </a:p>
          </p:txBody>
        </p:sp>
        <p:sp>
          <p:nvSpPr>
            <p:cNvPr id="52" name="Oval 87">
              <a:extLst>
                <a:ext uri="{FF2B5EF4-FFF2-40B4-BE49-F238E27FC236}">
                  <a16:creationId xmlns:a16="http://schemas.microsoft.com/office/drawing/2014/main" id="{906570F8-4D1E-4FC2-903B-B573FDA03C9F}"/>
                </a:ext>
              </a:extLst>
            </p:cNvPr>
            <p:cNvSpPr>
              <a:spLocks noChangeArrowheads="1"/>
            </p:cNvSpPr>
            <p:nvPr/>
          </p:nvSpPr>
          <p:spPr bwMode="auto">
            <a:xfrm rot="10800000">
              <a:off x="3647747" y="3717051"/>
              <a:ext cx="180000" cy="180000"/>
            </a:xfrm>
            <a:prstGeom prst="ellipse">
              <a:avLst/>
            </a:prstGeom>
            <a:solidFill>
              <a:schemeClr val="accent3"/>
            </a:solidFill>
            <a:ln w="9525" algn="ctr">
              <a:noFill/>
              <a:round/>
              <a:headEnd/>
              <a:tailEnd/>
            </a:ln>
            <a:effectLst/>
          </p:spPr>
          <p:txBody>
            <a:bodyPr wrap="none" anchor="ctr"/>
            <a:lstStyle/>
            <a:p>
              <a:pPr algn="l" rtl="0" fontAlgn="base">
                <a:spcBef>
                  <a:spcPct val="0"/>
                </a:spcBef>
                <a:spcAft>
                  <a:spcPct val="0"/>
                </a:spcAft>
                <a:defRPr/>
              </a:pPr>
              <a:endParaRPr lang="en-US" sz="1000">
                <a:solidFill>
                  <a:srgbClr val="000000"/>
                </a:solidFill>
              </a:endParaRPr>
            </a:p>
          </p:txBody>
        </p:sp>
      </p:grpSp>
      <p:sp>
        <p:nvSpPr>
          <p:cNvPr id="3" name="Footer Placeholder 2">
            <a:extLst>
              <a:ext uri="{FF2B5EF4-FFF2-40B4-BE49-F238E27FC236}">
                <a16:creationId xmlns:a16="http://schemas.microsoft.com/office/drawing/2014/main" id="{E3A1A4F5-6C91-4BE1-B1C2-1A16C1AEA0B3}"/>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8A5FCBED-4AA4-41C6-AABA-929CEE9DABE7}"/>
              </a:ext>
            </a:extLst>
          </p:cNvPr>
          <p:cNvSpPr>
            <a:spLocks noGrp="1"/>
          </p:cNvSpPr>
          <p:nvPr>
            <p:ph type="sldNum" sz="quarter" idx="10"/>
          </p:nvPr>
        </p:nvSpPr>
        <p:spPr/>
        <p:txBody>
          <a:bodyPr/>
          <a:lstStyle/>
          <a:p>
            <a:fld id="{1F90F471-3972-4120-B8B3-0237DE626C35}" type="slidenum">
              <a:rPr lang="en-US" smtClean="0"/>
              <a:pPr/>
              <a:t>377</a:t>
            </a:fld>
            <a:endParaRPr lang="en-US" dirty="0"/>
          </a:p>
        </p:txBody>
      </p:sp>
    </p:spTree>
    <p:extLst>
      <p:ext uri="{BB962C8B-B14F-4D97-AF65-F5344CB8AC3E}">
        <p14:creationId xmlns:p14="http://schemas.microsoft.com/office/powerpoint/2010/main" val="3999877073"/>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Client Value Drivers </a:t>
            </a:r>
          </a:p>
        </p:txBody>
      </p:sp>
      <p:sp>
        <p:nvSpPr>
          <p:cNvPr id="2" name="TextBox 1">
            <a:extLst>
              <a:ext uri="{FF2B5EF4-FFF2-40B4-BE49-F238E27FC236}">
                <a16:creationId xmlns:a16="http://schemas.microsoft.com/office/drawing/2014/main" id="{60553C31-1B2F-4C34-A798-531EFDC4A091}"/>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600" b="0" i="0" u="none" strike="noStrike" kern="1200" cap="none" spc="0" normalizeH="0" baseline="0" noProof="0" dirty="0">
                <a:ln>
                  <a:noFill/>
                </a:ln>
                <a:solidFill>
                  <a:srgbClr val="000000"/>
                </a:solidFill>
                <a:effectLst/>
                <a:uLnTx/>
                <a:uFillTx/>
                <a:ea typeface="+mn-ea"/>
                <a:cs typeface="+mn-cs"/>
              </a:rPr>
              <a:t>&lt;Document the summary insight based on the factors which “make up” the client context. Details can be accessed based on the work undertaken in the proposal phase.  These can be detailed out as backups using the various AMC Way assets listed.&gt;</a:t>
            </a: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7" name="Text Box 26">
            <a:extLst>
              <a:ext uri="{FF2B5EF4-FFF2-40B4-BE49-F238E27FC236}">
                <a16:creationId xmlns:a16="http://schemas.microsoft.com/office/drawing/2014/main" id="{5B9C9DEF-900B-4E6E-AEBD-A9EF72F5DCA6}"/>
              </a:ext>
            </a:extLst>
          </p:cNvPr>
          <p:cNvSpPr txBox="1">
            <a:spLocks noChangeArrowheads="1"/>
          </p:cNvSpPr>
          <p:nvPr/>
        </p:nvSpPr>
        <p:spPr bwMode="auto">
          <a:xfrm>
            <a:off x="1949006" y="1763713"/>
            <a:ext cx="1274388" cy="147733"/>
          </a:xfrm>
          <a:prstGeom prst="rect">
            <a:avLst/>
          </a:prstGeom>
          <a:noFill/>
          <a:ln w="19050">
            <a:noFill/>
            <a:miter lim="800000"/>
            <a:headEnd/>
            <a:tailEnd/>
          </a:ln>
        </p:spPr>
        <p:txBody>
          <a:bodyPr wrap="none" lIns="0" tIns="0" rIns="0" bIns="0">
            <a:spAutoFit/>
          </a:bodyP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mj-lt"/>
                <a:ea typeface="+mn-ea"/>
                <a:cs typeface="Arial" pitchFamily="34" charset="0"/>
              </a:rPr>
              <a:t>Industry context</a:t>
            </a:r>
          </a:p>
        </p:txBody>
      </p:sp>
      <p:sp>
        <p:nvSpPr>
          <p:cNvPr id="6" name="Text Box 45">
            <a:extLst>
              <a:ext uri="{FF2B5EF4-FFF2-40B4-BE49-F238E27FC236}">
                <a16:creationId xmlns:a16="http://schemas.microsoft.com/office/drawing/2014/main" id="{5CE4829C-D5CF-48DA-82A1-8AB34AE0DFD1}"/>
              </a:ext>
            </a:extLst>
          </p:cNvPr>
          <p:cNvSpPr txBox="1">
            <a:spLocks noChangeArrowheads="1"/>
          </p:cNvSpPr>
          <p:nvPr/>
        </p:nvSpPr>
        <p:spPr bwMode="auto">
          <a:xfrm>
            <a:off x="1991544" y="2098485"/>
            <a:ext cx="3130722" cy="3502336"/>
          </a:xfrm>
          <a:prstGeom prst="rect">
            <a:avLst/>
          </a:prstGeom>
          <a:solidFill>
            <a:srgbClr val="BE82FF">
              <a:lumMod val="20000"/>
              <a:lumOff val="80000"/>
            </a:srgbClr>
          </a:solidFill>
          <a:ln w="9525" algn="ctr">
            <a:noFill/>
            <a:miter lim="800000"/>
            <a:headEnd/>
            <a:tailEnd/>
          </a:ln>
        </p:spPr>
        <p:txBody>
          <a:bodyPr wrap="square" lIns="72000" tIns="72000" rIns="36000" bIns="72000">
            <a:noAutofit/>
          </a:bodyPr>
          <a:lstStyle/>
          <a:p>
            <a:pPr marL="90000" marR="0" lvl="0" indent="-90000" algn="l" defTabSz="914400" rtl="0" eaLnBrk="1" fontAlgn="auto" latinLnBrk="0" hangingPunct="1">
              <a:lnSpc>
                <a:spcPct val="100000"/>
              </a:lnSpc>
              <a:spcBef>
                <a:spcPts val="300"/>
              </a:spcBef>
              <a:spcAft>
                <a:spcPts val="300"/>
              </a:spcAft>
              <a:buClrTx/>
              <a:buSzPct val="100000"/>
              <a:buFontTx/>
              <a:buChar char="•"/>
              <a:tabLst/>
              <a:defRPr/>
            </a:pPr>
            <a:r>
              <a:rPr kumimoji="0" lang="en-GB" sz="1100" b="0" i="0" u="none" strike="noStrike" kern="0" cap="none" spc="0" normalizeH="0" baseline="0" noProof="0" dirty="0">
                <a:ln>
                  <a:noFill/>
                </a:ln>
                <a:solidFill>
                  <a:srgbClr val="000000"/>
                </a:solidFill>
                <a:effectLst/>
                <a:uLnTx/>
                <a:uFillTx/>
                <a:ea typeface="+mn-ea"/>
                <a:cs typeface="Arial" pitchFamily="34" charset="0"/>
              </a:rPr>
              <a:t>[Context Point 1]</a:t>
            </a:r>
          </a:p>
          <a:p>
            <a:pPr marL="90000" marR="0" lvl="0" indent="-90000" algn="l" defTabSz="914400" rtl="0" eaLnBrk="1" fontAlgn="auto" latinLnBrk="0" hangingPunct="1">
              <a:lnSpc>
                <a:spcPct val="100000"/>
              </a:lnSpc>
              <a:spcBef>
                <a:spcPts val="300"/>
              </a:spcBef>
              <a:spcAft>
                <a:spcPts val="300"/>
              </a:spcAft>
              <a:buClrTx/>
              <a:buSzPct val="100000"/>
              <a:buFontTx/>
              <a:buChar char="•"/>
              <a:tabLst/>
              <a:defRPr/>
            </a:pPr>
            <a:r>
              <a:rPr kumimoji="0" lang="en-GB" sz="1100" b="0" i="0" u="none" strike="noStrike" kern="0" cap="none" spc="0" normalizeH="0" baseline="0" noProof="0" dirty="0">
                <a:ln>
                  <a:noFill/>
                </a:ln>
                <a:solidFill>
                  <a:srgbClr val="000000"/>
                </a:solidFill>
                <a:effectLst/>
                <a:uLnTx/>
                <a:uFillTx/>
                <a:ea typeface="+mn-ea"/>
                <a:cs typeface="Arial" pitchFamily="34" charset="0"/>
              </a:rPr>
              <a:t>[Context Point 2]</a:t>
            </a:r>
          </a:p>
          <a:p>
            <a:pPr marL="90000" marR="0" lvl="0" indent="-90000" algn="l" defTabSz="914400" rtl="0" eaLnBrk="1" fontAlgn="auto" latinLnBrk="0" hangingPunct="1">
              <a:lnSpc>
                <a:spcPct val="100000"/>
              </a:lnSpc>
              <a:spcBef>
                <a:spcPts val="300"/>
              </a:spcBef>
              <a:spcAft>
                <a:spcPts val="300"/>
              </a:spcAft>
              <a:buClrTx/>
              <a:buSzPct val="100000"/>
              <a:buFontTx/>
              <a:buChar char="•"/>
              <a:tabLst/>
              <a:defRPr/>
            </a:pPr>
            <a:r>
              <a:rPr kumimoji="0" lang="en-GB" sz="1100" b="0" i="0" u="none" strike="noStrike" kern="0" cap="none" spc="0" normalizeH="0" baseline="0" noProof="0" dirty="0">
                <a:ln>
                  <a:noFill/>
                </a:ln>
                <a:solidFill>
                  <a:srgbClr val="000000"/>
                </a:solidFill>
                <a:effectLst/>
                <a:uLnTx/>
                <a:uFillTx/>
                <a:ea typeface="+mn-ea"/>
                <a:cs typeface="Arial" pitchFamily="34" charset="0"/>
              </a:rPr>
              <a:t>[Context Point 3]</a:t>
            </a:r>
            <a:endParaRPr kumimoji="0" lang="en-GB" sz="1100" b="0" i="0" u="none" strike="noStrike" kern="0" cap="none" spc="0" normalizeH="0" baseline="0" noProof="0" dirty="0">
              <a:ln>
                <a:noFill/>
              </a:ln>
              <a:solidFill>
                <a:srgbClr val="FFFFFF"/>
              </a:solidFill>
              <a:effectLst/>
              <a:uLnTx/>
              <a:uFillTx/>
              <a:ea typeface="+mn-ea"/>
              <a:cs typeface="Arial" pitchFamily="34" charset="0"/>
            </a:endParaRPr>
          </a:p>
        </p:txBody>
      </p:sp>
      <p:grpSp>
        <p:nvGrpSpPr>
          <p:cNvPr id="3" name="Group 2">
            <a:extLst>
              <a:ext uri="{FF2B5EF4-FFF2-40B4-BE49-F238E27FC236}">
                <a16:creationId xmlns:a16="http://schemas.microsoft.com/office/drawing/2014/main" id="{4727B780-2CF6-4530-A968-9BC2B65F0119}"/>
              </a:ext>
              <a:ext uri="{C183D7F6-B498-43B3-948B-1728B52AA6E4}">
                <adec:decorative xmlns:adec="http://schemas.microsoft.com/office/drawing/2017/decorative" val="1"/>
              </a:ext>
            </a:extLst>
          </p:cNvPr>
          <p:cNvGrpSpPr/>
          <p:nvPr/>
        </p:nvGrpSpPr>
        <p:grpSpPr>
          <a:xfrm>
            <a:off x="5122266" y="2356555"/>
            <a:ext cx="705079" cy="2993126"/>
            <a:chOff x="5122266" y="2356555"/>
            <a:chExt cx="705079" cy="2993126"/>
          </a:xfrm>
        </p:grpSpPr>
        <p:cxnSp>
          <p:nvCxnSpPr>
            <p:cNvPr id="8" name="AutoShape 8">
              <a:extLst>
                <a:ext uri="{FF2B5EF4-FFF2-40B4-BE49-F238E27FC236}">
                  <a16:creationId xmlns:a16="http://schemas.microsoft.com/office/drawing/2014/main" id="{6A0884D0-DA44-4C7B-89ED-A43BAF1F097D}"/>
                </a:ext>
              </a:extLst>
            </p:cNvPr>
            <p:cNvCxnSpPr>
              <a:cxnSpLocks noChangeShapeType="1"/>
              <a:stCxn id="6" idx="3"/>
              <a:endCxn id="21" idx="1"/>
            </p:cNvCxnSpPr>
            <p:nvPr/>
          </p:nvCxnSpPr>
          <p:spPr bwMode="auto">
            <a:xfrm flipV="1">
              <a:off x="5122266" y="2356555"/>
              <a:ext cx="686826" cy="1493099"/>
            </a:xfrm>
            <a:prstGeom prst="bentConnector3">
              <a:avLst>
                <a:gd name="adj1" fmla="val 50000"/>
              </a:avLst>
            </a:prstGeom>
            <a:noFill/>
            <a:ln w="6350">
              <a:solidFill>
                <a:srgbClr val="BE82FF"/>
              </a:solidFill>
              <a:miter lim="800000"/>
              <a:headEnd/>
              <a:tailEnd/>
            </a:ln>
          </p:spPr>
        </p:cxnSp>
        <p:cxnSp>
          <p:nvCxnSpPr>
            <p:cNvPr id="9" name="AutoShape 9">
              <a:extLst>
                <a:ext uri="{FF2B5EF4-FFF2-40B4-BE49-F238E27FC236}">
                  <a16:creationId xmlns:a16="http://schemas.microsoft.com/office/drawing/2014/main" id="{3D9C4382-FFA7-4A80-AD3E-F35D8F2E1478}"/>
                </a:ext>
              </a:extLst>
            </p:cNvPr>
            <p:cNvCxnSpPr>
              <a:cxnSpLocks noChangeShapeType="1"/>
              <a:stCxn id="6" idx="3"/>
              <a:endCxn id="22" idx="1"/>
            </p:cNvCxnSpPr>
            <p:nvPr/>
          </p:nvCxnSpPr>
          <p:spPr bwMode="auto">
            <a:xfrm flipV="1">
              <a:off x="5122266" y="3091745"/>
              <a:ext cx="686826" cy="757908"/>
            </a:xfrm>
            <a:prstGeom prst="bentConnector3">
              <a:avLst>
                <a:gd name="adj1" fmla="val 50000"/>
              </a:avLst>
            </a:prstGeom>
            <a:noFill/>
            <a:ln w="6350">
              <a:solidFill>
                <a:srgbClr val="BE82FF"/>
              </a:solidFill>
              <a:miter lim="800000"/>
              <a:headEnd/>
              <a:tailEnd/>
            </a:ln>
          </p:spPr>
        </p:cxnSp>
        <p:cxnSp>
          <p:nvCxnSpPr>
            <p:cNvPr id="10" name="AutoShape 11">
              <a:extLst>
                <a:ext uri="{FF2B5EF4-FFF2-40B4-BE49-F238E27FC236}">
                  <a16:creationId xmlns:a16="http://schemas.microsoft.com/office/drawing/2014/main" id="{EAFD8D62-DD33-4C4F-907F-F271B1F527CB}"/>
                </a:ext>
              </a:extLst>
            </p:cNvPr>
            <p:cNvCxnSpPr>
              <a:cxnSpLocks noChangeShapeType="1"/>
              <a:stCxn id="6" idx="3"/>
              <a:endCxn id="23" idx="1"/>
            </p:cNvCxnSpPr>
            <p:nvPr/>
          </p:nvCxnSpPr>
          <p:spPr bwMode="auto">
            <a:xfrm>
              <a:off x="5122266" y="3849654"/>
              <a:ext cx="686826" cy="766961"/>
            </a:xfrm>
            <a:prstGeom prst="bentConnector3">
              <a:avLst>
                <a:gd name="adj1" fmla="val 50000"/>
              </a:avLst>
            </a:prstGeom>
            <a:noFill/>
            <a:ln w="6350">
              <a:solidFill>
                <a:srgbClr val="BE82FF"/>
              </a:solidFill>
              <a:miter lim="800000"/>
              <a:headEnd/>
              <a:tailEnd/>
            </a:ln>
          </p:spPr>
        </p:cxnSp>
        <p:cxnSp>
          <p:nvCxnSpPr>
            <p:cNvPr id="11" name="AutoShape 12">
              <a:extLst>
                <a:ext uri="{FF2B5EF4-FFF2-40B4-BE49-F238E27FC236}">
                  <a16:creationId xmlns:a16="http://schemas.microsoft.com/office/drawing/2014/main" id="{8B52816B-F0E0-4E9E-9345-302129EAA159}"/>
                </a:ext>
              </a:extLst>
            </p:cNvPr>
            <p:cNvCxnSpPr>
              <a:cxnSpLocks noChangeShapeType="1"/>
              <a:stCxn id="6" idx="3"/>
              <a:endCxn id="24" idx="1"/>
            </p:cNvCxnSpPr>
            <p:nvPr/>
          </p:nvCxnSpPr>
          <p:spPr bwMode="auto">
            <a:xfrm>
              <a:off x="5122266" y="3849654"/>
              <a:ext cx="686826" cy="1500027"/>
            </a:xfrm>
            <a:prstGeom prst="bentConnector3">
              <a:avLst>
                <a:gd name="adj1" fmla="val 50000"/>
              </a:avLst>
            </a:prstGeom>
            <a:noFill/>
            <a:ln w="6350">
              <a:solidFill>
                <a:srgbClr val="BE82FF"/>
              </a:solidFill>
              <a:miter lim="800000"/>
              <a:headEnd/>
              <a:tailEnd/>
            </a:ln>
          </p:spPr>
        </p:cxnSp>
        <p:cxnSp>
          <p:nvCxnSpPr>
            <p:cNvPr id="20" name="Straight Connector 19">
              <a:extLst>
                <a:ext uri="{FF2B5EF4-FFF2-40B4-BE49-F238E27FC236}">
                  <a16:creationId xmlns:a16="http://schemas.microsoft.com/office/drawing/2014/main" id="{56020424-5309-4CAC-8508-6183BCD2B54B}"/>
                </a:ext>
              </a:extLst>
            </p:cNvPr>
            <p:cNvCxnSpPr/>
            <p:nvPr/>
          </p:nvCxnSpPr>
          <p:spPr bwMode="auto">
            <a:xfrm flipH="1">
              <a:off x="5465680" y="3848065"/>
              <a:ext cx="361665" cy="0"/>
            </a:xfrm>
            <a:prstGeom prst="line">
              <a:avLst/>
            </a:prstGeom>
            <a:noFill/>
            <a:ln w="6350" cap="flat" cmpd="sng" algn="ctr">
              <a:solidFill>
                <a:srgbClr val="BE82FF"/>
              </a:solidFill>
              <a:prstDash val="solid"/>
            </a:ln>
            <a:effectLst/>
          </p:spPr>
        </p:cxnSp>
      </p:grpSp>
      <p:sp>
        <p:nvSpPr>
          <p:cNvPr id="12" name="Text Box 26">
            <a:extLst>
              <a:ext uri="{FF2B5EF4-FFF2-40B4-BE49-F238E27FC236}">
                <a16:creationId xmlns:a16="http://schemas.microsoft.com/office/drawing/2014/main" id="{918EA78C-8DE2-47E1-BF07-F22147F99B5A}"/>
              </a:ext>
            </a:extLst>
          </p:cNvPr>
          <p:cNvSpPr txBox="1">
            <a:spLocks noChangeArrowheads="1"/>
          </p:cNvSpPr>
          <p:nvPr/>
        </p:nvSpPr>
        <p:spPr bwMode="auto">
          <a:xfrm>
            <a:off x="5790250" y="1763713"/>
            <a:ext cx="1429880" cy="147733"/>
          </a:xfrm>
          <a:prstGeom prst="rect">
            <a:avLst/>
          </a:prstGeom>
          <a:noFill/>
          <a:ln w="19050">
            <a:noFill/>
            <a:miter lim="800000"/>
            <a:headEnd/>
            <a:tailEnd/>
          </a:ln>
        </p:spPr>
        <p:txBody>
          <a:bodyPr wrap="none" lIns="0" tIns="0" rIns="0" bIns="0">
            <a:spAutoFit/>
          </a:bodyP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mj-lt"/>
                <a:ea typeface="+mn-ea"/>
                <a:cs typeface="Arial" pitchFamily="34" charset="0"/>
              </a:rPr>
              <a:t>Key Value Drivers*</a:t>
            </a:r>
          </a:p>
        </p:txBody>
      </p:sp>
      <p:sp>
        <p:nvSpPr>
          <p:cNvPr id="13" name="Text Box 26">
            <a:extLst>
              <a:ext uri="{FF2B5EF4-FFF2-40B4-BE49-F238E27FC236}">
                <a16:creationId xmlns:a16="http://schemas.microsoft.com/office/drawing/2014/main" id="{71D1245A-26C7-4F43-9C02-19A8C986C4C9}"/>
              </a:ext>
            </a:extLst>
          </p:cNvPr>
          <p:cNvSpPr txBox="1">
            <a:spLocks noChangeArrowheads="1"/>
          </p:cNvSpPr>
          <p:nvPr/>
        </p:nvSpPr>
        <p:spPr bwMode="auto">
          <a:xfrm>
            <a:off x="7656932" y="1763713"/>
            <a:ext cx="541816" cy="147733"/>
          </a:xfrm>
          <a:prstGeom prst="rect">
            <a:avLst/>
          </a:prstGeom>
          <a:noFill/>
          <a:ln w="19050">
            <a:noFill/>
            <a:miter lim="800000"/>
            <a:headEnd/>
            <a:tailEnd/>
          </a:ln>
        </p:spPr>
        <p:txBody>
          <a:bodyPr wrap="none" lIns="0" tIns="0" rIns="0" bIns="0">
            <a:spAutoFit/>
          </a:bodyP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mj-lt"/>
                <a:ea typeface="+mn-ea"/>
                <a:cs typeface="Arial" pitchFamily="34" charset="0"/>
              </a:rPr>
              <a:t>Impact</a:t>
            </a:r>
          </a:p>
        </p:txBody>
      </p:sp>
      <p:sp>
        <p:nvSpPr>
          <p:cNvPr id="21" name="Text Box 3">
            <a:extLst>
              <a:ext uri="{FF2B5EF4-FFF2-40B4-BE49-F238E27FC236}">
                <a16:creationId xmlns:a16="http://schemas.microsoft.com/office/drawing/2014/main" id="{7CF0AB07-1941-481B-B80C-F1FB064606BF}"/>
              </a:ext>
            </a:extLst>
          </p:cNvPr>
          <p:cNvSpPr txBox="1">
            <a:spLocks noChangeArrowheads="1"/>
          </p:cNvSpPr>
          <p:nvPr/>
        </p:nvSpPr>
        <p:spPr bwMode="auto">
          <a:xfrm>
            <a:off x="5809092" y="2110645"/>
            <a:ext cx="1373944" cy="491819"/>
          </a:xfrm>
          <a:prstGeom prst="rect">
            <a:avLst/>
          </a:prstGeom>
          <a:solidFill>
            <a:srgbClr val="A100FF"/>
          </a:solidFill>
          <a:ln w="9525">
            <a:noFill/>
            <a:miter lim="800000"/>
            <a:headEnd/>
            <a:tailEnd/>
          </a:ln>
        </p:spPr>
        <p:txBody>
          <a:bodyPr lIns="72000" rIns="45720" anchor="ctr" anchorCtr="0"/>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mj-lt"/>
                <a:ea typeface="+mn-ea"/>
                <a:cs typeface="Arial" pitchFamily="34" charset="0"/>
              </a:rPr>
              <a:t>Driver #1 ... </a:t>
            </a:r>
          </a:p>
        </p:txBody>
      </p:sp>
      <p:sp>
        <p:nvSpPr>
          <p:cNvPr id="14" name="Text Box 13">
            <a:extLst>
              <a:ext uri="{FF2B5EF4-FFF2-40B4-BE49-F238E27FC236}">
                <a16:creationId xmlns:a16="http://schemas.microsoft.com/office/drawing/2014/main" id="{083DD91F-A038-462B-8859-CC5C2E046749}"/>
              </a:ext>
            </a:extLst>
          </p:cNvPr>
          <p:cNvSpPr txBox="1">
            <a:spLocks noChangeArrowheads="1"/>
          </p:cNvSpPr>
          <p:nvPr/>
        </p:nvSpPr>
        <p:spPr bwMode="auto">
          <a:xfrm>
            <a:off x="7680177" y="2288103"/>
            <a:ext cx="2892151" cy="123111"/>
          </a:xfrm>
          <a:prstGeom prst="rect">
            <a:avLst/>
          </a:prstGeom>
          <a:noFill/>
          <a:ln w="12700">
            <a:noFill/>
            <a:miter lim="800000"/>
            <a:headEnd/>
            <a:tailEnd/>
          </a:ln>
        </p:spPr>
        <p:txBody>
          <a:bodyPr wrap="square" lIns="36000" tIns="0" rIns="36000" bIns="0">
            <a:spAutoFit/>
          </a:bodyPr>
          <a:lstStyle/>
          <a:p>
            <a:pPr marL="88900" marR="0" lvl="0" indent="-88900" algn="l" defTabSz="914400" rtl="0" eaLnBrk="0" fontAlgn="base" latinLnBrk="0" hangingPunct="0">
              <a:lnSpc>
                <a:spcPct val="80000"/>
              </a:lnSpc>
              <a:spcBef>
                <a:spcPct val="0"/>
              </a:spcBef>
              <a:spcAft>
                <a:spcPct val="0"/>
              </a:spcAft>
              <a:buClrTx/>
              <a:buSzPct val="100000"/>
              <a:buFontTx/>
              <a:buChar char="•"/>
              <a:tabLst/>
              <a:defRPr/>
            </a:pPr>
            <a:r>
              <a:rPr kumimoji="0" lang="en-GB" sz="1000" b="0" i="0" u="none" strike="noStrike" kern="1200" cap="none" spc="0" normalizeH="0" baseline="0" noProof="0" dirty="0">
                <a:ln>
                  <a:noFill/>
                </a:ln>
                <a:solidFill>
                  <a:srgbClr val="000000"/>
                </a:solidFill>
                <a:effectLst/>
                <a:uLnTx/>
                <a:uFillTx/>
                <a:ea typeface="+mn-ea"/>
                <a:cs typeface="Arial" pitchFamily="34" charset="0"/>
              </a:rPr>
              <a:t>Client Impact/ Performance #1 ...</a:t>
            </a:r>
          </a:p>
        </p:txBody>
      </p:sp>
      <p:sp>
        <p:nvSpPr>
          <p:cNvPr id="22" name="Text Box 4">
            <a:extLst>
              <a:ext uri="{FF2B5EF4-FFF2-40B4-BE49-F238E27FC236}">
                <a16:creationId xmlns:a16="http://schemas.microsoft.com/office/drawing/2014/main" id="{7AEB457A-06FD-435C-94D9-7F471F349FE9}"/>
              </a:ext>
            </a:extLst>
          </p:cNvPr>
          <p:cNvSpPr txBox="1">
            <a:spLocks noChangeArrowheads="1"/>
          </p:cNvSpPr>
          <p:nvPr/>
        </p:nvSpPr>
        <p:spPr bwMode="auto">
          <a:xfrm>
            <a:off x="5809092" y="2849515"/>
            <a:ext cx="1373944" cy="484461"/>
          </a:xfrm>
          <a:prstGeom prst="rect">
            <a:avLst/>
          </a:prstGeom>
          <a:solidFill>
            <a:srgbClr val="A100FF"/>
          </a:solidFill>
          <a:ln w="9525">
            <a:noFill/>
            <a:miter lim="800000"/>
            <a:headEnd/>
            <a:tailEnd/>
          </a:ln>
        </p:spPr>
        <p:txBody>
          <a:bodyPr lIns="72000" rIns="45720" anchor="ctr" anchorCtr="0"/>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mj-lt"/>
                <a:ea typeface="+mn-ea"/>
                <a:cs typeface="Arial" pitchFamily="34" charset="0"/>
              </a:rPr>
              <a:t>Driver #2 ... </a:t>
            </a:r>
          </a:p>
        </p:txBody>
      </p:sp>
      <p:sp>
        <p:nvSpPr>
          <p:cNvPr id="15" name="Text Box 13">
            <a:extLst>
              <a:ext uri="{FF2B5EF4-FFF2-40B4-BE49-F238E27FC236}">
                <a16:creationId xmlns:a16="http://schemas.microsoft.com/office/drawing/2014/main" id="{9DDFB925-722F-4F15-AC6F-5FE8497CF275}"/>
              </a:ext>
            </a:extLst>
          </p:cNvPr>
          <p:cNvSpPr txBox="1">
            <a:spLocks noChangeArrowheads="1"/>
          </p:cNvSpPr>
          <p:nvPr/>
        </p:nvSpPr>
        <p:spPr bwMode="auto">
          <a:xfrm>
            <a:off x="7680177" y="3000769"/>
            <a:ext cx="2892151" cy="123111"/>
          </a:xfrm>
          <a:prstGeom prst="rect">
            <a:avLst/>
          </a:prstGeom>
          <a:noFill/>
          <a:ln w="12700">
            <a:noFill/>
            <a:miter lim="800000"/>
            <a:headEnd/>
            <a:tailEnd/>
          </a:ln>
        </p:spPr>
        <p:txBody>
          <a:bodyPr wrap="square" lIns="36000" tIns="0" rIns="36000" bIns="0">
            <a:spAutoFit/>
          </a:bodyPr>
          <a:lstStyle/>
          <a:p>
            <a:pPr marL="88900" marR="0" lvl="0" indent="-88900" algn="l" defTabSz="914400" rtl="0" eaLnBrk="0" fontAlgn="base" latinLnBrk="0" hangingPunct="0">
              <a:lnSpc>
                <a:spcPct val="80000"/>
              </a:lnSpc>
              <a:spcBef>
                <a:spcPct val="0"/>
              </a:spcBef>
              <a:spcAft>
                <a:spcPct val="0"/>
              </a:spcAft>
              <a:buClrTx/>
              <a:buSzPct val="100000"/>
              <a:buFontTx/>
              <a:buChar char="•"/>
              <a:tabLst/>
              <a:defRPr/>
            </a:pPr>
            <a:r>
              <a:rPr kumimoji="0" lang="en-GB" sz="1000" b="0" i="0" u="none" strike="noStrike" kern="1200" cap="none" spc="0" normalizeH="0" baseline="0" noProof="0" dirty="0">
                <a:ln>
                  <a:noFill/>
                </a:ln>
                <a:solidFill>
                  <a:srgbClr val="000000"/>
                </a:solidFill>
                <a:effectLst/>
                <a:uLnTx/>
                <a:uFillTx/>
                <a:ea typeface="+mn-ea"/>
                <a:cs typeface="Arial" pitchFamily="34" charset="0"/>
              </a:rPr>
              <a:t>Client Impact/ Performance #2 ...</a:t>
            </a:r>
          </a:p>
        </p:txBody>
      </p:sp>
      <p:sp>
        <p:nvSpPr>
          <p:cNvPr id="25" name="Text Box 5">
            <a:extLst>
              <a:ext uri="{FF2B5EF4-FFF2-40B4-BE49-F238E27FC236}">
                <a16:creationId xmlns:a16="http://schemas.microsoft.com/office/drawing/2014/main" id="{3F49FFB9-B936-45C4-AD8C-5C408DD5BDD8}"/>
              </a:ext>
            </a:extLst>
          </p:cNvPr>
          <p:cNvSpPr txBox="1">
            <a:spLocks noChangeArrowheads="1"/>
          </p:cNvSpPr>
          <p:nvPr/>
        </p:nvSpPr>
        <p:spPr bwMode="auto">
          <a:xfrm>
            <a:off x="5809092" y="3581026"/>
            <a:ext cx="1373944" cy="553662"/>
          </a:xfrm>
          <a:prstGeom prst="rect">
            <a:avLst/>
          </a:prstGeom>
          <a:solidFill>
            <a:srgbClr val="A100FF"/>
          </a:solidFill>
          <a:ln w="9525">
            <a:noFill/>
            <a:miter lim="800000"/>
            <a:headEnd/>
            <a:tailEnd/>
          </a:ln>
        </p:spPr>
        <p:txBody>
          <a:bodyPr lIns="72000" rIns="45720" anchor="ctr" anchorCtr="0"/>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mj-lt"/>
                <a:ea typeface="+mn-ea"/>
                <a:cs typeface="Arial" pitchFamily="34" charset="0"/>
              </a:rPr>
              <a:t>Driver #3 ... </a:t>
            </a:r>
          </a:p>
        </p:txBody>
      </p:sp>
      <p:sp>
        <p:nvSpPr>
          <p:cNvPr id="16" name="Text Box 13">
            <a:extLst>
              <a:ext uri="{FF2B5EF4-FFF2-40B4-BE49-F238E27FC236}">
                <a16:creationId xmlns:a16="http://schemas.microsoft.com/office/drawing/2014/main" id="{C80DC5D6-BA1A-4E9A-9959-140EFEC19D78}"/>
              </a:ext>
            </a:extLst>
          </p:cNvPr>
          <p:cNvSpPr txBox="1">
            <a:spLocks noChangeArrowheads="1"/>
          </p:cNvSpPr>
          <p:nvPr/>
        </p:nvSpPr>
        <p:spPr bwMode="auto">
          <a:xfrm>
            <a:off x="7680177" y="3762946"/>
            <a:ext cx="2892151" cy="123111"/>
          </a:xfrm>
          <a:prstGeom prst="rect">
            <a:avLst/>
          </a:prstGeom>
          <a:noFill/>
          <a:ln w="12700">
            <a:noFill/>
            <a:miter lim="800000"/>
            <a:headEnd/>
            <a:tailEnd/>
          </a:ln>
        </p:spPr>
        <p:txBody>
          <a:bodyPr wrap="square" lIns="36000" tIns="0" rIns="36000" bIns="0">
            <a:spAutoFit/>
          </a:bodyPr>
          <a:lstStyle/>
          <a:p>
            <a:pPr marL="88900" marR="0" lvl="0" indent="-88900" algn="l" defTabSz="914400" rtl="0" eaLnBrk="0" fontAlgn="base" latinLnBrk="0" hangingPunct="0">
              <a:lnSpc>
                <a:spcPct val="80000"/>
              </a:lnSpc>
              <a:spcBef>
                <a:spcPct val="0"/>
              </a:spcBef>
              <a:spcAft>
                <a:spcPct val="0"/>
              </a:spcAft>
              <a:buClrTx/>
              <a:buSzPct val="100000"/>
              <a:buFontTx/>
              <a:buChar char="•"/>
              <a:tabLst/>
              <a:defRPr/>
            </a:pPr>
            <a:r>
              <a:rPr kumimoji="0" lang="en-GB" sz="1000" b="0" i="0" u="none" strike="noStrike" kern="1200" cap="none" spc="0" normalizeH="0" baseline="0" noProof="0" dirty="0">
                <a:ln>
                  <a:noFill/>
                </a:ln>
                <a:solidFill>
                  <a:srgbClr val="000000"/>
                </a:solidFill>
                <a:effectLst/>
                <a:uLnTx/>
                <a:uFillTx/>
                <a:ea typeface="+mn-ea"/>
                <a:cs typeface="Arial" pitchFamily="34" charset="0"/>
              </a:rPr>
              <a:t>Client Impact/ Performance #3 ...</a:t>
            </a:r>
          </a:p>
        </p:txBody>
      </p:sp>
      <p:sp>
        <p:nvSpPr>
          <p:cNvPr id="23" name="Text Box 6">
            <a:extLst>
              <a:ext uri="{FF2B5EF4-FFF2-40B4-BE49-F238E27FC236}">
                <a16:creationId xmlns:a16="http://schemas.microsoft.com/office/drawing/2014/main" id="{FC3C58E1-D8C3-4393-AC81-CA2EFA8AF9F6}"/>
              </a:ext>
            </a:extLst>
          </p:cNvPr>
          <p:cNvSpPr txBox="1">
            <a:spLocks noChangeArrowheads="1"/>
          </p:cNvSpPr>
          <p:nvPr/>
        </p:nvSpPr>
        <p:spPr bwMode="auto">
          <a:xfrm>
            <a:off x="5809092" y="4381739"/>
            <a:ext cx="1373944" cy="469750"/>
          </a:xfrm>
          <a:prstGeom prst="rect">
            <a:avLst/>
          </a:prstGeom>
          <a:solidFill>
            <a:srgbClr val="A100FF"/>
          </a:solidFill>
          <a:ln w="9525">
            <a:noFill/>
            <a:miter lim="800000"/>
            <a:headEnd/>
            <a:tailEnd/>
          </a:ln>
        </p:spPr>
        <p:txBody>
          <a:bodyPr lIns="72000" rIns="45720" anchor="ctr" anchorCtr="0"/>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mj-lt"/>
                <a:ea typeface="+mn-ea"/>
                <a:cs typeface="Arial" pitchFamily="34" charset="0"/>
              </a:rPr>
              <a:t>Driver #4 ... </a:t>
            </a:r>
          </a:p>
        </p:txBody>
      </p:sp>
      <p:sp>
        <p:nvSpPr>
          <p:cNvPr id="17" name="Text Box 13">
            <a:extLst>
              <a:ext uri="{FF2B5EF4-FFF2-40B4-BE49-F238E27FC236}">
                <a16:creationId xmlns:a16="http://schemas.microsoft.com/office/drawing/2014/main" id="{50D9B359-B0E6-4CF0-ABC5-718C585C72D8}"/>
              </a:ext>
            </a:extLst>
          </p:cNvPr>
          <p:cNvSpPr txBox="1">
            <a:spLocks noChangeArrowheads="1"/>
          </p:cNvSpPr>
          <p:nvPr/>
        </p:nvSpPr>
        <p:spPr bwMode="auto">
          <a:xfrm>
            <a:off x="7692877" y="4525123"/>
            <a:ext cx="2892151" cy="123111"/>
          </a:xfrm>
          <a:prstGeom prst="rect">
            <a:avLst/>
          </a:prstGeom>
          <a:noFill/>
          <a:ln w="12700">
            <a:noFill/>
            <a:miter lim="800000"/>
            <a:headEnd/>
            <a:tailEnd/>
          </a:ln>
        </p:spPr>
        <p:txBody>
          <a:bodyPr wrap="square" lIns="36000" tIns="0" rIns="36000" bIns="0">
            <a:spAutoFit/>
          </a:bodyPr>
          <a:lstStyle/>
          <a:p>
            <a:pPr marL="88900" marR="0" lvl="0" indent="-88900" algn="l" defTabSz="914400" rtl="0" eaLnBrk="0" fontAlgn="base" latinLnBrk="0" hangingPunct="0">
              <a:lnSpc>
                <a:spcPct val="80000"/>
              </a:lnSpc>
              <a:spcBef>
                <a:spcPct val="0"/>
              </a:spcBef>
              <a:spcAft>
                <a:spcPct val="0"/>
              </a:spcAft>
              <a:buClrTx/>
              <a:buSzPct val="100000"/>
              <a:buFontTx/>
              <a:buChar char="•"/>
              <a:tabLst/>
              <a:defRPr/>
            </a:pPr>
            <a:r>
              <a:rPr kumimoji="0" lang="en-GB" sz="1000" b="0" i="0" u="none" strike="noStrike" kern="1200" cap="none" spc="0" normalizeH="0" baseline="0" noProof="0" dirty="0">
                <a:ln>
                  <a:noFill/>
                </a:ln>
                <a:solidFill>
                  <a:srgbClr val="000000"/>
                </a:solidFill>
                <a:effectLst/>
                <a:uLnTx/>
                <a:uFillTx/>
                <a:ea typeface="+mn-ea"/>
                <a:cs typeface="Arial" pitchFamily="34" charset="0"/>
              </a:rPr>
              <a:t>Client Impact/ Performance #4 ...</a:t>
            </a:r>
          </a:p>
        </p:txBody>
      </p:sp>
      <p:sp>
        <p:nvSpPr>
          <p:cNvPr id="24" name="Text Box 7">
            <a:extLst>
              <a:ext uri="{FF2B5EF4-FFF2-40B4-BE49-F238E27FC236}">
                <a16:creationId xmlns:a16="http://schemas.microsoft.com/office/drawing/2014/main" id="{C4B7848C-C36B-4BCC-A6C7-3CFF22049C97}"/>
              </a:ext>
            </a:extLst>
          </p:cNvPr>
          <p:cNvSpPr txBox="1">
            <a:spLocks noChangeArrowheads="1"/>
          </p:cNvSpPr>
          <p:nvPr/>
        </p:nvSpPr>
        <p:spPr bwMode="auto">
          <a:xfrm>
            <a:off x="5809092" y="5098539"/>
            <a:ext cx="1373944" cy="502282"/>
          </a:xfrm>
          <a:prstGeom prst="rect">
            <a:avLst/>
          </a:prstGeom>
          <a:solidFill>
            <a:srgbClr val="A100FF"/>
          </a:solidFill>
          <a:ln w="9525">
            <a:noFill/>
            <a:miter lim="800000"/>
            <a:headEnd/>
            <a:tailEnd/>
          </a:ln>
        </p:spPr>
        <p:txBody>
          <a:bodyPr lIns="72000" rIns="45720" anchor="ctr" anchorCtr="0"/>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mj-lt"/>
                <a:ea typeface="+mn-ea"/>
                <a:cs typeface="Arial" pitchFamily="34" charset="0"/>
              </a:rPr>
              <a:t>Driver #5 ... </a:t>
            </a:r>
          </a:p>
        </p:txBody>
      </p:sp>
      <p:sp>
        <p:nvSpPr>
          <p:cNvPr id="18" name="Text Box 13">
            <a:extLst>
              <a:ext uri="{FF2B5EF4-FFF2-40B4-BE49-F238E27FC236}">
                <a16:creationId xmlns:a16="http://schemas.microsoft.com/office/drawing/2014/main" id="{D4AF1DF0-CC9F-450D-9D29-394C9282EE25}"/>
              </a:ext>
            </a:extLst>
          </p:cNvPr>
          <p:cNvSpPr txBox="1">
            <a:spLocks noChangeArrowheads="1"/>
          </p:cNvSpPr>
          <p:nvPr/>
        </p:nvSpPr>
        <p:spPr bwMode="auto">
          <a:xfrm>
            <a:off x="7680177" y="5276435"/>
            <a:ext cx="2892151" cy="123111"/>
          </a:xfrm>
          <a:prstGeom prst="rect">
            <a:avLst/>
          </a:prstGeom>
          <a:noFill/>
          <a:ln w="12700">
            <a:noFill/>
            <a:miter lim="800000"/>
            <a:headEnd/>
            <a:tailEnd/>
          </a:ln>
        </p:spPr>
        <p:txBody>
          <a:bodyPr wrap="square" lIns="36000" tIns="0" rIns="36000" bIns="0">
            <a:spAutoFit/>
          </a:bodyPr>
          <a:lstStyle/>
          <a:p>
            <a:pPr marL="88900" marR="0" lvl="0" indent="-88900" algn="l" defTabSz="914400" rtl="0" eaLnBrk="0" fontAlgn="base" latinLnBrk="0" hangingPunct="0">
              <a:lnSpc>
                <a:spcPct val="80000"/>
              </a:lnSpc>
              <a:spcBef>
                <a:spcPct val="0"/>
              </a:spcBef>
              <a:spcAft>
                <a:spcPct val="0"/>
              </a:spcAft>
              <a:buClrTx/>
              <a:buSzPct val="100000"/>
              <a:buFontTx/>
              <a:buChar char="•"/>
              <a:tabLst/>
              <a:defRPr/>
            </a:pPr>
            <a:r>
              <a:rPr kumimoji="0" lang="en-GB" sz="1000" b="0" i="0" u="none" strike="noStrike" kern="1200" cap="none" spc="0" normalizeH="0" baseline="0" noProof="0" dirty="0">
                <a:ln>
                  <a:noFill/>
                </a:ln>
                <a:solidFill>
                  <a:srgbClr val="000000"/>
                </a:solidFill>
                <a:effectLst/>
                <a:uLnTx/>
                <a:uFillTx/>
                <a:ea typeface="+mn-ea"/>
                <a:cs typeface="Arial" pitchFamily="34" charset="0"/>
              </a:rPr>
              <a:t>Client Impact/ Performance #5 ...</a:t>
            </a:r>
          </a:p>
        </p:txBody>
      </p:sp>
      <p:sp>
        <p:nvSpPr>
          <p:cNvPr id="19" name="TextBox 18">
            <a:extLst>
              <a:ext uri="{FF2B5EF4-FFF2-40B4-BE49-F238E27FC236}">
                <a16:creationId xmlns:a16="http://schemas.microsoft.com/office/drawing/2014/main" id="{075AAF97-4A8E-4506-9623-9D3A5EEADD0E}"/>
              </a:ext>
            </a:extLst>
          </p:cNvPr>
          <p:cNvSpPr txBox="1"/>
          <p:nvPr/>
        </p:nvSpPr>
        <p:spPr bwMode="auto">
          <a:xfrm>
            <a:off x="1992314" y="5795590"/>
            <a:ext cx="8203443"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Note: *These should reconcile with the Industry Value Driver Tree. Where one does not already exist, this should be created first and the drivers in here can then reference the tree to ensure consistency</a:t>
            </a:r>
          </a:p>
        </p:txBody>
      </p:sp>
      <p:sp>
        <p:nvSpPr>
          <p:cNvPr id="27" name="Footer Placeholder 26">
            <a:extLst>
              <a:ext uri="{FF2B5EF4-FFF2-40B4-BE49-F238E27FC236}">
                <a16:creationId xmlns:a16="http://schemas.microsoft.com/office/drawing/2014/main" id="{3EF886E1-2C81-4FDB-A20D-27EA6DA1C0A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8" name="Slide Number Placeholder 27">
            <a:extLst>
              <a:ext uri="{FF2B5EF4-FFF2-40B4-BE49-F238E27FC236}">
                <a16:creationId xmlns:a16="http://schemas.microsoft.com/office/drawing/2014/main" id="{F7B018B7-45AB-4F06-9699-BB60B0E92AAC}"/>
              </a:ext>
            </a:extLst>
          </p:cNvPr>
          <p:cNvSpPr>
            <a:spLocks noGrp="1"/>
          </p:cNvSpPr>
          <p:nvPr>
            <p:ph type="sldNum" sz="quarter" idx="10"/>
          </p:nvPr>
        </p:nvSpPr>
        <p:spPr/>
        <p:txBody>
          <a:bodyPr/>
          <a:lstStyle/>
          <a:p>
            <a:fld id="{1F90F471-3972-4120-B8B3-0237DE626C35}" type="slidenum">
              <a:rPr lang="en-US" smtClean="0"/>
              <a:pPr/>
              <a:t>378</a:t>
            </a:fld>
            <a:endParaRPr lang="en-US" dirty="0"/>
          </a:p>
        </p:txBody>
      </p:sp>
    </p:spTree>
    <p:extLst>
      <p:ext uri="{BB962C8B-B14F-4D97-AF65-F5344CB8AC3E}">
        <p14:creationId xmlns:p14="http://schemas.microsoft.com/office/powerpoint/2010/main" val="1694599365"/>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Economic Model Template</a:t>
            </a:r>
          </a:p>
        </p:txBody>
      </p:sp>
      <p:sp>
        <p:nvSpPr>
          <p:cNvPr id="6" name="Rectangle 5">
            <a:extLst>
              <a:ext uri="{FF2B5EF4-FFF2-40B4-BE49-F238E27FC236}">
                <a16:creationId xmlns:a16="http://schemas.microsoft.com/office/drawing/2014/main" id="{FFBE396B-0DE5-4171-864B-687DF71339A1}"/>
              </a:ext>
            </a:extLst>
          </p:cNvPr>
          <p:cNvSpPr>
            <a:spLocks noChangeArrowheads="1"/>
          </p:cNvSpPr>
          <p:nvPr/>
        </p:nvSpPr>
        <p:spPr bwMode="auto">
          <a:xfrm>
            <a:off x="5459258" y="3246213"/>
            <a:ext cx="1482725" cy="1368425"/>
          </a:xfrm>
          <a:prstGeom prst="rect">
            <a:avLst/>
          </a:prstGeom>
          <a:solidFill>
            <a:srgbClr val="A100FF"/>
          </a:solidFill>
          <a:ln w="12700">
            <a:noFill/>
            <a:miter lim="800000"/>
            <a:headEnd/>
            <a:tailEnd/>
          </a:ln>
        </p:spPr>
        <p:txBody>
          <a:bodyPr wrap="square" lIns="72000" tIns="0" rIns="72000" bIns="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mj-lt"/>
                <a:ea typeface="+mn-ea"/>
                <a:cs typeface="+mn-cs"/>
              </a:rPr>
              <a:t>Compan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mj-lt"/>
                <a:ea typeface="+mn-ea"/>
                <a:cs typeface="+mn-cs"/>
              </a:rPr>
              <a:t>Nam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dirty="0">
              <a:ln>
                <a:noFill/>
              </a:ln>
              <a:solidFill>
                <a:srgbClr val="FFFFFF"/>
              </a:solidFill>
              <a:effectLst/>
              <a:uLnTx/>
              <a:uFillTx/>
              <a:latin typeface="+mj-lt"/>
              <a:ea typeface="+mn-ea"/>
              <a:cs typeface="+mn-cs"/>
            </a:endParaRPr>
          </a:p>
        </p:txBody>
      </p:sp>
      <p:sp>
        <p:nvSpPr>
          <p:cNvPr id="8" name="Rectangle 8">
            <a:extLst>
              <a:ext uri="{FF2B5EF4-FFF2-40B4-BE49-F238E27FC236}">
                <a16:creationId xmlns:a16="http://schemas.microsoft.com/office/drawing/2014/main" id="{4C62199F-3155-47E5-90A5-FFF50FA8CCC9}"/>
              </a:ext>
            </a:extLst>
          </p:cNvPr>
          <p:cNvSpPr>
            <a:spLocks noChangeAspect="1" noChangeArrowheads="1"/>
          </p:cNvSpPr>
          <p:nvPr/>
        </p:nvSpPr>
        <p:spPr bwMode="auto">
          <a:xfrm>
            <a:off x="5748183" y="1916833"/>
            <a:ext cx="904875" cy="835025"/>
          </a:xfrm>
          <a:prstGeom prst="rect">
            <a:avLst/>
          </a:prstGeom>
          <a:solidFill>
            <a:srgbClr val="BE82FF"/>
          </a:solidFill>
          <a:ln w="12700">
            <a:noFill/>
            <a:miter lim="800000"/>
            <a:headEnd/>
            <a:tailEnd/>
          </a:ln>
        </p:spPr>
        <p:txBody>
          <a:bodyPr wrap="square" lIns="72000" tIns="0" rIns="7200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effectLst/>
                <a:uLnTx/>
                <a:uFillTx/>
                <a:latin typeface="+mj-lt"/>
                <a:ea typeface="+mn-ea"/>
                <a:cs typeface="+mn-cs"/>
              </a:rPr>
              <a:t>Value </a:t>
            </a:r>
            <a:br>
              <a:rPr kumimoji="0" lang="en-GB" sz="900" b="1" i="0" u="none" strike="noStrike" kern="0" cap="none" spc="0" normalizeH="0" baseline="0" noProof="0" dirty="0">
                <a:ln>
                  <a:noFill/>
                </a:ln>
                <a:effectLst/>
                <a:uLnTx/>
                <a:uFillTx/>
                <a:latin typeface="+mj-lt"/>
                <a:ea typeface="+mn-ea"/>
                <a:cs typeface="+mn-cs"/>
              </a:rPr>
            </a:br>
            <a:r>
              <a:rPr kumimoji="0" lang="en-GB" sz="900" b="1" i="0" u="none" strike="noStrike" kern="0" cap="none" spc="0" normalizeH="0" baseline="0" noProof="0" dirty="0">
                <a:ln>
                  <a:noFill/>
                </a:ln>
                <a:effectLst/>
                <a:uLnTx/>
                <a:uFillTx/>
                <a:latin typeface="+mj-lt"/>
                <a:ea typeface="+mn-ea"/>
                <a:cs typeface="+mn-cs"/>
              </a:rPr>
              <a:t>Driver 2</a:t>
            </a:r>
            <a:endParaRPr kumimoji="0" lang="en-US" sz="900" b="1" i="0" u="none" strike="noStrike" kern="0" cap="none" spc="0" normalizeH="0" baseline="0" noProof="0" dirty="0">
              <a:ln>
                <a:noFill/>
              </a:ln>
              <a:effectLst/>
              <a:uLnTx/>
              <a:uFillTx/>
              <a:latin typeface="+mj-lt"/>
              <a:ea typeface="+mn-ea"/>
              <a:cs typeface="+mn-cs"/>
            </a:endParaRPr>
          </a:p>
        </p:txBody>
      </p:sp>
      <p:cxnSp>
        <p:nvCxnSpPr>
          <p:cNvPr id="17" name="AutoShape 27">
            <a:extLst>
              <a:ext uri="{FF2B5EF4-FFF2-40B4-BE49-F238E27FC236}">
                <a16:creationId xmlns:a16="http://schemas.microsoft.com/office/drawing/2014/main" id="{2C179F8B-10D7-48BD-8556-A554E42A896D}"/>
              </a:ext>
              <a:ext uri="{C183D7F6-B498-43B3-948B-1728B52AA6E4}">
                <adec:decorative xmlns:adec="http://schemas.microsoft.com/office/drawing/2017/decorative" val="1"/>
              </a:ext>
            </a:extLst>
          </p:cNvPr>
          <p:cNvCxnSpPr>
            <a:cxnSpLocks noChangeShapeType="1"/>
            <a:stCxn id="8" idx="2"/>
            <a:endCxn id="6" idx="0"/>
          </p:cNvCxnSpPr>
          <p:nvPr/>
        </p:nvCxnSpPr>
        <p:spPr bwMode="auto">
          <a:xfrm>
            <a:off x="6200620" y="2751858"/>
            <a:ext cx="0" cy="494355"/>
          </a:xfrm>
          <a:prstGeom prst="straightConnector1">
            <a:avLst/>
          </a:prstGeom>
          <a:noFill/>
          <a:ln w="6350">
            <a:solidFill>
              <a:srgbClr val="BE82FF"/>
            </a:solidFill>
            <a:round/>
            <a:headEnd/>
            <a:tailEnd type="triangle" w="med" len="med"/>
          </a:ln>
        </p:spPr>
      </p:cxnSp>
      <p:cxnSp>
        <p:nvCxnSpPr>
          <p:cNvPr id="18" name="AutoShape 28">
            <a:extLst>
              <a:ext uri="{FF2B5EF4-FFF2-40B4-BE49-F238E27FC236}">
                <a16:creationId xmlns:a16="http://schemas.microsoft.com/office/drawing/2014/main" id="{71BB82FA-2F3C-44E8-9F50-943D47B497F5}"/>
              </a:ext>
              <a:ext uri="{C183D7F6-B498-43B3-948B-1728B52AA6E4}">
                <adec:decorative xmlns:adec="http://schemas.microsoft.com/office/drawing/2017/decorative" val="1"/>
              </a:ext>
            </a:extLst>
          </p:cNvPr>
          <p:cNvCxnSpPr>
            <a:cxnSpLocks noChangeShapeType="1"/>
            <a:stCxn id="6" idx="1"/>
            <a:endCxn id="69" idx="3"/>
          </p:cNvCxnSpPr>
          <p:nvPr/>
        </p:nvCxnSpPr>
        <p:spPr bwMode="auto">
          <a:xfrm flipH="1">
            <a:off x="4585051" y="3930425"/>
            <a:ext cx="874206" cy="0"/>
          </a:xfrm>
          <a:prstGeom prst="straightConnector1">
            <a:avLst/>
          </a:prstGeom>
          <a:noFill/>
          <a:ln w="6350">
            <a:solidFill>
              <a:srgbClr val="BE82FF"/>
            </a:solidFill>
            <a:round/>
            <a:headEnd type="none"/>
            <a:tailEnd type="triangle" w="med" len="med"/>
          </a:ln>
        </p:spPr>
      </p:cxnSp>
      <p:cxnSp>
        <p:nvCxnSpPr>
          <p:cNvPr id="29" name="AutoShape 51">
            <a:extLst>
              <a:ext uri="{FF2B5EF4-FFF2-40B4-BE49-F238E27FC236}">
                <a16:creationId xmlns:a16="http://schemas.microsoft.com/office/drawing/2014/main" id="{90970ECA-BC8C-4320-ABE1-750B9CBE8B15}"/>
              </a:ext>
              <a:ext uri="{C183D7F6-B498-43B3-948B-1728B52AA6E4}">
                <adec:decorative xmlns:adec="http://schemas.microsoft.com/office/drawing/2017/decorative" val="1"/>
              </a:ext>
            </a:extLst>
          </p:cNvPr>
          <p:cNvCxnSpPr>
            <a:cxnSpLocks noChangeShapeType="1"/>
            <a:endCxn id="8" idx="1"/>
          </p:cNvCxnSpPr>
          <p:nvPr/>
        </p:nvCxnSpPr>
        <p:spPr bwMode="auto">
          <a:xfrm flipV="1">
            <a:off x="4567094" y="2334346"/>
            <a:ext cx="1181089" cy="133349"/>
          </a:xfrm>
          <a:prstGeom prst="bentConnector3">
            <a:avLst>
              <a:gd name="adj1" fmla="val 28226"/>
            </a:avLst>
          </a:prstGeom>
          <a:noFill/>
          <a:ln w="6350">
            <a:solidFill>
              <a:srgbClr val="BE82FF"/>
            </a:solidFill>
            <a:miter lim="800000"/>
            <a:headEnd/>
            <a:tailEnd type="triangle" w="med" len="med"/>
          </a:ln>
        </p:spPr>
      </p:cxnSp>
      <p:cxnSp>
        <p:nvCxnSpPr>
          <p:cNvPr id="30" name="AutoShape 52">
            <a:extLst>
              <a:ext uri="{FF2B5EF4-FFF2-40B4-BE49-F238E27FC236}">
                <a16:creationId xmlns:a16="http://schemas.microsoft.com/office/drawing/2014/main" id="{53E93A80-584D-4353-800F-D2DE7D8BEAC2}"/>
              </a:ext>
              <a:ext uri="{C183D7F6-B498-43B3-948B-1728B52AA6E4}">
                <adec:decorative xmlns:adec="http://schemas.microsoft.com/office/drawing/2017/decorative" val="1"/>
              </a:ext>
            </a:extLst>
          </p:cNvPr>
          <p:cNvCxnSpPr>
            <a:cxnSpLocks noChangeShapeType="1"/>
            <a:endCxn id="8" idx="1"/>
          </p:cNvCxnSpPr>
          <p:nvPr/>
        </p:nvCxnSpPr>
        <p:spPr bwMode="auto">
          <a:xfrm>
            <a:off x="4567094" y="2142257"/>
            <a:ext cx="1181089" cy="192088"/>
          </a:xfrm>
          <a:prstGeom prst="bentConnector3">
            <a:avLst>
              <a:gd name="adj1" fmla="val 28226"/>
            </a:avLst>
          </a:prstGeom>
          <a:noFill/>
          <a:ln w="6350">
            <a:solidFill>
              <a:srgbClr val="BE82FF"/>
            </a:solidFill>
            <a:miter lim="800000"/>
            <a:headEnd/>
            <a:tailEnd type="triangle" w="med" len="med"/>
          </a:ln>
        </p:spPr>
      </p:cxnSp>
      <p:cxnSp>
        <p:nvCxnSpPr>
          <p:cNvPr id="31" name="AutoShape 53">
            <a:extLst>
              <a:ext uri="{FF2B5EF4-FFF2-40B4-BE49-F238E27FC236}">
                <a16:creationId xmlns:a16="http://schemas.microsoft.com/office/drawing/2014/main" id="{34289E1B-7780-4CD9-8306-AD1A95D6AB43}"/>
              </a:ext>
              <a:ext uri="{C183D7F6-B498-43B3-948B-1728B52AA6E4}">
                <adec:decorative xmlns:adec="http://schemas.microsoft.com/office/drawing/2017/decorative" val="1"/>
              </a:ext>
            </a:extLst>
          </p:cNvPr>
          <p:cNvCxnSpPr>
            <a:cxnSpLocks noChangeShapeType="1"/>
            <a:endCxn id="8" idx="1"/>
          </p:cNvCxnSpPr>
          <p:nvPr/>
        </p:nvCxnSpPr>
        <p:spPr bwMode="auto">
          <a:xfrm>
            <a:off x="4567094" y="1816819"/>
            <a:ext cx="1181089" cy="517526"/>
          </a:xfrm>
          <a:prstGeom prst="bentConnector3">
            <a:avLst>
              <a:gd name="adj1" fmla="val 28226"/>
            </a:avLst>
          </a:prstGeom>
          <a:noFill/>
          <a:ln w="6350">
            <a:solidFill>
              <a:srgbClr val="BE82FF"/>
            </a:solidFill>
            <a:miter lim="800000"/>
            <a:headEnd/>
            <a:tailEnd type="triangle" w="med" len="med"/>
          </a:ln>
        </p:spPr>
      </p:cxnSp>
      <p:cxnSp>
        <p:nvCxnSpPr>
          <p:cNvPr id="33" name="Straight Connector 32">
            <a:extLst>
              <a:ext uri="{FF2B5EF4-FFF2-40B4-BE49-F238E27FC236}">
                <a16:creationId xmlns:a16="http://schemas.microsoft.com/office/drawing/2014/main" id="{B4014589-F230-4152-B009-714477291074}"/>
              </a:ext>
              <a:ext uri="{C183D7F6-B498-43B3-948B-1728B52AA6E4}">
                <adec:decorative xmlns:adec="http://schemas.microsoft.com/office/drawing/2017/decorative" val="1"/>
              </a:ext>
            </a:extLst>
          </p:cNvPr>
          <p:cNvCxnSpPr/>
          <p:nvPr/>
        </p:nvCxnSpPr>
        <p:spPr bwMode="auto">
          <a:xfrm>
            <a:off x="1611313" y="4939405"/>
            <a:ext cx="8877300" cy="1588"/>
          </a:xfrm>
          <a:prstGeom prst="line">
            <a:avLst/>
          </a:prstGeom>
          <a:noFill/>
          <a:ln w="9525" cap="flat" cmpd="sng" algn="ctr">
            <a:solidFill>
              <a:srgbClr val="A100FF">
                <a:shade val="95000"/>
                <a:satMod val="105000"/>
              </a:srgbClr>
            </a:solidFill>
            <a:prstDash val="dashDot"/>
          </a:ln>
          <a:effectLst/>
        </p:spPr>
      </p:cxnSp>
      <p:cxnSp>
        <p:nvCxnSpPr>
          <p:cNvPr id="38" name="AutoShape 51">
            <a:extLst>
              <a:ext uri="{FF2B5EF4-FFF2-40B4-BE49-F238E27FC236}">
                <a16:creationId xmlns:a16="http://schemas.microsoft.com/office/drawing/2014/main" id="{297AC21A-5E92-4C4D-A998-B3274DA8D216}"/>
              </a:ext>
              <a:ext uri="{C183D7F6-B498-43B3-948B-1728B52AA6E4}">
                <adec:decorative xmlns:adec="http://schemas.microsoft.com/office/drawing/2017/decorative" val="1"/>
              </a:ext>
            </a:extLst>
          </p:cNvPr>
          <p:cNvCxnSpPr>
            <a:cxnSpLocks noChangeShapeType="1"/>
            <a:endCxn id="8" idx="1"/>
          </p:cNvCxnSpPr>
          <p:nvPr/>
        </p:nvCxnSpPr>
        <p:spPr bwMode="auto">
          <a:xfrm flipV="1">
            <a:off x="4567094" y="2334346"/>
            <a:ext cx="1181089" cy="487363"/>
          </a:xfrm>
          <a:prstGeom prst="bentConnector3">
            <a:avLst>
              <a:gd name="adj1" fmla="val 28226"/>
            </a:avLst>
          </a:prstGeom>
          <a:noFill/>
          <a:ln w="6350">
            <a:solidFill>
              <a:srgbClr val="BE82FF"/>
            </a:solidFill>
            <a:miter lim="800000"/>
            <a:headEnd/>
            <a:tailEnd type="triangle" w="med" len="med"/>
          </a:ln>
        </p:spPr>
      </p:cxnSp>
      <p:sp>
        <p:nvSpPr>
          <p:cNvPr id="39" name="Rectangle 59">
            <a:extLst>
              <a:ext uri="{FF2B5EF4-FFF2-40B4-BE49-F238E27FC236}">
                <a16:creationId xmlns:a16="http://schemas.microsoft.com/office/drawing/2014/main" id="{F785880D-1C9D-4635-A592-610A34036A1D}"/>
              </a:ext>
            </a:extLst>
          </p:cNvPr>
          <p:cNvSpPr>
            <a:spLocks noChangeAspect="1" noChangeArrowheads="1"/>
          </p:cNvSpPr>
          <p:nvPr/>
        </p:nvSpPr>
        <p:spPr bwMode="auto">
          <a:xfrm>
            <a:off x="5531178" y="4312840"/>
            <a:ext cx="423503" cy="268288"/>
          </a:xfrm>
          <a:prstGeom prst="rect">
            <a:avLst/>
          </a:prstGeom>
          <a:solidFill>
            <a:srgbClr val="FFFFFF"/>
          </a:solidFill>
          <a:ln w="12700">
            <a:noFill/>
            <a:miter lim="800000"/>
            <a:headEnd type="none" w="sm" len="sm"/>
            <a:tailEnd type="none" w="sm" len="sm"/>
          </a:ln>
        </p:spPr>
        <p:txBody>
          <a:bodyPr lIns="36000" tIns="0" rIns="36000" bIns="0" anchor="ct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ea typeface="+mn-ea"/>
                <a:cs typeface="+mn-cs"/>
              </a:rPr>
              <a:t>SBU1</a:t>
            </a:r>
            <a:endParaRPr kumimoji="0" lang="en-US" sz="900" b="0" i="0" u="none" strike="noStrike" kern="0" cap="none" spc="0" normalizeH="0" baseline="0" noProof="0" dirty="0">
              <a:ln>
                <a:noFill/>
              </a:ln>
              <a:solidFill>
                <a:srgbClr val="000000"/>
              </a:solidFill>
              <a:effectLst/>
              <a:uLnTx/>
              <a:uFillTx/>
              <a:ea typeface="+mn-ea"/>
              <a:cs typeface="+mn-cs"/>
            </a:endParaRPr>
          </a:p>
        </p:txBody>
      </p:sp>
      <p:sp>
        <p:nvSpPr>
          <p:cNvPr id="40" name="Rectangle 59">
            <a:extLst>
              <a:ext uri="{FF2B5EF4-FFF2-40B4-BE49-F238E27FC236}">
                <a16:creationId xmlns:a16="http://schemas.microsoft.com/office/drawing/2014/main" id="{EEFD7F20-E9BD-411D-92F4-DC7F8AD4E64F}"/>
              </a:ext>
            </a:extLst>
          </p:cNvPr>
          <p:cNvSpPr>
            <a:spLocks noChangeAspect="1" noChangeArrowheads="1"/>
          </p:cNvSpPr>
          <p:nvPr/>
        </p:nvSpPr>
        <p:spPr bwMode="auto">
          <a:xfrm>
            <a:off x="5988869" y="4312840"/>
            <a:ext cx="423503" cy="268288"/>
          </a:xfrm>
          <a:prstGeom prst="rect">
            <a:avLst/>
          </a:prstGeom>
          <a:solidFill>
            <a:srgbClr val="FFFFFF"/>
          </a:solidFill>
          <a:ln w="12700">
            <a:noFill/>
            <a:miter lim="800000"/>
            <a:headEnd type="none" w="sm" len="sm"/>
            <a:tailEnd type="none" w="sm" len="sm"/>
          </a:ln>
        </p:spPr>
        <p:txBody>
          <a:bodyPr lIns="36000" tIns="0" rIns="36000" bIns="0" anchor="ct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ea typeface="+mn-ea"/>
                <a:cs typeface="+mn-cs"/>
              </a:rPr>
              <a:t>SBU2</a:t>
            </a:r>
            <a:endParaRPr kumimoji="0" lang="en-US" sz="900" b="0" i="0" u="none" strike="noStrike" kern="0" cap="none" spc="0" normalizeH="0" baseline="0" noProof="0" dirty="0">
              <a:ln>
                <a:noFill/>
              </a:ln>
              <a:solidFill>
                <a:srgbClr val="000000"/>
              </a:solidFill>
              <a:effectLst/>
              <a:uLnTx/>
              <a:uFillTx/>
              <a:ea typeface="+mn-ea"/>
              <a:cs typeface="+mn-cs"/>
            </a:endParaRPr>
          </a:p>
        </p:txBody>
      </p:sp>
      <p:sp>
        <p:nvSpPr>
          <p:cNvPr id="41" name="Rectangle 59">
            <a:extLst>
              <a:ext uri="{FF2B5EF4-FFF2-40B4-BE49-F238E27FC236}">
                <a16:creationId xmlns:a16="http://schemas.microsoft.com/office/drawing/2014/main" id="{78627189-8A2A-484B-AB8B-EBC4D81E8DC7}"/>
              </a:ext>
            </a:extLst>
          </p:cNvPr>
          <p:cNvSpPr>
            <a:spLocks noChangeAspect="1" noChangeArrowheads="1"/>
          </p:cNvSpPr>
          <p:nvPr/>
        </p:nvSpPr>
        <p:spPr bwMode="auto">
          <a:xfrm>
            <a:off x="6462915" y="4312840"/>
            <a:ext cx="423503" cy="268288"/>
          </a:xfrm>
          <a:prstGeom prst="rect">
            <a:avLst/>
          </a:prstGeom>
          <a:solidFill>
            <a:srgbClr val="FFFFFF"/>
          </a:solidFill>
          <a:ln w="12700">
            <a:noFill/>
            <a:miter lim="800000"/>
            <a:headEnd type="none" w="sm" len="sm"/>
            <a:tailEnd type="none" w="sm" len="sm"/>
          </a:ln>
        </p:spPr>
        <p:txBody>
          <a:bodyPr lIns="36000" tIns="0" rIns="36000" bIns="0" anchor="ct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ea typeface="+mn-ea"/>
                <a:cs typeface="+mn-cs"/>
              </a:rPr>
              <a:t>SBU3</a:t>
            </a:r>
            <a:endParaRPr kumimoji="0" lang="en-US" sz="900" b="0" i="0" u="none" strike="noStrike" kern="0" cap="none" spc="0" normalizeH="0" baseline="0" noProof="0" dirty="0">
              <a:ln>
                <a:noFill/>
              </a:ln>
              <a:solidFill>
                <a:srgbClr val="000000"/>
              </a:solidFill>
              <a:effectLst/>
              <a:uLnTx/>
              <a:uFillTx/>
              <a:ea typeface="+mn-ea"/>
              <a:cs typeface="+mn-cs"/>
            </a:endParaRPr>
          </a:p>
        </p:txBody>
      </p:sp>
      <p:sp>
        <p:nvSpPr>
          <p:cNvPr id="63" name="TextBox 62">
            <a:extLst>
              <a:ext uri="{FF2B5EF4-FFF2-40B4-BE49-F238E27FC236}">
                <a16:creationId xmlns:a16="http://schemas.microsoft.com/office/drawing/2014/main" id="{CDF9CEB3-1931-4988-ADEE-E8AE1E4EC937}"/>
              </a:ext>
            </a:extLst>
          </p:cNvPr>
          <p:cNvSpPr txBox="1"/>
          <p:nvPr/>
        </p:nvSpPr>
        <p:spPr bwMode="auto">
          <a:xfrm>
            <a:off x="1992314" y="4705644"/>
            <a:ext cx="3538864" cy="1384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mn-ea"/>
                <a:cs typeface="Arial" pitchFamily="34" charset="0"/>
              </a:rPr>
              <a:t>Note: Value drivers should be tangible, quantifiable, and MECE.</a:t>
            </a:r>
          </a:p>
        </p:txBody>
      </p:sp>
      <p:sp>
        <p:nvSpPr>
          <p:cNvPr id="67" name="Rectangle 22">
            <a:extLst>
              <a:ext uri="{FF2B5EF4-FFF2-40B4-BE49-F238E27FC236}">
                <a16:creationId xmlns:a16="http://schemas.microsoft.com/office/drawing/2014/main" id="{8DB96DDB-1CB9-445E-ADFF-E8FFC2F26487}"/>
              </a:ext>
            </a:extLst>
          </p:cNvPr>
          <p:cNvSpPr>
            <a:spLocks noChangeArrowheads="1"/>
          </p:cNvSpPr>
          <p:nvPr/>
        </p:nvSpPr>
        <p:spPr bwMode="auto">
          <a:xfrm>
            <a:off x="6049144" y="2872699"/>
            <a:ext cx="582613" cy="254000"/>
          </a:xfrm>
          <a:prstGeom prst="rect">
            <a:avLst/>
          </a:prstGeom>
          <a:noFill/>
          <a:ln w="9525">
            <a:noFill/>
            <a:miter lim="800000"/>
            <a:headEnd/>
            <a:tailEnd/>
          </a:ln>
        </p:spPr>
        <p:txBody>
          <a:bodyPr wrap="none" lIns="0" tIns="0" rIns="0" bIns="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Cas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In</a:t>
            </a:r>
          </a:p>
        </p:txBody>
      </p:sp>
      <p:grpSp>
        <p:nvGrpSpPr>
          <p:cNvPr id="2" name="Group 1" descr="Add text and order accordingly">
            <a:extLst>
              <a:ext uri="{FF2B5EF4-FFF2-40B4-BE49-F238E27FC236}">
                <a16:creationId xmlns:a16="http://schemas.microsoft.com/office/drawing/2014/main" id="{991D3E5F-7371-4088-8402-70B287462EB4}"/>
              </a:ext>
            </a:extLst>
          </p:cNvPr>
          <p:cNvGrpSpPr/>
          <p:nvPr/>
        </p:nvGrpSpPr>
        <p:grpSpPr>
          <a:xfrm>
            <a:off x="1992314" y="1268772"/>
            <a:ext cx="2847207" cy="1686848"/>
            <a:chOff x="1992314" y="1268772"/>
            <a:chExt cx="2847207" cy="1686848"/>
          </a:xfrm>
        </p:grpSpPr>
        <p:sp>
          <p:nvSpPr>
            <p:cNvPr id="54" name="Rectangle 21">
              <a:extLst>
                <a:ext uri="{FF2B5EF4-FFF2-40B4-BE49-F238E27FC236}">
                  <a16:creationId xmlns:a16="http://schemas.microsoft.com/office/drawing/2014/main" id="{DE576169-F927-457D-90DE-C6821C95B03E}"/>
                </a:ext>
              </a:extLst>
            </p:cNvPr>
            <p:cNvSpPr>
              <a:spLocks noChangeArrowheads="1"/>
            </p:cNvSpPr>
            <p:nvPr/>
          </p:nvSpPr>
          <p:spPr bwMode="auto">
            <a:xfrm>
              <a:off x="3644134" y="1746518"/>
              <a:ext cx="1195387" cy="143326"/>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Sub element 1</a:t>
              </a:r>
            </a:p>
          </p:txBody>
        </p:sp>
        <p:sp>
          <p:nvSpPr>
            <p:cNvPr id="55" name="Rectangle 21">
              <a:extLst>
                <a:ext uri="{FF2B5EF4-FFF2-40B4-BE49-F238E27FC236}">
                  <a16:creationId xmlns:a16="http://schemas.microsoft.com/office/drawing/2014/main" id="{652EC0A5-5DD9-4DE5-B1C4-2088CCD984C7}"/>
                </a:ext>
              </a:extLst>
            </p:cNvPr>
            <p:cNvSpPr>
              <a:spLocks noChangeArrowheads="1"/>
            </p:cNvSpPr>
            <p:nvPr/>
          </p:nvSpPr>
          <p:spPr bwMode="auto">
            <a:xfrm>
              <a:off x="3644134" y="2071361"/>
              <a:ext cx="1195387" cy="128120"/>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Sub element 2</a:t>
              </a:r>
            </a:p>
          </p:txBody>
        </p:sp>
        <p:sp>
          <p:nvSpPr>
            <p:cNvPr id="56" name="Rectangle 21">
              <a:extLst>
                <a:ext uri="{FF2B5EF4-FFF2-40B4-BE49-F238E27FC236}">
                  <a16:creationId xmlns:a16="http://schemas.microsoft.com/office/drawing/2014/main" id="{7CEA80D0-75BF-4931-9573-0653573D298F}"/>
                </a:ext>
              </a:extLst>
            </p:cNvPr>
            <p:cNvSpPr>
              <a:spLocks noChangeArrowheads="1"/>
            </p:cNvSpPr>
            <p:nvPr/>
          </p:nvSpPr>
          <p:spPr bwMode="auto">
            <a:xfrm>
              <a:off x="3644134" y="2391835"/>
              <a:ext cx="1195387" cy="150388"/>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Sub element 3</a:t>
              </a:r>
            </a:p>
          </p:txBody>
        </p:sp>
        <p:sp>
          <p:nvSpPr>
            <p:cNvPr id="57" name="Rectangle 21">
              <a:extLst>
                <a:ext uri="{FF2B5EF4-FFF2-40B4-BE49-F238E27FC236}">
                  <a16:creationId xmlns:a16="http://schemas.microsoft.com/office/drawing/2014/main" id="{43D8C9BD-7ABE-4B3C-8144-531972D8185F}"/>
                </a:ext>
              </a:extLst>
            </p:cNvPr>
            <p:cNvSpPr>
              <a:spLocks noChangeArrowheads="1"/>
            </p:cNvSpPr>
            <p:nvPr/>
          </p:nvSpPr>
          <p:spPr bwMode="auto">
            <a:xfrm>
              <a:off x="3644134" y="2750898"/>
              <a:ext cx="1195387" cy="138043"/>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Sub element 4</a:t>
              </a:r>
            </a:p>
          </p:txBody>
        </p:sp>
        <p:sp>
          <p:nvSpPr>
            <p:cNvPr id="61" name="Left Brace 60">
              <a:extLst>
                <a:ext uri="{FF2B5EF4-FFF2-40B4-BE49-F238E27FC236}">
                  <a16:creationId xmlns:a16="http://schemas.microsoft.com/office/drawing/2014/main" id="{46BA49AD-8E02-4F66-831E-E1C0B5E0E5D6}"/>
                </a:ext>
                <a:ext uri="{C183D7F6-B498-43B3-948B-1728B52AA6E4}">
                  <adec:decorative xmlns:adec="http://schemas.microsoft.com/office/drawing/2017/decorative" val="1"/>
                </a:ext>
              </a:extLst>
            </p:cNvPr>
            <p:cNvSpPr/>
            <p:nvPr/>
          </p:nvSpPr>
          <p:spPr bwMode="auto">
            <a:xfrm>
              <a:off x="3347129" y="1680611"/>
              <a:ext cx="193183" cy="1275009"/>
            </a:xfrm>
            <a:prstGeom prst="leftBrace">
              <a:avLst/>
            </a:prstGeom>
            <a:noFill/>
            <a:ln w="9525" cap="flat" cmpd="sng" algn="ctr">
              <a:solidFill>
                <a:srgbClr val="FFFFFF">
                  <a:lumMod val="50000"/>
                </a:srgbClr>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900" b="1" i="0" u="none" strike="noStrike" kern="0" cap="none" spc="0" normalizeH="0" baseline="0" noProof="0">
                <a:ln>
                  <a:noFill/>
                </a:ln>
                <a:solidFill>
                  <a:srgbClr val="000000"/>
                </a:solidFill>
                <a:effectLst/>
                <a:uLnTx/>
                <a:uFillTx/>
                <a:ea typeface="+mn-ea"/>
                <a:cs typeface="+mn-cs"/>
              </a:endParaRPr>
            </a:p>
          </p:txBody>
        </p:sp>
        <p:sp>
          <p:nvSpPr>
            <p:cNvPr id="62" name="TextBox 61">
              <a:extLst>
                <a:ext uri="{FF2B5EF4-FFF2-40B4-BE49-F238E27FC236}">
                  <a16:creationId xmlns:a16="http://schemas.microsoft.com/office/drawing/2014/main" id="{1168AC38-D9B0-4C26-B327-079D5482214E}"/>
                </a:ext>
              </a:extLst>
            </p:cNvPr>
            <p:cNvSpPr txBox="1"/>
            <p:nvPr/>
          </p:nvSpPr>
          <p:spPr bwMode="auto">
            <a:xfrm>
              <a:off x="2005740" y="2143264"/>
              <a:ext cx="1493950" cy="2769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mn-ea"/>
                  <a:cs typeface="Arial" pitchFamily="34" charset="0"/>
                </a:rPr>
                <a:t>Macro-economi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mn-ea"/>
                  <a:cs typeface="Arial" pitchFamily="34" charset="0"/>
                </a:rPr>
                <a:t>Industry Growth Drivers</a:t>
              </a:r>
            </a:p>
          </p:txBody>
        </p:sp>
        <p:sp>
          <p:nvSpPr>
            <p:cNvPr id="71" name="Rectangle 48">
              <a:extLst>
                <a:ext uri="{FF2B5EF4-FFF2-40B4-BE49-F238E27FC236}">
                  <a16:creationId xmlns:a16="http://schemas.microsoft.com/office/drawing/2014/main" id="{0BF82812-7ACC-47A7-BE5F-5C5D298DE269}"/>
                </a:ext>
              </a:extLst>
            </p:cNvPr>
            <p:cNvSpPr>
              <a:spLocks noChangeAspect="1" noChangeArrowheads="1"/>
            </p:cNvSpPr>
            <p:nvPr/>
          </p:nvSpPr>
          <p:spPr bwMode="auto">
            <a:xfrm>
              <a:off x="1992314" y="1268772"/>
              <a:ext cx="1592307" cy="611187"/>
            </a:xfrm>
            <a:prstGeom prst="rect">
              <a:avLst/>
            </a:prstGeom>
            <a:noFill/>
            <a:ln w="12700">
              <a:noFill/>
              <a:miter lim="800000"/>
              <a:headEnd type="none" w="sm" len="sm"/>
              <a:tailEnd type="none" w="sm" len="sm"/>
            </a:ln>
          </p:spPr>
          <p:txBody>
            <a:bodyPr lIns="0" tIns="0" rIns="0" bIns="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mj-lt"/>
                  <a:ea typeface="+mn-ea"/>
                  <a:cs typeface="Arial" pitchFamily="34" charset="0"/>
                </a:rPr>
                <a:t>Tangible Drivers of Economic Value</a:t>
              </a:r>
              <a:endParaRPr kumimoji="0" lang="en-US" sz="1200" b="1" i="0" u="none" strike="noStrike" kern="1200" cap="none" spc="0" normalizeH="0" baseline="0" noProof="0" dirty="0">
                <a:ln>
                  <a:noFill/>
                </a:ln>
                <a:solidFill>
                  <a:srgbClr val="000000"/>
                </a:solidFill>
                <a:effectLst/>
                <a:uLnTx/>
                <a:uFillTx/>
                <a:latin typeface="+mj-lt"/>
                <a:ea typeface="+mn-ea"/>
                <a:cs typeface="Arial" pitchFamily="34" charset="0"/>
              </a:endParaRPr>
            </a:p>
          </p:txBody>
        </p:sp>
      </p:grpSp>
      <p:sp>
        <p:nvSpPr>
          <p:cNvPr id="73" name="AutoShape 4">
            <a:extLst>
              <a:ext uri="{FF2B5EF4-FFF2-40B4-BE49-F238E27FC236}">
                <a16:creationId xmlns:a16="http://schemas.microsoft.com/office/drawing/2014/main" id="{903FC637-BB27-4317-B317-D5330BCA4CB9}"/>
              </a:ext>
            </a:extLst>
          </p:cNvPr>
          <p:cNvSpPr>
            <a:spLocks noChangeArrowheads="1"/>
          </p:cNvSpPr>
          <p:nvPr/>
        </p:nvSpPr>
        <p:spPr bwMode="auto">
          <a:xfrm>
            <a:off x="6096001" y="1680611"/>
            <a:ext cx="200257" cy="176491"/>
          </a:xfrm>
          <a:prstGeom prst="hexagon">
            <a:avLst>
              <a:gd name="adj" fmla="val 27042"/>
              <a:gd name="vf" fmla="val 115470"/>
            </a:avLst>
          </a:prstGeom>
          <a:solidFill>
            <a:schemeClr val="accent3"/>
          </a:solidFill>
          <a:ln w="19050">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FFFFF"/>
                </a:solidFill>
                <a:effectLst/>
                <a:uLnTx/>
                <a:uFillTx/>
                <a:latin typeface="+mj-lt"/>
                <a:ea typeface="+mn-ea"/>
                <a:cs typeface="+mn-cs"/>
              </a:rPr>
              <a:t>1</a:t>
            </a:r>
          </a:p>
        </p:txBody>
      </p:sp>
      <p:grpSp>
        <p:nvGrpSpPr>
          <p:cNvPr id="92" name="Group 91" descr="Add text and order accordingly">
            <a:extLst>
              <a:ext uri="{FF2B5EF4-FFF2-40B4-BE49-F238E27FC236}">
                <a16:creationId xmlns:a16="http://schemas.microsoft.com/office/drawing/2014/main" id="{020AA5E5-3EDC-4CF2-BA94-3E1857557CB8}"/>
              </a:ext>
            </a:extLst>
          </p:cNvPr>
          <p:cNvGrpSpPr/>
          <p:nvPr/>
        </p:nvGrpSpPr>
        <p:grpSpPr>
          <a:xfrm>
            <a:off x="6941983" y="3514500"/>
            <a:ext cx="4086566" cy="835025"/>
            <a:chOff x="6941983" y="3514500"/>
            <a:chExt cx="4086566" cy="835025"/>
          </a:xfrm>
        </p:grpSpPr>
        <p:sp>
          <p:nvSpPr>
            <p:cNvPr id="7" name="Rectangle 7">
              <a:extLst>
                <a:ext uri="{FF2B5EF4-FFF2-40B4-BE49-F238E27FC236}">
                  <a16:creationId xmlns:a16="http://schemas.microsoft.com/office/drawing/2014/main" id="{C34ACE23-8916-4091-B8B9-EDEE9BFB9214}"/>
                </a:ext>
              </a:extLst>
            </p:cNvPr>
            <p:cNvSpPr>
              <a:spLocks noChangeAspect="1" noChangeArrowheads="1"/>
            </p:cNvSpPr>
            <p:nvPr/>
          </p:nvSpPr>
          <p:spPr bwMode="auto">
            <a:xfrm>
              <a:off x="7703970" y="3514500"/>
              <a:ext cx="903287" cy="835025"/>
            </a:xfrm>
            <a:prstGeom prst="rect">
              <a:avLst/>
            </a:prstGeom>
            <a:solidFill>
              <a:srgbClr val="BE82FF"/>
            </a:solidFill>
            <a:ln w="12700">
              <a:noFill/>
              <a:miter lim="800000"/>
              <a:headEnd/>
              <a:tailEnd/>
            </a:ln>
          </p:spPr>
          <p:txBody>
            <a:bodyPr wrap="square" lIns="72000" tIns="0" rIns="7200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effectLst/>
                  <a:uLnTx/>
                  <a:uFillTx/>
                  <a:latin typeface="+mj-lt"/>
                  <a:ea typeface="+mn-ea"/>
                  <a:cs typeface="+mn-cs"/>
                </a:rPr>
                <a:t>Value </a:t>
              </a:r>
              <a:br>
                <a:rPr kumimoji="0" lang="en-GB" sz="900" b="1" i="0" u="none" strike="noStrike" kern="0" cap="none" spc="0" normalizeH="0" baseline="0" noProof="0" dirty="0">
                  <a:ln>
                    <a:noFill/>
                  </a:ln>
                  <a:effectLst/>
                  <a:uLnTx/>
                  <a:uFillTx/>
                  <a:latin typeface="+mj-lt"/>
                  <a:ea typeface="+mn-ea"/>
                  <a:cs typeface="+mn-cs"/>
                </a:rPr>
              </a:br>
              <a:r>
                <a:rPr kumimoji="0" lang="en-GB" sz="900" b="1" i="0" u="none" strike="noStrike" kern="0" cap="none" spc="0" normalizeH="0" baseline="0" noProof="0" dirty="0">
                  <a:ln>
                    <a:noFill/>
                  </a:ln>
                  <a:effectLst/>
                  <a:uLnTx/>
                  <a:uFillTx/>
                  <a:latin typeface="+mj-lt"/>
                  <a:ea typeface="+mn-ea"/>
                  <a:cs typeface="+mn-cs"/>
                </a:rPr>
                <a:t>Driver 3</a:t>
              </a:r>
              <a:endParaRPr kumimoji="0" lang="en-US" sz="900" b="1" i="0" u="none" strike="noStrike" kern="0" cap="none" spc="0" normalizeH="0" baseline="0" noProof="0" dirty="0">
                <a:ln>
                  <a:noFill/>
                </a:ln>
                <a:effectLst/>
                <a:uLnTx/>
                <a:uFillTx/>
                <a:latin typeface="+mj-lt"/>
                <a:ea typeface="+mn-ea"/>
                <a:cs typeface="+mn-cs"/>
              </a:endParaRPr>
            </a:p>
          </p:txBody>
        </p:sp>
        <p:cxnSp>
          <p:nvCxnSpPr>
            <p:cNvPr id="19" name="AutoShape 29">
              <a:extLst>
                <a:ext uri="{FF2B5EF4-FFF2-40B4-BE49-F238E27FC236}">
                  <a16:creationId xmlns:a16="http://schemas.microsoft.com/office/drawing/2014/main" id="{C4F84F43-E11F-42AF-8872-59302C1EED9E}"/>
                </a:ext>
                <a:ext uri="{C183D7F6-B498-43B3-948B-1728B52AA6E4}">
                  <adec:decorative xmlns:adec="http://schemas.microsoft.com/office/drawing/2017/decorative" val="1"/>
                </a:ext>
              </a:extLst>
            </p:cNvPr>
            <p:cNvCxnSpPr>
              <a:cxnSpLocks noChangeShapeType="1"/>
              <a:stCxn id="7" idx="3"/>
            </p:cNvCxnSpPr>
            <p:nvPr/>
          </p:nvCxnSpPr>
          <p:spPr bwMode="auto">
            <a:xfrm flipV="1">
              <a:off x="8607256" y="3735162"/>
              <a:ext cx="755650" cy="196850"/>
            </a:xfrm>
            <a:prstGeom prst="bentConnector3">
              <a:avLst>
                <a:gd name="adj1" fmla="val 49792"/>
              </a:avLst>
            </a:prstGeom>
            <a:noFill/>
            <a:ln w="6350">
              <a:solidFill>
                <a:srgbClr val="BE82FF"/>
              </a:solidFill>
              <a:miter lim="800000"/>
              <a:headEnd/>
              <a:tailEnd type="triangle" w="med" len="med"/>
            </a:ln>
          </p:spPr>
        </p:cxnSp>
        <p:cxnSp>
          <p:nvCxnSpPr>
            <p:cNvPr id="20" name="AutoShape 30">
              <a:extLst>
                <a:ext uri="{FF2B5EF4-FFF2-40B4-BE49-F238E27FC236}">
                  <a16:creationId xmlns:a16="http://schemas.microsoft.com/office/drawing/2014/main" id="{1338F5F5-282D-44A1-BE2A-553D96C3D410}"/>
                </a:ext>
                <a:ext uri="{C183D7F6-B498-43B3-948B-1728B52AA6E4}">
                  <adec:decorative xmlns:adec="http://schemas.microsoft.com/office/drawing/2017/decorative" val="1"/>
                </a:ext>
              </a:extLst>
            </p:cNvPr>
            <p:cNvCxnSpPr>
              <a:cxnSpLocks noChangeShapeType="1"/>
              <a:stCxn id="7" idx="3"/>
            </p:cNvCxnSpPr>
            <p:nvPr/>
          </p:nvCxnSpPr>
          <p:spPr bwMode="auto">
            <a:xfrm>
              <a:off x="8607256" y="3932013"/>
              <a:ext cx="755650" cy="193675"/>
            </a:xfrm>
            <a:prstGeom prst="bentConnector3">
              <a:avLst>
                <a:gd name="adj1" fmla="val 50000"/>
              </a:avLst>
            </a:prstGeom>
            <a:noFill/>
            <a:ln w="6350">
              <a:solidFill>
                <a:srgbClr val="BE82FF"/>
              </a:solidFill>
              <a:miter lim="800000"/>
              <a:headEnd/>
              <a:tailEnd type="triangle" w="med" len="med"/>
            </a:ln>
            <a:effectLst/>
          </p:spPr>
        </p:cxnSp>
        <p:cxnSp>
          <p:nvCxnSpPr>
            <p:cNvPr id="32" name="AutoShape 27">
              <a:extLst>
                <a:ext uri="{FF2B5EF4-FFF2-40B4-BE49-F238E27FC236}">
                  <a16:creationId xmlns:a16="http://schemas.microsoft.com/office/drawing/2014/main" id="{C26F046A-3369-4232-8550-60CB6FA1CF93}"/>
                </a:ext>
                <a:ext uri="{C183D7F6-B498-43B3-948B-1728B52AA6E4}">
                  <adec:decorative xmlns:adec="http://schemas.microsoft.com/office/drawing/2017/decorative" val="1"/>
                </a:ext>
              </a:extLst>
            </p:cNvPr>
            <p:cNvCxnSpPr>
              <a:cxnSpLocks noChangeShapeType="1"/>
              <a:stCxn id="7" idx="1"/>
              <a:endCxn id="6" idx="3"/>
            </p:cNvCxnSpPr>
            <p:nvPr/>
          </p:nvCxnSpPr>
          <p:spPr bwMode="auto">
            <a:xfrm flipH="1" flipV="1">
              <a:off x="6941983" y="3930426"/>
              <a:ext cx="761987" cy="1587"/>
            </a:xfrm>
            <a:prstGeom prst="straightConnector1">
              <a:avLst/>
            </a:prstGeom>
            <a:noFill/>
            <a:ln w="6350">
              <a:solidFill>
                <a:srgbClr val="BE82FF"/>
              </a:solidFill>
              <a:round/>
              <a:headEnd/>
              <a:tailEnd type="triangle" w="med" len="med"/>
            </a:ln>
            <a:effectLst/>
          </p:spPr>
        </p:cxnSp>
        <p:sp>
          <p:nvSpPr>
            <p:cNvPr id="65" name="Rectangle 22">
              <a:extLst>
                <a:ext uri="{FF2B5EF4-FFF2-40B4-BE49-F238E27FC236}">
                  <a16:creationId xmlns:a16="http://schemas.microsoft.com/office/drawing/2014/main" id="{687E19FF-7DD8-495C-95BE-545A5D32FCF5}"/>
                </a:ext>
              </a:extLst>
            </p:cNvPr>
            <p:cNvSpPr>
              <a:spLocks noChangeArrowheads="1"/>
            </p:cNvSpPr>
            <p:nvPr/>
          </p:nvSpPr>
          <p:spPr bwMode="auto">
            <a:xfrm>
              <a:off x="7145065" y="3800094"/>
              <a:ext cx="370977" cy="254000"/>
            </a:xfrm>
            <a:prstGeom prst="rect">
              <a:avLst/>
            </a:prstGeom>
            <a:noFill/>
            <a:ln w="9525">
              <a:noFill/>
              <a:miter lim="800000"/>
              <a:headEnd/>
              <a:tailEnd/>
            </a:ln>
          </p:spPr>
          <p:txBody>
            <a:bodyPr wrap="none" lIns="0" tIns="0" rIns="0" bIns="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Cas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In</a:t>
              </a:r>
            </a:p>
          </p:txBody>
        </p:sp>
        <p:sp>
          <p:nvSpPr>
            <p:cNvPr id="84" name="Rectangle 45">
              <a:extLst>
                <a:ext uri="{FF2B5EF4-FFF2-40B4-BE49-F238E27FC236}">
                  <a16:creationId xmlns:a16="http://schemas.microsoft.com/office/drawing/2014/main" id="{9591EAAF-6C59-4F5D-BA53-FFB34F30AE40}"/>
                </a:ext>
              </a:extLst>
            </p:cNvPr>
            <p:cNvSpPr>
              <a:spLocks noChangeArrowheads="1"/>
            </p:cNvSpPr>
            <p:nvPr/>
          </p:nvSpPr>
          <p:spPr bwMode="auto">
            <a:xfrm>
              <a:off x="9463891" y="3675974"/>
              <a:ext cx="1102712" cy="195262"/>
            </a:xfrm>
            <a:prstGeom prst="rect">
              <a:avLst/>
            </a:prstGeom>
            <a:noFill/>
            <a:ln w="9525">
              <a:noFill/>
              <a:miter lim="800000"/>
              <a:headEnd/>
              <a:tailEnd/>
            </a:ln>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Sub element 1</a:t>
              </a:r>
            </a:p>
          </p:txBody>
        </p:sp>
        <p:sp>
          <p:nvSpPr>
            <p:cNvPr id="85" name="Rectangle 46">
              <a:extLst>
                <a:ext uri="{FF2B5EF4-FFF2-40B4-BE49-F238E27FC236}">
                  <a16:creationId xmlns:a16="http://schemas.microsoft.com/office/drawing/2014/main" id="{1213FF88-699F-49F8-AB18-7D7B177CF30B}"/>
                </a:ext>
              </a:extLst>
            </p:cNvPr>
            <p:cNvSpPr>
              <a:spLocks noChangeArrowheads="1"/>
            </p:cNvSpPr>
            <p:nvPr/>
          </p:nvSpPr>
          <p:spPr bwMode="auto">
            <a:xfrm>
              <a:off x="9444224" y="4054095"/>
              <a:ext cx="1584325" cy="176368"/>
            </a:xfrm>
            <a:prstGeom prst="rect">
              <a:avLst/>
            </a:prstGeom>
            <a:noFill/>
            <a:ln w="9525">
              <a:noFill/>
              <a:miter lim="800000"/>
              <a:headEnd/>
              <a:tailEnd/>
            </a:ln>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Sub element 2</a:t>
              </a:r>
            </a:p>
          </p:txBody>
        </p:sp>
      </p:grpSp>
      <p:grpSp>
        <p:nvGrpSpPr>
          <p:cNvPr id="93" name="Group 92" descr="Add text and order accordingly">
            <a:extLst>
              <a:ext uri="{FF2B5EF4-FFF2-40B4-BE49-F238E27FC236}">
                <a16:creationId xmlns:a16="http://schemas.microsoft.com/office/drawing/2014/main" id="{B3F79CE6-B224-4AD4-B631-199B7F2D8F7F}"/>
              </a:ext>
            </a:extLst>
          </p:cNvPr>
          <p:cNvGrpSpPr/>
          <p:nvPr/>
        </p:nvGrpSpPr>
        <p:grpSpPr>
          <a:xfrm>
            <a:off x="1970691" y="5068773"/>
            <a:ext cx="8461756" cy="1275009"/>
            <a:chOff x="1970691" y="5068773"/>
            <a:chExt cx="8461756" cy="1275009"/>
          </a:xfrm>
        </p:grpSpPr>
        <p:sp>
          <p:nvSpPr>
            <p:cNvPr id="34" name="Rectangle 45">
              <a:extLst>
                <a:ext uri="{FF2B5EF4-FFF2-40B4-BE49-F238E27FC236}">
                  <a16:creationId xmlns:a16="http://schemas.microsoft.com/office/drawing/2014/main" id="{0397F30D-EAB3-4B6C-AD27-F16D8C70403C}"/>
                </a:ext>
              </a:extLst>
            </p:cNvPr>
            <p:cNvSpPr>
              <a:spLocks noChangeArrowheads="1"/>
            </p:cNvSpPr>
            <p:nvPr/>
          </p:nvSpPr>
          <p:spPr bwMode="auto">
            <a:xfrm>
              <a:off x="5987989" y="5179829"/>
              <a:ext cx="1584325" cy="261937"/>
            </a:xfrm>
            <a:prstGeom prst="rect">
              <a:avLst/>
            </a:prstGeom>
            <a:noFill/>
            <a:ln w="9525">
              <a:noFill/>
              <a:miter lim="800000"/>
              <a:headEnd/>
              <a:tailEnd/>
            </a:ln>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Intangible factor 1</a:t>
              </a:r>
            </a:p>
          </p:txBody>
        </p:sp>
        <p:sp>
          <p:nvSpPr>
            <p:cNvPr id="35" name="Rectangle 45">
              <a:extLst>
                <a:ext uri="{FF2B5EF4-FFF2-40B4-BE49-F238E27FC236}">
                  <a16:creationId xmlns:a16="http://schemas.microsoft.com/office/drawing/2014/main" id="{9234AD4E-DFCF-4B1A-862E-2587CF85FB3F}"/>
                </a:ext>
              </a:extLst>
            </p:cNvPr>
            <p:cNvSpPr>
              <a:spLocks noChangeArrowheads="1"/>
            </p:cNvSpPr>
            <p:nvPr/>
          </p:nvSpPr>
          <p:spPr bwMode="auto">
            <a:xfrm>
              <a:off x="5987989" y="5471929"/>
              <a:ext cx="1584325" cy="261937"/>
            </a:xfrm>
            <a:prstGeom prst="rect">
              <a:avLst/>
            </a:prstGeom>
            <a:noFill/>
            <a:ln w="9525">
              <a:noFill/>
              <a:miter lim="800000"/>
              <a:headEnd/>
              <a:tailEnd/>
            </a:ln>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Intangible factor 2</a:t>
              </a:r>
            </a:p>
          </p:txBody>
        </p:sp>
        <p:sp>
          <p:nvSpPr>
            <p:cNvPr id="36" name="Rectangle 45">
              <a:extLst>
                <a:ext uri="{FF2B5EF4-FFF2-40B4-BE49-F238E27FC236}">
                  <a16:creationId xmlns:a16="http://schemas.microsoft.com/office/drawing/2014/main" id="{A9229B4A-9FAA-4764-8D78-7FCE1D205362}"/>
                </a:ext>
              </a:extLst>
            </p:cNvPr>
            <p:cNvSpPr>
              <a:spLocks noChangeArrowheads="1"/>
            </p:cNvSpPr>
            <p:nvPr/>
          </p:nvSpPr>
          <p:spPr bwMode="auto">
            <a:xfrm>
              <a:off x="5987989" y="5776729"/>
              <a:ext cx="1584325" cy="261937"/>
            </a:xfrm>
            <a:prstGeom prst="rect">
              <a:avLst/>
            </a:prstGeom>
            <a:noFill/>
            <a:ln w="9525">
              <a:noFill/>
              <a:miter lim="800000"/>
              <a:headEnd/>
              <a:tailEnd/>
            </a:ln>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Intangible factor 3</a:t>
              </a:r>
            </a:p>
          </p:txBody>
        </p:sp>
        <p:sp>
          <p:nvSpPr>
            <p:cNvPr id="37" name="Rectangle 45">
              <a:extLst>
                <a:ext uri="{FF2B5EF4-FFF2-40B4-BE49-F238E27FC236}">
                  <a16:creationId xmlns:a16="http://schemas.microsoft.com/office/drawing/2014/main" id="{CB5E3B6D-1103-4179-957E-022CBA8520D6}"/>
                </a:ext>
              </a:extLst>
            </p:cNvPr>
            <p:cNvSpPr>
              <a:spLocks noChangeArrowheads="1"/>
            </p:cNvSpPr>
            <p:nvPr/>
          </p:nvSpPr>
          <p:spPr bwMode="auto">
            <a:xfrm>
              <a:off x="5987988" y="6068829"/>
              <a:ext cx="1752600" cy="261937"/>
            </a:xfrm>
            <a:prstGeom prst="rect">
              <a:avLst/>
            </a:prstGeom>
            <a:noFill/>
            <a:ln w="9525">
              <a:noFill/>
              <a:miter lim="800000"/>
              <a:headEnd/>
              <a:tailEnd/>
            </a:ln>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Intangible factor 4</a:t>
              </a:r>
            </a:p>
          </p:txBody>
        </p:sp>
        <p:sp>
          <p:nvSpPr>
            <p:cNvPr id="47" name="Rectangle 54">
              <a:extLst>
                <a:ext uri="{FF2B5EF4-FFF2-40B4-BE49-F238E27FC236}">
                  <a16:creationId xmlns:a16="http://schemas.microsoft.com/office/drawing/2014/main" id="{1EE66D3E-57D5-4BB8-A1B4-5E1D36F3165A}"/>
                </a:ext>
              </a:extLst>
            </p:cNvPr>
            <p:cNvSpPr>
              <a:spLocks noChangeAspect="1" noChangeArrowheads="1"/>
            </p:cNvSpPr>
            <p:nvPr/>
          </p:nvSpPr>
          <p:spPr bwMode="auto">
            <a:xfrm>
              <a:off x="8708422" y="5573277"/>
              <a:ext cx="1317625" cy="227012"/>
            </a:xfrm>
            <a:prstGeom prst="rect">
              <a:avLst/>
            </a:prstGeom>
            <a:noFill/>
            <a:ln w="12700">
              <a:noFill/>
              <a:miter lim="800000"/>
              <a:headEnd type="none" w="sm" len="sm"/>
              <a:tailEnd type="none" w="sm" len="sm"/>
            </a:ln>
            <a:effectLst/>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ea typeface="+mn-ea"/>
                  <a:cs typeface="Arial" pitchFamily="34" charset="0"/>
                </a:rPr>
                <a:t>Economic Indicators</a:t>
              </a:r>
              <a:endParaRPr kumimoji="0" lang="en-US" sz="900" b="0" i="0" u="none" strike="noStrike" kern="1200" cap="none" spc="0" normalizeH="0" baseline="0" noProof="0">
                <a:ln>
                  <a:noFill/>
                </a:ln>
                <a:solidFill>
                  <a:srgbClr val="000000"/>
                </a:solidFill>
                <a:effectLst/>
                <a:uLnTx/>
                <a:uFillTx/>
                <a:ea typeface="+mn-ea"/>
                <a:cs typeface="Arial" pitchFamily="34" charset="0"/>
              </a:endParaRPr>
            </a:p>
          </p:txBody>
        </p:sp>
        <p:sp>
          <p:nvSpPr>
            <p:cNvPr id="48" name="Rectangle 55">
              <a:extLst>
                <a:ext uri="{FF2B5EF4-FFF2-40B4-BE49-F238E27FC236}">
                  <a16:creationId xmlns:a16="http://schemas.microsoft.com/office/drawing/2014/main" id="{956C541D-CEE2-4848-8D2E-CA00F2ADF271}"/>
                </a:ext>
              </a:extLst>
            </p:cNvPr>
            <p:cNvSpPr>
              <a:spLocks noChangeAspect="1" noChangeArrowheads="1"/>
            </p:cNvSpPr>
            <p:nvPr/>
          </p:nvSpPr>
          <p:spPr bwMode="auto">
            <a:xfrm>
              <a:off x="8708422" y="5825305"/>
              <a:ext cx="1724025" cy="295275"/>
            </a:xfrm>
            <a:prstGeom prst="rect">
              <a:avLst/>
            </a:prstGeom>
            <a:noFill/>
            <a:ln w="12700">
              <a:noFill/>
              <a:miter lim="800000"/>
              <a:headEnd type="none" w="sm" len="sm"/>
              <a:tailEnd type="none" w="sm" len="sm"/>
            </a:ln>
            <a:effectLst/>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ea typeface="+mn-ea"/>
                  <a:cs typeface="Arial" pitchFamily="34" charset="0"/>
                </a:rPr>
                <a:t>Non-controllable factors</a:t>
              </a:r>
              <a:endParaRPr kumimoji="0" lang="en-US" sz="900" b="0" i="0" u="none" strike="noStrike" kern="1200" cap="none" spc="0" normalizeH="0" baseline="0" noProof="0">
                <a:ln>
                  <a:noFill/>
                </a:ln>
                <a:solidFill>
                  <a:srgbClr val="000000"/>
                </a:solidFill>
                <a:effectLst/>
                <a:uLnTx/>
                <a:uFillTx/>
                <a:ea typeface="+mn-ea"/>
                <a:cs typeface="Arial" pitchFamily="34" charset="0"/>
              </a:endParaRPr>
            </a:p>
          </p:txBody>
        </p:sp>
        <p:sp>
          <p:nvSpPr>
            <p:cNvPr id="49" name="Rectangle 56">
              <a:extLst>
                <a:ext uri="{FF2B5EF4-FFF2-40B4-BE49-F238E27FC236}">
                  <a16:creationId xmlns:a16="http://schemas.microsoft.com/office/drawing/2014/main" id="{E9055739-C4FE-40B1-9CE4-504CDB82BC44}"/>
                </a:ext>
              </a:extLst>
            </p:cNvPr>
            <p:cNvSpPr>
              <a:spLocks noChangeAspect="1" noChangeArrowheads="1"/>
            </p:cNvSpPr>
            <p:nvPr/>
          </p:nvSpPr>
          <p:spPr bwMode="auto">
            <a:xfrm>
              <a:off x="8708422" y="6077333"/>
              <a:ext cx="1317625" cy="227013"/>
            </a:xfrm>
            <a:prstGeom prst="rect">
              <a:avLst/>
            </a:prstGeom>
            <a:noFill/>
            <a:ln w="12700">
              <a:noFill/>
              <a:miter lim="800000"/>
              <a:headEnd type="none" w="sm" len="sm"/>
              <a:tailEnd type="none" w="sm" len="sm"/>
            </a:ln>
            <a:effectLst/>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ea typeface="+mn-ea"/>
                  <a:cs typeface="Arial" pitchFamily="34" charset="0"/>
                </a:rPr>
                <a:t>Controllable factors</a:t>
              </a:r>
              <a:endParaRPr kumimoji="0" lang="en-US" sz="900" b="0" i="0" u="none" strike="noStrike" kern="1200" cap="none" spc="0" normalizeH="0" baseline="0" noProof="0">
                <a:ln>
                  <a:noFill/>
                </a:ln>
                <a:solidFill>
                  <a:srgbClr val="000000"/>
                </a:solidFill>
                <a:effectLst/>
                <a:uLnTx/>
                <a:uFillTx/>
                <a:ea typeface="+mn-ea"/>
                <a:cs typeface="Arial" pitchFamily="34" charset="0"/>
              </a:endParaRPr>
            </a:p>
          </p:txBody>
        </p:sp>
        <p:sp>
          <p:nvSpPr>
            <p:cNvPr id="50" name="Rectangle 54">
              <a:extLst>
                <a:ext uri="{FF2B5EF4-FFF2-40B4-BE49-F238E27FC236}">
                  <a16:creationId xmlns:a16="http://schemas.microsoft.com/office/drawing/2014/main" id="{35846E09-E69D-44E1-9A90-1B8B9AFA6926}"/>
                </a:ext>
                <a:ext uri="{C183D7F6-B498-43B3-948B-1728B52AA6E4}">
                  <adec:decorative xmlns:adec="http://schemas.microsoft.com/office/drawing/2017/decorative" val="1"/>
                </a:ext>
              </a:extLst>
            </p:cNvPr>
            <p:cNvSpPr>
              <a:spLocks noChangeAspect="1" noChangeArrowheads="1"/>
            </p:cNvSpPr>
            <p:nvPr/>
          </p:nvSpPr>
          <p:spPr bwMode="auto">
            <a:xfrm>
              <a:off x="8371368" y="5553237"/>
              <a:ext cx="244913" cy="192431"/>
            </a:xfrm>
            <a:prstGeom prst="rect">
              <a:avLst/>
            </a:prstGeom>
            <a:solidFill>
              <a:srgbClr val="DCAFFF"/>
            </a:solidFill>
            <a:ln w="12700">
              <a:noFill/>
              <a:miter lim="800000"/>
              <a:headEnd type="none" w="sm" len="sm"/>
              <a:tailEnd type="none" w="sm" len="sm"/>
            </a:ln>
            <a:effectLst/>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Arial"/>
                <a:ea typeface="+mn-ea"/>
                <a:cs typeface="+mn-cs"/>
              </a:endParaRPr>
            </a:p>
          </p:txBody>
        </p:sp>
        <p:sp>
          <p:nvSpPr>
            <p:cNvPr id="51" name="Rectangle 55">
              <a:extLst>
                <a:ext uri="{FF2B5EF4-FFF2-40B4-BE49-F238E27FC236}">
                  <a16:creationId xmlns:a16="http://schemas.microsoft.com/office/drawing/2014/main" id="{68714DD1-85EF-4A78-9F78-9D40EAC3EFF0}"/>
                </a:ext>
                <a:ext uri="{C183D7F6-B498-43B3-948B-1728B52AA6E4}">
                  <adec:decorative xmlns:adec="http://schemas.microsoft.com/office/drawing/2017/decorative" val="1"/>
                </a:ext>
              </a:extLst>
            </p:cNvPr>
            <p:cNvSpPr>
              <a:spLocks noChangeAspect="1" noChangeArrowheads="1"/>
            </p:cNvSpPr>
            <p:nvPr/>
          </p:nvSpPr>
          <p:spPr bwMode="auto">
            <a:xfrm>
              <a:off x="8371368" y="5805264"/>
              <a:ext cx="244913" cy="192432"/>
            </a:xfrm>
            <a:prstGeom prst="rect">
              <a:avLst/>
            </a:prstGeom>
            <a:solidFill>
              <a:srgbClr val="A100FF"/>
            </a:solidFill>
            <a:ln w="12700">
              <a:noFill/>
              <a:miter lim="800000"/>
              <a:headEnd type="none" w="sm" len="sm"/>
              <a:tailEnd type="none" w="sm" len="sm"/>
            </a:ln>
            <a:effectLst/>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Arial"/>
                <a:ea typeface="+mn-ea"/>
                <a:cs typeface="+mn-cs"/>
              </a:endParaRPr>
            </a:p>
          </p:txBody>
        </p:sp>
        <p:sp>
          <p:nvSpPr>
            <p:cNvPr id="52" name="Rectangle 56">
              <a:extLst>
                <a:ext uri="{FF2B5EF4-FFF2-40B4-BE49-F238E27FC236}">
                  <a16:creationId xmlns:a16="http://schemas.microsoft.com/office/drawing/2014/main" id="{874B4213-BC5F-412B-ABFF-FE95F8753273}"/>
                </a:ext>
                <a:ext uri="{C183D7F6-B498-43B3-948B-1728B52AA6E4}">
                  <adec:decorative xmlns:adec="http://schemas.microsoft.com/office/drawing/2017/decorative" val="1"/>
                </a:ext>
              </a:extLst>
            </p:cNvPr>
            <p:cNvSpPr>
              <a:spLocks noChangeAspect="1" noChangeArrowheads="1"/>
            </p:cNvSpPr>
            <p:nvPr/>
          </p:nvSpPr>
          <p:spPr bwMode="auto">
            <a:xfrm>
              <a:off x="8370545" y="6057292"/>
              <a:ext cx="236839" cy="192432"/>
            </a:xfrm>
            <a:prstGeom prst="rect">
              <a:avLst/>
            </a:prstGeom>
            <a:solidFill>
              <a:srgbClr val="FFFFFF"/>
            </a:solidFill>
            <a:ln w="12700">
              <a:solidFill>
                <a:srgbClr val="C0C0C0"/>
              </a:solidFill>
              <a:miter lim="800000"/>
              <a:headEnd type="none" w="sm" len="sm"/>
              <a:tailEnd type="none" w="sm" len="sm"/>
            </a:ln>
            <a:effectLst/>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Arial"/>
                <a:ea typeface="+mn-ea"/>
                <a:cs typeface="+mn-cs"/>
              </a:endParaRPr>
            </a:p>
          </p:txBody>
        </p:sp>
        <p:sp>
          <p:nvSpPr>
            <p:cNvPr id="64" name="TextBox 63">
              <a:extLst>
                <a:ext uri="{FF2B5EF4-FFF2-40B4-BE49-F238E27FC236}">
                  <a16:creationId xmlns:a16="http://schemas.microsoft.com/office/drawing/2014/main" id="{1E5854A3-ED18-4309-9AA0-7E3B0CCFAC10}"/>
                </a:ext>
              </a:extLst>
            </p:cNvPr>
            <p:cNvSpPr txBox="1"/>
            <p:nvPr/>
          </p:nvSpPr>
          <p:spPr bwMode="auto">
            <a:xfrm>
              <a:off x="3584621" y="5445224"/>
              <a:ext cx="2040095" cy="55399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mn-ea"/>
                  <a:cs typeface="Arial" pitchFamily="34" charset="0"/>
                </a:rPr>
                <a:t>Non-quantifiable value creation levers for the company (macro economic, industry and company specific factors)</a:t>
              </a:r>
            </a:p>
          </p:txBody>
        </p:sp>
        <p:sp>
          <p:nvSpPr>
            <p:cNvPr id="72" name="Rectangle 48">
              <a:extLst>
                <a:ext uri="{FF2B5EF4-FFF2-40B4-BE49-F238E27FC236}">
                  <a16:creationId xmlns:a16="http://schemas.microsoft.com/office/drawing/2014/main" id="{96BDB6F0-B0EE-425D-ABDC-050F99930139}"/>
                </a:ext>
              </a:extLst>
            </p:cNvPr>
            <p:cNvSpPr>
              <a:spLocks noChangeAspect="1" noChangeArrowheads="1"/>
            </p:cNvSpPr>
            <p:nvPr/>
          </p:nvSpPr>
          <p:spPr bwMode="auto">
            <a:xfrm>
              <a:off x="1970691" y="5075597"/>
              <a:ext cx="1673442" cy="552911"/>
            </a:xfrm>
            <a:prstGeom prst="rect">
              <a:avLst/>
            </a:prstGeom>
            <a:noFill/>
            <a:ln w="12700">
              <a:noFill/>
              <a:miter lim="800000"/>
              <a:headEnd type="none" w="sm" len="sm"/>
              <a:tailEnd type="none" w="sm" len="sm"/>
            </a:ln>
          </p:spPr>
          <p:txBody>
            <a:bodyPr lIns="0" tIns="0" rIns="0" bIns="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Arial" pitchFamily="34" charset="0"/>
                </a:rPr>
                <a:t>Intangible Drivers</a:t>
              </a:r>
              <a:br>
                <a:rPr kumimoji="0" lang="en-GB" sz="1200" b="1" i="0" u="none" strike="noStrike" kern="1200" cap="none" spc="0" normalizeH="0" baseline="0" noProof="0" dirty="0">
                  <a:ln>
                    <a:noFill/>
                  </a:ln>
                  <a:solidFill>
                    <a:srgbClr val="000000"/>
                  </a:solidFill>
                  <a:effectLst/>
                  <a:uLnTx/>
                  <a:uFillTx/>
                  <a:latin typeface="Arial"/>
                  <a:ea typeface="+mn-ea"/>
                  <a:cs typeface="Arial" pitchFamily="34" charset="0"/>
                </a:rPr>
              </a:br>
              <a:r>
                <a:rPr kumimoji="0" lang="en-GB" sz="1200" b="1" i="0" u="none" strike="noStrike" kern="1200" cap="none" spc="0" normalizeH="0" baseline="0" noProof="0" dirty="0">
                  <a:ln>
                    <a:noFill/>
                  </a:ln>
                  <a:solidFill>
                    <a:srgbClr val="000000"/>
                  </a:solidFill>
                  <a:effectLst/>
                  <a:uLnTx/>
                  <a:uFillTx/>
                  <a:latin typeface="Arial"/>
                  <a:ea typeface="+mn-ea"/>
                  <a:cs typeface="Arial" pitchFamily="34" charset="0"/>
                </a:rPr>
                <a:t>of Economic Value</a:t>
              </a:r>
              <a:endParaRPr kumimoji="0" lang="en-US" sz="1200" b="1" i="0" u="none" strike="noStrike" kern="1200" cap="none" spc="0" normalizeH="0" baseline="0" noProof="0" dirty="0">
                <a:ln>
                  <a:noFill/>
                </a:ln>
                <a:solidFill>
                  <a:srgbClr val="000000"/>
                </a:solidFill>
                <a:effectLst/>
                <a:uLnTx/>
                <a:uFillTx/>
                <a:latin typeface="Arial"/>
                <a:ea typeface="+mn-ea"/>
                <a:cs typeface="Arial" pitchFamily="34" charset="0"/>
              </a:endParaRPr>
            </a:p>
          </p:txBody>
        </p:sp>
        <p:sp>
          <p:nvSpPr>
            <p:cNvPr id="86" name="Left Brace 85">
              <a:extLst>
                <a:ext uri="{FF2B5EF4-FFF2-40B4-BE49-F238E27FC236}">
                  <a16:creationId xmlns:a16="http://schemas.microsoft.com/office/drawing/2014/main" id="{D06FF608-5062-41E6-85F4-F29B07D2BA66}"/>
                </a:ext>
              </a:extLst>
            </p:cNvPr>
            <p:cNvSpPr/>
            <p:nvPr/>
          </p:nvSpPr>
          <p:spPr bwMode="auto">
            <a:xfrm>
              <a:off x="5788806" y="5068773"/>
              <a:ext cx="143534" cy="1275009"/>
            </a:xfrm>
            <a:prstGeom prst="leftBrace">
              <a:avLst>
                <a:gd name="adj1" fmla="val 43308"/>
                <a:gd name="adj2" fmla="val 50000"/>
              </a:avLst>
            </a:prstGeom>
            <a:noFill/>
            <a:ln w="9525" cap="flat" cmpd="sng" algn="ctr">
              <a:solidFill>
                <a:srgbClr val="BE82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00000"/>
                </a:solidFill>
                <a:effectLst/>
                <a:uLnTx/>
                <a:uFillTx/>
                <a:latin typeface="Arial" charset="0"/>
                <a:ea typeface="+mn-ea"/>
                <a:cs typeface="+mn-cs"/>
              </a:endParaRPr>
            </a:p>
          </p:txBody>
        </p:sp>
      </p:grpSp>
      <p:grpSp>
        <p:nvGrpSpPr>
          <p:cNvPr id="5" name="Group 4" descr="Add text and order accordingly">
            <a:extLst>
              <a:ext uri="{FF2B5EF4-FFF2-40B4-BE49-F238E27FC236}">
                <a16:creationId xmlns:a16="http://schemas.microsoft.com/office/drawing/2014/main" id="{FC7E30B4-A76D-4327-AA0C-3124A152BE43}"/>
              </a:ext>
            </a:extLst>
          </p:cNvPr>
          <p:cNvGrpSpPr/>
          <p:nvPr/>
        </p:nvGrpSpPr>
        <p:grpSpPr>
          <a:xfrm>
            <a:off x="6653058" y="1628776"/>
            <a:ext cx="3546630" cy="1856005"/>
            <a:chOff x="6653058" y="1628776"/>
            <a:chExt cx="3546630" cy="1856005"/>
          </a:xfrm>
        </p:grpSpPr>
        <p:sp>
          <p:nvSpPr>
            <p:cNvPr id="9" name="Rectangle 12">
              <a:extLst>
                <a:ext uri="{FF2B5EF4-FFF2-40B4-BE49-F238E27FC236}">
                  <a16:creationId xmlns:a16="http://schemas.microsoft.com/office/drawing/2014/main" id="{7D170408-E01D-4121-AC37-EF1EBC92EA5D}"/>
                </a:ext>
              </a:extLst>
            </p:cNvPr>
            <p:cNvSpPr>
              <a:spLocks noChangeArrowheads="1"/>
            </p:cNvSpPr>
            <p:nvPr/>
          </p:nvSpPr>
          <p:spPr bwMode="auto">
            <a:xfrm>
              <a:off x="8647079" y="1677165"/>
              <a:ext cx="571403" cy="147615"/>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KPI 1</a:t>
              </a:r>
            </a:p>
          </p:txBody>
        </p:sp>
        <p:cxnSp>
          <p:nvCxnSpPr>
            <p:cNvPr id="10" name="AutoShape 13">
              <a:extLst>
                <a:ext uri="{FF2B5EF4-FFF2-40B4-BE49-F238E27FC236}">
                  <a16:creationId xmlns:a16="http://schemas.microsoft.com/office/drawing/2014/main" id="{E5650DEB-7B88-4F86-AD19-6104BCFA4CE9}"/>
                </a:ext>
                <a:ext uri="{C183D7F6-B498-43B3-948B-1728B52AA6E4}">
                  <adec:decorative xmlns:adec="http://schemas.microsoft.com/office/drawing/2017/decorative" val="1"/>
                </a:ext>
              </a:extLst>
            </p:cNvPr>
            <p:cNvCxnSpPr>
              <a:cxnSpLocks noChangeShapeType="1"/>
            </p:cNvCxnSpPr>
            <p:nvPr/>
          </p:nvCxnSpPr>
          <p:spPr bwMode="auto">
            <a:xfrm flipV="1">
              <a:off x="6653058" y="1836062"/>
              <a:ext cx="466725" cy="519112"/>
            </a:xfrm>
            <a:prstGeom prst="bentConnector3">
              <a:avLst>
                <a:gd name="adj1" fmla="val 50000"/>
              </a:avLst>
            </a:prstGeom>
            <a:noFill/>
            <a:ln w="6350">
              <a:solidFill>
                <a:srgbClr val="BE82FF"/>
              </a:solidFill>
              <a:miter lim="800000"/>
              <a:headEnd type="triangle" w="med" len="med"/>
              <a:tailEnd/>
            </a:ln>
          </p:spPr>
        </p:cxnSp>
        <p:cxnSp>
          <p:nvCxnSpPr>
            <p:cNvPr id="11" name="AutoShape 14">
              <a:extLst>
                <a:ext uri="{FF2B5EF4-FFF2-40B4-BE49-F238E27FC236}">
                  <a16:creationId xmlns:a16="http://schemas.microsoft.com/office/drawing/2014/main" id="{CE4962EE-28F6-4AB0-981D-15729BAC3972}"/>
                </a:ext>
                <a:ext uri="{C183D7F6-B498-43B3-948B-1728B52AA6E4}">
                  <adec:decorative xmlns:adec="http://schemas.microsoft.com/office/drawing/2017/decorative" val="1"/>
                </a:ext>
              </a:extLst>
            </p:cNvPr>
            <p:cNvCxnSpPr>
              <a:cxnSpLocks noChangeShapeType="1"/>
            </p:cNvCxnSpPr>
            <p:nvPr/>
          </p:nvCxnSpPr>
          <p:spPr bwMode="auto">
            <a:xfrm>
              <a:off x="6653058" y="2355174"/>
              <a:ext cx="466725" cy="522288"/>
            </a:xfrm>
            <a:prstGeom prst="bentConnector3">
              <a:avLst>
                <a:gd name="adj1" fmla="val 50000"/>
              </a:avLst>
            </a:prstGeom>
            <a:noFill/>
            <a:ln w="6350">
              <a:solidFill>
                <a:srgbClr val="BE82FF"/>
              </a:solidFill>
              <a:miter lim="800000"/>
              <a:headEnd/>
              <a:tailEnd/>
            </a:ln>
          </p:spPr>
        </p:cxnSp>
        <p:cxnSp>
          <p:nvCxnSpPr>
            <p:cNvPr id="12" name="AutoShape 16">
              <a:extLst>
                <a:ext uri="{FF2B5EF4-FFF2-40B4-BE49-F238E27FC236}">
                  <a16:creationId xmlns:a16="http://schemas.microsoft.com/office/drawing/2014/main" id="{D4BA6F28-EE76-4E7A-97E3-49795AC686E6}"/>
                </a:ext>
                <a:ext uri="{C183D7F6-B498-43B3-948B-1728B52AA6E4}">
                  <adec:decorative xmlns:adec="http://schemas.microsoft.com/office/drawing/2017/decorative" val="1"/>
                </a:ext>
              </a:extLst>
            </p:cNvPr>
            <p:cNvCxnSpPr>
              <a:cxnSpLocks noChangeShapeType="1"/>
            </p:cNvCxnSpPr>
            <p:nvPr/>
          </p:nvCxnSpPr>
          <p:spPr bwMode="auto">
            <a:xfrm flipV="1">
              <a:off x="7926538" y="1723350"/>
              <a:ext cx="522287" cy="112713"/>
            </a:xfrm>
            <a:prstGeom prst="bentConnector3">
              <a:avLst>
                <a:gd name="adj1" fmla="val 49847"/>
              </a:avLst>
            </a:prstGeom>
            <a:noFill/>
            <a:ln w="6350">
              <a:solidFill>
                <a:srgbClr val="BE82FF"/>
              </a:solidFill>
              <a:miter lim="800000"/>
              <a:headEnd/>
              <a:tailEnd type="triangle" w="med" len="med"/>
            </a:ln>
          </p:spPr>
        </p:cxnSp>
        <p:sp>
          <p:nvSpPr>
            <p:cNvPr id="21" name="Rectangle 31">
              <a:extLst>
                <a:ext uri="{FF2B5EF4-FFF2-40B4-BE49-F238E27FC236}">
                  <a16:creationId xmlns:a16="http://schemas.microsoft.com/office/drawing/2014/main" id="{0EC9DD5D-D05E-4EAF-9DB1-857CC4A8FA8D}"/>
                </a:ext>
              </a:extLst>
            </p:cNvPr>
            <p:cNvSpPr>
              <a:spLocks noChangeArrowheads="1"/>
            </p:cNvSpPr>
            <p:nvPr/>
          </p:nvSpPr>
          <p:spPr bwMode="auto">
            <a:xfrm>
              <a:off x="8647079" y="1897181"/>
              <a:ext cx="571403" cy="132305"/>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KPI 2</a:t>
              </a:r>
            </a:p>
          </p:txBody>
        </p:sp>
        <p:cxnSp>
          <p:nvCxnSpPr>
            <p:cNvPr id="22" name="AutoShape 33">
              <a:extLst>
                <a:ext uri="{FF2B5EF4-FFF2-40B4-BE49-F238E27FC236}">
                  <a16:creationId xmlns:a16="http://schemas.microsoft.com/office/drawing/2014/main" id="{5F5AAC8C-039D-46B1-B79F-E639EC8DB6B1}"/>
                </a:ext>
                <a:ext uri="{C183D7F6-B498-43B3-948B-1728B52AA6E4}">
                  <adec:decorative xmlns:adec="http://schemas.microsoft.com/office/drawing/2017/decorative" val="1"/>
                </a:ext>
              </a:extLst>
            </p:cNvPr>
            <p:cNvCxnSpPr>
              <a:cxnSpLocks noChangeShapeType="1"/>
            </p:cNvCxnSpPr>
            <p:nvPr/>
          </p:nvCxnSpPr>
          <p:spPr bwMode="auto">
            <a:xfrm>
              <a:off x="7926538" y="1836063"/>
              <a:ext cx="522287" cy="122237"/>
            </a:xfrm>
            <a:prstGeom prst="bentConnector3">
              <a:avLst>
                <a:gd name="adj1" fmla="val 49847"/>
              </a:avLst>
            </a:prstGeom>
            <a:noFill/>
            <a:ln w="6350">
              <a:solidFill>
                <a:srgbClr val="BE82FF"/>
              </a:solidFill>
              <a:miter lim="800000"/>
              <a:headEnd/>
              <a:tailEnd type="triangle" w="med" len="med"/>
            </a:ln>
          </p:spPr>
        </p:cxnSp>
        <p:sp>
          <p:nvSpPr>
            <p:cNvPr id="23" name="Rectangle 35">
              <a:extLst>
                <a:ext uri="{FF2B5EF4-FFF2-40B4-BE49-F238E27FC236}">
                  <a16:creationId xmlns:a16="http://schemas.microsoft.com/office/drawing/2014/main" id="{2DC6A628-9A07-4E75-A893-432B37EA4AC3}"/>
                </a:ext>
              </a:extLst>
            </p:cNvPr>
            <p:cNvSpPr>
              <a:spLocks noChangeArrowheads="1"/>
            </p:cNvSpPr>
            <p:nvPr/>
          </p:nvSpPr>
          <p:spPr bwMode="auto">
            <a:xfrm>
              <a:off x="8647079" y="2188340"/>
              <a:ext cx="571403" cy="137318"/>
            </a:xfrm>
            <a:prstGeom prst="rect">
              <a:avLst/>
            </a:prstGeom>
            <a:noFill/>
            <a:ln w="9525">
              <a:noFill/>
              <a:miter lim="800000"/>
              <a:headEnd/>
              <a:tailEnd/>
            </a:ln>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KPI 3</a:t>
              </a:r>
            </a:p>
          </p:txBody>
        </p:sp>
        <p:sp>
          <p:nvSpPr>
            <p:cNvPr id="24" name="Rectangle 36">
              <a:extLst>
                <a:ext uri="{FF2B5EF4-FFF2-40B4-BE49-F238E27FC236}">
                  <a16:creationId xmlns:a16="http://schemas.microsoft.com/office/drawing/2014/main" id="{EEC72E9A-D3C3-4542-9E14-2B7E015B6E28}"/>
                </a:ext>
              </a:extLst>
            </p:cNvPr>
            <p:cNvSpPr>
              <a:spLocks noChangeArrowheads="1"/>
            </p:cNvSpPr>
            <p:nvPr/>
          </p:nvSpPr>
          <p:spPr bwMode="auto">
            <a:xfrm>
              <a:off x="8647079" y="2412209"/>
              <a:ext cx="571403" cy="117475"/>
            </a:xfrm>
            <a:prstGeom prst="rect">
              <a:avLst/>
            </a:prstGeom>
            <a:noFill/>
            <a:ln w="9525">
              <a:noFill/>
              <a:miter lim="800000"/>
              <a:headEnd/>
              <a:tailEnd/>
            </a:ln>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KPI 4</a:t>
              </a:r>
            </a:p>
          </p:txBody>
        </p:sp>
        <p:cxnSp>
          <p:nvCxnSpPr>
            <p:cNvPr id="25" name="AutoShape 37">
              <a:extLst>
                <a:ext uri="{FF2B5EF4-FFF2-40B4-BE49-F238E27FC236}">
                  <a16:creationId xmlns:a16="http://schemas.microsoft.com/office/drawing/2014/main" id="{0B2FDADC-4DAD-4177-9F7B-AB6475AC06A3}"/>
                </a:ext>
                <a:ext uri="{C183D7F6-B498-43B3-948B-1728B52AA6E4}">
                  <adec:decorative xmlns:adec="http://schemas.microsoft.com/office/drawing/2017/decorative" val="1"/>
                </a:ext>
              </a:extLst>
            </p:cNvPr>
            <p:cNvCxnSpPr>
              <a:cxnSpLocks noChangeShapeType="1"/>
            </p:cNvCxnSpPr>
            <p:nvPr/>
          </p:nvCxnSpPr>
          <p:spPr bwMode="auto">
            <a:xfrm>
              <a:off x="7945588" y="2356762"/>
              <a:ext cx="503237" cy="127000"/>
            </a:xfrm>
            <a:prstGeom prst="bentConnector3">
              <a:avLst>
                <a:gd name="adj1" fmla="val 49843"/>
              </a:avLst>
            </a:prstGeom>
            <a:noFill/>
            <a:ln w="6350">
              <a:solidFill>
                <a:srgbClr val="BE82FF"/>
              </a:solidFill>
              <a:miter lim="800000"/>
              <a:headEnd/>
              <a:tailEnd type="triangle" w="med" len="med"/>
            </a:ln>
          </p:spPr>
        </p:cxnSp>
        <p:cxnSp>
          <p:nvCxnSpPr>
            <p:cNvPr id="26" name="AutoShape 38">
              <a:extLst>
                <a:ext uri="{FF2B5EF4-FFF2-40B4-BE49-F238E27FC236}">
                  <a16:creationId xmlns:a16="http://schemas.microsoft.com/office/drawing/2014/main" id="{25BA33CB-0046-4E8D-B196-A9AE68D5A2AB}"/>
                </a:ext>
                <a:ext uri="{C183D7F6-B498-43B3-948B-1728B52AA6E4}">
                  <adec:decorative xmlns:adec="http://schemas.microsoft.com/office/drawing/2017/decorative" val="1"/>
                </a:ext>
              </a:extLst>
            </p:cNvPr>
            <p:cNvCxnSpPr>
              <a:cxnSpLocks noChangeShapeType="1"/>
            </p:cNvCxnSpPr>
            <p:nvPr/>
          </p:nvCxnSpPr>
          <p:spPr bwMode="auto">
            <a:xfrm flipV="1">
              <a:off x="7945588" y="2234524"/>
              <a:ext cx="503237" cy="122238"/>
            </a:xfrm>
            <a:prstGeom prst="bentConnector3">
              <a:avLst>
                <a:gd name="adj1" fmla="val 49843"/>
              </a:avLst>
            </a:prstGeom>
            <a:noFill/>
            <a:ln w="6350">
              <a:solidFill>
                <a:srgbClr val="BE82FF"/>
              </a:solidFill>
              <a:miter lim="800000"/>
              <a:headEnd/>
              <a:tailEnd type="triangle" w="med" len="med"/>
            </a:ln>
          </p:spPr>
        </p:cxnSp>
        <p:sp>
          <p:nvSpPr>
            <p:cNvPr id="27" name="Rectangle 41">
              <a:extLst>
                <a:ext uri="{FF2B5EF4-FFF2-40B4-BE49-F238E27FC236}">
                  <a16:creationId xmlns:a16="http://schemas.microsoft.com/office/drawing/2014/main" id="{822F379C-65A3-4D94-839E-E734AD64265F}"/>
                </a:ext>
              </a:extLst>
            </p:cNvPr>
            <p:cNvSpPr>
              <a:spLocks noChangeArrowheads="1"/>
            </p:cNvSpPr>
            <p:nvPr/>
          </p:nvSpPr>
          <p:spPr bwMode="auto">
            <a:xfrm>
              <a:off x="8647078" y="2661968"/>
              <a:ext cx="653278" cy="168472"/>
            </a:xfrm>
            <a:prstGeom prst="rect">
              <a:avLst/>
            </a:prstGeom>
            <a:noFill/>
            <a:ln w="9525">
              <a:noFill/>
              <a:miter lim="800000"/>
              <a:headEnd/>
              <a:tailEnd/>
            </a:ln>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KPI 5</a:t>
              </a:r>
            </a:p>
          </p:txBody>
        </p:sp>
        <p:cxnSp>
          <p:nvCxnSpPr>
            <p:cNvPr id="28" name="AutoShape 44">
              <a:extLst>
                <a:ext uri="{FF2B5EF4-FFF2-40B4-BE49-F238E27FC236}">
                  <a16:creationId xmlns:a16="http://schemas.microsoft.com/office/drawing/2014/main" id="{CC8D8096-BF74-4B6B-9732-FA1B10989A14}"/>
                </a:ext>
                <a:ext uri="{C183D7F6-B498-43B3-948B-1728B52AA6E4}">
                  <adec:decorative xmlns:adec="http://schemas.microsoft.com/office/drawing/2017/decorative" val="1"/>
                </a:ext>
              </a:extLst>
            </p:cNvPr>
            <p:cNvCxnSpPr>
              <a:cxnSpLocks noChangeShapeType="1"/>
            </p:cNvCxnSpPr>
            <p:nvPr/>
          </p:nvCxnSpPr>
          <p:spPr bwMode="auto">
            <a:xfrm flipV="1">
              <a:off x="7947174" y="2745700"/>
              <a:ext cx="501650" cy="131763"/>
            </a:xfrm>
            <a:prstGeom prst="bentConnector3">
              <a:avLst>
                <a:gd name="adj1" fmla="val 50000"/>
              </a:avLst>
            </a:prstGeom>
            <a:noFill/>
            <a:ln w="6350">
              <a:solidFill>
                <a:srgbClr val="BE82FF"/>
              </a:solidFill>
              <a:miter lim="800000"/>
              <a:headEnd/>
              <a:tailEnd type="triangle" w="med" len="med"/>
            </a:ln>
          </p:spPr>
        </p:cxnSp>
        <p:sp>
          <p:nvSpPr>
            <p:cNvPr id="42" name="Rectangle 41">
              <a:extLst>
                <a:ext uri="{FF2B5EF4-FFF2-40B4-BE49-F238E27FC236}">
                  <a16:creationId xmlns:a16="http://schemas.microsoft.com/office/drawing/2014/main" id="{D2C7AAB2-11E9-434C-8759-0CEC51349F64}"/>
                </a:ext>
              </a:extLst>
            </p:cNvPr>
            <p:cNvSpPr>
              <a:spLocks noChangeArrowheads="1"/>
            </p:cNvSpPr>
            <p:nvPr/>
          </p:nvSpPr>
          <p:spPr bwMode="auto">
            <a:xfrm>
              <a:off x="8647078" y="2915968"/>
              <a:ext cx="653278" cy="152992"/>
            </a:xfrm>
            <a:prstGeom prst="rect">
              <a:avLst/>
            </a:prstGeom>
            <a:noFill/>
            <a:ln w="9525">
              <a:noFill/>
              <a:miter lim="800000"/>
              <a:headEnd/>
              <a:tailEnd/>
            </a:ln>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KPI 6</a:t>
              </a:r>
            </a:p>
          </p:txBody>
        </p:sp>
        <p:cxnSp>
          <p:nvCxnSpPr>
            <p:cNvPr id="43" name="AutoShape 87">
              <a:extLst>
                <a:ext uri="{FF2B5EF4-FFF2-40B4-BE49-F238E27FC236}">
                  <a16:creationId xmlns:a16="http://schemas.microsoft.com/office/drawing/2014/main" id="{0BF97A65-9525-4A69-97FC-259B2B42DD49}"/>
                </a:ext>
                <a:ext uri="{C183D7F6-B498-43B3-948B-1728B52AA6E4}">
                  <adec:decorative xmlns:adec="http://schemas.microsoft.com/office/drawing/2017/decorative" val="1"/>
                </a:ext>
              </a:extLst>
            </p:cNvPr>
            <p:cNvCxnSpPr>
              <a:cxnSpLocks noChangeShapeType="1"/>
            </p:cNvCxnSpPr>
            <p:nvPr/>
          </p:nvCxnSpPr>
          <p:spPr bwMode="auto">
            <a:xfrm>
              <a:off x="7947174" y="2877463"/>
              <a:ext cx="501650" cy="122237"/>
            </a:xfrm>
            <a:prstGeom prst="bentConnector3">
              <a:avLst>
                <a:gd name="adj1" fmla="val 50000"/>
              </a:avLst>
            </a:prstGeom>
            <a:noFill/>
            <a:ln w="6350">
              <a:solidFill>
                <a:srgbClr val="BE82FF"/>
              </a:solidFill>
              <a:miter lim="800000"/>
              <a:headEnd/>
              <a:tailEnd type="triangle" w="med" len="med"/>
            </a:ln>
          </p:spPr>
        </p:cxnSp>
        <p:sp>
          <p:nvSpPr>
            <p:cNvPr id="44" name="Text Box 82">
              <a:extLst>
                <a:ext uri="{FF2B5EF4-FFF2-40B4-BE49-F238E27FC236}">
                  <a16:creationId xmlns:a16="http://schemas.microsoft.com/office/drawing/2014/main" id="{ADD46CEA-30C6-455E-B376-7A2DF534D2DC}"/>
                </a:ext>
              </a:extLst>
            </p:cNvPr>
            <p:cNvSpPr txBox="1">
              <a:spLocks noChangeArrowheads="1"/>
            </p:cNvSpPr>
            <p:nvPr/>
          </p:nvSpPr>
          <p:spPr bwMode="auto">
            <a:xfrm>
              <a:off x="8400256" y="1776338"/>
              <a:ext cx="450850" cy="138499"/>
            </a:xfrm>
            <a:prstGeom prst="rect">
              <a:avLst/>
            </a:prstGeom>
            <a:noFill/>
            <a:ln w="9525">
              <a:noFill/>
              <a:miter lim="800000"/>
              <a:headEnd/>
              <a:tailEnd/>
            </a:ln>
            <a:effectLst>
              <a:prstShdw prst="shdw17" dist="17961" dir="2700000">
                <a:srgbClr val="A100FF">
                  <a:gamma/>
                  <a:shade val="60000"/>
                  <a:invGamma/>
                </a:srgbClr>
              </a:prstShdw>
            </a:effectLst>
          </p:spPr>
          <p:txBody>
            <a:bodyPr lIns="0" tIns="0" rIns="0" bIns="0" anchor="t">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ea typeface="+mn-ea"/>
                  <a:cs typeface="+mn-cs"/>
                </a:rPr>
                <a:t>(x)</a:t>
              </a:r>
            </a:p>
          </p:txBody>
        </p:sp>
        <p:sp>
          <p:nvSpPr>
            <p:cNvPr id="45" name="Text Box 82">
              <a:extLst>
                <a:ext uri="{FF2B5EF4-FFF2-40B4-BE49-F238E27FC236}">
                  <a16:creationId xmlns:a16="http://schemas.microsoft.com/office/drawing/2014/main" id="{209EF414-46F2-4506-BA70-F3EFA1800D59}"/>
                </a:ext>
              </a:extLst>
            </p:cNvPr>
            <p:cNvSpPr txBox="1">
              <a:spLocks noChangeArrowheads="1"/>
            </p:cNvSpPr>
            <p:nvPr/>
          </p:nvSpPr>
          <p:spPr bwMode="auto">
            <a:xfrm>
              <a:off x="8400256" y="2281455"/>
              <a:ext cx="450850" cy="138499"/>
            </a:xfrm>
            <a:prstGeom prst="rect">
              <a:avLst/>
            </a:prstGeom>
            <a:noFill/>
            <a:ln w="9525">
              <a:noFill/>
              <a:miter lim="800000"/>
              <a:headEnd/>
              <a:tailEnd/>
            </a:ln>
            <a:effectLst>
              <a:prstShdw prst="shdw17" dist="17961" dir="2700000">
                <a:srgbClr val="A100FF">
                  <a:gamma/>
                  <a:shade val="60000"/>
                  <a:invGamma/>
                </a:srgbClr>
              </a:prstShdw>
            </a:effectLst>
          </p:spPr>
          <p:txBody>
            <a:bodyPr lIns="0" tIns="0" rIns="0" bIns="0" anchor="t">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ea typeface="+mn-ea"/>
                  <a:cs typeface="+mn-cs"/>
                </a:rPr>
                <a:t>(x)</a:t>
              </a:r>
            </a:p>
          </p:txBody>
        </p:sp>
        <p:sp>
          <p:nvSpPr>
            <p:cNvPr id="46" name="Text Box 82">
              <a:extLst>
                <a:ext uri="{FF2B5EF4-FFF2-40B4-BE49-F238E27FC236}">
                  <a16:creationId xmlns:a16="http://schemas.microsoft.com/office/drawing/2014/main" id="{23FF40C7-2EAA-4418-A4A3-A5415178E0A2}"/>
                </a:ext>
              </a:extLst>
            </p:cNvPr>
            <p:cNvSpPr txBox="1">
              <a:spLocks noChangeArrowheads="1"/>
            </p:cNvSpPr>
            <p:nvPr/>
          </p:nvSpPr>
          <p:spPr bwMode="auto">
            <a:xfrm>
              <a:off x="8400256" y="2811581"/>
              <a:ext cx="450850" cy="138499"/>
            </a:xfrm>
            <a:prstGeom prst="rect">
              <a:avLst/>
            </a:prstGeom>
            <a:noFill/>
            <a:ln w="9525">
              <a:noFill/>
              <a:miter lim="800000"/>
              <a:headEnd/>
              <a:tailEnd/>
            </a:ln>
            <a:effectLst>
              <a:prstShdw prst="shdw17" dist="17961" dir="2700000">
                <a:srgbClr val="A100FF">
                  <a:gamma/>
                  <a:shade val="60000"/>
                  <a:invGamma/>
                </a:srgbClr>
              </a:prstShdw>
            </a:effectLst>
          </p:spPr>
          <p:txBody>
            <a:bodyPr lIns="0" tIns="0" rIns="0" bIns="0" anchor="t">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ea typeface="+mn-ea"/>
                  <a:cs typeface="+mn-cs"/>
                </a:rPr>
                <a:t>(x)</a:t>
              </a:r>
            </a:p>
          </p:txBody>
        </p:sp>
        <p:sp>
          <p:nvSpPr>
            <p:cNvPr id="58" name="Rectangle 21">
              <a:extLst>
                <a:ext uri="{FF2B5EF4-FFF2-40B4-BE49-F238E27FC236}">
                  <a16:creationId xmlns:a16="http://schemas.microsoft.com/office/drawing/2014/main" id="{07238866-2EC7-4863-A3DF-C044615EE49A}"/>
                </a:ext>
              </a:extLst>
            </p:cNvPr>
            <p:cNvSpPr>
              <a:spLocks noChangeArrowheads="1"/>
            </p:cNvSpPr>
            <p:nvPr/>
          </p:nvSpPr>
          <p:spPr bwMode="auto">
            <a:xfrm>
              <a:off x="7145065" y="1750973"/>
              <a:ext cx="1195387" cy="133873"/>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Sub element 1</a:t>
              </a:r>
            </a:p>
          </p:txBody>
        </p:sp>
        <p:sp>
          <p:nvSpPr>
            <p:cNvPr id="59" name="Rectangle 21">
              <a:extLst>
                <a:ext uri="{FF2B5EF4-FFF2-40B4-BE49-F238E27FC236}">
                  <a16:creationId xmlns:a16="http://schemas.microsoft.com/office/drawing/2014/main" id="{C707764F-7223-4E54-A164-4E7B8D5CBC6C}"/>
                </a:ext>
              </a:extLst>
            </p:cNvPr>
            <p:cNvSpPr>
              <a:spLocks noChangeArrowheads="1"/>
            </p:cNvSpPr>
            <p:nvPr/>
          </p:nvSpPr>
          <p:spPr bwMode="auto">
            <a:xfrm>
              <a:off x="7145065" y="2281526"/>
              <a:ext cx="1195387" cy="158364"/>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Sub element 2</a:t>
              </a:r>
            </a:p>
          </p:txBody>
        </p:sp>
        <p:sp>
          <p:nvSpPr>
            <p:cNvPr id="60" name="Rectangle 21">
              <a:extLst>
                <a:ext uri="{FF2B5EF4-FFF2-40B4-BE49-F238E27FC236}">
                  <a16:creationId xmlns:a16="http://schemas.microsoft.com/office/drawing/2014/main" id="{BFD99FB0-DC51-4FBB-9EB8-BD13C905EE36}"/>
                </a:ext>
              </a:extLst>
            </p:cNvPr>
            <p:cNvSpPr>
              <a:spLocks noChangeArrowheads="1"/>
            </p:cNvSpPr>
            <p:nvPr/>
          </p:nvSpPr>
          <p:spPr bwMode="auto">
            <a:xfrm>
              <a:off x="7145065" y="2801460"/>
              <a:ext cx="1195387" cy="150791"/>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Sub element 3</a:t>
              </a:r>
            </a:p>
          </p:txBody>
        </p:sp>
        <p:sp>
          <p:nvSpPr>
            <p:cNvPr id="68" name="TextBox 67">
              <a:extLst>
                <a:ext uri="{FF2B5EF4-FFF2-40B4-BE49-F238E27FC236}">
                  <a16:creationId xmlns:a16="http://schemas.microsoft.com/office/drawing/2014/main" id="{63051783-80AC-4036-AC87-0AF5ACDA38E3}"/>
                </a:ext>
              </a:extLst>
            </p:cNvPr>
            <p:cNvSpPr txBox="1"/>
            <p:nvPr/>
          </p:nvSpPr>
          <p:spPr bwMode="auto">
            <a:xfrm>
              <a:off x="9444372" y="2101831"/>
              <a:ext cx="755316" cy="55399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mn-ea"/>
                  <a:cs typeface="Arial" pitchFamily="34" charset="0"/>
                </a:rPr>
                <a:t>Value driver sub elements &amp; their breakdown</a:t>
              </a:r>
            </a:p>
          </p:txBody>
        </p:sp>
        <p:sp>
          <p:nvSpPr>
            <p:cNvPr id="70" name="Right Brace 69">
              <a:extLst>
                <a:ext uri="{FF2B5EF4-FFF2-40B4-BE49-F238E27FC236}">
                  <a16:creationId xmlns:a16="http://schemas.microsoft.com/office/drawing/2014/main" id="{1FCA3438-2219-474F-AE38-DB647558702B}"/>
                </a:ext>
                <a:ext uri="{C183D7F6-B498-43B3-948B-1728B52AA6E4}">
                  <adec:decorative xmlns:adec="http://schemas.microsoft.com/office/drawing/2017/decorative" val="1"/>
                </a:ext>
              </a:extLst>
            </p:cNvPr>
            <p:cNvSpPr/>
            <p:nvPr/>
          </p:nvSpPr>
          <p:spPr bwMode="auto">
            <a:xfrm>
              <a:off x="9212687" y="1628776"/>
              <a:ext cx="154546" cy="1442433"/>
            </a:xfrm>
            <a:prstGeom prst="rightBrace">
              <a:avLst/>
            </a:prstGeom>
            <a:noFill/>
            <a:ln w="9525" cap="flat" cmpd="sng" algn="ctr">
              <a:solidFill>
                <a:srgbClr val="BE82FF"/>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900" b="1" i="0" u="none" strike="noStrike" kern="0" cap="none" spc="0" normalizeH="0" baseline="0" noProof="0">
                <a:ln>
                  <a:noFill/>
                </a:ln>
                <a:solidFill>
                  <a:srgbClr val="000000"/>
                </a:solidFill>
                <a:effectLst/>
                <a:uLnTx/>
                <a:uFillTx/>
                <a:ea typeface="+mn-ea"/>
                <a:cs typeface="+mn-cs"/>
              </a:endParaRPr>
            </a:p>
          </p:txBody>
        </p:sp>
        <p:sp>
          <p:nvSpPr>
            <p:cNvPr id="75" name="AutoShape 4">
              <a:extLst>
                <a:ext uri="{FF2B5EF4-FFF2-40B4-BE49-F238E27FC236}">
                  <a16:creationId xmlns:a16="http://schemas.microsoft.com/office/drawing/2014/main" id="{C93F4EF0-F50B-4522-88CF-14E0E5953BB3}"/>
                </a:ext>
              </a:extLst>
            </p:cNvPr>
            <p:cNvSpPr>
              <a:spLocks noChangeArrowheads="1"/>
            </p:cNvSpPr>
            <p:nvPr/>
          </p:nvSpPr>
          <p:spPr bwMode="auto">
            <a:xfrm>
              <a:off x="8055484" y="3308290"/>
              <a:ext cx="200257" cy="176491"/>
            </a:xfrm>
            <a:prstGeom prst="hexagon">
              <a:avLst>
                <a:gd name="adj" fmla="val 27042"/>
                <a:gd name="vf" fmla="val 115470"/>
              </a:avLst>
            </a:prstGeom>
            <a:solidFill>
              <a:schemeClr val="accent3"/>
            </a:solidFill>
            <a:ln w="19050">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FFFFF"/>
                  </a:solidFill>
                  <a:effectLst/>
                  <a:uLnTx/>
                  <a:uFillTx/>
                  <a:latin typeface="+mj-lt"/>
                  <a:ea typeface="+mn-ea"/>
                  <a:cs typeface="+mn-cs"/>
                </a:rPr>
                <a:t>3</a:t>
              </a:r>
            </a:p>
          </p:txBody>
        </p:sp>
        <p:cxnSp>
          <p:nvCxnSpPr>
            <p:cNvPr id="87" name="Straight Connector 86">
              <a:extLst>
                <a:ext uri="{FF2B5EF4-FFF2-40B4-BE49-F238E27FC236}">
                  <a16:creationId xmlns:a16="http://schemas.microsoft.com/office/drawing/2014/main" id="{DA90C91C-7DCB-4171-B506-4DC43A1F9FBC}"/>
                </a:ext>
              </a:extLst>
            </p:cNvPr>
            <p:cNvCxnSpPr/>
            <p:nvPr/>
          </p:nvCxnSpPr>
          <p:spPr bwMode="auto">
            <a:xfrm>
              <a:off x="6882498" y="2355174"/>
              <a:ext cx="227860" cy="0"/>
            </a:xfrm>
            <a:prstGeom prst="line">
              <a:avLst/>
            </a:prstGeom>
            <a:noFill/>
            <a:ln w="6350" cap="flat" cmpd="sng" algn="ctr">
              <a:solidFill>
                <a:srgbClr val="BE82FF"/>
              </a:solidFill>
              <a:prstDash val="solid"/>
            </a:ln>
            <a:effectLst/>
          </p:spPr>
        </p:cxnSp>
      </p:grpSp>
      <p:grpSp>
        <p:nvGrpSpPr>
          <p:cNvPr id="91" name="Group 90" descr="Add text and order accordingly">
            <a:extLst>
              <a:ext uri="{FF2B5EF4-FFF2-40B4-BE49-F238E27FC236}">
                <a16:creationId xmlns:a16="http://schemas.microsoft.com/office/drawing/2014/main" id="{D9FC77D7-438B-4697-B229-F9CDF75F1D5A}"/>
              </a:ext>
            </a:extLst>
          </p:cNvPr>
          <p:cNvGrpSpPr/>
          <p:nvPr/>
        </p:nvGrpSpPr>
        <p:grpSpPr>
          <a:xfrm>
            <a:off x="1992313" y="3268880"/>
            <a:ext cx="3234524" cy="1339407"/>
            <a:chOff x="1992313" y="3268880"/>
            <a:chExt cx="3234524" cy="1339407"/>
          </a:xfrm>
        </p:grpSpPr>
        <p:sp>
          <p:nvSpPr>
            <p:cNvPr id="13" name="Rectangle 17">
              <a:extLst>
                <a:ext uri="{FF2B5EF4-FFF2-40B4-BE49-F238E27FC236}">
                  <a16:creationId xmlns:a16="http://schemas.microsoft.com/office/drawing/2014/main" id="{067CE1BC-A4E9-4720-B6FD-8509742E1F2C}"/>
                </a:ext>
              </a:extLst>
            </p:cNvPr>
            <p:cNvSpPr>
              <a:spLocks noChangeArrowheads="1"/>
            </p:cNvSpPr>
            <p:nvPr/>
          </p:nvSpPr>
          <p:spPr bwMode="auto">
            <a:xfrm>
              <a:off x="1992313" y="4108224"/>
              <a:ext cx="1080000" cy="215900"/>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Sub element 4</a:t>
              </a:r>
            </a:p>
          </p:txBody>
        </p:sp>
        <p:sp>
          <p:nvSpPr>
            <p:cNvPr id="14" name="Rectangle 18">
              <a:extLst>
                <a:ext uri="{FF2B5EF4-FFF2-40B4-BE49-F238E27FC236}">
                  <a16:creationId xmlns:a16="http://schemas.microsoft.com/office/drawing/2014/main" id="{C6A60E0F-F988-4130-AD20-46C0BFAF038B}"/>
                </a:ext>
              </a:extLst>
            </p:cNvPr>
            <p:cNvSpPr>
              <a:spLocks noChangeArrowheads="1"/>
            </p:cNvSpPr>
            <p:nvPr/>
          </p:nvSpPr>
          <p:spPr bwMode="auto">
            <a:xfrm>
              <a:off x="1992313" y="4392387"/>
              <a:ext cx="1080000" cy="215900"/>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Sub element 5</a:t>
              </a:r>
            </a:p>
          </p:txBody>
        </p:sp>
        <p:sp>
          <p:nvSpPr>
            <p:cNvPr id="15" name="Rectangle 20">
              <a:extLst>
                <a:ext uri="{FF2B5EF4-FFF2-40B4-BE49-F238E27FC236}">
                  <a16:creationId xmlns:a16="http://schemas.microsoft.com/office/drawing/2014/main" id="{3C9F01B6-07F0-47C9-8420-5829E1132205}"/>
                </a:ext>
              </a:extLst>
            </p:cNvPr>
            <p:cNvSpPr>
              <a:spLocks noChangeArrowheads="1"/>
            </p:cNvSpPr>
            <p:nvPr/>
          </p:nvSpPr>
          <p:spPr bwMode="auto">
            <a:xfrm>
              <a:off x="1992313" y="3825649"/>
              <a:ext cx="1080000" cy="215900"/>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Sub element 3</a:t>
              </a:r>
            </a:p>
          </p:txBody>
        </p:sp>
        <p:sp>
          <p:nvSpPr>
            <p:cNvPr id="16" name="Rectangle 21">
              <a:extLst>
                <a:ext uri="{FF2B5EF4-FFF2-40B4-BE49-F238E27FC236}">
                  <a16:creationId xmlns:a16="http://schemas.microsoft.com/office/drawing/2014/main" id="{4D38B537-D07A-4A18-A219-ED73606431B5}"/>
                </a:ext>
              </a:extLst>
            </p:cNvPr>
            <p:cNvSpPr>
              <a:spLocks noChangeArrowheads="1"/>
            </p:cNvSpPr>
            <p:nvPr/>
          </p:nvSpPr>
          <p:spPr bwMode="auto">
            <a:xfrm>
              <a:off x="1992313" y="3541487"/>
              <a:ext cx="1080000" cy="215900"/>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Sub element 2</a:t>
              </a:r>
            </a:p>
          </p:txBody>
        </p:sp>
        <p:sp>
          <p:nvSpPr>
            <p:cNvPr id="53" name="Rectangle 21">
              <a:extLst>
                <a:ext uri="{FF2B5EF4-FFF2-40B4-BE49-F238E27FC236}">
                  <a16:creationId xmlns:a16="http://schemas.microsoft.com/office/drawing/2014/main" id="{7D470B4C-2043-4957-A299-2A8EED9C4773}"/>
                </a:ext>
              </a:extLst>
            </p:cNvPr>
            <p:cNvSpPr>
              <a:spLocks noChangeArrowheads="1"/>
            </p:cNvSpPr>
            <p:nvPr/>
          </p:nvSpPr>
          <p:spPr bwMode="auto">
            <a:xfrm>
              <a:off x="1992313" y="3268880"/>
              <a:ext cx="1080000" cy="215900"/>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Sub element 1</a:t>
              </a:r>
            </a:p>
          </p:txBody>
        </p:sp>
        <p:sp>
          <p:nvSpPr>
            <p:cNvPr id="66" name="Rectangle 22">
              <a:extLst>
                <a:ext uri="{FF2B5EF4-FFF2-40B4-BE49-F238E27FC236}">
                  <a16:creationId xmlns:a16="http://schemas.microsoft.com/office/drawing/2014/main" id="{D5CA30B8-C0A4-4D9C-8E48-DEDEFDCCE28A}"/>
                </a:ext>
              </a:extLst>
            </p:cNvPr>
            <p:cNvSpPr>
              <a:spLocks noChangeArrowheads="1"/>
            </p:cNvSpPr>
            <p:nvPr/>
          </p:nvSpPr>
          <p:spPr bwMode="auto">
            <a:xfrm>
              <a:off x="4817472" y="3799325"/>
              <a:ext cx="409365" cy="229524"/>
            </a:xfrm>
            <a:prstGeom prst="rect">
              <a:avLst/>
            </a:prstGeom>
            <a:noFill/>
            <a:ln w="9525">
              <a:noFill/>
              <a:miter lim="800000"/>
              <a:headEnd/>
              <a:tailEnd/>
            </a:ln>
          </p:spPr>
          <p:txBody>
            <a:bodyPr wrap="none" lIns="0" tIns="0" rIns="0" bIns="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Cas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ea typeface="+mn-ea"/>
                  <a:cs typeface="Arial" pitchFamily="34" charset="0"/>
                </a:rPr>
                <a:t>Out</a:t>
              </a:r>
            </a:p>
          </p:txBody>
        </p:sp>
        <p:sp>
          <p:nvSpPr>
            <p:cNvPr id="69" name="Rectangle 6">
              <a:extLst>
                <a:ext uri="{FF2B5EF4-FFF2-40B4-BE49-F238E27FC236}">
                  <a16:creationId xmlns:a16="http://schemas.microsoft.com/office/drawing/2014/main" id="{319DC4FC-0EF4-440F-AB1A-09764B409A9E}"/>
                </a:ext>
              </a:extLst>
            </p:cNvPr>
            <p:cNvSpPr>
              <a:spLocks noChangeAspect="1" noChangeArrowheads="1"/>
            </p:cNvSpPr>
            <p:nvPr/>
          </p:nvSpPr>
          <p:spPr bwMode="auto">
            <a:xfrm>
              <a:off x="3680177" y="3512913"/>
              <a:ext cx="904875" cy="835025"/>
            </a:xfrm>
            <a:prstGeom prst="rect">
              <a:avLst/>
            </a:prstGeom>
            <a:solidFill>
              <a:srgbClr val="BE82FF"/>
            </a:solidFill>
            <a:ln w="12700">
              <a:noFill/>
              <a:miter lim="800000"/>
              <a:headEnd/>
              <a:tailEnd/>
            </a:ln>
          </p:spPr>
          <p:txBody>
            <a:bodyPr wrap="square" lIns="72000" tIns="0" rIns="7200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effectLst/>
                  <a:uLnTx/>
                  <a:uFillTx/>
                  <a:latin typeface="+mj-lt"/>
                  <a:ea typeface="+mn-ea"/>
                  <a:cs typeface="+mn-cs"/>
                </a:rPr>
                <a:t>Value </a:t>
              </a:r>
              <a:br>
                <a:rPr kumimoji="0" lang="en-GB" sz="900" b="1" i="0" u="none" strike="noStrike" kern="0" cap="none" spc="0" normalizeH="0" baseline="0" noProof="0" dirty="0">
                  <a:ln>
                    <a:noFill/>
                  </a:ln>
                  <a:effectLst/>
                  <a:uLnTx/>
                  <a:uFillTx/>
                  <a:latin typeface="+mj-lt"/>
                  <a:ea typeface="+mn-ea"/>
                  <a:cs typeface="+mn-cs"/>
                </a:rPr>
              </a:br>
              <a:r>
                <a:rPr kumimoji="0" lang="en-GB" sz="900" b="1" i="0" u="none" strike="noStrike" kern="0" cap="none" spc="0" normalizeH="0" baseline="0" noProof="0" dirty="0">
                  <a:ln>
                    <a:noFill/>
                  </a:ln>
                  <a:effectLst/>
                  <a:uLnTx/>
                  <a:uFillTx/>
                  <a:latin typeface="+mj-lt"/>
                  <a:ea typeface="+mn-ea"/>
                  <a:cs typeface="+mn-cs"/>
                </a:rPr>
                <a:t>Driver 1</a:t>
              </a:r>
              <a:endParaRPr kumimoji="0" lang="en-US" sz="900" b="1" i="0" u="none" strike="noStrike" kern="0" cap="none" spc="0" normalizeH="0" baseline="0" noProof="0" dirty="0">
                <a:ln>
                  <a:noFill/>
                </a:ln>
                <a:effectLst/>
                <a:uLnTx/>
                <a:uFillTx/>
                <a:latin typeface="+mj-lt"/>
                <a:ea typeface="+mn-ea"/>
                <a:cs typeface="+mn-cs"/>
              </a:endParaRPr>
            </a:p>
          </p:txBody>
        </p:sp>
        <p:sp>
          <p:nvSpPr>
            <p:cNvPr id="74" name="AutoShape 4">
              <a:extLst>
                <a:ext uri="{FF2B5EF4-FFF2-40B4-BE49-F238E27FC236}">
                  <a16:creationId xmlns:a16="http://schemas.microsoft.com/office/drawing/2014/main" id="{F6D8B028-5DCC-4CCE-B1E3-0510FB270242}"/>
                </a:ext>
              </a:extLst>
            </p:cNvPr>
            <p:cNvSpPr>
              <a:spLocks noChangeArrowheads="1"/>
            </p:cNvSpPr>
            <p:nvPr/>
          </p:nvSpPr>
          <p:spPr bwMode="auto">
            <a:xfrm>
              <a:off x="3971485" y="3308290"/>
              <a:ext cx="200257" cy="176491"/>
            </a:xfrm>
            <a:prstGeom prst="hexagon">
              <a:avLst>
                <a:gd name="adj" fmla="val 27042"/>
                <a:gd name="vf" fmla="val 115470"/>
              </a:avLst>
            </a:prstGeom>
            <a:solidFill>
              <a:schemeClr val="accent3"/>
            </a:solidFill>
            <a:ln w="19050">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FFFFF"/>
                  </a:solidFill>
                  <a:effectLst/>
                  <a:uLnTx/>
                  <a:uFillTx/>
                  <a:latin typeface="+mj-lt"/>
                  <a:ea typeface="+mn-ea"/>
                  <a:cs typeface="+mn-cs"/>
                </a:rPr>
                <a:t>2</a:t>
              </a:r>
            </a:p>
          </p:txBody>
        </p:sp>
        <p:cxnSp>
          <p:nvCxnSpPr>
            <p:cNvPr id="76" name="AutoShape 19">
              <a:extLst>
                <a:ext uri="{FF2B5EF4-FFF2-40B4-BE49-F238E27FC236}">
                  <a16:creationId xmlns:a16="http://schemas.microsoft.com/office/drawing/2014/main" id="{396EDBB8-9B50-4E4D-B982-27D89FF79276}"/>
                </a:ext>
                <a:ext uri="{C183D7F6-B498-43B3-948B-1728B52AA6E4}">
                  <adec:decorative xmlns:adec="http://schemas.microsoft.com/office/drawing/2017/decorative" val="1"/>
                </a:ext>
              </a:extLst>
            </p:cNvPr>
            <p:cNvCxnSpPr>
              <a:cxnSpLocks noChangeShapeType="1"/>
            </p:cNvCxnSpPr>
            <p:nvPr/>
          </p:nvCxnSpPr>
          <p:spPr bwMode="auto">
            <a:xfrm rot="10800000" flipV="1">
              <a:off x="2870946" y="3917725"/>
              <a:ext cx="543081" cy="569912"/>
            </a:xfrm>
            <a:prstGeom prst="bentConnector3">
              <a:avLst>
                <a:gd name="adj1" fmla="val 50000"/>
              </a:avLst>
            </a:prstGeom>
            <a:noFill/>
            <a:ln w="6350">
              <a:solidFill>
                <a:srgbClr val="BE82FF"/>
              </a:solidFill>
              <a:miter lim="800000"/>
              <a:headEnd/>
              <a:tailEnd/>
            </a:ln>
          </p:spPr>
        </p:cxnSp>
        <p:cxnSp>
          <p:nvCxnSpPr>
            <p:cNvPr id="77" name="AutoShape 23">
              <a:extLst>
                <a:ext uri="{FF2B5EF4-FFF2-40B4-BE49-F238E27FC236}">
                  <a16:creationId xmlns:a16="http://schemas.microsoft.com/office/drawing/2014/main" id="{A8371F00-5A52-4153-AE0B-D46093A4A111}"/>
                </a:ext>
                <a:ext uri="{C183D7F6-B498-43B3-948B-1728B52AA6E4}">
                  <adec:decorative xmlns:adec="http://schemas.microsoft.com/office/drawing/2017/decorative" val="1"/>
                </a:ext>
              </a:extLst>
            </p:cNvPr>
            <p:cNvCxnSpPr>
              <a:cxnSpLocks noChangeShapeType="1"/>
            </p:cNvCxnSpPr>
            <p:nvPr/>
          </p:nvCxnSpPr>
          <p:spPr bwMode="auto">
            <a:xfrm rot="10800000" flipV="1">
              <a:off x="2870946" y="3917725"/>
              <a:ext cx="543081" cy="285749"/>
            </a:xfrm>
            <a:prstGeom prst="bentConnector3">
              <a:avLst>
                <a:gd name="adj1" fmla="val 50000"/>
              </a:avLst>
            </a:prstGeom>
            <a:noFill/>
            <a:ln w="6350">
              <a:solidFill>
                <a:srgbClr val="BE82FF"/>
              </a:solidFill>
              <a:miter lim="800000"/>
              <a:headEnd/>
              <a:tailEnd/>
            </a:ln>
          </p:spPr>
        </p:cxnSp>
        <p:cxnSp>
          <p:nvCxnSpPr>
            <p:cNvPr id="78" name="AutoShape 25">
              <a:extLst>
                <a:ext uri="{FF2B5EF4-FFF2-40B4-BE49-F238E27FC236}">
                  <a16:creationId xmlns:a16="http://schemas.microsoft.com/office/drawing/2014/main" id="{7C88659C-5EDB-4BCC-96B5-AF65DC59BCA3}"/>
                </a:ext>
              </a:extLst>
            </p:cNvPr>
            <p:cNvCxnSpPr>
              <a:cxnSpLocks noChangeShapeType="1"/>
            </p:cNvCxnSpPr>
            <p:nvPr/>
          </p:nvCxnSpPr>
          <p:spPr bwMode="auto">
            <a:xfrm rot="10800000">
              <a:off x="2870946" y="3636737"/>
              <a:ext cx="543081" cy="280988"/>
            </a:xfrm>
            <a:prstGeom prst="bentConnector3">
              <a:avLst>
                <a:gd name="adj1" fmla="val 50000"/>
              </a:avLst>
            </a:prstGeom>
            <a:noFill/>
            <a:ln w="6350">
              <a:solidFill>
                <a:srgbClr val="BE82FF"/>
              </a:solidFill>
              <a:miter lim="800000"/>
              <a:headEnd/>
              <a:tailEnd type="triangle" w="med" len="med"/>
            </a:ln>
          </p:spPr>
        </p:cxnSp>
        <p:cxnSp>
          <p:nvCxnSpPr>
            <p:cNvPr id="79" name="AutoShape 26">
              <a:extLst>
                <a:ext uri="{FF2B5EF4-FFF2-40B4-BE49-F238E27FC236}">
                  <a16:creationId xmlns:a16="http://schemas.microsoft.com/office/drawing/2014/main" id="{58834BDD-CAD8-4CD5-AD43-AA86F1472EDA}"/>
                </a:ext>
              </a:extLst>
            </p:cNvPr>
            <p:cNvCxnSpPr>
              <a:cxnSpLocks noChangeShapeType="1"/>
            </p:cNvCxnSpPr>
            <p:nvPr/>
          </p:nvCxnSpPr>
          <p:spPr bwMode="auto">
            <a:xfrm rot="10800000">
              <a:off x="2862214" y="3341462"/>
              <a:ext cx="860747" cy="576263"/>
            </a:xfrm>
            <a:prstGeom prst="bentConnector3">
              <a:avLst>
                <a:gd name="adj1" fmla="val 67411"/>
              </a:avLst>
            </a:prstGeom>
            <a:noFill/>
            <a:ln w="6350">
              <a:solidFill>
                <a:srgbClr val="BE82FF"/>
              </a:solidFill>
              <a:miter lim="800000"/>
              <a:headEnd/>
              <a:tailEnd type="triangle" w="med" len="med"/>
            </a:ln>
          </p:spPr>
        </p:cxnSp>
        <p:sp>
          <p:nvSpPr>
            <p:cNvPr id="80" name="Text Box 78">
              <a:extLst>
                <a:ext uri="{FF2B5EF4-FFF2-40B4-BE49-F238E27FC236}">
                  <a16:creationId xmlns:a16="http://schemas.microsoft.com/office/drawing/2014/main" id="{C325BD67-E4C0-4BAB-8EB6-E3B4A36440C2}"/>
                </a:ext>
              </a:extLst>
            </p:cNvPr>
            <p:cNvSpPr txBox="1">
              <a:spLocks noChangeArrowheads="1"/>
            </p:cNvSpPr>
            <p:nvPr/>
          </p:nvSpPr>
          <p:spPr bwMode="auto">
            <a:xfrm>
              <a:off x="2783632" y="3366863"/>
              <a:ext cx="450850" cy="244475"/>
            </a:xfrm>
            <a:prstGeom prst="rect">
              <a:avLst/>
            </a:prstGeom>
            <a:noFill/>
            <a:ln w="9525">
              <a:noFill/>
              <a:miter lim="800000"/>
              <a:headEnd/>
              <a:tailEnd/>
            </a:ln>
            <a:effectLst>
              <a:prstShdw prst="shdw17" dist="17961" dir="2700000">
                <a:srgbClr val="A100FF">
                  <a:gamma/>
                  <a:shade val="60000"/>
                  <a:invGamma/>
                </a:srgbClr>
              </a:prstShdw>
            </a:effectLst>
          </p:spPr>
          <p:txBody>
            <a:bodyPr>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ea typeface="+mn-ea"/>
                  <a:cs typeface="+mn-cs"/>
                </a:rPr>
                <a:t>(+)</a:t>
              </a:r>
            </a:p>
          </p:txBody>
        </p:sp>
        <p:sp>
          <p:nvSpPr>
            <p:cNvPr id="81" name="Text Box 78">
              <a:extLst>
                <a:ext uri="{FF2B5EF4-FFF2-40B4-BE49-F238E27FC236}">
                  <a16:creationId xmlns:a16="http://schemas.microsoft.com/office/drawing/2014/main" id="{93B95255-FF43-4A9D-855B-23E99BBF946D}"/>
                </a:ext>
              </a:extLst>
            </p:cNvPr>
            <p:cNvSpPr txBox="1">
              <a:spLocks noChangeArrowheads="1"/>
            </p:cNvSpPr>
            <p:nvPr/>
          </p:nvSpPr>
          <p:spPr bwMode="auto">
            <a:xfrm>
              <a:off x="2783632" y="3658963"/>
              <a:ext cx="450850" cy="244475"/>
            </a:xfrm>
            <a:prstGeom prst="rect">
              <a:avLst/>
            </a:prstGeom>
            <a:noFill/>
            <a:ln w="9525">
              <a:noFill/>
              <a:miter lim="800000"/>
              <a:headEnd/>
              <a:tailEnd/>
            </a:ln>
            <a:effectLst>
              <a:prstShdw prst="shdw17" dist="17961" dir="2700000">
                <a:srgbClr val="A100FF">
                  <a:gamma/>
                  <a:shade val="60000"/>
                  <a:invGamma/>
                </a:srgbClr>
              </a:prstShdw>
            </a:effectLst>
          </p:spPr>
          <p:txBody>
            <a:bodyPr>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ea typeface="+mn-ea"/>
                  <a:cs typeface="+mn-cs"/>
                </a:rPr>
                <a:t>(+)</a:t>
              </a:r>
            </a:p>
          </p:txBody>
        </p:sp>
        <p:sp>
          <p:nvSpPr>
            <p:cNvPr id="82" name="Text Box 78">
              <a:extLst>
                <a:ext uri="{FF2B5EF4-FFF2-40B4-BE49-F238E27FC236}">
                  <a16:creationId xmlns:a16="http://schemas.microsoft.com/office/drawing/2014/main" id="{D5443C83-FF6B-4200-B3CE-4140BE9B455D}"/>
                </a:ext>
              </a:extLst>
            </p:cNvPr>
            <p:cNvSpPr txBox="1">
              <a:spLocks noChangeArrowheads="1"/>
            </p:cNvSpPr>
            <p:nvPr/>
          </p:nvSpPr>
          <p:spPr bwMode="auto">
            <a:xfrm>
              <a:off x="2783632" y="3938363"/>
              <a:ext cx="450850" cy="244475"/>
            </a:xfrm>
            <a:prstGeom prst="rect">
              <a:avLst/>
            </a:prstGeom>
            <a:noFill/>
            <a:ln w="9525">
              <a:noFill/>
              <a:miter lim="800000"/>
              <a:headEnd/>
              <a:tailEnd/>
            </a:ln>
            <a:effectLst>
              <a:prstShdw prst="shdw17" dist="17961" dir="2700000">
                <a:srgbClr val="A100FF">
                  <a:gamma/>
                  <a:shade val="60000"/>
                  <a:invGamma/>
                </a:srgbClr>
              </a:prstShdw>
            </a:effectLst>
          </p:spPr>
          <p:txBody>
            <a:bodyPr>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ea typeface="+mn-ea"/>
                  <a:cs typeface="+mn-cs"/>
                </a:rPr>
                <a:t>(+)</a:t>
              </a:r>
            </a:p>
          </p:txBody>
        </p:sp>
        <p:sp>
          <p:nvSpPr>
            <p:cNvPr id="83" name="Text Box 78">
              <a:extLst>
                <a:ext uri="{FF2B5EF4-FFF2-40B4-BE49-F238E27FC236}">
                  <a16:creationId xmlns:a16="http://schemas.microsoft.com/office/drawing/2014/main" id="{1277D661-64A4-4AA6-85BE-DE50E7544671}"/>
                </a:ext>
              </a:extLst>
            </p:cNvPr>
            <p:cNvSpPr txBox="1">
              <a:spLocks noChangeArrowheads="1"/>
            </p:cNvSpPr>
            <p:nvPr/>
          </p:nvSpPr>
          <p:spPr bwMode="auto">
            <a:xfrm>
              <a:off x="2783632" y="4230463"/>
              <a:ext cx="450850" cy="244475"/>
            </a:xfrm>
            <a:prstGeom prst="rect">
              <a:avLst/>
            </a:prstGeom>
            <a:noFill/>
            <a:ln w="9525">
              <a:noFill/>
              <a:miter lim="800000"/>
              <a:headEnd/>
              <a:tailEnd/>
            </a:ln>
            <a:effectLst>
              <a:prstShdw prst="shdw17" dist="17961" dir="2700000">
                <a:srgbClr val="A100FF">
                  <a:gamma/>
                  <a:shade val="60000"/>
                  <a:invGamma/>
                </a:srgbClr>
              </a:prstShdw>
            </a:effectLst>
          </p:spPr>
          <p:txBody>
            <a:bodyPr>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ea typeface="+mn-ea"/>
                  <a:cs typeface="+mn-cs"/>
                </a:rPr>
                <a:t>(+)</a:t>
              </a:r>
            </a:p>
          </p:txBody>
        </p:sp>
        <p:cxnSp>
          <p:nvCxnSpPr>
            <p:cNvPr id="88" name="Straight Arrow Connector 87">
              <a:extLst>
                <a:ext uri="{FF2B5EF4-FFF2-40B4-BE49-F238E27FC236}">
                  <a16:creationId xmlns:a16="http://schemas.microsoft.com/office/drawing/2014/main" id="{F12AA5C3-D05A-41DC-A7AF-7000A660C25C}"/>
                </a:ext>
              </a:extLst>
            </p:cNvPr>
            <p:cNvCxnSpPr/>
            <p:nvPr/>
          </p:nvCxnSpPr>
          <p:spPr bwMode="auto">
            <a:xfrm flipH="1">
              <a:off x="2870945" y="3917726"/>
              <a:ext cx="271540" cy="1"/>
            </a:xfrm>
            <a:prstGeom prst="straightConnector1">
              <a:avLst/>
            </a:prstGeom>
            <a:noFill/>
            <a:ln w="6350" cap="flat" cmpd="sng" algn="ctr">
              <a:solidFill>
                <a:srgbClr val="BE82FF"/>
              </a:solidFill>
              <a:prstDash val="solid"/>
              <a:headEnd type="none"/>
              <a:tailEnd type="triangle"/>
            </a:ln>
            <a:effectLst/>
          </p:spPr>
        </p:cxnSp>
      </p:grpSp>
      <p:sp>
        <p:nvSpPr>
          <p:cNvPr id="3" name="Footer Placeholder 2">
            <a:extLst>
              <a:ext uri="{FF2B5EF4-FFF2-40B4-BE49-F238E27FC236}">
                <a16:creationId xmlns:a16="http://schemas.microsoft.com/office/drawing/2014/main" id="{FB5BBC14-99C4-4971-ACC2-1B0C5EDB6F6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90" name="Slide Number Placeholder 89">
            <a:extLst>
              <a:ext uri="{FF2B5EF4-FFF2-40B4-BE49-F238E27FC236}">
                <a16:creationId xmlns:a16="http://schemas.microsoft.com/office/drawing/2014/main" id="{219E5394-5A76-4BEF-8D46-5AE3D19FAB7B}"/>
              </a:ext>
            </a:extLst>
          </p:cNvPr>
          <p:cNvSpPr>
            <a:spLocks noGrp="1"/>
          </p:cNvSpPr>
          <p:nvPr>
            <p:ph type="sldNum" sz="quarter" idx="10"/>
          </p:nvPr>
        </p:nvSpPr>
        <p:spPr/>
        <p:txBody>
          <a:bodyPr/>
          <a:lstStyle/>
          <a:p>
            <a:fld id="{1F90F471-3972-4120-B8B3-0237DE626C35}" type="slidenum">
              <a:rPr lang="en-US" smtClean="0"/>
              <a:pPr/>
              <a:t>379</a:t>
            </a:fld>
            <a:endParaRPr lang="en-US" dirty="0"/>
          </a:p>
        </p:txBody>
      </p:sp>
    </p:spTree>
    <p:extLst>
      <p:ext uri="{BB962C8B-B14F-4D97-AF65-F5344CB8AC3E}">
        <p14:creationId xmlns:p14="http://schemas.microsoft.com/office/powerpoint/2010/main" val="25881552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4E00DA-2AFA-4A16-B2CA-72AA18CE50F1}"/>
              </a:ext>
            </a:extLst>
          </p:cNvPr>
          <p:cNvSpPr>
            <a:spLocks noGrp="1"/>
          </p:cNvSpPr>
          <p:nvPr>
            <p:ph type="title"/>
          </p:nvPr>
        </p:nvSpPr>
        <p:spPr/>
        <p:txBody>
          <a:bodyPr/>
          <a:lstStyle/>
          <a:p>
            <a:r>
              <a:rPr lang="en-GB" dirty="0"/>
              <a:t>Place headline here (36pt, min 30pt)</a:t>
            </a:r>
            <a:endParaRPr lang="en-US" dirty="0"/>
          </a:p>
        </p:txBody>
      </p:sp>
      <p:sp>
        <p:nvSpPr>
          <p:cNvPr id="3" name="Content Placeholder 2">
            <a:extLst>
              <a:ext uri="{FF2B5EF4-FFF2-40B4-BE49-F238E27FC236}">
                <a16:creationId xmlns:a16="http://schemas.microsoft.com/office/drawing/2014/main" id="{E4AAE27E-CBF1-4085-B0FC-34D018BB1937}"/>
              </a:ext>
            </a:extLst>
          </p:cNvPr>
          <p:cNvSpPr>
            <a:spLocks noGrp="1"/>
          </p:cNvSpPr>
          <p:nvPr>
            <p:ph sz="quarter" idx="10"/>
          </p:nvPr>
        </p:nvSpPr>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a:extLst>
              <a:ext uri="{FF2B5EF4-FFF2-40B4-BE49-F238E27FC236}">
                <a16:creationId xmlns:a16="http://schemas.microsoft.com/office/drawing/2014/main" id="{0270B314-97FF-44F8-B9E8-5CEA4051C9FF}"/>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FDCE79FF-18B1-4361-8095-7FC548D5D6FA}"/>
              </a:ext>
            </a:extLst>
          </p:cNvPr>
          <p:cNvSpPr>
            <a:spLocks noGrp="1"/>
          </p:cNvSpPr>
          <p:nvPr>
            <p:ph type="sldNum" sz="quarter" idx="11"/>
          </p:nvPr>
        </p:nvSpPr>
        <p:spPr/>
        <p:txBody>
          <a:bodyPr/>
          <a:lstStyle/>
          <a:p>
            <a:fld id="{1F90F471-3972-4120-B8B3-0237DE626C35}" type="slidenum">
              <a:rPr lang="en-US" smtClean="0"/>
              <a:pPr/>
              <a:t>38</a:t>
            </a:fld>
            <a:endParaRPr lang="en-US" dirty="0"/>
          </a:p>
        </p:txBody>
      </p:sp>
    </p:spTree>
    <p:extLst>
      <p:ext uri="{BB962C8B-B14F-4D97-AF65-F5344CB8AC3E}">
        <p14:creationId xmlns:p14="http://schemas.microsoft.com/office/powerpoint/2010/main" val="2266783062"/>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Maturity Model 1</a:t>
            </a:r>
          </a:p>
        </p:txBody>
      </p:sp>
      <p:grpSp>
        <p:nvGrpSpPr>
          <p:cNvPr id="50" name="Group 60" descr="Example">
            <a:extLst>
              <a:ext uri="{FF2B5EF4-FFF2-40B4-BE49-F238E27FC236}">
                <a16:creationId xmlns:a16="http://schemas.microsoft.com/office/drawing/2014/main" id="{188A3A59-FF5F-421D-B49D-D3D7CBBB4D19}"/>
              </a:ext>
            </a:extLst>
          </p:cNvPr>
          <p:cNvGrpSpPr/>
          <p:nvPr>
            <p:custDataLst>
              <p:tags r:id="rId1"/>
            </p:custDataLst>
          </p:nvPr>
        </p:nvGrpSpPr>
        <p:grpSpPr bwMode="auto">
          <a:xfrm>
            <a:off x="9399007" y="646379"/>
            <a:ext cx="919275" cy="430887"/>
            <a:chOff x="7949419" y="1416279"/>
            <a:chExt cx="737381" cy="430887"/>
          </a:xfrm>
        </p:grpSpPr>
        <p:sp>
          <p:nvSpPr>
            <p:cNvPr id="51" name="TextBox 50">
              <a:extLst>
                <a:ext uri="{FF2B5EF4-FFF2-40B4-BE49-F238E27FC236}">
                  <a16:creationId xmlns:a16="http://schemas.microsoft.com/office/drawing/2014/main" id="{0C495A71-6F08-4531-8CD5-D68718892C70}"/>
                </a:ext>
              </a:extLst>
            </p:cNvPr>
            <p:cNvSpPr txBox="1"/>
            <p:nvPr/>
          </p:nvSpPr>
          <p:spPr bwMode="auto">
            <a:xfrm>
              <a:off x="7949419" y="1416279"/>
              <a:ext cx="737381" cy="430887"/>
            </a:xfrm>
            <a:prstGeom prst="rect">
              <a:avLst/>
            </a:prstGeom>
            <a:noFill/>
          </p:spPr>
          <p:txBody>
            <a:bodyPr vert="horz"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Example</a:t>
              </a:r>
            </a:p>
          </p:txBody>
        </p:sp>
        <p:cxnSp>
          <p:nvCxnSpPr>
            <p:cNvPr id="52" name="Straight Connector 51">
              <a:extLst>
                <a:ext uri="{FF2B5EF4-FFF2-40B4-BE49-F238E27FC236}">
                  <a16:creationId xmlns:a16="http://schemas.microsoft.com/office/drawing/2014/main" id="{8B5F3161-409F-4B41-9015-666586BA5C1A}"/>
                </a:ext>
              </a:extLst>
            </p:cNvPr>
            <p:cNvCxnSpPr/>
            <p:nvPr/>
          </p:nvCxnSpPr>
          <p:spPr bwMode="auto">
            <a:xfrm>
              <a:off x="7949419" y="1498600"/>
              <a:ext cx="737381" cy="0"/>
            </a:xfrm>
            <a:prstGeom prst="line">
              <a:avLst/>
            </a:prstGeom>
            <a:noFill/>
            <a:ln w="12700" cap="flat" cmpd="sng" algn="ctr">
              <a:solidFill>
                <a:srgbClr val="000000"/>
              </a:solidFill>
              <a:prstDash val="solid"/>
              <a:headEnd type="none"/>
              <a:tailEnd type="none"/>
            </a:ln>
            <a:effectLst/>
          </p:spPr>
        </p:cxnSp>
        <p:cxnSp>
          <p:nvCxnSpPr>
            <p:cNvPr id="53" name="Straight Connector 52">
              <a:extLst>
                <a:ext uri="{FF2B5EF4-FFF2-40B4-BE49-F238E27FC236}">
                  <a16:creationId xmlns:a16="http://schemas.microsoft.com/office/drawing/2014/main" id="{6763CB20-22E8-4318-B24B-EB5997DF75AA}"/>
                </a:ext>
              </a:extLst>
            </p:cNvPr>
            <p:cNvCxnSpPr/>
            <p:nvPr/>
          </p:nvCxnSpPr>
          <p:spPr bwMode="auto">
            <a:xfrm>
              <a:off x="7949419" y="1764844"/>
              <a:ext cx="737381" cy="0"/>
            </a:xfrm>
            <a:prstGeom prst="line">
              <a:avLst/>
            </a:prstGeom>
            <a:noFill/>
            <a:ln w="12700" cap="flat" cmpd="sng" algn="ctr">
              <a:solidFill>
                <a:srgbClr val="000000"/>
              </a:solidFill>
              <a:prstDash val="solid"/>
              <a:headEnd type="none"/>
              <a:tailEnd type="none"/>
            </a:ln>
            <a:effectLst/>
          </p:spPr>
        </p:cxnSp>
      </p:grpSp>
      <p:sp>
        <p:nvSpPr>
          <p:cNvPr id="6" name="Text Box 4">
            <a:extLst>
              <a:ext uri="{FF2B5EF4-FFF2-40B4-BE49-F238E27FC236}">
                <a16:creationId xmlns:a16="http://schemas.microsoft.com/office/drawing/2014/main" id="{4F1B9FC7-D9B9-4622-AD9A-280111396320}"/>
              </a:ext>
            </a:extLst>
          </p:cNvPr>
          <p:cNvSpPr txBox="1">
            <a:spLocks noChangeArrowheads="1"/>
          </p:cNvSpPr>
          <p:nvPr/>
        </p:nvSpPr>
        <p:spPr bwMode="auto">
          <a:xfrm>
            <a:off x="1978777" y="1173293"/>
            <a:ext cx="8234446" cy="409343"/>
          </a:xfrm>
          <a:prstGeom prst="rect">
            <a:avLst/>
          </a:prstGeom>
          <a:noFill/>
          <a:ln w="9525">
            <a:noFill/>
            <a:miter lim="800000"/>
            <a:headEnd/>
            <a:tailEnd/>
          </a:ln>
        </p:spPr>
        <p:txBody>
          <a:bodyPr wrap="square" lIns="0" tIns="0" rIns="0" bIns="0">
            <a:spAutoFit/>
          </a:bodyPr>
          <a:lstStyle/>
          <a:p>
            <a:pPr marL="0" marR="0" lvl="0" indent="0" algn="l" defTabSz="914400" rtl="0" eaLnBrk="0" fontAlgn="auto" latinLnBrk="0" hangingPunct="0">
              <a:lnSpc>
                <a:spcPct val="95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At a summary level, &lt;Client&gt; supply chain capabilities are consistent with a basic level of maturity and performance.</a:t>
            </a:r>
          </a:p>
        </p:txBody>
      </p:sp>
      <p:sp>
        <p:nvSpPr>
          <p:cNvPr id="14" name="Rectangle 121">
            <a:extLst>
              <a:ext uri="{FF2B5EF4-FFF2-40B4-BE49-F238E27FC236}">
                <a16:creationId xmlns:a16="http://schemas.microsoft.com/office/drawing/2014/main" id="{E620C01B-DEB5-4FD8-949D-8F7BBDB9BCCE}"/>
              </a:ext>
            </a:extLst>
          </p:cNvPr>
          <p:cNvSpPr>
            <a:spLocks noChangeArrowheads="1"/>
          </p:cNvSpPr>
          <p:nvPr/>
        </p:nvSpPr>
        <p:spPr bwMode="auto">
          <a:xfrm>
            <a:off x="1976757" y="1731571"/>
            <a:ext cx="1676400" cy="184666"/>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Capability Area</a:t>
            </a:r>
          </a:p>
        </p:txBody>
      </p:sp>
      <p:sp>
        <p:nvSpPr>
          <p:cNvPr id="8" name="Rectangle 67">
            <a:extLst>
              <a:ext uri="{FF2B5EF4-FFF2-40B4-BE49-F238E27FC236}">
                <a16:creationId xmlns:a16="http://schemas.microsoft.com/office/drawing/2014/main" id="{27A5AE5E-09BC-4AC2-9EEA-F93D0DE1BD1F}"/>
              </a:ext>
            </a:extLst>
          </p:cNvPr>
          <p:cNvSpPr>
            <a:spLocks noChangeArrowheads="1"/>
          </p:cNvSpPr>
          <p:nvPr/>
        </p:nvSpPr>
        <p:spPr bwMode="auto">
          <a:xfrm>
            <a:off x="3675290" y="1731571"/>
            <a:ext cx="2832100" cy="184666"/>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Performance</a:t>
            </a:r>
          </a:p>
        </p:txBody>
      </p:sp>
      <p:sp>
        <p:nvSpPr>
          <p:cNvPr id="9" name="Rectangle 68">
            <a:extLst>
              <a:ext uri="{FF2B5EF4-FFF2-40B4-BE49-F238E27FC236}">
                <a16:creationId xmlns:a16="http://schemas.microsoft.com/office/drawing/2014/main" id="{E2CFA6F1-7F98-479A-B335-E1A4843B3E19}"/>
              </a:ext>
            </a:extLst>
          </p:cNvPr>
          <p:cNvSpPr>
            <a:spLocks noChangeArrowheads="1"/>
          </p:cNvSpPr>
          <p:nvPr/>
        </p:nvSpPr>
        <p:spPr bwMode="auto">
          <a:xfrm>
            <a:off x="5685169" y="1731571"/>
            <a:ext cx="2832100" cy="184666"/>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Rationale</a:t>
            </a:r>
          </a:p>
        </p:txBody>
      </p:sp>
      <p:sp>
        <p:nvSpPr>
          <p:cNvPr id="7" name="Line 52">
            <a:extLst>
              <a:ext uri="{FF2B5EF4-FFF2-40B4-BE49-F238E27FC236}">
                <a16:creationId xmlns:a16="http://schemas.microsoft.com/office/drawing/2014/main" id="{AA33C4C7-47CF-4BD8-BF65-3F780CD081F6}"/>
              </a:ext>
              <a:ext uri="{C183D7F6-B498-43B3-948B-1728B52AA6E4}">
                <adec:decorative xmlns:adec="http://schemas.microsoft.com/office/drawing/2017/decorative" val="1"/>
              </a:ext>
            </a:extLst>
          </p:cNvPr>
          <p:cNvSpPr>
            <a:spLocks noChangeShapeType="1"/>
          </p:cNvSpPr>
          <p:nvPr/>
        </p:nvSpPr>
        <p:spPr bwMode="auto">
          <a:xfrm flipV="1">
            <a:off x="1967262" y="1957239"/>
            <a:ext cx="8579653" cy="0"/>
          </a:xfrm>
          <a:prstGeom prst="line">
            <a:avLst/>
          </a:prstGeom>
          <a:noFill/>
          <a:ln w="12700">
            <a:solidFill>
              <a:srgbClr val="A100FF"/>
            </a:solidFill>
            <a:prstDash val="dash"/>
            <a:round/>
            <a:headEnd type="none" w="sm" len="sm"/>
            <a:tailEnd type="none" w="sm" len="sm"/>
          </a:ln>
        </p:spPr>
        <p:txBody>
          <a:bodyPr wrap="none" l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 name="Text Box 54">
            <a:extLst>
              <a:ext uri="{FF2B5EF4-FFF2-40B4-BE49-F238E27FC236}">
                <a16:creationId xmlns:a16="http://schemas.microsoft.com/office/drawing/2014/main" id="{9670866E-1262-4E83-9AB7-DFC1F4D5F8CB}"/>
              </a:ext>
            </a:extLst>
          </p:cNvPr>
          <p:cNvSpPr txBox="1">
            <a:spLocks noChangeArrowheads="1"/>
          </p:cNvSpPr>
          <p:nvPr/>
        </p:nvSpPr>
        <p:spPr bwMode="auto">
          <a:xfrm>
            <a:off x="1917536" y="2127772"/>
            <a:ext cx="1178731" cy="457200"/>
          </a:xfrm>
          <a:prstGeom prst="rect">
            <a:avLst/>
          </a:prstGeom>
          <a:noFill/>
          <a:ln w="9525">
            <a:noFill/>
            <a:miter lim="800000"/>
            <a:headEnd/>
            <a:tailEnd/>
          </a:ln>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mj-lt"/>
                <a:ea typeface="+mn-ea"/>
                <a:cs typeface="+mn-cs"/>
              </a:rPr>
              <a:t>Integrated Supply Chain</a:t>
            </a:r>
          </a:p>
        </p:txBody>
      </p:sp>
      <p:grpSp>
        <p:nvGrpSpPr>
          <p:cNvPr id="17" name="Group 3">
            <a:extLst>
              <a:ext uri="{FF2B5EF4-FFF2-40B4-BE49-F238E27FC236}">
                <a16:creationId xmlns:a16="http://schemas.microsoft.com/office/drawing/2014/main" id="{89EFDB6A-96C2-4FF3-A319-FAA39F9256CB}"/>
              </a:ext>
              <a:ext uri="{C183D7F6-B498-43B3-948B-1728B52AA6E4}">
                <adec:decorative xmlns:adec="http://schemas.microsoft.com/office/drawing/2017/decorative" val="1"/>
              </a:ext>
            </a:extLst>
          </p:cNvPr>
          <p:cNvGrpSpPr/>
          <p:nvPr/>
        </p:nvGrpSpPr>
        <p:grpSpPr bwMode="auto">
          <a:xfrm>
            <a:off x="3171825" y="2096853"/>
            <a:ext cx="3467100" cy="404093"/>
            <a:chOff x="1647825" y="2276872"/>
            <a:chExt cx="3467100" cy="404093"/>
          </a:xfrm>
        </p:grpSpPr>
        <p:sp>
          <p:nvSpPr>
            <p:cNvPr id="18" name="AutoShape 75">
              <a:extLst>
                <a:ext uri="{FF2B5EF4-FFF2-40B4-BE49-F238E27FC236}">
                  <a16:creationId xmlns:a16="http://schemas.microsoft.com/office/drawing/2014/main" id="{7AC58AA7-0DED-4301-8D70-506600D37B51}"/>
                </a:ext>
              </a:extLst>
            </p:cNvPr>
            <p:cNvSpPr>
              <a:spLocks noChangeArrowheads="1"/>
            </p:cNvSpPr>
            <p:nvPr/>
          </p:nvSpPr>
          <p:spPr bwMode="auto">
            <a:xfrm>
              <a:off x="1647825" y="2374498"/>
              <a:ext cx="3467100" cy="306467"/>
            </a:xfrm>
            <a:prstGeom prst="roundRect">
              <a:avLst>
                <a:gd name="adj" fmla="val 16667"/>
              </a:avLst>
            </a:prstGeom>
            <a:solidFill>
              <a:srgbClr val="96968C">
                <a:lumMod val="60000"/>
                <a:lumOff val="40000"/>
              </a:srgbClr>
            </a:solidFill>
            <a:ln w="9525">
              <a:noFill/>
              <a:round/>
              <a:headEnd/>
              <a:tailEnd/>
            </a:ln>
          </p:spPr>
          <p:txBody>
            <a:bodyPr lIns="0" tIns="0" rIns="0" bIns="0"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 name="Rectangle 79">
              <a:extLst>
                <a:ext uri="{FF2B5EF4-FFF2-40B4-BE49-F238E27FC236}">
                  <a16:creationId xmlns:a16="http://schemas.microsoft.com/office/drawing/2014/main" id="{CEB732CE-EA8A-4F49-B29A-367C17A1B8ED}"/>
                </a:ext>
              </a:extLst>
            </p:cNvPr>
            <p:cNvSpPr>
              <a:spLocks noChangeArrowheads="1"/>
            </p:cNvSpPr>
            <p:nvPr/>
          </p:nvSpPr>
          <p:spPr bwMode="auto">
            <a:xfrm>
              <a:off x="4472744" y="2300448"/>
              <a:ext cx="495300" cy="171450"/>
            </a:xfrm>
            <a:prstGeom prst="rect">
              <a:avLst/>
            </a:prstGeom>
            <a:solidFill>
              <a:srgbClr val="A100FF"/>
            </a:solidFill>
            <a:ln w="9525">
              <a:noFill/>
              <a:miter lim="800000"/>
              <a:headEnd/>
              <a:tailEnd/>
            </a:ln>
          </p:spPr>
          <p:txBody>
            <a:bodyPr wrap="none"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FFFFFF"/>
                </a:solidFill>
                <a:effectLst/>
                <a:uLnTx/>
                <a:uFillTx/>
                <a:latin typeface="Arial"/>
                <a:ea typeface="+mn-ea"/>
                <a:cs typeface="+mn-cs"/>
              </a:endParaRPr>
            </a:p>
          </p:txBody>
        </p:sp>
        <p:sp>
          <p:nvSpPr>
            <p:cNvPr id="20" name="AutoShape 48">
              <a:extLst>
                <a:ext uri="{FF2B5EF4-FFF2-40B4-BE49-F238E27FC236}">
                  <a16:creationId xmlns:a16="http://schemas.microsoft.com/office/drawing/2014/main" id="{937667B9-01E0-4F7B-ACCF-7D4BAE1C63F9}"/>
                </a:ext>
              </a:extLst>
            </p:cNvPr>
            <p:cNvSpPr>
              <a:spLocks noChangeArrowheads="1"/>
            </p:cNvSpPr>
            <p:nvPr/>
          </p:nvSpPr>
          <p:spPr bwMode="auto">
            <a:xfrm>
              <a:off x="2311304" y="2276872"/>
              <a:ext cx="196850" cy="185737"/>
            </a:xfrm>
            <a:prstGeom prst="diamond">
              <a:avLst/>
            </a:prstGeom>
            <a:solidFill>
              <a:schemeClr val="accent3"/>
            </a:solidFill>
            <a:ln w="12700" algn="ctr">
              <a:noFill/>
              <a:miter lim="800000"/>
              <a:headEnd/>
              <a:tailEnd/>
            </a:ln>
          </p:spPr>
          <p:txBody>
            <a:bodyPr rot="10800000" vert="eaVert"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sp>
        <p:nvSpPr>
          <p:cNvPr id="15" name="Text Box 53">
            <a:extLst>
              <a:ext uri="{FF2B5EF4-FFF2-40B4-BE49-F238E27FC236}">
                <a16:creationId xmlns:a16="http://schemas.microsoft.com/office/drawing/2014/main" id="{D44E957C-6450-4CAC-B566-9AC14B019BC2}"/>
              </a:ext>
            </a:extLst>
          </p:cNvPr>
          <p:cNvSpPr txBox="1">
            <a:spLocks noChangeArrowheads="1"/>
          </p:cNvSpPr>
          <p:nvPr/>
        </p:nvSpPr>
        <p:spPr bwMode="auto">
          <a:xfrm>
            <a:off x="6638926" y="2283375"/>
            <a:ext cx="4139718" cy="803180"/>
          </a:xfrm>
          <a:prstGeom prst="rect">
            <a:avLst/>
          </a:prstGeom>
          <a:noFill/>
          <a:ln w="6350" algn="ctr">
            <a:noFill/>
            <a:miter lim="800000"/>
            <a:headEnd/>
            <a:tailEnd/>
          </a:ln>
        </p:spPr>
        <p:txBody>
          <a:bodyPr/>
          <a:lstStyle/>
          <a:p>
            <a:pPr marL="72000" marR="0" lvl="0" indent="-72000" algn="l" defTabSz="914400" rtl="0" eaLnBrk="0" fontAlgn="auto" latinLnBrk="0" hangingPunct="0">
              <a:lnSpc>
                <a:spcPct val="100000"/>
              </a:lnSpc>
              <a:spcBef>
                <a:spcPts val="100"/>
              </a:spcBef>
              <a:spcAft>
                <a:spcPts val="100"/>
              </a:spcAft>
              <a:buClrTx/>
              <a:buSzPct val="100000"/>
              <a:buFont typeface="Arial" pitchFamily="34" charset="0"/>
              <a:buChar char="•"/>
              <a:tabLst/>
              <a:defRPr/>
            </a:pPr>
            <a:r>
              <a:rPr kumimoji="0" lang="en-US" sz="1000" b="0" i="0" u="none" strike="noStrike" kern="0" cap="none" spc="0" normalizeH="0" baseline="0" noProof="0" dirty="0">
                <a:ln>
                  <a:noFill/>
                </a:ln>
                <a:solidFill>
                  <a:srgbClr val="000000"/>
                </a:solidFill>
                <a:effectLst/>
                <a:uLnTx/>
                <a:uFillTx/>
                <a:ea typeface="+mn-ea"/>
                <a:cs typeface="+mn-cs"/>
              </a:rPr>
              <a:t>Strategy and alignment to business/corporate objectives is unclear, with supply chain underinvested.</a:t>
            </a:r>
          </a:p>
          <a:p>
            <a:pPr marL="72000" marR="0" lvl="0" indent="-72000" algn="l" defTabSz="914400" rtl="0" eaLnBrk="0" fontAlgn="auto" latinLnBrk="0" hangingPunct="0">
              <a:lnSpc>
                <a:spcPct val="100000"/>
              </a:lnSpc>
              <a:spcBef>
                <a:spcPts val="100"/>
              </a:spcBef>
              <a:spcAft>
                <a:spcPts val="100"/>
              </a:spcAft>
              <a:buClrTx/>
              <a:buSzPct val="100000"/>
              <a:buFont typeface="Arial" pitchFamily="34" charset="0"/>
              <a:buChar char="•"/>
              <a:tabLst/>
              <a:defRPr/>
            </a:pPr>
            <a:r>
              <a:rPr kumimoji="0" lang="en-US" sz="1000" b="0" i="0" u="none" strike="noStrike" kern="0" cap="none" spc="0" normalizeH="0" baseline="0" noProof="0" dirty="0">
                <a:ln>
                  <a:noFill/>
                </a:ln>
                <a:solidFill>
                  <a:srgbClr val="000000"/>
                </a:solidFill>
                <a:effectLst/>
                <a:uLnTx/>
                <a:uFillTx/>
                <a:ea typeface="+mn-ea"/>
                <a:cs typeface="+mn-cs"/>
              </a:rPr>
              <a:t>Tactical focus and lean staffing results in reactive service.</a:t>
            </a:r>
          </a:p>
          <a:p>
            <a:pPr marL="72000" marR="0" lvl="0" indent="-72000" algn="l" defTabSz="914400" rtl="0" eaLnBrk="0" fontAlgn="auto" latinLnBrk="0" hangingPunct="0">
              <a:lnSpc>
                <a:spcPct val="100000"/>
              </a:lnSpc>
              <a:spcBef>
                <a:spcPts val="100"/>
              </a:spcBef>
              <a:spcAft>
                <a:spcPts val="100"/>
              </a:spcAft>
              <a:buClrTx/>
              <a:buSzPct val="100000"/>
              <a:buFont typeface="Arial" pitchFamily="34" charset="0"/>
              <a:buChar char="•"/>
              <a:tabLst/>
              <a:defRPr/>
            </a:pPr>
            <a:r>
              <a:rPr kumimoji="0" lang="en-US" sz="1000" b="0" i="0" u="none" strike="noStrike" kern="0" cap="none" spc="0" normalizeH="0" baseline="0" noProof="0" dirty="0">
                <a:ln>
                  <a:noFill/>
                </a:ln>
                <a:solidFill>
                  <a:srgbClr val="000000"/>
                </a:solidFill>
                <a:effectLst/>
                <a:uLnTx/>
                <a:uFillTx/>
                <a:ea typeface="+mn-ea"/>
                <a:cs typeface="+mn-cs"/>
              </a:rPr>
              <a:t>Measurement and performance is unclear with few measures established or communicated.</a:t>
            </a:r>
          </a:p>
        </p:txBody>
      </p:sp>
      <p:sp>
        <p:nvSpPr>
          <p:cNvPr id="21" name="Text Box 55">
            <a:extLst>
              <a:ext uri="{FF2B5EF4-FFF2-40B4-BE49-F238E27FC236}">
                <a16:creationId xmlns:a16="http://schemas.microsoft.com/office/drawing/2014/main" id="{AE63DD20-354F-4EA3-BF8F-D93A3B24E5B2}"/>
              </a:ext>
            </a:extLst>
          </p:cNvPr>
          <p:cNvSpPr txBox="1">
            <a:spLocks noChangeArrowheads="1"/>
          </p:cNvSpPr>
          <p:nvPr/>
        </p:nvSpPr>
        <p:spPr bwMode="auto">
          <a:xfrm>
            <a:off x="1917536" y="3328469"/>
            <a:ext cx="1178730" cy="457200"/>
          </a:xfrm>
          <a:prstGeom prst="rect">
            <a:avLst/>
          </a:prstGeom>
          <a:noFill/>
          <a:ln w="9525">
            <a:noFill/>
            <a:miter lim="800000"/>
            <a:headEnd/>
            <a:tailEnd/>
          </a:ln>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mj-lt"/>
                <a:ea typeface="+mn-ea"/>
                <a:cs typeface="+mn-cs"/>
              </a:rPr>
              <a:t>Client Collaboration and Integration</a:t>
            </a:r>
          </a:p>
        </p:txBody>
      </p:sp>
      <p:grpSp>
        <p:nvGrpSpPr>
          <p:cNvPr id="2" name="Group 1">
            <a:extLst>
              <a:ext uri="{FF2B5EF4-FFF2-40B4-BE49-F238E27FC236}">
                <a16:creationId xmlns:a16="http://schemas.microsoft.com/office/drawing/2014/main" id="{26B82CC2-0A17-4B66-990A-323AD4DB7913}"/>
              </a:ext>
              <a:ext uri="{C183D7F6-B498-43B3-948B-1728B52AA6E4}">
                <adec:decorative xmlns:adec="http://schemas.microsoft.com/office/drawing/2017/decorative" val="1"/>
              </a:ext>
            </a:extLst>
          </p:cNvPr>
          <p:cNvGrpSpPr/>
          <p:nvPr/>
        </p:nvGrpSpPr>
        <p:grpSpPr>
          <a:xfrm>
            <a:off x="3171825" y="3302895"/>
            <a:ext cx="3467100" cy="417728"/>
            <a:chOff x="3171825" y="3302895"/>
            <a:chExt cx="3467100" cy="417728"/>
          </a:xfrm>
        </p:grpSpPr>
        <p:sp>
          <p:nvSpPr>
            <p:cNvPr id="23" name="AutoShape 80">
              <a:extLst>
                <a:ext uri="{FF2B5EF4-FFF2-40B4-BE49-F238E27FC236}">
                  <a16:creationId xmlns:a16="http://schemas.microsoft.com/office/drawing/2014/main" id="{A63D4269-BDAB-4438-9DB8-28437B876FA6}"/>
                </a:ext>
              </a:extLst>
            </p:cNvPr>
            <p:cNvSpPr>
              <a:spLocks noChangeArrowheads="1"/>
            </p:cNvSpPr>
            <p:nvPr/>
          </p:nvSpPr>
          <p:spPr bwMode="auto">
            <a:xfrm>
              <a:off x="3171825" y="3414156"/>
              <a:ext cx="3467100" cy="306467"/>
            </a:xfrm>
            <a:prstGeom prst="roundRect">
              <a:avLst>
                <a:gd name="adj" fmla="val 16667"/>
              </a:avLst>
            </a:prstGeom>
            <a:solidFill>
              <a:srgbClr val="96968C">
                <a:lumMod val="60000"/>
                <a:lumOff val="40000"/>
              </a:srgbClr>
            </a:solidFill>
            <a:ln w="9525">
              <a:noFill/>
              <a:round/>
              <a:headEnd/>
              <a:tailEnd/>
            </a:ln>
          </p:spPr>
          <p:txBody>
            <a:bodyPr lIns="0" tIns="0" rIns="0" bIns="0"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 name="Rectangle 84">
              <a:extLst>
                <a:ext uri="{FF2B5EF4-FFF2-40B4-BE49-F238E27FC236}">
                  <a16:creationId xmlns:a16="http://schemas.microsoft.com/office/drawing/2014/main" id="{300966F8-C34C-4EA0-A172-175A09DF9D05}"/>
                </a:ext>
              </a:extLst>
            </p:cNvPr>
            <p:cNvSpPr>
              <a:spLocks noChangeArrowheads="1"/>
            </p:cNvSpPr>
            <p:nvPr/>
          </p:nvSpPr>
          <p:spPr bwMode="auto">
            <a:xfrm>
              <a:off x="5229225" y="3344978"/>
              <a:ext cx="495300" cy="173038"/>
            </a:xfrm>
            <a:prstGeom prst="rect">
              <a:avLst/>
            </a:prstGeom>
            <a:solidFill>
              <a:srgbClr val="A100FF"/>
            </a:solidFill>
            <a:ln w="9525">
              <a:noFill/>
              <a:miter lim="800000"/>
              <a:headEnd/>
              <a:tailEnd/>
            </a:ln>
          </p:spPr>
          <p:txBody>
            <a:bodyPr wrap="none"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FFFFFF"/>
                </a:solidFill>
                <a:effectLst/>
                <a:uLnTx/>
                <a:uFillTx/>
                <a:latin typeface="Arial"/>
                <a:ea typeface="+mn-ea"/>
                <a:cs typeface="+mn-cs"/>
              </a:endParaRPr>
            </a:p>
          </p:txBody>
        </p:sp>
        <p:sp>
          <p:nvSpPr>
            <p:cNvPr id="57" name="AutoShape 48">
              <a:extLst>
                <a:ext uri="{FF2B5EF4-FFF2-40B4-BE49-F238E27FC236}">
                  <a16:creationId xmlns:a16="http://schemas.microsoft.com/office/drawing/2014/main" id="{FCA9B94C-24EF-4CEF-B94B-7F3A0A86649B}"/>
                </a:ext>
              </a:extLst>
            </p:cNvPr>
            <p:cNvSpPr>
              <a:spLocks noChangeArrowheads="1"/>
            </p:cNvSpPr>
            <p:nvPr/>
          </p:nvSpPr>
          <p:spPr bwMode="auto">
            <a:xfrm>
              <a:off x="3863931" y="3302895"/>
              <a:ext cx="196850" cy="185737"/>
            </a:xfrm>
            <a:prstGeom prst="diamond">
              <a:avLst/>
            </a:prstGeom>
            <a:solidFill>
              <a:schemeClr val="accent3"/>
            </a:solidFill>
            <a:ln w="12700" algn="ctr">
              <a:noFill/>
              <a:miter lim="800000"/>
              <a:headEnd/>
              <a:tailEnd/>
            </a:ln>
          </p:spPr>
          <p:txBody>
            <a:bodyPr rot="10800000" vert="eaVert" wrap="none" anchor="ctr"/>
            <a:lstStyle/>
            <a:p>
              <a:endParaRPr lang="en-US" kern="0">
                <a:solidFill>
                  <a:srgbClr val="000000"/>
                </a:solidFill>
                <a:latin typeface="Arial"/>
              </a:endParaRPr>
            </a:p>
          </p:txBody>
        </p:sp>
      </p:grpSp>
      <p:sp>
        <p:nvSpPr>
          <p:cNvPr id="22" name="Text Box 61">
            <a:extLst>
              <a:ext uri="{FF2B5EF4-FFF2-40B4-BE49-F238E27FC236}">
                <a16:creationId xmlns:a16="http://schemas.microsoft.com/office/drawing/2014/main" id="{261F88D0-54B7-4AEC-91A1-EFB9481E00A4}"/>
              </a:ext>
            </a:extLst>
          </p:cNvPr>
          <p:cNvSpPr txBox="1">
            <a:spLocks noChangeArrowheads="1"/>
          </p:cNvSpPr>
          <p:nvPr/>
        </p:nvSpPr>
        <p:spPr bwMode="auto">
          <a:xfrm>
            <a:off x="6638926" y="3200053"/>
            <a:ext cx="4183560" cy="811249"/>
          </a:xfrm>
          <a:prstGeom prst="rect">
            <a:avLst/>
          </a:prstGeom>
          <a:noFill/>
          <a:ln w="6350" algn="ctr">
            <a:noFill/>
            <a:miter lim="800000"/>
            <a:headEnd/>
            <a:tailEnd/>
          </a:ln>
        </p:spPr>
        <p:txBody>
          <a:bodyPr/>
          <a:lstStyle/>
          <a:p>
            <a:pPr marL="72000" marR="0" lvl="0" indent="-72000" algn="l" defTabSz="914400" rtl="0" eaLnBrk="0" fontAlgn="auto" latinLnBrk="0" hangingPunct="0">
              <a:lnSpc>
                <a:spcPct val="100000"/>
              </a:lnSpc>
              <a:spcBef>
                <a:spcPts val="100"/>
              </a:spcBef>
              <a:spcAft>
                <a:spcPts val="100"/>
              </a:spcAft>
              <a:buClrTx/>
              <a:buSzPct val="100000"/>
              <a:buFont typeface="Arial" pitchFamily="34" charset="0"/>
              <a:buChar char="•"/>
              <a:tabLst/>
              <a:defRPr/>
            </a:pPr>
            <a:r>
              <a:rPr kumimoji="0" lang="en-US" sz="1000" b="0" i="0" u="none" strike="noStrike" kern="0" cap="none" spc="0" normalizeH="0" baseline="0" noProof="0" dirty="0">
                <a:ln>
                  <a:noFill/>
                </a:ln>
                <a:solidFill>
                  <a:srgbClr val="000000"/>
                </a:solidFill>
                <a:effectLst/>
                <a:uLnTx/>
                <a:uFillTx/>
                <a:ea typeface="+mn-ea"/>
                <a:cs typeface="+mn-cs"/>
              </a:rPr>
              <a:t>Demand / supply planning is an ad-hoc activity with no formal and/or consistent collaborative planning &amp; communication.</a:t>
            </a:r>
          </a:p>
          <a:p>
            <a:pPr marL="72000" marR="0" lvl="0" indent="-72000" algn="l" defTabSz="914400" rtl="0" eaLnBrk="0" fontAlgn="auto" latinLnBrk="0" hangingPunct="0">
              <a:lnSpc>
                <a:spcPct val="100000"/>
              </a:lnSpc>
              <a:spcBef>
                <a:spcPts val="100"/>
              </a:spcBef>
              <a:spcAft>
                <a:spcPts val="100"/>
              </a:spcAft>
              <a:buClrTx/>
              <a:buSzPct val="100000"/>
              <a:buFont typeface="Arial" pitchFamily="34" charset="0"/>
              <a:buChar char="•"/>
              <a:tabLst/>
              <a:defRPr/>
            </a:pPr>
            <a:r>
              <a:rPr kumimoji="0" lang="en-US" sz="1000" b="0" i="0" u="none" strike="noStrike" kern="0" cap="none" spc="0" normalizeH="0" baseline="0" noProof="0" dirty="0">
                <a:ln>
                  <a:noFill/>
                </a:ln>
                <a:solidFill>
                  <a:srgbClr val="000000"/>
                </a:solidFill>
                <a:effectLst/>
                <a:uLnTx/>
                <a:uFillTx/>
                <a:ea typeface="+mn-ea"/>
                <a:cs typeface="+mn-cs"/>
              </a:rPr>
              <a:t>Long term, forward-looking detailed material and service requirements un available nor communicated to supply chain.</a:t>
            </a:r>
          </a:p>
        </p:txBody>
      </p:sp>
      <p:sp>
        <p:nvSpPr>
          <p:cNvPr id="26" name="Text Box 60">
            <a:extLst>
              <a:ext uri="{FF2B5EF4-FFF2-40B4-BE49-F238E27FC236}">
                <a16:creationId xmlns:a16="http://schemas.microsoft.com/office/drawing/2014/main" id="{D9F9A089-6545-4614-B51B-C5300BB0E882}"/>
              </a:ext>
            </a:extLst>
          </p:cNvPr>
          <p:cNvSpPr txBox="1">
            <a:spLocks noChangeArrowheads="1"/>
          </p:cNvSpPr>
          <p:nvPr/>
        </p:nvSpPr>
        <p:spPr bwMode="auto">
          <a:xfrm>
            <a:off x="1917536" y="4366629"/>
            <a:ext cx="1349375" cy="457200"/>
          </a:xfrm>
          <a:prstGeom prst="rect">
            <a:avLst/>
          </a:prstGeom>
          <a:noFill/>
          <a:ln w="9525">
            <a:noFill/>
            <a:miter lim="800000"/>
            <a:headEnd/>
            <a:tailEnd/>
          </a:ln>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mj-lt"/>
                <a:ea typeface="+mn-ea"/>
                <a:cs typeface="+mn-cs"/>
              </a:rPr>
              <a:t>Efficient Distribution</a:t>
            </a:r>
          </a:p>
        </p:txBody>
      </p:sp>
      <p:grpSp>
        <p:nvGrpSpPr>
          <p:cNvPr id="5" name="Group 4">
            <a:extLst>
              <a:ext uri="{FF2B5EF4-FFF2-40B4-BE49-F238E27FC236}">
                <a16:creationId xmlns:a16="http://schemas.microsoft.com/office/drawing/2014/main" id="{730F4D60-5F73-4063-B49B-5F0F31C32B79}"/>
              </a:ext>
              <a:ext uri="{C183D7F6-B498-43B3-948B-1728B52AA6E4}">
                <adec:decorative xmlns:adec="http://schemas.microsoft.com/office/drawing/2017/decorative" val="1"/>
              </a:ext>
            </a:extLst>
          </p:cNvPr>
          <p:cNvGrpSpPr/>
          <p:nvPr/>
        </p:nvGrpSpPr>
        <p:grpSpPr>
          <a:xfrm>
            <a:off x="3171825" y="4281107"/>
            <a:ext cx="3467100" cy="403063"/>
            <a:chOff x="3171825" y="4281107"/>
            <a:chExt cx="3467100" cy="403063"/>
          </a:xfrm>
        </p:grpSpPr>
        <p:sp>
          <p:nvSpPr>
            <p:cNvPr id="28" name="AutoShape 85">
              <a:extLst>
                <a:ext uri="{FF2B5EF4-FFF2-40B4-BE49-F238E27FC236}">
                  <a16:creationId xmlns:a16="http://schemas.microsoft.com/office/drawing/2014/main" id="{D943740F-1B0A-4810-8B62-A9EC1569BF8B}"/>
                </a:ext>
              </a:extLst>
            </p:cNvPr>
            <p:cNvSpPr>
              <a:spLocks noChangeArrowheads="1"/>
            </p:cNvSpPr>
            <p:nvPr/>
          </p:nvSpPr>
          <p:spPr bwMode="auto">
            <a:xfrm>
              <a:off x="3171825" y="4377703"/>
              <a:ext cx="3467100" cy="306467"/>
            </a:xfrm>
            <a:prstGeom prst="roundRect">
              <a:avLst>
                <a:gd name="adj" fmla="val 16667"/>
              </a:avLst>
            </a:prstGeom>
            <a:solidFill>
              <a:srgbClr val="96968C">
                <a:lumMod val="60000"/>
                <a:lumOff val="40000"/>
              </a:srgbClr>
            </a:solidFill>
            <a:ln w="9525">
              <a:noFill/>
              <a:round/>
              <a:headEnd/>
              <a:tailEnd/>
            </a:ln>
          </p:spPr>
          <p:txBody>
            <a:bodyPr lIns="0" tIns="0" rIns="0" bIns="0"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 name="Rectangle 89">
              <a:extLst>
                <a:ext uri="{FF2B5EF4-FFF2-40B4-BE49-F238E27FC236}">
                  <a16:creationId xmlns:a16="http://schemas.microsoft.com/office/drawing/2014/main" id="{309EEB94-BD0B-4916-B4B0-2EA91F78BABE}"/>
                </a:ext>
              </a:extLst>
            </p:cNvPr>
            <p:cNvSpPr>
              <a:spLocks noChangeArrowheads="1"/>
            </p:cNvSpPr>
            <p:nvPr/>
          </p:nvSpPr>
          <p:spPr bwMode="auto">
            <a:xfrm>
              <a:off x="5724525" y="4302066"/>
              <a:ext cx="495300" cy="173037"/>
            </a:xfrm>
            <a:prstGeom prst="rect">
              <a:avLst/>
            </a:prstGeom>
            <a:solidFill>
              <a:srgbClr val="A100FF"/>
            </a:solidFill>
            <a:ln w="9525">
              <a:noFill/>
              <a:miter lim="800000"/>
              <a:headEnd/>
              <a:tailEnd/>
            </a:ln>
          </p:spPr>
          <p:txBody>
            <a:bodyPr wrap="none"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FFFFFF"/>
                </a:solidFill>
                <a:effectLst/>
                <a:uLnTx/>
                <a:uFillTx/>
                <a:latin typeface="Arial"/>
                <a:ea typeface="+mn-ea"/>
                <a:cs typeface="+mn-cs"/>
              </a:endParaRPr>
            </a:p>
          </p:txBody>
        </p:sp>
        <p:sp>
          <p:nvSpPr>
            <p:cNvPr id="30" name="AutoShape 48">
              <a:extLst>
                <a:ext uri="{FF2B5EF4-FFF2-40B4-BE49-F238E27FC236}">
                  <a16:creationId xmlns:a16="http://schemas.microsoft.com/office/drawing/2014/main" id="{C3B944AE-6195-4F2E-87C4-6C726FE18B24}"/>
                </a:ext>
              </a:extLst>
            </p:cNvPr>
            <p:cNvSpPr>
              <a:spLocks noChangeArrowheads="1"/>
            </p:cNvSpPr>
            <p:nvPr/>
          </p:nvSpPr>
          <p:spPr bwMode="auto">
            <a:xfrm>
              <a:off x="4570508" y="4281107"/>
              <a:ext cx="196850" cy="185737"/>
            </a:xfrm>
            <a:prstGeom prst="diamond">
              <a:avLst/>
            </a:prstGeom>
            <a:solidFill>
              <a:schemeClr val="accent3"/>
            </a:solidFill>
            <a:ln w="12700" algn="ctr">
              <a:noFill/>
              <a:miter lim="800000"/>
              <a:headEnd/>
              <a:tailEnd/>
            </a:ln>
          </p:spPr>
          <p:txBody>
            <a:bodyPr rot="10800000" vert="eaVert" wrap="none" anchor="ctr"/>
            <a:lstStyle/>
            <a:p>
              <a:endParaRPr lang="en-US" kern="0">
                <a:solidFill>
                  <a:srgbClr val="000000"/>
                </a:solidFill>
                <a:latin typeface="Arial"/>
              </a:endParaRPr>
            </a:p>
          </p:txBody>
        </p:sp>
      </p:grpSp>
      <p:sp>
        <p:nvSpPr>
          <p:cNvPr id="27" name="Text Box 62">
            <a:extLst>
              <a:ext uri="{FF2B5EF4-FFF2-40B4-BE49-F238E27FC236}">
                <a16:creationId xmlns:a16="http://schemas.microsoft.com/office/drawing/2014/main" id="{F3CC0EA0-10B7-4117-B9CC-9237029E683E}"/>
              </a:ext>
            </a:extLst>
          </p:cNvPr>
          <p:cNvSpPr txBox="1">
            <a:spLocks noChangeArrowheads="1"/>
          </p:cNvSpPr>
          <p:nvPr/>
        </p:nvSpPr>
        <p:spPr bwMode="auto">
          <a:xfrm>
            <a:off x="6638926" y="3975460"/>
            <a:ext cx="4139715" cy="1001713"/>
          </a:xfrm>
          <a:prstGeom prst="rect">
            <a:avLst/>
          </a:prstGeom>
          <a:noFill/>
          <a:ln w="6350" algn="ctr">
            <a:noFill/>
            <a:miter lim="800000"/>
            <a:headEnd/>
            <a:tailEnd/>
          </a:ln>
        </p:spPr>
        <p:txBody>
          <a:bodyPr/>
          <a:lstStyle/>
          <a:p>
            <a:pPr marL="72000" marR="0" lvl="0" indent="-72000" algn="l" defTabSz="914400" rtl="0" eaLnBrk="0" fontAlgn="auto" latinLnBrk="0" hangingPunct="0">
              <a:lnSpc>
                <a:spcPct val="100000"/>
              </a:lnSpc>
              <a:spcBef>
                <a:spcPts val="100"/>
              </a:spcBef>
              <a:spcAft>
                <a:spcPts val="100"/>
              </a:spcAft>
              <a:buClrTx/>
              <a:buSzPct val="100000"/>
              <a:buFont typeface="Arial" pitchFamily="34" charset="0"/>
              <a:buChar char="•"/>
              <a:tabLst/>
              <a:defRPr/>
            </a:pPr>
            <a:r>
              <a:rPr kumimoji="0" lang="en-US" sz="1000" b="0" i="0" u="none" strike="noStrike" kern="0" cap="none" spc="0" normalizeH="0" baseline="0" noProof="0" dirty="0">
                <a:ln>
                  <a:noFill/>
                </a:ln>
                <a:solidFill>
                  <a:srgbClr val="000000"/>
                </a:solidFill>
                <a:effectLst/>
                <a:uLnTx/>
                <a:uFillTx/>
                <a:ea typeface="+mn-ea"/>
                <a:cs typeface="+mn-cs"/>
              </a:rPr>
              <a:t>Focus on transactional, day to day activities, limited available to   focus on strategic initiatives (SRM, Contract Mgmt, S Sourcing).</a:t>
            </a:r>
          </a:p>
          <a:p>
            <a:pPr marL="72000" marR="0" lvl="0" indent="-72000" algn="l" defTabSz="914400" rtl="0" eaLnBrk="0" fontAlgn="auto" latinLnBrk="0" hangingPunct="0">
              <a:lnSpc>
                <a:spcPct val="100000"/>
              </a:lnSpc>
              <a:spcBef>
                <a:spcPts val="100"/>
              </a:spcBef>
              <a:spcAft>
                <a:spcPts val="100"/>
              </a:spcAft>
              <a:buClrTx/>
              <a:buSzPct val="100000"/>
              <a:buFont typeface="Arial" pitchFamily="34" charset="0"/>
              <a:buChar char="•"/>
              <a:tabLst/>
              <a:defRPr/>
            </a:pPr>
            <a:r>
              <a:rPr kumimoji="0" lang="en-US" sz="1000" b="0" i="0" u="none" strike="noStrike" kern="0" cap="none" spc="0" normalizeH="0" baseline="0" noProof="0" dirty="0">
                <a:ln>
                  <a:noFill/>
                </a:ln>
                <a:solidFill>
                  <a:srgbClr val="000000"/>
                </a:solidFill>
                <a:effectLst/>
                <a:uLnTx/>
                <a:uFillTx/>
                <a:ea typeface="+mn-ea"/>
                <a:cs typeface="+mn-cs"/>
              </a:rPr>
              <a:t>Strategic sourcing has been pursued with proven success but is limited by availability of Dir, Supply Chain who leads efforts.</a:t>
            </a:r>
          </a:p>
          <a:p>
            <a:pPr marL="72000" marR="0" lvl="0" indent="-72000" algn="l" defTabSz="914400" rtl="0" eaLnBrk="0" fontAlgn="auto" latinLnBrk="0" hangingPunct="0">
              <a:lnSpc>
                <a:spcPct val="100000"/>
              </a:lnSpc>
              <a:spcBef>
                <a:spcPts val="100"/>
              </a:spcBef>
              <a:spcAft>
                <a:spcPts val="100"/>
              </a:spcAft>
              <a:buClrTx/>
              <a:buSzPct val="100000"/>
              <a:buFont typeface="Arial" pitchFamily="34" charset="0"/>
              <a:buChar char="•"/>
              <a:tabLst/>
              <a:defRPr/>
            </a:pPr>
            <a:r>
              <a:rPr kumimoji="0" lang="en-US" sz="1000" b="0" i="0" u="none" strike="noStrike" kern="0" cap="none" spc="0" normalizeH="0" baseline="0" noProof="0" dirty="0">
                <a:ln>
                  <a:noFill/>
                </a:ln>
                <a:solidFill>
                  <a:srgbClr val="000000"/>
                </a:solidFill>
                <a:effectLst/>
                <a:uLnTx/>
                <a:uFillTx/>
                <a:ea typeface="+mn-ea"/>
                <a:cs typeface="+mn-cs"/>
              </a:rPr>
              <a:t>Supplier diversity is a focus area with a dedicated resource who reports to HR.</a:t>
            </a:r>
          </a:p>
        </p:txBody>
      </p:sp>
      <p:sp>
        <p:nvSpPr>
          <p:cNvPr id="31" name="Text Box 59">
            <a:extLst>
              <a:ext uri="{FF2B5EF4-FFF2-40B4-BE49-F238E27FC236}">
                <a16:creationId xmlns:a16="http://schemas.microsoft.com/office/drawing/2014/main" id="{13D2D22A-CDA1-42C7-B9BE-5978D3DC79C8}"/>
              </a:ext>
            </a:extLst>
          </p:cNvPr>
          <p:cNvSpPr txBox="1">
            <a:spLocks noChangeArrowheads="1"/>
          </p:cNvSpPr>
          <p:nvPr/>
        </p:nvSpPr>
        <p:spPr bwMode="auto">
          <a:xfrm>
            <a:off x="1917536" y="5532511"/>
            <a:ext cx="1349375" cy="457200"/>
          </a:xfrm>
          <a:prstGeom prst="rect">
            <a:avLst/>
          </a:prstGeom>
          <a:noFill/>
          <a:ln w="9525">
            <a:noFill/>
            <a:miter lim="800000"/>
            <a:headEnd/>
            <a:tailEnd/>
          </a:ln>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mj-lt"/>
                <a:ea typeface="+mn-ea"/>
                <a:cs typeface="+mn-cs"/>
              </a:rPr>
              <a:t>Demand Driven Planning</a:t>
            </a:r>
          </a:p>
        </p:txBody>
      </p:sp>
      <p:grpSp>
        <p:nvGrpSpPr>
          <p:cNvPr id="59" name="Group 58">
            <a:extLst>
              <a:ext uri="{FF2B5EF4-FFF2-40B4-BE49-F238E27FC236}">
                <a16:creationId xmlns:a16="http://schemas.microsoft.com/office/drawing/2014/main" id="{1820CE15-9F72-4598-B058-267BB47E8EEC}"/>
              </a:ext>
              <a:ext uri="{C183D7F6-B498-43B3-948B-1728B52AA6E4}">
                <adec:decorative xmlns:adec="http://schemas.microsoft.com/office/drawing/2017/decorative" val="1"/>
              </a:ext>
            </a:extLst>
          </p:cNvPr>
          <p:cNvGrpSpPr/>
          <p:nvPr/>
        </p:nvGrpSpPr>
        <p:grpSpPr>
          <a:xfrm>
            <a:off x="3171825" y="5375837"/>
            <a:ext cx="3467100" cy="417438"/>
            <a:chOff x="3171825" y="5375837"/>
            <a:chExt cx="3467100" cy="417438"/>
          </a:xfrm>
        </p:grpSpPr>
        <p:sp>
          <p:nvSpPr>
            <p:cNvPr id="32" name="AutoShape 105">
              <a:extLst>
                <a:ext uri="{FF2B5EF4-FFF2-40B4-BE49-F238E27FC236}">
                  <a16:creationId xmlns:a16="http://schemas.microsoft.com/office/drawing/2014/main" id="{49E3930E-AEFA-4C4D-ACAB-021DD5962A81}"/>
                </a:ext>
              </a:extLst>
            </p:cNvPr>
            <p:cNvSpPr>
              <a:spLocks noChangeArrowheads="1"/>
            </p:cNvSpPr>
            <p:nvPr/>
          </p:nvSpPr>
          <p:spPr bwMode="auto">
            <a:xfrm>
              <a:off x="3171825" y="5486808"/>
              <a:ext cx="3467100" cy="306467"/>
            </a:xfrm>
            <a:prstGeom prst="roundRect">
              <a:avLst>
                <a:gd name="adj" fmla="val 16667"/>
              </a:avLst>
            </a:prstGeom>
            <a:solidFill>
              <a:srgbClr val="96968C">
                <a:lumMod val="60000"/>
                <a:lumOff val="40000"/>
              </a:srgbClr>
            </a:solidFill>
            <a:ln w="9525">
              <a:noFill/>
              <a:round/>
              <a:headEnd/>
              <a:tailEnd/>
            </a:ln>
          </p:spPr>
          <p:txBody>
            <a:bodyPr lIns="0" tIns="0" rIns="0" bIns="0"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nvGrpSpPr>
            <p:cNvPr id="58" name="Group 57">
              <a:extLst>
                <a:ext uri="{FF2B5EF4-FFF2-40B4-BE49-F238E27FC236}">
                  <a16:creationId xmlns:a16="http://schemas.microsoft.com/office/drawing/2014/main" id="{55D00F11-A296-4327-BF43-F292E091E0A2}"/>
                </a:ext>
              </a:extLst>
            </p:cNvPr>
            <p:cNvGrpSpPr/>
            <p:nvPr/>
          </p:nvGrpSpPr>
          <p:grpSpPr>
            <a:xfrm>
              <a:off x="4459976" y="5375837"/>
              <a:ext cx="1493149" cy="208371"/>
              <a:chOff x="4459976" y="5375837"/>
              <a:chExt cx="1493149" cy="208371"/>
            </a:xfrm>
          </p:grpSpPr>
          <p:sp>
            <p:nvSpPr>
              <p:cNvPr id="33" name="Rectangle 109">
                <a:extLst>
                  <a:ext uri="{FF2B5EF4-FFF2-40B4-BE49-F238E27FC236}">
                    <a16:creationId xmlns:a16="http://schemas.microsoft.com/office/drawing/2014/main" id="{66783654-3618-4579-A0F3-848100BBE199}"/>
                  </a:ext>
                </a:extLst>
              </p:cNvPr>
              <p:cNvSpPr>
                <a:spLocks noChangeArrowheads="1"/>
              </p:cNvSpPr>
              <p:nvPr/>
            </p:nvSpPr>
            <p:spPr bwMode="auto">
              <a:xfrm>
                <a:off x="5457825" y="5411171"/>
                <a:ext cx="495300" cy="173037"/>
              </a:xfrm>
              <a:prstGeom prst="rect">
                <a:avLst/>
              </a:prstGeom>
              <a:solidFill>
                <a:srgbClr val="A100FF"/>
              </a:solidFill>
              <a:ln w="9525">
                <a:noFill/>
                <a:miter lim="800000"/>
                <a:headEnd/>
                <a:tailEnd/>
              </a:ln>
            </p:spPr>
            <p:txBody>
              <a:bodyPr wrap="none"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FFFFFF"/>
                  </a:solidFill>
                  <a:effectLst/>
                  <a:uLnTx/>
                  <a:uFillTx/>
                  <a:latin typeface="Arial"/>
                  <a:ea typeface="+mn-ea"/>
                  <a:cs typeface="+mn-cs"/>
                </a:endParaRPr>
              </a:p>
            </p:txBody>
          </p:sp>
          <p:sp>
            <p:nvSpPr>
              <p:cNvPr id="35" name="AutoShape 48">
                <a:extLst>
                  <a:ext uri="{FF2B5EF4-FFF2-40B4-BE49-F238E27FC236}">
                    <a16:creationId xmlns:a16="http://schemas.microsoft.com/office/drawing/2014/main" id="{7525AE41-0BC9-45E7-B4CE-F791FF07C7D4}"/>
                  </a:ext>
                </a:extLst>
              </p:cNvPr>
              <p:cNvSpPr>
                <a:spLocks noChangeArrowheads="1"/>
              </p:cNvSpPr>
              <p:nvPr/>
            </p:nvSpPr>
            <p:spPr bwMode="auto">
              <a:xfrm>
                <a:off x="4459976" y="5375837"/>
                <a:ext cx="196850" cy="185737"/>
              </a:xfrm>
              <a:prstGeom prst="diamond">
                <a:avLst/>
              </a:prstGeom>
              <a:solidFill>
                <a:schemeClr val="accent3"/>
              </a:solidFill>
              <a:ln w="12700" algn="ctr">
                <a:noFill/>
                <a:miter lim="800000"/>
                <a:headEnd/>
                <a:tailEnd/>
              </a:ln>
            </p:spPr>
            <p:txBody>
              <a:bodyPr rot="10800000" vert="eaVert" wrap="none" anchor="ctr"/>
              <a:lstStyle/>
              <a:p>
                <a:endParaRPr lang="en-US" kern="0">
                  <a:solidFill>
                    <a:srgbClr val="000000"/>
                  </a:solidFill>
                  <a:latin typeface="Arial"/>
                </a:endParaRPr>
              </a:p>
            </p:txBody>
          </p:sp>
        </p:grpSp>
      </p:grpSp>
      <p:sp>
        <p:nvSpPr>
          <p:cNvPr id="34" name="Text Box 120">
            <a:extLst>
              <a:ext uri="{FF2B5EF4-FFF2-40B4-BE49-F238E27FC236}">
                <a16:creationId xmlns:a16="http://schemas.microsoft.com/office/drawing/2014/main" id="{7E7AA4CE-CCE6-486E-BE2D-BDA9B11F85B2}"/>
              </a:ext>
            </a:extLst>
          </p:cNvPr>
          <p:cNvSpPr txBox="1">
            <a:spLocks noChangeArrowheads="1"/>
          </p:cNvSpPr>
          <p:nvPr/>
        </p:nvSpPr>
        <p:spPr bwMode="auto">
          <a:xfrm>
            <a:off x="6621724" y="5140617"/>
            <a:ext cx="4200759" cy="193300"/>
          </a:xfrm>
          <a:prstGeom prst="rect">
            <a:avLst/>
          </a:prstGeom>
          <a:noFill/>
          <a:ln w="6350" algn="ctr">
            <a:noFill/>
            <a:miter lim="800000"/>
            <a:headEnd/>
            <a:tailEnd/>
          </a:ln>
        </p:spPr>
        <p:txBody>
          <a:bodyPr/>
          <a:lstStyle/>
          <a:p>
            <a:pPr marL="72000" marR="0" lvl="0" indent="-72000" algn="l" defTabSz="914400" rtl="0" eaLnBrk="0" fontAlgn="auto" latinLnBrk="0" hangingPunct="0">
              <a:lnSpc>
                <a:spcPct val="100000"/>
              </a:lnSpc>
              <a:spcBef>
                <a:spcPts val="100"/>
              </a:spcBef>
              <a:spcAft>
                <a:spcPts val="100"/>
              </a:spcAft>
              <a:buClrTx/>
              <a:buSzPct val="100000"/>
              <a:buFont typeface="Arial" pitchFamily="34" charset="0"/>
              <a:buChar char="•"/>
              <a:tabLst/>
              <a:defRPr/>
            </a:pPr>
            <a:r>
              <a:rPr kumimoji="0" lang="en-US" sz="1000" b="0" i="0" u="none" strike="noStrike" kern="0" cap="none" spc="0" normalizeH="0" baseline="0" noProof="0" dirty="0">
                <a:ln>
                  <a:noFill/>
                </a:ln>
                <a:solidFill>
                  <a:srgbClr val="000000"/>
                </a:solidFill>
                <a:effectLst/>
                <a:uLnTx/>
                <a:uFillTx/>
                <a:ea typeface="+mn-ea"/>
                <a:cs typeface="+mn-cs"/>
              </a:rPr>
              <a:t>Network of T&amp;D district storerooms appear to have excess inventory based on calculated turn rates.</a:t>
            </a:r>
          </a:p>
          <a:p>
            <a:pPr marL="72000" marR="0" lvl="0" indent="-72000" algn="l" defTabSz="914400" rtl="0" eaLnBrk="0" fontAlgn="auto" latinLnBrk="0" hangingPunct="0">
              <a:lnSpc>
                <a:spcPct val="100000"/>
              </a:lnSpc>
              <a:spcBef>
                <a:spcPts val="100"/>
              </a:spcBef>
              <a:spcAft>
                <a:spcPts val="100"/>
              </a:spcAft>
              <a:buClrTx/>
              <a:buSzPct val="100000"/>
              <a:buFont typeface="Arial" pitchFamily="34" charset="0"/>
              <a:buChar char="•"/>
              <a:tabLst/>
              <a:defRPr/>
            </a:pPr>
            <a:r>
              <a:rPr kumimoji="0" lang="en-US" sz="1000" b="0" i="0" u="none" strike="noStrike" kern="0" cap="none" spc="0" normalizeH="0" baseline="0" noProof="0" dirty="0">
                <a:ln>
                  <a:noFill/>
                </a:ln>
                <a:solidFill>
                  <a:srgbClr val="000000"/>
                </a:solidFill>
                <a:effectLst/>
                <a:uLnTx/>
                <a:uFillTx/>
                <a:ea typeface="+mn-ea"/>
                <a:cs typeface="+mn-cs"/>
              </a:rPr>
              <a:t>Strategic use of HD Supply as Client’s central distribution centers, provision of SLAs and methods of aggregated procurement.</a:t>
            </a:r>
          </a:p>
          <a:p>
            <a:pPr marL="72000" marR="0" lvl="0" indent="-72000" algn="l" defTabSz="914400" rtl="0" eaLnBrk="0" fontAlgn="auto" latinLnBrk="0" hangingPunct="0">
              <a:lnSpc>
                <a:spcPct val="100000"/>
              </a:lnSpc>
              <a:spcBef>
                <a:spcPts val="100"/>
              </a:spcBef>
              <a:spcAft>
                <a:spcPts val="100"/>
              </a:spcAft>
              <a:buClrTx/>
              <a:buSzPct val="60000"/>
              <a:buFont typeface="Wingdings" pitchFamily="2" charset="2"/>
              <a:buChar char="n"/>
              <a:tabLst/>
              <a:defRPr/>
            </a:pPr>
            <a:endParaRPr kumimoji="0" lang="en-US" sz="1000" b="0" i="0" u="none" strike="noStrike" kern="0" cap="none" spc="0" normalizeH="0" baseline="0" noProof="0" dirty="0">
              <a:ln>
                <a:noFill/>
              </a:ln>
              <a:solidFill>
                <a:srgbClr val="000000"/>
              </a:solidFill>
              <a:effectLst/>
              <a:uLnTx/>
              <a:uFillTx/>
              <a:ea typeface="+mn-ea"/>
              <a:cs typeface="+mn-cs"/>
            </a:endParaRPr>
          </a:p>
        </p:txBody>
      </p:sp>
      <p:sp>
        <p:nvSpPr>
          <p:cNvPr id="11" name="Text Box 71">
            <a:extLst>
              <a:ext uri="{FF2B5EF4-FFF2-40B4-BE49-F238E27FC236}">
                <a16:creationId xmlns:a16="http://schemas.microsoft.com/office/drawing/2014/main" id="{86A6ACC9-13DA-4966-97F4-3C87D9C34182}"/>
              </a:ext>
            </a:extLst>
          </p:cNvPr>
          <p:cNvSpPr txBox="1">
            <a:spLocks noChangeAspect="1" noChangeArrowheads="1"/>
          </p:cNvSpPr>
          <p:nvPr/>
        </p:nvSpPr>
        <p:spPr bwMode="auto">
          <a:xfrm>
            <a:off x="2051491" y="6237312"/>
            <a:ext cx="1720343" cy="215444"/>
          </a:xfrm>
          <a:prstGeom prst="rect">
            <a:avLst/>
          </a:prstGeom>
          <a:noFill/>
          <a:ln w="9525">
            <a:noFill/>
            <a:miter lim="800000"/>
            <a:headEnd/>
            <a:tailEnd/>
          </a:ln>
        </p:spPr>
        <p:txBody>
          <a:bodyPr wrap="non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ea typeface="+mn-ea"/>
                <a:cs typeface="+mn-cs"/>
              </a:rPr>
              <a:t>Current Company Performance</a:t>
            </a:r>
          </a:p>
        </p:txBody>
      </p:sp>
      <p:sp>
        <p:nvSpPr>
          <p:cNvPr id="40" name="Text Box 113">
            <a:extLst>
              <a:ext uri="{FF2B5EF4-FFF2-40B4-BE49-F238E27FC236}">
                <a16:creationId xmlns:a16="http://schemas.microsoft.com/office/drawing/2014/main" id="{EFB9CCB0-4285-42D6-9076-9475DA5FFAB0}"/>
              </a:ext>
            </a:extLst>
          </p:cNvPr>
          <p:cNvSpPr txBox="1">
            <a:spLocks noChangeArrowheads="1"/>
          </p:cNvSpPr>
          <p:nvPr/>
        </p:nvSpPr>
        <p:spPr bwMode="auto">
          <a:xfrm>
            <a:off x="3179677" y="5981759"/>
            <a:ext cx="671981" cy="230832"/>
          </a:xfrm>
          <a:prstGeom prst="rect">
            <a:avLst/>
          </a:prstGeom>
          <a:noFill/>
          <a:ln w="6350">
            <a:noFill/>
            <a:miter lim="800000"/>
            <a:headEnd/>
            <a:tailEnd/>
          </a:ln>
        </p:spPr>
        <p:txBody>
          <a:bodyPr wrap="square" anchor="ctr">
            <a:spAutoFit/>
          </a:bodyPr>
          <a:lstStyle/>
          <a:p>
            <a:pPr marL="0" marR="0" lvl="0" indent="0" algn="ctr" defTabSz="914400" rtl="0" eaLnBrk="0" fontAlgn="auto" latinLnBrk="0" hangingPunct="0">
              <a:lnSpc>
                <a:spcPct val="100000"/>
              </a:lnSpc>
              <a:spcBef>
                <a:spcPct val="35000"/>
              </a:spcBef>
              <a:spcAft>
                <a:spcPts val="0"/>
              </a:spcAft>
              <a:buClrTx/>
              <a:buSzPct val="60000"/>
              <a:buFont typeface="Wingdings" pitchFamily="2" charset="2"/>
              <a:buNone/>
              <a:tabLst/>
              <a:defRPr/>
            </a:pPr>
            <a:r>
              <a:rPr kumimoji="0" lang="en-US" sz="900" b="1" i="0" u="none" strike="noStrike" kern="0" cap="none" spc="0" normalizeH="0" baseline="0" noProof="0" dirty="0">
                <a:ln>
                  <a:noFill/>
                </a:ln>
                <a:solidFill>
                  <a:srgbClr val="000000"/>
                </a:solidFill>
                <a:effectLst/>
                <a:uLnTx/>
                <a:uFillTx/>
                <a:latin typeface="+mj-lt"/>
                <a:ea typeface="+mn-ea"/>
                <a:cs typeface="+mn-cs"/>
              </a:rPr>
              <a:t>Basic</a:t>
            </a:r>
          </a:p>
        </p:txBody>
      </p:sp>
      <p:sp>
        <p:nvSpPr>
          <p:cNvPr id="41" name="Text Box 114">
            <a:extLst>
              <a:ext uri="{FF2B5EF4-FFF2-40B4-BE49-F238E27FC236}">
                <a16:creationId xmlns:a16="http://schemas.microsoft.com/office/drawing/2014/main" id="{6B520AC1-391B-4DE8-855C-74058AB22254}"/>
              </a:ext>
            </a:extLst>
          </p:cNvPr>
          <p:cNvSpPr txBox="1">
            <a:spLocks noChangeArrowheads="1"/>
          </p:cNvSpPr>
          <p:nvPr/>
        </p:nvSpPr>
        <p:spPr bwMode="auto">
          <a:xfrm>
            <a:off x="3807190" y="5982770"/>
            <a:ext cx="1185856" cy="230832"/>
          </a:xfrm>
          <a:prstGeom prst="rect">
            <a:avLst/>
          </a:prstGeom>
          <a:noFill/>
          <a:ln w="6350">
            <a:noFill/>
            <a:miter lim="800000"/>
            <a:headEnd/>
            <a:tailEnd/>
          </a:ln>
        </p:spPr>
        <p:txBody>
          <a:bodyPr wrap="square" anchor="ctr">
            <a:spAutoFit/>
          </a:bodyPr>
          <a:lstStyle/>
          <a:p>
            <a:pPr marL="0" marR="0" lvl="0" indent="0" algn="ctr" defTabSz="914400" rtl="0" eaLnBrk="0" fontAlgn="auto" latinLnBrk="0" hangingPunct="0">
              <a:lnSpc>
                <a:spcPct val="100000"/>
              </a:lnSpc>
              <a:spcBef>
                <a:spcPct val="35000"/>
              </a:spcBef>
              <a:spcAft>
                <a:spcPts val="0"/>
              </a:spcAft>
              <a:buClrTx/>
              <a:buSzPct val="60000"/>
              <a:buFont typeface="Wingdings" pitchFamily="2" charset="2"/>
              <a:buNone/>
              <a:tabLst/>
              <a:defRPr/>
            </a:pPr>
            <a:r>
              <a:rPr kumimoji="0" lang="en-US" sz="900" b="1" i="0" u="none" strike="noStrike" kern="0" cap="none" spc="0" normalizeH="0" baseline="0" noProof="0" dirty="0">
                <a:ln>
                  <a:noFill/>
                </a:ln>
                <a:solidFill>
                  <a:srgbClr val="000000"/>
                </a:solidFill>
                <a:effectLst/>
                <a:uLnTx/>
                <a:uFillTx/>
                <a:latin typeface="+mj-lt"/>
                <a:ea typeface="+mn-ea"/>
                <a:cs typeface="+mn-cs"/>
              </a:rPr>
              <a:t>Advanced</a:t>
            </a:r>
          </a:p>
        </p:txBody>
      </p:sp>
      <p:sp>
        <p:nvSpPr>
          <p:cNvPr id="13" name="Text Box 115">
            <a:extLst>
              <a:ext uri="{FF2B5EF4-FFF2-40B4-BE49-F238E27FC236}">
                <a16:creationId xmlns:a16="http://schemas.microsoft.com/office/drawing/2014/main" id="{96BD25A3-FA04-4DA8-93BF-45BEA39A33AB}"/>
              </a:ext>
            </a:extLst>
          </p:cNvPr>
          <p:cNvSpPr txBox="1">
            <a:spLocks noChangeArrowheads="1"/>
          </p:cNvSpPr>
          <p:nvPr/>
        </p:nvSpPr>
        <p:spPr bwMode="auto">
          <a:xfrm>
            <a:off x="4970516" y="5984326"/>
            <a:ext cx="945465" cy="230832"/>
          </a:xfrm>
          <a:prstGeom prst="rect">
            <a:avLst/>
          </a:prstGeom>
          <a:noFill/>
          <a:ln w="6350">
            <a:noFill/>
            <a:miter lim="800000"/>
            <a:headEnd/>
            <a:tailEnd/>
          </a:ln>
        </p:spPr>
        <p:txBody>
          <a:bodyPr wrap="square" anchor="ctr">
            <a:spAutoFit/>
          </a:bodyPr>
          <a:lstStyle/>
          <a:p>
            <a:pPr marL="0" marR="0" lvl="0" indent="0" algn="ctr" defTabSz="914400" rtl="0" eaLnBrk="0" fontAlgn="auto" latinLnBrk="0" hangingPunct="0">
              <a:lnSpc>
                <a:spcPct val="100000"/>
              </a:lnSpc>
              <a:spcBef>
                <a:spcPct val="35000"/>
              </a:spcBef>
              <a:spcAft>
                <a:spcPts val="0"/>
              </a:spcAft>
              <a:buClrTx/>
              <a:buSzPct val="60000"/>
              <a:buFont typeface="Wingdings" pitchFamily="2" charset="2"/>
              <a:buNone/>
              <a:tabLst/>
              <a:defRPr/>
            </a:pPr>
            <a:r>
              <a:rPr kumimoji="0" lang="en-US" sz="900" b="1" i="0" u="none" strike="noStrike" kern="0" cap="none" spc="0" normalizeH="0" baseline="0" noProof="0" dirty="0">
                <a:ln>
                  <a:noFill/>
                </a:ln>
                <a:solidFill>
                  <a:srgbClr val="000000"/>
                </a:solidFill>
                <a:effectLst/>
                <a:uLnTx/>
                <a:uFillTx/>
                <a:latin typeface="+mj-lt"/>
                <a:ea typeface="+mn-ea"/>
                <a:cs typeface="+mn-cs"/>
              </a:rPr>
              <a:t>Leading</a:t>
            </a:r>
          </a:p>
        </p:txBody>
      </p:sp>
      <p:sp>
        <p:nvSpPr>
          <p:cNvPr id="43" name="Text Box 115">
            <a:extLst>
              <a:ext uri="{FF2B5EF4-FFF2-40B4-BE49-F238E27FC236}">
                <a16:creationId xmlns:a16="http://schemas.microsoft.com/office/drawing/2014/main" id="{A36352C7-E45E-4B33-A177-9A2F81FBB722}"/>
              </a:ext>
            </a:extLst>
          </p:cNvPr>
          <p:cNvSpPr txBox="1">
            <a:spLocks noChangeArrowheads="1"/>
          </p:cNvSpPr>
          <p:nvPr/>
        </p:nvSpPr>
        <p:spPr bwMode="auto">
          <a:xfrm>
            <a:off x="5807969" y="5981759"/>
            <a:ext cx="945465" cy="230832"/>
          </a:xfrm>
          <a:prstGeom prst="rect">
            <a:avLst/>
          </a:prstGeom>
          <a:noFill/>
          <a:ln w="6350">
            <a:noFill/>
            <a:miter lim="800000"/>
            <a:headEnd/>
            <a:tailEnd/>
          </a:ln>
        </p:spPr>
        <p:txBody>
          <a:bodyPr wrap="square" anchor="ctr">
            <a:spAutoFit/>
          </a:bodyPr>
          <a:lstStyle/>
          <a:p>
            <a:pPr marL="0" marR="0" lvl="0" indent="0" algn="ctr" defTabSz="914400" rtl="0" eaLnBrk="0" fontAlgn="auto" latinLnBrk="0" hangingPunct="0">
              <a:lnSpc>
                <a:spcPct val="100000"/>
              </a:lnSpc>
              <a:spcBef>
                <a:spcPct val="35000"/>
              </a:spcBef>
              <a:spcAft>
                <a:spcPts val="0"/>
              </a:spcAft>
              <a:buClrTx/>
              <a:buSzPct val="60000"/>
              <a:buFont typeface="Wingdings" pitchFamily="2" charset="2"/>
              <a:buNone/>
              <a:tabLst/>
              <a:defRPr/>
            </a:pPr>
            <a:r>
              <a:rPr kumimoji="0" lang="en-US" sz="900" b="1" i="0" u="none" strike="noStrike" kern="0" cap="none" spc="0" normalizeH="0" baseline="0" noProof="0" dirty="0">
                <a:ln>
                  <a:noFill/>
                </a:ln>
                <a:solidFill>
                  <a:srgbClr val="000000"/>
                </a:solidFill>
                <a:effectLst/>
                <a:uLnTx/>
                <a:uFillTx/>
                <a:latin typeface="+mj-lt"/>
                <a:ea typeface="+mn-ea"/>
                <a:cs typeface="+mn-cs"/>
              </a:rPr>
              <a:t>Emerging</a:t>
            </a:r>
          </a:p>
        </p:txBody>
      </p:sp>
      <p:grpSp>
        <p:nvGrpSpPr>
          <p:cNvPr id="44" name="Group 2">
            <a:extLst>
              <a:ext uri="{FF2B5EF4-FFF2-40B4-BE49-F238E27FC236}">
                <a16:creationId xmlns:a16="http://schemas.microsoft.com/office/drawing/2014/main" id="{27836348-08F5-493C-84EC-B2F952FBF9BB}"/>
              </a:ext>
              <a:ext uri="{C183D7F6-B498-43B3-948B-1728B52AA6E4}">
                <adec:decorative xmlns:adec="http://schemas.microsoft.com/office/drawing/2017/decorative" val="1"/>
              </a:ext>
            </a:extLst>
          </p:cNvPr>
          <p:cNvGrpSpPr/>
          <p:nvPr/>
        </p:nvGrpSpPr>
        <p:grpSpPr bwMode="auto">
          <a:xfrm>
            <a:off x="3179677" y="2243402"/>
            <a:ext cx="3449898" cy="3549873"/>
            <a:chOff x="1647825" y="2403617"/>
            <a:chExt cx="3449898" cy="3936208"/>
          </a:xfrm>
        </p:grpSpPr>
        <p:sp>
          <p:nvSpPr>
            <p:cNvPr id="45" name="Line 73">
              <a:extLst>
                <a:ext uri="{FF2B5EF4-FFF2-40B4-BE49-F238E27FC236}">
                  <a16:creationId xmlns:a16="http://schemas.microsoft.com/office/drawing/2014/main" id="{86DB04E9-AA6D-401E-A9BB-3742B27F2775}"/>
                </a:ext>
              </a:extLst>
            </p:cNvPr>
            <p:cNvSpPr>
              <a:spLocks noChangeShapeType="1"/>
            </p:cNvSpPr>
            <p:nvPr/>
          </p:nvSpPr>
          <p:spPr bwMode="auto">
            <a:xfrm flipV="1">
              <a:off x="2357379" y="2436163"/>
              <a:ext cx="0" cy="3903662"/>
            </a:xfrm>
            <a:prstGeom prst="line">
              <a:avLst/>
            </a:prstGeom>
            <a:noFill/>
            <a:ln w="12700" cap="rnd">
              <a:solidFill>
                <a:srgbClr val="96968C"/>
              </a:solidFill>
              <a:prstDash val="dash"/>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6" name="Line 74">
              <a:extLst>
                <a:ext uri="{FF2B5EF4-FFF2-40B4-BE49-F238E27FC236}">
                  <a16:creationId xmlns:a16="http://schemas.microsoft.com/office/drawing/2014/main" id="{165B46C1-6465-49C3-AED9-EEA77DAEDAD8}"/>
                </a:ext>
              </a:extLst>
            </p:cNvPr>
            <p:cNvSpPr>
              <a:spLocks noChangeShapeType="1"/>
            </p:cNvSpPr>
            <p:nvPr/>
          </p:nvSpPr>
          <p:spPr bwMode="auto">
            <a:xfrm flipV="1">
              <a:off x="3397827" y="2436163"/>
              <a:ext cx="0" cy="3903662"/>
            </a:xfrm>
            <a:prstGeom prst="line">
              <a:avLst/>
            </a:prstGeom>
            <a:noFill/>
            <a:ln w="12700" cap="rnd">
              <a:solidFill>
                <a:srgbClr val="96968C"/>
              </a:solidFill>
              <a:prstDash val="dash"/>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7" name="Line 74">
              <a:extLst>
                <a:ext uri="{FF2B5EF4-FFF2-40B4-BE49-F238E27FC236}">
                  <a16:creationId xmlns:a16="http://schemas.microsoft.com/office/drawing/2014/main" id="{15AB8974-5D55-4EE1-B2C3-27A3A9DA0080}"/>
                </a:ext>
              </a:extLst>
            </p:cNvPr>
            <p:cNvSpPr>
              <a:spLocks noChangeShapeType="1"/>
            </p:cNvSpPr>
            <p:nvPr/>
          </p:nvSpPr>
          <p:spPr bwMode="auto">
            <a:xfrm flipV="1">
              <a:off x="4428977" y="2436163"/>
              <a:ext cx="0" cy="3903662"/>
            </a:xfrm>
            <a:prstGeom prst="line">
              <a:avLst/>
            </a:prstGeom>
            <a:noFill/>
            <a:ln w="12700" cap="rnd">
              <a:solidFill>
                <a:srgbClr val="96968C"/>
              </a:solidFill>
              <a:prstDash val="dash"/>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8" name="Line 73">
              <a:extLst>
                <a:ext uri="{FF2B5EF4-FFF2-40B4-BE49-F238E27FC236}">
                  <a16:creationId xmlns:a16="http://schemas.microsoft.com/office/drawing/2014/main" id="{0E5C5434-A25D-4660-9C25-171990C4E299}"/>
                </a:ext>
              </a:extLst>
            </p:cNvPr>
            <p:cNvSpPr>
              <a:spLocks noChangeShapeType="1"/>
            </p:cNvSpPr>
            <p:nvPr/>
          </p:nvSpPr>
          <p:spPr bwMode="auto">
            <a:xfrm flipV="1">
              <a:off x="1647825" y="2423285"/>
              <a:ext cx="0" cy="3903662"/>
            </a:xfrm>
            <a:prstGeom prst="line">
              <a:avLst/>
            </a:prstGeom>
            <a:noFill/>
            <a:ln w="12700" cap="rnd">
              <a:solidFill>
                <a:srgbClr val="96968C"/>
              </a:solidFill>
              <a:prstDash val="dash"/>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9" name="Line 73">
              <a:extLst>
                <a:ext uri="{FF2B5EF4-FFF2-40B4-BE49-F238E27FC236}">
                  <a16:creationId xmlns:a16="http://schemas.microsoft.com/office/drawing/2014/main" id="{F8B85B0C-4689-4CE5-96D4-C888BB913124}"/>
                </a:ext>
              </a:extLst>
            </p:cNvPr>
            <p:cNvSpPr>
              <a:spLocks noChangeShapeType="1"/>
            </p:cNvSpPr>
            <p:nvPr/>
          </p:nvSpPr>
          <p:spPr bwMode="auto">
            <a:xfrm flipV="1">
              <a:off x="5097723" y="2403617"/>
              <a:ext cx="0" cy="3903662"/>
            </a:xfrm>
            <a:prstGeom prst="line">
              <a:avLst/>
            </a:prstGeom>
            <a:noFill/>
            <a:ln w="12700" cap="rnd">
              <a:solidFill>
                <a:srgbClr val="96968C"/>
              </a:solidFill>
              <a:prstDash val="dash"/>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sp>
        <p:nvSpPr>
          <p:cNvPr id="24" name="Rectangle 84">
            <a:extLst>
              <a:ext uri="{FF2B5EF4-FFF2-40B4-BE49-F238E27FC236}">
                <a16:creationId xmlns:a16="http://schemas.microsoft.com/office/drawing/2014/main" id="{EB759983-EE24-489A-A1B2-A807D0297BCD}"/>
              </a:ext>
              <a:ext uri="{C183D7F6-B498-43B3-948B-1728B52AA6E4}">
                <adec:decorative xmlns:adec="http://schemas.microsoft.com/office/drawing/2017/decorative" val="1"/>
              </a:ext>
            </a:extLst>
          </p:cNvPr>
          <p:cNvSpPr>
            <a:spLocks noChangeArrowheads="1"/>
          </p:cNvSpPr>
          <p:nvPr/>
        </p:nvSpPr>
        <p:spPr bwMode="auto">
          <a:xfrm>
            <a:off x="5262563" y="3338517"/>
            <a:ext cx="495300" cy="173038"/>
          </a:xfrm>
          <a:prstGeom prst="rect">
            <a:avLst/>
          </a:prstGeom>
          <a:solidFill>
            <a:srgbClr val="A100FF"/>
          </a:solidFill>
          <a:ln w="9525">
            <a:noFill/>
            <a:miter lim="800000"/>
            <a:headEnd/>
            <a:tailEnd/>
          </a:ln>
        </p:spPr>
        <p:txBody>
          <a:bodyPr wrap="none"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FFFFFF"/>
              </a:solidFill>
              <a:effectLst/>
              <a:uLnTx/>
              <a:uFillTx/>
              <a:latin typeface="Arial"/>
              <a:ea typeface="+mn-ea"/>
              <a:cs typeface="+mn-cs"/>
            </a:endParaRPr>
          </a:p>
        </p:txBody>
      </p:sp>
      <p:sp>
        <p:nvSpPr>
          <p:cNvPr id="25" name="AutoShape 48">
            <a:extLst>
              <a:ext uri="{FF2B5EF4-FFF2-40B4-BE49-F238E27FC236}">
                <a16:creationId xmlns:a16="http://schemas.microsoft.com/office/drawing/2014/main" id="{13917581-6883-4771-B332-2DB49180E47D}"/>
              </a:ext>
              <a:ext uri="{C183D7F6-B498-43B3-948B-1728B52AA6E4}">
                <adec:decorative xmlns:adec="http://schemas.microsoft.com/office/drawing/2017/decorative" val="1"/>
              </a:ext>
            </a:extLst>
          </p:cNvPr>
          <p:cNvSpPr>
            <a:spLocks noChangeArrowheads="1"/>
          </p:cNvSpPr>
          <p:nvPr/>
        </p:nvSpPr>
        <p:spPr bwMode="auto">
          <a:xfrm>
            <a:off x="3897269" y="3296434"/>
            <a:ext cx="196850" cy="185737"/>
          </a:xfrm>
          <a:prstGeom prst="diamond">
            <a:avLst/>
          </a:prstGeom>
          <a:solidFill>
            <a:schemeClr val="accent3"/>
          </a:solidFill>
          <a:ln w="12700" algn="ctr">
            <a:noFill/>
            <a:miter lim="800000"/>
            <a:headEnd/>
            <a:tailEnd/>
          </a:ln>
        </p:spPr>
        <p:txBody>
          <a:bodyPr rot="10800000" vert="eaVert" wrap="none" anchor="ctr"/>
          <a:lstStyle/>
          <a:p>
            <a:endParaRPr lang="en-US" kern="0">
              <a:solidFill>
                <a:srgbClr val="000000"/>
              </a:solidFill>
              <a:latin typeface="Arial"/>
            </a:endParaRPr>
          </a:p>
        </p:txBody>
      </p:sp>
      <p:sp>
        <p:nvSpPr>
          <p:cNvPr id="36" name="AutoShape 48">
            <a:extLst>
              <a:ext uri="{FF2B5EF4-FFF2-40B4-BE49-F238E27FC236}">
                <a16:creationId xmlns:a16="http://schemas.microsoft.com/office/drawing/2014/main" id="{94A0B527-5DA6-4585-A733-9381FD364F85}"/>
              </a:ext>
              <a:ext uri="{C183D7F6-B498-43B3-948B-1728B52AA6E4}">
                <adec:decorative xmlns:adec="http://schemas.microsoft.com/office/drawing/2017/decorative" val="1"/>
              </a:ext>
            </a:extLst>
          </p:cNvPr>
          <p:cNvSpPr>
            <a:spLocks noChangeArrowheads="1"/>
          </p:cNvSpPr>
          <p:nvPr/>
        </p:nvSpPr>
        <p:spPr bwMode="auto">
          <a:xfrm>
            <a:off x="1992314" y="6279075"/>
            <a:ext cx="139811" cy="131918"/>
          </a:xfrm>
          <a:prstGeom prst="diamond">
            <a:avLst/>
          </a:prstGeom>
          <a:solidFill>
            <a:schemeClr val="accent3"/>
          </a:solidFill>
          <a:ln w="12700" algn="ctr">
            <a:noFill/>
            <a:miter lim="800000"/>
            <a:headEnd/>
            <a:tailEnd/>
          </a:ln>
        </p:spPr>
        <p:txBody>
          <a:bodyPr rot="10800000" vert="eaVert" wrap="none" anchor="ctr"/>
          <a:lstStyle/>
          <a:p>
            <a:endParaRPr lang="en-US" kern="0">
              <a:solidFill>
                <a:srgbClr val="000000"/>
              </a:solidFill>
              <a:latin typeface="Arial"/>
            </a:endParaRPr>
          </a:p>
        </p:txBody>
      </p:sp>
      <p:sp>
        <p:nvSpPr>
          <p:cNvPr id="37" name="AutoShape 110">
            <a:extLst>
              <a:ext uri="{FF2B5EF4-FFF2-40B4-BE49-F238E27FC236}">
                <a16:creationId xmlns:a16="http://schemas.microsoft.com/office/drawing/2014/main" id="{5F41339F-DFD0-4BCE-A45E-465929ACA988}"/>
              </a:ext>
              <a:ext uri="{C183D7F6-B498-43B3-948B-1728B52AA6E4}">
                <adec:decorative xmlns:adec="http://schemas.microsoft.com/office/drawing/2017/decorative" val="1"/>
              </a:ext>
            </a:extLst>
          </p:cNvPr>
          <p:cNvSpPr>
            <a:spLocks/>
          </p:cNvSpPr>
          <p:nvPr/>
        </p:nvSpPr>
        <p:spPr bwMode="auto">
          <a:xfrm rot="16200000">
            <a:off x="3424724" y="5511401"/>
            <a:ext cx="205482" cy="711280"/>
          </a:xfrm>
          <a:prstGeom prst="leftBrace">
            <a:avLst>
              <a:gd name="adj1" fmla="val 32353"/>
              <a:gd name="adj2" fmla="val 50000"/>
            </a:avLst>
          </a:prstGeom>
          <a:noFill/>
          <a:ln w="6350">
            <a:solidFill>
              <a:srgbClr val="808080"/>
            </a:solidFill>
            <a:round/>
            <a:headEnd/>
            <a:tailEnd/>
          </a:ln>
        </p:spPr>
        <p:txBody>
          <a:bodyPr wrap="none"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 name="AutoShape 111">
            <a:extLst>
              <a:ext uri="{FF2B5EF4-FFF2-40B4-BE49-F238E27FC236}">
                <a16:creationId xmlns:a16="http://schemas.microsoft.com/office/drawing/2014/main" id="{528D1ED7-E255-4293-9BB0-0CBD2E9068A8}"/>
              </a:ext>
              <a:ext uri="{C183D7F6-B498-43B3-948B-1728B52AA6E4}">
                <adec:decorative xmlns:adec="http://schemas.microsoft.com/office/drawing/2017/decorative" val="1"/>
              </a:ext>
            </a:extLst>
          </p:cNvPr>
          <p:cNvSpPr>
            <a:spLocks/>
          </p:cNvSpPr>
          <p:nvPr/>
        </p:nvSpPr>
        <p:spPr bwMode="auto">
          <a:xfrm rot="16200000">
            <a:off x="5315095" y="5367280"/>
            <a:ext cx="241011" cy="1035052"/>
          </a:xfrm>
          <a:prstGeom prst="leftBrace">
            <a:avLst>
              <a:gd name="adj1" fmla="val 30903"/>
              <a:gd name="adj2" fmla="val 50000"/>
            </a:avLst>
          </a:prstGeom>
          <a:noFill/>
          <a:ln w="6350">
            <a:solidFill>
              <a:srgbClr val="808080"/>
            </a:solidFill>
            <a:round/>
            <a:headEnd/>
            <a:tailEnd/>
          </a:ln>
        </p:spPr>
        <p:txBody>
          <a:bodyPr wrap="none"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 name="AutoShape 112">
            <a:extLst>
              <a:ext uri="{FF2B5EF4-FFF2-40B4-BE49-F238E27FC236}">
                <a16:creationId xmlns:a16="http://schemas.microsoft.com/office/drawing/2014/main" id="{2C80489E-FF88-430C-9A4E-CC6F32299978}"/>
              </a:ext>
              <a:ext uri="{C183D7F6-B498-43B3-948B-1728B52AA6E4}">
                <adec:decorative xmlns:adec="http://schemas.microsoft.com/office/drawing/2017/decorative" val="1"/>
              </a:ext>
            </a:extLst>
          </p:cNvPr>
          <p:cNvSpPr>
            <a:spLocks/>
          </p:cNvSpPr>
          <p:nvPr/>
        </p:nvSpPr>
        <p:spPr bwMode="auto">
          <a:xfrm rot="16200000">
            <a:off x="4298289" y="5347394"/>
            <a:ext cx="206634" cy="1040449"/>
          </a:xfrm>
          <a:prstGeom prst="leftBrace">
            <a:avLst>
              <a:gd name="adj1" fmla="val 32986"/>
              <a:gd name="adj2" fmla="val 50000"/>
            </a:avLst>
          </a:prstGeom>
          <a:noFill/>
          <a:ln w="6350">
            <a:solidFill>
              <a:srgbClr val="808080"/>
            </a:solidFill>
            <a:round/>
            <a:headEnd/>
            <a:tailEnd/>
          </a:ln>
        </p:spPr>
        <p:txBody>
          <a:bodyPr wrap="none"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2" name="AutoShape 110">
            <a:extLst>
              <a:ext uri="{FF2B5EF4-FFF2-40B4-BE49-F238E27FC236}">
                <a16:creationId xmlns:a16="http://schemas.microsoft.com/office/drawing/2014/main" id="{257BAA63-C987-4BC4-AA5C-3893BA44F781}"/>
              </a:ext>
              <a:ext uri="{C183D7F6-B498-43B3-948B-1728B52AA6E4}">
                <adec:decorative xmlns:adec="http://schemas.microsoft.com/office/drawing/2017/decorative" val="1"/>
              </a:ext>
            </a:extLst>
          </p:cNvPr>
          <p:cNvSpPr>
            <a:spLocks/>
          </p:cNvSpPr>
          <p:nvPr/>
        </p:nvSpPr>
        <p:spPr bwMode="auto">
          <a:xfrm rot="16200000">
            <a:off x="6183236" y="5534191"/>
            <a:ext cx="205482" cy="665703"/>
          </a:xfrm>
          <a:prstGeom prst="leftBrace">
            <a:avLst>
              <a:gd name="adj1" fmla="val 32353"/>
              <a:gd name="adj2" fmla="val 50000"/>
            </a:avLst>
          </a:prstGeom>
          <a:noFill/>
          <a:ln w="6350">
            <a:solidFill>
              <a:srgbClr val="808080"/>
            </a:solidFill>
            <a:round/>
            <a:headEnd/>
            <a:tailEnd/>
          </a:ln>
        </p:spPr>
        <p:txBody>
          <a:bodyPr wrap="none"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 name="Text Box 72">
            <a:extLst>
              <a:ext uri="{FF2B5EF4-FFF2-40B4-BE49-F238E27FC236}">
                <a16:creationId xmlns:a16="http://schemas.microsoft.com/office/drawing/2014/main" id="{6E73CE7F-148D-45A4-85ED-E7B8FC8A35A4}"/>
              </a:ext>
            </a:extLst>
          </p:cNvPr>
          <p:cNvSpPr txBox="1">
            <a:spLocks noChangeAspect="1" noChangeArrowheads="1"/>
          </p:cNvSpPr>
          <p:nvPr/>
        </p:nvSpPr>
        <p:spPr bwMode="auto">
          <a:xfrm>
            <a:off x="4105720" y="6237312"/>
            <a:ext cx="3712876" cy="215444"/>
          </a:xfrm>
          <a:prstGeom prst="rect">
            <a:avLst/>
          </a:prstGeom>
          <a:noFill/>
          <a:ln w="9525">
            <a:noFill/>
            <a:miter lim="800000"/>
            <a:headEnd/>
            <a:tailEnd/>
          </a:ln>
        </p:spPr>
        <p:txBody>
          <a:bodyPr wrap="non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ea typeface="+mn-ea"/>
                <a:cs typeface="+mn-cs"/>
              </a:rPr>
              <a:t>Suggested Company Competency Range based on Industry information</a:t>
            </a:r>
          </a:p>
        </p:txBody>
      </p:sp>
      <p:sp>
        <p:nvSpPr>
          <p:cNvPr id="10" name="Rectangle 69">
            <a:extLst>
              <a:ext uri="{FF2B5EF4-FFF2-40B4-BE49-F238E27FC236}">
                <a16:creationId xmlns:a16="http://schemas.microsoft.com/office/drawing/2014/main" id="{758C902C-C7A8-4378-9F1C-92171C925B90}"/>
              </a:ext>
              <a:ext uri="{C183D7F6-B498-43B3-948B-1728B52AA6E4}">
                <adec:decorative xmlns:adec="http://schemas.microsoft.com/office/drawing/2017/decorative" val="1"/>
              </a:ext>
            </a:extLst>
          </p:cNvPr>
          <p:cNvSpPr>
            <a:spLocks noChangeAspect="1" noChangeArrowheads="1"/>
          </p:cNvSpPr>
          <p:nvPr/>
        </p:nvSpPr>
        <p:spPr bwMode="auto">
          <a:xfrm>
            <a:off x="3791745" y="6287644"/>
            <a:ext cx="409525" cy="114780"/>
          </a:xfrm>
          <a:prstGeom prst="rect">
            <a:avLst/>
          </a:prstGeom>
          <a:solidFill>
            <a:srgbClr val="A100FF"/>
          </a:solidFill>
          <a:ln w="9525">
            <a:noFill/>
            <a:miter lim="800000"/>
            <a:headEnd/>
            <a:tailEnd/>
          </a:ln>
        </p:spPr>
        <p:txBody>
          <a:bodyPr wrap="none"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mn-cs"/>
            </a:endParaRPr>
          </a:p>
        </p:txBody>
      </p:sp>
      <p:sp>
        <p:nvSpPr>
          <p:cNvPr id="3" name="Footer Placeholder 2">
            <a:extLst>
              <a:ext uri="{FF2B5EF4-FFF2-40B4-BE49-F238E27FC236}">
                <a16:creationId xmlns:a16="http://schemas.microsoft.com/office/drawing/2014/main" id="{83B8B484-09A4-45B2-9B37-777EE0060B5A}"/>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5" name="Slide Number Placeholder 54">
            <a:extLst>
              <a:ext uri="{FF2B5EF4-FFF2-40B4-BE49-F238E27FC236}">
                <a16:creationId xmlns:a16="http://schemas.microsoft.com/office/drawing/2014/main" id="{D5C82764-F0F8-4321-A3F6-CEF403937D5D}"/>
              </a:ext>
            </a:extLst>
          </p:cNvPr>
          <p:cNvSpPr>
            <a:spLocks noGrp="1"/>
          </p:cNvSpPr>
          <p:nvPr>
            <p:ph type="sldNum" sz="quarter" idx="10"/>
          </p:nvPr>
        </p:nvSpPr>
        <p:spPr/>
        <p:txBody>
          <a:bodyPr/>
          <a:lstStyle/>
          <a:p>
            <a:fld id="{1F90F471-3972-4120-B8B3-0237DE626C35}" type="slidenum">
              <a:rPr lang="en-US" smtClean="0"/>
              <a:pPr/>
              <a:t>380</a:t>
            </a:fld>
            <a:endParaRPr lang="en-US" dirty="0"/>
          </a:p>
        </p:txBody>
      </p:sp>
    </p:spTree>
    <p:extLst>
      <p:ext uri="{BB962C8B-B14F-4D97-AF65-F5344CB8AC3E}">
        <p14:creationId xmlns:p14="http://schemas.microsoft.com/office/powerpoint/2010/main" val="974995703"/>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Maturity Model 2</a:t>
            </a:r>
          </a:p>
        </p:txBody>
      </p:sp>
      <p:grpSp>
        <p:nvGrpSpPr>
          <p:cNvPr id="71" name="Group 60" descr="Example">
            <a:extLst>
              <a:ext uri="{FF2B5EF4-FFF2-40B4-BE49-F238E27FC236}">
                <a16:creationId xmlns:a16="http://schemas.microsoft.com/office/drawing/2014/main" id="{2EE3AA8E-EEB5-40F1-9565-AA3D997C676E}"/>
              </a:ext>
            </a:extLst>
          </p:cNvPr>
          <p:cNvGrpSpPr/>
          <p:nvPr>
            <p:custDataLst>
              <p:tags r:id="rId1"/>
            </p:custDataLst>
          </p:nvPr>
        </p:nvGrpSpPr>
        <p:grpSpPr bwMode="auto">
          <a:xfrm>
            <a:off x="9399007" y="646379"/>
            <a:ext cx="919275" cy="430887"/>
            <a:chOff x="7949419" y="1416279"/>
            <a:chExt cx="737381" cy="430887"/>
          </a:xfrm>
        </p:grpSpPr>
        <p:sp>
          <p:nvSpPr>
            <p:cNvPr id="72" name="TextBox 71">
              <a:extLst>
                <a:ext uri="{FF2B5EF4-FFF2-40B4-BE49-F238E27FC236}">
                  <a16:creationId xmlns:a16="http://schemas.microsoft.com/office/drawing/2014/main" id="{60AA4B0A-0ACA-47DF-AACE-C70BB679CB1E}"/>
                </a:ext>
              </a:extLst>
            </p:cNvPr>
            <p:cNvSpPr txBox="1"/>
            <p:nvPr/>
          </p:nvSpPr>
          <p:spPr bwMode="auto">
            <a:xfrm>
              <a:off x="7949419" y="1416279"/>
              <a:ext cx="737381" cy="430887"/>
            </a:xfrm>
            <a:prstGeom prst="rect">
              <a:avLst/>
            </a:prstGeom>
            <a:noFill/>
          </p:spPr>
          <p:txBody>
            <a:bodyPr vert="horz"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Example</a:t>
              </a:r>
            </a:p>
          </p:txBody>
        </p:sp>
        <p:cxnSp>
          <p:nvCxnSpPr>
            <p:cNvPr id="73" name="Straight Connector 72">
              <a:extLst>
                <a:ext uri="{FF2B5EF4-FFF2-40B4-BE49-F238E27FC236}">
                  <a16:creationId xmlns:a16="http://schemas.microsoft.com/office/drawing/2014/main" id="{25FFAEBA-5FE6-47DF-BC1C-8281E3CE8A0B}"/>
                </a:ext>
              </a:extLst>
            </p:cNvPr>
            <p:cNvCxnSpPr/>
            <p:nvPr/>
          </p:nvCxnSpPr>
          <p:spPr bwMode="auto">
            <a:xfrm>
              <a:off x="7949419" y="1498600"/>
              <a:ext cx="737381" cy="0"/>
            </a:xfrm>
            <a:prstGeom prst="line">
              <a:avLst/>
            </a:prstGeom>
            <a:noFill/>
            <a:ln w="12700" cap="flat" cmpd="sng" algn="ctr">
              <a:solidFill>
                <a:srgbClr val="000000"/>
              </a:solidFill>
              <a:prstDash val="solid"/>
              <a:headEnd type="none"/>
              <a:tailEnd type="none"/>
            </a:ln>
            <a:effectLst/>
          </p:spPr>
        </p:cxnSp>
        <p:cxnSp>
          <p:nvCxnSpPr>
            <p:cNvPr id="74" name="Straight Connector 73">
              <a:extLst>
                <a:ext uri="{FF2B5EF4-FFF2-40B4-BE49-F238E27FC236}">
                  <a16:creationId xmlns:a16="http://schemas.microsoft.com/office/drawing/2014/main" id="{0C92205F-9E89-4042-B3FA-1875CFDBCD9F}"/>
                </a:ext>
              </a:extLst>
            </p:cNvPr>
            <p:cNvCxnSpPr/>
            <p:nvPr/>
          </p:nvCxnSpPr>
          <p:spPr bwMode="auto">
            <a:xfrm>
              <a:off x="7949419" y="1764844"/>
              <a:ext cx="737381" cy="0"/>
            </a:xfrm>
            <a:prstGeom prst="line">
              <a:avLst/>
            </a:prstGeom>
            <a:noFill/>
            <a:ln w="12700" cap="flat" cmpd="sng" algn="ctr">
              <a:solidFill>
                <a:srgbClr val="000000"/>
              </a:solidFill>
              <a:prstDash val="solid"/>
              <a:headEnd type="none"/>
              <a:tailEnd type="none"/>
            </a:ln>
            <a:effectLst/>
          </p:spPr>
        </p:cxnSp>
      </p:grpSp>
      <p:sp>
        <p:nvSpPr>
          <p:cNvPr id="6" name="Text Box 4">
            <a:extLst>
              <a:ext uri="{FF2B5EF4-FFF2-40B4-BE49-F238E27FC236}">
                <a16:creationId xmlns:a16="http://schemas.microsoft.com/office/drawing/2014/main" id="{4C25FC85-C20A-4D0E-9364-985567667C88}"/>
              </a:ext>
            </a:extLst>
          </p:cNvPr>
          <p:cNvSpPr txBox="1">
            <a:spLocks noChangeArrowheads="1"/>
          </p:cNvSpPr>
          <p:nvPr/>
        </p:nvSpPr>
        <p:spPr bwMode="auto">
          <a:xfrm>
            <a:off x="1992314" y="1296420"/>
            <a:ext cx="8207375" cy="701731"/>
          </a:xfrm>
          <a:prstGeom prst="rect">
            <a:avLst/>
          </a:prstGeom>
          <a:noFill/>
          <a:ln w="9525">
            <a:noFill/>
            <a:miter lim="800000"/>
            <a:headEnd/>
            <a:tailEnd/>
          </a:ln>
        </p:spPr>
        <p:txBody>
          <a:bodyPr wrap="square" lIns="0" tIns="0" rIns="0" bIns="0">
            <a:spAutoFit/>
          </a:bodyPr>
          <a:lstStyle/>
          <a:p>
            <a:pPr marL="0" marR="0" lvl="0" indent="0" algn="l" defTabSz="914400" rtl="0" eaLnBrk="0" fontAlgn="auto" latinLnBrk="0" hangingPunct="0">
              <a:lnSpc>
                <a:spcPct val="95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After analyzing the current state with qualitative and quantitative data, map current vs. future agreed upon state.  Realize that it is unnecessary and sometimes fiscally irresponsible to be “Progressive” in every capability.</a:t>
            </a:r>
          </a:p>
        </p:txBody>
      </p:sp>
      <p:grpSp>
        <p:nvGrpSpPr>
          <p:cNvPr id="8" name="Group 14" descr="Model details">
            <a:extLst>
              <a:ext uri="{FF2B5EF4-FFF2-40B4-BE49-F238E27FC236}">
                <a16:creationId xmlns:a16="http://schemas.microsoft.com/office/drawing/2014/main" id="{9A03835D-3F56-4BA5-8FB6-DB29844E462A}"/>
              </a:ext>
            </a:extLst>
          </p:cNvPr>
          <p:cNvGrpSpPr/>
          <p:nvPr/>
        </p:nvGrpSpPr>
        <p:grpSpPr bwMode="auto">
          <a:xfrm>
            <a:off x="1955541" y="2337844"/>
            <a:ext cx="7705857" cy="4004839"/>
            <a:chOff x="431540" y="2337843"/>
            <a:chExt cx="7705857" cy="4004839"/>
          </a:xfrm>
        </p:grpSpPr>
        <p:sp>
          <p:nvSpPr>
            <p:cNvPr id="9" name="Text Box 13">
              <a:extLst>
                <a:ext uri="{FF2B5EF4-FFF2-40B4-BE49-F238E27FC236}">
                  <a16:creationId xmlns:a16="http://schemas.microsoft.com/office/drawing/2014/main" id="{A83B219F-069B-4032-91C8-A91C327CD05F}"/>
                </a:ext>
              </a:extLst>
            </p:cNvPr>
            <p:cNvSpPr txBox="1">
              <a:spLocks noChangeArrowheads="1"/>
            </p:cNvSpPr>
            <p:nvPr/>
          </p:nvSpPr>
          <p:spPr bwMode="auto">
            <a:xfrm>
              <a:off x="5523345" y="6181099"/>
              <a:ext cx="1251218" cy="161583"/>
            </a:xfrm>
            <a:prstGeom prst="rect">
              <a:avLst/>
            </a:prstGeom>
            <a:noFill/>
            <a:ln w="12700">
              <a:noFill/>
              <a:miter lim="800000"/>
              <a:headEnd/>
              <a:tailEnd/>
            </a:ln>
          </p:spPr>
          <p:txBody>
            <a:bodyPr wrap="square" lIns="0" tIns="0" rIns="0" bIns="0">
              <a:spAutoFit/>
            </a:body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mj-lt"/>
                  <a:ea typeface="+mn-ea"/>
                  <a:cs typeface="+mn-cs"/>
                </a:rPr>
                <a:t>Leading</a:t>
              </a:r>
            </a:p>
          </p:txBody>
        </p:sp>
        <p:sp>
          <p:nvSpPr>
            <p:cNvPr id="10" name="Text Box 14">
              <a:extLst>
                <a:ext uri="{FF2B5EF4-FFF2-40B4-BE49-F238E27FC236}">
                  <a16:creationId xmlns:a16="http://schemas.microsoft.com/office/drawing/2014/main" id="{7CF11A20-A61A-4ABE-891F-9E24EF3BF29C}"/>
                </a:ext>
              </a:extLst>
            </p:cNvPr>
            <p:cNvSpPr txBox="1">
              <a:spLocks noChangeArrowheads="1"/>
            </p:cNvSpPr>
            <p:nvPr/>
          </p:nvSpPr>
          <p:spPr bwMode="auto">
            <a:xfrm>
              <a:off x="2519772" y="6181099"/>
              <a:ext cx="1295979" cy="161583"/>
            </a:xfrm>
            <a:prstGeom prst="rect">
              <a:avLst/>
            </a:prstGeom>
            <a:noFill/>
            <a:ln w="12700">
              <a:noFill/>
              <a:miter lim="800000"/>
              <a:headEnd/>
              <a:tailEnd/>
            </a:ln>
          </p:spPr>
          <p:txBody>
            <a:bodyPr wrap="square" lIns="0" tIns="0" rIns="0" bIns="0">
              <a:spAutoFit/>
            </a:body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mj-lt"/>
                  <a:ea typeface="+mn-ea"/>
                  <a:cs typeface="+mn-cs"/>
                </a:rPr>
                <a:t>Basic</a:t>
              </a:r>
            </a:p>
          </p:txBody>
        </p:sp>
        <p:sp>
          <p:nvSpPr>
            <p:cNvPr id="11" name="Text Box 15">
              <a:extLst>
                <a:ext uri="{FF2B5EF4-FFF2-40B4-BE49-F238E27FC236}">
                  <a16:creationId xmlns:a16="http://schemas.microsoft.com/office/drawing/2014/main" id="{52CEA7D8-1751-4E58-A4DA-BCA12356077C}"/>
                </a:ext>
              </a:extLst>
            </p:cNvPr>
            <p:cNvSpPr txBox="1">
              <a:spLocks noChangeArrowheads="1"/>
            </p:cNvSpPr>
            <p:nvPr/>
          </p:nvSpPr>
          <p:spPr bwMode="auto">
            <a:xfrm>
              <a:off x="4104507" y="6181099"/>
              <a:ext cx="1110839" cy="161583"/>
            </a:xfrm>
            <a:prstGeom prst="rect">
              <a:avLst/>
            </a:prstGeom>
            <a:noFill/>
            <a:ln w="12700">
              <a:noFill/>
              <a:miter lim="800000"/>
              <a:headEnd/>
              <a:tailEnd/>
            </a:ln>
          </p:spPr>
          <p:txBody>
            <a:bodyPr wrap="square" lIns="0" tIns="0" rIns="0" bIns="0">
              <a:spAutoFit/>
            </a:body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mj-lt"/>
                  <a:ea typeface="+mn-ea"/>
                  <a:cs typeface="+mn-cs"/>
                </a:rPr>
                <a:t>Advanced</a:t>
              </a:r>
            </a:p>
          </p:txBody>
        </p:sp>
        <p:grpSp>
          <p:nvGrpSpPr>
            <p:cNvPr id="12" name="Group 2">
              <a:extLst>
                <a:ext uri="{FF2B5EF4-FFF2-40B4-BE49-F238E27FC236}">
                  <a16:creationId xmlns:a16="http://schemas.microsoft.com/office/drawing/2014/main" id="{FC0D2FFF-06B3-41A1-A463-BE286FC672A4}"/>
                </a:ext>
              </a:extLst>
            </p:cNvPr>
            <p:cNvGrpSpPr/>
            <p:nvPr/>
          </p:nvGrpSpPr>
          <p:grpSpPr bwMode="auto">
            <a:xfrm>
              <a:off x="461689" y="2337843"/>
              <a:ext cx="7675708" cy="272955"/>
              <a:chOff x="461689" y="2337263"/>
              <a:chExt cx="7675708" cy="272955"/>
            </a:xfrm>
          </p:grpSpPr>
          <p:cxnSp>
            <p:nvCxnSpPr>
              <p:cNvPr id="60" name="AutoShape 33">
                <a:extLst>
                  <a:ext uri="{FF2B5EF4-FFF2-40B4-BE49-F238E27FC236}">
                    <a16:creationId xmlns:a16="http://schemas.microsoft.com/office/drawing/2014/main" id="{285ED1AB-0101-42F9-A32E-CB633AB1B8E7}"/>
                  </a:ext>
                </a:extLst>
              </p:cNvPr>
              <p:cNvCxnSpPr>
                <a:cxnSpLocks noChangeShapeType="1"/>
              </p:cNvCxnSpPr>
              <p:nvPr/>
            </p:nvCxnSpPr>
            <p:spPr bwMode="auto">
              <a:xfrm>
                <a:off x="2759215" y="2473740"/>
                <a:ext cx="5247822" cy="0"/>
              </a:xfrm>
              <a:prstGeom prst="straightConnector1">
                <a:avLst/>
              </a:prstGeom>
              <a:noFill/>
              <a:ln w="12700">
                <a:solidFill>
                  <a:srgbClr val="B455AA"/>
                </a:solidFill>
                <a:prstDash val="dash"/>
                <a:round/>
                <a:headEnd type="none" w="sm" len="sm"/>
                <a:tailEnd type="none" w="sm" len="sm"/>
              </a:ln>
            </p:spPr>
          </p:cxnSp>
          <p:sp>
            <p:nvSpPr>
              <p:cNvPr id="61" name="Text Box 34">
                <a:extLst>
                  <a:ext uri="{FF2B5EF4-FFF2-40B4-BE49-F238E27FC236}">
                    <a16:creationId xmlns:a16="http://schemas.microsoft.com/office/drawing/2014/main" id="{B61A2944-7C41-4363-B454-D6BD0E842BFD}"/>
                  </a:ext>
                </a:extLst>
              </p:cNvPr>
              <p:cNvSpPr txBox="1">
                <a:spLocks noChangeArrowheads="1"/>
              </p:cNvSpPr>
              <p:nvPr/>
            </p:nvSpPr>
            <p:spPr bwMode="auto">
              <a:xfrm>
                <a:off x="461689" y="2400217"/>
                <a:ext cx="2482850" cy="169277"/>
              </a:xfrm>
              <a:prstGeom prst="rect">
                <a:avLst/>
              </a:prstGeom>
              <a:noFill/>
              <a:ln w="12700">
                <a:noFill/>
                <a:miter lim="800000"/>
                <a:headEnd/>
                <a:tailEnd/>
              </a:ln>
            </p:spPr>
            <p:txBody>
              <a:bodyPr lIns="0" tIns="0" rIns="0" bIns="0">
                <a:spAutoFit/>
              </a:bodyPr>
              <a:lstStyle/>
              <a:p>
                <a:pPr marL="0" marR="0" lvl="0" indent="0" algn="l" defTabSz="914400" rtl="0" eaLnBrk="1" fontAlgn="auto" latinLnBrk="0" hangingPunct="1">
                  <a:lnSpc>
                    <a:spcPct val="100000"/>
                  </a:lnSpc>
                  <a:spcBef>
                    <a:spcPct val="30000"/>
                  </a:spcBef>
                  <a:spcAft>
                    <a:spcPts val="0"/>
                  </a:spcAft>
                  <a:buClr>
                    <a:srgbClr val="993333"/>
                  </a:buClr>
                  <a:buSzTx/>
                  <a:buFontTx/>
                  <a:buNone/>
                  <a:tabLst>
                    <a:tab pos="2400300" algn="l"/>
                  </a:tabLst>
                  <a:defRPr/>
                </a:pPr>
                <a:r>
                  <a:rPr kumimoji="0" lang="en-US" sz="1100" b="0" i="0" u="none" strike="noStrike" kern="0" cap="none" spc="0" normalizeH="0" baseline="0" noProof="0" dirty="0">
                    <a:ln>
                      <a:noFill/>
                    </a:ln>
                    <a:solidFill>
                      <a:srgbClr val="000000"/>
                    </a:solidFill>
                    <a:effectLst/>
                    <a:uLnTx/>
                    <a:uFillTx/>
                    <a:ea typeface="+mn-ea"/>
                    <a:cs typeface="+mn-cs"/>
                  </a:rPr>
                  <a:t>Integrated Supply Chain</a:t>
                </a:r>
              </a:p>
            </p:txBody>
          </p:sp>
          <p:sp>
            <p:nvSpPr>
              <p:cNvPr id="62" name="AutoShape 31">
                <a:extLst>
                  <a:ext uri="{FF2B5EF4-FFF2-40B4-BE49-F238E27FC236}">
                    <a16:creationId xmlns:a16="http://schemas.microsoft.com/office/drawing/2014/main" id="{0EAD95F2-6184-4710-BA32-C60EA5DABB85}"/>
                  </a:ext>
                </a:extLst>
              </p:cNvPr>
              <p:cNvSpPr>
                <a:spLocks noChangeArrowheads="1"/>
              </p:cNvSpPr>
              <p:nvPr/>
            </p:nvSpPr>
            <p:spPr bwMode="auto">
              <a:xfrm>
                <a:off x="2627184" y="2383253"/>
                <a:ext cx="264062" cy="180975"/>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3" name="AutoShape 32">
                <a:extLst>
                  <a:ext uri="{FF2B5EF4-FFF2-40B4-BE49-F238E27FC236}">
                    <a16:creationId xmlns:a16="http://schemas.microsoft.com/office/drawing/2014/main" id="{7DD40229-6333-42C7-8A70-CE2C0D637317}"/>
                  </a:ext>
                </a:extLst>
              </p:cNvPr>
              <p:cNvSpPr>
                <a:spLocks noChangeArrowheads="1"/>
              </p:cNvSpPr>
              <p:nvPr/>
            </p:nvSpPr>
            <p:spPr bwMode="auto">
              <a:xfrm>
                <a:off x="7875006" y="2383253"/>
                <a:ext cx="262391" cy="180975"/>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4" name="AutoShape 48">
                <a:extLst>
                  <a:ext uri="{FF2B5EF4-FFF2-40B4-BE49-F238E27FC236}">
                    <a16:creationId xmlns:a16="http://schemas.microsoft.com/office/drawing/2014/main" id="{9B77D9A4-1866-42FB-AE59-19CCF69AAEE9}"/>
                  </a:ext>
                </a:extLst>
              </p:cNvPr>
              <p:cNvSpPr>
                <a:spLocks noChangeArrowheads="1"/>
              </p:cNvSpPr>
              <p:nvPr/>
            </p:nvSpPr>
            <p:spPr bwMode="auto">
              <a:xfrm>
                <a:off x="3778363" y="2380872"/>
                <a:ext cx="196850" cy="185737"/>
              </a:xfrm>
              <a:prstGeom prst="diamond">
                <a:avLst/>
              </a:prstGeom>
              <a:solidFill>
                <a:schemeClr val="accent3"/>
              </a:solidFill>
              <a:ln w="12700" algn="ctr">
                <a:noFill/>
                <a:miter lim="800000"/>
                <a:headEnd/>
                <a:tailEnd/>
              </a:ln>
            </p:spPr>
            <p:txBody>
              <a:bodyPr rot="10800000" vert="eaVert"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5" name="5-Point Star 59">
                <a:extLst>
                  <a:ext uri="{FF2B5EF4-FFF2-40B4-BE49-F238E27FC236}">
                    <a16:creationId xmlns:a16="http://schemas.microsoft.com/office/drawing/2014/main" id="{7ADAD692-0E02-48DF-83C0-1B0728136645}"/>
                  </a:ext>
                </a:extLst>
              </p:cNvPr>
              <p:cNvSpPr/>
              <p:nvPr/>
            </p:nvSpPr>
            <p:spPr bwMode="auto">
              <a:xfrm>
                <a:off x="5650167" y="2337263"/>
                <a:ext cx="272955" cy="272955"/>
              </a:xfrm>
              <a:prstGeom prst="star5">
                <a:avLst/>
              </a:prstGeom>
              <a:solidFill>
                <a:srgbClr val="A100FF"/>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00000"/>
                  </a:solidFill>
                  <a:effectLst/>
                  <a:uLnTx/>
                  <a:uFillTx/>
                  <a:latin typeface="Arial" charset="0"/>
                  <a:ea typeface="+mn-ea"/>
                  <a:cs typeface="+mn-cs"/>
                </a:endParaRPr>
              </a:p>
            </p:txBody>
          </p:sp>
        </p:grpSp>
        <p:grpSp>
          <p:nvGrpSpPr>
            <p:cNvPr id="13" name="Group 4">
              <a:extLst>
                <a:ext uri="{FF2B5EF4-FFF2-40B4-BE49-F238E27FC236}">
                  <a16:creationId xmlns:a16="http://schemas.microsoft.com/office/drawing/2014/main" id="{35A07D6D-8F62-4C6B-97C0-728561AD0C5E}"/>
                </a:ext>
              </a:extLst>
            </p:cNvPr>
            <p:cNvGrpSpPr/>
            <p:nvPr/>
          </p:nvGrpSpPr>
          <p:grpSpPr bwMode="auto">
            <a:xfrm>
              <a:off x="431540" y="2888117"/>
              <a:ext cx="7705857" cy="272955"/>
              <a:chOff x="431540" y="2899669"/>
              <a:chExt cx="7705857" cy="272955"/>
            </a:xfrm>
          </p:grpSpPr>
          <p:cxnSp>
            <p:nvCxnSpPr>
              <p:cNvPr id="54" name="AutoShape 29">
                <a:extLst>
                  <a:ext uri="{FF2B5EF4-FFF2-40B4-BE49-F238E27FC236}">
                    <a16:creationId xmlns:a16="http://schemas.microsoft.com/office/drawing/2014/main" id="{145B64E2-4079-4023-A014-EEE864DEF58F}"/>
                  </a:ext>
                </a:extLst>
              </p:cNvPr>
              <p:cNvCxnSpPr>
                <a:cxnSpLocks noChangeShapeType="1"/>
              </p:cNvCxnSpPr>
              <p:nvPr/>
            </p:nvCxnSpPr>
            <p:spPr bwMode="auto">
              <a:xfrm>
                <a:off x="2759215" y="3036146"/>
                <a:ext cx="5247822" cy="0"/>
              </a:xfrm>
              <a:prstGeom prst="straightConnector1">
                <a:avLst/>
              </a:prstGeom>
              <a:noFill/>
              <a:ln w="12700">
                <a:solidFill>
                  <a:srgbClr val="B455AA"/>
                </a:solidFill>
                <a:prstDash val="dash"/>
                <a:round/>
                <a:headEnd type="none" w="sm" len="sm"/>
                <a:tailEnd type="none" w="sm" len="sm"/>
              </a:ln>
            </p:spPr>
          </p:cxnSp>
          <p:sp>
            <p:nvSpPr>
              <p:cNvPr id="55" name="AutoShape 27">
                <a:extLst>
                  <a:ext uri="{FF2B5EF4-FFF2-40B4-BE49-F238E27FC236}">
                    <a16:creationId xmlns:a16="http://schemas.microsoft.com/office/drawing/2014/main" id="{702AB50A-A613-4557-BE56-D4048BF43FC5}"/>
                  </a:ext>
                </a:extLst>
              </p:cNvPr>
              <p:cNvSpPr>
                <a:spLocks noChangeArrowheads="1"/>
              </p:cNvSpPr>
              <p:nvPr/>
            </p:nvSpPr>
            <p:spPr bwMode="auto">
              <a:xfrm>
                <a:off x="2627184" y="2945659"/>
                <a:ext cx="264062" cy="180975"/>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6" name="AutoShape 28">
                <a:extLst>
                  <a:ext uri="{FF2B5EF4-FFF2-40B4-BE49-F238E27FC236}">
                    <a16:creationId xmlns:a16="http://schemas.microsoft.com/office/drawing/2014/main" id="{19197FF3-2746-4BDB-B95F-13F58E062B8D}"/>
                  </a:ext>
                </a:extLst>
              </p:cNvPr>
              <p:cNvSpPr>
                <a:spLocks noChangeArrowheads="1"/>
              </p:cNvSpPr>
              <p:nvPr/>
            </p:nvSpPr>
            <p:spPr bwMode="auto">
              <a:xfrm>
                <a:off x="7875006" y="2945659"/>
                <a:ext cx="262391" cy="180975"/>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7" name="Text Box 35">
                <a:extLst>
                  <a:ext uri="{FF2B5EF4-FFF2-40B4-BE49-F238E27FC236}">
                    <a16:creationId xmlns:a16="http://schemas.microsoft.com/office/drawing/2014/main" id="{3733BC1D-D07D-4E6D-A9B1-0A7BF81A76A4}"/>
                  </a:ext>
                </a:extLst>
              </p:cNvPr>
              <p:cNvSpPr txBox="1">
                <a:spLocks noChangeArrowheads="1"/>
              </p:cNvSpPr>
              <p:nvPr/>
            </p:nvSpPr>
            <p:spPr bwMode="auto">
              <a:xfrm>
                <a:off x="431540" y="2921178"/>
                <a:ext cx="2201863" cy="169277"/>
              </a:xfrm>
              <a:prstGeom prst="rect">
                <a:avLst/>
              </a:prstGeom>
              <a:noFill/>
              <a:ln w="12700">
                <a:noFill/>
                <a:miter lim="800000"/>
                <a:headEnd/>
                <a:tailEnd/>
              </a:ln>
            </p:spPr>
            <p:txBody>
              <a:bodyPr lIns="0" tIns="0" rIns="0" bIns="0">
                <a:spAutoFit/>
              </a:bodyPr>
              <a:lstStyle/>
              <a:p>
                <a:pPr marL="0" marR="0" lvl="0" indent="0" algn="l" defTabSz="914400" rtl="0" eaLnBrk="1" fontAlgn="auto" latinLnBrk="0" hangingPunct="1">
                  <a:lnSpc>
                    <a:spcPct val="100000"/>
                  </a:lnSpc>
                  <a:spcBef>
                    <a:spcPct val="30000"/>
                  </a:spcBef>
                  <a:spcAft>
                    <a:spcPts val="0"/>
                  </a:spcAft>
                  <a:buClr>
                    <a:srgbClr val="993333"/>
                  </a:buClr>
                  <a:buSzTx/>
                  <a:buFontTx/>
                  <a:buNone/>
                  <a:tabLst>
                    <a:tab pos="2400300" algn="l"/>
                  </a:tabLst>
                  <a:defRPr/>
                </a:pPr>
                <a:r>
                  <a:rPr kumimoji="0" lang="en-US" sz="1100" b="0" i="0" u="none" strike="noStrike" kern="0" cap="none" spc="0" normalizeH="0" baseline="0" noProof="0" dirty="0">
                    <a:ln>
                      <a:noFill/>
                    </a:ln>
                    <a:solidFill>
                      <a:srgbClr val="000000"/>
                    </a:solidFill>
                    <a:effectLst/>
                    <a:uLnTx/>
                    <a:uFillTx/>
                    <a:ea typeface="+mn-ea"/>
                    <a:cs typeface="+mn-cs"/>
                  </a:rPr>
                  <a:t>Clients Collaboration</a:t>
                </a:r>
              </a:p>
            </p:txBody>
          </p:sp>
          <p:sp>
            <p:nvSpPr>
              <p:cNvPr id="58" name="AutoShape 51">
                <a:extLst>
                  <a:ext uri="{FF2B5EF4-FFF2-40B4-BE49-F238E27FC236}">
                    <a16:creationId xmlns:a16="http://schemas.microsoft.com/office/drawing/2014/main" id="{BE872C59-2B98-44B4-803E-218EE74B7D48}"/>
                  </a:ext>
                </a:extLst>
              </p:cNvPr>
              <p:cNvSpPr>
                <a:spLocks noChangeArrowheads="1"/>
              </p:cNvSpPr>
              <p:nvPr/>
            </p:nvSpPr>
            <p:spPr bwMode="auto">
              <a:xfrm>
                <a:off x="3778363" y="2943277"/>
                <a:ext cx="196850" cy="185738"/>
              </a:xfrm>
              <a:prstGeom prst="diamond">
                <a:avLst/>
              </a:prstGeom>
              <a:solidFill>
                <a:schemeClr val="accent3"/>
              </a:solidFill>
              <a:ln w="12700" algn="ctr">
                <a:noFill/>
                <a:miter lim="800000"/>
                <a:headEnd/>
                <a:tailEnd/>
              </a:ln>
            </p:spPr>
            <p:txBody>
              <a:bodyPr rot="10800000" vert="eaVert"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9" name="5-Point Star 60">
                <a:extLst>
                  <a:ext uri="{FF2B5EF4-FFF2-40B4-BE49-F238E27FC236}">
                    <a16:creationId xmlns:a16="http://schemas.microsoft.com/office/drawing/2014/main" id="{C1D07ABC-F406-456B-8FB7-7DEDCAFF0CBB}"/>
                  </a:ext>
                </a:extLst>
              </p:cNvPr>
              <p:cNvSpPr/>
              <p:nvPr/>
            </p:nvSpPr>
            <p:spPr bwMode="auto">
              <a:xfrm>
                <a:off x="7017227" y="2899669"/>
                <a:ext cx="272955" cy="272955"/>
              </a:xfrm>
              <a:prstGeom prst="star5">
                <a:avLst/>
              </a:prstGeom>
              <a:solidFill>
                <a:srgbClr val="A100FF"/>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00000"/>
                  </a:solidFill>
                  <a:effectLst/>
                  <a:uLnTx/>
                  <a:uFillTx/>
                  <a:latin typeface="Arial" charset="0"/>
                  <a:ea typeface="+mn-ea"/>
                  <a:cs typeface="+mn-cs"/>
                </a:endParaRPr>
              </a:p>
            </p:txBody>
          </p:sp>
        </p:grpSp>
        <p:grpSp>
          <p:nvGrpSpPr>
            <p:cNvPr id="14" name="Group 5">
              <a:extLst>
                <a:ext uri="{FF2B5EF4-FFF2-40B4-BE49-F238E27FC236}">
                  <a16:creationId xmlns:a16="http://schemas.microsoft.com/office/drawing/2014/main" id="{FC234DBC-5B20-4199-AD94-1A2035A0A464}"/>
                </a:ext>
              </a:extLst>
            </p:cNvPr>
            <p:cNvGrpSpPr/>
            <p:nvPr/>
          </p:nvGrpSpPr>
          <p:grpSpPr bwMode="auto">
            <a:xfrm>
              <a:off x="431540" y="3438391"/>
              <a:ext cx="7705857" cy="272955"/>
              <a:chOff x="431540" y="3440466"/>
              <a:chExt cx="7705857" cy="272955"/>
            </a:xfrm>
          </p:grpSpPr>
          <p:cxnSp>
            <p:nvCxnSpPr>
              <p:cNvPr id="48" name="AutoShape 25">
                <a:extLst>
                  <a:ext uri="{FF2B5EF4-FFF2-40B4-BE49-F238E27FC236}">
                    <a16:creationId xmlns:a16="http://schemas.microsoft.com/office/drawing/2014/main" id="{04B2205E-A06A-4B1B-A29D-A8D96C86F8E8}"/>
                  </a:ext>
                </a:extLst>
              </p:cNvPr>
              <p:cNvCxnSpPr>
                <a:cxnSpLocks noChangeShapeType="1"/>
              </p:cNvCxnSpPr>
              <p:nvPr/>
            </p:nvCxnSpPr>
            <p:spPr bwMode="auto">
              <a:xfrm>
                <a:off x="2759215" y="3576943"/>
                <a:ext cx="5247822" cy="0"/>
              </a:xfrm>
              <a:prstGeom prst="straightConnector1">
                <a:avLst/>
              </a:prstGeom>
              <a:noFill/>
              <a:ln w="12700">
                <a:solidFill>
                  <a:srgbClr val="B455AA"/>
                </a:solidFill>
                <a:prstDash val="dash"/>
                <a:round/>
                <a:headEnd type="none" w="sm" len="sm"/>
                <a:tailEnd type="none" w="sm" len="sm"/>
              </a:ln>
            </p:spPr>
          </p:cxnSp>
          <p:sp>
            <p:nvSpPr>
              <p:cNvPr id="49" name="AutoShape 23">
                <a:extLst>
                  <a:ext uri="{FF2B5EF4-FFF2-40B4-BE49-F238E27FC236}">
                    <a16:creationId xmlns:a16="http://schemas.microsoft.com/office/drawing/2014/main" id="{2E51E24E-B4A5-484E-9697-EEDAA3B72008}"/>
                  </a:ext>
                </a:extLst>
              </p:cNvPr>
              <p:cNvSpPr>
                <a:spLocks noChangeArrowheads="1"/>
              </p:cNvSpPr>
              <p:nvPr/>
            </p:nvSpPr>
            <p:spPr bwMode="auto">
              <a:xfrm>
                <a:off x="2627184" y="3486456"/>
                <a:ext cx="264062" cy="180975"/>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0" name="AutoShape 24">
                <a:extLst>
                  <a:ext uri="{FF2B5EF4-FFF2-40B4-BE49-F238E27FC236}">
                    <a16:creationId xmlns:a16="http://schemas.microsoft.com/office/drawing/2014/main" id="{499D652E-EB48-45DD-ABFC-80D34FF02B0C}"/>
                  </a:ext>
                </a:extLst>
              </p:cNvPr>
              <p:cNvSpPr>
                <a:spLocks noChangeArrowheads="1"/>
              </p:cNvSpPr>
              <p:nvPr/>
            </p:nvSpPr>
            <p:spPr bwMode="auto">
              <a:xfrm>
                <a:off x="7875006" y="3486456"/>
                <a:ext cx="262391" cy="180975"/>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1" name="Text Box 36">
                <a:extLst>
                  <a:ext uri="{FF2B5EF4-FFF2-40B4-BE49-F238E27FC236}">
                    <a16:creationId xmlns:a16="http://schemas.microsoft.com/office/drawing/2014/main" id="{4D9ABAF1-9D3E-4B54-8F84-F71DB1A77141}"/>
                  </a:ext>
                </a:extLst>
              </p:cNvPr>
              <p:cNvSpPr txBox="1">
                <a:spLocks noChangeArrowheads="1"/>
              </p:cNvSpPr>
              <p:nvPr/>
            </p:nvSpPr>
            <p:spPr bwMode="auto">
              <a:xfrm>
                <a:off x="431540" y="3461975"/>
                <a:ext cx="2201863" cy="169277"/>
              </a:xfrm>
              <a:prstGeom prst="rect">
                <a:avLst/>
              </a:prstGeom>
              <a:noFill/>
              <a:ln w="12700">
                <a:noFill/>
                <a:miter lim="800000"/>
                <a:headEnd/>
                <a:tailEnd/>
              </a:ln>
            </p:spPr>
            <p:txBody>
              <a:bodyPr lIns="0" tIns="0" rIns="0" bIns="0">
                <a:spAutoFit/>
              </a:bodyPr>
              <a:lstStyle/>
              <a:p>
                <a:pPr marL="0" marR="0" lvl="0" indent="0" algn="l" defTabSz="914400" rtl="0" eaLnBrk="1" fontAlgn="auto" latinLnBrk="0" hangingPunct="1">
                  <a:lnSpc>
                    <a:spcPct val="100000"/>
                  </a:lnSpc>
                  <a:spcBef>
                    <a:spcPct val="30000"/>
                  </a:spcBef>
                  <a:spcAft>
                    <a:spcPts val="0"/>
                  </a:spcAft>
                  <a:buClr>
                    <a:srgbClr val="993333"/>
                  </a:buClr>
                  <a:buSzTx/>
                  <a:buFontTx/>
                  <a:buNone/>
                  <a:tabLst>
                    <a:tab pos="2400300" algn="l"/>
                  </a:tabLst>
                  <a:defRPr/>
                </a:pPr>
                <a:r>
                  <a:rPr kumimoji="0" lang="en-US" sz="1100" b="0" i="0" u="none" strike="noStrike" kern="0" cap="none" spc="0" normalizeH="0" baseline="0" noProof="0" dirty="0">
                    <a:ln>
                      <a:noFill/>
                    </a:ln>
                    <a:solidFill>
                      <a:srgbClr val="000000"/>
                    </a:solidFill>
                    <a:effectLst/>
                    <a:uLnTx/>
                    <a:uFillTx/>
                    <a:ea typeface="+mn-ea"/>
                    <a:cs typeface="+mn-cs"/>
                  </a:rPr>
                  <a:t>Sales Effectiveness</a:t>
                </a:r>
              </a:p>
            </p:txBody>
          </p:sp>
          <p:sp>
            <p:nvSpPr>
              <p:cNvPr id="52" name="AutoShape 53">
                <a:extLst>
                  <a:ext uri="{FF2B5EF4-FFF2-40B4-BE49-F238E27FC236}">
                    <a16:creationId xmlns:a16="http://schemas.microsoft.com/office/drawing/2014/main" id="{BF33524E-2888-451A-BDFB-A554C0DE1429}"/>
                  </a:ext>
                </a:extLst>
              </p:cNvPr>
              <p:cNvSpPr>
                <a:spLocks noChangeArrowheads="1"/>
              </p:cNvSpPr>
              <p:nvPr/>
            </p:nvSpPr>
            <p:spPr bwMode="auto">
              <a:xfrm>
                <a:off x="4227760" y="3484074"/>
                <a:ext cx="196850" cy="185738"/>
              </a:xfrm>
              <a:prstGeom prst="diamond">
                <a:avLst/>
              </a:prstGeom>
              <a:solidFill>
                <a:schemeClr val="accent3"/>
              </a:solidFill>
              <a:ln w="12700" algn="ctr">
                <a:noFill/>
                <a:miter lim="800000"/>
                <a:headEnd/>
                <a:tailEnd/>
              </a:ln>
            </p:spPr>
            <p:txBody>
              <a:bodyPr rot="10800000" vert="eaVert"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3" name="5-Point Star 61">
                <a:extLst>
                  <a:ext uri="{FF2B5EF4-FFF2-40B4-BE49-F238E27FC236}">
                    <a16:creationId xmlns:a16="http://schemas.microsoft.com/office/drawing/2014/main" id="{0B45E5E1-692C-4862-B79F-336EE578812F}"/>
                  </a:ext>
                </a:extLst>
              </p:cNvPr>
              <p:cNvSpPr/>
              <p:nvPr/>
            </p:nvSpPr>
            <p:spPr bwMode="auto">
              <a:xfrm>
                <a:off x="6416718" y="3440466"/>
                <a:ext cx="272955" cy="272955"/>
              </a:xfrm>
              <a:prstGeom prst="star5">
                <a:avLst/>
              </a:prstGeom>
              <a:solidFill>
                <a:srgbClr val="A100FF"/>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00000"/>
                  </a:solidFill>
                  <a:effectLst/>
                  <a:uLnTx/>
                  <a:uFillTx/>
                  <a:latin typeface="Arial" charset="0"/>
                  <a:ea typeface="+mn-ea"/>
                  <a:cs typeface="+mn-cs"/>
                </a:endParaRPr>
              </a:p>
            </p:txBody>
          </p:sp>
        </p:grpSp>
        <p:grpSp>
          <p:nvGrpSpPr>
            <p:cNvPr id="15" name="Group 6">
              <a:extLst>
                <a:ext uri="{FF2B5EF4-FFF2-40B4-BE49-F238E27FC236}">
                  <a16:creationId xmlns:a16="http://schemas.microsoft.com/office/drawing/2014/main" id="{0E2AA3A3-61C2-46A5-B259-2BDDE772FF3C}"/>
                </a:ext>
              </a:extLst>
            </p:cNvPr>
            <p:cNvGrpSpPr/>
            <p:nvPr/>
          </p:nvGrpSpPr>
          <p:grpSpPr bwMode="auto">
            <a:xfrm>
              <a:off x="431540" y="3988665"/>
              <a:ext cx="7705857" cy="272955"/>
              <a:chOff x="431540" y="3996604"/>
              <a:chExt cx="7705857" cy="272955"/>
            </a:xfrm>
          </p:grpSpPr>
          <p:cxnSp>
            <p:nvCxnSpPr>
              <p:cNvPr id="42" name="AutoShape 21">
                <a:extLst>
                  <a:ext uri="{FF2B5EF4-FFF2-40B4-BE49-F238E27FC236}">
                    <a16:creationId xmlns:a16="http://schemas.microsoft.com/office/drawing/2014/main" id="{F5F58B2A-5A1D-4683-B0EB-7BD809EC71BB}"/>
                  </a:ext>
                </a:extLst>
              </p:cNvPr>
              <p:cNvCxnSpPr>
                <a:cxnSpLocks noChangeShapeType="1"/>
              </p:cNvCxnSpPr>
              <p:nvPr/>
            </p:nvCxnSpPr>
            <p:spPr bwMode="auto">
              <a:xfrm>
                <a:off x="2759215" y="4133081"/>
                <a:ext cx="5247822" cy="0"/>
              </a:xfrm>
              <a:prstGeom prst="straightConnector1">
                <a:avLst/>
              </a:prstGeom>
              <a:noFill/>
              <a:ln w="12700">
                <a:solidFill>
                  <a:srgbClr val="B455AA"/>
                </a:solidFill>
                <a:prstDash val="dash"/>
                <a:round/>
                <a:headEnd type="none" w="sm" len="sm"/>
                <a:tailEnd type="none" w="sm" len="sm"/>
              </a:ln>
            </p:spPr>
          </p:cxnSp>
          <p:sp>
            <p:nvSpPr>
              <p:cNvPr id="43" name="AutoShape 19">
                <a:extLst>
                  <a:ext uri="{FF2B5EF4-FFF2-40B4-BE49-F238E27FC236}">
                    <a16:creationId xmlns:a16="http://schemas.microsoft.com/office/drawing/2014/main" id="{AF12E486-0E1F-4A8E-BEB9-0F0649764665}"/>
                  </a:ext>
                </a:extLst>
              </p:cNvPr>
              <p:cNvSpPr>
                <a:spLocks noChangeArrowheads="1"/>
              </p:cNvSpPr>
              <p:nvPr/>
            </p:nvSpPr>
            <p:spPr bwMode="auto">
              <a:xfrm>
                <a:off x="2627184" y="4042594"/>
                <a:ext cx="264062" cy="180975"/>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4" name="AutoShape 20">
                <a:extLst>
                  <a:ext uri="{FF2B5EF4-FFF2-40B4-BE49-F238E27FC236}">
                    <a16:creationId xmlns:a16="http://schemas.microsoft.com/office/drawing/2014/main" id="{0747AD46-EF32-4B6C-823C-8D61FCBB3F32}"/>
                  </a:ext>
                </a:extLst>
              </p:cNvPr>
              <p:cNvSpPr>
                <a:spLocks noChangeArrowheads="1"/>
              </p:cNvSpPr>
              <p:nvPr/>
            </p:nvSpPr>
            <p:spPr bwMode="auto">
              <a:xfrm>
                <a:off x="7875006" y="4042594"/>
                <a:ext cx="262391" cy="180975"/>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5" name="Text Box 37">
                <a:extLst>
                  <a:ext uri="{FF2B5EF4-FFF2-40B4-BE49-F238E27FC236}">
                    <a16:creationId xmlns:a16="http://schemas.microsoft.com/office/drawing/2014/main" id="{7501B151-370E-4900-9E46-849B9949F4CF}"/>
                  </a:ext>
                </a:extLst>
              </p:cNvPr>
              <p:cNvSpPr txBox="1">
                <a:spLocks noChangeArrowheads="1"/>
              </p:cNvSpPr>
              <p:nvPr/>
            </p:nvSpPr>
            <p:spPr bwMode="auto">
              <a:xfrm>
                <a:off x="431540" y="4018113"/>
                <a:ext cx="2765425" cy="169277"/>
              </a:xfrm>
              <a:prstGeom prst="rect">
                <a:avLst/>
              </a:prstGeom>
              <a:noFill/>
              <a:ln w="12700">
                <a:noFill/>
                <a:miter lim="800000"/>
                <a:headEnd/>
                <a:tailEnd/>
              </a:ln>
            </p:spPr>
            <p:txBody>
              <a:bodyPr lIns="0" tIns="0" rIns="0" bIns="0">
                <a:spAutoFit/>
              </a:bodyPr>
              <a:lstStyle/>
              <a:p>
                <a:pPr marL="0" marR="0" lvl="0" indent="0" algn="l" defTabSz="914400" rtl="0" eaLnBrk="1" fontAlgn="auto" latinLnBrk="0" hangingPunct="1">
                  <a:lnSpc>
                    <a:spcPct val="100000"/>
                  </a:lnSpc>
                  <a:spcBef>
                    <a:spcPct val="30000"/>
                  </a:spcBef>
                  <a:spcAft>
                    <a:spcPts val="0"/>
                  </a:spcAft>
                  <a:buClr>
                    <a:srgbClr val="993333"/>
                  </a:buClr>
                  <a:buSzTx/>
                  <a:buFontTx/>
                  <a:buNone/>
                  <a:tabLst>
                    <a:tab pos="2400300" algn="l"/>
                  </a:tabLst>
                  <a:defRPr/>
                </a:pPr>
                <a:r>
                  <a:rPr kumimoji="0" lang="en-US" sz="1100" b="0" i="0" u="none" strike="noStrike" kern="0" cap="none" spc="0" normalizeH="0" baseline="0" noProof="0" dirty="0">
                    <a:ln>
                      <a:noFill/>
                    </a:ln>
                    <a:solidFill>
                      <a:srgbClr val="000000"/>
                    </a:solidFill>
                    <a:effectLst/>
                    <a:uLnTx/>
                    <a:uFillTx/>
                    <a:ea typeface="+mn-ea"/>
                    <a:cs typeface="+mn-cs"/>
                  </a:rPr>
                  <a:t>Demand Driven Planning</a:t>
                </a:r>
              </a:p>
            </p:txBody>
          </p:sp>
          <p:sp>
            <p:nvSpPr>
              <p:cNvPr id="46" name="AutoShape 52">
                <a:extLst>
                  <a:ext uri="{FF2B5EF4-FFF2-40B4-BE49-F238E27FC236}">
                    <a16:creationId xmlns:a16="http://schemas.microsoft.com/office/drawing/2014/main" id="{94CC6173-D1B5-4B0B-AA7C-798F986B28B0}"/>
                  </a:ext>
                </a:extLst>
              </p:cNvPr>
              <p:cNvSpPr>
                <a:spLocks noChangeArrowheads="1"/>
              </p:cNvSpPr>
              <p:nvPr/>
            </p:nvSpPr>
            <p:spPr bwMode="auto">
              <a:xfrm>
                <a:off x="5545250" y="4040213"/>
                <a:ext cx="196850" cy="185737"/>
              </a:xfrm>
              <a:prstGeom prst="diamond">
                <a:avLst/>
              </a:prstGeom>
              <a:solidFill>
                <a:schemeClr val="accent3"/>
              </a:solidFill>
              <a:ln w="12700" algn="ctr">
                <a:noFill/>
                <a:miter lim="800000"/>
                <a:headEnd/>
                <a:tailEnd/>
              </a:ln>
            </p:spPr>
            <p:txBody>
              <a:bodyPr rot="10800000" vert="eaVert"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7" name="5-Point Star 62">
                <a:extLst>
                  <a:ext uri="{FF2B5EF4-FFF2-40B4-BE49-F238E27FC236}">
                    <a16:creationId xmlns:a16="http://schemas.microsoft.com/office/drawing/2014/main" id="{71A3ADAA-B93B-4CC3-9405-5FB0865C2FBE}"/>
                  </a:ext>
                </a:extLst>
              </p:cNvPr>
              <p:cNvSpPr/>
              <p:nvPr/>
            </p:nvSpPr>
            <p:spPr bwMode="auto">
              <a:xfrm>
                <a:off x="6541822" y="3996604"/>
                <a:ext cx="272955" cy="272955"/>
              </a:xfrm>
              <a:prstGeom prst="star5">
                <a:avLst/>
              </a:prstGeom>
              <a:solidFill>
                <a:srgbClr val="A100FF"/>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00000"/>
                  </a:solidFill>
                  <a:effectLst/>
                  <a:uLnTx/>
                  <a:uFillTx/>
                  <a:latin typeface="Arial" charset="0"/>
                  <a:ea typeface="+mn-ea"/>
                  <a:cs typeface="+mn-cs"/>
                </a:endParaRPr>
              </a:p>
            </p:txBody>
          </p:sp>
        </p:grpSp>
        <p:grpSp>
          <p:nvGrpSpPr>
            <p:cNvPr id="16" name="Group 15">
              <a:extLst>
                <a:ext uri="{FF2B5EF4-FFF2-40B4-BE49-F238E27FC236}">
                  <a16:creationId xmlns:a16="http://schemas.microsoft.com/office/drawing/2014/main" id="{1D683B19-9868-45DB-A7D1-67EA95049981}"/>
                </a:ext>
              </a:extLst>
            </p:cNvPr>
            <p:cNvGrpSpPr/>
            <p:nvPr/>
          </p:nvGrpSpPr>
          <p:grpSpPr bwMode="auto">
            <a:xfrm>
              <a:off x="431540" y="5089213"/>
              <a:ext cx="7705857" cy="272955"/>
              <a:chOff x="431540" y="5091635"/>
              <a:chExt cx="7705857" cy="272955"/>
            </a:xfrm>
          </p:grpSpPr>
          <p:cxnSp>
            <p:nvCxnSpPr>
              <p:cNvPr id="36" name="AutoShape 13">
                <a:extLst>
                  <a:ext uri="{FF2B5EF4-FFF2-40B4-BE49-F238E27FC236}">
                    <a16:creationId xmlns:a16="http://schemas.microsoft.com/office/drawing/2014/main" id="{23413FF3-EBA6-4ED4-BCE0-DF73DFD6FD4C}"/>
                  </a:ext>
                </a:extLst>
              </p:cNvPr>
              <p:cNvCxnSpPr>
                <a:cxnSpLocks noChangeShapeType="1"/>
              </p:cNvCxnSpPr>
              <p:nvPr/>
            </p:nvCxnSpPr>
            <p:spPr bwMode="auto">
              <a:xfrm>
                <a:off x="2759215" y="5228112"/>
                <a:ext cx="5247822" cy="0"/>
              </a:xfrm>
              <a:prstGeom prst="straightConnector1">
                <a:avLst/>
              </a:prstGeom>
              <a:noFill/>
              <a:ln w="12700">
                <a:solidFill>
                  <a:srgbClr val="B455AA"/>
                </a:solidFill>
                <a:prstDash val="dash"/>
                <a:round/>
                <a:headEnd type="none" w="sm" len="sm"/>
                <a:tailEnd type="none" w="sm" len="sm"/>
              </a:ln>
            </p:spPr>
          </p:cxnSp>
          <p:sp>
            <p:nvSpPr>
              <p:cNvPr id="37" name="AutoShape 11">
                <a:extLst>
                  <a:ext uri="{FF2B5EF4-FFF2-40B4-BE49-F238E27FC236}">
                    <a16:creationId xmlns:a16="http://schemas.microsoft.com/office/drawing/2014/main" id="{51B2BE60-A850-41D4-8F3B-DAAB9EDFD07E}"/>
                  </a:ext>
                </a:extLst>
              </p:cNvPr>
              <p:cNvSpPr>
                <a:spLocks noChangeArrowheads="1"/>
              </p:cNvSpPr>
              <p:nvPr/>
            </p:nvSpPr>
            <p:spPr bwMode="auto">
              <a:xfrm>
                <a:off x="2627184" y="5137625"/>
                <a:ext cx="264062" cy="180975"/>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 name="AutoShape 12">
                <a:extLst>
                  <a:ext uri="{FF2B5EF4-FFF2-40B4-BE49-F238E27FC236}">
                    <a16:creationId xmlns:a16="http://schemas.microsoft.com/office/drawing/2014/main" id="{147E9C6B-BC80-4B20-B0CC-7A3665B2017D}"/>
                  </a:ext>
                </a:extLst>
              </p:cNvPr>
              <p:cNvSpPr>
                <a:spLocks noChangeArrowheads="1"/>
              </p:cNvSpPr>
              <p:nvPr/>
            </p:nvSpPr>
            <p:spPr bwMode="auto">
              <a:xfrm>
                <a:off x="7875006" y="5137625"/>
                <a:ext cx="262391" cy="180975"/>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 name="Text Box 39">
                <a:extLst>
                  <a:ext uri="{FF2B5EF4-FFF2-40B4-BE49-F238E27FC236}">
                    <a16:creationId xmlns:a16="http://schemas.microsoft.com/office/drawing/2014/main" id="{CC5F15B3-0840-4519-B0F7-E412861772FC}"/>
                  </a:ext>
                </a:extLst>
              </p:cNvPr>
              <p:cNvSpPr txBox="1">
                <a:spLocks noChangeArrowheads="1"/>
              </p:cNvSpPr>
              <p:nvPr/>
            </p:nvSpPr>
            <p:spPr bwMode="auto">
              <a:xfrm>
                <a:off x="431540" y="5113144"/>
                <a:ext cx="3225800" cy="169277"/>
              </a:xfrm>
              <a:prstGeom prst="rect">
                <a:avLst/>
              </a:prstGeom>
              <a:noFill/>
              <a:ln w="12700">
                <a:noFill/>
                <a:miter lim="800000"/>
                <a:headEnd/>
                <a:tailEnd/>
              </a:ln>
            </p:spPr>
            <p:txBody>
              <a:bodyPr lIns="0" tIns="0" rIns="0" bIns="0">
                <a:spAutoFit/>
              </a:bodyPr>
              <a:lstStyle/>
              <a:p>
                <a:pPr marL="0" marR="0" lvl="0" indent="0" algn="l" defTabSz="914400" rtl="0" eaLnBrk="1" fontAlgn="auto" latinLnBrk="0" hangingPunct="1">
                  <a:lnSpc>
                    <a:spcPct val="100000"/>
                  </a:lnSpc>
                  <a:spcBef>
                    <a:spcPct val="30000"/>
                  </a:spcBef>
                  <a:spcAft>
                    <a:spcPts val="0"/>
                  </a:spcAft>
                  <a:buClr>
                    <a:srgbClr val="993333"/>
                  </a:buClr>
                  <a:buSzTx/>
                  <a:buFontTx/>
                  <a:buNone/>
                  <a:tabLst>
                    <a:tab pos="2400300" algn="l"/>
                  </a:tabLst>
                  <a:defRPr/>
                </a:pPr>
                <a:r>
                  <a:rPr kumimoji="0" lang="en-US" sz="1100" b="0" i="0" u="none" strike="noStrike" kern="0" cap="none" spc="0" normalizeH="0" baseline="0" noProof="0" dirty="0">
                    <a:ln>
                      <a:noFill/>
                    </a:ln>
                    <a:solidFill>
                      <a:srgbClr val="000000"/>
                    </a:solidFill>
                    <a:effectLst/>
                    <a:uLnTx/>
                    <a:uFillTx/>
                    <a:ea typeface="+mn-ea"/>
                    <a:cs typeface="+mn-cs"/>
                  </a:rPr>
                  <a:t>Suppliers Collaboration</a:t>
                </a:r>
              </a:p>
            </p:txBody>
          </p:sp>
          <p:sp>
            <p:nvSpPr>
              <p:cNvPr id="40" name="AutoShape 55">
                <a:extLst>
                  <a:ext uri="{FF2B5EF4-FFF2-40B4-BE49-F238E27FC236}">
                    <a16:creationId xmlns:a16="http://schemas.microsoft.com/office/drawing/2014/main" id="{5B18A3F4-353E-4509-9A36-27F04B3CC253}"/>
                  </a:ext>
                </a:extLst>
              </p:cNvPr>
              <p:cNvSpPr>
                <a:spLocks noChangeArrowheads="1"/>
              </p:cNvSpPr>
              <p:nvPr/>
            </p:nvSpPr>
            <p:spPr bwMode="auto">
              <a:xfrm>
                <a:off x="7316900" y="5135244"/>
                <a:ext cx="196850" cy="185737"/>
              </a:xfrm>
              <a:prstGeom prst="diamond">
                <a:avLst/>
              </a:prstGeom>
              <a:solidFill>
                <a:schemeClr val="accent3"/>
              </a:solidFill>
              <a:ln w="12700" algn="ctr">
                <a:noFill/>
                <a:miter lim="800000"/>
                <a:headEnd/>
                <a:tailEnd/>
              </a:ln>
            </p:spPr>
            <p:txBody>
              <a:bodyPr rot="10800000" vert="eaVert"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1" name="5-Point Star 64">
                <a:extLst>
                  <a:ext uri="{FF2B5EF4-FFF2-40B4-BE49-F238E27FC236}">
                    <a16:creationId xmlns:a16="http://schemas.microsoft.com/office/drawing/2014/main" id="{09F0B20C-D2B3-4925-8F1C-52AB02481EC9}"/>
                  </a:ext>
                </a:extLst>
              </p:cNvPr>
              <p:cNvSpPr/>
              <p:nvPr/>
            </p:nvSpPr>
            <p:spPr bwMode="auto">
              <a:xfrm>
                <a:off x="7513750" y="5091635"/>
                <a:ext cx="272955" cy="272955"/>
              </a:xfrm>
              <a:prstGeom prst="star5">
                <a:avLst/>
              </a:prstGeom>
              <a:solidFill>
                <a:srgbClr val="A100FF"/>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00000"/>
                  </a:solidFill>
                  <a:effectLst/>
                  <a:uLnTx/>
                  <a:uFillTx/>
                  <a:latin typeface="Arial" charset="0"/>
                  <a:ea typeface="+mn-ea"/>
                  <a:cs typeface="+mn-cs"/>
                </a:endParaRPr>
              </a:p>
            </p:txBody>
          </p:sp>
        </p:grpSp>
        <p:grpSp>
          <p:nvGrpSpPr>
            <p:cNvPr id="17" name="Group 16">
              <a:extLst>
                <a:ext uri="{FF2B5EF4-FFF2-40B4-BE49-F238E27FC236}">
                  <a16:creationId xmlns:a16="http://schemas.microsoft.com/office/drawing/2014/main" id="{18D9E791-275E-43EE-9446-5985C4F92384}"/>
                </a:ext>
              </a:extLst>
            </p:cNvPr>
            <p:cNvGrpSpPr/>
            <p:nvPr/>
          </p:nvGrpSpPr>
          <p:grpSpPr bwMode="auto">
            <a:xfrm>
              <a:off x="431540" y="5639490"/>
              <a:ext cx="7705857" cy="272955"/>
              <a:chOff x="431540" y="5638910"/>
              <a:chExt cx="7705857" cy="272955"/>
            </a:xfrm>
          </p:grpSpPr>
          <p:cxnSp>
            <p:nvCxnSpPr>
              <p:cNvPr id="30" name="AutoShape 45">
                <a:extLst>
                  <a:ext uri="{FF2B5EF4-FFF2-40B4-BE49-F238E27FC236}">
                    <a16:creationId xmlns:a16="http://schemas.microsoft.com/office/drawing/2014/main" id="{41FDAD0C-8363-4BF6-9E7D-29A545768681}"/>
                  </a:ext>
                </a:extLst>
              </p:cNvPr>
              <p:cNvCxnSpPr>
                <a:cxnSpLocks noChangeShapeType="1"/>
              </p:cNvCxnSpPr>
              <p:nvPr/>
            </p:nvCxnSpPr>
            <p:spPr bwMode="auto">
              <a:xfrm>
                <a:off x="2759215" y="5775387"/>
                <a:ext cx="5247822" cy="0"/>
              </a:xfrm>
              <a:prstGeom prst="straightConnector1">
                <a:avLst/>
              </a:prstGeom>
              <a:noFill/>
              <a:ln w="12700">
                <a:solidFill>
                  <a:srgbClr val="B455AA"/>
                </a:solidFill>
                <a:prstDash val="dash"/>
                <a:round/>
                <a:headEnd type="none" w="sm" len="sm"/>
                <a:tailEnd type="none" w="sm" len="sm"/>
              </a:ln>
            </p:spPr>
          </p:cxnSp>
          <p:sp>
            <p:nvSpPr>
              <p:cNvPr id="31" name="AutoShape 43">
                <a:extLst>
                  <a:ext uri="{FF2B5EF4-FFF2-40B4-BE49-F238E27FC236}">
                    <a16:creationId xmlns:a16="http://schemas.microsoft.com/office/drawing/2014/main" id="{3ED319EE-3D08-4C48-A247-E8512C269738}"/>
                  </a:ext>
                </a:extLst>
              </p:cNvPr>
              <p:cNvSpPr>
                <a:spLocks noChangeArrowheads="1"/>
              </p:cNvSpPr>
              <p:nvPr/>
            </p:nvSpPr>
            <p:spPr bwMode="auto">
              <a:xfrm>
                <a:off x="2627184" y="5684106"/>
                <a:ext cx="264062" cy="182562"/>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 name="AutoShape 44">
                <a:extLst>
                  <a:ext uri="{FF2B5EF4-FFF2-40B4-BE49-F238E27FC236}">
                    <a16:creationId xmlns:a16="http://schemas.microsoft.com/office/drawing/2014/main" id="{30BE9D14-082E-44D0-A73B-8D7F390228C7}"/>
                  </a:ext>
                </a:extLst>
              </p:cNvPr>
              <p:cNvSpPr>
                <a:spLocks noChangeArrowheads="1"/>
              </p:cNvSpPr>
              <p:nvPr/>
            </p:nvSpPr>
            <p:spPr bwMode="auto">
              <a:xfrm>
                <a:off x="7875006" y="5684106"/>
                <a:ext cx="262391" cy="182562"/>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3" name="Text Box 40">
                <a:extLst>
                  <a:ext uri="{FF2B5EF4-FFF2-40B4-BE49-F238E27FC236}">
                    <a16:creationId xmlns:a16="http://schemas.microsoft.com/office/drawing/2014/main" id="{54C1BAE7-B76D-4B24-8ADE-4ADD26DECF1B}"/>
                  </a:ext>
                </a:extLst>
              </p:cNvPr>
              <p:cNvSpPr txBox="1">
                <a:spLocks noChangeArrowheads="1"/>
              </p:cNvSpPr>
              <p:nvPr/>
            </p:nvSpPr>
            <p:spPr bwMode="auto">
              <a:xfrm>
                <a:off x="431540" y="5660419"/>
                <a:ext cx="2862262" cy="169277"/>
              </a:xfrm>
              <a:prstGeom prst="rect">
                <a:avLst/>
              </a:prstGeom>
              <a:noFill/>
              <a:ln w="12700">
                <a:noFill/>
                <a:miter lim="800000"/>
                <a:headEnd/>
                <a:tailEnd/>
              </a:ln>
            </p:spPr>
            <p:txBody>
              <a:bodyPr lIns="0" tIns="0" rIns="0" bIns="0">
                <a:spAutoFit/>
              </a:bodyPr>
              <a:lstStyle/>
              <a:p>
                <a:pPr marL="0" marR="0" lvl="0" indent="0" algn="l" defTabSz="914400" rtl="0" eaLnBrk="1" fontAlgn="auto" latinLnBrk="0" hangingPunct="1">
                  <a:lnSpc>
                    <a:spcPct val="100000"/>
                  </a:lnSpc>
                  <a:spcBef>
                    <a:spcPct val="30000"/>
                  </a:spcBef>
                  <a:spcAft>
                    <a:spcPts val="0"/>
                  </a:spcAft>
                  <a:buClr>
                    <a:srgbClr val="993333"/>
                  </a:buClr>
                  <a:buSzTx/>
                  <a:buFontTx/>
                  <a:buNone/>
                  <a:tabLst>
                    <a:tab pos="2400300" algn="l"/>
                  </a:tabLst>
                  <a:defRPr/>
                </a:pPr>
                <a:r>
                  <a:rPr kumimoji="0" lang="en-US" sz="1100" b="0" i="0" u="none" strike="noStrike" kern="0" cap="none" spc="0" normalizeH="0" baseline="0" noProof="0" dirty="0">
                    <a:ln>
                      <a:noFill/>
                    </a:ln>
                    <a:solidFill>
                      <a:srgbClr val="000000"/>
                    </a:solidFill>
                    <a:effectLst/>
                    <a:uLnTx/>
                    <a:uFillTx/>
                    <a:ea typeface="+mn-ea"/>
                    <a:cs typeface="+mn-cs"/>
                  </a:rPr>
                  <a:t>Technology Capabilities</a:t>
                </a:r>
              </a:p>
            </p:txBody>
          </p:sp>
          <p:sp>
            <p:nvSpPr>
              <p:cNvPr id="34" name="AutoShape 56">
                <a:extLst>
                  <a:ext uri="{FF2B5EF4-FFF2-40B4-BE49-F238E27FC236}">
                    <a16:creationId xmlns:a16="http://schemas.microsoft.com/office/drawing/2014/main" id="{4643676D-D44A-4A30-8D5D-2A7EE9E232E3}"/>
                  </a:ext>
                </a:extLst>
              </p:cNvPr>
              <p:cNvSpPr>
                <a:spLocks noChangeArrowheads="1"/>
              </p:cNvSpPr>
              <p:nvPr/>
            </p:nvSpPr>
            <p:spPr bwMode="auto">
              <a:xfrm>
                <a:off x="4651819" y="5682518"/>
                <a:ext cx="196850" cy="185738"/>
              </a:xfrm>
              <a:prstGeom prst="diamond">
                <a:avLst/>
              </a:prstGeom>
              <a:solidFill>
                <a:schemeClr val="accent3"/>
              </a:solidFill>
              <a:ln w="12700" algn="ctr">
                <a:noFill/>
                <a:miter lim="800000"/>
                <a:headEnd/>
                <a:tailEnd/>
              </a:ln>
            </p:spPr>
            <p:txBody>
              <a:bodyPr rot="10800000" vert="eaVert"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5" name="5-Point Star 65">
                <a:extLst>
                  <a:ext uri="{FF2B5EF4-FFF2-40B4-BE49-F238E27FC236}">
                    <a16:creationId xmlns:a16="http://schemas.microsoft.com/office/drawing/2014/main" id="{E780363F-0B6B-4B46-A782-1DFEC1A4F5C0}"/>
                  </a:ext>
                </a:extLst>
              </p:cNvPr>
              <p:cNvSpPr/>
              <p:nvPr/>
            </p:nvSpPr>
            <p:spPr bwMode="auto">
              <a:xfrm>
                <a:off x="6459935" y="5638910"/>
                <a:ext cx="272955" cy="272955"/>
              </a:xfrm>
              <a:prstGeom prst="star5">
                <a:avLst/>
              </a:prstGeom>
              <a:solidFill>
                <a:srgbClr val="A100FF"/>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00000"/>
                  </a:solidFill>
                  <a:effectLst/>
                  <a:uLnTx/>
                  <a:uFillTx/>
                  <a:latin typeface="Arial" charset="0"/>
                  <a:ea typeface="+mn-ea"/>
                  <a:cs typeface="+mn-cs"/>
                </a:endParaRPr>
              </a:p>
            </p:txBody>
          </p:sp>
        </p:grpSp>
        <p:grpSp>
          <p:nvGrpSpPr>
            <p:cNvPr id="18" name="Group 7">
              <a:extLst>
                <a:ext uri="{FF2B5EF4-FFF2-40B4-BE49-F238E27FC236}">
                  <a16:creationId xmlns:a16="http://schemas.microsoft.com/office/drawing/2014/main" id="{9658471B-F443-45C6-A772-DECF26AEBD4B}"/>
                </a:ext>
              </a:extLst>
            </p:cNvPr>
            <p:cNvGrpSpPr/>
            <p:nvPr/>
          </p:nvGrpSpPr>
          <p:grpSpPr bwMode="auto">
            <a:xfrm>
              <a:off x="431540" y="4538939"/>
              <a:ext cx="7705857" cy="272955"/>
              <a:chOff x="431540" y="4564988"/>
              <a:chExt cx="7705857" cy="272955"/>
            </a:xfrm>
          </p:grpSpPr>
          <p:cxnSp>
            <p:nvCxnSpPr>
              <p:cNvPr id="24" name="AutoShape 17">
                <a:extLst>
                  <a:ext uri="{FF2B5EF4-FFF2-40B4-BE49-F238E27FC236}">
                    <a16:creationId xmlns:a16="http://schemas.microsoft.com/office/drawing/2014/main" id="{E1B04A3B-D88E-4A68-999D-DCAF5AC57C50}"/>
                  </a:ext>
                </a:extLst>
              </p:cNvPr>
              <p:cNvCxnSpPr>
                <a:cxnSpLocks noChangeShapeType="1"/>
              </p:cNvCxnSpPr>
              <p:nvPr/>
            </p:nvCxnSpPr>
            <p:spPr bwMode="auto">
              <a:xfrm>
                <a:off x="2759215" y="4701465"/>
                <a:ext cx="5247822" cy="0"/>
              </a:xfrm>
              <a:prstGeom prst="straightConnector1">
                <a:avLst/>
              </a:prstGeom>
              <a:noFill/>
              <a:ln w="12700">
                <a:solidFill>
                  <a:srgbClr val="B455AA"/>
                </a:solidFill>
                <a:prstDash val="dash"/>
                <a:round/>
                <a:headEnd type="none" w="sm" len="sm"/>
                <a:tailEnd type="none" w="sm" len="sm"/>
              </a:ln>
            </p:spPr>
          </p:cxnSp>
          <p:sp>
            <p:nvSpPr>
              <p:cNvPr id="25" name="AutoShape 15">
                <a:extLst>
                  <a:ext uri="{FF2B5EF4-FFF2-40B4-BE49-F238E27FC236}">
                    <a16:creationId xmlns:a16="http://schemas.microsoft.com/office/drawing/2014/main" id="{8209150D-D784-4560-83F4-4DFDDA37B6ED}"/>
                  </a:ext>
                </a:extLst>
              </p:cNvPr>
              <p:cNvSpPr>
                <a:spLocks noChangeArrowheads="1"/>
              </p:cNvSpPr>
              <p:nvPr/>
            </p:nvSpPr>
            <p:spPr bwMode="auto">
              <a:xfrm>
                <a:off x="2627184" y="4610978"/>
                <a:ext cx="264062" cy="180975"/>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6" name="AutoShape 16">
                <a:extLst>
                  <a:ext uri="{FF2B5EF4-FFF2-40B4-BE49-F238E27FC236}">
                    <a16:creationId xmlns:a16="http://schemas.microsoft.com/office/drawing/2014/main" id="{D833BE58-58DF-45AB-A635-A8F35110344E}"/>
                  </a:ext>
                </a:extLst>
              </p:cNvPr>
              <p:cNvSpPr>
                <a:spLocks noChangeArrowheads="1"/>
              </p:cNvSpPr>
              <p:nvPr/>
            </p:nvSpPr>
            <p:spPr bwMode="auto">
              <a:xfrm>
                <a:off x="7875006" y="4610978"/>
                <a:ext cx="262391" cy="180975"/>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7" name="Text Box 38">
                <a:extLst>
                  <a:ext uri="{FF2B5EF4-FFF2-40B4-BE49-F238E27FC236}">
                    <a16:creationId xmlns:a16="http://schemas.microsoft.com/office/drawing/2014/main" id="{45A9AF92-FFDC-494B-A8BC-8953FC59010E}"/>
                  </a:ext>
                </a:extLst>
              </p:cNvPr>
              <p:cNvSpPr txBox="1">
                <a:spLocks noChangeArrowheads="1"/>
              </p:cNvSpPr>
              <p:nvPr/>
            </p:nvSpPr>
            <p:spPr bwMode="auto">
              <a:xfrm>
                <a:off x="431540" y="4586497"/>
                <a:ext cx="2667000" cy="169277"/>
              </a:xfrm>
              <a:prstGeom prst="rect">
                <a:avLst/>
              </a:prstGeom>
              <a:noFill/>
              <a:ln w="12700">
                <a:noFill/>
                <a:miter lim="800000"/>
                <a:headEnd/>
                <a:tailEnd/>
              </a:ln>
            </p:spPr>
            <p:txBody>
              <a:bodyPr lIns="0" tIns="0" rIns="0" bIns="0">
                <a:spAutoFit/>
              </a:bodyPr>
              <a:lstStyle/>
              <a:p>
                <a:pPr marL="0" marR="0" lvl="0" indent="0" algn="l" defTabSz="914400" rtl="0" eaLnBrk="1" fontAlgn="auto" latinLnBrk="0" hangingPunct="1">
                  <a:lnSpc>
                    <a:spcPct val="100000"/>
                  </a:lnSpc>
                  <a:spcBef>
                    <a:spcPct val="30000"/>
                  </a:spcBef>
                  <a:spcAft>
                    <a:spcPts val="0"/>
                  </a:spcAft>
                  <a:buClr>
                    <a:srgbClr val="993333"/>
                  </a:buClr>
                  <a:buSzTx/>
                  <a:buFontTx/>
                  <a:buNone/>
                  <a:tabLst>
                    <a:tab pos="2400300" algn="l"/>
                  </a:tabLst>
                  <a:defRPr/>
                </a:pPr>
                <a:r>
                  <a:rPr kumimoji="0" lang="en-US" sz="1100" b="0" i="0" u="none" strike="noStrike" kern="0" cap="none" spc="0" normalizeH="0" baseline="0" noProof="0" dirty="0">
                    <a:ln>
                      <a:noFill/>
                    </a:ln>
                    <a:solidFill>
                      <a:srgbClr val="000000"/>
                    </a:solidFill>
                    <a:effectLst/>
                    <a:uLnTx/>
                    <a:uFillTx/>
                    <a:ea typeface="+mn-ea"/>
                    <a:cs typeface="+mn-cs"/>
                  </a:rPr>
                  <a:t>Efficient Production</a:t>
                </a:r>
              </a:p>
            </p:txBody>
          </p:sp>
          <p:sp>
            <p:nvSpPr>
              <p:cNvPr id="28" name="5-Point Star 63">
                <a:extLst>
                  <a:ext uri="{FF2B5EF4-FFF2-40B4-BE49-F238E27FC236}">
                    <a16:creationId xmlns:a16="http://schemas.microsoft.com/office/drawing/2014/main" id="{370CCDF6-CC20-4D32-812B-0765AB511029}"/>
                  </a:ext>
                </a:extLst>
              </p:cNvPr>
              <p:cNvSpPr/>
              <p:nvPr/>
            </p:nvSpPr>
            <p:spPr bwMode="auto">
              <a:xfrm>
                <a:off x="7251507" y="4564988"/>
                <a:ext cx="272955" cy="272955"/>
              </a:xfrm>
              <a:prstGeom prst="star5">
                <a:avLst/>
              </a:prstGeom>
              <a:solidFill>
                <a:srgbClr val="A100FF"/>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00000"/>
                  </a:solidFill>
                  <a:effectLst/>
                  <a:uLnTx/>
                  <a:uFillTx/>
                  <a:latin typeface="Arial" charset="0"/>
                  <a:ea typeface="+mn-ea"/>
                  <a:cs typeface="+mn-cs"/>
                </a:endParaRPr>
              </a:p>
            </p:txBody>
          </p:sp>
          <p:sp>
            <p:nvSpPr>
              <p:cNvPr id="29" name="AutoShape 52">
                <a:extLst>
                  <a:ext uri="{FF2B5EF4-FFF2-40B4-BE49-F238E27FC236}">
                    <a16:creationId xmlns:a16="http://schemas.microsoft.com/office/drawing/2014/main" id="{49539544-1A0F-486A-B118-078A4C848498}"/>
                  </a:ext>
                </a:extLst>
              </p:cNvPr>
              <p:cNvSpPr>
                <a:spLocks noChangeArrowheads="1"/>
              </p:cNvSpPr>
              <p:nvPr/>
            </p:nvSpPr>
            <p:spPr bwMode="auto">
              <a:xfrm>
                <a:off x="5465638" y="4608597"/>
                <a:ext cx="196850" cy="185737"/>
              </a:xfrm>
              <a:prstGeom prst="diamond">
                <a:avLst/>
              </a:prstGeom>
              <a:solidFill>
                <a:schemeClr val="accent3"/>
              </a:solidFill>
              <a:ln w="12700" algn="ctr">
                <a:noFill/>
                <a:miter lim="800000"/>
                <a:headEnd/>
                <a:tailEnd/>
              </a:ln>
            </p:spPr>
            <p:txBody>
              <a:bodyPr rot="10800000" vert="eaVert"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sp>
          <p:nvSpPr>
            <p:cNvPr id="19" name="AutoShape 48">
              <a:extLst>
                <a:ext uri="{FF2B5EF4-FFF2-40B4-BE49-F238E27FC236}">
                  <a16:creationId xmlns:a16="http://schemas.microsoft.com/office/drawing/2014/main" id="{4D4F99AA-779D-4E5F-8E3A-4EDCA24F668F}"/>
                </a:ext>
              </a:extLst>
            </p:cNvPr>
            <p:cNvSpPr>
              <a:spLocks noChangeArrowheads="1"/>
            </p:cNvSpPr>
            <p:nvPr/>
          </p:nvSpPr>
          <p:spPr bwMode="auto">
            <a:xfrm>
              <a:off x="462523" y="6188046"/>
              <a:ext cx="177207" cy="146147"/>
            </a:xfrm>
            <a:prstGeom prst="diamond">
              <a:avLst/>
            </a:prstGeom>
            <a:solidFill>
              <a:schemeClr val="accent3"/>
            </a:solidFill>
            <a:ln w="12700" algn="ctr">
              <a:noFill/>
              <a:miter lim="800000"/>
              <a:headEnd/>
              <a:tailEnd/>
            </a:ln>
          </p:spPr>
          <p:txBody>
            <a:bodyPr rot="10800000" vert="eaVert"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 name="5-Point Star 79">
              <a:extLst>
                <a:ext uri="{FF2B5EF4-FFF2-40B4-BE49-F238E27FC236}">
                  <a16:creationId xmlns:a16="http://schemas.microsoft.com/office/drawing/2014/main" id="{6418E349-DF6F-496C-84CF-86BF28F9E99A}"/>
                </a:ext>
              </a:extLst>
            </p:cNvPr>
            <p:cNvSpPr/>
            <p:nvPr/>
          </p:nvSpPr>
          <p:spPr bwMode="auto">
            <a:xfrm>
              <a:off x="1223628" y="6136445"/>
              <a:ext cx="188794" cy="202443"/>
            </a:xfrm>
            <a:prstGeom prst="star5">
              <a:avLst/>
            </a:prstGeom>
            <a:solidFill>
              <a:srgbClr val="A100FF"/>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00000"/>
                </a:solidFill>
                <a:effectLst/>
                <a:uLnTx/>
                <a:uFillTx/>
                <a:latin typeface="Arial" charset="0"/>
                <a:ea typeface="+mn-ea"/>
                <a:cs typeface="+mn-cs"/>
              </a:endParaRPr>
            </a:p>
          </p:txBody>
        </p:sp>
        <p:sp>
          <p:nvSpPr>
            <p:cNvPr id="21" name="TextBox 20">
              <a:extLst>
                <a:ext uri="{FF2B5EF4-FFF2-40B4-BE49-F238E27FC236}">
                  <a16:creationId xmlns:a16="http://schemas.microsoft.com/office/drawing/2014/main" id="{B483341D-06B6-460B-80C6-B88FF87C2B5F}"/>
                </a:ext>
              </a:extLst>
            </p:cNvPr>
            <p:cNvSpPr txBox="1"/>
            <p:nvPr/>
          </p:nvSpPr>
          <p:spPr bwMode="auto">
            <a:xfrm>
              <a:off x="696278" y="6184176"/>
              <a:ext cx="469680"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Current</a:t>
              </a:r>
            </a:p>
          </p:txBody>
        </p:sp>
        <p:sp>
          <p:nvSpPr>
            <p:cNvPr id="22" name="TextBox 21">
              <a:extLst>
                <a:ext uri="{FF2B5EF4-FFF2-40B4-BE49-F238E27FC236}">
                  <a16:creationId xmlns:a16="http://schemas.microsoft.com/office/drawing/2014/main" id="{AD03875D-BF41-4974-81A0-56FC69442A5F}"/>
                </a:ext>
              </a:extLst>
            </p:cNvPr>
            <p:cNvSpPr txBox="1"/>
            <p:nvPr/>
          </p:nvSpPr>
          <p:spPr bwMode="auto">
            <a:xfrm>
              <a:off x="1436632" y="6184176"/>
              <a:ext cx="395942"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Future</a:t>
              </a:r>
            </a:p>
          </p:txBody>
        </p:sp>
        <p:sp>
          <p:nvSpPr>
            <p:cNvPr id="23" name="Text Box 13">
              <a:extLst>
                <a:ext uri="{FF2B5EF4-FFF2-40B4-BE49-F238E27FC236}">
                  <a16:creationId xmlns:a16="http://schemas.microsoft.com/office/drawing/2014/main" id="{7934EEFF-A2F1-4B66-9828-B7D404A79331}"/>
                </a:ext>
              </a:extLst>
            </p:cNvPr>
            <p:cNvSpPr txBox="1">
              <a:spLocks noChangeArrowheads="1"/>
            </p:cNvSpPr>
            <p:nvPr/>
          </p:nvSpPr>
          <p:spPr bwMode="auto">
            <a:xfrm>
              <a:off x="6803870" y="6181099"/>
              <a:ext cx="1251218" cy="161583"/>
            </a:xfrm>
            <a:prstGeom prst="rect">
              <a:avLst/>
            </a:prstGeom>
            <a:noFill/>
            <a:ln w="12700">
              <a:noFill/>
              <a:miter lim="800000"/>
              <a:headEnd/>
              <a:tailEnd/>
            </a:ln>
          </p:spPr>
          <p:txBody>
            <a:bodyPr wrap="square" lIns="0" tIns="0" rIns="0" bIns="0">
              <a:spAutoFit/>
            </a:body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mj-lt"/>
                  <a:ea typeface="+mn-ea"/>
                  <a:cs typeface="+mn-cs"/>
                </a:rPr>
                <a:t>Emerging</a:t>
              </a:r>
            </a:p>
          </p:txBody>
        </p:sp>
      </p:grpSp>
      <p:sp>
        <p:nvSpPr>
          <p:cNvPr id="3" name="Footer Placeholder 2">
            <a:extLst>
              <a:ext uri="{FF2B5EF4-FFF2-40B4-BE49-F238E27FC236}">
                <a16:creationId xmlns:a16="http://schemas.microsoft.com/office/drawing/2014/main" id="{6DB03B36-FF55-412F-A794-E32DD42D895F}"/>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75" name="Slide Number Placeholder 74">
            <a:extLst>
              <a:ext uri="{FF2B5EF4-FFF2-40B4-BE49-F238E27FC236}">
                <a16:creationId xmlns:a16="http://schemas.microsoft.com/office/drawing/2014/main" id="{F7EE07B2-7011-44E9-86E7-529E01B84EC6}"/>
              </a:ext>
            </a:extLst>
          </p:cNvPr>
          <p:cNvSpPr>
            <a:spLocks noGrp="1"/>
          </p:cNvSpPr>
          <p:nvPr>
            <p:ph type="sldNum" sz="quarter" idx="10"/>
          </p:nvPr>
        </p:nvSpPr>
        <p:spPr/>
        <p:txBody>
          <a:bodyPr/>
          <a:lstStyle/>
          <a:p>
            <a:fld id="{1F90F471-3972-4120-B8B3-0237DE626C35}" type="slidenum">
              <a:rPr lang="en-US" smtClean="0"/>
              <a:pPr/>
              <a:t>381</a:t>
            </a:fld>
            <a:endParaRPr lang="en-US" dirty="0"/>
          </a:p>
        </p:txBody>
      </p:sp>
    </p:spTree>
    <p:extLst>
      <p:ext uri="{BB962C8B-B14F-4D97-AF65-F5344CB8AC3E}">
        <p14:creationId xmlns:p14="http://schemas.microsoft.com/office/powerpoint/2010/main" val="1378611530"/>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de-DE" dirty="0"/>
              <a:t>Project Timelines 1</a:t>
            </a:r>
            <a:endParaRPr lang="en-US" dirty="0"/>
          </a:p>
        </p:txBody>
      </p:sp>
      <p:graphicFrame>
        <p:nvGraphicFramePr>
          <p:cNvPr id="6" name="Table 5">
            <a:extLst>
              <a:ext uri="{FF2B5EF4-FFF2-40B4-BE49-F238E27FC236}">
                <a16:creationId xmlns:a16="http://schemas.microsoft.com/office/drawing/2014/main" id="{EA9DB723-BDC9-4FA7-9B55-ED46964E7C8E}"/>
              </a:ext>
            </a:extLst>
          </p:cNvPr>
          <p:cNvGraphicFramePr>
            <a:graphicFrameLocks noGrp="1"/>
          </p:cNvGraphicFramePr>
          <p:nvPr>
            <p:extLst>
              <p:ext uri="{D42A27DB-BD31-4B8C-83A1-F6EECF244321}">
                <p14:modId xmlns:p14="http://schemas.microsoft.com/office/powerpoint/2010/main" val="651538614"/>
              </p:ext>
            </p:extLst>
          </p:nvPr>
        </p:nvGraphicFramePr>
        <p:xfrm>
          <a:off x="2263797" y="1197550"/>
          <a:ext cx="8364947" cy="4965662"/>
        </p:xfrm>
        <a:graphic>
          <a:graphicData uri="http://schemas.openxmlformats.org/drawingml/2006/table">
            <a:tbl>
              <a:tblPr firstRow="1"/>
              <a:tblGrid>
                <a:gridCol w="772799">
                  <a:extLst>
                    <a:ext uri="{9D8B030D-6E8A-4147-A177-3AD203B41FA5}">
                      <a16:colId xmlns:a16="http://schemas.microsoft.com/office/drawing/2014/main" val="20000"/>
                    </a:ext>
                  </a:extLst>
                </a:gridCol>
                <a:gridCol w="632679">
                  <a:extLst>
                    <a:ext uri="{9D8B030D-6E8A-4147-A177-3AD203B41FA5}">
                      <a16:colId xmlns:a16="http://schemas.microsoft.com/office/drawing/2014/main" val="20001"/>
                    </a:ext>
                  </a:extLst>
                </a:gridCol>
                <a:gridCol w="632679">
                  <a:extLst>
                    <a:ext uri="{9D8B030D-6E8A-4147-A177-3AD203B41FA5}">
                      <a16:colId xmlns:a16="http://schemas.microsoft.com/office/drawing/2014/main" val="20002"/>
                    </a:ext>
                  </a:extLst>
                </a:gridCol>
                <a:gridCol w="632679">
                  <a:extLst>
                    <a:ext uri="{9D8B030D-6E8A-4147-A177-3AD203B41FA5}">
                      <a16:colId xmlns:a16="http://schemas.microsoft.com/office/drawing/2014/main" val="20003"/>
                    </a:ext>
                  </a:extLst>
                </a:gridCol>
                <a:gridCol w="632679">
                  <a:extLst>
                    <a:ext uri="{9D8B030D-6E8A-4147-A177-3AD203B41FA5}">
                      <a16:colId xmlns:a16="http://schemas.microsoft.com/office/drawing/2014/main" val="20004"/>
                    </a:ext>
                  </a:extLst>
                </a:gridCol>
                <a:gridCol w="632679">
                  <a:extLst>
                    <a:ext uri="{9D8B030D-6E8A-4147-A177-3AD203B41FA5}">
                      <a16:colId xmlns:a16="http://schemas.microsoft.com/office/drawing/2014/main" val="20005"/>
                    </a:ext>
                  </a:extLst>
                </a:gridCol>
                <a:gridCol w="632679">
                  <a:extLst>
                    <a:ext uri="{9D8B030D-6E8A-4147-A177-3AD203B41FA5}">
                      <a16:colId xmlns:a16="http://schemas.microsoft.com/office/drawing/2014/main" val="20006"/>
                    </a:ext>
                  </a:extLst>
                </a:gridCol>
                <a:gridCol w="632679">
                  <a:extLst>
                    <a:ext uri="{9D8B030D-6E8A-4147-A177-3AD203B41FA5}">
                      <a16:colId xmlns:a16="http://schemas.microsoft.com/office/drawing/2014/main" val="20007"/>
                    </a:ext>
                  </a:extLst>
                </a:gridCol>
                <a:gridCol w="632679">
                  <a:extLst>
                    <a:ext uri="{9D8B030D-6E8A-4147-A177-3AD203B41FA5}">
                      <a16:colId xmlns:a16="http://schemas.microsoft.com/office/drawing/2014/main" val="20008"/>
                    </a:ext>
                  </a:extLst>
                </a:gridCol>
                <a:gridCol w="632679">
                  <a:extLst>
                    <a:ext uri="{9D8B030D-6E8A-4147-A177-3AD203B41FA5}">
                      <a16:colId xmlns:a16="http://schemas.microsoft.com/office/drawing/2014/main" val="20009"/>
                    </a:ext>
                  </a:extLst>
                </a:gridCol>
                <a:gridCol w="632679">
                  <a:extLst>
                    <a:ext uri="{9D8B030D-6E8A-4147-A177-3AD203B41FA5}">
                      <a16:colId xmlns:a16="http://schemas.microsoft.com/office/drawing/2014/main" val="20010"/>
                    </a:ext>
                  </a:extLst>
                </a:gridCol>
                <a:gridCol w="632679">
                  <a:extLst>
                    <a:ext uri="{9D8B030D-6E8A-4147-A177-3AD203B41FA5}">
                      <a16:colId xmlns:a16="http://schemas.microsoft.com/office/drawing/2014/main" val="20011"/>
                    </a:ext>
                  </a:extLst>
                </a:gridCol>
                <a:gridCol w="632679">
                  <a:extLst>
                    <a:ext uri="{9D8B030D-6E8A-4147-A177-3AD203B41FA5}">
                      <a16:colId xmlns:a16="http://schemas.microsoft.com/office/drawing/2014/main" val="20012"/>
                    </a:ext>
                  </a:extLst>
                </a:gridCol>
              </a:tblGrid>
              <a:tr h="48445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1000" b="0" i="0" u="none" strike="noStrike" dirty="0">
                        <a:solidFill>
                          <a:srgbClr val="FFFFFF"/>
                        </a:solidFill>
                        <a:latin typeface="Arial"/>
                      </a:endParaRP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1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400" b="1" i="0" u="none" strike="noStrike" dirty="0">
                          <a:solidFill>
                            <a:schemeClr val="tx1"/>
                          </a:solidFill>
                          <a:latin typeface="+mj-lt"/>
                        </a:rPr>
                        <a:t>Year</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5450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b" latinLnBrk="0" hangingPunct="1"/>
                      <a:endParaRPr lang="en-US" sz="1000" b="0" i="0" u="none" strike="noStrike" kern="1200" dirty="0">
                        <a:solidFill>
                          <a:srgbClr val="FFFFFF"/>
                        </a:solidFill>
                        <a:latin typeface="Arial"/>
                        <a:ea typeface="+mn-ea"/>
                        <a:cs typeface="+mn-cs"/>
                      </a:endParaRP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4">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b" latinLnBrk="0" hangingPunct="1"/>
                      <a:r>
                        <a:rPr lang="en-US" sz="1200" b="1" i="0" u="none" strike="noStrike" kern="1200" dirty="0">
                          <a:solidFill>
                            <a:schemeClr val="bg1"/>
                          </a:solidFill>
                          <a:latin typeface="+mj-lt"/>
                          <a:ea typeface="+mn-ea"/>
                          <a:cs typeface="+mn-cs"/>
                        </a:rPr>
                        <a:t>Month</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200" b="1" i="0" u="none" strike="noStrike" dirty="0">
                          <a:solidFill>
                            <a:schemeClr val="bg1"/>
                          </a:solidFill>
                          <a:latin typeface="+mj-lt"/>
                        </a:rPr>
                        <a:t>Month</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200" b="1" i="0" u="none" strike="noStrike" dirty="0">
                          <a:solidFill>
                            <a:schemeClr val="bg1"/>
                          </a:solidFill>
                          <a:latin typeface="+mj-lt"/>
                        </a:rPr>
                        <a:t>Month</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23365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1000" b="0" i="0" u="none" strike="noStrike" dirty="0">
                        <a:solidFill>
                          <a:srgbClr val="FFFFFF"/>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200" b="1" i="0" u="none" strike="noStrike" dirty="0">
                          <a:solidFill>
                            <a:srgbClr val="FFFFFF"/>
                          </a:solidFill>
                          <a:latin typeface="+mj-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200" b="1" i="0" u="none" strike="noStrike" dirty="0">
                          <a:solidFill>
                            <a:srgbClr val="FFFFFF"/>
                          </a:solidFill>
                          <a:latin typeface="+mj-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200" b="1" i="0" u="none" strike="noStrike" dirty="0">
                          <a:solidFill>
                            <a:srgbClr val="FFFFFF"/>
                          </a:solidFill>
                          <a:latin typeface="+mj-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200" b="1" i="0" u="none" strike="noStrike" dirty="0">
                          <a:solidFill>
                            <a:srgbClr val="FFFFFF"/>
                          </a:solidFill>
                          <a:latin typeface="+mj-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200" b="1" i="0" u="none" strike="noStrike" dirty="0">
                          <a:solidFill>
                            <a:srgbClr val="FFFFFF"/>
                          </a:solidFill>
                          <a:latin typeface="+mj-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200" b="1" i="0" u="none" strike="noStrike" dirty="0">
                          <a:solidFill>
                            <a:srgbClr val="FFFFFF"/>
                          </a:solidFill>
                          <a:latin typeface="+mj-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200" b="1" i="0" u="none" strike="noStrike" dirty="0">
                          <a:solidFill>
                            <a:srgbClr val="FFFFFF"/>
                          </a:solidFill>
                          <a:latin typeface="+mj-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200" b="1" i="0" u="none" strike="noStrike" dirty="0">
                          <a:solidFill>
                            <a:srgbClr val="FFFFFF"/>
                          </a:solidFill>
                          <a:latin typeface="+mj-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200" b="1" i="0" u="none" strike="noStrike" dirty="0">
                          <a:solidFill>
                            <a:srgbClr val="FFFFFF"/>
                          </a:solidFill>
                          <a:latin typeface="+mj-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200" b="1" i="0" u="none" strike="noStrike" dirty="0">
                          <a:solidFill>
                            <a:srgbClr val="FFFFFF"/>
                          </a:solidFill>
                          <a:latin typeface="+mj-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200" b="1" i="0" u="none" strike="noStrike" dirty="0">
                          <a:solidFill>
                            <a:srgbClr val="FFFFFF"/>
                          </a:solidFill>
                          <a:latin typeface="+mj-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200" b="1" i="0" u="none" strike="noStrike" dirty="0">
                          <a:solidFill>
                            <a:srgbClr val="FFFFFF"/>
                          </a:solidFill>
                          <a:latin typeface="+mj-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extLst>
                  <a:ext uri="{0D108BD9-81ED-4DB2-BD59-A6C34878D82A}">
                    <a16:rowId xmlns:a16="http://schemas.microsoft.com/office/drawing/2014/main" val="10002"/>
                  </a:ext>
                </a:extLst>
              </a:tr>
              <a:tr h="38787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800" b="0" i="0" u="none" strike="noStrike" dirty="0">
                          <a:solidFill>
                            <a:srgbClr val="000000"/>
                          </a:solidFill>
                          <a:latin typeface="Arial"/>
                        </a:rPr>
                        <a:t> </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800" b="0" i="0" u="none" strike="noStrike" dirty="0">
                          <a:solidFill>
                            <a:srgbClr val="000000"/>
                          </a:solidFill>
                          <a:latin typeface="Arial"/>
                        </a:rPr>
                        <a:t> </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85725" marR="0" lvl="0" indent="-85725" algn="l" defTabSz="914400" rtl="0" eaLnBrk="1" fontAlgn="b" latinLnBrk="0" hangingPunct="1">
                        <a:lnSpc>
                          <a:spcPct val="100000"/>
                        </a:lnSpc>
                        <a:spcBef>
                          <a:spcPts val="0"/>
                        </a:spcBef>
                        <a:spcAft>
                          <a:spcPts val="0"/>
                        </a:spcAft>
                        <a:buClrTx/>
                        <a:buSzTx/>
                        <a:buFont typeface="Arial" pitchFamily="34" charset="0"/>
                        <a:buChar char="•"/>
                        <a:tabLst/>
                        <a:defRPr/>
                      </a:pPr>
                      <a:endParaRPr kumimoji="0" lang="en-US" sz="800" b="0" i="0" u="none" strike="noStrike" kern="1200" cap="none" spc="0" normalizeH="0" baseline="0" dirty="0">
                        <a:ln>
                          <a:noFill/>
                        </a:ln>
                        <a:solidFill>
                          <a:srgbClr val="000000"/>
                        </a:solidFill>
                        <a:effectLst/>
                        <a:uLnTx/>
                        <a:uFillTx/>
                        <a:latin typeface="+mn-lt"/>
                        <a:ea typeface="+mn-ea"/>
                        <a:cs typeface="+mn-cs"/>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800" b="0" i="0" u="none" strike="noStrike" dirty="0">
                          <a:solidFill>
                            <a:srgbClr val="000000"/>
                          </a:solidFill>
                          <a:latin typeface="Arial"/>
                        </a:rPr>
                        <a:t> </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extLst>
                  <a:ext uri="{0D108BD9-81ED-4DB2-BD59-A6C34878D82A}">
                    <a16:rowId xmlns:a16="http://schemas.microsoft.com/office/drawing/2014/main" val="10003"/>
                  </a:ext>
                </a:extLst>
              </a:tr>
              <a:tr h="21431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800" b="0" i="0" u="none" strike="noStrike" dirty="0">
                          <a:solidFill>
                            <a:srgbClr val="000000"/>
                          </a:solidFill>
                          <a:latin typeface="Arial"/>
                        </a:rPr>
                        <a:t> </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800" b="0" i="0" u="none" strike="noStrike" dirty="0">
                          <a:solidFill>
                            <a:srgbClr val="000000"/>
                          </a:solidFill>
                          <a:latin typeface="Arial"/>
                        </a:rPr>
                        <a:t> </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85725" marR="0" lvl="0" indent="-85725" algn="l" defTabSz="914400" rtl="0" eaLnBrk="1" fontAlgn="b" latinLnBrk="0" hangingPunct="1">
                        <a:lnSpc>
                          <a:spcPct val="100000"/>
                        </a:lnSpc>
                        <a:spcBef>
                          <a:spcPts val="0"/>
                        </a:spcBef>
                        <a:spcAft>
                          <a:spcPts val="0"/>
                        </a:spcAft>
                        <a:buClrTx/>
                        <a:buSzTx/>
                        <a:buFont typeface="Arial" pitchFamily="34" charset="0"/>
                        <a:buChar char="•"/>
                        <a:tabLst/>
                        <a:defRPr/>
                      </a:pPr>
                      <a:endParaRPr kumimoji="0" lang="en-US" sz="800" b="0" i="0" u="none" strike="noStrike" kern="1200" cap="none" spc="0" normalizeH="0" baseline="0" dirty="0">
                        <a:ln>
                          <a:noFill/>
                        </a:ln>
                        <a:solidFill>
                          <a:srgbClr val="000000"/>
                        </a:solidFill>
                        <a:effectLst/>
                        <a:uLnTx/>
                        <a:uFillTx/>
                        <a:latin typeface="+mn-lt"/>
                        <a:ea typeface="+mn-ea"/>
                        <a:cs typeface="+mn-cs"/>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800" b="0" i="0" u="none" strike="noStrike" dirty="0">
                          <a:solidFill>
                            <a:srgbClr val="000000"/>
                          </a:solidFill>
                          <a:latin typeface="Arial"/>
                        </a:rPr>
                        <a:t> </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5760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1400" dirty="0">
                          <a:solidFill>
                            <a:schemeClr val="bg1"/>
                          </a:solidFill>
                          <a:latin typeface="+mn-lt"/>
                        </a:rPr>
                        <a:t>Text</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dirty="0">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extLst>
                  <a:ext uri="{0D108BD9-81ED-4DB2-BD59-A6C34878D82A}">
                    <a16:rowId xmlns:a16="http://schemas.microsoft.com/office/drawing/2014/main" val="10005"/>
                  </a:ext>
                </a:extLst>
              </a:tr>
              <a:tr h="5760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mn-lt"/>
                        </a:rPr>
                        <a:t>Text</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dirty="0">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dirty="0">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dirty="0">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dirty="0">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extLst>
                  <a:ext uri="{0D108BD9-81ED-4DB2-BD59-A6C34878D82A}">
                    <a16:rowId xmlns:a16="http://schemas.microsoft.com/office/drawing/2014/main" val="10006"/>
                  </a:ext>
                </a:extLst>
              </a:tr>
              <a:tr h="5760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mn-lt"/>
                        </a:rPr>
                        <a:t>Text</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dirty="0">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dirty="0">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extLst>
                  <a:ext uri="{0D108BD9-81ED-4DB2-BD59-A6C34878D82A}">
                    <a16:rowId xmlns:a16="http://schemas.microsoft.com/office/drawing/2014/main" val="10007"/>
                  </a:ext>
                </a:extLst>
              </a:tr>
              <a:tr h="5760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mn-lt"/>
                        </a:rPr>
                        <a:t>Text</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dirty="0">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dirty="0">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extLst>
                  <a:ext uri="{0D108BD9-81ED-4DB2-BD59-A6C34878D82A}">
                    <a16:rowId xmlns:a16="http://schemas.microsoft.com/office/drawing/2014/main" val="10008"/>
                  </a:ext>
                </a:extLst>
              </a:tr>
              <a:tr h="5760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mn-lt"/>
                        </a:rPr>
                        <a:t>Text</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dirty="0">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dirty="0">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dirty="0">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extLst>
                  <a:ext uri="{0D108BD9-81ED-4DB2-BD59-A6C34878D82A}">
                    <a16:rowId xmlns:a16="http://schemas.microsoft.com/office/drawing/2014/main" val="10009"/>
                  </a:ext>
                </a:extLst>
              </a:tr>
              <a:tr h="5760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mn-lt"/>
                        </a:rPr>
                        <a:t>Text</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dirty="0">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dirty="0">
                        <a:latin typeface="+mn-lt"/>
                      </a:endParaRPr>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extLst>
                  <a:ext uri="{0D108BD9-81ED-4DB2-BD59-A6C34878D82A}">
                    <a16:rowId xmlns:a16="http://schemas.microsoft.com/office/drawing/2014/main" val="10010"/>
                  </a:ext>
                </a:extLst>
              </a:tr>
            </a:tbl>
          </a:graphicData>
        </a:graphic>
      </p:graphicFrame>
      <p:sp>
        <p:nvSpPr>
          <p:cNvPr id="7" name="Rectangle 3">
            <a:extLst>
              <a:ext uri="{FF2B5EF4-FFF2-40B4-BE49-F238E27FC236}">
                <a16:creationId xmlns:a16="http://schemas.microsoft.com/office/drawing/2014/main" id="{D5CE8A9B-BEE2-4552-84E9-38C045FF57F3}"/>
              </a:ext>
            </a:extLst>
          </p:cNvPr>
          <p:cNvSpPr>
            <a:spLocks noChangeArrowheads="1"/>
          </p:cNvSpPr>
          <p:nvPr/>
        </p:nvSpPr>
        <p:spPr bwMode="auto">
          <a:xfrm>
            <a:off x="2166908" y="2094548"/>
            <a:ext cx="760740" cy="398348"/>
          </a:xfrm>
          <a:prstGeom prst="rect">
            <a:avLst/>
          </a:prstGeom>
          <a:solidFill>
            <a:schemeClr val="accent3">
              <a:lumMod val="50000"/>
            </a:schemeClr>
          </a:solidFill>
          <a:ln w="10000" cap="flat" cmpd="sng" algn="ctr">
            <a:noFill/>
            <a:prstDash val="solid"/>
            <a:headEnd/>
            <a:tailEnd/>
          </a:ln>
          <a:effectLst>
            <a:outerShdw blurRad="38100" dist="30000" dir="5400000" rotWithShape="0">
              <a:srgbClr val="000000">
                <a:alpha val="45000"/>
              </a:srgbClr>
            </a:outerShdw>
          </a:effectLst>
        </p:spPr>
        <p:txBody>
          <a:bodyPr wrap="square" lIns="36000" tIns="36000" rIns="36000" bIns="36000" anchor="ctr"/>
          <a:lstStyle/>
          <a:p>
            <a:pPr marL="0" marR="0" lvl="1" indent="0" algn="ctr" defTabSz="914400" rtl="0" eaLnBrk="1" fontAlgn="auto" latinLnBrk="0" hangingPunct="1">
              <a:lnSpc>
                <a:spcPct val="100000"/>
              </a:lnSpc>
              <a:spcBef>
                <a:spcPct val="25000"/>
              </a:spcBef>
              <a:spcAft>
                <a:spcPts val="0"/>
              </a:spcAft>
              <a:buClr>
                <a:srgbClr val="F0AB00"/>
              </a:buClr>
              <a:buSzTx/>
              <a:buFontTx/>
              <a:buNone/>
              <a:tabLst/>
              <a:defRPr/>
            </a:pPr>
            <a:r>
              <a:rPr kumimoji="0" lang="en-US" sz="1050" b="1" i="0" u="none" strike="noStrike" kern="0" cap="none" spc="0" normalizeH="0" baseline="0" noProof="0" dirty="0">
                <a:ln>
                  <a:noFill/>
                </a:ln>
                <a:solidFill>
                  <a:srgbClr val="FFFFFF"/>
                </a:solidFill>
                <a:effectLst/>
                <a:uLnTx/>
                <a:uFillTx/>
                <a:latin typeface="+mj-lt"/>
                <a:ea typeface="+mn-ea"/>
                <a:cs typeface="+mn-cs"/>
              </a:rPr>
              <a:t>Heading</a:t>
            </a:r>
          </a:p>
        </p:txBody>
      </p:sp>
      <p:sp>
        <p:nvSpPr>
          <p:cNvPr id="8" name="Rectangle 7">
            <a:extLst>
              <a:ext uri="{FF2B5EF4-FFF2-40B4-BE49-F238E27FC236}">
                <a16:creationId xmlns:a16="http://schemas.microsoft.com/office/drawing/2014/main" id="{1AE9F937-B96C-4458-9505-E3E2DEA43656}"/>
              </a:ext>
            </a:extLst>
          </p:cNvPr>
          <p:cNvSpPr/>
          <p:nvPr/>
        </p:nvSpPr>
        <p:spPr bwMode="auto">
          <a:xfrm rot="16200000">
            <a:off x="-23627" y="3982619"/>
            <a:ext cx="4068663" cy="292522"/>
          </a:xfrm>
          <a:prstGeom prst="rect">
            <a:avLst/>
          </a:prstGeom>
          <a:solidFill>
            <a:schemeClr val="accent3">
              <a:lumMod val="50000"/>
            </a:schemeClr>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de-DE" sz="1100" b="1" i="0" u="none" strike="noStrike" kern="0" cap="none" spc="0" normalizeH="0" baseline="0" noProof="0" dirty="0">
                <a:ln>
                  <a:noFill/>
                </a:ln>
                <a:solidFill>
                  <a:srgbClr val="FFFFFF"/>
                </a:solidFill>
                <a:effectLst/>
                <a:uLnTx/>
                <a:uFillTx/>
                <a:latin typeface="+mj-lt"/>
                <a:ea typeface="Arial Unicode MS" pitchFamily="34" charset="-128"/>
                <a:cs typeface="Arial Unicode MS" pitchFamily="34" charset="-128"/>
              </a:rPr>
              <a:t>Heading</a:t>
            </a:r>
            <a:endParaRPr kumimoji="0" lang="en-US" sz="1100" b="1" i="0" u="none" strike="noStrike" kern="0" cap="none" spc="0" normalizeH="0" baseline="0" noProof="0" dirty="0">
              <a:ln>
                <a:noFill/>
              </a:ln>
              <a:solidFill>
                <a:srgbClr val="FFFFFF"/>
              </a:solidFill>
              <a:effectLst/>
              <a:uLnTx/>
              <a:uFillTx/>
              <a:latin typeface="+mj-lt"/>
              <a:ea typeface="Arial Unicode MS" pitchFamily="34" charset="-128"/>
              <a:cs typeface="Arial Unicode MS" pitchFamily="34" charset="-128"/>
            </a:endParaRPr>
          </a:p>
        </p:txBody>
      </p:sp>
      <p:sp>
        <p:nvSpPr>
          <p:cNvPr id="9" name="Oval 8">
            <a:extLst>
              <a:ext uri="{FF2B5EF4-FFF2-40B4-BE49-F238E27FC236}">
                <a16:creationId xmlns:a16="http://schemas.microsoft.com/office/drawing/2014/main" id="{D44BD661-F0D0-4553-86D0-0586BDFB311C}"/>
              </a:ext>
              <a:ext uri="{C183D7F6-B498-43B3-948B-1728B52AA6E4}">
                <adec:decorative xmlns:adec="http://schemas.microsoft.com/office/drawing/2017/decorative" val="1"/>
              </a:ext>
            </a:extLst>
          </p:cNvPr>
          <p:cNvSpPr/>
          <p:nvPr/>
        </p:nvSpPr>
        <p:spPr bwMode="auto">
          <a:xfrm>
            <a:off x="3827748" y="2234580"/>
            <a:ext cx="144016" cy="148208"/>
          </a:xfrm>
          <a:prstGeom prst="ellipse">
            <a:avLst/>
          </a:prstGeom>
          <a:solidFill>
            <a:schemeClr val="accent3"/>
          </a:solidFill>
          <a:ln w="9525" algn="ctr">
            <a:noFill/>
            <a:miter lim="800000"/>
            <a:headEnd/>
            <a:tailEnd/>
          </a:ln>
        </p:spPr>
        <p:txBody>
          <a:bodyPr lIns="90000" tIns="72000" rIns="90000" bIns="72000" rtlCol="0" anchor="ctr"/>
          <a:lstStyle/>
          <a:p>
            <a:pPr marL="184150" marR="0" lvl="0" indent="-18415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de-DE" sz="16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1" name="Rectangle 10">
            <a:extLst>
              <a:ext uri="{FF2B5EF4-FFF2-40B4-BE49-F238E27FC236}">
                <a16:creationId xmlns:a16="http://schemas.microsoft.com/office/drawing/2014/main" id="{4BD6DEC9-51C0-4A6A-9A11-89C3FF2BAD10}"/>
              </a:ext>
            </a:extLst>
          </p:cNvPr>
          <p:cNvSpPr/>
          <p:nvPr/>
        </p:nvSpPr>
        <p:spPr bwMode="auto">
          <a:xfrm>
            <a:off x="3539718" y="2423268"/>
            <a:ext cx="792087" cy="213644"/>
          </a:xfrm>
          <a:prstGeom prst="rect">
            <a:avLst/>
          </a:prstGeom>
          <a:solidFill>
            <a:schemeClr val="accent3"/>
          </a:solidFill>
          <a:ln w="9525"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de-DE" sz="700" b="1" i="0" u="none" strike="noStrike" kern="0" cap="none" spc="0" normalizeH="0" baseline="0" noProof="0" dirty="0">
                <a:ln>
                  <a:noFill/>
                </a:ln>
                <a:solidFill>
                  <a:srgbClr val="FFFFFF"/>
                </a:solidFill>
                <a:effectLst/>
                <a:uLnTx/>
                <a:uFillTx/>
                <a:latin typeface="+mj-lt"/>
                <a:ea typeface="Arial Unicode MS" pitchFamily="34" charset="-128"/>
                <a:cs typeface="Arial Unicode MS" pitchFamily="34" charset="-128"/>
              </a:rPr>
              <a:t>Milestone</a:t>
            </a:r>
            <a:endParaRPr kumimoji="0" lang="de-DE" sz="500" b="1" i="0" u="none" strike="noStrike" kern="0" cap="none" spc="0" normalizeH="0" baseline="0" noProof="0" dirty="0">
              <a:ln>
                <a:noFill/>
              </a:ln>
              <a:solidFill>
                <a:srgbClr val="FFFFFF"/>
              </a:solidFill>
              <a:effectLst/>
              <a:uLnTx/>
              <a:uFillTx/>
              <a:latin typeface="+mj-lt"/>
              <a:ea typeface="Arial Unicode MS" pitchFamily="34" charset="-128"/>
              <a:cs typeface="Arial Unicode MS" pitchFamily="34" charset="-128"/>
            </a:endParaRPr>
          </a:p>
        </p:txBody>
      </p:sp>
      <p:sp>
        <p:nvSpPr>
          <p:cNvPr id="10" name="Oval 9">
            <a:extLst>
              <a:ext uri="{FF2B5EF4-FFF2-40B4-BE49-F238E27FC236}">
                <a16:creationId xmlns:a16="http://schemas.microsoft.com/office/drawing/2014/main" id="{B4C463C5-B57A-4E01-960C-A5BDEC4242FA}"/>
              </a:ext>
              <a:ext uri="{C183D7F6-B498-43B3-948B-1728B52AA6E4}">
                <adec:decorative xmlns:adec="http://schemas.microsoft.com/office/drawing/2017/decorative" val="1"/>
              </a:ext>
            </a:extLst>
          </p:cNvPr>
          <p:cNvSpPr/>
          <p:nvPr/>
        </p:nvSpPr>
        <p:spPr bwMode="auto">
          <a:xfrm>
            <a:off x="9516380" y="2234580"/>
            <a:ext cx="144016" cy="148208"/>
          </a:xfrm>
          <a:prstGeom prst="ellipse">
            <a:avLst/>
          </a:prstGeom>
          <a:solidFill>
            <a:schemeClr val="accent3"/>
          </a:solidFill>
          <a:ln w="9525" algn="ctr">
            <a:noFill/>
            <a:miter lim="800000"/>
            <a:headEnd/>
            <a:tailEnd/>
          </a:ln>
        </p:spPr>
        <p:txBody>
          <a:bodyPr lIns="90000" tIns="72000" rIns="90000" bIns="72000" rtlCol="0" anchor="ctr"/>
          <a:lstStyle/>
          <a:p>
            <a:pPr marL="184150" marR="0" lvl="0" indent="-18415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de-DE" sz="16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12" name="Rectangle 11">
            <a:extLst>
              <a:ext uri="{FF2B5EF4-FFF2-40B4-BE49-F238E27FC236}">
                <a16:creationId xmlns:a16="http://schemas.microsoft.com/office/drawing/2014/main" id="{A13C3C4F-37EC-422C-863C-40A160BD2218}"/>
              </a:ext>
            </a:extLst>
          </p:cNvPr>
          <p:cNvSpPr/>
          <p:nvPr/>
        </p:nvSpPr>
        <p:spPr bwMode="auto">
          <a:xfrm>
            <a:off x="9228350" y="2423268"/>
            <a:ext cx="792087" cy="213644"/>
          </a:xfrm>
          <a:prstGeom prst="rect">
            <a:avLst/>
          </a:prstGeom>
          <a:solidFill>
            <a:schemeClr val="accent3"/>
          </a:solidFill>
          <a:ln w="9525"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de-DE" sz="700" b="1" i="0" u="none" strike="noStrike" kern="0" cap="none" spc="0" normalizeH="0" baseline="0" noProof="0" dirty="0">
                <a:ln>
                  <a:noFill/>
                </a:ln>
                <a:solidFill>
                  <a:srgbClr val="FFFFFF"/>
                </a:solidFill>
                <a:effectLst/>
                <a:uLnTx/>
                <a:uFillTx/>
                <a:latin typeface="+mj-lt"/>
                <a:ea typeface="Arial Unicode MS" pitchFamily="34" charset="-128"/>
                <a:cs typeface="Arial Unicode MS" pitchFamily="34" charset="-128"/>
              </a:rPr>
              <a:t>Milestone</a:t>
            </a:r>
            <a:endParaRPr kumimoji="0" lang="de-DE" sz="500" b="1" i="0" u="none" strike="noStrike" kern="0" cap="none" spc="0" normalizeH="0" baseline="0" noProof="0" dirty="0">
              <a:ln>
                <a:noFill/>
              </a:ln>
              <a:solidFill>
                <a:srgbClr val="FFFFFF"/>
              </a:solidFill>
              <a:effectLst/>
              <a:uLnTx/>
              <a:uFillTx/>
              <a:latin typeface="+mj-lt"/>
              <a:ea typeface="Arial Unicode MS" pitchFamily="34" charset="-128"/>
              <a:cs typeface="Arial Unicode MS" pitchFamily="34" charset="-128"/>
            </a:endParaRPr>
          </a:p>
        </p:txBody>
      </p:sp>
      <p:sp>
        <p:nvSpPr>
          <p:cNvPr id="3" name="Footer Placeholder 2">
            <a:extLst>
              <a:ext uri="{FF2B5EF4-FFF2-40B4-BE49-F238E27FC236}">
                <a16:creationId xmlns:a16="http://schemas.microsoft.com/office/drawing/2014/main" id="{067CDD4D-9C36-4DD8-9956-D1D9F141ED8F}"/>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4" name="Slide Number Placeholder 13">
            <a:extLst>
              <a:ext uri="{FF2B5EF4-FFF2-40B4-BE49-F238E27FC236}">
                <a16:creationId xmlns:a16="http://schemas.microsoft.com/office/drawing/2014/main" id="{6DD35C46-F6AE-4731-8B10-B7CFD3722A15}"/>
              </a:ext>
            </a:extLst>
          </p:cNvPr>
          <p:cNvSpPr>
            <a:spLocks noGrp="1"/>
          </p:cNvSpPr>
          <p:nvPr>
            <p:ph type="sldNum" sz="quarter" idx="10"/>
          </p:nvPr>
        </p:nvSpPr>
        <p:spPr/>
        <p:txBody>
          <a:bodyPr/>
          <a:lstStyle/>
          <a:p>
            <a:fld id="{1F90F471-3972-4120-B8B3-0237DE626C35}" type="slidenum">
              <a:rPr lang="en-US" smtClean="0"/>
              <a:pPr/>
              <a:t>382</a:t>
            </a:fld>
            <a:endParaRPr lang="en-US" dirty="0"/>
          </a:p>
        </p:txBody>
      </p:sp>
    </p:spTree>
    <p:extLst>
      <p:ext uri="{BB962C8B-B14F-4D97-AF65-F5344CB8AC3E}">
        <p14:creationId xmlns:p14="http://schemas.microsoft.com/office/powerpoint/2010/main" val="188165840"/>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de-DE" dirty="0"/>
              <a:t>Project Timelines 2</a:t>
            </a:r>
            <a:endParaRPr lang="en-US" dirty="0"/>
          </a:p>
        </p:txBody>
      </p:sp>
      <p:grpSp>
        <p:nvGrpSpPr>
          <p:cNvPr id="49" name="Group 134" descr="Illustrative">
            <a:extLst>
              <a:ext uri="{FF2B5EF4-FFF2-40B4-BE49-F238E27FC236}">
                <a16:creationId xmlns:a16="http://schemas.microsoft.com/office/drawing/2014/main" id="{5CEF723E-941C-4601-9C33-A325407F03A3}"/>
              </a:ext>
            </a:extLst>
          </p:cNvPr>
          <p:cNvGrpSpPr/>
          <p:nvPr>
            <p:custDataLst>
              <p:tags r:id="rId1"/>
            </p:custDataLst>
          </p:nvPr>
        </p:nvGrpSpPr>
        <p:grpSpPr bwMode="auto">
          <a:xfrm>
            <a:off x="9273132" y="430355"/>
            <a:ext cx="1005840" cy="646331"/>
            <a:chOff x="7792324" y="1416278"/>
            <a:chExt cx="894476" cy="646331"/>
          </a:xfrm>
        </p:grpSpPr>
        <p:sp>
          <p:nvSpPr>
            <p:cNvPr id="50" name="TextBox 49">
              <a:extLst>
                <a:ext uri="{FF2B5EF4-FFF2-40B4-BE49-F238E27FC236}">
                  <a16:creationId xmlns:a16="http://schemas.microsoft.com/office/drawing/2014/main" id="{D35F22A2-45DE-49C1-826C-679E6A066E9B}"/>
                </a:ext>
              </a:extLst>
            </p:cNvPr>
            <p:cNvSpPr txBox="1"/>
            <p:nvPr/>
          </p:nvSpPr>
          <p:spPr bwMode="auto">
            <a:xfrm>
              <a:off x="7792324" y="1416278"/>
              <a:ext cx="894476" cy="646331"/>
            </a:xfrm>
            <a:prstGeom prst="rect">
              <a:avLst/>
            </a:prstGeom>
            <a:noFill/>
          </p:spPr>
          <p:txBody>
            <a:bodyPr vert="horz"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Illustrat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Contents</a:t>
              </a:r>
            </a:p>
          </p:txBody>
        </p:sp>
        <p:cxnSp>
          <p:nvCxnSpPr>
            <p:cNvPr id="51" name="Straight Connector 50">
              <a:extLst>
                <a:ext uri="{FF2B5EF4-FFF2-40B4-BE49-F238E27FC236}">
                  <a16:creationId xmlns:a16="http://schemas.microsoft.com/office/drawing/2014/main" id="{5E820987-DD3D-491B-AABF-86830EC8398D}"/>
                </a:ext>
              </a:extLst>
            </p:cNvPr>
            <p:cNvCxnSpPr/>
            <p:nvPr/>
          </p:nvCxnSpPr>
          <p:spPr bwMode="auto">
            <a:xfrm>
              <a:off x="7792324" y="1498600"/>
              <a:ext cx="894476" cy="0"/>
            </a:xfrm>
            <a:prstGeom prst="line">
              <a:avLst/>
            </a:prstGeom>
            <a:noFill/>
            <a:ln w="12700" cap="flat" cmpd="sng" algn="ctr">
              <a:solidFill>
                <a:srgbClr val="000000"/>
              </a:solidFill>
              <a:prstDash val="solid"/>
              <a:headEnd type="none"/>
              <a:tailEnd type="none"/>
            </a:ln>
            <a:effectLst/>
          </p:spPr>
        </p:cxnSp>
        <p:cxnSp>
          <p:nvCxnSpPr>
            <p:cNvPr id="52" name="Straight Connector 51">
              <a:extLst>
                <a:ext uri="{FF2B5EF4-FFF2-40B4-BE49-F238E27FC236}">
                  <a16:creationId xmlns:a16="http://schemas.microsoft.com/office/drawing/2014/main" id="{9AA629A8-D955-4347-9090-688692675522}"/>
                </a:ext>
              </a:extLst>
            </p:cNvPr>
            <p:cNvCxnSpPr/>
            <p:nvPr/>
          </p:nvCxnSpPr>
          <p:spPr bwMode="auto">
            <a:xfrm>
              <a:off x="7792324" y="1980287"/>
              <a:ext cx="894476" cy="0"/>
            </a:xfrm>
            <a:prstGeom prst="line">
              <a:avLst/>
            </a:prstGeom>
            <a:noFill/>
            <a:ln w="12700" cap="flat" cmpd="sng" algn="ctr">
              <a:solidFill>
                <a:srgbClr val="000000"/>
              </a:solidFill>
              <a:prstDash val="solid"/>
              <a:headEnd type="none"/>
              <a:tailEnd type="none"/>
            </a:ln>
            <a:effectLst/>
          </p:spPr>
        </p:cxnSp>
      </p:grpSp>
      <p:sp>
        <p:nvSpPr>
          <p:cNvPr id="13" name="Text Box 134">
            <a:extLst>
              <a:ext uri="{FF2B5EF4-FFF2-40B4-BE49-F238E27FC236}">
                <a16:creationId xmlns:a16="http://schemas.microsoft.com/office/drawing/2014/main" id="{B3BAA5FE-BC89-4EF6-89F5-C6544DD753D5}"/>
              </a:ext>
            </a:extLst>
          </p:cNvPr>
          <p:cNvSpPr txBox="1">
            <a:spLocks noChangeArrowheads="1"/>
          </p:cNvSpPr>
          <p:nvPr/>
        </p:nvSpPr>
        <p:spPr bwMode="auto">
          <a:xfrm>
            <a:off x="2253337" y="1602172"/>
            <a:ext cx="1052470" cy="246221"/>
          </a:xfrm>
          <a:prstGeom prst="rect">
            <a:avLst/>
          </a:prstGeom>
          <a:noFill/>
          <a:ln w="9525">
            <a:noFill/>
            <a:miter lim="800000"/>
            <a:headEnd/>
            <a:tailEnd/>
          </a:ln>
          <a:effectLst>
            <a:prstShdw prst="shdw17" dist="17961" dir="2700000">
              <a:srgbClr val="A100FF">
                <a:gamma/>
                <a:shade val="60000"/>
                <a:invGamma/>
              </a:srgbClr>
            </a:prstShdw>
          </a:effectLst>
        </p:spPr>
        <p:txBody>
          <a:bodyPr wrap="square" lIns="0" tIns="0" rIns="0" bIns="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SimSun" pitchFamily="2" charset="-122"/>
                <a:cs typeface="+mn-cs"/>
              </a:rPr>
              <a:t>Phase:</a:t>
            </a:r>
          </a:p>
        </p:txBody>
      </p:sp>
      <p:grpSp>
        <p:nvGrpSpPr>
          <p:cNvPr id="2" name="Group 1" descr="Modifications">
            <a:extLst>
              <a:ext uri="{FF2B5EF4-FFF2-40B4-BE49-F238E27FC236}">
                <a16:creationId xmlns:a16="http://schemas.microsoft.com/office/drawing/2014/main" id="{712DD085-C6EE-49B0-B059-33FBF51958AC}"/>
              </a:ext>
            </a:extLst>
          </p:cNvPr>
          <p:cNvGrpSpPr/>
          <p:nvPr/>
        </p:nvGrpSpPr>
        <p:grpSpPr>
          <a:xfrm>
            <a:off x="2242770" y="2017451"/>
            <a:ext cx="2733040" cy="759063"/>
            <a:chOff x="2242770" y="2017451"/>
            <a:chExt cx="2733040" cy="759063"/>
          </a:xfrm>
        </p:grpSpPr>
        <p:sp>
          <p:nvSpPr>
            <p:cNvPr id="14" name="Text Box 3">
              <a:extLst>
                <a:ext uri="{FF2B5EF4-FFF2-40B4-BE49-F238E27FC236}">
                  <a16:creationId xmlns:a16="http://schemas.microsoft.com/office/drawing/2014/main" id="{FD925F2C-B7EA-4790-9DC3-AD548FFBC898}"/>
                </a:ext>
              </a:extLst>
            </p:cNvPr>
            <p:cNvSpPr txBox="1">
              <a:spLocks noChangeArrowheads="1"/>
            </p:cNvSpPr>
            <p:nvPr/>
          </p:nvSpPr>
          <p:spPr bwMode="auto">
            <a:xfrm>
              <a:off x="2253336" y="2622626"/>
              <a:ext cx="2722474" cy="153888"/>
            </a:xfrm>
            <a:prstGeom prst="rect">
              <a:avLst/>
            </a:prstGeom>
            <a:noFill/>
            <a:ln w="9525" algn="ctr">
              <a:noFill/>
              <a:miter lim="800000"/>
              <a:headEnd/>
              <a:tailEnd/>
            </a:ln>
          </p:spPr>
          <p:txBody>
            <a:bodyPr wrap="square" lIns="0" tIns="0" rIns="0" bIns="0">
              <a:spAutoFit/>
            </a:bodyPr>
            <a:lstStyle/>
            <a:p>
              <a:pPr marL="72000" marR="0" lvl="0" indent="-72000" algn="l" defTabSz="914400" rtl="0" eaLnBrk="1" fontAlgn="auto" latinLnBrk="0" hangingPunct="1">
                <a:lnSpc>
                  <a:spcPct val="100000"/>
                </a:lnSpc>
                <a:spcBef>
                  <a:spcPts val="100"/>
                </a:spcBef>
                <a:spcAft>
                  <a:spcPts val="100"/>
                </a:spcAft>
                <a:buClrTx/>
                <a:buSzPct val="100000"/>
                <a:buFontTx/>
                <a:buChar char="•"/>
                <a:tabLst/>
                <a:defRPr/>
              </a:pPr>
              <a:r>
                <a:rPr kumimoji="0" lang="en-US" sz="1000" b="0" i="0" u="none" strike="noStrike" kern="0" cap="none" spc="0" normalizeH="0" baseline="0" noProof="0" dirty="0">
                  <a:ln>
                    <a:noFill/>
                  </a:ln>
                  <a:solidFill>
                    <a:sysClr val="windowText" lastClr="000000"/>
                  </a:solidFill>
                  <a:effectLst/>
                  <a:uLnTx/>
                  <a:uFillTx/>
                  <a:ea typeface="+mn-ea"/>
                  <a:cs typeface="+mn-cs"/>
                </a:rPr>
                <a:t>To be rolled out in all branches</a:t>
              </a:r>
            </a:p>
          </p:txBody>
        </p:sp>
        <p:sp>
          <p:nvSpPr>
            <p:cNvPr id="25" name="AutoShape 4">
              <a:extLst>
                <a:ext uri="{FF2B5EF4-FFF2-40B4-BE49-F238E27FC236}">
                  <a16:creationId xmlns:a16="http://schemas.microsoft.com/office/drawing/2014/main" id="{A887B7F7-C006-44C5-9444-6ED6A34A2F27}"/>
                </a:ext>
              </a:extLst>
            </p:cNvPr>
            <p:cNvSpPr>
              <a:spLocks noChangeArrowheads="1"/>
            </p:cNvSpPr>
            <p:nvPr/>
          </p:nvSpPr>
          <p:spPr bwMode="auto">
            <a:xfrm>
              <a:off x="2242770" y="2017451"/>
              <a:ext cx="2427617" cy="578684"/>
            </a:xfrm>
            <a:prstGeom prst="homePlate">
              <a:avLst>
                <a:gd name="adj" fmla="val 28952"/>
              </a:avLst>
            </a:prstGeom>
            <a:solidFill>
              <a:srgbClr val="A100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43F397FF-A0AA-454D-9F7D-47EFC58747D4}"/>
                </a:ext>
              </a:extLst>
            </p:cNvPr>
            <p:cNvSpPr txBox="1"/>
            <p:nvPr/>
          </p:nvSpPr>
          <p:spPr bwMode="auto">
            <a:xfrm>
              <a:off x="2550486" y="2131731"/>
              <a:ext cx="1279196"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mj-lt"/>
                  <a:ea typeface="+mn-ea"/>
                  <a:cs typeface="+mn-cs"/>
                </a:rPr>
                <a:t>Process Modifications</a:t>
              </a:r>
            </a:p>
          </p:txBody>
        </p:sp>
        <p:grpSp>
          <p:nvGrpSpPr>
            <p:cNvPr id="27" name="Group 26">
              <a:extLst>
                <a:ext uri="{FF2B5EF4-FFF2-40B4-BE49-F238E27FC236}">
                  <a16:creationId xmlns:a16="http://schemas.microsoft.com/office/drawing/2014/main" id="{A138FA9A-0A73-4464-895D-30C3948A4060}"/>
                </a:ext>
              </a:extLst>
            </p:cNvPr>
            <p:cNvGrpSpPr/>
            <p:nvPr/>
          </p:nvGrpSpPr>
          <p:grpSpPr bwMode="auto">
            <a:xfrm>
              <a:off x="2343348" y="2362399"/>
              <a:ext cx="2078723" cy="163547"/>
              <a:chOff x="3535453" y="2766749"/>
              <a:chExt cx="1824132" cy="163548"/>
            </a:xfrm>
          </p:grpSpPr>
          <p:sp>
            <p:nvSpPr>
              <p:cNvPr id="28" name="AutoShape 4">
                <a:extLst>
                  <a:ext uri="{FF2B5EF4-FFF2-40B4-BE49-F238E27FC236}">
                    <a16:creationId xmlns:a16="http://schemas.microsoft.com/office/drawing/2014/main" id="{0D699616-1916-498E-A3E5-AFD8AD362067}"/>
                  </a:ext>
                </a:extLst>
              </p:cNvPr>
              <p:cNvSpPr>
                <a:spLocks noChangeArrowheads="1"/>
              </p:cNvSpPr>
              <p:nvPr/>
            </p:nvSpPr>
            <p:spPr bwMode="auto">
              <a:xfrm>
                <a:off x="3535453" y="2766751"/>
                <a:ext cx="594546" cy="163546"/>
              </a:xfrm>
              <a:prstGeom prst="homePlate">
                <a:avLst>
                  <a:gd name="adj" fmla="val 28952"/>
                </a:avLst>
              </a:prstGeom>
              <a:solidFill>
                <a:srgbClr val="FFFF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ea typeface="+mn-ea"/>
                    <a:cs typeface="+mn-cs"/>
                  </a:rPr>
                  <a:t>Design</a:t>
                </a:r>
              </a:p>
            </p:txBody>
          </p:sp>
          <p:sp>
            <p:nvSpPr>
              <p:cNvPr id="29" name="AutoShape 4">
                <a:extLst>
                  <a:ext uri="{FF2B5EF4-FFF2-40B4-BE49-F238E27FC236}">
                    <a16:creationId xmlns:a16="http://schemas.microsoft.com/office/drawing/2014/main" id="{A072A489-C62C-4429-A318-B3D1C8C5E479}"/>
                  </a:ext>
                </a:extLst>
              </p:cNvPr>
              <p:cNvSpPr>
                <a:spLocks noChangeArrowheads="1"/>
              </p:cNvSpPr>
              <p:nvPr/>
            </p:nvSpPr>
            <p:spPr bwMode="auto">
              <a:xfrm>
                <a:off x="4146857" y="2766749"/>
                <a:ext cx="594546" cy="163547"/>
              </a:xfrm>
              <a:prstGeom prst="chevron">
                <a:avLst>
                  <a:gd name="adj" fmla="val 27844"/>
                </a:avLst>
              </a:prstGeom>
              <a:solidFill>
                <a:srgbClr val="FFFF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ea typeface="+mn-ea"/>
                    <a:cs typeface="+mn-cs"/>
                  </a:rPr>
                  <a:t>Train</a:t>
                </a:r>
              </a:p>
            </p:txBody>
          </p:sp>
          <p:sp>
            <p:nvSpPr>
              <p:cNvPr id="30" name="AutoShape 4">
                <a:extLst>
                  <a:ext uri="{FF2B5EF4-FFF2-40B4-BE49-F238E27FC236}">
                    <a16:creationId xmlns:a16="http://schemas.microsoft.com/office/drawing/2014/main" id="{E16726D5-C1D6-4577-8E89-6A23F459BEC9}"/>
                  </a:ext>
                </a:extLst>
              </p:cNvPr>
              <p:cNvSpPr>
                <a:spLocks noChangeArrowheads="1"/>
              </p:cNvSpPr>
              <p:nvPr/>
            </p:nvSpPr>
            <p:spPr bwMode="auto">
              <a:xfrm>
                <a:off x="4765039" y="2766749"/>
                <a:ext cx="594546" cy="163547"/>
              </a:xfrm>
              <a:prstGeom prst="chevron">
                <a:avLst>
                  <a:gd name="adj" fmla="val 27844"/>
                </a:avLst>
              </a:prstGeom>
              <a:solidFill>
                <a:srgbClr val="FFFF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ea typeface="+mn-ea"/>
                    <a:cs typeface="+mn-cs"/>
                  </a:rPr>
                  <a:t>Deploy</a:t>
                </a:r>
              </a:p>
            </p:txBody>
          </p:sp>
        </p:grpSp>
      </p:grpSp>
      <p:grpSp>
        <p:nvGrpSpPr>
          <p:cNvPr id="5" name="Group 4" descr="Survey">
            <a:extLst>
              <a:ext uri="{FF2B5EF4-FFF2-40B4-BE49-F238E27FC236}">
                <a16:creationId xmlns:a16="http://schemas.microsoft.com/office/drawing/2014/main" id="{65DED33D-AEFE-467C-8888-FC4982F502C2}"/>
              </a:ext>
            </a:extLst>
          </p:cNvPr>
          <p:cNvGrpSpPr/>
          <p:nvPr/>
        </p:nvGrpSpPr>
        <p:grpSpPr>
          <a:xfrm>
            <a:off x="2231404" y="2888644"/>
            <a:ext cx="3123151" cy="923792"/>
            <a:chOff x="2231404" y="2888644"/>
            <a:chExt cx="3123151" cy="923792"/>
          </a:xfrm>
        </p:grpSpPr>
        <p:sp>
          <p:nvSpPr>
            <p:cNvPr id="15" name="Text Box 3">
              <a:extLst>
                <a:ext uri="{FF2B5EF4-FFF2-40B4-BE49-F238E27FC236}">
                  <a16:creationId xmlns:a16="http://schemas.microsoft.com/office/drawing/2014/main" id="{94513CE5-9FDA-407A-8859-53AD0DC8CCB9}"/>
                </a:ext>
              </a:extLst>
            </p:cNvPr>
            <p:cNvSpPr txBox="1">
              <a:spLocks noChangeArrowheads="1"/>
            </p:cNvSpPr>
            <p:nvPr/>
          </p:nvSpPr>
          <p:spPr bwMode="auto">
            <a:xfrm>
              <a:off x="2231404" y="3479011"/>
              <a:ext cx="3123151" cy="333425"/>
            </a:xfrm>
            <a:prstGeom prst="rect">
              <a:avLst/>
            </a:prstGeom>
            <a:noFill/>
            <a:ln w="9525" algn="ctr">
              <a:noFill/>
              <a:miter lim="800000"/>
              <a:headEnd/>
              <a:tailEnd/>
            </a:ln>
          </p:spPr>
          <p:txBody>
            <a:bodyPr wrap="square" lIns="0" tIns="0" rIns="0" bIns="0">
              <a:spAutoFit/>
            </a:bodyPr>
            <a:lstStyle/>
            <a:p>
              <a:pPr marL="72000" marR="0" lvl="0" indent="-72000" algn="l" defTabSz="914400" rtl="0" eaLnBrk="1" fontAlgn="auto" latinLnBrk="0" hangingPunct="1">
                <a:lnSpc>
                  <a:spcPct val="100000"/>
                </a:lnSpc>
                <a:spcBef>
                  <a:spcPts val="100"/>
                </a:spcBef>
                <a:spcAft>
                  <a:spcPts val="100"/>
                </a:spcAft>
                <a:buClrTx/>
                <a:buSzPct val="100000"/>
                <a:buFontTx/>
                <a:buChar char="•"/>
                <a:tabLst/>
                <a:defRPr/>
              </a:pPr>
              <a:r>
                <a:rPr kumimoji="0" lang="en-US" sz="1000" b="0" i="0" u="none" strike="noStrike" kern="0" cap="none" spc="0" normalizeH="0" baseline="0" noProof="0" dirty="0">
                  <a:ln>
                    <a:noFill/>
                  </a:ln>
                  <a:solidFill>
                    <a:sysClr val="windowText" lastClr="000000"/>
                  </a:solidFill>
                  <a:effectLst/>
                  <a:uLnTx/>
                  <a:uFillTx/>
                  <a:ea typeface="+mn-ea"/>
                  <a:cs typeface="+mn-cs"/>
                </a:rPr>
                <a:t>Survey to be conducted in urban areas</a:t>
              </a:r>
            </a:p>
            <a:p>
              <a:pPr marL="72000" marR="0" lvl="0" indent="-72000" algn="l" defTabSz="914400" rtl="0" eaLnBrk="1" fontAlgn="auto" latinLnBrk="0" hangingPunct="1">
                <a:lnSpc>
                  <a:spcPct val="100000"/>
                </a:lnSpc>
                <a:spcBef>
                  <a:spcPts val="100"/>
                </a:spcBef>
                <a:spcAft>
                  <a:spcPts val="100"/>
                </a:spcAft>
                <a:buClrTx/>
                <a:buSzPct val="100000"/>
                <a:buFontTx/>
                <a:buChar char="•"/>
                <a:tabLst/>
                <a:defRPr/>
              </a:pPr>
              <a:r>
                <a:rPr kumimoji="0" lang="en-US" sz="1000" b="0" i="0" u="none" strike="noStrike" kern="0" cap="none" spc="0" normalizeH="0" baseline="0" noProof="0" dirty="0">
                  <a:ln>
                    <a:noFill/>
                  </a:ln>
                  <a:solidFill>
                    <a:sysClr val="windowText" lastClr="000000"/>
                  </a:solidFill>
                  <a:effectLst/>
                  <a:uLnTx/>
                  <a:uFillTx/>
                  <a:ea typeface="+mn-ea"/>
                  <a:cs typeface="+mn-cs"/>
                </a:rPr>
                <a:t>Sample population to be selected by Accenture</a:t>
              </a:r>
            </a:p>
          </p:txBody>
        </p:sp>
        <p:sp>
          <p:nvSpPr>
            <p:cNvPr id="31" name="AutoShape 4">
              <a:extLst>
                <a:ext uri="{FF2B5EF4-FFF2-40B4-BE49-F238E27FC236}">
                  <a16:creationId xmlns:a16="http://schemas.microsoft.com/office/drawing/2014/main" id="{E9B2AFA6-58C0-4D2D-B412-C39FFBB2FB65}"/>
                </a:ext>
              </a:extLst>
            </p:cNvPr>
            <p:cNvSpPr>
              <a:spLocks noChangeArrowheads="1"/>
            </p:cNvSpPr>
            <p:nvPr/>
          </p:nvSpPr>
          <p:spPr bwMode="auto">
            <a:xfrm>
              <a:off x="2231406" y="2888644"/>
              <a:ext cx="2427617" cy="578684"/>
            </a:xfrm>
            <a:prstGeom prst="homePlate">
              <a:avLst>
                <a:gd name="adj" fmla="val 28952"/>
              </a:avLst>
            </a:prstGeom>
            <a:solidFill>
              <a:srgbClr val="A100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Arial"/>
                <a:ea typeface="+mn-ea"/>
                <a:cs typeface="+mn-cs"/>
              </a:endParaRPr>
            </a:p>
          </p:txBody>
        </p:sp>
        <p:sp>
          <p:nvSpPr>
            <p:cNvPr id="32" name="TextBox 31">
              <a:extLst>
                <a:ext uri="{FF2B5EF4-FFF2-40B4-BE49-F238E27FC236}">
                  <a16:creationId xmlns:a16="http://schemas.microsoft.com/office/drawing/2014/main" id="{4EFDAF76-DFE1-4B06-BFCF-18F2F26102B5}"/>
                </a:ext>
              </a:extLst>
            </p:cNvPr>
            <p:cNvSpPr txBox="1"/>
            <p:nvPr/>
          </p:nvSpPr>
          <p:spPr bwMode="auto">
            <a:xfrm>
              <a:off x="2533137" y="2992331"/>
              <a:ext cx="1490794" cy="1384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mj-lt"/>
                  <a:ea typeface="+mn-ea"/>
                  <a:cs typeface="+mn-cs"/>
                </a:rPr>
                <a:t>Voice of Customer Survey</a:t>
              </a:r>
            </a:p>
          </p:txBody>
        </p:sp>
        <p:grpSp>
          <p:nvGrpSpPr>
            <p:cNvPr id="33" name="Group 106">
              <a:extLst>
                <a:ext uri="{FF2B5EF4-FFF2-40B4-BE49-F238E27FC236}">
                  <a16:creationId xmlns:a16="http://schemas.microsoft.com/office/drawing/2014/main" id="{A85598C9-0464-4248-B2B2-621A196EEE05}"/>
                </a:ext>
              </a:extLst>
            </p:cNvPr>
            <p:cNvGrpSpPr/>
            <p:nvPr/>
          </p:nvGrpSpPr>
          <p:grpSpPr bwMode="auto">
            <a:xfrm>
              <a:off x="2331984" y="3233592"/>
              <a:ext cx="2078723" cy="163547"/>
              <a:chOff x="3535453" y="2766749"/>
              <a:chExt cx="1824132" cy="163548"/>
            </a:xfrm>
          </p:grpSpPr>
          <p:sp>
            <p:nvSpPr>
              <p:cNvPr id="34" name="AutoShape 4">
                <a:extLst>
                  <a:ext uri="{FF2B5EF4-FFF2-40B4-BE49-F238E27FC236}">
                    <a16:creationId xmlns:a16="http://schemas.microsoft.com/office/drawing/2014/main" id="{901EA80B-AA15-4D55-9FB4-E8C393AAC15C}"/>
                  </a:ext>
                </a:extLst>
              </p:cNvPr>
              <p:cNvSpPr>
                <a:spLocks noChangeArrowheads="1"/>
              </p:cNvSpPr>
              <p:nvPr/>
            </p:nvSpPr>
            <p:spPr bwMode="auto">
              <a:xfrm>
                <a:off x="3535453" y="2766751"/>
                <a:ext cx="594546" cy="163546"/>
              </a:xfrm>
              <a:prstGeom prst="homePlate">
                <a:avLst>
                  <a:gd name="adj" fmla="val 28952"/>
                </a:avLst>
              </a:prstGeom>
              <a:solidFill>
                <a:srgbClr val="FFFF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ea typeface="+mn-ea"/>
                    <a:cs typeface="+mn-cs"/>
                  </a:rPr>
                  <a:t>Design</a:t>
                </a:r>
              </a:p>
            </p:txBody>
          </p:sp>
          <p:sp>
            <p:nvSpPr>
              <p:cNvPr id="35" name="AutoShape 4">
                <a:extLst>
                  <a:ext uri="{FF2B5EF4-FFF2-40B4-BE49-F238E27FC236}">
                    <a16:creationId xmlns:a16="http://schemas.microsoft.com/office/drawing/2014/main" id="{625EC702-2BD4-4DC0-B679-71375223AC3D}"/>
                  </a:ext>
                </a:extLst>
              </p:cNvPr>
              <p:cNvSpPr>
                <a:spLocks noChangeArrowheads="1"/>
              </p:cNvSpPr>
              <p:nvPr/>
            </p:nvSpPr>
            <p:spPr bwMode="auto">
              <a:xfrm>
                <a:off x="4146857" y="2766749"/>
                <a:ext cx="594546" cy="163547"/>
              </a:xfrm>
              <a:prstGeom prst="chevron">
                <a:avLst>
                  <a:gd name="adj" fmla="val 27844"/>
                </a:avLst>
              </a:prstGeom>
              <a:solidFill>
                <a:srgbClr val="FFFF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ea typeface="+mn-ea"/>
                    <a:cs typeface="+mn-cs"/>
                  </a:rPr>
                  <a:t>Survey</a:t>
                </a:r>
              </a:p>
            </p:txBody>
          </p:sp>
          <p:sp>
            <p:nvSpPr>
              <p:cNvPr id="36" name="AutoShape 4">
                <a:extLst>
                  <a:ext uri="{FF2B5EF4-FFF2-40B4-BE49-F238E27FC236}">
                    <a16:creationId xmlns:a16="http://schemas.microsoft.com/office/drawing/2014/main" id="{1289E7DD-102C-4ED5-8565-F0B84F8690E5}"/>
                  </a:ext>
                </a:extLst>
              </p:cNvPr>
              <p:cNvSpPr>
                <a:spLocks noChangeArrowheads="1"/>
              </p:cNvSpPr>
              <p:nvPr/>
            </p:nvSpPr>
            <p:spPr bwMode="auto">
              <a:xfrm>
                <a:off x="4765039" y="2766749"/>
                <a:ext cx="594546" cy="163547"/>
              </a:xfrm>
              <a:prstGeom prst="chevron">
                <a:avLst>
                  <a:gd name="adj" fmla="val 27844"/>
                </a:avLst>
              </a:prstGeom>
              <a:solidFill>
                <a:srgbClr val="FFFF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ea typeface="+mn-ea"/>
                    <a:cs typeface="+mn-cs"/>
                  </a:rPr>
                  <a:t>Analyze</a:t>
                </a:r>
              </a:p>
            </p:txBody>
          </p:sp>
        </p:grpSp>
      </p:grpSp>
      <p:grpSp>
        <p:nvGrpSpPr>
          <p:cNvPr id="55" name="Group 54" descr="Services">
            <a:extLst>
              <a:ext uri="{FF2B5EF4-FFF2-40B4-BE49-F238E27FC236}">
                <a16:creationId xmlns:a16="http://schemas.microsoft.com/office/drawing/2014/main" id="{1F1A88B2-13C6-4410-8C0B-6654E6F5DD9E}"/>
              </a:ext>
            </a:extLst>
          </p:cNvPr>
          <p:cNvGrpSpPr/>
          <p:nvPr/>
        </p:nvGrpSpPr>
        <p:grpSpPr>
          <a:xfrm>
            <a:off x="2985361" y="3890448"/>
            <a:ext cx="3577333" cy="1052539"/>
            <a:chOff x="2985361" y="3890448"/>
            <a:chExt cx="3577333" cy="1052539"/>
          </a:xfrm>
        </p:grpSpPr>
        <p:sp>
          <p:nvSpPr>
            <p:cNvPr id="9" name="Text Box 3">
              <a:extLst>
                <a:ext uri="{FF2B5EF4-FFF2-40B4-BE49-F238E27FC236}">
                  <a16:creationId xmlns:a16="http://schemas.microsoft.com/office/drawing/2014/main" id="{2914235C-ABE1-4521-9BF4-ED0E4719BA08}"/>
                </a:ext>
              </a:extLst>
            </p:cNvPr>
            <p:cNvSpPr txBox="1">
              <a:spLocks noChangeArrowheads="1"/>
            </p:cNvSpPr>
            <p:nvPr/>
          </p:nvSpPr>
          <p:spPr bwMode="auto">
            <a:xfrm>
              <a:off x="2985361" y="4481322"/>
              <a:ext cx="3439723" cy="461665"/>
            </a:xfrm>
            <a:prstGeom prst="rect">
              <a:avLst/>
            </a:prstGeom>
            <a:solidFill>
              <a:srgbClr val="FFFFFF"/>
            </a:solidFill>
            <a:ln w="9525" algn="ctr">
              <a:noFill/>
              <a:miter lim="800000"/>
              <a:headEnd/>
              <a:tailEnd/>
            </a:ln>
          </p:spPr>
          <p:txBody>
            <a:bodyPr wrap="square" lIns="0" tIns="0" rIns="0" bIns="0">
              <a:spAutoFit/>
            </a:bodyPr>
            <a:lstStyle/>
            <a:p>
              <a:pPr marL="101600" marR="0" lvl="0" indent="-101600" algn="l" defTabSz="914400" rtl="0" eaLnBrk="1" fontAlgn="auto" latinLnBrk="0" hangingPunct="1">
                <a:lnSpc>
                  <a:spcPct val="100000"/>
                </a:lnSpc>
                <a:spcBef>
                  <a:spcPts val="0"/>
                </a:spcBef>
                <a:spcAft>
                  <a:spcPts val="0"/>
                </a:spcAft>
                <a:buClrTx/>
                <a:buSzPct val="120000"/>
                <a:buFontTx/>
                <a:buChar char="•"/>
                <a:tabLst/>
                <a:defRPr/>
              </a:pPr>
              <a:r>
                <a:rPr kumimoji="0" lang="en-US" sz="1000" b="0" i="0" u="none" strike="noStrike" kern="0" cap="none" spc="0" normalizeH="0" baseline="0" noProof="0" dirty="0">
                  <a:ln>
                    <a:noFill/>
                  </a:ln>
                  <a:solidFill>
                    <a:sysClr val="windowText" lastClr="000000"/>
                  </a:solidFill>
                  <a:effectLst/>
                  <a:uLnTx/>
                  <a:uFillTx/>
                  <a:ea typeface="+mn-ea"/>
                  <a:cs typeface="+mn-cs"/>
                </a:rPr>
                <a:t>Web page designing done be &lt;client name&gt;</a:t>
              </a:r>
            </a:p>
            <a:p>
              <a:pPr marL="101600" marR="0" lvl="0" indent="-101600" algn="l" defTabSz="914400" rtl="0" eaLnBrk="1" fontAlgn="auto" latinLnBrk="0" hangingPunct="1">
                <a:lnSpc>
                  <a:spcPct val="100000"/>
                </a:lnSpc>
                <a:spcBef>
                  <a:spcPts val="0"/>
                </a:spcBef>
                <a:spcAft>
                  <a:spcPts val="0"/>
                </a:spcAft>
                <a:buClrTx/>
                <a:buSzPct val="120000"/>
                <a:buFontTx/>
                <a:buChar char="•"/>
                <a:tabLst/>
                <a:defRPr/>
              </a:pPr>
              <a:r>
                <a:rPr kumimoji="0" lang="en-US" sz="1000" b="0" i="0" u="none" strike="noStrike" kern="0" cap="none" spc="0" normalizeH="0" baseline="0" noProof="0" dirty="0">
                  <a:ln>
                    <a:noFill/>
                  </a:ln>
                  <a:solidFill>
                    <a:sysClr val="windowText" lastClr="000000"/>
                  </a:solidFill>
                  <a:effectLst/>
                  <a:uLnTx/>
                  <a:uFillTx/>
                  <a:ea typeface="+mn-ea"/>
                  <a:cs typeface="+mn-cs"/>
                </a:rPr>
                <a:t>Go live date to be decided later by client depending on the business requirement</a:t>
              </a:r>
            </a:p>
          </p:txBody>
        </p:sp>
        <p:sp>
          <p:nvSpPr>
            <p:cNvPr id="37" name="AutoShape 4">
              <a:extLst>
                <a:ext uri="{FF2B5EF4-FFF2-40B4-BE49-F238E27FC236}">
                  <a16:creationId xmlns:a16="http://schemas.microsoft.com/office/drawing/2014/main" id="{A2F16DE3-B8C6-44E6-95C1-99CF200AE5C4}"/>
                </a:ext>
              </a:extLst>
            </p:cNvPr>
            <p:cNvSpPr>
              <a:spLocks noChangeArrowheads="1"/>
            </p:cNvSpPr>
            <p:nvPr/>
          </p:nvSpPr>
          <p:spPr bwMode="auto">
            <a:xfrm>
              <a:off x="2985363" y="3890448"/>
              <a:ext cx="3577331" cy="578684"/>
            </a:xfrm>
            <a:prstGeom prst="homePlate">
              <a:avLst>
                <a:gd name="adj" fmla="val 28952"/>
              </a:avLst>
            </a:prstGeom>
            <a:solidFill>
              <a:srgbClr val="B455AA">
                <a:lumMod val="40000"/>
                <a:lumOff val="60000"/>
              </a:srgbClr>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Arial"/>
                <a:ea typeface="+mn-ea"/>
                <a:cs typeface="+mn-cs"/>
              </a:endParaRPr>
            </a:p>
          </p:txBody>
        </p:sp>
        <p:sp>
          <p:nvSpPr>
            <p:cNvPr id="38" name="TextBox 37">
              <a:extLst>
                <a:ext uri="{FF2B5EF4-FFF2-40B4-BE49-F238E27FC236}">
                  <a16:creationId xmlns:a16="http://schemas.microsoft.com/office/drawing/2014/main" id="{1BE03F81-B9E3-4A3C-864D-2D57DBC5F38C}"/>
                </a:ext>
              </a:extLst>
            </p:cNvPr>
            <p:cNvSpPr txBox="1"/>
            <p:nvPr/>
          </p:nvSpPr>
          <p:spPr bwMode="auto">
            <a:xfrm>
              <a:off x="3307937" y="3994135"/>
              <a:ext cx="1551707"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effectLst/>
                  <a:uLnTx/>
                  <a:uFillTx/>
                  <a:latin typeface="+mj-lt"/>
                  <a:ea typeface="+mn-ea"/>
                  <a:cs typeface="+mn-cs"/>
                </a:rPr>
                <a:t>Web based Self Services</a:t>
              </a:r>
            </a:p>
          </p:txBody>
        </p:sp>
        <p:grpSp>
          <p:nvGrpSpPr>
            <p:cNvPr id="39" name="Group 116">
              <a:extLst>
                <a:ext uri="{FF2B5EF4-FFF2-40B4-BE49-F238E27FC236}">
                  <a16:creationId xmlns:a16="http://schemas.microsoft.com/office/drawing/2014/main" id="{284A227D-A1BD-443E-BCA5-8ED6B38FFEDC}"/>
                </a:ext>
              </a:extLst>
            </p:cNvPr>
            <p:cNvGrpSpPr/>
            <p:nvPr/>
          </p:nvGrpSpPr>
          <p:grpSpPr bwMode="auto">
            <a:xfrm>
              <a:off x="3085941" y="4235396"/>
              <a:ext cx="3273195" cy="163546"/>
              <a:chOff x="3535453" y="2766749"/>
              <a:chExt cx="1824132" cy="163548"/>
            </a:xfrm>
          </p:grpSpPr>
          <p:sp>
            <p:nvSpPr>
              <p:cNvPr id="40" name="AutoShape 4">
                <a:extLst>
                  <a:ext uri="{FF2B5EF4-FFF2-40B4-BE49-F238E27FC236}">
                    <a16:creationId xmlns:a16="http://schemas.microsoft.com/office/drawing/2014/main" id="{9C6A6B18-4E22-4D28-AC3C-D6EA6979FF60}"/>
                  </a:ext>
                </a:extLst>
              </p:cNvPr>
              <p:cNvSpPr>
                <a:spLocks noChangeArrowheads="1"/>
              </p:cNvSpPr>
              <p:nvPr/>
            </p:nvSpPr>
            <p:spPr bwMode="auto">
              <a:xfrm>
                <a:off x="3535453" y="2766751"/>
                <a:ext cx="594546" cy="163546"/>
              </a:xfrm>
              <a:prstGeom prst="homePlate">
                <a:avLst>
                  <a:gd name="adj" fmla="val 28952"/>
                </a:avLst>
              </a:prstGeom>
              <a:solidFill>
                <a:srgbClr val="FFFF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ea typeface="+mn-ea"/>
                    <a:cs typeface="+mn-cs"/>
                  </a:rPr>
                  <a:t>Design</a:t>
                </a:r>
              </a:p>
            </p:txBody>
          </p:sp>
          <p:sp>
            <p:nvSpPr>
              <p:cNvPr id="41" name="AutoShape 4">
                <a:extLst>
                  <a:ext uri="{FF2B5EF4-FFF2-40B4-BE49-F238E27FC236}">
                    <a16:creationId xmlns:a16="http://schemas.microsoft.com/office/drawing/2014/main" id="{AA84B753-F029-416A-9352-6B1437DA213F}"/>
                  </a:ext>
                </a:extLst>
              </p:cNvPr>
              <p:cNvSpPr>
                <a:spLocks noChangeArrowheads="1"/>
              </p:cNvSpPr>
              <p:nvPr/>
            </p:nvSpPr>
            <p:spPr bwMode="auto">
              <a:xfrm>
                <a:off x="4146857" y="2766749"/>
                <a:ext cx="594546" cy="163547"/>
              </a:xfrm>
              <a:prstGeom prst="chevron">
                <a:avLst>
                  <a:gd name="adj" fmla="val 27844"/>
                </a:avLst>
              </a:prstGeom>
              <a:solidFill>
                <a:srgbClr val="FFFF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ea typeface="+mn-ea"/>
                    <a:cs typeface="+mn-cs"/>
                  </a:rPr>
                  <a:t>Develop</a:t>
                </a:r>
              </a:p>
            </p:txBody>
          </p:sp>
          <p:sp>
            <p:nvSpPr>
              <p:cNvPr id="42" name="AutoShape 4">
                <a:extLst>
                  <a:ext uri="{FF2B5EF4-FFF2-40B4-BE49-F238E27FC236}">
                    <a16:creationId xmlns:a16="http://schemas.microsoft.com/office/drawing/2014/main" id="{67B8C147-ED26-4934-8A3C-2F3160A0A61B}"/>
                  </a:ext>
                </a:extLst>
              </p:cNvPr>
              <p:cNvSpPr>
                <a:spLocks noChangeArrowheads="1"/>
              </p:cNvSpPr>
              <p:nvPr/>
            </p:nvSpPr>
            <p:spPr bwMode="auto">
              <a:xfrm>
                <a:off x="4765039" y="2766749"/>
                <a:ext cx="594546" cy="163547"/>
              </a:xfrm>
              <a:prstGeom prst="chevron">
                <a:avLst>
                  <a:gd name="adj" fmla="val 27844"/>
                </a:avLst>
              </a:prstGeom>
              <a:solidFill>
                <a:srgbClr val="FFFF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ea typeface="+mn-ea"/>
                    <a:cs typeface="+mn-cs"/>
                  </a:rPr>
                  <a:t>Go Live</a:t>
                </a:r>
              </a:p>
            </p:txBody>
          </p:sp>
        </p:grpSp>
      </p:grpSp>
      <p:grpSp>
        <p:nvGrpSpPr>
          <p:cNvPr id="56" name="Group 55" descr="Enhacement">
            <a:extLst>
              <a:ext uri="{FF2B5EF4-FFF2-40B4-BE49-F238E27FC236}">
                <a16:creationId xmlns:a16="http://schemas.microsoft.com/office/drawing/2014/main" id="{069E34B6-5B72-4481-8852-4293CBD61946}"/>
              </a:ext>
            </a:extLst>
          </p:cNvPr>
          <p:cNvGrpSpPr/>
          <p:nvPr/>
        </p:nvGrpSpPr>
        <p:grpSpPr>
          <a:xfrm>
            <a:off x="5015881" y="5040512"/>
            <a:ext cx="3825338" cy="898868"/>
            <a:chOff x="5015881" y="5040512"/>
            <a:chExt cx="3825338" cy="898868"/>
          </a:xfrm>
        </p:grpSpPr>
        <p:sp>
          <p:nvSpPr>
            <p:cNvPr id="16" name="Text Box 3">
              <a:extLst>
                <a:ext uri="{FF2B5EF4-FFF2-40B4-BE49-F238E27FC236}">
                  <a16:creationId xmlns:a16="http://schemas.microsoft.com/office/drawing/2014/main" id="{8FCB6845-F9E3-433A-A69A-FB5D7A9A09F2}"/>
                </a:ext>
              </a:extLst>
            </p:cNvPr>
            <p:cNvSpPr txBox="1">
              <a:spLocks noChangeArrowheads="1"/>
            </p:cNvSpPr>
            <p:nvPr/>
          </p:nvSpPr>
          <p:spPr bwMode="auto">
            <a:xfrm>
              <a:off x="5015881" y="5631603"/>
              <a:ext cx="3441633" cy="307777"/>
            </a:xfrm>
            <a:prstGeom prst="rect">
              <a:avLst/>
            </a:prstGeom>
            <a:noFill/>
            <a:ln w="9525" algn="ctr">
              <a:noFill/>
              <a:miter lim="800000"/>
              <a:headEnd/>
              <a:tailEnd/>
            </a:ln>
          </p:spPr>
          <p:txBody>
            <a:bodyPr wrap="square" lIns="0" tIns="0" rIns="0" bIns="0">
              <a:spAutoFit/>
            </a:bodyPr>
            <a:lstStyle/>
            <a:p>
              <a:pPr marL="101600" marR="0" lvl="0" indent="-101600" algn="l" defTabSz="914400" rtl="0" eaLnBrk="1" fontAlgn="auto" latinLnBrk="0" hangingPunct="1">
                <a:lnSpc>
                  <a:spcPct val="100000"/>
                </a:lnSpc>
                <a:spcBef>
                  <a:spcPts val="0"/>
                </a:spcBef>
                <a:spcAft>
                  <a:spcPts val="0"/>
                </a:spcAft>
                <a:buClrTx/>
                <a:buSzPct val="100000"/>
                <a:buFontTx/>
                <a:buChar char="•"/>
                <a:tabLst/>
                <a:defRPr/>
              </a:pPr>
              <a:r>
                <a:rPr kumimoji="0" lang="en-US" sz="1000" b="0" i="0" u="none" strike="noStrike" kern="0" cap="none" spc="0" normalizeH="0" baseline="0" noProof="0" dirty="0">
                  <a:ln>
                    <a:noFill/>
                  </a:ln>
                  <a:solidFill>
                    <a:sysClr val="windowText" lastClr="000000"/>
                  </a:solidFill>
                  <a:effectLst/>
                  <a:uLnTx/>
                  <a:uFillTx/>
                  <a:ea typeface="+mn-ea"/>
                  <a:cs typeface="+mn-cs"/>
                </a:rPr>
                <a:t>Accenture to play PMO and system integrator role</a:t>
              </a:r>
            </a:p>
            <a:p>
              <a:pPr marL="101600" marR="0" lvl="0" indent="-101600" algn="l" defTabSz="914400" rtl="0" eaLnBrk="1" fontAlgn="auto" latinLnBrk="0" hangingPunct="1">
                <a:lnSpc>
                  <a:spcPct val="100000"/>
                </a:lnSpc>
                <a:spcBef>
                  <a:spcPts val="0"/>
                </a:spcBef>
                <a:spcAft>
                  <a:spcPts val="0"/>
                </a:spcAft>
                <a:buClrTx/>
                <a:buSzPct val="120000"/>
                <a:buFontTx/>
                <a:buChar char="•"/>
                <a:tabLst/>
                <a:defRPr/>
              </a:pPr>
              <a:endParaRPr kumimoji="0" lang="en-US" sz="1000" b="0" i="0" u="none" strike="noStrike" kern="0" cap="none" spc="0" normalizeH="0" baseline="0" noProof="0" dirty="0">
                <a:ln>
                  <a:noFill/>
                </a:ln>
                <a:solidFill>
                  <a:sysClr val="windowText" lastClr="000000"/>
                </a:solidFill>
                <a:effectLst/>
                <a:uLnTx/>
                <a:uFillTx/>
                <a:ea typeface="+mn-ea"/>
                <a:cs typeface="+mn-cs"/>
              </a:endParaRPr>
            </a:p>
          </p:txBody>
        </p:sp>
        <p:sp>
          <p:nvSpPr>
            <p:cNvPr id="43" name="AutoShape 4">
              <a:extLst>
                <a:ext uri="{FF2B5EF4-FFF2-40B4-BE49-F238E27FC236}">
                  <a16:creationId xmlns:a16="http://schemas.microsoft.com/office/drawing/2014/main" id="{2F41D00C-9284-4A67-8177-0BED82F3E308}"/>
                </a:ext>
              </a:extLst>
            </p:cNvPr>
            <p:cNvSpPr>
              <a:spLocks noChangeArrowheads="1"/>
            </p:cNvSpPr>
            <p:nvPr/>
          </p:nvSpPr>
          <p:spPr bwMode="auto">
            <a:xfrm>
              <a:off x="5035800" y="5040512"/>
              <a:ext cx="3805419" cy="578684"/>
            </a:xfrm>
            <a:prstGeom prst="homePlate">
              <a:avLst>
                <a:gd name="adj" fmla="val 28952"/>
              </a:avLst>
            </a:prstGeom>
            <a:solidFill>
              <a:srgbClr val="B455AA"/>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Arial"/>
                <a:ea typeface="+mn-ea"/>
                <a:cs typeface="+mn-cs"/>
              </a:endParaRPr>
            </a:p>
          </p:txBody>
        </p:sp>
        <p:sp>
          <p:nvSpPr>
            <p:cNvPr id="44" name="TextBox 43">
              <a:extLst>
                <a:ext uri="{FF2B5EF4-FFF2-40B4-BE49-F238E27FC236}">
                  <a16:creationId xmlns:a16="http://schemas.microsoft.com/office/drawing/2014/main" id="{7ADC0C34-D343-40D8-918B-5D2CB4A930C2}"/>
                </a:ext>
              </a:extLst>
            </p:cNvPr>
            <p:cNvSpPr txBox="1"/>
            <p:nvPr/>
          </p:nvSpPr>
          <p:spPr bwMode="auto">
            <a:xfrm>
              <a:off x="5358375" y="5144199"/>
              <a:ext cx="2963953"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900" b="1" i="0" u="none" strike="noStrike" kern="0" cap="none" spc="0" normalizeH="0" baseline="0" noProof="0" dirty="0">
                  <a:ln>
                    <a:noFill/>
                  </a:ln>
                  <a:solidFill>
                    <a:prstClr val="white"/>
                  </a:solidFill>
                  <a:effectLst/>
                  <a:uLnTx/>
                  <a:uFillTx/>
                  <a:latin typeface="+mj-lt"/>
                  <a:ea typeface="+mn-ea"/>
                  <a:cs typeface="+mn-cs"/>
                </a:rPr>
                <a:t>System enhancement for payment and alert options</a:t>
              </a:r>
              <a:br>
                <a:rPr kumimoji="0" lang="en-IE" sz="900" b="1" i="0" u="none" strike="noStrike" kern="0" cap="none" spc="0" normalizeH="0" baseline="0" noProof="0" dirty="0">
                  <a:ln>
                    <a:noFill/>
                  </a:ln>
                  <a:solidFill>
                    <a:prstClr val="white"/>
                  </a:solidFill>
                  <a:effectLst/>
                  <a:uLnTx/>
                  <a:uFillTx/>
                  <a:latin typeface="+mj-lt"/>
                  <a:ea typeface="+mn-ea"/>
                  <a:cs typeface="+mn-cs"/>
                </a:rPr>
              </a:br>
              <a:endParaRPr kumimoji="0" lang="en-IE" sz="900" b="1" i="0" u="none" strike="noStrike" kern="0" cap="none" spc="0" normalizeH="0" baseline="0" noProof="0" dirty="0">
                <a:ln>
                  <a:noFill/>
                </a:ln>
                <a:solidFill>
                  <a:prstClr val="white"/>
                </a:solidFill>
                <a:effectLst/>
                <a:uLnTx/>
                <a:uFillTx/>
                <a:latin typeface="+mj-lt"/>
                <a:ea typeface="+mn-ea"/>
                <a:cs typeface="+mn-cs"/>
              </a:endParaRPr>
            </a:p>
          </p:txBody>
        </p:sp>
        <p:grpSp>
          <p:nvGrpSpPr>
            <p:cNvPr id="45" name="Group 124">
              <a:extLst>
                <a:ext uri="{FF2B5EF4-FFF2-40B4-BE49-F238E27FC236}">
                  <a16:creationId xmlns:a16="http://schemas.microsoft.com/office/drawing/2014/main" id="{B8604064-21A5-4613-94E6-3A4E8FEEB2BD}"/>
                </a:ext>
              </a:extLst>
            </p:cNvPr>
            <p:cNvGrpSpPr/>
            <p:nvPr/>
          </p:nvGrpSpPr>
          <p:grpSpPr bwMode="auto">
            <a:xfrm>
              <a:off x="5136378" y="5385460"/>
              <a:ext cx="3273195" cy="163546"/>
              <a:chOff x="3535453" y="2766749"/>
              <a:chExt cx="1824132" cy="163548"/>
            </a:xfrm>
          </p:grpSpPr>
          <p:sp>
            <p:nvSpPr>
              <p:cNvPr id="46" name="AutoShape 4">
                <a:extLst>
                  <a:ext uri="{FF2B5EF4-FFF2-40B4-BE49-F238E27FC236}">
                    <a16:creationId xmlns:a16="http://schemas.microsoft.com/office/drawing/2014/main" id="{3628DE46-9917-4AC7-8113-B5901E17FD2A}"/>
                  </a:ext>
                </a:extLst>
              </p:cNvPr>
              <p:cNvSpPr>
                <a:spLocks noChangeArrowheads="1"/>
              </p:cNvSpPr>
              <p:nvPr/>
            </p:nvSpPr>
            <p:spPr bwMode="auto">
              <a:xfrm>
                <a:off x="3535453" y="2766751"/>
                <a:ext cx="594546" cy="163546"/>
              </a:xfrm>
              <a:prstGeom prst="homePlate">
                <a:avLst>
                  <a:gd name="adj" fmla="val 28952"/>
                </a:avLst>
              </a:prstGeom>
              <a:solidFill>
                <a:srgbClr val="FFFF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ea typeface="+mn-ea"/>
                    <a:cs typeface="+mn-cs"/>
                  </a:rPr>
                  <a:t>Design</a:t>
                </a:r>
              </a:p>
            </p:txBody>
          </p:sp>
          <p:sp>
            <p:nvSpPr>
              <p:cNvPr id="47" name="AutoShape 4">
                <a:extLst>
                  <a:ext uri="{FF2B5EF4-FFF2-40B4-BE49-F238E27FC236}">
                    <a16:creationId xmlns:a16="http://schemas.microsoft.com/office/drawing/2014/main" id="{8DD98F8A-3218-4A6B-AA53-F4AD823FFA68}"/>
                  </a:ext>
                </a:extLst>
              </p:cNvPr>
              <p:cNvSpPr>
                <a:spLocks noChangeArrowheads="1"/>
              </p:cNvSpPr>
              <p:nvPr/>
            </p:nvSpPr>
            <p:spPr bwMode="auto">
              <a:xfrm>
                <a:off x="4146857" y="2766749"/>
                <a:ext cx="594546" cy="163547"/>
              </a:xfrm>
              <a:prstGeom prst="chevron">
                <a:avLst>
                  <a:gd name="adj" fmla="val 27844"/>
                </a:avLst>
              </a:prstGeom>
              <a:solidFill>
                <a:srgbClr val="FFFF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ea typeface="+mn-ea"/>
                    <a:cs typeface="+mn-cs"/>
                  </a:rPr>
                  <a:t>Develop</a:t>
                </a:r>
              </a:p>
            </p:txBody>
          </p:sp>
          <p:sp>
            <p:nvSpPr>
              <p:cNvPr id="48" name="AutoShape 4">
                <a:extLst>
                  <a:ext uri="{FF2B5EF4-FFF2-40B4-BE49-F238E27FC236}">
                    <a16:creationId xmlns:a16="http://schemas.microsoft.com/office/drawing/2014/main" id="{6CC86210-F7EC-4DED-A949-C48BD5CE352F}"/>
                  </a:ext>
                </a:extLst>
              </p:cNvPr>
              <p:cNvSpPr>
                <a:spLocks noChangeArrowheads="1"/>
              </p:cNvSpPr>
              <p:nvPr/>
            </p:nvSpPr>
            <p:spPr bwMode="auto">
              <a:xfrm>
                <a:off x="4765039" y="2766749"/>
                <a:ext cx="594546" cy="163547"/>
              </a:xfrm>
              <a:prstGeom prst="chevron">
                <a:avLst>
                  <a:gd name="adj" fmla="val 27844"/>
                </a:avLst>
              </a:prstGeom>
              <a:solidFill>
                <a:srgbClr val="FFFF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ea typeface="+mn-ea"/>
                    <a:cs typeface="+mn-cs"/>
                  </a:rPr>
                  <a:t>Go Live</a:t>
                </a:r>
              </a:p>
            </p:txBody>
          </p:sp>
        </p:grpSp>
      </p:grpSp>
      <p:sp>
        <p:nvSpPr>
          <p:cNvPr id="11" name="Text Box 131">
            <a:extLst>
              <a:ext uri="{FF2B5EF4-FFF2-40B4-BE49-F238E27FC236}">
                <a16:creationId xmlns:a16="http://schemas.microsoft.com/office/drawing/2014/main" id="{5EE4F822-4A87-4B8F-9AEA-5D4030B5426B}"/>
              </a:ext>
            </a:extLst>
          </p:cNvPr>
          <p:cNvSpPr txBox="1">
            <a:spLocks noChangeArrowheads="1"/>
          </p:cNvSpPr>
          <p:nvPr/>
        </p:nvSpPr>
        <p:spPr bwMode="auto">
          <a:xfrm>
            <a:off x="3557966" y="1414840"/>
            <a:ext cx="1094725" cy="393982"/>
          </a:xfrm>
          <a:prstGeom prst="rect">
            <a:avLst/>
          </a:prstGeom>
          <a:solidFill>
            <a:srgbClr val="A100FF"/>
          </a:solidFill>
          <a:ln w="3175" algn="ctr">
            <a:noFill/>
            <a:miter lim="800000"/>
            <a:headEnd/>
            <a:tailEnd/>
          </a:ln>
          <a:effectLst/>
        </p:spPr>
        <p:txBody>
          <a:bodyPr anchor="ctr"/>
          <a:lstStyle/>
          <a:p>
            <a:pPr marL="0" marR="0" lvl="0" indent="0" algn="ctr" defTabSz="914400" rtl="0" eaLnBrk="0" fontAlgn="auto" latinLnBrk="0" hangingPunct="0">
              <a:lnSpc>
                <a:spcPct val="8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SimSun" pitchFamily="2" charset="-122"/>
                <a:cs typeface="+mn-cs"/>
              </a:rPr>
              <a:t>Quick Wins</a:t>
            </a:r>
          </a:p>
        </p:txBody>
      </p:sp>
      <p:sp>
        <p:nvSpPr>
          <p:cNvPr id="10" name="Text Box 124">
            <a:extLst>
              <a:ext uri="{FF2B5EF4-FFF2-40B4-BE49-F238E27FC236}">
                <a16:creationId xmlns:a16="http://schemas.microsoft.com/office/drawing/2014/main" id="{3C2F2DBD-21B9-4500-93CA-A680F1C84599}"/>
              </a:ext>
            </a:extLst>
          </p:cNvPr>
          <p:cNvSpPr txBox="1">
            <a:spLocks noChangeArrowheads="1"/>
          </p:cNvSpPr>
          <p:nvPr/>
        </p:nvSpPr>
        <p:spPr bwMode="auto">
          <a:xfrm>
            <a:off x="4757504" y="1422362"/>
            <a:ext cx="1959338" cy="386460"/>
          </a:xfrm>
          <a:prstGeom prst="rect">
            <a:avLst/>
          </a:prstGeom>
          <a:solidFill>
            <a:srgbClr val="A055F5"/>
          </a:solidFill>
          <a:ln w="3175" algn="ctr">
            <a:noFill/>
            <a:miter lim="800000"/>
            <a:headEnd/>
            <a:tailEnd/>
          </a:ln>
        </p:spPr>
        <p:txBody>
          <a:bodyPr anchor="ctr"/>
          <a:lstStyle/>
          <a:p>
            <a:pPr marL="0" marR="0" lvl="0" indent="0" algn="ctr" defTabSz="914400" rtl="0" eaLnBrk="0" fontAlgn="auto" latinLnBrk="0" hangingPunct="0">
              <a:lnSpc>
                <a:spcPct val="8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mj-lt"/>
                <a:ea typeface="+mn-ea"/>
                <a:cs typeface="+mn-cs"/>
              </a:rPr>
              <a:t>Medium Term</a:t>
            </a:r>
          </a:p>
        </p:txBody>
      </p:sp>
      <p:cxnSp>
        <p:nvCxnSpPr>
          <p:cNvPr id="6" name="Straight Connector 5">
            <a:extLst>
              <a:ext uri="{FF2B5EF4-FFF2-40B4-BE49-F238E27FC236}">
                <a16:creationId xmlns:a16="http://schemas.microsoft.com/office/drawing/2014/main" id="{DFC448F4-F1C3-4D6B-8D82-5BBA63B2203B}"/>
              </a:ext>
              <a:ext uri="{C183D7F6-B498-43B3-948B-1728B52AA6E4}">
                <adec:decorative xmlns:adec="http://schemas.microsoft.com/office/drawing/2017/decorative" val="1"/>
              </a:ext>
            </a:extLst>
          </p:cNvPr>
          <p:cNvCxnSpPr>
            <a:endCxn id="19" idx="0"/>
          </p:cNvCxnSpPr>
          <p:nvPr/>
        </p:nvCxnSpPr>
        <p:spPr bwMode="auto">
          <a:xfrm flipH="1">
            <a:off x="4673882" y="1934890"/>
            <a:ext cx="1588" cy="3993345"/>
          </a:xfrm>
          <a:prstGeom prst="line">
            <a:avLst/>
          </a:prstGeom>
          <a:solidFill>
            <a:srgbClr val="A100FF"/>
          </a:solidFill>
          <a:ln w="3175" cap="flat" cmpd="sng" algn="ctr">
            <a:solidFill>
              <a:srgbClr val="96968C"/>
            </a:solidFill>
            <a:prstDash val="dash"/>
            <a:round/>
            <a:headEnd type="none" w="med" len="med"/>
            <a:tailEnd type="none" w="med" len="med"/>
          </a:ln>
          <a:effectLst/>
        </p:spPr>
      </p:cxnSp>
      <p:sp>
        <p:nvSpPr>
          <p:cNvPr id="12" name="Text Box 132">
            <a:extLst>
              <a:ext uri="{FF2B5EF4-FFF2-40B4-BE49-F238E27FC236}">
                <a16:creationId xmlns:a16="http://schemas.microsoft.com/office/drawing/2014/main" id="{B1DB99E6-79AD-4377-92CC-BA59F76A8F3F}"/>
              </a:ext>
            </a:extLst>
          </p:cNvPr>
          <p:cNvSpPr txBox="1">
            <a:spLocks noChangeArrowheads="1"/>
          </p:cNvSpPr>
          <p:nvPr/>
        </p:nvSpPr>
        <p:spPr bwMode="auto">
          <a:xfrm>
            <a:off x="6778634" y="1436802"/>
            <a:ext cx="3277806" cy="372019"/>
          </a:xfrm>
          <a:prstGeom prst="rect">
            <a:avLst/>
          </a:prstGeom>
          <a:solidFill>
            <a:srgbClr val="B455AA"/>
          </a:solidFill>
          <a:ln w="3175" algn="ctr">
            <a:noFill/>
            <a:miter lim="800000"/>
            <a:headEnd/>
            <a:tailEnd/>
          </a:ln>
        </p:spPr>
        <p:txBody>
          <a:bodyPr anchor="ctr"/>
          <a:lstStyle/>
          <a:p>
            <a:pPr marL="0" marR="0" lvl="0" indent="0" algn="ctr" defTabSz="914400" rtl="0" eaLnBrk="0" fontAlgn="auto" latinLnBrk="0" hangingPunct="0">
              <a:lnSpc>
                <a:spcPct val="8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mj-lt"/>
                <a:ea typeface="+mn-ea"/>
                <a:cs typeface="+mn-cs"/>
              </a:rPr>
              <a:t>Long Term</a:t>
            </a:r>
          </a:p>
        </p:txBody>
      </p:sp>
      <p:cxnSp>
        <p:nvCxnSpPr>
          <p:cNvPr id="7" name="Straight Connector 6">
            <a:extLst>
              <a:ext uri="{FF2B5EF4-FFF2-40B4-BE49-F238E27FC236}">
                <a16:creationId xmlns:a16="http://schemas.microsoft.com/office/drawing/2014/main" id="{AC9A7579-BA55-4030-9664-77C4A80A0DBE}"/>
              </a:ext>
              <a:ext uri="{C183D7F6-B498-43B3-948B-1728B52AA6E4}">
                <adec:decorative xmlns:adec="http://schemas.microsoft.com/office/drawing/2017/decorative" val="1"/>
              </a:ext>
            </a:extLst>
          </p:cNvPr>
          <p:cNvCxnSpPr>
            <a:endCxn id="23" idx="0"/>
          </p:cNvCxnSpPr>
          <p:nvPr/>
        </p:nvCxnSpPr>
        <p:spPr bwMode="auto">
          <a:xfrm>
            <a:off x="6716843" y="1934890"/>
            <a:ext cx="1909" cy="3993345"/>
          </a:xfrm>
          <a:prstGeom prst="line">
            <a:avLst/>
          </a:prstGeom>
          <a:solidFill>
            <a:srgbClr val="A100FF"/>
          </a:solidFill>
          <a:ln w="3175" cap="flat" cmpd="sng" algn="ctr">
            <a:solidFill>
              <a:srgbClr val="96968C"/>
            </a:solidFill>
            <a:prstDash val="dash"/>
            <a:round/>
            <a:headEnd type="none" w="med" len="med"/>
            <a:tailEnd type="none" w="med" len="med"/>
          </a:ln>
          <a:effectLst/>
        </p:spPr>
      </p:cxnSp>
      <p:cxnSp>
        <p:nvCxnSpPr>
          <p:cNvPr id="8" name="Straight Connector 7">
            <a:extLst>
              <a:ext uri="{FF2B5EF4-FFF2-40B4-BE49-F238E27FC236}">
                <a16:creationId xmlns:a16="http://schemas.microsoft.com/office/drawing/2014/main" id="{A1AF0590-25C7-4D45-B327-58093531DE04}"/>
              </a:ext>
              <a:ext uri="{C183D7F6-B498-43B3-948B-1728B52AA6E4}">
                <adec:decorative xmlns:adec="http://schemas.microsoft.com/office/drawing/2017/decorative" val="1"/>
              </a:ext>
            </a:extLst>
          </p:cNvPr>
          <p:cNvCxnSpPr>
            <a:endCxn id="21" idx="0"/>
          </p:cNvCxnSpPr>
          <p:nvPr/>
        </p:nvCxnSpPr>
        <p:spPr bwMode="auto">
          <a:xfrm>
            <a:off x="10042720" y="1934890"/>
            <a:ext cx="1909" cy="3993345"/>
          </a:xfrm>
          <a:prstGeom prst="line">
            <a:avLst/>
          </a:prstGeom>
          <a:solidFill>
            <a:srgbClr val="A100FF"/>
          </a:solidFill>
          <a:ln w="3175" cap="flat" cmpd="sng" algn="ctr">
            <a:solidFill>
              <a:srgbClr val="96968C"/>
            </a:solidFill>
            <a:prstDash val="dash"/>
            <a:round/>
            <a:headEnd type="none" w="med" len="med"/>
            <a:tailEnd type="none" w="med" len="med"/>
          </a:ln>
          <a:effectLst/>
        </p:spPr>
      </p:cxnSp>
      <p:cxnSp>
        <p:nvCxnSpPr>
          <p:cNvPr id="17" name="Straight Connector 16">
            <a:extLst>
              <a:ext uri="{FF2B5EF4-FFF2-40B4-BE49-F238E27FC236}">
                <a16:creationId xmlns:a16="http://schemas.microsoft.com/office/drawing/2014/main" id="{624EAABA-8B88-477A-9054-A0C79C70E263}"/>
              </a:ext>
              <a:ext uri="{C183D7F6-B498-43B3-948B-1728B52AA6E4}">
                <adec:decorative xmlns:adec="http://schemas.microsoft.com/office/drawing/2017/decorative" val="1"/>
              </a:ext>
            </a:extLst>
          </p:cNvPr>
          <p:cNvCxnSpPr/>
          <p:nvPr/>
        </p:nvCxnSpPr>
        <p:spPr bwMode="auto">
          <a:xfrm>
            <a:off x="1976109" y="5875816"/>
            <a:ext cx="8252469" cy="0"/>
          </a:xfrm>
          <a:prstGeom prst="line">
            <a:avLst/>
          </a:prstGeom>
          <a:noFill/>
          <a:ln w="19050" cap="flat" cmpd="sng" algn="ctr">
            <a:solidFill>
              <a:srgbClr val="DCAFFF"/>
            </a:solidFill>
            <a:prstDash val="solid"/>
          </a:ln>
          <a:effectLst/>
        </p:spPr>
      </p:cxnSp>
      <p:sp>
        <p:nvSpPr>
          <p:cNvPr id="18" name="TextBox 17">
            <a:extLst>
              <a:ext uri="{FF2B5EF4-FFF2-40B4-BE49-F238E27FC236}">
                <a16:creationId xmlns:a16="http://schemas.microsoft.com/office/drawing/2014/main" id="{C21A9298-5BB9-4682-9015-5F97A464AE6D}"/>
              </a:ext>
            </a:extLst>
          </p:cNvPr>
          <p:cNvSpPr txBox="1"/>
          <p:nvPr/>
        </p:nvSpPr>
        <p:spPr bwMode="auto">
          <a:xfrm>
            <a:off x="1976109" y="5920419"/>
            <a:ext cx="1480469"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mj-lt"/>
                <a:ea typeface="+mn-ea"/>
                <a:cs typeface="+mn-cs"/>
              </a:rPr>
              <a:t>Key Milestones</a:t>
            </a:r>
          </a:p>
        </p:txBody>
      </p:sp>
      <p:sp>
        <p:nvSpPr>
          <p:cNvPr id="19" name="Isosceles Triangle 18">
            <a:extLst>
              <a:ext uri="{FF2B5EF4-FFF2-40B4-BE49-F238E27FC236}">
                <a16:creationId xmlns:a16="http://schemas.microsoft.com/office/drawing/2014/main" id="{AE89B802-752D-48FB-9EBC-C08388AE1E86}"/>
              </a:ext>
              <a:ext uri="{C183D7F6-B498-43B3-948B-1728B52AA6E4}">
                <adec:decorative xmlns:adec="http://schemas.microsoft.com/office/drawing/2017/decorative" val="1"/>
              </a:ext>
            </a:extLst>
          </p:cNvPr>
          <p:cNvSpPr/>
          <p:nvPr/>
        </p:nvSpPr>
        <p:spPr bwMode="auto">
          <a:xfrm>
            <a:off x="4591351" y="5928234"/>
            <a:ext cx="165062" cy="165062"/>
          </a:xfrm>
          <a:prstGeom prst="triangle">
            <a:avLst/>
          </a:prstGeom>
          <a:solidFill>
            <a:srgbClr val="96968C"/>
          </a:solidFill>
          <a:ln w="635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C9582811-C99C-4D9E-A134-4B58A09B0C2D}"/>
              </a:ext>
            </a:extLst>
          </p:cNvPr>
          <p:cNvSpPr txBox="1"/>
          <p:nvPr/>
        </p:nvSpPr>
        <p:spPr bwMode="auto">
          <a:xfrm>
            <a:off x="4001170" y="6109556"/>
            <a:ext cx="1437147"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Quick win implementation complete</a:t>
            </a:r>
          </a:p>
        </p:txBody>
      </p:sp>
      <p:sp>
        <p:nvSpPr>
          <p:cNvPr id="23" name="Isosceles Triangle 22">
            <a:extLst>
              <a:ext uri="{FF2B5EF4-FFF2-40B4-BE49-F238E27FC236}">
                <a16:creationId xmlns:a16="http://schemas.microsoft.com/office/drawing/2014/main" id="{2C1892F3-8E84-485E-B731-7A87C3E052A0}"/>
              </a:ext>
              <a:ext uri="{C183D7F6-B498-43B3-948B-1728B52AA6E4}">
                <adec:decorative xmlns:adec="http://schemas.microsoft.com/office/drawing/2017/decorative" val="1"/>
              </a:ext>
            </a:extLst>
          </p:cNvPr>
          <p:cNvSpPr/>
          <p:nvPr/>
        </p:nvSpPr>
        <p:spPr bwMode="auto">
          <a:xfrm>
            <a:off x="6636220" y="5928234"/>
            <a:ext cx="165062" cy="165062"/>
          </a:xfrm>
          <a:prstGeom prst="triangle">
            <a:avLst/>
          </a:prstGeom>
          <a:solidFill>
            <a:srgbClr val="96968C"/>
          </a:solidFill>
          <a:ln w="635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4" name="TextBox 23">
            <a:extLst>
              <a:ext uri="{FF2B5EF4-FFF2-40B4-BE49-F238E27FC236}">
                <a16:creationId xmlns:a16="http://schemas.microsoft.com/office/drawing/2014/main" id="{CA731FC6-0331-4D6C-8832-CE7886020426}"/>
              </a:ext>
            </a:extLst>
          </p:cNvPr>
          <p:cNvSpPr txBox="1"/>
          <p:nvPr/>
        </p:nvSpPr>
        <p:spPr bwMode="auto">
          <a:xfrm>
            <a:off x="6067384" y="6109556"/>
            <a:ext cx="135752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Self service – </a:t>
            </a:r>
            <a:br>
              <a:rPr kumimoji="0" lang="en-US" sz="1000" b="0" i="0" u="none" strike="noStrike" kern="0" cap="none" spc="0" normalizeH="0" baseline="0" noProof="0" dirty="0">
                <a:ln>
                  <a:noFill/>
                </a:ln>
                <a:solidFill>
                  <a:srgbClr val="000000"/>
                </a:solidFill>
                <a:effectLst/>
                <a:uLnTx/>
                <a:uFillTx/>
                <a:ea typeface="+mn-ea"/>
                <a:cs typeface="+mn-cs"/>
              </a:rPr>
            </a:br>
            <a:r>
              <a:rPr kumimoji="0" lang="en-US" sz="1000" b="0" i="0" u="none" strike="noStrike" kern="0" cap="none" spc="0" normalizeH="0" baseline="0" noProof="0" dirty="0">
                <a:ln>
                  <a:noFill/>
                </a:ln>
                <a:solidFill>
                  <a:srgbClr val="000000"/>
                </a:solidFill>
                <a:effectLst/>
                <a:uLnTx/>
                <a:uFillTx/>
                <a:ea typeface="+mn-ea"/>
                <a:cs typeface="+mn-cs"/>
              </a:rPr>
              <a:t>expected go live date</a:t>
            </a:r>
          </a:p>
        </p:txBody>
      </p:sp>
      <p:sp>
        <p:nvSpPr>
          <p:cNvPr id="21" name="Isosceles Triangle 20">
            <a:extLst>
              <a:ext uri="{FF2B5EF4-FFF2-40B4-BE49-F238E27FC236}">
                <a16:creationId xmlns:a16="http://schemas.microsoft.com/office/drawing/2014/main" id="{E2F23A88-9E6D-4EEC-9D91-A42592E50195}"/>
              </a:ext>
              <a:ext uri="{C183D7F6-B498-43B3-948B-1728B52AA6E4}">
                <adec:decorative xmlns:adec="http://schemas.microsoft.com/office/drawing/2017/decorative" val="1"/>
              </a:ext>
            </a:extLst>
          </p:cNvPr>
          <p:cNvSpPr/>
          <p:nvPr/>
        </p:nvSpPr>
        <p:spPr bwMode="auto">
          <a:xfrm>
            <a:off x="9962097" y="5928234"/>
            <a:ext cx="165062" cy="165062"/>
          </a:xfrm>
          <a:prstGeom prst="triangle">
            <a:avLst/>
          </a:prstGeom>
          <a:solidFill>
            <a:srgbClr val="96968C"/>
          </a:solidFill>
          <a:ln w="635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B57B6E6B-6F07-4930-9131-5D95DDED804A}"/>
              </a:ext>
            </a:extLst>
          </p:cNvPr>
          <p:cNvSpPr txBox="1"/>
          <p:nvPr/>
        </p:nvSpPr>
        <p:spPr bwMode="auto">
          <a:xfrm>
            <a:off x="9273132" y="6109556"/>
            <a:ext cx="1215356"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New customer care suite completed</a:t>
            </a:r>
          </a:p>
        </p:txBody>
      </p:sp>
      <p:sp>
        <p:nvSpPr>
          <p:cNvPr id="3" name="Footer Placeholder 2">
            <a:extLst>
              <a:ext uri="{FF2B5EF4-FFF2-40B4-BE49-F238E27FC236}">
                <a16:creationId xmlns:a16="http://schemas.microsoft.com/office/drawing/2014/main" id="{BBD6B1EB-9509-49A1-AB4D-B07F39187759}"/>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4" name="Slide Number Placeholder 53">
            <a:extLst>
              <a:ext uri="{FF2B5EF4-FFF2-40B4-BE49-F238E27FC236}">
                <a16:creationId xmlns:a16="http://schemas.microsoft.com/office/drawing/2014/main" id="{6236F8D3-97FC-4C6A-88D9-E9351BE3FFC1}"/>
              </a:ext>
            </a:extLst>
          </p:cNvPr>
          <p:cNvSpPr>
            <a:spLocks noGrp="1"/>
          </p:cNvSpPr>
          <p:nvPr>
            <p:ph type="sldNum" sz="quarter" idx="10"/>
          </p:nvPr>
        </p:nvSpPr>
        <p:spPr/>
        <p:txBody>
          <a:bodyPr/>
          <a:lstStyle/>
          <a:p>
            <a:fld id="{1F90F471-3972-4120-B8B3-0237DE626C35}" type="slidenum">
              <a:rPr lang="en-US" smtClean="0"/>
              <a:pPr/>
              <a:t>383</a:t>
            </a:fld>
            <a:endParaRPr lang="en-US" dirty="0"/>
          </a:p>
        </p:txBody>
      </p:sp>
    </p:spTree>
    <p:extLst>
      <p:ext uri="{BB962C8B-B14F-4D97-AF65-F5344CB8AC3E}">
        <p14:creationId xmlns:p14="http://schemas.microsoft.com/office/powerpoint/2010/main" val="1441137928"/>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Project Timelines 3</a:t>
            </a:r>
          </a:p>
        </p:txBody>
      </p:sp>
      <p:graphicFrame>
        <p:nvGraphicFramePr>
          <p:cNvPr id="6" name="Table 5">
            <a:extLst>
              <a:ext uri="{FF2B5EF4-FFF2-40B4-BE49-F238E27FC236}">
                <a16:creationId xmlns:a16="http://schemas.microsoft.com/office/drawing/2014/main" id="{E198DBFA-D8D1-44DA-9F7D-A2A2F0E8C7AC}"/>
              </a:ext>
            </a:extLst>
          </p:cNvPr>
          <p:cNvGraphicFramePr>
            <a:graphicFrameLocks noGrp="1"/>
          </p:cNvGraphicFramePr>
          <p:nvPr>
            <p:extLst>
              <p:ext uri="{D42A27DB-BD31-4B8C-83A1-F6EECF244321}">
                <p14:modId xmlns:p14="http://schemas.microsoft.com/office/powerpoint/2010/main" val="3486663659"/>
              </p:ext>
            </p:extLst>
          </p:nvPr>
        </p:nvGraphicFramePr>
        <p:xfrm>
          <a:off x="1992314" y="5100723"/>
          <a:ext cx="8203443" cy="1219200"/>
        </p:xfrm>
        <a:graphic>
          <a:graphicData uri="http://schemas.openxmlformats.org/drawingml/2006/table">
            <a:tbl>
              <a:tblPr firstRow="1" bandRow="1"/>
              <a:tblGrid>
                <a:gridCol w="2381320">
                  <a:extLst>
                    <a:ext uri="{9D8B030D-6E8A-4147-A177-3AD203B41FA5}">
                      <a16:colId xmlns:a16="http://schemas.microsoft.com/office/drawing/2014/main" val="20000"/>
                    </a:ext>
                  </a:extLst>
                </a:gridCol>
                <a:gridCol w="5822123">
                  <a:extLst>
                    <a:ext uri="{9D8B030D-6E8A-4147-A177-3AD203B41FA5}">
                      <a16:colId xmlns:a16="http://schemas.microsoft.com/office/drawing/2014/main" val="20001"/>
                    </a:ext>
                  </a:extLst>
                </a:gridCol>
              </a:tblGrid>
              <a:tr h="140764">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1000" dirty="0">
                          <a:latin typeface="+mj-lt"/>
                        </a:rPr>
                        <a:t>Key Deliverabl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1000" dirty="0">
                          <a:latin typeface="+mj-lt"/>
                        </a:rPr>
                        <a:t>Dependenci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A100FF"/>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n-lt"/>
                        </a:rPr>
                        <a:t>Work Plan</a:t>
                      </a:r>
                      <a:endParaRPr lang="en-US" sz="1000" dirty="0">
                        <a:latin typeface="+mn-lt"/>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A100FF">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US" sz="1000" dirty="0">
                        <a:latin typeface="+mn-lt"/>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A100FF">
                        <a:tint val="40000"/>
                      </a:srgbClr>
                    </a:solidFill>
                  </a:tcPr>
                </a:tc>
                <a:extLst>
                  <a:ext uri="{0D108BD9-81ED-4DB2-BD59-A6C34878D82A}">
                    <a16:rowId xmlns:a16="http://schemas.microsoft.com/office/drawing/2014/main" val="10001"/>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n-lt"/>
                        </a:rPr>
                        <a:t>Issue Log Template</a:t>
                      </a:r>
                      <a:endParaRPr lang="en-US" sz="1000" dirty="0">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A100F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US" sz="1000" dirty="0">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A100FF">
                        <a:tint val="20000"/>
                      </a:srgbClr>
                    </a:solidFill>
                  </a:tcPr>
                </a:tc>
                <a:extLst>
                  <a:ext uri="{0D108BD9-81ED-4DB2-BD59-A6C34878D82A}">
                    <a16:rowId xmlns:a16="http://schemas.microsoft.com/office/drawing/2014/main" val="10002"/>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n-lt"/>
                        </a:rPr>
                        <a:t>Change Impacts List</a:t>
                      </a:r>
                      <a:endParaRPr lang="en-US" sz="1000" dirty="0">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A100FF">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US" sz="1000" dirty="0">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A100FF">
                        <a:tint val="40000"/>
                      </a:srgbClr>
                    </a:solidFill>
                  </a:tcPr>
                </a:tc>
                <a:extLst>
                  <a:ext uri="{0D108BD9-81ED-4DB2-BD59-A6C34878D82A}">
                    <a16:rowId xmlns:a16="http://schemas.microsoft.com/office/drawing/2014/main" val="10003"/>
                  </a:ext>
                </a:extLst>
              </a:tr>
              <a:tr h="14861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n-lt"/>
                        </a:rPr>
                        <a:t>Communication Plan</a:t>
                      </a:r>
                      <a:endParaRPr lang="en-US" sz="1000" dirty="0">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A100F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US" sz="1000" dirty="0">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A100FF">
                        <a:tint val="20000"/>
                      </a:srgbClr>
                    </a:solidFill>
                  </a:tcPr>
                </a:tc>
                <a:extLst>
                  <a:ext uri="{0D108BD9-81ED-4DB2-BD59-A6C34878D82A}">
                    <a16:rowId xmlns:a16="http://schemas.microsoft.com/office/drawing/2014/main" val="10004"/>
                  </a:ext>
                </a:extLst>
              </a:tr>
            </a:tbl>
          </a:graphicData>
        </a:graphic>
      </p:graphicFrame>
      <p:sp>
        <p:nvSpPr>
          <p:cNvPr id="7" name="Rectangle 90">
            <a:extLst>
              <a:ext uri="{FF2B5EF4-FFF2-40B4-BE49-F238E27FC236}">
                <a16:creationId xmlns:a16="http://schemas.microsoft.com/office/drawing/2014/main" id="{4093FF5F-46C8-4B3E-9154-584FBEDA7A27}"/>
              </a:ext>
            </a:extLst>
          </p:cNvPr>
          <p:cNvSpPr>
            <a:spLocks noChangeArrowheads="1"/>
          </p:cNvSpPr>
          <p:nvPr/>
        </p:nvSpPr>
        <p:spPr bwMode="auto">
          <a:xfrm>
            <a:off x="8194058" y="4374848"/>
            <a:ext cx="1258152" cy="152400"/>
          </a:xfrm>
          <a:prstGeom prst="rect">
            <a:avLst/>
          </a:prstGeom>
          <a:solidFill>
            <a:schemeClr val="accent3">
              <a:lumMod val="50000"/>
            </a:schemeClr>
          </a:solidFill>
          <a:ln w="12700" algn="ctr">
            <a:noFill/>
            <a:miter lim="800000"/>
            <a:headEnd/>
            <a:tailEnd/>
          </a:ln>
          <a:effectLst/>
        </p:spPr>
        <p:txBody>
          <a:bodyPr wrap="none" lIns="36000" tIns="0" rIns="36000" bIns="0" anchor="ctr"/>
          <a:lstStyle/>
          <a:p>
            <a:pPr marL="0" marR="0" lvl="0" indent="0" algn="l" defTabSz="787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ea typeface="+mn-ea"/>
                <a:cs typeface="+mn-cs"/>
              </a:rPr>
              <a:t>Metrics Development</a:t>
            </a:r>
          </a:p>
        </p:txBody>
      </p:sp>
      <p:pic>
        <p:nvPicPr>
          <p:cNvPr id="8" name="Picture 3" descr="Add text and order accordingly">
            <a:extLst>
              <a:ext uri="{FF2B5EF4-FFF2-40B4-BE49-F238E27FC236}">
                <a16:creationId xmlns:a16="http://schemas.microsoft.com/office/drawing/2014/main" id="{A3B332C4-29C3-4A07-8A71-370017421FED}"/>
              </a:ext>
            </a:extLst>
          </p:cNvPr>
          <p:cNvPicPr>
            <a:picLocks noChangeAspect="1" noChangeArrowheads="1"/>
          </p:cNvPicPr>
          <p:nvPr/>
        </p:nvPicPr>
        <p:blipFill rotWithShape="1">
          <a:blip r:embed="rId5" cstate="print"/>
          <a:srcRect l="2638" t="5662" r="3965" b="3528"/>
          <a:stretch/>
        </p:blipFill>
        <p:spPr bwMode="auto">
          <a:xfrm>
            <a:off x="2027549" y="2200424"/>
            <a:ext cx="2382385" cy="1816419"/>
          </a:xfrm>
          <a:prstGeom prst="rect">
            <a:avLst/>
          </a:prstGeom>
          <a:noFill/>
          <a:ln w="9525">
            <a:noFill/>
            <a:miter lim="800000"/>
            <a:headEnd/>
            <a:tailEnd/>
          </a:ln>
          <a:effectLst/>
        </p:spPr>
      </p:pic>
      <p:sp>
        <p:nvSpPr>
          <p:cNvPr id="9" name="Line 37">
            <a:extLst>
              <a:ext uri="{FF2B5EF4-FFF2-40B4-BE49-F238E27FC236}">
                <a16:creationId xmlns:a16="http://schemas.microsoft.com/office/drawing/2014/main" id="{74876A3F-DE1F-4D31-A630-F77C690F9C9C}"/>
              </a:ext>
              <a:ext uri="{C183D7F6-B498-43B3-948B-1728B52AA6E4}">
                <adec:decorative xmlns:adec="http://schemas.microsoft.com/office/drawing/2017/decorative" val="1"/>
              </a:ext>
            </a:extLst>
          </p:cNvPr>
          <p:cNvSpPr>
            <a:spLocks noChangeShapeType="1"/>
          </p:cNvSpPr>
          <p:nvPr/>
        </p:nvSpPr>
        <p:spPr bwMode="auto">
          <a:xfrm flipV="1">
            <a:off x="2884178" y="1801553"/>
            <a:ext cx="2135629" cy="603720"/>
          </a:xfrm>
          <a:prstGeom prst="line">
            <a:avLst/>
          </a:prstGeom>
          <a:noFill/>
          <a:ln w="6350">
            <a:solidFill>
              <a:srgbClr val="BE82FF"/>
            </a:solidFill>
            <a:prstDash val="dash"/>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 name="Line 38">
            <a:extLst>
              <a:ext uri="{FF2B5EF4-FFF2-40B4-BE49-F238E27FC236}">
                <a16:creationId xmlns:a16="http://schemas.microsoft.com/office/drawing/2014/main" id="{D99DA9B5-743D-42C7-9275-0A9ACEED83A8}"/>
              </a:ext>
              <a:ext uri="{C183D7F6-B498-43B3-948B-1728B52AA6E4}">
                <adec:decorative xmlns:adec="http://schemas.microsoft.com/office/drawing/2017/decorative" val="1"/>
              </a:ext>
            </a:extLst>
          </p:cNvPr>
          <p:cNvSpPr>
            <a:spLocks noChangeShapeType="1"/>
          </p:cNvSpPr>
          <p:nvPr/>
        </p:nvSpPr>
        <p:spPr bwMode="auto">
          <a:xfrm>
            <a:off x="2884178" y="2939283"/>
            <a:ext cx="2135629" cy="2083086"/>
          </a:xfrm>
          <a:prstGeom prst="line">
            <a:avLst/>
          </a:prstGeom>
          <a:noFill/>
          <a:ln w="6350">
            <a:solidFill>
              <a:srgbClr val="BE82FF"/>
            </a:solidFill>
            <a:prstDash val="dash"/>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1" name="Group 11" descr="Add text and order accordingly">
            <a:extLst>
              <a:ext uri="{FF2B5EF4-FFF2-40B4-BE49-F238E27FC236}">
                <a16:creationId xmlns:a16="http://schemas.microsoft.com/office/drawing/2014/main" id="{1F8E78F1-0353-45EE-93B4-DD86913C1014}"/>
              </a:ext>
            </a:extLst>
          </p:cNvPr>
          <p:cNvGrpSpPr/>
          <p:nvPr/>
        </p:nvGrpSpPr>
        <p:grpSpPr bwMode="auto">
          <a:xfrm>
            <a:off x="5951451" y="1716348"/>
            <a:ext cx="3133531" cy="3306023"/>
            <a:chOff x="4427450" y="1607480"/>
            <a:chExt cx="3133531" cy="3440114"/>
          </a:xfrm>
        </p:grpSpPr>
        <p:sp>
          <p:nvSpPr>
            <p:cNvPr id="12" name="Line 41">
              <a:extLst>
                <a:ext uri="{FF2B5EF4-FFF2-40B4-BE49-F238E27FC236}">
                  <a16:creationId xmlns:a16="http://schemas.microsoft.com/office/drawing/2014/main" id="{73617D6C-5B05-4C6A-AD2E-A25CFAB020A8}"/>
                </a:ext>
              </a:extLst>
            </p:cNvPr>
            <p:cNvSpPr>
              <a:spLocks noChangeShapeType="1"/>
            </p:cNvSpPr>
            <p:nvPr/>
          </p:nvSpPr>
          <p:spPr bwMode="auto">
            <a:xfrm>
              <a:off x="4427450" y="1607480"/>
              <a:ext cx="0" cy="3440113"/>
            </a:xfrm>
            <a:prstGeom prst="line">
              <a:avLst/>
            </a:prstGeom>
            <a:noFill/>
            <a:ln w="6350">
              <a:solidFill>
                <a:srgbClr val="96968C"/>
              </a:solidFill>
              <a:prstDash val="dash"/>
              <a:round/>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 name="Line 11">
              <a:extLst>
                <a:ext uri="{FF2B5EF4-FFF2-40B4-BE49-F238E27FC236}">
                  <a16:creationId xmlns:a16="http://schemas.microsoft.com/office/drawing/2014/main" id="{F9857F70-A2E8-4EAE-9261-D220795CCA5F}"/>
                </a:ext>
              </a:extLst>
            </p:cNvPr>
            <p:cNvSpPr>
              <a:spLocks noChangeShapeType="1"/>
            </p:cNvSpPr>
            <p:nvPr/>
          </p:nvSpPr>
          <p:spPr bwMode="auto">
            <a:xfrm>
              <a:off x="7560981" y="1607481"/>
              <a:ext cx="0" cy="3440113"/>
            </a:xfrm>
            <a:prstGeom prst="line">
              <a:avLst/>
            </a:prstGeom>
            <a:noFill/>
            <a:ln w="6350">
              <a:solidFill>
                <a:srgbClr val="96968C"/>
              </a:solidFill>
              <a:prstDash val="dash"/>
              <a:round/>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 name="Line 14">
              <a:extLst>
                <a:ext uri="{FF2B5EF4-FFF2-40B4-BE49-F238E27FC236}">
                  <a16:creationId xmlns:a16="http://schemas.microsoft.com/office/drawing/2014/main" id="{E1E69420-BE03-43E9-993A-B6A616A81542}"/>
                </a:ext>
              </a:extLst>
            </p:cNvPr>
            <p:cNvSpPr>
              <a:spLocks noChangeShapeType="1"/>
            </p:cNvSpPr>
            <p:nvPr/>
          </p:nvSpPr>
          <p:spPr bwMode="auto">
            <a:xfrm>
              <a:off x="6780348" y="1607480"/>
              <a:ext cx="0" cy="3440113"/>
            </a:xfrm>
            <a:prstGeom prst="line">
              <a:avLst/>
            </a:prstGeom>
            <a:noFill/>
            <a:ln w="6350">
              <a:solidFill>
                <a:srgbClr val="96968C"/>
              </a:solidFill>
              <a:prstDash val="dash"/>
              <a:round/>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 name="Line 12">
              <a:extLst>
                <a:ext uri="{FF2B5EF4-FFF2-40B4-BE49-F238E27FC236}">
                  <a16:creationId xmlns:a16="http://schemas.microsoft.com/office/drawing/2014/main" id="{0DBE76E5-8123-443B-AAE4-2E7F9CE12FEB}"/>
                </a:ext>
              </a:extLst>
            </p:cNvPr>
            <p:cNvSpPr>
              <a:spLocks noChangeShapeType="1"/>
            </p:cNvSpPr>
            <p:nvPr/>
          </p:nvSpPr>
          <p:spPr bwMode="auto">
            <a:xfrm>
              <a:off x="5996048" y="1607480"/>
              <a:ext cx="0" cy="3440113"/>
            </a:xfrm>
            <a:prstGeom prst="line">
              <a:avLst/>
            </a:prstGeom>
            <a:noFill/>
            <a:ln w="6350">
              <a:solidFill>
                <a:srgbClr val="96968C"/>
              </a:solidFill>
              <a:prstDash val="dash"/>
              <a:round/>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 name="Line 13">
              <a:extLst>
                <a:ext uri="{FF2B5EF4-FFF2-40B4-BE49-F238E27FC236}">
                  <a16:creationId xmlns:a16="http://schemas.microsoft.com/office/drawing/2014/main" id="{E262F095-FF5D-4678-B92C-7E80513A326E}"/>
                </a:ext>
              </a:extLst>
            </p:cNvPr>
            <p:cNvSpPr>
              <a:spLocks noChangeShapeType="1"/>
            </p:cNvSpPr>
            <p:nvPr/>
          </p:nvSpPr>
          <p:spPr bwMode="auto">
            <a:xfrm>
              <a:off x="5211749" y="1607480"/>
              <a:ext cx="0" cy="3440113"/>
            </a:xfrm>
            <a:prstGeom prst="line">
              <a:avLst/>
            </a:prstGeom>
            <a:noFill/>
            <a:ln w="6350">
              <a:solidFill>
                <a:srgbClr val="96968C"/>
              </a:solidFill>
              <a:prstDash val="dash"/>
              <a:round/>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sp>
        <p:nvSpPr>
          <p:cNvPr id="17" name="Text Box 15">
            <a:extLst>
              <a:ext uri="{FF2B5EF4-FFF2-40B4-BE49-F238E27FC236}">
                <a16:creationId xmlns:a16="http://schemas.microsoft.com/office/drawing/2014/main" id="{C78B31CD-67B9-4DE9-ADCB-7B97273751EB}"/>
              </a:ext>
            </a:extLst>
          </p:cNvPr>
          <p:cNvSpPr txBox="1">
            <a:spLocks noChangeArrowheads="1"/>
          </p:cNvSpPr>
          <p:nvPr/>
        </p:nvSpPr>
        <p:spPr bwMode="auto">
          <a:xfrm>
            <a:off x="6474613" y="1192164"/>
            <a:ext cx="517490" cy="153888"/>
          </a:xfrm>
          <a:prstGeom prst="rect">
            <a:avLst/>
          </a:prstGeom>
          <a:noFill/>
          <a:ln w="9525" algn="ctr">
            <a:noFill/>
            <a:miter lim="800000"/>
            <a:headEnd/>
            <a:tailEnd/>
          </a:ln>
          <a:effectLst/>
        </p:spPr>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000" b="0" i="0" u="none" strike="noStrike" kern="1200" cap="none" spc="0" normalizeH="0" baseline="0" noProof="0" dirty="0">
                <a:ln>
                  <a:noFill/>
                </a:ln>
                <a:solidFill>
                  <a:srgbClr val="000000"/>
                </a:solidFill>
                <a:effectLst/>
                <a:uLnTx/>
                <a:uFillTx/>
                <a:ea typeface="+mn-ea"/>
                <a:cs typeface="Times New Roman" pitchFamily="18" charset="0"/>
              </a:rPr>
              <a:t>02/10</a:t>
            </a:r>
            <a:endParaRPr kumimoji="0" lang="en-US" sz="1000" b="0" i="0" u="none" strike="noStrike" kern="1200" cap="none" spc="0" normalizeH="0" baseline="0" noProof="0" dirty="0">
              <a:ln>
                <a:noFill/>
              </a:ln>
              <a:solidFill>
                <a:srgbClr val="000000"/>
              </a:solidFill>
              <a:effectLst/>
              <a:uLnTx/>
              <a:uFillTx/>
              <a:ea typeface="+mn-ea"/>
              <a:cs typeface="Times New Roman" pitchFamily="18" charset="0"/>
            </a:endParaRPr>
          </a:p>
        </p:txBody>
      </p:sp>
      <p:sp>
        <p:nvSpPr>
          <p:cNvPr id="18" name="Text Box 20">
            <a:extLst>
              <a:ext uri="{FF2B5EF4-FFF2-40B4-BE49-F238E27FC236}">
                <a16:creationId xmlns:a16="http://schemas.microsoft.com/office/drawing/2014/main" id="{4EC80A12-9D0C-4AAD-9078-57DCB9216FAA}"/>
              </a:ext>
            </a:extLst>
          </p:cNvPr>
          <p:cNvSpPr txBox="1">
            <a:spLocks noChangeArrowheads="1"/>
          </p:cNvSpPr>
          <p:nvPr/>
        </p:nvSpPr>
        <p:spPr bwMode="auto">
          <a:xfrm>
            <a:off x="7266701" y="1192164"/>
            <a:ext cx="517490" cy="153888"/>
          </a:xfrm>
          <a:prstGeom prst="rect">
            <a:avLst/>
          </a:prstGeom>
          <a:noFill/>
          <a:ln w="9525" algn="ctr">
            <a:noFill/>
            <a:miter lim="800000"/>
            <a:headEnd/>
            <a:tailEnd/>
          </a:ln>
          <a:effectLst/>
        </p:spPr>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000" b="0" i="0" u="none" strike="noStrike" kern="1200" cap="none" spc="0" normalizeH="0" baseline="0" noProof="0" dirty="0">
                <a:ln>
                  <a:noFill/>
                </a:ln>
                <a:solidFill>
                  <a:srgbClr val="000000"/>
                </a:solidFill>
                <a:effectLst/>
                <a:uLnTx/>
                <a:uFillTx/>
                <a:ea typeface="+mn-ea"/>
                <a:cs typeface="Times New Roman" pitchFamily="18" charset="0"/>
              </a:rPr>
              <a:t>03/10</a:t>
            </a:r>
            <a:endParaRPr kumimoji="0" lang="en-US" sz="1000" b="0" i="0" u="none" strike="noStrike" kern="1200" cap="none" spc="0" normalizeH="0" baseline="0" noProof="0" dirty="0">
              <a:ln>
                <a:noFill/>
              </a:ln>
              <a:solidFill>
                <a:srgbClr val="000000"/>
              </a:solidFill>
              <a:effectLst/>
              <a:uLnTx/>
              <a:uFillTx/>
              <a:ea typeface="+mn-ea"/>
              <a:cs typeface="Times New Roman" pitchFamily="18" charset="0"/>
            </a:endParaRPr>
          </a:p>
        </p:txBody>
      </p:sp>
      <p:sp>
        <p:nvSpPr>
          <p:cNvPr id="19" name="Text Box 21">
            <a:extLst>
              <a:ext uri="{FF2B5EF4-FFF2-40B4-BE49-F238E27FC236}">
                <a16:creationId xmlns:a16="http://schemas.microsoft.com/office/drawing/2014/main" id="{15197CD3-239A-46B5-9EBE-F5357DAFCBFC}"/>
              </a:ext>
            </a:extLst>
          </p:cNvPr>
          <p:cNvSpPr txBox="1">
            <a:spLocks noChangeArrowheads="1"/>
          </p:cNvSpPr>
          <p:nvPr/>
        </p:nvSpPr>
        <p:spPr bwMode="auto">
          <a:xfrm>
            <a:off x="8044141" y="1192164"/>
            <a:ext cx="517490" cy="153888"/>
          </a:xfrm>
          <a:prstGeom prst="rect">
            <a:avLst/>
          </a:prstGeom>
          <a:noFill/>
          <a:ln w="9525" algn="ctr">
            <a:noFill/>
            <a:miter lim="800000"/>
            <a:headEnd/>
            <a:tailEnd/>
          </a:ln>
          <a:effectLst/>
        </p:spPr>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000" b="0" i="0" u="none" strike="noStrike" kern="1200" cap="none" spc="0" normalizeH="0" baseline="0" noProof="0" dirty="0">
                <a:ln>
                  <a:noFill/>
                </a:ln>
                <a:solidFill>
                  <a:srgbClr val="000000"/>
                </a:solidFill>
                <a:effectLst/>
                <a:uLnTx/>
                <a:uFillTx/>
                <a:ea typeface="+mn-ea"/>
                <a:cs typeface="Times New Roman" pitchFamily="18" charset="0"/>
              </a:rPr>
              <a:t>04/10</a:t>
            </a:r>
            <a:endParaRPr kumimoji="0" lang="en-US" sz="1000" b="0" i="0" u="none" strike="noStrike" kern="1200" cap="none" spc="0" normalizeH="0" baseline="0" noProof="0" dirty="0">
              <a:ln>
                <a:noFill/>
              </a:ln>
              <a:solidFill>
                <a:srgbClr val="000000"/>
              </a:solidFill>
              <a:effectLst/>
              <a:uLnTx/>
              <a:uFillTx/>
              <a:ea typeface="+mn-ea"/>
              <a:cs typeface="Times New Roman" pitchFamily="18" charset="0"/>
            </a:endParaRPr>
          </a:p>
        </p:txBody>
      </p:sp>
      <p:sp>
        <p:nvSpPr>
          <p:cNvPr id="20" name="Text Box 22">
            <a:extLst>
              <a:ext uri="{FF2B5EF4-FFF2-40B4-BE49-F238E27FC236}">
                <a16:creationId xmlns:a16="http://schemas.microsoft.com/office/drawing/2014/main" id="{DBD45755-0411-4258-8A5A-3BC708E2D898}"/>
              </a:ext>
            </a:extLst>
          </p:cNvPr>
          <p:cNvSpPr txBox="1">
            <a:spLocks noChangeArrowheads="1"/>
          </p:cNvSpPr>
          <p:nvPr/>
        </p:nvSpPr>
        <p:spPr bwMode="auto">
          <a:xfrm>
            <a:off x="8836229" y="1192164"/>
            <a:ext cx="517490" cy="153888"/>
          </a:xfrm>
          <a:prstGeom prst="rect">
            <a:avLst/>
          </a:prstGeom>
          <a:noFill/>
          <a:ln w="9525" algn="ctr">
            <a:noFill/>
            <a:miter lim="800000"/>
            <a:headEnd/>
            <a:tailEnd/>
          </a:ln>
          <a:effectLst/>
        </p:spPr>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000" b="0" i="0" u="none" strike="noStrike" kern="1200" cap="none" spc="0" normalizeH="0" baseline="0" noProof="0" dirty="0">
                <a:ln>
                  <a:noFill/>
                </a:ln>
                <a:solidFill>
                  <a:srgbClr val="000000"/>
                </a:solidFill>
                <a:effectLst/>
                <a:uLnTx/>
                <a:uFillTx/>
                <a:ea typeface="+mn-ea"/>
                <a:cs typeface="Times New Roman" pitchFamily="18" charset="0"/>
              </a:rPr>
              <a:t>05/10</a:t>
            </a:r>
            <a:endParaRPr kumimoji="0" lang="en-US" sz="1000" b="0" i="0" u="none" strike="noStrike" kern="1200" cap="none" spc="0" normalizeH="0" baseline="0" noProof="0" dirty="0">
              <a:ln>
                <a:noFill/>
              </a:ln>
              <a:solidFill>
                <a:srgbClr val="000000"/>
              </a:solidFill>
              <a:effectLst/>
              <a:uLnTx/>
              <a:uFillTx/>
              <a:ea typeface="+mn-ea"/>
              <a:cs typeface="Times New Roman" pitchFamily="18" charset="0"/>
            </a:endParaRPr>
          </a:p>
        </p:txBody>
      </p:sp>
      <p:sp>
        <p:nvSpPr>
          <p:cNvPr id="21" name="Text Box 24">
            <a:extLst>
              <a:ext uri="{FF2B5EF4-FFF2-40B4-BE49-F238E27FC236}">
                <a16:creationId xmlns:a16="http://schemas.microsoft.com/office/drawing/2014/main" id="{EA56B298-89A0-405F-913D-9B51E98913DC}"/>
              </a:ext>
            </a:extLst>
          </p:cNvPr>
          <p:cNvSpPr txBox="1">
            <a:spLocks noChangeArrowheads="1"/>
          </p:cNvSpPr>
          <p:nvPr/>
        </p:nvSpPr>
        <p:spPr bwMode="auto">
          <a:xfrm>
            <a:off x="9650118" y="1192164"/>
            <a:ext cx="517490" cy="153888"/>
          </a:xfrm>
          <a:prstGeom prst="rect">
            <a:avLst/>
          </a:prstGeom>
          <a:noFill/>
          <a:ln w="9525" algn="ctr">
            <a:noFill/>
            <a:miter lim="800000"/>
            <a:headEnd/>
            <a:tailEnd/>
          </a:ln>
          <a:effectLst/>
        </p:spPr>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000" b="0" i="0" u="none" strike="noStrike" kern="1200" cap="none" spc="0" normalizeH="0" baseline="0" noProof="0" dirty="0">
                <a:ln>
                  <a:noFill/>
                </a:ln>
                <a:solidFill>
                  <a:srgbClr val="000000"/>
                </a:solidFill>
                <a:effectLst/>
                <a:uLnTx/>
                <a:uFillTx/>
                <a:ea typeface="+mn-ea"/>
                <a:cs typeface="Times New Roman" pitchFamily="18" charset="0"/>
              </a:rPr>
              <a:t>06/10</a:t>
            </a:r>
            <a:endParaRPr kumimoji="0" lang="en-US" sz="1000" b="0" i="0" u="none" strike="noStrike" kern="1200" cap="none" spc="0" normalizeH="0" baseline="0" noProof="0" dirty="0">
              <a:ln>
                <a:noFill/>
              </a:ln>
              <a:solidFill>
                <a:srgbClr val="000000"/>
              </a:solidFill>
              <a:effectLst/>
              <a:uLnTx/>
              <a:uFillTx/>
              <a:ea typeface="+mn-ea"/>
              <a:cs typeface="Times New Roman" pitchFamily="18" charset="0"/>
            </a:endParaRPr>
          </a:p>
        </p:txBody>
      </p:sp>
      <p:sp>
        <p:nvSpPr>
          <p:cNvPr id="22" name="Text Box 43">
            <a:extLst>
              <a:ext uri="{FF2B5EF4-FFF2-40B4-BE49-F238E27FC236}">
                <a16:creationId xmlns:a16="http://schemas.microsoft.com/office/drawing/2014/main" id="{2E899B1F-9049-4466-A6B3-408A11A9A39B}"/>
              </a:ext>
            </a:extLst>
          </p:cNvPr>
          <p:cNvSpPr txBox="1">
            <a:spLocks noChangeArrowheads="1"/>
          </p:cNvSpPr>
          <p:nvPr/>
        </p:nvSpPr>
        <p:spPr bwMode="auto">
          <a:xfrm>
            <a:off x="5727154" y="1192164"/>
            <a:ext cx="517490" cy="153888"/>
          </a:xfrm>
          <a:prstGeom prst="rect">
            <a:avLst/>
          </a:prstGeom>
          <a:noFill/>
          <a:ln w="9525" algn="ctr">
            <a:noFill/>
            <a:miter lim="800000"/>
            <a:headEnd/>
            <a:tailEnd/>
          </a:ln>
          <a:effectLst/>
        </p:spPr>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000" b="0" i="0" u="none" strike="noStrike" kern="1200" cap="none" spc="0" normalizeH="0" baseline="0" noProof="0" dirty="0">
                <a:ln>
                  <a:noFill/>
                </a:ln>
                <a:solidFill>
                  <a:srgbClr val="000000"/>
                </a:solidFill>
                <a:effectLst/>
                <a:uLnTx/>
                <a:uFillTx/>
                <a:ea typeface="+mn-ea"/>
                <a:cs typeface="Times New Roman" pitchFamily="18" charset="0"/>
              </a:rPr>
              <a:t>01/10</a:t>
            </a:r>
            <a:endParaRPr kumimoji="0" lang="en-US" sz="1000" b="0" i="0" u="none" strike="noStrike" kern="1200" cap="none" spc="0" normalizeH="0" baseline="0" noProof="0" dirty="0">
              <a:ln>
                <a:noFill/>
              </a:ln>
              <a:solidFill>
                <a:srgbClr val="000000"/>
              </a:solidFill>
              <a:effectLst/>
              <a:uLnTx/>
              <a:uFillTx/>
              <a:ea typeface="+mn-ea"/>
              <a:cs typeface="Times New Roman" pitchFamily="18" charset="0"/>
            </a:endParaRPr>
          </a:p>
        </p:txBody>
      </p:sp>
      <p:sp>
        <p:nvSpPr>
          <p:cNvPr id="23" name="Line 51">
            <a:extLst>
              <a:ext uri="{FF2B5EF4-FFF2-40B4-BE49-F238E27FC236}">
                <a16:creationId xmlns:a16="http://schemas.microsoft.com/office/drawing/2014/main" id="{4E99365E-B348-4765-9B85-9C0E278EA081}"/>
              </a:ext>
              <a:ext uri="{C183D7F6-B498-43B3-948B-1728B52AA6E4}">
                <adec:decorative xmlns:adec="http://schemas.microsoft.com/office/drawing/2017/decorative" val="1"/>
              </a:ext>
            </a:extLst>
          </p:cNvPr>
          <p:cNvSpPr>
            <a:spLocks noChangeShapeType="1"/>
          </p:cNvSpPr>
          <p:nvPr/>
        </p:nvSpPr>
        <p:spPr bwMode="auto">
          <a:xfrm>
            <a:off x="5256575" y="2310767"/>
            <a:ext cx="4557732" cy="0"/>
          </a:xfrm>
          <a:prstGeom prst="line">
            <a:avLst/>
          </a:prstGeom>
          <a:noFill/>
          <a:ln w="12700">
            <a:solidFill>
              <a:srgbClr val="A055F5"/>
            </a:solidFill>
            <a:round/>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4" name="Text Box 52">
            <a:extLst>
              <a:ext uri="{FF2B5EF4-FFF2-40B4-BE49-F238E27FC236}">
                <a16:creationId xmlns:a16="http://schemas.microsoft.com/office/drawing/2014/main" id="{DF4D0603-F6D2-4D31-957A-18EA789AC0EF}"/>
              </a:ext>
            </a:extLst>
          </p:cNvPr>
          <p:cNvSpPr txBox="1">
            <a:spLocks noChangeArrowheads="1"/>
          </p:cNvSpPr>
          <p:nvPr/>
        </p:nvSpPr>
        <p:spPr bwMode="auto">
          <a:xfrm>
            <a:off x="6702764" y="2102905"/>
            <a:ext cx="1728390" cy="153888"/>
          </a:xfrm>
          <a:prstGeom prst="rect">
            <a:avLst/>
          </a:prstGeom>
          <a:noFill/>
          <a:ln w="12700" algn="ctr">
            <a:noFill/>
            <a:miter lim="800000"/>
            <a:headEnd/>
            <a:tailEnd/>
          </a:ln>
          <a:effectLst/>
        </p:spPr>
        <p:txBody>
          <a:bodyPr lIns="0" tIns="0" rIns="0" bIns="0">
            <a:spAutoFit/>
          </a:bodyPr>
          <a:lstStyle/>
          <a:p>
            <a:pPr marL="0" marR="0" lvl="0" indent="0" algn="l" defTabSz="787400" rtl="0" eaLnBrk="1" fontAlgn="auto" latinLnBrk="0" hangingPunct="1">
              <a:lnSpc>
                <a:spcPct val="100000"/>
              </a:lnSpc>
              <a:spcBef>
                <a:spcPct val="50000"/>
              </a:spcBef>
              <a:spcAft>
                <a:spcPts val="0"/>
              </a:spcAft>
              <a:buClrTx/>
              <a:buSzTx/>
              <a:buFontTx/>
              <a:buNone/>
              <a:tabLst/>
              <a:defRPr/>
            </a:pPr>
            <a:r>
              <a:rPr kumimoji="0" lang="it-IT" sz="1000" b="1" i="0" u="none" strike="noStrike" kern="0" cap="none" spc="0" normalizeH="0" baseline="0" noProof="0" dirty="0">
                <a:ln>
                  <a:noFill/>
                </a:ln>
                <a:solidFill>
                  <a:srgbClr val="000000"/>
                </a:solidFill>
                <a:effectLst/>
                <a:uLnTx/>
                <a:uFillTx/>
                <a:latin typeface="+mj-lt"/>
                <a:ea typeface="+mn-ea"/>
                <a:cs typeface="+mn-cs"/>
              </a:rPr>
              <a:t>Process Design</a:t>
            </a:r>
            <a:endParaRPr kumimoji="0" lang="en-US" sz="1000" b="1" i="0" u="none" strike="noStrike" kern="0" cap="none" spc="0" normalizeH="0" baseline="0" noProof="0" dirty="0">
              <a:ln>
                <a:noFill/>
              </a:ln>
              <a:solidFill>
                <a:srgbClr val="000000"/>
              </a:solidFill>
              <a:effectLst/>
              <a:uLnTx/>
              <a:uFillTx/>
              <a:latin typeface="+mj-lt"/>
              <a:ea typeface="+mn-ea"/>
              <a:cs typeface="+mn-cs"/>
            </a:endParaRPr>
          </a:p>
        </p:txBody>
      </p:sp>
      <p:sp>
        <p:nvSpPr>
          <p:cNvPr id="25" name="Oval 53">
            <a:extLst>
              <a:ext uri="{FF2B5EF4-FFF2-40B4-BE49-F238E27FC236}">
                <a16:creationId xmlns:a16="http://schemas.microsoft.com/office/drawing/2014/main" id="{C3C2B136-9D74-40AD-A6BC-B3F217C8F1A7}"/>
              </a:ext>
              <a:ext uri="{C183D7F6-B498-43B3-948B-1728B52AA6E4}">
                <adec:decorative xmlns:adec="http://schemas.microsoft.com/office/drawing/2017/decorative" val="1"/>
              </a:ext>
            </a:extLst>
          </p:cNvPr>
          <p:cNvSpPr>
            <a:spLocks noChangeAspect="1" noChangeArrowheads="1"/>
          </p:cNvSpPr>
          <p:nvPr/>
        </p:nvSpPr>
        <p:spPr bwMode="auto">
          <a:xfrm>
            <a:off x="5177413" y="2256794"/>
            <a:ext cx="83560" cy="88899"/>
          </a:xfrm>
          <a:prstGeom prst="ellipse">
            <a:avLst/>
          </a:prstGeom>
          <a:solidFill>
            <a:schemeClr val="accent3">
              <a:lumMod val="50000"/>
            </a:schemeClr>
          </a:solidFill>
          <a:ln w="1270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 name="Oval 54">
            <a:extLst>
              <a:ext uri="{FF2B5EF4-FFF2-40B4-BE49-F238E27FC236}">
                <a16:creationId xmlns:a16="http://schemas.microsoft.com/office/drawing/2014/main" id="{ACD61EC2-95E4-4841-B2EB-20F4E93411EB}"/>
              </a:ext>
              <a:ext uri="{C183D7F6-B498-43B3-948B-1728B52AA6E4}">
                <adec:decorative xmlns:adec="http://schemas.microsoft.com/office/drawing/2017/decorative" val="1"/>
              </a:ext>
            </a:extLst>
          </p:cNvPr>
          <p:cNvSpPr>
            <a:spLocks noChangeAspect="1" noChangeArrowheads="1"/>
          </p:cNvSpPr>
          <p:nvPr/>
        </p:nvSpPr>
        <p:spPr bwMode="auto">
          <a:xfrm>
            <a:off x="9806978" y="2269494"/>
            <a:ext cx="83560" cy="88899"/>
          </a:xfrm>
          <a:prstGeom prst="ellipse">
            <a:avLst/>
          </a:prstGeom>
          <a:solidFill>
            <a:schemeClr val="accent3">
              <a:lumMod val="50000"/>
            </a:schemeClr>
          </a:solidFill>
          <a:ln w="1270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 name="Rectangle 55">
            <a:extLst>
              <a:ext uri="{FF2B5EF4-FFF2-40B4-BE49-F238E27FC236}">
                <a16:creationId xmlns:a16="http://schemas.microsoft.com/office/drawing/2014/main" id="{F8DDA04D-604F-4914-8DDC-F4A631DAC4D4}"/>
              </a:ext>
            </a:extLst>
          </p:cNvPr>
          <p:cNvSpPr>
            <a:spLocks noChangeArrowheads="1"/>
          </p:cNvSpPr>
          <p:nvPr/>
        </p:nvSpPr>
        <p:spPr bwMode="auto">
          <a:xfrm>
            <a:off x="5236051" y="2356804"/>
            <a:ext cx="1499698" cy="152400"/>
          </a:xfrm>
          <a:prstGeom prst="rect">
            <a:avLst/>
          </a:prstGeom>
          <a:solidFill>
            <a:schemeClr val="accent3">
              <a:lumMod val="50000"/>
            </a:schemeClr>
          </a:solidFill>
          <a:ln w="12700" algn="ctr">
            <a:noFill/>
            <a:miter lim="800000"/>
            <a:headEnd/>
            <a:tailEnd/>
          </a:ln>
          <a:effectLst/>
        </p:spPr>
        <p:txBody>
          <a:bodyPr wrap="none" lIns="36000" tIns="0" rIns="3600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800" b="1" i="0" u="none" strike="noStrike" kern="0" cap="none" spc="0" normalizeH="0" baseline="0" noProof="0" dirty="0">
                <a:ln>
                  <a:noFill/>
                </a:ln>
                <a:solidFill>
                  <a:prstClr val="white"/>
                </a:solidFill>
                <a:effectLst/>
                <a:uLnTx/>
                <a:uFillTx/>
                <a:ea typeface="+mn-ea"/>
                <a:cs typeface="+mn-cs"/>
              </a:rPr>
              <a:t>Interviews</a:t>
            </a:r>
            <a:endParaRPr kumimoji="0" lang="en-US" sz="1600" b="0" i="0" u="none" strike="noStrike" kern="0" cap="none" spc="0" normalizeH="0" baseline="0" noProof="0" dirty="0">
              <a:ln>
                <a:noFill/>
              </a:ln>
              <a:solidFill>
                <a:srgbClr val="FFFFFF"/>
              </a:solidFill>
              <a:effectLst/>
              <a:uLnTx/>
              <a:uFillTx/>
              <a:ea typeface="+mn-ea"/>
              <a:cs typeface="+mn-cs"/>
            </a:endParaRPr>
          </a:p>
        </p:txBody>
      </p:sp>
      <p:sp>
        <p:nvSpPr>
          <p:cNvPr id="28" name="Rectangle 56">
            <a:extLst>
              <a:ext uri="{FF2B5EF4-FFF2-40B4-BE49-F238E27FC236}">
                <a16:creationId xmlns:a16="http://schemas.microsoft.com/office/drawing/2014/main" id="{4691ADB1-8AD4-433E-969B-5225079818FD}"/>
              </a:ext>
            </a:extLst>
          </p:cNvPr>
          <p:cNvSpPr>
            <a:spLocks noChangeArrowheads="1"/>
          </p:cNvSpPr>
          <p:nvPr/>
        </p:nvSpPr>
        <p:spPr bwMode="auto">
          <a:xfrm>
            <a:off x="5381184" y="2537779"/>
            <a:ext cx="1549540" cy="152400"/>
          </a:xfrm>
          <a:prstGeom prst="rect">
            <a:avLst/>
          </a:prstGeom>
          <a:solidFill>
            <a:schemeClr val="accent3">
              <a:lumMod val="50000"/>
            </a:schemeClr>
          </a:solidFill>
          <a:ln w="12700" algn="ctr">
            <a:noFill/>
            <a:miter lim="800000"/>
            <a:headEnd/>
            <a:tailEnd/>
          </a:ln>
          <a:effectLst/>
        </p:spPr>
        <p:txBody>
          <a:bodyPr wrap="none" lIns="36000" tIns="0" rIns="36000" bIns="0" anchor="ctr"/>
          <a:lstStyle/>
          <a:p>
            <a:pPr marL="0" marR="0" lvl="0" indent="0" algn="l" defTabSz="787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ea typeface="+mn-ea"/>
                <a:cs typeface="+mn-cs"/>
              </a:rPr>
              <a:t>Process Mapping (RAID)</a:t>
            </a:r>
          </a:p>
        </p:txBody>
      </p:sp>
      <p:sp>
        <p:nvSpPr>
          <p:cNvPr id="29" name="Rectangle 59">
            <a:extLst>
              <a:ext uri="{FF2B5EF4-FFF2-40B4-BE49-F238E27FC236}">
                <a16:creationId xmlns:a16="http://schemas.microsoft.com/office/drawing/2014/main" id="{AF09F407-A02F-468E-97E5-4C2CD6E39F18}"/>
              </a:ext>
            </a:extLst>
          </p:cNvPr>
          <p:cNvSpPr>
            <a:spLocks noChangeArrowheads="1"/>
          </p:cNvSpPr>
          <p:nvPr/>
        </p:nvSpPr>
        <p:spPr bwMode="auto">
          <a:xfrm>
            <a:off x="6436519" y="2718754"/>
            <a:ext cx="1464684" cy="152400"/>
          </a:xfrm>
          <a:prstGeom prst="rect">
            <a:avLst/>
          </a:prstGeom>
          <a:solidFill>
            <a:schemeClr val="accent3">
              <a:lumMod val="50000"/>
            </a:schemeClr>
          </a:solidFill>
          <a:ln w="12700" algn="ctr">
            <a:noFill/>
            <a:miter lim="800000"/>
            <a:headEnd/>
            <a:tailEnd/>
          </a:ln>
          <a:effectLst/>
        </p:spPr>
        <p:txBody>
          <a:bodyPr wrap="none" lIns="36000" tIns="0" rIns="36000" bIns="0" anchor="ctr"/>
          <a:lstStyle/>
          <a:p>
            <a:pPr marL="0" marR="0" lvl="0" indent="0" algn="l" defTabSz="787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ea typeface="+mn-ea"/>
                <a:cs typeface="+mn-cs"/>
              </a:rPr>
              <a:t>Best Practices Collection</a:t>
            </a:r>
          </a:p>
        </p:txBody>
      </p:sp>
      <p:sp>
        <p:nvSpPr>
          <p:cNvPr id="30" name="Rectangle 61">
            <a:extLst>
              <a:ext uri="{FF2B5EF4-FFF2-40B4-BE49-F238E27FC236}">
                <a16:creationId xmlns:a16="http://schemas.microsoft.com/office/drawing/2014/main" id="{F55B2C41-2B97-41F5-8A9F-1024C1CF6415}"/>
              </a:ext>
            </a:extLst>
          </p:cNvPr>
          <p:cNvSpPr>
            <a:spLocks noChangeArrowheads="1"/>
          </p:cNvSpPr>
          <p:nvPr/>
        </p:nvSpPr>
        <p:spPr bwMode="auto">
          <a:xfrm>
            <a:off x="7890943" y="2899729"/>
            <a:ext cx="2031207" cy="152400"/>
          </a:xfrm>
          <a:prstGeom prst="rect">
            <a:avLst/>
          </a:prstGeom>
          <a:solidFill>
            <a:schemeClr val="accent3">
              <a:lumMod val="50000"/>
            </a:schemeClr>
          </a:solidFill>
          <a:ln w="12700" algn="ctr">
            <a:noFill/>
            <a:miter lim="800000"/>
            <a:headEnd/>
            <a:tailEnd/>
          </a:ln>
          <a:effectLst/>
        </p:spPr>
        <p:txBody>
          <a:bodyPr wrap="none" lIns="36000" tIns="0" rIns="36000" bIns="0" anchor="ctr"/>
          <a:lstStyle/>
          <a:p>
            <a:pPr marL="0" marR="0" lvl="0" indent="0" algn="l" defTabSz="787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ea typeface="+mn-ea"/>
                <a:cs typeface="+mn-cs"/>
              </a:rPr>
              <a:t>Process Reengineering</a:t>
            </a:r>
          </a:p>
        </p:txBody>
      </p:sp>
      <p:sp>
        <p:nvSpPr>
          <p:cNvPr id="31" name="Line 63">
            <a:extLst>
              <a:ext uri="{FF2B5EF4-FFF2-40B4-BE49-F238E27FC236}">
                <a16:creationId xmlns:a16="http://schemas.microsoft.com/office/drawing/2014/main" id="{3CDBF86B-EDB8-4BE1-BF18-4583CCFDD72E}"/>
              </a:ext>
              <a:ext uri="{C183D7F6-B498-43B3-948B-1728B52AA6E4}">
                <adec:decorative xmlns:adec="http://schemas.microsoft.com/office/drawing/2017/decorative" val="1"/>
              </a:ext>
            </a:extLst>
          </p:cNvPr>
          <p:cNvSpPr>
            <a:spLocks noChangeShapeType="1"/>
          </p:cNvSpPr>
          <p:nvPr/>
        </p:nvSpPr>
        <p:spPr bwMode="auto">
          <a:xfrm>
            <a:off x="5268304" y="3209292"/>
            <a:ext cx="2251745" cy="0"/>
          </a:xfrm>
          <a:prstGeom prst="line">
            <a:avLst/>
          </a:prstGeom>
          <a:noFill/>
          <a:ln w="12700">
            <a:solidFill>
              <a:srgbClr val="A055F5"/>
            </a:solidFill>
            <a:round/>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32" name="Text Box 64">
            <a:extLst>
              <a:ext uri="{FF2B5EF4-FFF2-40B4-BE49-F238E27FC236}">
                <a16:creationId xmlns:a16="http://schemas.microsoft.com/office/drawing/2014/main" id="{CB136260-B653-4DF0-8CBA-7208A6213606}"/>
              </a:ext>
            </a:extLst>
          </p:cNvPr>
          <p:cNvSpPr txBox="1">
            <a:spLocks noChangeArrowheads="1"/>
          </p:cNvSpPr>
          <p:nvPr/>
        </p:nvSpPr>
        <p:spPr bwMode="auto">
          <a:xfrm>
            <a:off x="5330834" y="3017450"/>
            <a:ext cx="1951220" cy="153888"/>
          </a:xfrm>
          <a:prstGeom prst="rect">
            <a:avLst/>
          </a:prstGeom>
          <a:solidFill>
            <a:schemeClr val="accent3">
              <a:lumMod val="50000"/>
            </a:schemeClr>
          </a:solidFill>
          <a:ln w="12700" algn="ctr">
            <a:noFill/>
            <a:miter lim="800000"/>
            <a:headEnd/>
            <a:tailEnd/>
          </a:ln>
          <a:effectLst/>
        </p:spPr>
        <p:txBody>
          <a:bodyPr lIns="0" tIns="0" rIns="0" bIns="0">
            <a:spAutoFit/>
          </a:bodyPr>
          <a:lstStyle/>
          <a:p>
            <a:pPr marL="0" marR="0" lvl="0" indent="0" algn="l" defTabSz="787400" rtl="0" eaLnBrk="1" fontAlgn="auto" latinLnBrk="0" hangingPunct="1">
              <a:lnSpc>
                <a:spcPct val="100000"/>
              </a:lnSpc>
              <a:spcBef>
                <a:spcPct val="50000"/>
              </a:spcBef>
              <a:spcAft>
                <a:spcPts val="0"/>
              </a:spcAft>
              <a:buClrTx/>
              <a:buSzTx/>
              <a:buFontTx/>
              <a:buNone/>
              <a:tabLst/>
              <a:defRPr/>
            </a:pPr>
            <a:r>
              <a:rPr kumimoji="0" lang="it-IT" sz="1000" b="1" i="0" u="none" strike="noStrike" kern="0" cap="none" spc="0" normalizeH="0" baseline="0" noProof="0" dirty="0">
                <a:ln>
                  <a:noFill/>
                </a:ln>
                <a:solidFill>
                  <a:schemeClr val="bg1"/>
                </a:solidFill>
                <a:effectLst/>
                <a:uLnTx/>
                <a:uFillTx/>
                <a:latin typeface="+mj-lt"/>
                <a:ea typeface="+mn-ea"/>
                <a:cs typeface="+mn-cs"/>
              </a:rPr>
              <a:t>Organization Design </a:t>
            </a:r>
            <a:endParaRPr kumimoji="0" lang="en-US" sz="1000" b="1" i="0" u="none" strike="noStrike" kern="0" cap="none" spc="0" normalizeH="0" baseline="0" noProof="0" dirty="0">
              <a:ln>
                <a:noFill/>
              </a:ln>
              <a:solidFill>
                <a:schemeClr val="bg1"/>
              </a:solidFill>
              <a:effectLst/>
              <a:uLnTx/>
              <a:uFillTx/>
              <a:latin typeface="+mj-lt"/>
              <a:ea typeface="+mn-ea"/>
              <a:cs typeface="+mn-cs"/>
            </a:endParaRPr>
          </a:p>
        </p:txBody>
      </p:sp>
      <p:sp>
        <p:nvSpPr>
          <p:cNvPr id="33" name="Oval 65">
            <a:extLst>
              <a:ext uri="{FF2B5EF4-FFF2-40B4-BE49-F238E27FC236}">
                <a16:creationId xmlns:a16="http://schemas.microsoft.com/office/drawing/2014/main" id="{41611D71-840E-4C05-9542-5C9DEF425F20}"/>
              </a:ext>
              <a:ext uri="{C183D7F6-B498-43B3-948B-1728B52AA6E4}">
                <adec:decorative xmlns:adec="http://schemas.microsoft.com/office/drawing/2017/decorative" val="1"/>
              </a:ext>
            </a:extLst>
          </p:cNvPr>
          <p:cNvSpPr>
            <a:spLocks noChangeAspect="1" noChangeArrowheads="1"/>
          </p:cNvSpPr>
          <p:nvPr/>
        </p:nvSpPr>
        <p:spPr bwMode="auto">
          <a:xfrm>
            <a:off x="5199825" y="3164483"/>
            <a:ext cx="83560" cy="88899"/>
          </a:xfrm>
          <a:prstGeom prst="ellipse">
            <a:avLst/>
          </a:prstGeom>
          <a:solidFill>
            <a:schemeClr val="accent3">
              <a:lumMod val="50000"/>
            </a:schemeClr>
          </a:solidFill>
          <a:ln w="1270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34" name="Oval 66">
            <a:extLst>
              <a:ext uri="{FF2B5EF4-FFF2-40B4-BE49-F238E27FC236}">
                <a16:creationId xmlns:a16="http://schemas.microsoft.com/office/drawing/2014/main" id="{BFD79C76-07E6-4B4B-A303-0876886A40BB}"/>
              </a:ext>
              <a:ext uri="{C183D7F6-B498-43B3-948B-1728B52AA6E4}">
                <adec:decorative xmlns:adec="http://schemas.microsoft.com/office/drawing/2017/decorative" val="1"/>
              </a:ext>
            </a:extLst>
          </p:cNvPr>
          <p:cNvSpPr>
            <a:spLocks noChangeAspect="1" noChangeArrowheads="1"/>
          </p:cNvSpPr>
          <p:nvPr/>
        </p:nvSpPr>
        <p:spPr bwMode="auto">
          <a:xfrm>
            <a:off x="7483399" y="3168017"/>
            <a:ext cx="83560" cy="88900"/>
          </a:xfrm>
          <a:prstGeom prst="ellipse">
            <a:avLst/>
          </a:prstGeom>
          <a:solidFill>
            <a:schemeClr val="accent3">
              <a:lumMod val="50000"/>
            </a:schemeClr>
          </a:solidFill>
          <a:ln w="1270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35" name="Rectangle 71">
            <a:extLst>
              <a:ext uri="{FF2B5EF4-FFF2-40B4-BE49-F238E27FC236}">
                <a16:creationId xmlns:a16="http://schemas.microsoft.com/office/drawing/2014/main" id="{0914313C-E3C2-49AB-9486-00A55A3E56B3}"/>
              </a:ext>
            </a:extLst>
          </p:cNvPr>
          <p:cNvSpPr>
            <a:spLocks noChangeArrowheads="1"/>
          </p:cNvSpPr>
          <p:nvPr/>
        </p:nvSpPr>
        <p:spPr bwMode="auto">
          <a:xfrm>
            <a:off x="6367788" y="3637916"/>
            <a:ext cx="1413886" cy="152400"/>
          </a:xfrm>
          <a:prstGeom prst="rect">
            <a:avLst/>
          </a:prstGeom>
          <a:solidFill>
            <a:schemeClr val="accent3">
              <a:lumMod val="50000"/>
            </a:schemeClr>
          </a:solidFill>
          <a:ln w="12700" algn="ctr">
            <a:noFill/>
            <a:miter lim="800000"/>
            <a:headEnd/>
            <a:tailEnd/>
          </a:ln>
          <a:effectLst/>
        </p:spPr>
        <p:txBody>
          <a:bodyPr wrap="none" lIns="36000" tIns="0" rIns="36000" bIns="0" anchor="ctr"/>
          <a:lstStyle/>
          <a:p>
            <a:pPr marL="0" marR="0" lvl="0" indent="0" algn="l" defTabSz="787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ea typeface="+mn-ea"/>
                <a:cs typeface="+mn-cs"/>
              </a:rPr>
              <a:t>Organization Alignment</a:t>
            </a:r>
          </a:p>
        </p:txBody>
      </p:sp>
      <p:sp>
        <p:nvSpPr>
          <p:cNvPr id="36" name="Line 82">
            <a:extLst>
              <a:ext uri="{FF2B5EF4-FFF2-40B4-BE49-F238E27FC236}">
                <a16:creationId xmlns:a16="http://schemas.microsoft.com/office/drawing/2014/main" id="{5A62E61B-B4AD-4474-A4C2-C10E513AE7E4}"/>
              </a:ext>
              <a:ext uri="{C183D7F6-B498-43B3-948B-1728B52AA6E4}">
                <adec:decorative xmlns:adec="http://schemas.microsoft.com/office/drawing/2017/decorative" val="1"/>
              </a:ext>
            </a:extLst>
          </p:cNvPr>
          <p:cNvSpPr>
            <a:spLocks noChangeShapeType="1"/>
          </p:cNvSpPr>
          <p:nvPr/>
        </p:nvSpPr>
        <p:spPr bwMode="auto">
          <a:xfrm>
            <a:off x="7520049" y="3926842"/>
            <a:ext cx="2294259" cy="0"/>
          </a:xfrm>
          <a:prstGeom prst="line">
            <a:avLst/>
          </a:prstGeom>
          <a:noFill/>
          <a:ln w="12700">
            <a:solidFill>
              <a:srgbClr val="A055F5"/>
            </a:solidFill>
            <a:round/>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37" name="Text Box 83">
            <a:extLst>
              <a:ext uri="{FF2B5EF4-FFF2-40B4-BE49-F238E27FC236}">
                <a16:creationId xmlns:a16="http://schemas.microsoft.com/office/drawing/2014/main" id="{FE59C00A-9E3F-40BF-8CCC-2AAE5BEB149F}"/>
              </a:ext>
            </a:extLst>
          </p:cNvPr>
          <p:cNvSpPr txBox="1">
            <a:spLocks noChangeArrowheads="1"/>
          </p:cNvSpPr>
          <p:nvPr/>
        </p:nvSpPr>
        <p:spPr bwMode="auto">
          <a:xfrm>
            <a:off x="7816177" y="3625217"/>
            <a:ext cx="1728391" cy="153888"/>
          </a:xfrm>
          <a:prstGeom prst="rect">
            <a:avLst/>
          </a:prstGeom>
          <a:solidFill>
            <a:schemeClr val="accent3">
              <a:lumMod val="50000"/>
            </a:schemeClr>
          </a:solidFill>
          <a:ln w="12700" algn="ctr">
            <a:noFill/>
            <a:miter lim="800000"/>
            <a:headEnd/>
            <a:tailEnd/>
          </a:ln>
          <a:effectLst/>
        </p:spPr>
        <p:txBody>
          <a:bodyPr lIns="0" tIns="0" rIns="0" bIns="0">
            <a:spAutoFit/>
          </a:bodyPr>
          <a:lstStyle/>
          <a:p>
            <a:pPr marL="0" marR="0" lvl="0" indent="0" algn="l" defTabSz="787400" rtl="0" eaLnBrk="1" fontAlgn="auto" latinLnBrk="0" hangingPunct="1">
              <a:lnSpc>
                <a:spcPct val="100000"/>
              </a:lnSpc>
              <a:spcBef>
                <a:spcPct val="50000"/>
              </a:spcBef>
              <a:spcAft>
                <a:spcPts val="0"/>
              </a:spcAft>
              <a:buClrTx/>
              <a:buSzTx/>
              <a:buFontTx/>
              <a:buNone/>
              <a:tabLst/>
              <a:defRPr/>
            </a:pPr>
            <a:r>
              <a:rPr kumimoji="0" lang="it-IT" sz="1000" b="1" i="0" u="none" strike="noStrike" kern="0" cap="none" spc="0" normalizeH="0" baseline="0" noProof="0" dirty="0">
                <a:ln>
                  <a:noFill/>
                </a:ln>
                <a:solidFill>
                  <a:schemeClr val="bg1"/>
                </a:solidFill>
                <a:effectLst/>
                <a:uLnTx/>
                <a:uFillTx/>
                <a:latin typeface="+mj-lt"/>
                <a:ea typeface="+mn-ea"/>
                <a:cs typeface="+mn-cs"/>
              </a:rPr>
              <a:t>Customer Survey</a:t>
            </a:r>
            <a:endParaRPr kumimoji="0" lang="en-US" sz="1000" b="1" i="0" u="none" strike="noStrike" kern="0" cap="none" spc="0" normalizeH="0" baseline="0" noProof="0" dirty="0">
              <a:ln>
                <a:noFill/>
              </a:ln>
              <a:solidFill>
                <a:schemeClr val="bg1"/>
              </a:solidFill>
              <a:effectLst/>
              <a:uLnTx/>
              <a:uFillTx/>
              <a:latin typeface="+mj-lt"/>
              <a:ea typeface="+mn-ea"/>
              <a:cs typeface="+mn-cs"/>
            </a:endParaRPr>
          </a:p>
        </p:txBody>
      </p:sp>
      <p:sp>
        <p:nvSpPr>
          <p:cNvPr id="38" name="Oval 84">
            <a:extLst>
              <a:ext uri="{FF2B5EF4-FFF2-40B4-BE49-F238E27FC236}">
                <a16:creationId xmlns:a16="http://schemas.microsoft.com/office/drawing/2014/main" id="{D33B03CE-52E3-4346-BAD3-386C0380B944}"/>
              </a:ext>
              <a:ext uri="{C183D7F6-B498-43B3-948B-1728B52AA6E4}">
                <adec:decorative xmlns:adec="http://schemas.microsoft.com/office/drawing/2017/decorative" val="1"/>
              </a:ext>
            </a:extLst>
          </p:cNvPr>
          <p:cNvSpPr>
            <a:spLocks noChangeAspect="1" noChangeArrowheads="1"/>
          </p:cNvSpPr>
          <p:nvPr/>
        </p:nvSpPr>
        <p:spPr bwMode="auto">
          <a:xfrm>
            <a:off x="7489263" y="3871279"/>
            <a:ext cx="83560" cy="88900"/>
          </a:xfrm>
          <a:prstGeom prst="ellipse">
            <a:avLst/>
          </a:prstGeom>
          <a:solidFill>
            <a:schemeClr val="accent3">
              <a:lumMod val="50000"/>
            </a:schemeClr>
          </a:solidFill>
          <a:ln w="1270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39" name="Oval 85">
            <a:extLst>
              <a:ext uri="{FF2B5EF4-FFF2-40B4-BE49-F238E27FC236}">
                <a16:creationId xmlns:a16="http://schemas.microsoft.com/office/drawing/2014/main" id="{42B03777-DD36-4582-A6E4-68870BA2E8EE}"/>
              </a:ext>
              <a:ext uri="{C183D7F6-B498-43B3-948B-1728B52AA6E4}">
                <adec:decorative xmlns:adec="http://schemas.microsoft.com/office/drawing/2017/decorative" val="1"/>
              </a:ext>
            </a:extLst>
          </p:cNvPr>
          <p:cNvSpPr>
            <a:spLocks noChangeAspect="1" noChangeArrowheads="1"/>
          </p:cNvSpPr>
          <p:nvPr/>
        </p:nvSpPr>
        <p:spPr bwMode="auto">
          <a:xfrm>
            <a:off x="9806978" y="3883981"/>
            <a:ext cx="83560" cy="88899"/>
          </a:xfrm>
          <a:prstGeom prst="ellipse">
            <a:avLst/>
          </a:prstGeom>
          <a:solidFill>
            <a:schemeClr val="accent3">
              <a:lumMod val="50000"/>
            </a:schemeClr>
          </a:solidFill>
          <a:ln w="1270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40" name="Rectangle 86">
            <a:extLst>
              <a:ext uri="{FF2B5EF4-FFF2-40B4-BE49-F238E27FC236}">
                <a16:creationId xmlns:a16="http://schemas.microsoft.com/office/drawing/2014/main" id="{1C403132-EFA7-4A56-BBBE-281D4F86E9D7}"/>
              </a:ext>
            </a:extLst>
          </p:cNvPr>
          <p:cNvSpPr>
            <a:spLocks noChangeArrowheads="1"/>
          </p:cNvSpPr>
          <p:nvPr/>
        </p:nvSpPr>
        <p:spPr bwMode="auto">
          <a:xfrm>
            <a:off x="7520049" y="4001454"/>
            <a:ext cx="782838" cy="152400"/>
          </a:xfrm>
          <a:prstGeom prst="rect">
            <a:avLst/>
          </a:prstGeom>
          <a:solidFill>
            <a:schemeClr val="accent3">
              <a:lumMod val="50000"/>
            </a:schemeClr>
          </a:solidFill>
          <a:ln w="12700" algn="ctr">
            <a:noFill/>
            <a:miter lim="800000"/>
            <a:headEnd/>
            <a:tailEnd/>
          </a:ln>
          <a:effectLst/>
        </p:spPr>
        <p:txBody>
          <a:bodyPr wrap="none" lIns="36000" tIns="0" rIns="3600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ea typeface="+mn-ea"/>
                <a:cs typeface="+mn-cs"/>
              </a:rPr>
              <a:t>Interviews</a:t>
            </a:r>
            <a:endParaRPr kumimoji="0" lang="en-US" sz="1600" b="0" i="0" u="none" strike="noStrike" kern="0" cap="none" spc="0" normalizeH="0" baseline="0" noProof="0" dirty="0">
              <a:ln>
                <a:noFill/>
              </a:ln>
              <a:solidFill>
                <a:srgbClr val="FFFFFF"/>
              </a:solidFill>
              <a:effectLst/>
              <a:uLnTx/>
              <a:uFillTx/>
              <a:ea typeface="+mn-ea"/>
              <a:cs typeface="+mn-cs"/>
            </a:endParaRPr>
          </a:p>
        </p:txBody>
      </p:sp>
      <p:sp>
        <p:nvSpPr>
          <p:cNvPr id="41" name="Rectangle 88">
            <a:extLst>
              <a:ext uri="{FF2B5EF4-FFF2-40B4-BE49-F238E27FC236}">
                <a16:creationId xmlns:a16="http://schemas.microsoft.com/office/drawing/2014/main" id="{C06E0BEB-A217-47DB-A2D4-AF40182F72D4}"/>
              </a:ext>
            </a:extLst>
          </p:cNvPr>
          <p:cNvSpPr>
            <a:spLocks noChangeArrowheads="1"/>
          </p:cNvSpPr>
          <p:nvPr/>
        </p:nvSpPr>
        <p:spPr bwMode="auto">
          <a:xfrm>
            <a:off x="7654033" y="4188151"/>
            <a:ext cx="1541529" cy="152400"/>
          </a:xfrm>
          <a:prstGeom prst="rect">
            <a:avLst/>
          </a:prstGeom>
          <a:solidFill>
            <a:schemeClr val="accent3">
              <a:lumMod val="50000"/>
            </a:schemeClr>
          </a:solidFill>
          <a:ln w="12700" algn="ctr">
            <a:noFill/>
            <a:miter lim="800000"/>
            <a:headEnd/>
            <a:tailEnd/>
          </a:ln>
          <a:effectLst/>
        </p:spPr>
        <p:txBody>
          <a:bodyPr wrap="none" lIns="36000" tIns="0" rIns="36000" bIns="0" anchor="ctr"/>
          <a:lstStyle/>
          <a:p>
            <a:pPr marL="0" marR="0" lvl="0" indent="0" algn="l" defTabSz="787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ea typeface="+mn-ea"/>
                <a:cs typeface="+mn-cs"/>
              </a:rPr>
              <a:t>Value Drivers</a:t>
            </a:r>
          </a:p>
        </p:txBody>
      </p:sp>
      <p:sp>
        <p:nvSpPr>
          <p:cNvPr id="42" name="Rectangle 92">
            <a:extLst>
              <a:ext uri="{FF2B5EF4-FFF2-40B4-BE49-F238E27FC236}">
                <a16:creationId xmlns:a16="http://schemas.microsoft.com/office/drawing/2014/main" id="{455EDE1B-ACEA-48A9-9B64-3C7F6A4D5147}"/>
              </a:ext>
            </a:extLst>
          </p:cNvPr>
          <p:cNvSpPr>
            <a:spLocks noChangeArrowheads="1"/>
          </p:cNvSpPr>
          <p:nvPr/>
        </p:nvSpPr>
        <p:spPr bwMode="auto">
          <a:xfrm>
            <a:off x="9084982" y="4561544"/>
            <a:ext cx="837167" cy="152400"/>
          </a:xfrm>
          <a:prstGeom prst="rect">
            <a:avLst/>
          </a:prstGeom>
          <a:solidFill>
            <a:schemeClr val="accent3">
              <a:lumMod val="50000"/>
            </a:schemeClr>
          </a:solidFill>
          <a:ln w="12700" algn="ctr">
            <a:noFill/>
            <a:miter lim="800000"/>
            <a:headEnd/>
            <a:tailEnd/>
          </a:ln>
          <a:effectLst/>
        </p:spPr>
        <p:txBody>
          <a:bodyPr wrap="none" lIns="36000" tIns="0" rIns="36000" bIns="0" anchor="ctr"/>
          <a:lstStyle/>
          <a:p>
            <a:pPr marL="0" marR="0" lvl="0" indent="0" algn="l" defTabSz="787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ea typeface="+mn-ea"/>
                <a:cs typeface="+mn-cs"/>
              </a:rPr>
              <a:t>Action Plan</a:t>
            </a:r>
          </a:p>
        </p:txBody>
      </p:sp>
      <p:sp>
        <p:nvSpPr>
          <p:cNvPr id="43" name="Line 103">
            <a:extLst>
              <a:ext uri="{FF2B5EF4-FFF2-40B4-BE49-F238E27FC236}">
                <a16:creationId xmlns:a16="http://schemas.microsoft.com/office/drawing/2014/main" id="{C14830FD-EFA3-47BA-9FEB-A5645DFB2493}"/>
              </a:ext>
              <a:ext uri="{C183D7F6-B498-43B3-948B-1728B52AA6E4}">
                <adec:decorative xmlns:adec="http://schemas.microsoft.com/office/drawing/2017/decorative" val="1"/>
              </a:ext>
            </a:extLst>
          </p:cNvPr>
          <p:cNvSpPr>
            <a:spLocks noChangeShapeType="1"/>
          </p:cNvSpPr>
          <p:nvPr/>
        </p:nvSpPr>
        <p:spPr bwMode="auto">
          <a:xfrm>
            <a:off x="5218460" y="2069467"/>
            <a:ext cx="784300" cy="0"/>
          </a:xfrm>
          <a:prstGeom prst="line">
            <a:avLst/>
          </a:prstGeom>
          <a:noFill/>
          <a:ln w="12700">
            <a:solidFill>
              <a:srgbClr val="A055F5"/>
            </a:solidFill>
            <a:round/>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44" name="Oval 104">
            <a:extLst>
              <a:ext uri="{FF2B5EF4-FFF2-40B4-BE49-F238E27FC236}">
                <a16:creationId xmlns:a16="http://schemas.microsoft.com/office/drawing/2014/main" id="{DFB15903-75AC-4D1C-8AA7-4FAD11E856E0}"/>
              </a:ext>
              <a:ext uri="{C183D7F6-B498-43B3-948B-1728B52AA6E4}">
                <adec:decorative xmlns:adec="http://schemas.microsoft.com/office/drawing/2017/decorative" val="1"/>
              </a:ext>
            </a:extLst>
          </p:cNvPr>
          <p:cNvSpPr>
            <a:spLocks noChangeAspect="1" noChangeArrowheads="1"/>
          </p:cNvSpPr>
          <p:nvPr/>
        </p:nvSpPr>
        <p:spPr bwMode="auto">
          <a:xfrm>
            <a:off x="5174481" y="2025019"/>
            <a:ext cx="83560" cy="88899"/>
          </a:xfrm>
          <a:prstGeom prst="ellipse">
            <a:avLst/>
          </a:prstGeom>
          <a:solidFill>
            <a:srgbClr val="A055F5"/>
          </a:solidFill>
          <a:ln w="1270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45" name="Oval 105">
            <a:extLst>
              <a:ext uri="{FF2B5EF4-FFF2-40B4-BE49-F238E27FC236}">
                <a16:creationId xmlns:a16="http://schemas.microsoft.com/office/drawing/2014/main" id="{6951E097-6A32-4175-BB03-FC60D1D07A6E}"/>
              </a:ext>
              <a:ext uri="{C183D7F6-B498-43B3-948B-1728B52AA6E4}">
                <adec:decorative xmlns:adec="http://schemas.microsoft.com/office/drawing/2017/decorative" val="1"/>
              </a:ext>
            </a:extLst>
          </p:cNvPr>
          <p:cNvSpPr>
            <a:spLocks noChangeAspect="1" noChangeArrowheads="1"/>
          </p:cNvSpPr>
          <p:nvPr/>
        </p:nvSpPr>
        <p:spPr bwMode="auto">
          <a:xfrm>
            <a:off x="5960246" y="2025019"/>
            <a:ext cx="83560" cy="88899"/>
          </a:xfrm>
          <a:prstGeom prst="ellipse">
            <a:avLst/>
          </a:prstGeom>
          <a:solidFill>
            <a:srgbClr val="A055F5"/>
          </a:solidFill>
          <a:ln w="1270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pic>
        <p:nvPicPr>
          <p:cNvPr id="47" name="Picture 2" descr="Add text and order accordingly">
            <a:extLst>
              <a:ext uri="{FF2B5EF4-FFF2-40B4-BE49-F238E27FC236}">
                <a16:creationId xmlns:a16="http://schemas.microsoft.com/office/drawing/2014/main" id="{3C7A5DC5-8005-4167-8D6A-D5DD751C540A}"/>
              </a:ext>
            </a:extLst>
          </p:cNvPr>
          <p:cNvPicPr>
            <a:picLocks noChangeAspect="1" noChangeArrowheads="1"/>
          </p:cNvPicPr>
          <p:nvPr/>
        </p:nvPicPr>
        <p:blipFill>
          <a:blip r:embed="rId6" cstate="print"/>
          <a:srcRect/>
          <a:stretch>
            <a:fillRect/>
          </a:stretch>
        </p:blipFill>
        <p:spPr bwMode="auto">
          <a:xfrm>
            <a:off x="2036497" y="2416864"/>
            <a:ext cx="847681" cy="506867"/>
          </a:xfrm>
          <a:prstGeom prst="rect">
            <a:avLst/>
          </a:prstGeom>
          <a:noFill/>
          <a:ln w="9525">
            <a:solidFill>
              <a:srgbClr val="96968C"/>
            </a:solidFill>
            <a:miter lim="800000"/>
            <a:headEnd/>
            <a:tailEnd/>
          </a:ln>
        </p:spPr>
      </p:pic>
      <p:sp>
        <p:nvSpPr>
          <p:cNvPr id="48" name="Rectangle 47">
            <a:extLst>
              <a:ext uri="{FF2B5EF4-FFF2-40B4-BE49-F238E27FC236}">
                <a16:creationId xmlns:a16="http://schemas.microsoft.com/office/drawing/2014/main" id="{D8A868C8-8E8E-4C5E-A94F-55D68E268F3F}"/>
              </a:ext>
              <a:ext uri="{C183D7F6-B498-43B3-948B-1728B52AA6E4}">
                <adec:decorative xmlns:adec="http://schemas.microsoft.com/office/drawing/2017/decorative" val="1"/>
              </a:ext>
            </a:extLst>
          </p:cNvPr>
          <p:cNvSpPr/>
          <p:nvPr/>
        </p:nvSpPr>
        <p:spPr bwMode="auto">
          <a:xfrm>
            <a:off x="2027550" y="2405275"/>
            <a:ext cx="857915" cy="534009"/>
          </a:xfrm>
          <a:prstGeom prst="rect">
            <a:avLst/>
          </a:prstGeom>
          <a:noFill/>
          <a:ln w="19050" cap="flat" cmpd="sng" algn="ctr">
            <a:solidFill>
              <a:srgbClr val="A100FF"/>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charset="0"/>
              <a:ea typeface="+mn-ea"/>
              <a:cs typeface="+mn-cs"/>
            </a:endParaRPr>
          </a:p>
        </p:txBody>
      </p:sp>
      <p:sp>
        <p:nvSpPr>
          <p:cNvPr id="49" name="5-Point Star 119" descr="Add text and order accordingly">
            <a:extLst>
              <a:ext uri="{FF2B5EF4-FFF2-40B4-BE49-F238E27FC236}">
                <a16:creationId xmlns:a16="http://schemas.microsoft.com/office/drawing/2014/main" id="{11E3D6CA-6C62-4985-93E3-6A2A833943F3}"/>
              </a:ext>
            </a:extLst>
          </p:cNvPr>
          <p:cNvSpPr/>
          <p:nvPr/>
        </p:nvSpPr>
        <p:spPr bwMode="auto">
          <a:xfrm>
            <a:off x="7414378" y="4720348"/>
            <a:ext cx="226855" cy="245660"/>
          </a:xfrm>
          <a:prstGeom prst="star5">
            <a:avLst/>
          </a:prstGeom>
          <a:solidFill>
            <a:srgbClr val="B455AA"/>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00000"/>
              </a:solidFill>
              <a:effectLst/>
              <a:uLnTx/>
              <a:uFillTx/>
              <a:latin typeface="Arial" charset="0"/>
              <a:ea typeface="+mn-ea"/>
              <a:cs typeface="+mn-cs"/>
            </a:endParaRPr>
          </a:p>
        </p:txBody>
      </p:sp>
      <p:sp>
        <p:nvSpPr>
          <p:cNvPr id="50" name="5-Point Star 120" descr="Add text and order accordingly">
            <a:extLst>
              <a:ext uri="{FF2B5EF4-FFF2-40B4-BE49-F238E27FC236}">
                <a16:creationId xmlns:a16="http://schemas.microsoft.com/office/drawing/2014/main" id="{C2A43C5A-9993-44A0-A53B-40FCA91964DA}"/>
              </a:ext>
            </a:extLst>
          </p:cNvPr>
          <p:cNvSpPr/>
          <p:nvPr/>
        </p:nvSpPr>
        <p:spPr bwMode="auto">
          <a:xfrm>
            <a:off x="9808338" y="4720348"/>
            <a:ext cx="226855" cy="245660"/>
          </a:xfrm>
          <a:prstGeom prst="star5">
            <a:avLst/>
          </a:prstGeom>
          <a:solidFill>
            <a:srgbClr val="B455AA"/>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00000"/>
              </a:solidFill>
              <a:effectLst/>
              <a:uLnTx/>
              <a:uFillTx/>
              <a:latin typeface="Arial" charset="0"/>
              <a:ea typeface="+mn-ea"/>
              <a:cs typeface="+mn-cs"/>
            </a:endParaRPr>
          </a:p>
        </p:txBody>
      </p:sp>
      <p:sp>
        <p:nvSpPr>
          <p:cNvPr id="51" name="5-Point Star 122" descr="Add text and order accordingly">
            <a:extLst>
              <a:ext uri="{FF2B5EF4-FFF2-40B4-BE49-F238E27FC236}">
                <a16:creationId xmlns:a16="http://schemas.microsoft.com/office/drawing/2014/main" id="{2DD9654D-AE96-4015-BA29-70D332008186}"/>
              </a:ext>
            </a:extLst>
          </p:cNvPr>
          <p:cNvSpPr/>
          <p:nvPr/>
        </p:nvSpPr>
        <p:spPr bwMode="auto">
          <a:xfrm>
            <a:off x="3240854" y="4720348"/>
            <a:ext cx="226855" cy="245660"/>
          </a:xfrm>
          <a:prstGeom prst="star5">
            <a:avLst/>
          </a:prstGeom>
          <a:solidFill>
            <a:srgbClr val="B455AA"/>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00000"/>
              </a:solidFill>
              <a:effectLst/>
              <a:uLnTx/>
              <a:uFillTx/>
              <a:latin typeface="Arial" charset="0"/>
              <a:ea typeface="+mn-ea"/>
              <a:cs typeface="+mn-cs"/>
            </a:endParaRPr>
          </a:p>
        </p:txBody>
      </p:sp>
      <p:sp>
        <p:nvSpPr>
          <p:cNvPr id="52" name="TextBox 51">
            <a:extLst>
              <a:ext uri="{FF2B5EF4-FFF2-40B4-BE49-F238E27FC236}">
                <a16:creationId xmlns:a16="http://schemas.microsoft.com/office/drawing/2014/main" id="{E2543163-87B9-4D41-9467-8BA8073EBD84}"/>
              </a:ext>
            </a:extLst>
          </p:cNvPr>
          <p:cNvSpPr txBox="1"/>
          <p:nvPr/>
        </p:nvSpPr>
        <p:spPr bwMode="auto">
          <a:xfrm>
            <a:off x="3538659" y="4704680"/>
            <a:ext cx="142414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ea typeface="+mn-ea"/>
                <a:cs typeface="+mn-cs"/>
              </a:rPr>
              <a:t>Steering Committee Reviews (quarterly)</a:t>
            </a:r>
          </a:p>
        </p:txBody>
      </p:sp>
      <p:sp>
        <p:nvSpPr>
          <p:cNvPr id="53" name="Rectangle 52">
            <a:extLst>
              <a:ext uri="{FF2B5EF4-FFF2-40B4-BE49-F238E27FC236}">
                <a16:creationId xmlns:a16="http://schemas.microsoft.com/office/drawing/2014/main" id="{02AC10DC-2865-4AA7-A54F-9300AE5F8BB7}"/>
              </a:ext>
              <a:ext uri="{C183D7F6-B498-43B3-948B-1728B52AA6E4}">
                <adec:decorative xmlns:adec="http://schemas.microsoft.com/office/drawing/2017/decorative" val="1"/>
              </a:ext>
            </a:extLst>
          </p:cNvPr>
          <p:cNvSpPr/>
          <p:nvPr/>
        </p:nvSpPr>
        <p:spPr bwMode="auto">
          <a:xfrm>
            <a:off x="5019807" y="1788330"/>
            <a:ext cx="4902343" cy="3234041"/>
          </a:xfrm>
          <a:prstGeom prst="rect">
            <a:avLst/>
          </a:prstGeom>
          <a:noFill/>
          <a:ln w="6350">
            <a:solidFill>
              <a:srgbClr val="BE82FF"/>
            </a:solidFill>
            <a:prstDash val="dash"/>
            <a:miter lim="800000"/>
            <a:headEnd/>
            <a:tailEnd/>
          </a:ln>
          <a:effectLst/>
        </p:spPr>
        <p:txBody>
          <a:bodyPr vert="horz" wrap="square" lIns="0" tIns="0" rIns="0" bIns="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US"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sp>
        <p:nvSpPr>
          <p:cNvPr id="54" name="Rectangle 67">
            <a:extLst>
              <a:ext uri="{FF2B5EF4-FFF2-40B4-BE49-F238E27FC236}">
                <a16:creationId xmlns:a16="http://schemas.microsoft.com/office/drawing/2014/main" id="{AF266481-3179-4590-B37B-04754EA7697B}"/>
              </a:ext>
            </a:extLst>
          </p:cNvPr>
          <p:cNvSpPr>
            <a:spLocks noChangeArrowheads="1"/>
          </p:cNvSpPr>
          <p:nvPr/>
        </p:nvSpPr>
        <p:spPr bwMode="auto">
          <a:xfrm>
            <a:off x="5239174" y="3290254"/>
            <a:ext cx="795837" cy="152400"/>
          </a:xfrm>
          <a:prstGeom prst="rect">
            <a:avLst/>
          </a:prstGeom>
          <a:solidFill>
            <a:schemeClr val="accent3">
              <a:lumMod val="50000"/>
            </a:schemeClr>
          </a:solidFill>
          <a:ln w="12700" algn="ctr">
            <a:noFill/>
            <a:miter lim="800000"/>
            <a:headEnd/>
            <a:tailEnd/>
          </a:ln>
          <a:effectLst/>
        </p:spPr>
        <p:txBody>
          <a:bodyPr wrap="none" lIns="36000" tIns="0" rIns="36000" bIns="0" anchor="ctr"/>
          <a:lstStyle/>
          <a:p>
            <a:pPr marL="0" marR="0" lvl="0" indent="0" algn="l" defTabSz="787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ea typeface="+mn-ea"/>
                <a:cs typeface="+mn-cs"/>
              </a:rPr>
              <a:t>Gap Analysis</a:t>
            </a:r>
          </a:p>
        </p:txBody>
      </p:sp>
      <p:sp>
        <p:nvSpPr>
          <p:cNvPr id="55" name="Rectangle 69">
            <a:extLst>
              <a:ext uri="{FF2B5EF4-FFF2-40B4-BE49-F238E27FC236}">
                <a16:creationId xmlns:a16="http://schemas.microsoft.com/office/drawing/2014/main" id="{075FEC39-18AE-463A-8F64-C1E748BD474C}"/>
              </a:ext>
            </a:extLst>
          </p:cNvPr>
          <p:cNvSpPr>
            <a:spLocks noChangeArrowheads="1"/>
          </p:cNvSpPr>
          <p:nvPr/>
        </p:nvSpPr>
        <p:spPr bwMode="auto">
          <a:xfrm>
            <a:off x="5239175" y="3464085"/>
            <a:ext cx="1235439" cy="152400"/>
          </a:xfrm>
          <a:prstGeom prst="rect">
            <a:avLst/>
          </a:prstGeom>
          <a:solidFill>
            <a:schemeClr val="accent3">
              <a:lumMod val="50000"/>
            </a:schemeClr>
          </a:solidFill>
          <a:ln w="12700" algn="ctr">
            <a:noFill/>
            <a:miter lim="800000"/>
            <a:headEnd/>
            <a:tailEnd/>
          </a:ln>
          <a:effectLst/>
        </p:spPr>
        <p:txBody>
          <a:bodyPr wrap="none" lIns="36000" tIns="0" rIns="36000" bIns="0" anchor="ctr"/>
          <a:lstStyle/>
          <a:p>
            <a:pPr marL="0" marR="0" lvl="0" indent="0" algn="l" defTabSz="787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ea typeface="+mn-ea"/>
                <a:cs typeface="+mn-cs"/>
              </a:rPr>
              <a:t>To-Be Confirmation</a:t>
            </a:r>
          </a:p>
        </p:txBody>
      </p:sp>
      <p:sp>
        <p:nvSpPr>
          <p:cNvPr id="56" name="AutoShape 16">
            <a:extLst>
              <a:ext uri="{FF2B5EF4-FFF2-40B4-BE49-F238E27FC236}">
                <a16:creationId xmlns:a16="http://schemas.microsoft.com/office/drawing/2014/main" id="{2CA5F31A-53B0-4B49-9681-66539C0C2835}"/>
              </a:ext>
              <a:ext uri="{C183D7F6-B498-43B3-948B-1728B52AA6E4}">
                <adec:decorative xmlns:adec="http://schemas.microsoft.com/office/drawing/2017/decorative" val="1"/>
              </a:ext>
            </a:extLst>
          </p:cNvPr>
          <p:cNvSpPr>
            <a:spLocks noChangeArrowheads="1"/>
          </p:cNvSpPr>
          <p:nvPr/>
        </p:nvSpPr>
        <p:spPr bwMode="auto">
          <a:xfrm rot="10800000">
            <a:off x="6642881" y="1350301"/>
            <a:ext cx="185737" cy="737996"/>
          </a:xfrm>
          <a:prstGeom prst="triangle">
            <a:avLst>
              <a:gd name="adj" fmla="val 50000"/>
            </a:avLst>
          </a:prstGeom>
          <a:solidFill>
            <a:srgbClr val="A100FF"/>
          </a:solidFill>
          <a:ln w="12700" algn="ctr">
            <a:noFill/>
            <a:miter lim="800000"/>
            <a:headEnd/>
            <a:tailEnd/>
          </a:ln>
          <a:effectLst/>
        </p:spPr>
        <p:txBody>
          <a:bodyPr lIns="90000" tIns="46800" rIns="90000" bIns="4680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 name="AutoShape 17">
            <a:extLst>
              <a:ext uri="{FF2B5EF4-FFF2-40B4-BE49-F238E27FC236}">
                <a16:creationId xmlns:a16="http://schemas.microsoft.com/office/drawing/2014/main" id="{FA7148C4-6B9D-47F4-8BF3-75EC1A9F80A8}"/>
              </a:ext>
              <a:ext uri="{C183D7F6-B498-43B3-948B-1728B52AA6E4}">
                <adec:decorative xmlns:adec="http://schemas.microsoft.com/office/drawing/2017/decorative" val="1"/>
              </a:ext>
            </a:extLst>
          </p:cNvPr>
          <p:cNvSpPr>
            <a:spLocks noChangeArrowheads="1"/>
          </p:cNvSpPr>
          <p:nvPr/>
        </p:nvSpPr>
        <p:spPr bwMode="auto">
          <a:xfrm rot="10800000">
            <a:off x="7427179" y="1350301"/>
            <a:ext cx="185738" cy="737996"/>
          </a:xfrm>
          <a:prstGeom prst="triangle">
            <a:avLst>
              <a:gd name="adj" fmla="val 50000"/>
            </a:avLst>
          </a:prstGeom>
          <a:solidFill>
            <a:srgbClr val="A100FF"/>
          </a:solidFill>
          <a:ln w="12700" algn="ctr">
            <a:noFill/>
            <a:miter lim="800000"/>
            <a:headEnd/>
            <a:tailEnd/>
          </a:ln>
          <a:effectLst/>
        </p:spPr>
        <p:txBody>
          <a:bodyPr lIns="90000" tIns="46800" rIns="90000" bIns="4680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8" name="AutoShape 18">
            <a:extLst>
              <a:ext uri="{FF2B5EF4-FFF2-40B4-BE49-F238E27FC236}">
                <a16:creationId xmlns:a16="http://schemas.microsoft.com/office/drawing/2014/main" id="{84D1585F-F65D-4E0C-946E-D6FE193AD262}"/>
              </a:ext>
              <a:ext uri="{C183D7F6-B498-43B3-948B-1728B52AA6E4}">
                <adec:decorative xmlns:adec="http://schemas.microsoft.com/office/drawing/2017/decorative" val="1"/>
              </a:ext>
            </a:extLst>
          </p:cNvPr>
          <p:cNvSpPr>
            <a:spLocks noChangeArrowheads="1"/>
          </p:cNvSpPr>
          <p:nvPr/>
        </p:nvSpPr>
        <p:spPr bwMode="auto">
          <a:xfrm rot="10800000">
            <a:off x="8221440" y="1350300"/>
            <a:ext cx="185737" cy="737996"/>
          </a:xfrm>
          <a:prstGeom prst="triangle">
            <a:avLst>
              <a:gd name="adj" fmla="val 50000"/>
            </a:avLst>
          </a:prstGeom>
          <a:solidFill>
            <a:srgbClr val="A100FF"/>
          </a:solidFill>
          <a:ln w="12700" algn="ctr">
            <a:noFill/>
            <a:miter lim="800000"/>
            <a:headEnd/>
            <a:tailEnd/>
          </a:ln>
          <a:effectLst/>
        </p:spPr>
        <p:txBody>
          <a:bodyPr lIns="90000" tIns="46800" rIns="90000" bIns="4680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9" name="AutoShape 19">
            <a:extLst>
              <a:ext uri="{FF2B5EF4-FFF2-40B4-BE49-F238E27FC236}">
                <a16:creationId xmlns:a16="http://schemas.microsoft.com/office/drawing/2014/main" id="{CF2ADFEE-C683-4F89-871B-F6F30EC3286B}"/>
              </a:ext>
              <a:ext uri="{C183D7F6-B498-43B3-948B-1728B52AA6E4}">
                <adec:decorative xmlns:adec="http://schemas.microsoft.com/office/drawing/2017/decorative" val="1"/>
              </a:ext>
            </a:extLst>
          </p:cNvPr>
          <p:cNvSpPr>
            <a:spLocks noChangeArrowheads="1"/>
          </p:cNvSpPr>
          <p:nvPr/>
        </p:nvSpPr>
        <p:spPr bwMode="auto">
          <a:xfrm rot="10800000">
            <a:off x="8992113" y="1350300"/>
            <a:ext cx="185737" cy="737996"/>
          </a:xfrm>
          <a:prstGeom prst="triangle">
            <a:avLst>
              <a:gd name="adj" fmla="val 50000"/>
            </a:avLst>
          </a:prstGeom>
          <a:solidFill>
            <a:srgbClr val="A100FF"/>
          </a:solidFill>
          <a:ln w="12700" algn="ctr">
            <a:noFill/>
            <a:miter lim="800000"/>
            <a:headEnd/>
            <a:tailEnd/>
          </a:ln>
          <a:effectLst/>
        </p:spPr>
        <p:txBody>
          <a:bodyPr lIns="90000" tIns="46800" rIns="90000" bIns="4680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0" name="AutoShape 23">
            <a:extLst>
              <a:ext uri="{FF2B5EF4-FFF2-40B4-BE49-F238E27FC236}">
                <a16:creationId xmlns:a16="http://schemas.microsoft.com/office/drawing/2014/main" id="{B53EFBE0-0193-4CF5-B26E-0FAFF83E3736}"/>
              </a:ext>
              <a:ext uri="{C183D7F6-B498-43B3-948B-1728B52AA6E4}">
                <adec:decorative xmlns:adec="http://schemas.microsoft.com/office/drawing/2017/decorative" val="1"/>
              </a:ext>
            </a:extLst>
          </p:cNvPr>
          <p:cNvSpPr>
            <a:spLocks noChangeArrowheads="1"/>
          </p:cNvSpPr>
          <p:nvPr/>
        </p:nvSpPr>
        <p:spPr bwMode="auto">
          <a:xfrm rot="10800000">
            <a:off x="9829282" y="1350300"/>
            <a:ext cx="185737" cy="737996"/>
          </a:xfrm>
          <a:prstGeom prst="triangle">
            <a:avLst>
              <a:gd name="adj" fmla="val 50000"/>
            </a:avLst>
          </a:prstGeom>
          <a:solidFill>
            <a:srgbClr val="A100FF"/>
          </a:solidFill>
          <a:ln w="12700" algn="ctr">
            <a:noFill/>
            <a:miter lim="800000"/>
            <a:headEnd/>
            <a:tailEnd/>
          </a:ln>
          <a:effectLst/>
        </p:spPr>
        <p:txBody>
          <a:bodyPr lIns="90000" tIns="46800" rIns="90000" bIns="4680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1" name="AutoShape 42">
            <a:extLst>
              <a:ext uri="{FF2B5EF4-FFF2-40B4-BE49-F238E27FC236}">
                <a16:creationId xmlns:a16="http://schemas.microsoft.com/office/drawing/2014/main" id="{05C1F093-DE03-41D1-83D5-49501D516BE7}"/>
              </a:ext>
              <a:ext uri="{C183D7F6-B498-43B3-948B-1728B52AA6E4}">
                <adec:decorative xmlns:adec="http://schemas.microsoft.com/office/drawing/2017/decorative" val="1"/>
              </a:ext>
            </a:extLst>
          </p:cNvPr>
          <p:cNvSpPr>
            <a:spLocks noChangeArrowheads="1"/>
          </p:cNvSpPr>
          <p:nvPr/>
        </p:nvSpPr>
        <p:spPr bwMode="auto">
          <a:xfrm rot="10800000">
            <a:off x="5856893" y="1350300"/>
            <a:ext cx="185738" cy="737996"/>
          </a:xfrm>
          <a:prstGeom prst="triangle">
            <a:avLst>
              <a:gd name="adj" fmla="val 50000"/>
            </a:avLst>
          </a:prstGeom>
          <a:solidFill>
            <a:srgbClr val="A100FF"/>
          </a:solidFill>
          <a:ln w="12700" algn="ctr">
            <a:noFill/>
            <a:miter lim="800000"/>
            <a:headEnd/>
            <a:tailEnd/>
          </a:ln>
          <a:effectLst/>
        </p:spPr>
        <p:txBody>
          <a:bodyPr lIns="90000" tIns="46800" rIns="90000" bIns="4680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 name="AcnStamp_ID_51">
            <a:extLst>
              <a:ext uri="{FF2B5EF4-FFF2-40B4-BE49-F238E27FC236}">
                <a16:creationId xmlns:a16="http://schemas.microsoft.com/office/drawing/2014/main" id="{EAFEB857-27F1-4811-BEAF-84EF54965B6A}"/>
              </a:ext>
            </a:extLst>
          </p:cNvPr>
          <p:cNvSpPr/>
          <p:nvPr>
            <p:custDataLst>
              <p:tags r:id="rId1"/>
            </p:custDataLst>
          </p:nvPr>
        </p:nvSpPr>
        <p:spPr bwMode="auto">
          <a:xfrm>
            <a:off x="1992314" y="6324859"/>
            <a:ext cx="8207375" cy="473498"/>
          </a:xfrm>
          <a:prstGeom prst="leftRightArrow">
            <a:avLst>
              <a:gd name="adj1" fmla="val 0"/>
              <a:gd name="adj2" fmla="val 0"/>
            </a:avLst>
          </a:prstGeom>
          <a:no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Key Activities And Deliverables Should Be Defined For Components Shown Above</a:t>
            </a:r>
          </a:p>
        </p:txBody>
      </p:sp>
      <p:grpSp>
        <p:nvGrpSpPr>
          <p:cNvPr id="63" name="Group 15" descr="Add text and order accordingly">
            <a:extLst>
              <a:ext uri="{FF2B5EF4-FFF2-40B4-BE49-F238E27FC236}">
                <a16:creationId xmlns:a16="http://schemas.microsoft.com/office/drawing/2014/main" id="{63C1F733-9A29-4CE8-A10E-6E18BEBDC9C4}"/>
              </a:ext>
            </a:extLst>
          </p:cNvPr>
          <p:cNvGrpSpPr/>
          <p:nvPr>
            <p:custDataLst>
              <p:tags r:id="rId2"/>
            </p:custDataLst>
          </p:nvPr>
        </p:nvGrpSpPr>
        <p:grpSpPr bwMode="auto">
          <a:xfrm>
            <a:off x="9273132" y="512677"/>
            <a:ext cx="1097280" cy="481687"/>
            <a:chOff x="7792324" y="1498600"/>
            <a:chExt cx="894476" cy="481687"/>
          </a:xfrm>
        </p:grpSpPr>
        <p:sp>
          <p:nvSpPr>
            <p:cNvPr id="64" name="TextBox 63">
              <a:extLst>
                <a:ext uri="{FF2B5EF4-FFF2-40B4-BE49-F238E27FC236}">
                  <a16:creationId xmlns:a16="http://schemas.microsoft.com/office/drawing/2014/main" id="{1CB4E19D-9F78-4217-8573-215DE85D38EB}"/>
                </a:ext>
              </a:extLst>
            </p:cNvPr>
            <p:cNvSpPr txBox="1"/>
            <p:nvPr/>
          </p:nvSpPr>
          <p:spPr bwMode="auto">
            <a:xfrm>
              <a:off x="7792324" y="1524000"/>
              <a:ext cx="894476" cy="430887"/>
            </a:xfrm>
            <a:prstGeom prst="rect">
              <a:avLst/>
            </a:prstGeom>
            <a:noFill/>
          </p:spPr>
          <p:txBody>
            <a:bodyPr vert="horz" wrap="square" lIns="0" tIns="0" rIns="0" bIns="0" rtlCol="0" anchor="ctr" anchorCtr="1">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Illustrat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Contents</a:t>
              </a:r>
            </a:p>
          </p:txBody>
        </p:sp>
        <p:cxnSp>
          <p:nvCxnSpPr>
            <p:cNvPr id="65" name="Straight Connector 64">
              <a:extLst>
                <a:ext uri="{FF2B5EF4-FFF2-40B4-BE49-F238E27FC236}">
                  <a16:creationId xmlns:a16="http://schemas.microsoft.com/office/drawing/2014/main" id="{773621E9-4DFE-4254-8D83-FDDE05DF1FF3}"/>
                </a:ext>
              </a:extLst>
            </p:cNvPr>
            <p:cNvCxnSpPr/>
            <p:nvPr/>
          </p:nvCxnSpPr>
          <p:spPr bwMode="auto">
            <a:xfrm>
              <a:off x="7792324" y="1498600"/>
              <a:ext cx="894476" cy="0"/>
            </a:xfrm>
            <a:prstGeom prst="line">
              <a:avLst/>
            </a:prstGeom>
            <a:noFill/>
            <a:ln w="12700" cap="flat" cmpd="sng" algn="ctr">
              <a:solidFill>
                <a:srgbClr val="000000"/>
              </a:solidFill>
              <a:prstDash val="solid"/>
              <a:headEnd type="none"/>
              <a:tailEnd type="none"/>
            </a:ln>
            <a:effectLst/>
          </p:spPr>
        </p:cxnSp>
        <p:cxnSp>
          <p:nvCxnSpPr>
            <p:cNvPr id="66" name="Straight Connector 65">
              <a:extLst>
                <a:ext uri="{FF2B5EF4-FFF2-40B4-BE49-F238E27FC236}">
                  <a16:creationId xmlns:a16="http://schemas.microsoft.com/office/drawing/2014/main" id="{BD7F7BF3-08B0-4E5A-8CD7-5EA1671059D3}"/>
                </a:ext>
              </a:extLst>
            </p:cNvPr>
            <p:cNvCxnSpPr/>
            <p:nvPr/>
          </p:nvCxnSpPr>
          <p:spPr bwMode="auto">
            <a:xfrm>
              <a:off x="7792324" y="1980287"/>
              <a:ext cx="894476" cy="0"/>
            </a:xfrm>
            <a:prstGeom prst="line">
              <a:avLst/>
            </a:prstGeom>
            <a:noFill/>
            <a:ln w="12700" cap="flat" cmpd="sng" algn="ctr">
              <a:solidFill>
                <a:srgbClr val="000000"/>
              </a:solidFill>
              <a:prstDash val="solid"/>
              <a:headEnd type="none"/>
              <a:tailEnd type="none"/>
            </a:ln>
            <a:effectLst/>
          </p:spPr>
        </p:cxnSp>
      </p:grpSp>
      <p:sp>
        <p:nvSpPr>
          <p:cNvPr id="46" name="Text Box 106">
            <a:extLst>
              <a:ext uri="{FF2B5EF4-FFF2-40B4-BE49-F238E27FC236}">
                <a16:creationId xmlns:a16="http://schemas.microsoft.com/office/drawing/2014/main" id="{83C23D1F-32E2-4999-AE3D-DCB25B0CFD6E}"/>
              </a:ext>
            </a:extLst>
          </p:cNvPr>
          <p:cNvSpPr txBox="1">
            <a:spLocks noChangeArrowheads="1"/>
          </p:cNvSpPr>
          <p:nvPr/>
        </p:nvSpPr>
        <p:spPr bwMode="auto">
          <a:xfrm>
            <a:off x="5189738" y="1801553"/>
            <a:ext cx="1728390" cy="153888"/>
          </a:xfrm>
          <a:prstGeom prst="rect">
            <a:avLst/>
          </a:prstGeom>
          <a:noFill/>
          <a:ln w="12700" algn="ctr">
            <a:noFill/>
            <a:miter lim="800000"/>
            <a:headEnd/>
            <a:tailEnd/>
          </a:ln>
          <a:effectLst/>
        </p:spPr>
        <p:txBody>
          <a:bodyPr lIns="0" tIns="0" rIns="0" bIns="0">
            <a:spAutoFit/>
          </a:bodyPr>
          <a:lstStyle/>
          <a:p>
            <a:pPr marL="0" marR="0" lvl="0" indent="0" algn="l" defTabSz="787400" rtl="0" eaLnBrk="1" fontAlgn="auto" latinLnBrk="0" hangingPunct="1">
              <a:lnSpc>
                <a:spcPct val="100000"/>
              </a:lnSpc>
              <a:spcBef>
                <a:spcPct val="50000"/>
              </a:spcBef>
              <a:spcAft>
                <a:spcPts val="0"/>
              </a:spcAft>
              <a:buClrTx/>
              <a:buSzTx/>
              <a:buFontTx/>
              <a:buNone/>
              <a:tabLst/>
              <a:defRPr/>
            </a:pPr>
            <a:r>
              <a:rPr kumimoji="0" lang="it-IT" sz="1000" b="1" i="0" u="none" strike="noStrike" kern="0" cap="none" spc="0" normalizeH="0" baseline="0" noProof="0" dirty="0">
                <a:ln>
                  <a:noFill/>
                </a:ln>
                <a:solidFill>
                  <a:srgbClr val="000000"/>
                </a:solidFill>
                <a:effectLst/>
                <a:uLnTx/>
                <a:uFillTx/>
                <a:latin typeface="+mj-lt"/>
                <a:ea typeface="+mn-ea"/>
                <a:cs typeface="+mn-cs"/>
              </a:rPr>
              <a:t>Mission Statement</a:t>
            </a:r>
            <a:endParaRPr kumimoji="0" lang="en-US" sz="1000" b="1" i="0" u="none" strike="noStrike" kern="0" cap="none" spc="0" normalizeH="0" baseline="0" noProof="0" dirty="0">
              <a:ln>
                <a:noFill/>
              </a:ln>
              <a:solidFill>
                <a:srgbClr val="000000"/>
              </a:solidFill>
              <a:effectLst/>
              <a:uLnTx/>
              <a:uFillTx/>
              <a:latin typeface="+mj-lt"/>
              <a:ea typeface="+mn-ea"/>
              <a:cs typeface="+mn-cs"/>
            </a:endParaRPr>
          </a:p>
        </p:txBody>
      </p:sp>
      <p:sp>
        <p:nvSpPr>
          <p:cNvPr id="3" name="Footer Placeholder 2">
            <a:extLst>
              <a:ext uri="{FF2B5EF4-FFF2-40B4-BE49-F238E27FC236}">
                <a16:creationId xmlns:a16="http://schemas.microsoft.com/office/drawing/2014/main" id="{A3A001A0-D9CE-4C79-A924-38B54736E826}"/>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8" name="Slide Number Placeholder 67">
            <a:extLst>
              <a:ext uri="{FF2B5EF4-FFF2-40B4-BE49-F238E27FC236}">
                <a16:creationId xmlns:a16="http://schemas.microsoft.com/office/drawing/2014/main" id="{9CE92CED-CACB-4600-B8A7-05C8ABB884EF}"/>
              </a:ext>
            </a:extLst>
          </p:cNvPr>
          <p:cNvSpPr>
            <a:spLocks noGrp="1"/>
          </p:cNvSpPr>
          <p:nvPr>
            <p:ph type="sldNum" sz="quarter" idx="10"/>
          </p:nvPr>
        </p:nvSpPr>
        <p:spPr/>
        <p:txBody>
          <a:bodyPr/>
          <a:lstStyle/>
          <a:p>
            <a:fld id="{1F90F471-3972-4120-B8B3-0237DE626C35}" type="slidenum">
              <a:rPr lang="en-US" smtClean="0"/>
              <a:pPr/>
              <a:t>384</a:t>
            </a:fld>
            <a:endParaRPr lang="en-US" dirty="0"/>
          </a:p>
        </p:txBody>
      </p:sp>
    </p:spTree>
    <p:extLst>
      <p:ext uri="{BB962C8B-B14F-4D97-AF65-F5344CB8AC3E}">
        <p14:creationId xmlns:p14="http://schemas.microsoft.com/office/powerpoint/2010/main" val="3715866"/>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GB" dirty="0"/>
              <a:t>Template Problem Definition Worksheet</a:t>
            </a:r>
            <a:endParaRPr lang="en-US" dirty="0"/>
          </a:p>
        </p:txBody>
      </p:sp>
      <p:sp>
        <p:nvSpPr>
          <p:cNvPr id="6" name="Rectangle 4">
            <a:extLst>
              <a:ext uri="{FF2B5EF4-FFF2-40B4-BE49-F238E27FC236}">
                <a16:creationId xmlns:a16="http://schemas.microsoft.com/office/drawing/2014/main" id="{C25E2965-3A0D-479F-AC36-F51DF367CE02}"/>
              </a:ext>
            </a:extLst>
          </p:cNvPr>
          <p:cNvSpPr>
            <a:spLocks noChangeArrowheads="1"/>
          </p:cNvSpPr>
          <p:nvPr/>
        </p:nvSpPr>
        <p:spPr bwMode="auto">
          <a:xfrm>
            <a:off x="1992313" y="1304765"/>
            <a:ext cx="8207376" cy="1006475"/>
          </a:xfrm>
          <a:prstGeom prst="rect">
            <a:avLst/>
          </a:prstGeom>
          <a:noFill/>
          <a:ln w="6350">
            <a:solidFill>
              <a:srgbClr val="BE82FF"/>
            </a:solidFill>
            <a:prstDash val="dash"/>
            <a:miter lim="800000"/>
            <a:headEnd/>
            <a:tailEnd/>
          </a:ln>
          <a:extLst>
            <a:ext uri="{909E8E84-426E-40DD-AFC4-6F175D3DCCD1}">
              <a14:hiddenFill xmlns:a14="http://schemas.microsoft.com/office/drawing/2010/main">
                <a:solidFill>
                  <a:srgbClr val="FFFFFF"/>
                </a:solidFill>
              </a14:hiddenFill>
            </a:ext>
          </a:extLst>
        </p:spPr>
        <p:txBody>
          <a:bodyPr lIns="54000" tIns="54000" rIns="54000" bIns="54000"/>
          <a:lstStyle/>
          <a:p>
            <a:pPr marL="88900" marR="0" lvl="0" indent="-88900" algn="l" defTabSz="914400" rtl="0" eaLnBrk="1" fontAlgn="auto" latinLnBrk="0" hangingPunct="1">
              <a:lnSpc>
                <a:spcPct val="100000"/>
              </a:lnSpc>
              <a:spcBef>
                <a:spcPct val="2500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mj-lt"/>
                <a:ea typeface="+mn-ea"/>
                <a:cs typeface="+mn-cs"/>
              </a:rPr>
              <a:t>Key facts (situation):</a:t>
            </a:r>
          </a:p>
          <a:p>
            <a:pPr marL="88900" marR="0" lvl="0" indent="-88900" algn="l" defTabSz="914400" rtl="0" eaLnBrk="1" fontAlgn="auto" latinLnBrk="0" hangingPunct="1">
              <a:lnSpc>
                <a:spcPct val="100000"/>
              </a:lnSpc>
              <a:spcBef>
                <a:spcPct val="25000"/>
              </a:spcBef>
              <a:spcAft>
                <a:spcPts val="0"/>
              </a:spcAft>
              <a:buClrTx/>
              <a:buSzTx/>
              <a:buFontTx/>
              <a:buChar char="•"/>
              <a:tabLst/>
              <a:defRPr/>
            </a:pPr>
            <a:endParaRPr kumimoji="0" lang="en-GB" sz="1400" b="0" i="0" u="none" strike="noStrike" kern="0" cap="none" spc="0" normalizeH="0" baseline="0" noProof="0" dirty="0">
              <a:ln>
                <a:noFill/>
              </a:ln>
              <a:solidFill>
                <a:srgbClr val="000000"/>
              </a:solidFill>
              <a:effectLst/>
              <a:uLnTx/>
              <a:uFillTx/>
              <a:latin typeface="+mj-lt"/>
              <a:ea typeface="+mn-ea"/>
              <a:cs typeface="+mn-cs"/>
            </a:endParaRPr>
          </a:p>
        </p:txBody>
      </p:sp>
      <p:sp>
        <p:nvSpPr>
          <p:cNvPr id="7" name="Rectangle 5">
            <a:extLst>
              <a:ext uri="{FF2B5EF4-FFF2-40B4-BE49-F238E27FC236}">
                <a16:creationId xmlns:a16="http://schemas.microsoft.com/office/drawing/2014/main" id="{C28DCEA9-77B2-4458-A12F-4207D06464E9}"/>
              </a:ext>
            </a:extLst>
          </p:cNvPr>
          <p:cNvSpPr>
            <a:spLocks noChangeArrowheads="1"/>
          </p:cNvSpPr>
          <p:nvPr/>
        </p:nvSpPr>
        <p:spPr bwMode="auto">
          <a:xfrm>
            <a:off x="1992313" y="2365214"/>
            <a:ext cx="8207376" cy="820738"/>
          </a:xfrm>
          <a:prstGeom prst="rect">
            <a:avLst/>
          </a:prstGeom>
          <a:noFill/>
          <a:ln w="6350" algn="ctr">
            <a:solidFill>
              <a:srgbClr val="BE82FF"/>
            </a:solidFill>
            <a:prstDash val="dash"/>
            <a:miter lim="800000"/>
            <a:headEnd/>
            <a:tailEnd/>
          </a:ln>
          <a:extLst>
            <a:ext uri="{909E8E84-426E-40DD-AFC4-6F175D3DCCD1}">
              <a14:hiddenFill xmlns:a14="http://schemas.microsoft.com/office/drawing/2010/main">
                <a:solidFill>
                  <a:srgbClr val="FFFFFF"/>
                </a:solidFill>
              </a14:hiddenFill>
            </a:ext>
          </a:extLst>
        </p:spPr>
        <p:txBody>
          <a:bodyPr lIns="54000" tIns="54000" rIns="54000" bIns="54000"/>
          <a:lstStyle/>
          <a:p>
            <a:pPr marL="88900" marR="0" lvl="0" indent="-88900" algn="l" defTabSz="914400" rtl="0" eaLnBrk="1" fontAlgn="auto" latinLnBrk="0" hangingPunct="1">
              <a:lnSpc>
                <a:spcPct val="100000"/>
              </a:lnSpc>
              <a:spcBef>
                <a:spcPct val="2500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mj-lt"/>
                <a:ea typeface="+mn-ea"/>
                <a:cs typeface="+mn-cs"/>
              </a:rPr>
              <a:t>Need for change (complication):</a:t>
            </a:r>
          </a:p>
          <a:p>
            <a:pPr marL="88900" marR="0" lvl="0" indent="-88900" algn="l" defTabSz="914400" rtl="0" eaLnBrk="1" fontAlgn="auto" latinLnBrk="0" hangingPunct="1">
              <a:lnSpc>
                <a:spcPct val="100000"/>
              </a:lnSpc>
              <a:spcBef>
                <a:spcPct val="25000"/>
              </a:spcBef>
              <a:spcAft>
                <a:spcPts val="0"/>
              </a:spcAft>
              <a:buClrTx/>
              <a:buSzTx/>
              <a:buFontTx/>
              <a:buChar char="•"/>
              <a:tabLst/>
              <a:defRPr/>
            </a:pPr>
            <a:endParaRPr kumimoji="0" lang="en-GB" sz="1400" b="0" i="0" u="none" strike="noStrike" kern="0" cap="none" spc="0" normalizeH="0" baseline="0" noProof="0" dirty="0">
              <a:ln>
                <a:noFill/>
              </a:ln>
              <a:solidFill>
                <a:srgbClr val="000000"/>
              </a:solidFill>
              <a:effectLst/>
              <a:uLnTx/>
              <a:uFillTx/>
              <a:latin typeface="+mj-lt"/>
              <a:ea typeface="+mn-ea"/>
              <a:cs typeface="+mn-cs"/>
            </a:endParaRPr>
          </a:p>
        </p:txBody>
      </p:sp>
      <p:sp>
        <p:nvSpPr>
          <p:cNvPr id="8" name="Rectangle 6">
            <a:extLst>
              <a:ext uri="{FF2B5EF4-FFF2-40B4-BE49-F238E27FC236}">
                <a16:creationId xmlns:a16="http://schemas.microsoft.com/office/drawing/2014/main" id="{0056C889-38E5-4DCF-9A7E-C5D2C029C0AD}"/>
              </a:ext>
            </a:extLst>
          </p:cNvPr>
          <p:cNvSpPr>
            <a:spLocks noChangeArrowheads="1"/>
          </p:cNvSpPr>
          <p:nvPr/>
        </p:nvSpPr>
        <p:spPr bwMode="auto">
          <a:xfrm>
            <a:off x="1992313" y="3239928"/>
            <a:ext cx="8207376" cy="638175"/>
          </a:xfrm>
          <a:prstGeom prst="rect">
            <a:avLst/>
          </a:prstGeom>
          <a:noFill/>
          <a:ln w="6350" algn="ctr">
            <a:solidFill>
              <a:srgbClr val="BE82FF"/>
            </a:solidFill>
            <a:prstDash val="dash"/>
            <a:miter lim="800000"/>
            <a:headEnd/>
            <a:tailEnd/>
          </a:ln>
          <a:extLst>
            <a:ext uri="{909E8E84-426E-40DD-AFC4-6F175D3DCCD1}">
              <a14:hiddenFill xmlns:a14="http://schemas.microsoft.com/office/drawing/2010/main">
                <a:solidFill>
                  <a:srgbClr val="FFFFFF"/>
                </a:solidFill>
              </a14:hiddenFill>
            </a:ext>
          </a:extLst>
        </p:spPr>
        <p:txBody>
          <a:bodyPr lIns="54000" tIns="54000" rIns="54000" bIns="54000"/>
          <a:lstStyle/>
          <a:p>
            <a:pPr marL="82550" marR="0" lvl="0" indent="-82550" algn="l" defTabSz="914400" rtl="0" eaLnBrk="1" fontAlgn="auto" latinLnBrk="0" hangingPunct="1">
              <a:lnSpc>
                <a:spcPct val="100000"/>
              </a:lnSpc>
              <a:spcBef>
                <a:spcPct val="25000"/>
              </a:spcBef>
              <a:spcAft>
                <a:spcPts val="0"/>
              </a:spcAft>
              <a:buClrTx/>
              <a:buSzTx/>
              <a:buFontTx/>
              <a:buNone/>
              <a:tabLst/>
              <a:defRPr/>
            </a:pPr>
            <a:r>
              <a:rPr kumimoji="0" lang="en-GB" sz="1400" b="1" i="0" u="none" strike="noStrike" kern="0" cap="none" spc="0" normalizeH="0" baseline="0" noProof="0" dirty="0">
                <a:ln>
                  <a:noFill/>
                </a:ln>
                <a:solidFill>
                  <a:srgbClr val="A100FF"/>
                </a:solidFill>
                <a:effectLst/>
                <a:uLnTx/>
                <a:uFillTx/>
                <a:latin typeface="+mj-lt"/>
                <a:ea typeface="+mn-ea"/>
                <a:cs typeface="+mn-cs"/>
              </a:rPr>
              <a:t>Key question:</a:t>
            </a:r>
          </a:p>
          <a:p>
            <a:pPr marL="82550" marR="0" lvl="0" indent="-82550" algn="l" defTabSz="914400" rtl="0" eaLnBrk="1" fontAlgn="auto" latinLnBrk="0" hangingPunct="1">
              <a:lnSpc>
                <a:spcPct val="100000"/>
              </a:lnSpc>
              <a:spcBef>
                <a:spcPct val="25000"/>
              </a:spcBef>
              <a:spcAft>
                <a:spcPts val="0"/>
              </a:spcAft>
              <a:buClrTx/>
              <a:buSzTx/>
              <a:buFontTx/>
              <a:buChar char="•"/>
              <a:tabLst/>
              <a:defRPr/>
            </a:pPr>
            <a:endParaRPr kumimoji="0" lang="en-GB" sz="1400" b="1" i="0" u="none" strike="noStrike" kern="0" cap="none" spc="0" normalizeH="0" baseline="0" noProof="0" dirty="0">
              <a:ln>
                <a:noFill/>
              </a:ln>
              <a:solidFill>
                <a:srgbClr val="A100FF"/>
              </a:solidFill>
              <a:effectLst/>
              <a:uLnTx/>
              <a:uFillTx/>
              <a:latin typeface="+mj-lt"/>
              <a:ea typeface="+mn-ea"/>
              <a:cs typeface="+mn-cs"/>
            </a:endParaRPr>
          </a:p>
        </p:txBody>
      </p:sp>
      <p:sp>
        <p:nvSpPr>
          <p:cNvPr id="13" name="Rectangle 12">
            <a:extLst>
              <a:ext uri="{FF2B5EF4-FFF2-40B4-BE49-F238E27FC236}">
                <a16:creationId xmlns:a16="http://schemas.microsoft.com/office/drawing/2014/main" id="{9B81410D-F98D-4F4E-A0E2-B8FD8B80D91F}"/>
              </a:ext>
            </a:extLst>
          </p:cNvPr>
          <p:cNvSpPr>
            <a:spLocks noChangeArrowheads="1"/>
          </p:cNvSpPr>
          <p:nvPr/>
        </p:nvSpPr>
        <p:spPr bwMode="auto">
          <a:xfrm>
            <a:off x="1993081" y="3920480"/>
            <a:ext cx="3954463"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54000" tIns="54000" rIns="54000" bIns="54000"/>
          <a:lstStyle/>
          <a:p>
            <a:pPr marL="0" marR="0" lvl="0" indent="0" algn="l" defTabSz="914400" rtl="0" eaLnBrk="1" fontAlgn="auto" latinLnBrk="0" hangingPunct="1">
              <a:lnSpc>
                <a:spcPct val="100000"/>
              </a:lnSpc>
              <a:spcBef>
                <a:spcPct val="2500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mj-lt"/>
                <a:ea typeface="+mn-ea"/>
                <a:cs typeface="+mn-cs"/>
              </a:rPr>
              <a:t>Buyers</a:t>
            </a:r>
          </a:p>
        </p:txBody>
      </p:sp>
      <p:sp>
        <p:nvSpPr>
          <p:cNvPr id="9" name="Rectangle 8">
            <a:extLst>
              <a:ext uri="{FF2B5EF4-FFF2-40B4-BE49-F238E27FC236}">
                <a16:creationId xmlns:a16="http://schemas.microsoft.com/office/drawing/2014/main" id="{796F3DA2-41BF-4055-B065-B0D213B9DAB6}"/>
              </a:ext>
            </a:extLst>
          </p:cNvPr>
          <p:cNvSpPr>
            <a:spLocks noChangeArrowheads="1"/>
          </p:cNvSpPr>
          <p:nvPr/>
        </p:nvSpPr>
        <p:spPr bwMode="auto">
          <a:xfrm>
            <a:off x="1992314" y="4213064"/>
            <a:ext cx="3954463" cy="1270000"/>
          </a:xfrm>
          <a:prstGeom prst="rect">
            <a:avLst/>
          </a:prstGeom>
          <a:noFill/>
          <a:ln w="6350" algn="ctr">
            <a:solidFill>
              <a:srgbClr val="BE82FF"/>
            </a:solidFill>
            <a:prstDash val="dash"/>
            <a:miter lim="800000"/>
            <a:headEnd/>
            <a:tailEnd/>
          </a:ln>
          <a:extLst>
            <a:ext uri="{909E8E84-426E-40DD-AFC4-6F175D3DCCD1}">
              <a14:hiddenFill xmlns:a14="http://schemas.microsoft.com/office/drawing/2010/main">
                <a:solidFill>
                  <a:srgbClr val="FFFFFF"/>
                </a:solidFill>
              </a14:hiddenFill>
            </a:ext>
          </a:extLst>
        </p:spPr>
        <p:txBody>
          <a:bodyPr lIns="54000" tIns="54000" rIns="54000" bIns="54000"/>
          <a:lstStyle/>
          <a:p>
            <a:pPr marL="88900" marR="0" lvl="0" indent="-88900" algn="l" defTabSz="914400" rtl="0" eaLnBrk="1" fontAlgn="auto" latinLnBrk="0" hangingPunct="1">
              <a:lnSpc>
                <a:spcPct val="100000"/>
              </a:lnSpc>
              <a:spcBef>
                <a:spcPct val="2500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mj-lt"/>
                <a:ea typeface="+mn-ea"/>
                <a:cs typeface="+mn-cs"/>
              </a:rPr>
              <a:t>Sponsors:</a:t>
            </a:r>
          </a:p>
          <a:p>
            <a:pPr marL="88900" marR="0" lvl="0" indent="-88900" algn="l" defTabSz="914400" rtl="0" eaLnBrk="1" fontAlgn="auto" latinLnBrk="0" hangingPunct="1">
              <a:lnSpc>
                <a:spcPct val="100000"/>
              </a:lnSpc>
              <a:spcBef>
                <a:spcPct val="25000"/>
              </a:spcBef>
              <a:spcAft>
                <a:spcPts val="0"/>
              </a:spcAft>
              <a:buClrTx/>
              <a:buSzTx/>
              <a:buFontTx/>
              <a:buChar char="•"/>
              <a:tabLst/>
              <a:defRPr/>
            </a:pPr>
            <a:endParaRPr kumimoji="0" lang="en-GB" sz="1400" b="0" i="0" u="none" strike="noStrike" kern="0" cap="none" spc="0" normalizeH="0" baseline="0" noProof="0" dirty="0">
              <a:ln>
                <a:noFill/>
              </a:ln>
              <a:solidFill>
                <a:srgbClr val="000000"/>
              </a:solidFill>
              <a:effectLst/>
              <a:uLnTx/>
              <a:uFillTx/>
              <a:latin typeface="+mj-lt"/>
              <a:ea typeface="+mn-ea"/>
              <a:cs typeface="+mn-cs"/>
            </a:endParaRPr>
          </a:p>
        </p:txBody>
      </p:sp>
      <p:sp>
        <p:nvSpPr>
          <p:cNvPr id="10" name="Rectangle 9">
            <a:extLst>
              <a:ext uri="{FF2B5EF4-FFF2-40B4-BE49-F238E27FC236}">
                <a16:creationId xmlns:a16="http://schemas.microsoft.com/office/drawing/2014/main" id="{F43E6D6E-3651-4367-A032-4FCE1972AB4F}"/>
              </a:ext>
            </a:extLst>
          </p:cNvPr>
          <p:cNvSpPr>
            <a:spLocks noChangeArrowheads="1"/>
          </p:cNvSpPr>
          <p:nvPr/>
        </p:nvSpPr>
        <p:spPr bwMode="auto">
          <a:xfrm>
            <a:off x="1992314" y="4848064"/>
            <a:ext cx="3954463" cy="635000"/>
          </a:xfrm>
          <a:prstGeom prst="rect">
            <a:avLst/>
          </a:prstGeom>
          <a:noFill/>
          <a:ln w="6350" algn="ctr">
            <a:noFill/>
            <a:prstDash val="dash"/>
            <a:miter lim="800000"/>
            <a:headEnd/>
            <a:tailEnd/>
          </a:ln>
          <a:extLst>
            <a:ext uri="{909E8E84-426E-40DD-AFC4-6F175D3DCCD1}">
              <a14:hiddenFill xmlns:a14="http://schemas.microsoft.com/office/drawing/2010/main">
                <a:solidFill>
                  <a:srgbClr val="FFFFFF"/>
                </a:solidFill>
              </a14:hiddenFill>
            </a:ext>
          </a:extLst>
        </p:spPr>
        <p:txBody>
          <a:bodyPr lIns="54000" tIns="54000" rIns="54000" bIns="54000"/>
          <a:lstStyle/>
          <a:p>
            <a:pPr marL="88900" marR="0" lvl="0" indent="-88900" algn="l" defTabSz="914400" rtl="0" eaLnBrk="1" fontAlgn="auto" latinLnBrk="0" hangingPunct="1">
              <a:lnSpc>
                <a:spcPct val="100000"/>
              </a:lnSpc>
              <a:spcBef>
                <a:spcPct val="2500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Arial"/>
                <a:ea typeface="+mn-ea"/>
                <a:cs typeface="+mn-cs"/>
              </a:rPr>
              <a:t>Key decision makers:</a:t>
            </a:r>
          </a:p>
          <a:p>
            <a:pPr marL="88900" marR="0" lvl="0" indent="-88900" algn="l" defTabSz="914400" rtl="0" eaLnBrk="1" fontAlgn="auto" latinLnBrk="0" hangingPunct="1">
              <a:lnSpc>
                <a:spcPct val="100000"/>
              </a:lnSpc>
              <a:spcBef>
                <a:spcPct val="25000"/>
              </a:spcBef>
              <a:spcAft>
                <a:spcPts val="0"/>
              </a:spcAft>
              <a:buClrTx/>
              <a:buSzTx/>
              <a:buFontTx/>
              <a:buChar char="•"/>
              <a:tabLst/>
              <a:defRPr/>
            </a:pPr>
            <a:endParaRPr kumimoji="0" lang="en-GB" sz="1400" b="1" i="0" u="none" strike="noStrike" kern="0" cap="none" spc="0" normalizeH="0" baseline="0" noProof="0" dirty="0">
              <a:ln>
                <a:noFill/>
              </a:ln>
              <a:solidFill>
                <a:srgbClr val="000000"/>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187119C3-04F9-476D-8DA2-4931D5C76801}"/>
              </a:ext>
            </a:extLst>
          </p:cNvPr>
          <p:cNvSpPr>
            <a:spLocks noChangeArrowheads="1"/>
          </p:cNvSpPr>
          <p:nvPr/>
        </p:nvSpPr>
        <p:spPr bwMode="auto">
          <a:xfrm>
            <a:off x="6245994" y="3920480"/>
            <a:ext cx="3954463"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54000" tIns="54000" rIns="54000" bIns="54000"/>
          <a:lstStyle/>
          <a:p>
            <a:pPr marL="0" marR="0" lvl="0" indent="0" algn="l" defTabSz="914400" rtl="0" eaLnBrk="1" fontAlgn="auto" latinLnBrk="0" hangingPunct="1">
              <a:lnSpc>
                <a:spcPct val="100000"/>
              </a:lnSpc>
              <a:spcBef>
                <a:spcPct val="25000"/>
              </a:spcBef>
              <a:spcAft>
                <a:spcPts val="0"/>
              </a:spcAft>
              <a:buClrTx/>
              <a:buSzTx/>
              <a:buFontTx/>
              <a:buNone/>
              <a:tabLst/>
              <a:defRPr/>
            </a:pPr>
            <a:r>
              <a:rPr kumimoji="0" lang="en-GB" sz="1400" b="1" i="0" u="none" strike="noStrike" kern="0" cap="none" spc="0" normalizeH="0" baseline="0" noProof="0">
                <a:ln>
                  <a:noFill/>
                </a:ln>
                <a:solidFill>
                  <a:srgbClr val="000000"/>
                </a:solidFill>
                <a:effectLst/>
                <a:uLnTx/>
                <a:uFillTx/>
                <a:latin typeface="+mj-lt"/>
                <a:ea typeface="+mn-ea"/>
                <a:cs typeface="+mn-cs"/>
              </a:rPr>
              <a:t>Scope</a:t>
            </a:r>
          </a:p>
        </p:txBody>
      </p:sp>
      <p:sp>
        <p:nvSpPr>
          <p:cNvPr id="11" name="Rectangle 10">
            <a:extLst>
              <a:ext uri="{FF2B5EF4-FFF2-40B4-BE49-F238E27FC236}">
                <a16:creationId xmlns:a16="http://schemas.microsoft.com/office/drawing/2014/main" id="{6F47ED1A-FF1D-4A40-AE3B-005B364DDCF1}"/>
              </a:ext>
            </a:extLst>
          </p:cNvPr>
          <p:cNvSpPr>
            <a:spLocks noChangeArrowheads="1"/>
          </p:cNvSpPr>
          <p:nvPr/>
        </p:nvSpPr>
        <p:spPr bwMode="auto">
          <a:xfrm>
            <a:off x="6245227" y="4213064"/>
            <a:ext cx="3954463" cy="1270000"/>
          </a:xfrm>
          <a:prstGeom prst="rect">
            <a:avLst/>
          </a:prstGeom>
          <a:noFill/>
          <a:ln w="6350" algn="ctr">
            <a:solidFill>
              <a:srgbClr val="BE82FF"/>
            </a:solidFill>
            <a:prstDash val="dash"/>
            <a:miter lim="800000"/>
            <a:headEnd/>
            <a:tailEnd/>
          </a:ln>
          <a:extLst>
            <a:ext uri="{909E8E84-426E-40DD-AFC4-6F175D3DCCD1}">
              <a14:hiddenFill xmlns:a14="http://schemas.microsoft.com/office/drawing/2010/main">
                <a:solidFill>
                  <a:srgbClr val="FFFFFF"/>
                </a:solidFill>
              </a14:hiddenFill>
            </a:ext>
          </a:extLst>
        </p:spPr>
        <p:txBody>
          <a:bodyPr lIns="54000" tIns="54000" rIns="54000" bIns="54000"/>
          <a:lstStyle/>
          <a:p>
            <a:pPr marL="0" marR="0" lvl="0" indent="0" algn="l" defTabSz="914400" rtl="0" eaLnBrk="1" fontAlgn="auto" latinLnBrk="0" hangingPunct="1">
              <a:lnSpc>
                <a:spcPct val="100000"/>
              </a:lnSpc>
              <a:spcBef>
                <a:spcPct val="2500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mj-lt"/>
                <a:ea typeface="+mn-ea"/>
                <a:cs typeface="+mn-cs"/>
              </a:rPr>
              <a:t>Desired outcomes:</a:t>
            </a:r>
          </a:p>
        </p:txBody>
      </p:sp>
      <p:sp>
        <p:nvSpPr>
          <p:cNvPr id="12" name="Rectangle 11">
            <a:extLst>
              <a:ext uri="{FF2B5EF4-FFF2-40B4-BE49-F238E27FC236}">
                <a16:creationId xmlns:a16="http://schemas.microsoft.com/office/drawing/2014/main" id="{F34D9AEA-6937-4213-9019-34FCF201303D}"/>
              </a:ext>
            </a:extLst>
          </p:cNvPr>
          <p:cNvSpPr>
            <a:spLocks noChangeArrowheads="1"/>
          </p:cNvSpPr>
          <p:nvPr/>
        </p:nvSpPr>
        <p:spPr bwMode="auto">
          <a:xfrm>
            <a:off x="6245227" y="4848064"/>
            <a:ext cx="3954463" cy="635000"/>
          </a:xfrm>
          <a:prstGeom prst="rect">
            <a:avLst/>
          </a:prstGeom>
          <a:noFill/>
          <a:ln w="6350" algn="ctr">
            <a:noFill/>
            <a:prstDash val="dash"/>
            <a:miter lim="800000"/>
            <a:headEnd/>
            <a:tailEnd/>
          </a:ln>
          <a:extLst>
            <a:ext uri="{909E8E84-426E-40DD-AFC4-6F175D3DCCD1}">
              <a14:hiddenFill xmlns:a14="http://schemas.microsoft.com/office/drawing/2010/main">
                <a:solidFill>
                  <a:srgbClr val="FFFFFF"/>
                </a:solidFill>
              </a14:hiddenFill>
            </a:ext>
          </a:extLst>
        </p:spPr>
        <p:txBody>
          <a:bodyPr lIns="54000" tIns="54000" rIns="54000" bIns="54000"/>
          <a:lstStyle/>
          <a:p>
            <a:pPr marL="88900" marR="0" lvl="0" indent="-88900" algn="l" defTabSz="914400" rtl="0" eaLnBrk="1" fontAlgn="auto" latinLnBrk="0" hangingPunct="1">
              <a:lnSpc>
                <a:spcPct val="100000"/>
              </a:lnSpc>
              <a:spcBef>
                <a:spcPct val="2500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Arial"/>
                <a:ea typeface="+mn-ea"/>
                <a:cs typeface="+mn-cs"/>
              </a:rPr>
              <a:t>Out of scope:</a:t>
            </a:r>
          </a:p>
          <a:p>
            <a:pPr marL="88900" marR="0" lvl="0" indent="-88900" algn="l" defTabSz="914400" rtl="0" eaLnBrk="1" fontAlgn="auto" latinLnBrk="0" hangingPunct="1">
              <a:lnSpc>
                <a:spcPct val="100000"/>
              </a:lnSpc>
              <a:spcBef>
                <a:spcPct val="25000"/>
              </a:spcBef>
              <a:spcAft>
                <a:spcPts val="0"/>
              </a:spcAft>
              <a:buClrTx/>
              <a:buSzTx/>
              <a:buFontTx/>
              <a:buChar char="•"/>
              <a:tabLst/>
              <a:defRPr/>
            </a:pPr>
            <a:endParaRPr kumimoji="0" lang="en-GB"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358A0810-F3AB-4BA5-A49C-C016C94554BD}"/>
              </a:ext>
            </a:extLst>
          </p:cNvPr>
          <p:cNvSpPr>
            <a:spLocks noChangeArrowheads="1"/>
          </p:cNvSpPr>
          <p:nvPr/>
        </p:nvSpPr>
        <p:spPr bwMode="auto">
          <a:xfrm>
            <a:off x="1992313" y="5540215"/>
            <a:ext cx="8207376" cy="650875"/>
          </a:xfrm>
          <a:prstGeom prst="rect">
            <a:avLst/>
          </a:prstGeom>
          <a:noFill/>
          <a:ln w="6350" algn="ctr">
            <a:solidFill>
              <a:srgbClr val="BE82FF"/>
            </a:solidFill>
            <a:prstDash val="dash"/>
            <a:miter lim="800000"/>
            <a:headEnd/>
            <a:tailEnd/>
          </a:ln>
          <a:extLst>
            <a:ext uri="{909E8E84-426E-40DD-AFC4-6F175D3DCCD1}">
              <a14:hiddenFill xmlns:a14="http://schemas.microsoft.com/office/drawing/2010/main">
                <a:solidFill>
                  <a:srgbClr val="FFFFFF"/>
                </a:solidFill>
              </a14:hiddenFill>
            </a:ext>
          </a:extLst>
        </p:spPr>
        <p:txBody>
          <a:bodyPr lIns="54000" tIns="54000" rIns="54000" bIns="54000"/>
          <a:lstStyle/>
          <a:p>
            <a:pPr marL="88900" marR="0" lvl="0" indent="-88900" algn="l" defTabSz="914400" rtl="0" eaLnBrk="1" fontAlgn="auto" latinLnBrk="0" hangingPunct="1">
              <a:lnSpc>
                <a:spcPct val="100000"/>
              </a:lnSpc>
              <a:spcBef>
                <a:spcPct val="2500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mj-lt"/>
                <a:ea typeface="+mn-ea"/>
                <a:cs typeface="+mn-cs"/>
              </a:rPr>
              <a:t>Criteria for quality:</a:t>
            </a:r>
          </a:p>
          <a:p>
            <a:pPr marL="88900" marR="0" lvl="0" indent="-88900" algn="l" defTabSz="914400" rtl="0" eaLnBrk="1" fontAlgn="auto" latinLnBrk="0" hangingPunct="1">
              <a:lnSpc>
                <a:spcPct val="100000"/>
              </a:lnSpc>
              <a:spcBef>
                <a:spcPct val="25000"/>
              </a:spcBef>
              <a:spcAft>
                <a:spcPts val="0"/>
              </a:spcAft>
              <a:buClrTx/>
              <a:buSzTx/>
              <a:buFontTx/>
              <a:buChar char="•"/>
              <a:tabLst/>
              <a:defRPr/>
            </a:pPr>
            <a:endParaRPr kumimoji="0" lang="en-GB" sz="1400" b="0" i="0" u="none" strike="noStrike" kern="0" cap="none" spc="0" normalizeH="0" baseline="0" noProof="0" dirty="0">
              <a:ln>
                <a:noFill/>
              </a:ln>
              <a:solidFill>
                <a:srgbClr val="000000"/>
              </a:solidFill>
              <a:effectLst/>
              <a:uLnTx/>
              <a:uFillTx/>
              <a:latin typeface="+mj-lt"/>
              <a:ea typeface="+mn-ea"/>
              <a:cs typeface="+mn-cs"/>
            </a:endParaRPr>
          </a:p>
        </p:txBody>
      </p:sp>
      <p:sp>
        <p:nvSpPr>
          <p:cNvPr id="3" name="Footer Placeholder 2">
            <a:extLst>
              <a:ext uri="{FF2B5EF4-FFF2-40B4-BE49-F238E27FC236}">
                <a16:creationId xmlns:a16="http://schemas.microsoft.com/office/drawing/2014/main" id="{2F02370E-EAC4-4178-AF92-92AD8A8B920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7" name="Slide Number Placeholder 16">
            <a:extLst>
              <a:ext uri="{FF2B5EF4-FFF2-40B4-BE49-F238E27FC236}">
                <a16:creationId xmlns:a16="http://schemas.microsoft.com/office/drawing/2014/main" id="{573A7381-873F-4779-BD47-34BA861DDAD9}"/>
              </a:ext>
            </a:extLst>
          </p:cNvPr>
          <p:cNvSpPr>
            <a:spLocks noGrp="1"/>
          </p:cNvSpPr>
          <p:nvPr>
            <p:ph type="sldNum" sz="quarter" idx="10"/>
          </p:nvPr>
        </p:nvSpPr>
        <p:spPr/>
        <p:txBody>
          <a:bodyPr/>
          <a:lstStyle/>
          <a:p>
            <a:fld id="{1F90F471-3972-4120-B8B3-0237DE626C35}" type="slidenum">
              <a:rPr lang="en-US" smtClean="0"/>
              <a:pPr/>
              <a:t>385</a:t>
            </a:fld>
            <a:endParaRPr lang="en-US" dirty="0"/>
          </a:p>
        </p:txBody>
      </p:sp>
    </p:spTree>
    <p:extLst>
      <p:ext uri="{BB962C8B-B14F-4D97-AF65-F5344CB8AC3E}">
        <p14:creationId xmlns:p14="http://schemas.microsoft.com/office/powerpoint/2010/main" val="1185478192"/>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Prioritization Matrix 1</a:t>
            </a:r>
          </a:p>
        </p:txBody>
      </p:sp>
      <p:sp>
        <p:nvSpPr>
          <p:cNvPr id="6" name="Text Box 11">
            <a:extLst>
              <a:ext uri="{FF2B5EF4-FFF2-40B4-BE49-F238E27FC236}">
                <a16:creationId xmlns:a16="http://schemas.microsoft.com/office/drawing/2014/main" id="{025735E3-E820-4E59-9353-A85041B7C7E3}"/>
              </a:ext>
            </a:extLst>
          </p:cNvPr>
          <p:cNvSpPr txBox="1">
            <a:spLocks noChangeArrowheads="1"/>
          </p:cNvSpPr>
          <p:nvPr/>
        </p:nvSpPr>
        <p:spPr bwMode="auto">
          <a:xfrm>
            <a:off x="1981762" y="1630339"/>
            <a:ext cx="1089902" cy="147733"/>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Value</a:t>
            </a:r>
          </a:p>
        </p:txBody>
      </p:sp>
      <p:sp>
        <p:nvSpPr>
          <p:cNvPr id="7" name="Rectangle 7">
            <a:extLst>
              <a:ext uri="{FF2B5EF4-FFF2-40B4-BE49-F238E27FC236}">
                <a16:creationId xmlns:a16="http://schemas.microsoft.com/office/drawing/2014/main" id="{C623B92B-E917-411C-997A-C2B3031E8327}"/>
              </a:ext>
              <a:ext uri="{C183D7F6-B498-43B3-948B-1728B52AA6E4}">
                <adec:decorative xmlns:adec="http://schemas.microsoft.com/office/drawing/2017/decorative" val="1"/>
              </a:ext>
            </a:extLst>
          </p:cNvPr>
          <p:cNvSpPr>
            <a:spLocks noChangeArrowheads="1"/>
          </p:cNvSpPr>
          <p:nvPr/>
        </p:nvSpPr>
        <p:spPr bwMode="auto">
          <a:xfrm>
            <a:off x="2546464" y="1974643"/>
            <a:ext cx="3656764" cy="3330319"/>
          </a:xfrm>
          <a:prstGeom prst="rect">
            <a:avLst/>
          </a:prstGeom>
          <a:noFill/>
          <a:ln w="6350" cap="flat" cmpd="sng" algn="ctr">
            <a:solidFill>
              <a:srgbClr val="96968C">
                <a:lumMod val="60000"/>
                <a:lumOff val="40000"/>
              </a:srgbClr>
            </a:solidFill>
            <a:prstDash val="solid"/>
            <a:headEnd/>
            <a:tailEnd/>
          </a:ln>
          <a:effectLst/>
        </p:spPr>
        <p:txBody>
          <a:bodyPr wrap="none" lIns="0" tIns="0" rIns="0" bIns="0"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2800" b="1" i="0" u="none" strike="noStrike" kern="0" cap="none" spc="0" normalizeH="0" baseline="0" noProof="0" dirty="0">
              <a:ln>
                <a:noFill/>
              </a:ln>
              <a:solidFill>
                <a:srgbClr val="000000"/>
              </a:solidFill>
              <a:effectLst/>
              <a:uLnTx/>
              <a:uFillTx/>
              <a:latin typeface="Arial"/>
              <a:ea typeface="+mn-ea"/>
              <a:cs typeface="+mn-cs"/>
            </a:endParaRPr>
          </a:p>
        </p:txBody>
      </p:sp>
      <p:sp>
        <p:nvSpPr>
          <p:cNvPr id="8" name="Text Box 11">
            <a:extLst>
              <a:ext uri="{FF2B5EF4-FFF2-40B4-BE49-F238E27FC236}">
                <a16:creationId xmlns:a16="http://schemas.microsoft.com/office/drawing/2014/main" id="{C6CCF3D8-22B0-475E-A4C5-6E3A255C9E5E}"/>
              </a:ext>
            </a:extLst>
          </p:cNvPr>
          <p:cNvSpPr txBox="1">
            <a:spLocks noChangeArrowheads="1"/>
          </p:cNvSpPr>
          <p:nvPr/>
        </p:nvSpPr>
        <p:spPr bwMode="auto">
          <a:xfrm>
            <a:off x="5735960" y="5693536"/>
            <a:ext cx="1089902" cy="147733"/>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Effort</a:t>
            </a:r>
          </a:p>
        </p:txBody>
      </p:sp>
      <p:sp>
        <p:nvSpPr>
          <p:cNvPr id="38" name="Line 28">
            <a:extLst>
              <a:ext uri="{FF2B5EF4-FFF2-40B4-BE49-F238E27FC236}">
                <a16:creationId xmlns:a16="http://schemas.microsoft.com/office/drawing/2014/main" id="{54AF5CBB-B318-400E-A0A8-382E39316026}"/>
              </a:ext>
              <a:ext uri="{C183D7F6-B498-43B3-948B-1728B52AA6E4}">
                <adec:decorative xmlns:adec="http://schemas.microsoft.com/office/drawing/2017/decorative" val="1"/>
              </a:ext>
            </a:extLst>
          </p:cNvPr>
          <p:cNvSpPr>
            <a:spLocks noChangeShapeType="1"/>
          </p:cNvSpPr>
          <p:nvPr/>
        </p:nvSpPr>
        <p:spPr bwMode="auto">
          <a:xfrm>
            <a:off x="2554785" y="5304961"/>
            <a:ext cx="3962897" cy="0"/>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0" name="Text Box 14">
            <a:extLst>
              <a:ext uri="{FF2B5EF4-FFF2-40B4-BE49-F238E27FC236}">
                <a16:creationId xmlns:a16="http://schemas.microsoft.com/office/drawing/2014/main" id="{ABF2F071-E386-4EC5-AF22-D56F84681A60}"/>
              </a:ext>
            </a:extLst>
          </p:cNvPr>
          <p:cNvSpPr txBox="1">
            <a:spLocks noChangeArrowheads="1"/>
          </p:cNvSpPr>
          <p:nvPr/>
        </p:nvSpPr>
        <p:spPr bwMode="auto">
          <a:xfrm>
            <a:off x="2370849" y="5405505"/>
            <a:ext cx="890088"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Low</a:t>
            </a:r>
          </a:p>
        </p:txBody>
      </p:sp>
      <p:sp>
        <p:nvSpPr>
          <p:cNvPr id="11" name="Text Box 15">
            <a:extLst>
              <a:ext uri="{FF2B5EF4-FFF2-40B4-BE49-F238E27FC236}">
                <a16:creationId xmlns:a16="http://schemas.microsoft.com/office/drawing/2014/main" id="{B0DD6764-933A-4167-B74D-CDD3669A79BD}"/>
              </a:ext>
            </a:extLst>
          </p:cNvPr>
          <p:cNvSpPr txBox="1">
            <a:spLocks noChangeArrowheads="1"/>
          </p:cNvSpPr>
          <p:nvPr/>
        </p:nvSpPr>
        <p:spPr bwMode="auto">
          <a:xfrm>
            <a:off x="4062337" y="5405505"/>
            <a:ext cx="762932"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Med</a:t>
            </a:r>
          </a:p>
        </p:txBody>
      </p:sp>
      <p:sp>
        <p:nvSpPr>
          <p:cNvPr id="9" name="Text Box 13">
            <a:extLst>
              <a:ext uri="{FF2B5EF4-FFF2-40B4-BE49-F238E27FC236}">
                <a16:creationId xmlns:a16="http://schemas.microsoft.com/office/drawing/2014/main" id="{AF68CEC8-71DE-445B-8831-BCDC6106B313}"/>
              </a:ext>
            </a:extLst>
          </p:cNvPr>
          <p:cNvSpPr txBox="1">
            <a:spLocks noChangeArrowheads="1"/>
          </p:cNvSpPr>
          <p:nvPr/>
        </p:nvSpPr>
        <p:spPr bwMode="auto">
          <a:xfrm>
            <a:off x="5547948" y="5405505"/>
            <a:ext cx="859346"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High</a:t>
            </a:r>
          </a:p>
        </p:txBody>
      </p:sp>
      <p:grpSp>
        <p:nvGrpSpPr>
          <p:cNvPr id="12" name="Group 11">
            <a:extLst>
              <a:ext uri="{FF2B5EF4-FFF2-40B4-BE49-F238E27FC236}">
                <a16:creationId xmlns:a16="http://schemas.microsoft.com/office/drawing/2014/main" id="{694F427B-227A-450E-A6D9-B16354E8A228}"/>
              </a:ext>
              <a:ext uri="{C183D7F6-B498-43B3-948B-1728B52AA6E4}">
                <adec:decorative xmlns:adec="http://schemas.microsoft.com/office/drawing/2017/decorative" val="1"/>
              </a:ext>
            </a:extLst>
          </p:cNvPr>
          <p:cNvGrpSpPr/>
          <p:nvPr/>
        </p:nvGrpSpPr>
        <p:grpSpPr>
          <a:xfrm>
            <a:off x="2536836" y="1974642"/>
            <a:ext cx="3666392" cy="3322480"/>
            <a:chOff x="2536836" y="1974642"/>
            <a:chExt cx="3666392" cy="3322480"/>
          </a:xfrm>
        </p:grpSpPr>
        <p:sp>
          <p:nvSpPr>
            <p:cNvPr id="13" name="Line 20">
              <a:extLst>
                <a:ext uri="{FF2B5EF4-FFF2-40B4-BE49-F238E27FC236}">
                  <a16:creationId xmlns:a16="http://schemas.microsoft.com/office/drawing/2014/main" id="{13F13656-5C48-420D-B2A7-72A270F2E34A}"/>
                </a:ext>
              </a:extLst>
            </p:cNvPr>
            <p:cNvSpPr>
              <a:spLocks noChangeShapeType="1"/>
            </p:cNvSpPr>
            <p:nvPr/>
          </p:nvSpPr>
          <p:spPr bwMode="auto">
            <a:xfrm flipV="1">
              <a:off x="3776252" y="1974642"/>
              <a:ext cx="0" cy="3322480"/>
            </a:xfrm>
            <a:prstGeom prst="line">
              <a:avLst/>
            </a:prstGeom>
            <a:noFill/>
            <a:ln w="6350">
              <a:solidFill>
                <a:srgbClr val="96968C">
                  <a:lumMod val="60000"/>
                  <a:lumOff val="40000"/>
                </a:srgbClr>
              </a:solidFill>
              <a:prstDash val="solid"/>
              <a:round/>
              <a:headEnd/>
              <a:tailEnd/>
            </a:ln>
          </p:spPr>
          <p:txBody>
            <a:bodyPr wrap="none" lIns="0" tIns="0" rIns="0" bIns="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4" name="Line 21">
              <a:extLst>
                <a:ext uri="{FF2B5EF4-FFF2-40B4-BE49-F238E27FC236}">
                  <a16:creationId xmlns:a16="http://schemas.microsoft.com/office/drawing/2014/main" id="{5C1A1DBC-6B6B-4595-8848-8DDE27F0A985}"/>
                </a:ext>
              </a:extLst>
            </p:cNvPr>
            <p:cNvSpPr>
              <a:spLocks noChangeShapeType="1"/>
            </p:cNvSpPr>
            <p:nvPr/>
          </p:nvSpPr>
          <p:spPr bwMode="auto">
            <a:xfrm>
              <a:off x="2536836" y="3192319"/>
              <a:ext cx="3666392" cy="0"/>
            </a:xfrm>
            <a:prstGeom prst="line">
              <a:avLst/>
            </a:prstGeom>
            <a:noFill/>
            <a:ln w="6350">
              <a:solidFill>
                <a:srgbClr val="96968C">
                  <a:lumMod val="60000"/>
                  <a:lumOff val="40000"/>
                </a:srgbClr>
              </a:solidFill>
              <a:prstDash val="solid"/>
              <a:round/>
              <a:headEnd/>
              <a:tailEnd/>
            </a:ln>
          </p:spPr>
          <p:txBody>
            <a:bodyPr wrap="none" lIns="0" tIns="0" rIns="0" bIns="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5" name="Line 22">
              <a:extLst>
                <a:ext uri="{FF2B5EF4-FFF2-40B4-BE49-F238E27FC236}">
                  <a16:creationId xmlns:a16="http://schemas.microsoft.com/office/drawing/2014/main" id="{148A29FA-4411-4E2C-B5E0-FA14FC2C0889}"/>
                </a:ext>
              </a:extLst>
            </p:cNvPr>
            <p:cNvSpPr>
              <a:spLocks noChangeShapeType="1"/>
            </p:cNvSpPr>
            <p:nvPr/>
          </p:nvSpPr>
          <p:spPr bwMode="auto">
            <a:xfrm flipV="1">
              <a:off x="5005886" y="1974642"/>
              <a:ext cx="0" cy="3322480"/>
            </a:xfrm>
            <a:prstGeom prst="line">
              <a:avLst/>
            </a:prstGeom>
            <a:noFill/>
            <a:ln w="6350">
              <a:solidFill>
                <a:srgbClr val="96968C">
                  <a:lumMod val="60000"/>
                  <a:lumOff val="40000"/>
                </a:srgbClr>
              </a:solidFill>
              <a:prstDash val="solid"/>
              <a:round/>
              <a:headEnd/>
              <a:tailEnd/>
            </a:ln>
          </p:spPr>
          <p:txBody>
            <a:bodyPr wrap="none" lIns="0" tIns="0" rIns="0" bIns="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6" name="Line 23">
              <a:extLst>
                <a:ext uri="{FF2B5EF4-FFF2-40B4-BE49-F238E27FC236}">
                  <a16:creationId xmlns:a16="http://schemas.microsoft.com/office/drawing/2014/main" id="{C216786B-7679-4E6A-9397-3FAD5DB2B49F}"/>
                </a:ext>
              </a:extLst>
            </p:cNvPr>
            <p:cNvSpPr>
              <a:spLocks noChangeShapeType="1"/>
            </p:cNvSpPr>
            <p:nvPr/>
          </p:nvSpPr>
          <p:spPr bwMode="auto">
            <a:xfrm>
              <a:off x="2536836" y="4237535"/>
              <a:ext cx="3666392" cy="0"/>
            </a:xfrm>
            <a:prstGeom prst="line">
              <a:avLst/>
            </a:prstGeom>
            <a:noFill/>
            <a:ln w="6350">
              <a:solidFill>
                <a:srgbClr val="96968C">
                  <a:lumMod val="60000"/>
                  <a:lumOff val="40000"/>
                </a:srgbClr>
              </a:solidFill>
              <a:prstDash val="solid"/>
              <a:round/>
              <a:headEnd/>
              <a:tailEnd/>
            </a:ln>
          </p:spPr>
          <p:txBody>
            <a:bodyPr wrap="none" lIns="0" tIns="0" rIns="0" bIns="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grpSp>
      <p:sp>
        <p:nvSpPr>
          <p:cNvPr id="39" name="Line 28">
            <a:extLst>
              <a:ext uri="{FF2B5EF4-FFF2-40B4-BE49-F238E27FC236}">
                <a16:creationId xmlns:a16="http://schemas.microsoft.com/office/drawing/2014/main" id="{3B510D25-DB9D-4CA5-BF18-840292626875}"/>
              </a:ext>
              <a:ext uri="{C183D7F6-B498-43B3-948B-1728B52AA6E4}">
                <adec:decorative xmlns:adec="http://schemas.microsoft.com/office/drawing/2017/decorative" val="1"/>
              </a:ext>
            </a:extLst>
          </p:cNvPr>
          <p:cNvSpPr>
            <a:spLocks noChangeShapeType="1"/>
          </p:cNvSpPr>
          <p:nvPr/>
        </p:nvSpPr>
        <p:spPr bwMode="auto">
          <a:xfrm flipV="1">
            <a:off x="2548052" y="1723776"/>
            <a:ext cx="0" cy="3581185"/>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7" name="Text Box 13">
            <a:extLst>
              <a:ext uri="{FF2B5EF4-FFF2-40B4-BE49-F238E27FC236}">
                <a16:creationId xmlns:a16="http://schemas.microsoft.com/office/drawing/2014/main" id="{FF24009F-1317-41EB-B468-5793091EEB5F}"/>
              </a:ext>
            </a:extLst>
          </p:cNvPr>
          <p:cNvSpPr txBox="1">
            <a:spLocks noChangeArrowheads="1"/>
          </p:cNvSpPr>
          <p:nvPr/>
        </p:nvSpPr>
        <p:spPr bwMode="auto">
          <a:xfrm>
            <a:off x="2034442" y="2483370"/>
            <a:ext cx="859346"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High</a:t>
            </a:r>
          </a:p>
        </p:txBody>
      </p:sp>
      <p:sp>
        <p:nvSpPr>
          <p:cNvPr id="19" name="Text Box 15">
            <a:extLst>
              <a:ext uri="{FF2B5EF4-FFF2-40B4-BE49-F238E27FC236}">
                <a16:creationId xmlns:a16="http://schemas.microsoft.com/office/drawing/2014/main" id="{73CB86F9-DD90-455F-BC74-5DE94EDDD66F}"/>
              </a:ext>
            </a:extLst>
          </p:cNvPr>
          <p:cNvSpPr txBox="1">
            <a:spLocks noChangeArrowheads="1"/>
          </p:cNvSpPr>
          <p:nvPr/>
        </p:nvSpPr>
        <p:spPr bwMode="auto">
          <a:xfrm>
            <a:off x="2034442" y="3650113"/>
            <a:ext cx="762932"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Med</a:t>
            </a:r>
          </a:p>
        </p:txBody>
      </p:sp>
      <p:sp>
        <p:nvSpPr>
          <p:cNvPr id="18" name="Text Box 14">
            <a:extLst>
              <a:ext uri="{FF2B5EF4-FFF2-40B4-BE49-F238E27FC236}">
                <a16:creationId xmlns:a16="http://schemas.microsoft.com/office/drawing/2014/main" id="{FE4A006C-B405-41EC-ADEB-7283EC969318}"/>
              </a:ext>
            </a:extLst>
          </p:cNvPr>
          <p:cNvSpPr txBox="1">
            <a:spLocks noChangeArrowheads="1"/>
          </p:cNvSpPr>
          <p:nvPr/>
        </p:nvSpPr>
        <p:spPr bwMode="auto">
          <a:xfrm>
            <a:off x="2034442" y="4684234"/>
            <a:ext cx="890088"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Low</a:t>
            </a:r>
          </a:p>
        </p:txBody>
      </p:sp>
      <p:sp>
        <p:nvSpPr>
          <p:cNvPr id="20" name="Oval 19">
            <a:extLst>
              <a:ext uri="{FF2B5EF4-FFF2-40B4-BE49-F238E27FC236}">
                <a16:creationId xmlns:a16="http://schemas.microsoft.com/office/drawing/2014/main" id="{09F0E292-24A8-493C-B3D2-006DF0948D32}"/>
              </a:ext>
            </a:extLst>
          </p:cNvPr>
          <p:cNvSpPr/>
          <p:nvPr/>
        </p:nvSpPr>
        <p:spPr bwMode="auto">
          <a:xfrm>
            <a:off x="4034294" y="2533330"/>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1</a:t>
            </a:r>
          </a:p>
        </p:txBody>
      </p:sp>
      <p:sp>
        <p:nvSpPr>
          <p:cNvPr id="21" name="Oval 20">
            <a:extLst>
              <a:ext uri="{FF2B5EF4-FFF2-40B4-BE49-F238E27FC236}">
                <a16:creationId xmlns:a16="http://schemas.microsoft.com/office/drawing/2014/main" id="{0EBFC9E9-927F-46D7-AB3A-7D5E77FD6C68}"/>
              </a:ext>
            </a:extLst>
          </p:cNvPr>
          <p:cNvSpPr/>
          <p:nvPr/>
        </p:nvSpPr>
        <p:spPr bwMode="auto">
          <a:xfrm>
            <a:off x="4406177" y="3385939"/>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17</a:t>
            </a:r>
          </a:p>
        </p:txBody>
      </p:sp>
      <p:sp>
        <p:nvSpPr>
          <p:cNvPr id="22" name="Oval 21">
            <a:extLst>
              <a:ext uri="{FF2B5EF4-FFF2-40B4-BE49-F238E27FC236}">
                <a16:creationId xmlns:a16="http://schemas.microsoft.com/office/drawing/2014/main" id="{AE3DADED-90B1-432C-BB28-DC24C40B88C5}"/>
              </a:ext>
            </a:extLst>
          </p:cNvPr>
          <p:cNvSpPr/>
          <p:nvPr/>
        </p:nvSpPr>
        <p:spPr bwMode="auto">
          <a:xfrm>
            <a:off x="2991208" y="2469838"/>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16</a:t>
            </a:r>
          </a:p>
        </p:txBody>
      </p:sp>
      <p:sp>
        <p:nvSpPr>
          <p:cNvPr id="23" name="Oval 22">
            <a:extLst>
              <a:ext uri="{FF2B5EF4-FFF2-40B4-BE49-F238E27FC236}">
                <a16:creationId xmlns:a16="http://schemas.microsoft.com/office/drawing/2014/main" id="{374B338B-DDDF-41C1-9AC0-DCBF039DFD49}"/>
              </a:ext>
            </a:extLst>
          </p:cNvPr>
          <p:cNvSpPr/>
          <p:nvPr/>
        </p:nvSpPr>
        <p:spPr bwMode="auto">
          <a:xfrm>
            <a:off x="4224771" y="4374603"/>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15</a:t>
            </a:r>
          </a:p>
        </p:txBody>
      </p:sp>
      <p:sp>
        <p:nvSpPr>
          <p:cNvPr id="24" name="Oval 23">
            <a:extLst>
              <a:ext uri="{FF2B5EF4-FFF2-40B4-BE49-F238E27FC236}">
                <a16:creationId xmlns:a16="http://schemas.microsoft.com/office/drawing/2014/main" id="{71C8BC1B-4611-445A-A83B-E4D25A24D038}"/>
              </a:ext>
            </a:extLst>
          </p:cNvPr>
          <p:cNvSpPr/>
          <p:nvPr/>
        </p:nvSpPr>
        <p:spPr bwMode="auto">
          <a:xfrm>
            <a:off x="4950396" y="4066213"/>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14</a:t>
            </a:r>
          </a:p>
        </p:txBody>
      </p:sp>
      <p:sp>
        <p:nvSpPr>
          <p:cNvPr id="25" name="Oval 24">
            <a:extLst>
              <a:ext uri="{FF2B5EF4-FFF2-40B4-BE49-F238E27FC236}">
                <a16:creationId xmlns:a16="http://schemas.microsoft.com/office/drawing/2014/main" id="{3CD7E014-BD60-436A-9778-A145F2E56484}"/>
              </a:ext>
            </a:extLst>
          </p:cNvPr>
          <p:cNvSpPr/>
          <p:nvPr/>
        </p:nvSpPr>
        <p:spPr bwMode="auto">
          <a:xfrm>
            <a:off x="3499146" y="3494783"/>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13</a:t>
            </a:r>
          </a:p>
        </p:txBody>
      </p:sp>
      <p:sp>
        <p:nvSpPr>
          <p:cNvPr id="26" name="Oval 25">
            <a:extLst>
              <a:ext uri="{FF2B5EF4-FFF2-40B4-BE49-F238E27FC236}">
                <a16:creationId xmlns:a16="http://schemas.microsoft.com/office/drawing/2014/main" id="{565D8728-F841-48C8-8F82-05486282FD18}"/>
              </a:ext>
            </a:extLst>
          </p:cNvPr>
          <p:cNvSpPr/>
          <p:nvPr/>
        </p:nvSpPr>
        <p:spPr bwMode="auto">
          <a:xfrm>
            <a:off x="5213435" y="2497049"/>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12</a:t>
            </a:r>
          </a:p>
        </p:txBody>
      </p:sp>
      <p:sp>
        <p:nvSpPr>
          <p:cNvPr id="27" name="Oval 26">
            <a:extLst>
              <a:ext uri="{FF2B5EF4-FFF2-40B4-BE49-F238E27FC236}">
                <a16:creationId xmlns:a16="http://schemas.microsoft.com/office/drawing/2014/main" id="{2A622DB6-20F6-4753-9664-E69AD9F7609A}"/>
              </a:ext>
            </a:extLst>
          </p:cNvPr>
          <p:cNvSpPr/>
          <p:nvPr/>
        </p:nvSpPr>
        <p:spPr bwMode="auto">
          <a:xfrm>
            <a:off x="2791661" y="4165986"/>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11</a:t>
            </a:r>
          </a:p>
        </p:txBody>
      </p:sp>
      <p:sp>
        <p:nvSpPr>
          <p:cNvPr id="28" name="Oval 27">
            <a:extLst>
              <a:ext uri="{FF2B5EF4-FFF2-40B4-BE49-F238E27FC236}">
                <a16:creationId xmlns:a16="http://schemas.microsoft.com/office/drawing/2014/main" id="{76C8542C-2B09-4D2C-AE4C-21DF25B98445}"/>
              </a:ext>
            </a:extLst>
          </p:cNvPr>
          <p:cNvSpPr/>
          <p:nvPr/>
        </p:nvSpPr>
        <p:spPr bwMode="auto">
          <a:xfrm>
            <a:off x="5086451" y="3322447"/>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10</a:t>
            </a:r>
          </a:p>
        </p:txBody>
      </p:sp>
      <p:sp>
        <p:nvSpPr>
          <p:cNvPr id="29" name="Oval 28">
            <a:extLst>
              <a:ext uri="{FF2B5EF4-FFF2-40B4-BE49-F238E27FC236}">
                <a16:creationId xmlns:a16="http://schemas.microsoft.com/office/drawing/2014/main" id="{1AEAE969-2D49-42C6-9769-7507A1719C49}"/>
              </a:ext>
            </a:extLst>
          </p:cNvPr>
          <p:cNvSpPr/>
          <p:nvPr/>
        </p:nvSpPr>
        <p:spPr bwMode="auto">
          <a:xfrm>
            <a:off x="2982138" y="3549205"/>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9</a:t>
            </a:r>
          </a:p>
        </p:txBody>
      </p:sp>
      <p:sp>
        <p:nvSpPr>
          <p:cNvPr id="30" name="Oval 29">
            <a:extLst>
              <a:ext uri="{FF2B5EF4-FFF2-40B4-BE49-F238E27FC236}">
                <a16:creationId xmlns:a16="http://schemas.microsoft.com/office/drawing/2014/main" id="{89793218-BF1B-4342-A3D3-6100923E0D8C}"/>
              </a:ext>
            </a:extLst>
          </p:cNvPr>
          <p:cNvSpPr/>
          <p:nvPr/>
        </p:nvSpPr>
        <p:spPr bwMode="auto">
          <a:xfrm>
            <a:off x="4723638" y="2506119"/>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8</a:t>
            </a:r>
          </a:p>
        </p:txBody>
      </p:sp>
      <p:sp>
        <p:nvSpPr>
          <p:cNvPr id="31" name="Oval 30">
            <a:extLst>
              <a:ext uri="{FF2B5EF4-FFF2-40B4-BE49-F238E27FC236}">
                <a16:creationId xmlns:a16="http://schemas.microsoft.com/office/drawing/2014/main" id="{F37CE22A-3A9A-482D-8C40-2CBC46FFA554}"/>
              </a:ext>
            </a:extLst>
          </p:cNvPr>
          <p:cNvSpPr/>
          <p:nvPr/>
        </p:nvSpPr>
        <p:spPr bwMode="auto">
          <a:xfrm>
            <a:off x="3317739" y="2633104"/>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7</a:t>
            </a:r>
          </a:p>
        </p:txBody>
      </p:sp>
      <p:sp>
        <p:nvSpPr>
          <p:cNvPr id="32" name="Oval 31">
            <a:extLst>
              <a:ext uri="{FF2B5EF4-FFF2-40B4-BE49-F238E27FC236}">
                <a16:creationId xmlns:a16="http://schemas.microsoft.com/office/drawing/2014/main" id="{D864CDD0-CC15-4DC4-B632-14F2158B494A}"/>
              </a:ext>
            </a:extLst>
          </p:cNvPr>
          <p:cNvSpPr/>
          <p:nvPr/>
        </p:nvSpPr>
        <p:spPr bwMode="auto">
          <a:xfrm>
            <a:off x="3771255" y="3812244"/>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6</a:t>
            </a:r>
          </a:p>
        </p:txBody>
      </p:sp>
      <p:sp>
        <p:nvSpPr>
          <p:cNvPr id="33" name="Oval 32">
            <a:extLst>
              <a:ext uri="{FF2B5EF4-FFF2-40B4-BE49-F238E27FC236}">
                <a16:creationId xmlns:a16="http://schemas.microsoft.com/office/drawing/2014/main" id="{58D4C505-C6C1-46F4-8290-E1A67703A874}"/>
              </a:ext>
            </a:extLst>
          </p:cNvPr>
          <p:cNvSpPr/>
          <p:nvPr/>
        </p:nvSpPr>
        <p:spPr bwMode="auto">
          <a:xfrm>
            <a:off x="3072841" y="4438095"/>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5</a:t>
            </a:r>
          </a:p>
        </p:txBody>
      </p:sp>
      <p:sp>
        <p:nvSpPr>
          <p:cNvPr id="34" name="Oval 33">
            <a:extLst>
              <a:ext uri="{FF2B5EF4-FFF2-40B4-BE49-F238E27FC236}">
                <a16:creationId xmlns:a16="http://schemas.microsoft.com/office/drawing/2014/main" id="{77D4554D-D296-49F1-A531-71CB88605447}"/>
              </a:ext>
            </a:extLst>
          </p:cNvPr>
          <p:cNvSpPr/>
          <p:nvPr/>
        </p:nvSpPr>
        <p:spPr bwMode="auto">
          <a:xfrm>
            <a:off x="3236106" y="3258955"/>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4</a:t>
            </a:r>
          </a:p>
        </p:txBody>
      </p:sp>
      <p:sp>
        <p:nvSpPr>
          <p:cNvPr id="35" name="Oval 34">
            <a:extLst>
              <a:ext uri="{FF2B5EF4-FFF2-40B4-BE49-F238E27FC236}">
                <a16:creationId xmlns:a16="http://schemas.microsoft.com/office/drawing/2014/main" id="{209B231E-9AB9-4BFF-97F1-7E82BB29F716}"/>
              </a:ext>
            </a:extLst>
          </p:cNvPr>
          <p:cNvSpPr/>
          <p:nvPr/>
        </p:nvSpPr>
        <p:spPr bwMode="auto">
          <a:xfrm>
            <a:off x="4242912" y="2868932"/>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a:ea typeface="+mn-ea"/>
                <a:cs typeface="Arial" pitchFamily="34" charset="0"/>
              </a:rPr>
              <a:t>3</a:t>
            </a:r>
          </a:p>
        </p:txBody>
      </p:sp>
      <p:sp>
        <p:nvSpPr>
          <p:cNvPr id="36" name="Oval 35">
            <a:extLst>
              <a:ext uri="{FF2B5EF4-FFF2-40B4-BE49-F238E27FC236}">
                <a16:creationId xmlns:a16="http://schemas.microsoft.com/office/drawing/2014/main" id="{7A12E4CD-1D92-430D-B3AD-5D6B8F65B119}"/>
              </a:ext>
            </a:extLst>
          </p:cNvPr>
          <p:cNvSpPr/>
          <p:nvPr/>
        </p:nvSpPr>
        <p:spPr bwMode="auto">
          <a:xfrm>
            <a:off x="5086451" y="4329252"/>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2</a:t>
            </a:r>
          </a:p>
        </p:txBody>
      </p:sp>
      <p:sp>
        <p:nvSpPr>
          <p:cNvPr id="37" name="Rectangle 36">
            <a:extLst>
              <a:ext uri="{FF2B5EF4-FFF2-40B4-BE49-F238E27FC236}">
                <a16:creationId xmlns:a16="http://schemas.microsoft.com/office/drawing/2014/main" id="{2958E4B1-CED4-4B28-A69F-9DB8627AF061}"/>
              </a:ext>
            </a:extLst>
          </p:cNvPr>
          <p:cNvSpPr/>
          <p:nvPr/>
        </p:nvSpPr>
        <p:spPr bwMode="auto">
          <a:xfrm>
            <a:off x="8071520" y="1628800"/>
            <a:ext cx="2124236" cy="3919022"/>
          </a:xfrm>
          <a:prstGeom prst="rect">
            <a:avLst/>
          </a:prstGeom>
        </p:spPr>
        <p:txBody>
          <a:bodyPr wrap="square" lIns="0" tIns="0" rIns="0" bIns="0">
            <a:spAutoFit/>
          </a:bodyPr>
          <a:lstStyle/>
          <a:p>
            <a:pPr marL="144000" marR="0" lvl="0" indent="-144000" algn="l" defTabSz="914400" rtl="0" eaLnBrk="0" fontAlgn="auto" latinLnBrk="0" hangingPunct="0">
              <a:lnSpc>
                <a:spcPct val="100000"/>
              </a:lnSpc>
              <a:spcBef>
                <a:spcPts val="200"/>
              </a:spcBef>
              <a:spcAft>
                <a:spcPts val="20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mj-lt"/>
                <a:ea typeface="+mn-ea"/>
                <a:cs typeface="+mn-cs"/>
              </a:rPr>
              <a:t>Opportunities to Explore:</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1</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2</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3</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4</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5</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6</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7</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8</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9</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10</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11</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12</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13</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14</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15</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16</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17</a:t>
            </a:r>
          </a:p>
        </p:txBody>
      </p:sp>
      <p:sp>
        <p:nvSpPr>
          <p:cNvPr id="3" name="Footer Placeholder 2">
            <a:extLst>
              <a:ext uri="{FF2B5EF4-FFF2-40B4-BE49-F238E27FC236}">
                <a16:creationId xmlns:a16="http://schemas.microsoft.com/office/drawing/2014/main" id="{6F5E8828-1117-48B2-BDB2-CB9A8E8BCD0B}"/>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41" name="Slide Number Placeholder 40">
            <a:extLst>
              <a:ext uri="{FF2B5EF4-FFF2-40B4-BE49-F238E27FC236}">
                <a16:creationId xmlns:a16="http://schemas.microsoft.com/office/drawing/2014/main" id="{3143FBC3-2EE6-479B-B82B-0D8E85F5BAE5}"/>
              </a:ext>
            </a:extLst>
          </p:cNvPr>
          <p:cNvSpPr>
            <a:spLocks noGrp="1"/>
          </p:cNvSpPr>
          <p:nvPr>
            <p:ph type="sldNum" sz="quarter" idx="10"/>
          </p:nvPr>
        </p:nvSpPr>
        <p:spPr/>
        <p:txBody>
          <a:bodyPr/>
          <a:lstStyle/>
          <a:p>
            <a:fld id="{1F90F471-3972-4120-B8B3-0237DE626C35}" type="slidenum">
              <a:rPr lang="en-US" smtClean="0"/>
              <a:pPr/>
              <a:t>386</a:t>
            </a:fld>
            <a:endParaRPr lang="en-US" dirty="0"/>
          </a:p>
        </p:txBody>
      </p:sp>
    </p:spTree>
    <p:extLst>
      <p:ext uri="{BB962C8B-B14F-4D97-AF65-F5344CB8AC3E}">
        <p14:creationId xmlns:p14="http://schemas.microsoft.com/office/powerpoint/2010/main" val="3658239858"/>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Prioritization Matrix 2</a:t>
            </a:r>
          </a:p>
        </p:txBody>
      </p:sp>
      <p:sp>
        <p:nvSpPr>
          <p:cNvPr id="2" name="TextBox 1">
            <a:extLst>
              <a:ext uri="{FF2B5EF4-FFF2-40B4-BE49-F238E27FC236}">
                <a16:creationId xmlns:a16="http://schemas.microsoft.com/office/drawing/2014/main" id="{2DFE9CEE-7459-4F1D-9122-BE5D2E74FAE6}"/>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srgbClr val="000000"/>
                </a:solidFill>
                <a:effectLst/>
                <a:uLnTx/>
                <a:uFillTx/>
                <a:ea typeface="宋体" pitchFamily="2" charset="-122"/>
                <a:cs typeface="+mn-cs"/>
              </a:rPr>
              <a:t>After the As Is study Accenture has identified list of initiatives which align to the &lt;Client Name&gt;’s strategic vision of creating a customer focused organization</a:t>
            </a:r>
            <a:endParaRPr kumimoji="0" lang="zh-CN" altLang="en-US" sz="1600" b="0" i="0" u="none" strike="noStrike" kern="1200" cap="none" spc="0" normalizeH="0" baseline="0" noProof="0" dirty="0">
              <a:ln>
                <a:noFill/>
              </a:ln>
              <a:solidFill>
                <a:srgbClr val="000000"/>
              </a:solidFill>
              <a:effectLst/>
              <a:uLnTx/>
              <a:uFillTx/>
              <a:ea typeface="宋体" pitchFamily="2" charset="-122"/>
              <a:cs typeface="+mn-cs"/>
            </a:endParaRPr>
          </a:p>
        </p:txBody>
      </p:sp>
      <p:sp>
        <p:nvSpPr>
          <p:cNvPr id="6" name="Text Box 71">
            <a:extLst>
              <a:ext uri="{FF2B5EF4-FFF2-40B4-BE49-F238E27FC236}">
                <a16:creationId xmlns:a16="http://schemas.microsoft.com/office/drawing/2014/main" id="{81992CB9-38F9-4958-9A07-F561D0CF8BB6}"/>
              </a:ext>
            </a:extLst>
          </p:cNvPr>
          <p:cNvSpPr txBox="1">
            <a:spLocks noChangeArrowheads="1"/>
          </p:cNvSpPr>
          <p:nvPr/>
        </p:nvSpPr>
        <p:spPr bwMode="auto">
          <a:xfrm>
            <a:off x="7730678" y="1789551"/>
            <a:ext cx="3117850" cy="314683"/>
          </a:xfrm>
          <a:prstGeom prst="rect">
            <a:avLst/>
          </a:prstGeom>
          <a:noFill/>
          <a:ln w="6350" algn="ctr">
            <a:noFill/>
            <a:miter lim="800000"/>
            <a:headEnd/>
            <a:tailEnd/>
          </a:ln>
        </p:spPr>
        <p:txBody>
          <a:bodyPr lIns="72000" tIns="72000" rIns="72000" bIns="72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0" cap="none" spc="0" normalizeH="0" baseline="0" noProof="0" dirty="0">
                <a:ln>
                  <a:noFill/>
                </a:ln>
                <a:solidFill>
                  <a:sysClr val="windowText" lastClr="000000"/>
                </a:solidFill>
                <a:effectLst/>
                <a:uLnTx/>
                <a:uFillTx/>
                <a:latin typeface="+mj-lt"/>
                <a:ea typeface="+mn-ea"/>
                <a:cs typeface="+mn-cs"/>
              </a:rPr>
              <a:t>List of projects:</a:t>
            </a:r>
          </a:p>
        </p:txBody>
      </p:sp>
      <p:grpSp>
        <p:nvGrpSpPr>
          <p:cNvPr id="25" name="Group 51" descr="Potential benefits">
            <a:extLst>
              <a:ext uri="{FF2B5EF4-FFF2-40B4-BE49-F238E27FC236}">
                <a16:creationId xmlns:a16="http://schemas.microsoft.com/office/drawing/2014/main" id="{6FABF757-57E2-4B82-BED1-82F2F4BB8321}"/>
              </a:ext>
            </a:extLst>
          </p:cNvPr>
          <p:cNvGrpSpPr/>
          <p:nvPr/>
        </p:nvGrpSpPr>
        <p:grpSpPr bwMode="auto">
          <a:xfrm>
            <a:off x="1991544" y="1828656"/>
            <a:ext cx="5544616" cy="4137359"/>
            <a:chOff x="323528" y="1852571"/>
            <a:chExt cx="5544616" cy="4137359"/>
          </a:xfrm>
        </p:grpSpPr>
        <p:sp>
          <p:nvSpPr>
            <p:cNvPr id="26" name="Arc 29">
              <a:extLst>
                <a:ext uri="{FF2B5EF4-FFF2-40B4-BE49-F238E27FC236}">
                  <a16:creationId xmlns:a16="http://schemas.microsoft.com/office/drawing/2014/main" id="{F8C8D433-BA4D-4A20-923F-0BA80F108813}"/>
                </a:ext>
              </a:extLst>
            </p:cNvPr>
            <p:cNvSpPr>
              <a:spLocks noChangeAspect="1"/>
            </p:cNvSpPr>
            <p:nvPr/>
          </p:nvSpPr>
          <p:spPr bwMode="auto">
            <a:xfrm rot="10800000" flipH="1" flipV="1">
              <a:off x="1172450" y="3372469"/>
              <a:ext cx="3277127" cy="2126868"/>
            </a:xfrm>
            <a:custGeom>
              <a:avLst/>
              <a:gdLst>
                <a:gd name="T0" fmla="*/ 0 w 21600"/>
                <a:gd name="T1" fmla="*/ 0 h 21600"/>
                <a:gd name="T2" fmla="*/ 2183 w 21600"/>
                <a:gd name="T3" fmla="*/ 1685 h 21600"/>
                <a:gd name="T4" fmla="*/ 0 w 21600"/>
                <a:gd name="T5" fmla="*/ 1685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BE82FF">
                <a:lumMod val="20000"/>
                <a:lumOff val="80000"/>
              </a:srgbClr>
            </a:solidFill>
            <a:ln w="28575">
              <a:noFill/>
              <a:round/>
              <a:headEnd/>
              <a:tailEnd/>
            </a:ln>
          </p:spPr>
          <p:txBody>
            <a:bodyPr rot="10800000"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7" name="Arc 30">
              <a:extLst>
                <a:ext uri="{FF2B5EF4-FFF2-40B4-BE49-F238E27FC236}">
                  <a16:creationId xmlns:a16="http://schemas.microsoft.com/office/drawing/2014/main" id="{CBF6DCDF-439D-4DC0-8739-18BDCEC2645E}"/>
                </a:ext>
              </a:extLst>
            </p:cNvPr>
            <p:cNvSpPr>
              <a:spLocks/>
            </p:cNvSpPr>
            <p:nvPr/>
          </p:nvSpPr>
          <p:spPr bwMode="auto">
            <a:xfrm rot="10800000" flipH="1" flipV="1">
              <a:off x="1175419" y="3403542"/>
              <a:ext cx="1901402" cy="2095795"/>
            </a:xfrm>
            <a:custGeom>
              <a:avLst/>
              <a:gdLst>
                <a:gd name="T0" fmla="*/ 15 w 21600"/>
                <a:gd name="T1" fmla="*/ 0 h 21598"/>
                <a:gd name="T2" fmla="*/ 1140 w 21600"/>
                <a:gd name="T3" fmla="*/ 1658 h 21598"/>
                <a:gd name="T4" fmla="*/ 0 w 21600"/>
                <a:gd name="T5" fmla="*/ 1658 h 21598"/>
                <a:gd name="T6" fmla="*/ 0 60000 65536"/>
                <a:gd name="T7" fmla="*/ 0 60000 65536"/>
                <a:gd name="T8" fmla="*/ 0 60000 65536"/>
                <a:gd name="T9" fmla="*/ 0 w 21600"/>
                <a:gd name="T10" fmla="*/ 0 h 21598"/>
                <a:gd name="T11" fmla="*/ 21600 w 21600"/>
                <a:gd name="T12" fmla="*/ 21598 h 21598"/>
                <a:gd name="connsiteX0" fmla="*/ 291 w 21600"/>
                <a:gd name="connsiteY0" fmla="*/ 0 h 21599"/>
                <a:gd name="connsiteX1" fmla="*/ 21600 w 21600"/>
                <a:gd name="connsiteY1" fmla="*/ 21599 h 21599"/>
                <a:gd name="connsiteX0" fmla="*/ 291 w 21600"/>
                <a:gd name="connsiteY0" fmla="*/ 0 h 21599"/>
                <a:gd name="connsiteX1" fmla="*/ 21600 w 21600"/>
                <a:gd name="connsiteY1" fmla="*/ 21599 h 21599"/>
                <a:gd name="connsiteX2" fmla="*/ 0 w 21600"/>
                <a:gd name="connsiteY2" fmla="*/ 21599 h 21599"/>
                <a:gd name="connsiteX3" fmla="*/ 291 w 21600"/>
                <a:gd name="connsiteY3" fmla="*/ 0 h 21599"/>
                <a:gd name="connsiteX0" fmla="*/ 291 w 21600"/>
                <a:gd name="connsiteY0" fmla="*/ 0 h 21599"/>
                <a:gd name="connsiteX1" fmla="*/ 21600 w 21600"/>
                <a:gd name="connsiteY1" fmla="*/ 21599 h 21599"/>
                <a:gd name="connsiteX0" fmla="*/ 291 w 21600"/>
                <a:gd name="connsiteY0" fmla="*/ 0 h 21599"/>
                <a:gd name="connsiteX1" fmla="*/ 21600 w 21600"/>
                <a:gd name="connsiteY1" fmla="*/ 21599 h 21599"/>
                <a:gd name="connsiteX2" fmla="*/ 0 w 21600"/>
                <a:gd name="connsiteY2" fmla="*/ 21599 h 21599"/>
                <a:gd name="connsiteX3" fmla="*/ 291 w 21600"/>
                <a:gd name="connsiteY3" fmla="*/ 0 h 21599"/>
                <a:gd name="connsiteX0" fmla="*/ 291 w 21600"/>
                <a:gd name="connsiteY0" fmla="*/ 0 h 21599"/>
                <a:gd name="connsiteX1" fmla="*/ 21600 w 21600"/>
                <a:gd name="connsiteY1" fmla="*/ 21599 h 21599"/>
                <a:gd name="connsiteX0" fmla="*/ 291 w 21600"/>
                <a:gd name="connsiteY0" fmla="*/ 0 h 21599"/>
                <a:gd name="connsiteX1" fmla="*/ 21600 w 21600"/>
                <a:gd name="connsiteY1" fmla="*/ 21599 h 21599"/>
                <a:gd name="connsiteX2" fmla="*/ 0 w 21600"/>
                <a:gd name="connsiteY2" fmla="*/ 21599 h 21599"/>
                <a:gd name="connsiteX3" fmla="*/ 291 w 21600"/>
                <a:gd name="connsiteY3" fmla="*/ 0 h 21599"/>
                <a:gd name="connsiteX0" fmla="*/ 291 w 21600"/>
                <a:gd name="connsiteY0" fmla="*/ 0 h 21599"/>
                <a:gd name="connsiteX1" fmla="*/ 21600 w 21600"/>
                <a:gd name="connsiteY1" fmla="*/ 21599 h 21599"/>
                <a:gd name="connsiteX0" fmla="*/ 291 w 21600"/>
                <a:gd name="connsiteY0" fmla="*/ 0 h 21599"/>
                <a:gd name="connsiteX1" fmla="*/ 21600 w 21600"/>
                <a:gd name="connsiteY1" fmla="*/ 21599 h 21599"/>
                <a:gd name="connsiteX2" fmla="*/ 0 w 21600"/>
                <a:gd name="connsiteY2" fmla="*/ 21599 h 21599"/>
                <a:gd name="connsiteX3" fmla="*/ 291 w 21600"/>
                <a:gd name="connsiteY3" fmla="*/ 0 h 21599"/>
              </a:gdLst>
              <a:ahLst/>
              <a:cxnLst>
                <a:cxn ang="0">
                  <a:pos x="connsiteX0" y="connsiteY0"/>
                </a:cxn>
                <a:cxn ang="0">
                  <a:pos x="connsiteX1" y="connsiteY1"/>
                </a:cxn>
                <a:cxn ang="0">
                  <a:pos x="connsiteX2" y="connsiteY2"/>
                </a:cxn>
                <a:cxn ang="0">
                  <a:pos x="connsiteX3" y="connsiteY3"/>
                </a:cxn>
              </a:cxnLst>
              <a:rect l="l" t="t" r="r" b="b"/>
              <a:pathLst>
                <a:path w="21600" h="21599" fill="none" extrusionOk="0">
                  <a:moveTo>
                    <a:pt x="291" y="0"/>
                  </a:moveTo>
                  <a:cubicBezTo>
                    <a:pt x="11427" y="193"/>
                    <a:pt x="21600" y="9783"/>
                    <a:pt x="21600" y="21599"/>
                  </a:cubicBezTo>
                </a:path>
                <a:path w="21600" h="21599" stroke="0" extrusionOk="0">
                  <a:moveTo>
                    <a:pt x="291" y="0"/>
                  </a:moveTo>
                  <a:cubicBezTo>
                    <a:pt x="12105" y="160"/>
                    <a:pt x="21600" y="9783"/>
                    <a:pt x="21600" y="21599"/>
                  </a:cubicBezTo>
                  <a:lnTo>
                    <a:pt x="0" y="21599"/>
                  </a:lnTo>
                  <a:cubicBezTo>
                    <a:pt x="97" y="14399"/>
                    <a:pt x="16" y="7200"/>
                    <a:pt x="291" y="0"/>
                  </a:cubicBezTo>
                  <a:close/>
                </a:path>
              </a:pathLst>
            </a:custGeom>
            <a:solidFill>
              <a:srgbClr val="A100FF">
                <a:lumMod val="60000"/>
                <a:lumOff val="40000"/>
              </a:srgbClr>
            </a:solidFill>
            <a:ln w="28575">
              <a:noFill/>
              <a:round/>
              <a:headEnd/>
              <a:tailEnd/>
            </a:ln>
          </p:spPr>
          <p:txBody>
            <a:bodyPr rot="10800000"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sng" strike="noStrike" kern="0" cap="none" spc="0" normalizeH="0" baseline="0" noProof="0" dirty="0">
                <a:ln>
                  <a:noFill/>
                </a:ln>
                <a:solidFill>
                  <a:srgbClr val="808080"/>
                </a:solidFill>
                <a:effectLst/>
                <a:uLnTx/>
                <a:uFillTx/>
                <a:latin typeface="Arial"/>
                <a:ea typeface="+mn-ea"/>
                <a:cs typeface="+mn-cs"/>
              </a:endParaRPr>
            </a:p>
          </p:txBody>
        </p:sp>
        <p:sp>
          <p:nvSpPr>
            <p:cNvPr id="28" name="Rectangle 31">
              <a:extLst>
                <a:ext uri="{FF2B5EF4-FFF2-40B4-BE49-F238E27FC236}">
                  <a16:creationId xmlns:a16="http://schemas.microsoft.com/office/drawing/2014/main" id="{97B74642-7DC6-43B5-9F86-6D28AE47393F}"/>
                </a:ext>
              </a:extLst>
            </p:cNvPr>
            <p:cNvSpPr>
              <a:spLocks noChangeArrowheads="1"/>
            </p:cNvSpPr>
            <p:nvPr/>
          </p:nvSpPr>
          <p:spPr bwMode="auto">
            <a:xfrm>
              <a:off x="1175419" y="2290483"/>
              <a:ext cx="4440697" cy="3208854"/>
            </a:xfrm>
            <a:prstGeom prst="rect">
              <a:avLst/>
            </a:prstGeom>
            <a:noFill/>
            <a:ln w="6350" algn="ctr">
              <a:solidFill>
                <a:srgbClr val="96968C">
                  <a:lumMod val="60000"/>
                  <a:lumOff val="40000"/>
                </a:srgbClr>
              </a:solidFill>
              <a:miter lim="800000"/>
              <a:headEnd/>
              <a:tailEn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9" name="Text Box 32">
              <a:extLst>
                <a:ext uri="{FF2B5EF4-FFF2-40B4-BE49-F238E27FC236}">
                  <a16:creationId xmlns:a16="http://schemas.microsoft.com/office/drawing/2014/main" id="{EE76DAEA-136D-490C-8935-4C5CB76E8831}"/>
                </a:ext>
              </a:extLst>
            </p:cNvPr>
            <p:cNvSpPr txBox="1">
              <a:spLocks noChangeArrowheads="1"/>
            </p:cNvSpPr>
            <p:nvPr/>
          </p:nvSpPr>
          <p:spPr bwMode="auto">
            <a:xfrm>
              <a:off x="2476519" y="5805264"/>
              <a:ext cx="2162451" cy="184666"/>
            </a:xfrm>
            <a:prstGeom prst="rect">
              <a:avLst/>
            </a:prstGeom>
            <a:noFill/>
            <a:ln w="38100" algn="ctr">
              <a:noFill/>
              <a:miter lim="800000"/>
              <a:headEnd/>
              <a:tailEnd/>
            </a:ln>
          </p:spPr>
          <p:txBody>
            <a:bodyPr wrap="none" lIns="0" tIns="0" rIns="0" bIns="0">
              <a:spAutoFit/>
            </a:bodyPr>
            <a:lstStyle/>
            <a:p>
              <a:pPr marL="174625" marR="0" lvl="0" indent="-174625" algn="l"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000000"/>
                  </a:solidFill>
                  <a:effectLst/>
                  <a:uLnTx/>
                  <a:uFillTx/>
                  <a:latin typeface="+mj-lt"/>
                  <a:ea typeface="MS PGothic" pitchFamily="34" charset="-128"/>
                  <a:cs typeface="+mn-cs"/>
                </a:rPr>
                <a:t>Difficulty of Implementation</a:t>
              </a:r>
            </a:p>
          </p:txBody>
        </p:sp>
        <p:sp>
          <p:nvSpPr>
            <p:cNvPr id="30" name="Text Box 33">
              <a:extLst>
                <a:ext uri="{FF2B5EF4-FFF2-40B4-BE49-F238E27FC236}">
                  <a16:creationId xmlns:a16="http://schemas.microsoft.com/office/drawing/2014/main" id="{041E1BDB-F4B7-4AE7-B1D9-320B78487C93}"/>
                </a:ext>
              </a:extLst>
            </p:cNvPr>
            <p:cNvSpPr txBox="1">
              <a:spLocks noChangeArrowheads="1"/>
            </p:cNvSpPr>
            <p:nvPr/>
          </p:nvSpPr>
          <p:spPr bwMode="auto">
            <a:xfrm>
              <a:off x="1656302" y="5526053"/>
              <a:ext cx="252290" cy="248402"/>
            </a:xfrm>
            <a:prstGeom prst="rect">
              <a:avLst/>
            </a:prstGeom>
            <a:noFill/>
            <a:ln w="38100" algn="ctr">
              <a:noFill/>
              <a:miter lim="800000"/>
              <a:headEnd/>
              <a:tailEnd/>
            </a:ln>
          </p:spPr>
          <p:txBody>
            <a:bodyPr wrap="none" lIns="90000" tIns="46800" rIns="90000" bIns="46800">
              <a:spAutoFit/>
            </a:bodyPr>
            <a:lstStyle/>
            <a:p>
              <a:pPr marL="174625" marR="0" lvl="0" indent="-174625" algn="l"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000" b="0" i="0" u="none" strike="noStrike" kern="0" cap="none" spc="0" normalizeH="0" baseline="0" noProof="0" dirty="0">
                  <a:ln>
                    <a:noFill/>
                  </a:ln>
                  <a:solidFill>
                    <a:srgbClr val="000000"/>
                  </a:solidFill>
                  <a:effectLst/>
                  <a:uLnTx/>
                  <a:uFillTx/>
                  <a:ea typeface="MS PGothic" pitchFamily="34" charset="-128"/>
                  <a:cs typeface="+mn-cs"/>
                </a:rPr>
                <a:t>L</a:t>
              </a:r>
            </a:p>
          </p:txBody>
        </p:sp>
        <p:sp>
          <p:nvSpPr>
            <p:cNvPr id="31" name="Text Box 34">
              <a:extLst>
                <a:ext uri="{FF2B5EF4-FFF2-40B4-BE49-F238E27FC236}">
                  <a16:creationId xmlns:a16="http://schemas.microsoft.com/office/drawing/2014/main" id="{1A39264B-827D-4728-8F8F-9D80351F1166}"/>
                </a:ext>
              </a:extLst>
            </p:cNvPr>
            <p:cNvSpPr txBox="1">
              <a:spLocks noChangeArrowheads="1"/>
            </p:cNvSpPr>
            <p:nvPr/>
          </p:nvSpPr>
          <p:spPr bwMode="auto">
            <a:xfrm>
              <a:off x="3248855" y="5526053"/>
              <a:ext cx="292366" cy="248402"/>
            </a:xfrm>
            <a:prstGeom prst="rect">
              <a:avLst/>
            </a:prstGeom>
            <a:noFill/>
            <a:ln w="38100" algn="ctr">
              <a:noFill/>
              <a:miter lim="800000"/>
              <a:headEnd/>
              <a:tailEnd/>
            </a:ln>
          </p:spPr>
          <p:txBody>
            <a:bodyPr wrap="none" lIns="90000" tIns="46800" rIns="90000" bIns="46800">
              <a:spAutoFit/>
            </a:bodyPr>
            <a:lstStyle/>
            <a:p>
              <a:pPr marL="174625" marR="0" lvl="0" indent="-174625" algn="l"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000" b="0" i="0" u="none" strike="noStrike" kern="0" cap="none" spc="0" normalizeH="0" baseline="0" noProof="0" dirty="0">
                  <a:ln>
                    <a:noFill/>
                  </a:ln>
                  <a:solidFill>
                    <a:srgbClr val="000000"/>
                  </a:solidFill>
                  <a:effectLst/>
                  <a:uLnTx/>
                  <a:uFillTx/>
                  <a:ea typeface="MS PGothic" pitchFamily="34" charset="-128"/>
                  <a:cs typeface="+mn-cs"/>
                </a:rPr>
                <a:t>M</a:t>
              </a:r>
            </a:p>
          </p:txBody>
        </p:sp>
        <p:sp>
          <p:nvSpPr>
            <p:cNvPr id="32" name="Text Box 35">
              <a:extLst>
                <a:ext uri="{FF2B5EF4-FFF2-40B4-BE49-F238E27FC236}">
                  <a16:creationId xmlns:a16="http://schemas.microsoft.com/office/drawing/2014/main" id="{F1FD2626-9EA6-4F25-8289-59E4092819AE}"/>
                </a:ext>
              </a:extLst>
            </p:cNvPr>
            <p:cNvSpPr txBox="1">
              <a:spLocks noChangeArrowheads="1"/>
            </p:cNvSpPr>
            <p:nvPr/>
          </p:nvSpPr>
          <p:spPr bwMode="auto">
            <a:xfrm>
              <a:off x="4994282" y="5526053"/>
              <a:ext cx="274732" cy="248402"/>
            </a:xfrm>
            <a:prstGeom prst="rect">
              <a:avLst/>
            </a:prstGeom>
            <a:noFill/>
            <a:ln w="38100" algn="ctr">
              <a:noFill/>
              <a:miter lim="800000"/>
              <a:headEnd/>
              <a:tailEnd/>
            </a:ln>
          </p:spPr>
          <p:txBody>
            <a:bodyPr wrap="none" lIns="90000" tIns="46800" rIns="90000" bIns="46800">
              <a:spAutoFit/>
            </a:bodyPr>
            <a:lstStyle/>
            <a:p>
              <a:pPr marL="174625" marR="0" lvl="0" indent="-174625" algn="l"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000" b="0" i="0" u="none" strike="noStrike" kern="0" cap="none" spc="0" normalizeH="0" baseline="0" noProof="0" dirty="0">
                  <a:ln>
                    <a:noFill/>
                  </a:ln>
                  <a:solidFill>
                    <a:srgbClr val="000000"/>
                  </a:solidFill>
                  <a:effectLst/>
                  <a:uLnTx/>
                  <a:uFillTx/>
                  <a:ea typeface="MS PGothic" pitchFamily="34" charset="-128"/>
                  <a:cs typeface="+mn-cs"/>
                </a:rPr>
                <a:t>H</a:t>
              </a:r>
            </a:p>
          </p:txBody>
        </p:sp>
        <p:sp>
          <p:nvSpPr>
            <p:cNvPr id="33" name="Text Box 36">
              <a:extLst>
                <a:ext uri="{FF2B5EF4-FFF2-40B4-BE49-F238E27FC236}">
                  <a16:creationId xmlns:a16="http://schemas.microsoft.com/office/drawing/2014/main" id="{D2A848EA-F027-407C-8E17-913D3DACFE35}"/>
                </a:ext>
              </a:extLst>
            </p:cNvPr>
            <p:cNvSpPr txBox="1">
              <a:spLocks noChangeArrowheads="1"/>
            </p:cNvSpPr>
            <p:nvPr/>
          </p:nvSpPr>
          <p:spPr bwMode="auto">
            <a:xfrm>
              <a:off x="869008" y="4758718"/>
              <a:ext cx="252290" cy="248402"/>
            </a:xfrm>
            <a:prstGeom prst="rect">
              <a:avLst/>
            </a:prstGeom>
            <a:noFill/>
            <a:ln w="38100" algn="ctr">
              <a:noFill/>
              <a:miter lim="800000"/>
              <a:headEnd/>
              <a:tailEnd/>
            </a:ln>
          </p:spPr>
          <p:txBody>
            <a:bodyPr wrap="none" lIns="90000" tIns="46800" rIns="90000" bIns="46800">
              <a:spAutoFit/>
            </a:bodyPr>
            <a:lstStyle/>
            <a:p>
              <a:pPr marL="174625" marR="0" lvl="0" indent="-174625" algn="l"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000" b="0" i="0" u="none" strike="noStrike" kern="0" cap="none" spc="0" normalizeH="0" baseline="0" noProof="0" dirty="0">
                  <a:ln>
                    <a:noFill/>
                  </a:ln>
                  <a:solidFill>
                    <a:srgbClr val="000000"/>
                  </a:solidFill>
                  <a:effectLst/>
                  <a:uLnTx/>
                  <a:uFillTx/>
                  <a:ea typeface="MS PGothic" pitchFamily="34" charset="-128"/>
                  <a:cs typeface="+mn-cs"/>
                </a:rPr>
                <a:t>L</a:t>
              </a:r>
            </a:p>
          </p:txBody>
        </p:sp>
        <p:sp>
          <p:nvSpPr>
            <p:cNvPr id="34" name="Text Box 37">
              <a:extLst>
                <a:ext uri="{FF2B5EF4-FFF2-40B4-BE49-F238E27FC236}">
                  <a16:creationId xmlns:a16="http://schemas.microsoft.com/office/drawing/2014/main" id="{547FFDE5-7975-46FA-9B7F-D9B45ADBDB76}"/>
                </a:ext>
              </a:extLst>
            </p:cNvPr>
            <p:cNvSpPr txBox="1">
              <a:spLocks noChangeArrowheads="1"/>
            </p:cNvSpPr>
            <p:nvPr/>
          </p:nvSpPr>
          <p:spPr bwMode="auto">
            <a:xfrm>
              <a:off x="869008" y="2714966"/>
              <a:ext cx="274732" cy="248402"/>
            </a:xfrm>
            <a:prstGeom prst="rect">
              <a:avLst/>
            </a:prstGeom>
            <a:noFill/>
            <a:ln w="38100" algn="ctr">
              <a:noFill/>
              <a:miter lim="800000"/>
              <a:headEnd/>
              <a:tailEnd/>
            </a:ln>
          </p:spPr>
          <p:txBody>
            <a:bodyPr wrap="none" lIns="90000" tIns="46800" rIns="90000" bIns="46800">
              <a:spAutoFit/>
            </a:bodyPr>
            <a:lstStyle/>
            <a:p>
              <a:pPr marL="174625" marR="0" lvl="0" indent="-174625" algn="l"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000" b="0" i="0" u="none" strike="noStrike" kern="0" cap="none" spc="0" normalizeH="0" baseline="0" noProof="0" dirty="0">
                  <a:ln>
                    <a:noFill/>
                  </a:ln>
                  <a:solidFill>
                    <a:srgbClr val="000000"/>
                  </a:solidFill>
                  <a:effectLst/>
                  <a:uLnTx/>
                  <a:uFillTx/>
                  <a:ea typeface="MS PGothic" pitchFamily="34" charset="-128"/>
                  <a:cs typeface="+mn-cs"/>
                </a:rPr>
                <a:t>H</a:t>
              </a:r>
            </a:p>
          </p:txBody>
        </p:sp>
        <p:sp>
          <p:nvSpPr>
            <p:cNvPr id="35" name="Line 40">
              <a:extLst>
                <a:ext uri="{FF2B5EF4-FFF2-40B4-BE49-F238E27FC236}">
                  <a16:creationId xmlns:a16="http://schemas.microsoft.com/office/drawing/2014/main" id="{938C47F6-915D-438F-AFC5-FCFF0E33C09E}"/>
                </a:ext>
              </a:extLst>
            </p:cNvPr>
            <p:cNvSpPr>
              <a:spLocks noChangeShapeType="1"/>
            </p:cNvSpPr>
            <p:nvPr/>
          </p:nvSpPr>
          <p:spPr bwMode="auto">
            <a:xfrm>
              <a:off x="2621035" y="2290484"/>
              <a:ext cx="0" cy="3208854"/>
            </a:xfrm>
            <a:prstGeom prst="line">
              <a:avLst/>
            </a:prstGeom>
            <a:noFill/>
            <a:ln w="6350">
              <a:solidFill>
                <a:srgbClr val="96968C">
                  <a:lumMod val="60000"/>
                  <a:lumOff val="40000"/>
                </a:srgbClr>
              </a:solidFill>
              <a:prstDash val="solid"/>
              <a:round/>
              <a:headEnd/>
              <a:tailEn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6" name="Line 41">
              <a:extLst>
                <a:ext uri="{FF2B5EF4-FFF2-40B4-BE49-F238E27FC236}">
                  <a16:creationId xmlns:a16="http://schemas.microsoft.com/office/drawing/2014/main" id="{4FB4B8A9-9009-4604-86B2-7E31E6CC1304}"/>
                </a:ext>
              </a:extLst>
            </p:cNvPr>
            <p:cNvSpPr>
              <a:spLocks noChangeShapeType="1"/>
            </p:cNvSpPr>
            <p:nvPr/>
          </p:nvSpPr>
          <p:spPr bwMode="auto">
            <a:xfrm>
              <a:off x="4123052" y="2290484"/>
              <a:ext cx="0" cy="3208854"/>
            </a:xfrm>
            <a:prstGeom prst="line">
              <a:avLst/>
            </a:prstGeom>
            <a:noFill/>
            <a:ln w="6350">
              <a:solidFill>
                <a:srgbClr val="96968C">
                  <a:lumMod val="60000"/>
                  <a:lumOff val="40000"/>
                </a:srgbClr>
              </a:solidFill>
              <a:prstDash val="solid"/>
              <a:round/>
              <a:headEnd/>
              <a:tailEn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7" name="Line 42">
              <a:extLst>
                <a:ext uri="{FF2B5EF4-FFF2-40B4-BE49-F238E27FC236}">
                  <a16:creationId xmlns:a16="http://schemas.microsoft.com/office/drawing/2014/main" id="{1B067EED-4566-4316-8AB5-F0C167CD7244}"/>
                </a:ext>
              </a:extLst>
            </p:cNvPr>
            <p:cNvSpPr>
              <a:spLocks noChangeShapeType="1"/>
            </p:cNvSpPr>
            <p:nvPr/>
          </p:nvSpPr>
          <p:spPr bwMode="auto">
            <a:xfrm>
              <a:off x="1175419" y="3354659"/>
              <a:ext cx="4440697" cy="0"/>
            </a:xfrm>
            <a:prstGeom prst="line">
              <a:avLst/>
            </a:prstGeom>
            <a:noFill/>
            <a:ln w="6350">
              <a:solidFill>
                <a:srgbClr val="96968C">
                  <a:lumMod val="60000"/>
                  <a:lumOff val="40000"/>
                </a:srgbClr>
              </a:solidFill>
              <a:prstDash val="solid"/>
              <a:round/>
              <a:headEnd/>
              <a:tailEn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8" name="Line 43">
              <a:extLst>
                <a:ext uri="{FF2B5EF4-FFF2-40B4-BE49-F238E27FC236}">
                  <a16:creationId xmlns:a16="http://schemas.microsoft.com/office/drawing/2014/main" id="{C432776A-409C-43F5-B6AB-ED3F98F64F7A}"/>
                </a:ext>
              </a:extLst>
            </p:cNvPr>
            <p:cNvSpPr>
              <a:spLocks noChangeShapeType="1"/>
            </p:cNvSpPr>
            <p:nvPr/>
          </p:nvSpPr>
          <p:spPr bwMode="auto">
            <a:xfrm>
              <a:off x="1175419" y="4418835"/>
              <a:ext cx="4440697" cy="0"/>
            </a:xfrm>
            <a:prstGeom prst="line">
              <a:avLst/>
            </a:prstGeom>
            <a:noFill/>
            <a:ln w="6350">
              <a:solidFill>
                <a:srgbClr val="96968C">
                  <a:lumMod val="60000"/>
                  <a:lumOff val="40000"/>
                </a:srgbClr>
              </a:solidFill>
              <a:prstDash val="solid"/>
              <a:round/>
              <a:headEnd/>
              <a:tailEn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9" name="Text Box 44">
              <a:extLst>
                <a:ext uri="{FF2B5EF4-FFF2-40B4-BE49-F238E27FC236}">
                  <a16:creationId xmlns:a16="http://schemas.microsoft.com/office/drawing/2014/main" id="{5BF04AC3-4F39-492B-8D08-D8A52660A5D2}"/>
                </a:ext>
              </a:extLst>
            </p:cNvPr>
            <p:cNvSpPr txBox="1">
              <a:spLocks noChangeArrowheads="1"/>
            </p:cNvSpPr>
            <p:nvPr/>
          </p:nvSpPr>
          <p:spPr bwMode="auto">
            <a:xfrm>
              <a:off x="869008" y="3737584"/>
              <a:ext cx="292366" cy="248402"/>
            </a:xfrm>
            <a:prstGeom prst="rect">
              <a:avLst/>
            </a:prstGeom>
            <a:noFill/>
            <a:ln w="38100" algn="ctr">
              <a:noFill/>
              <a:miter lim="800000"/>
              <a:headEnd/>
              <a:tailEnd/>
            </a:ln>
          </p:spPr>
          <p:txBody>
            <a:bodyPr wrap="none" lIns="90000" tIns="46800" rIns="90000" bIns="46800">
              <a:spAutoFit/>
            </a:bodyPr>
            <a:lstStyle/>
            <a:p>
              <a:pPr marL="174625" marR="0" lvl="0" indent="-174625" algn="l"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000" b="0" i="0" u="none" strike="noStrike" kern="0" cap="none" spc="0" normalizeH="0" baseline="0" noProof="0" dirty="0">
                  <a:ln>
                    <a:noFill/>
                  </a:ln>
                  <a:solidFill>
                    <a:srgbClr val="000000"/>
                  </a:solidFill>
                  <a:effectLst/>
                  <a:uLnTx/>
                  <a:uFillTx/>
                  <a:ea typeface="MS PGothic" pitchFamily="34" charset="-128"/>
                  <a:cs typeface="+mn-cs"/>
                </a:rPr>
                <a:t>M</a:t>
              </a:r>
            </a:p>
          </p:txBody>
        </p:sp>
        <p:sp>
          <p:nvSpPr>
            <p:cNvPr id="40" name="Text Box 45">
              <a:extLst>
                <a:ext uri="{FF2B5EF4-FFF2-40B4-BE49-F238E27FC236}">
                  <a16:creationId xmlns:a16="http://schemas.microsoft.com/office/drawing/2014/main" id="{796FB450-88EB-48BD-AC89-882449190871}"/>
                </a:ext>
              </a:extLst>
            </p:cNvPr>
            <p:cNvSpPr txBox="1">
              <a:spLocks noChangeArrowheads="1"/>
            </p:cNvSpPr>
            <p:nvPr/>
          </p:nvSpPr>
          <p:spPr bwMode="auto">
            <a:xfrm>
              <a:off x="2668530" y="2290483"/>
              <a:ext cx="1258607" cy="246221"/>
            </a:xfrm>
            <a:prstGeom prst="rect">
              <a:avLst/>
            </a:prstGeom>
            <a:noFill/>
            <a:ln w="9525">
              <a:noFill/>
              <a:miter lim="800000"/>
              <a:headEnd/>
              <a:tailEnd/>
            </a:ln>
          </p:spPr>
          <p:txBody>
            <a:bodyPr>
              <a:spAutoFit/>
            </a:bodyPr>
            <a:lstStyle/>
            <a:p>
              <a:pPr marL="0" marR="0" lvl="0" indent="0" algn="r" defTabSz="914400" rtl="0" eaLnBrk="1" fontAlgn="auto" latinLnBrk="0" hangingPunct="1">
                <a:lnSpc>
                  <a:spcPct val="100000"/>
                </a:lnSpc>
                <a:spcBef>
                  <a:spcPct val="60000"/>
                </a:spcBef>
                <a:spcAft>
                  <a:spcPts val="0"/>
                </a:spcAft>
                <a:buClrTx/>
                <a:buSzTx/>
                <a:buFontTx/>
                <a:buNone/>
                <a:tabLst/>
                <a:defRPr/>
              </a:pPr>
              <a:r>
                <a:rPr kumimoji="0" lang="en-US" sz="1000" b="1" i="0" u="none" strike="noStrike" kern="0" cap="none" spc="0" normalizeH="0" baseline="0" noProof="0" dirty="0">
                  <a:ln>
                    <a:noFill/>
                  </a:ln>
                  <a:solidFill>
                    <a:srgbClr val="DCAFFF"/>
                  </a:solidFill>
                  <a:effectLst/>
                  <a:uLnTx/>
                  <a:uFillTx/>
                  <a:latin typeface="+mj-lt"/>
                  <a:ea typeface="+mn-ea"/>
                  <a:cs typeface="+mn-cs"/>
                </a:rPr>
                <a:t>Medium Term</a:t>
              </a:r>
            </a:p>
          </p:txBody>
        </p:sp>
        <p:sp>
          <p:nvSpPr>
            <p:cNvPr id="41" name="Text Box 46">
              <a:extLst>
                <a:ext uri="{FF2B5EF4-FFF2-40B4-BE49-F238E27FC236}">
                  <a16:creationId xmlns:a16="http://schemas.microsoft.com/office/drawing/2014/main" id="{8689C061-3535-4D1D-A5EB-984C13B208A0}"/>
                </a:ext>
              </a:extLst>
            </p:cNvPr>
            <p:cNvSpPr txBox="1">
              <a:spLocks noChangeArrowheads="1"/>
            </p:cNvSpPr>
            <p:nvPr/>
          </p:nvSpPr>
          <p:spPr bwMode="auto">
            <a:xfrm>
              <a:off x="1435155" y="2291967"/>
              <a:ext cx="948407" cy="246221"/>
            </a:xfrm>
            <a:prstGeom prst="rect">
              <a:avLst/>
            </a:prstGeom>
            <a:noFill/>
            <a:ln w="9525" algn="ctr">
              <a:noFill/>
              <a:miter lim="800000"/>
              <a:headEnd/>
              <a:tailEnd/>
            </a:ln>
          </p:spPr>
          <p:txBody>
            <a:bodyPr>
              <a:spAutoFit/>
            </a:bodyPr>
            <a:lstStyle/>
            <a:p>
              <a:pPr marL="0" marR="0" lvl="0" indent="0" algn="l" defTabSz="914400" rtl="0" eaLnBrk="1" fontAlgn="auto" latinLnBrk="0" hangingPunct="1">
                <a:lnSpc>
                  <a:spcPct val="100000"/>
                </a:lnSpc>
                <a:spcBef>
                  <a:spcPct val="60000"/>
                </a:spcBef>
                <a:spcAft>
                  <a:spcPts val="0"/>
                </a:spcAft>
                <a:buClrTx/>
                <a:buSzTx/>
                <a:buFontTx/>
                <a:buNone/>
                <a:tabLst/>
                <a:defRPr/>
              </a:pPr>
              <a:r>
                <a:rPr kumimoji="0" lang="en-US" sz="1000" b="1" i="0" u="none" strike="noStrike" kern="0" cap="none" spc="0" normalizeH="0" baseline="0" noProof="0" dirty="0">
                  <a:ln>
                    <a:noFill/>
                  </a:ln>
                  <a:solidFill>
                    <a:srgbClr val="DCAFFF"/>
                  </a:solidFill>
                  <a:effectLst/>
                  <a:uLnTx/>
                  <a:uFillTx/>
                  <a:latin typeface="+mj-lt"/>
                  <a:ea typeface="+mn-ea"/>
                  <a:cs typeface="+mn-cs"/>
                </a:rPr>
                <a:t>Quick Win</a:t>
              </a:r>
            </a:p>
          </p:txBody>
        </p:sp>
        <p:sp>
          <p:nvSpPr>
            <p:cNvPr id="42" name="Text Box 47">
              <a:extLst>
                <a:ext uri="{FF2B5EF4-FFF2-40B4-BE49-F238E27FC236}">
                  <a16:creationId xmlns:a16="http://schemas.microsoft.com/office/drawing/2014/main" id="{F3E06895-AF09-47BF-9E8E-807B9417DA39}"/>
                </a:ext>
              </a:extLst>
            </p:cNvPr>
            <p:cNvSpPr txBox="1">
              <a:spLocks noChangeArrowheads="1"/>
            </p:cNvSpPr>
            <p:nvPr/>
          </p:nvSpPr>
          <p:spPr bwMode="auto">
            <a:xfrm>
              <a:off x="4520819" y="2291967"/>
              <a:ext cx="926145" cy="246221"/>
            </a:xfrm>
            <a:prstGeom prst="rect">
              <a:avLst/>
            </a:prstGeom>
            <a:noFill/>
            <a:ln w="9525" algn="ctr">
              <a:noFill/>
              <a:miter lim="800000"/>
              <a:headEnd/>
              <a:tailEnd/>
            </a:ln>
          </p:spPr>
          <p:txBody>
            <a:bodyPr>
              <a:spAutoFit/>
            </a:bodyPr>
            <a:lstStyle/>
            <a:p>
              <a:pPr marL="0" marR="0" lvl="0" indent="0" algn="l" defTabSz="914400" rtl="0" eaLnBrk="1" fontAlgn="auto" latinLnBrk="0" hangingPunct="1">
                <a:lnSpc>
                  <a:spcPct val="100000"/>
                </a:lnSpc>
                <a:spcBef>
                  <a:spcPct val="60000"/>
                </a:spcBef>
                <a:spcAft>
                  <a:spcPts val="0"/>
                </a:spcAft>
                <a:buClrTx/>
                <a:buSzTx/>
                <a:buFontTx/>
                <a:buNone/>
                <a:tabLst/>
                <a:defRPr/>
              </a:pPr>
              <a:r>
                <a:rPr kumimoji="0" lang="en-US" sz="1000" b="1" i="0" u="none" strike="noStrike" kern="0" cap="none" spc="0" normalizeH="0" baseline="0" noProof="0" dirty="0">
                  <a:ln>
                    <a:noFill/>
                  </a:ln>
                  <a:solidFill>
                    <a:srgbClr val="DCAFFF"/>
                  </a:solidFill>
                  <a:effectLst/>
                  <a:uLnTx/>
                  <a:uFillTx/>
                  <a:latin typeface="+mj-lt"/>
                  <a:ea typeface="+mn-ea"/>
                  <a:cs typeface="+mn-cs"/>
                </a:rPr>
                <a:t>Long Term</a:t>
              </a:r>
            </a:p>
          </p:txBody>
        </p:sp>
        <p:sp>
          <p:nvSpPr>
            <p:cNvPr id="43" name="Oval 3">
              <a:extLst>
                <a:ext uri="{FF2B5EF4-FFF2-40B4-BE49-F238E27FC236}">
                  <a16:creationId xmlns:a16="http://schemas.microsoft.com/office/drawing/2014/main" id="{E164C641-9B72-42A2-9147-2766FBA185AA}"/>
                </a:ext>
              </a:extLst>
            </p:cNvPr>
            <p:cNvSpPr>
              <a:spLocks noChangeArrowheads="1"/>
            </p:cNvSpPr>
            <p:nvPr/>
          </p:nvSpPr>
          <p:spPr bwMode="auto">
            <a:xfrm>
              <a:off x="1314934" y="3930530"/>
              <a:ext cx="216000" cy="216000"/>
            </a:xfrm>
            <a:prstGeom prst="ellipse">
              <a:avLst/>
            </a:prstGeom>
            <a:solidFill>
              <a:schemeClr val="accent3"/>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mj-lt"/>
                  <a:ea typeface="MS PGothic" pitchFamily="34" charset="-128"/>
                  <a:cs typeface="+mn-cs"/>
                </a:rPr>
                <a:t>1</a:t>
              </a:r>
            </a:p>
          </p:txBody>
        </p:sp>
        <p:sp>
          <p:nvSpPr>
            <p:cNvPr id="44" name="Oval 3">
              <a:extLst>
                <a:ext uri="{FF2B5EF4-FFF2-40B4-BE49-F238E27FC236}">
                  <a16:creationId xmlns:a16="http://schemas.microsoft.com/office/drawing/2014/main" id="{942796EE-FB21-44CD-B860-9F332B6B0CCA}"/>
                </a:ext>
              </a:extLst>
            </p:cNvPr>
            <p:cNvSpPr>
              <a:spLocks noChangeArrowheads="1"/>
            </p:cNvSpPr>
            <p:nvPr/>
          </p:nvSpPr>
          <p:spPr bwMode="auto">
            <a:xfrm>
              <a:off x="1742385" y="3930530"/>
              <a:ext cx="216000" cy="216000"/>
            </a:xfrm>
            <a:prstGeom prst="ellipse">
              <a:avLst/>
            </a:prstGeom>
            <a:solidFill>
              <a:schemeClr val="accent3"/>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mj-lt"/>
                  <a:ea typeface="MS PGothic" pitchFamily="34" charset="-128"/>
                  <a:cs typeface="+mn-cs"/>
                </a:rPr>
                <a:t>2</a:t>
              </a:r>
            </a:p>
          </p:txBody>
        </p:sp>
        <p:sp>
          <p:nvSpPr>
            <p:cNvPr id="45" name="Oval 3">
              <a:extLst>
                <a:ext uri="{FF2B5EF4-FFF2-40B4-BE49-F238E27FC236}">
                  <a16:creationId xmlns:a16="http://schemas.microsoft.com/office/drawing/2014/main" id="{F74ABC8F-F1DB-4DFA-A2CA-5B94FE84490C}"/>
                </a:ext>
              </a:extLst>
            </p:cNvPr>
            <p:cNvSpPr>
              <a:spLocks noChangeArrowheads="1"/>
            </p:cNvSpPr>
            <p:nvPr/>
          </p:nvSpPr>
          <p:spPr bwMode="auto">
            <a:xfrm>
              <a:off x="1671143" y="4856675"/>
              <a:ext cx="216000" cy="216000"/>
            </a:xfrm>
            <a:prstGeom prst="ellipse">
              <a:avLst/>
            </a:prstGeom>
            <a:solidFill>
              <a:schemeClr val="accent3"/>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mj-lt"/>
                  <a:ea typeface="MS PGothic" pitchFamily="34" charset="-128"/>
                  <a:cs typeface="+mn-cs"/>
                </a:rPr>
                <a:t>4</a:t>
              </a:r>
            </a:p>
          </p:txBody>
        </p:sp>
        <p:sp>
          <p:nvSpPr>
            <p:cNvPr id="46" name="Oval 3">
              <a:extLst>
                <a:ext uri="{FF2B5EF4-FFF2-40B4-BE49-F238E27FC236}">
                  <a16:creationId xmlns:a16="http://schemas.microsoft.com/office/drawing/2014/main" id="{A9F23779-F669-4AEE-B7FB-73C0267E3A2F}"/>
                </a:ext>
              </a:extLst>
            </p:cNvPr>
            <p:cNvSpPr>
              <a:spLocks noChangeArrowheads="1"/>
            </p:cNvSpPr>
            <p:nvPr/>
          </p:nvSpPr>
          <p:spPr bwMode="auto">
            <a:xfrm>
              <a:off x="2383562" y="3716804"/>
              <a:ext cx="216000" cy="216000"/>
            </a:xfrm>
            <a:prstGeom prst="ellipse">
              <a:avLst/>
            </a:prstGeom>
            <a:solidFill>
              <a:schemeClr val="accent3"/>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mj-lt"/>
                  <a:ea typeface="MS PGothic" pitchFamily="34" charset="-128"/>
                  <a:cs typeface="+mn-cs"/>
                </a:rPr>
                <a:t>3</a:t>
              </a:r>
            </a:p>
          </p:txBody>
        </p:sp>
        <p:sp>
          <p:nvSpPr>
            <p:cNvPr id="47" name="Oval 3">
              <a:extLst>
                <a:ext uri="{FF2B5EF4-FFF2-40B4-BE49-F238E27FC236}">
                  <a16:creationId xmlns:a16="http://schemas.microsoft.com/office/drawing/2014/main" id="{21F15E10-A01F-43FF-A363-77276EE496D6}"/>
                </a:ext>
              </a:extLst>
            </p:cNvPr>
            <p:cNvSpPr>
              <a:spLocks noChangeArrowheads="1"/>
            </p:cNvSpPr>
            <p:nvPr/>
          </p:nvSpPr>
          <p:spPr bwMode="auto">
            <a:xfrm>
              <a:off x="2785783" y="2719418"/>
              <a:ext cx="216000" cy="216000"/>
            </a:xfrm>
            <a:prstGeom prst="ellipse">
              <a:avLst/>
            </a:prstGeom>
            <a:solidFill>
              <a:srgbClr val="A100FF"/>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mj-lt"/>
                  <a:ea typeface="MS PGothic" pitchFamily="34" charset="-128"/>
                  <a:cs typeface="+mn-cs"/>
                </a:rPr>
                <a:t>5</a:t>
              </a:r>
            </a:p>
          </p:txBody>
        </p:sp>
        <p:sp>
          <p:nvSpPr>
            <p:cNvPr id="48" name="Oval 3">
              <a:extLst>
                <a:ext uri="{FF2B5EF4-FFF2-40B4-BE49-F238E27FC236}">
                  <a16:creationId xmlns:a16="http://schemas.microsoft.com/office/drawing/2014/main" id="{87083849-971A-473A-B67A-9689E6727776}"/>
                </a:ext>
              </a:extLst>
            </p:cNvPr>
            <p:cNvSpPr>
              <a:spLocks noChangeArrowheads="1"/>
            </p:cNvSpPr>
            <p:nvPr/>
          </p:nvSpPr>
          <p:spPr bwMode="auto">
            <a:xfrm>
              <a:off x="3523433" y="4163551"/>
              <a:ext cx="216000" cy="216000"/>
            </a:xfrm>
            <a:prstGeom prst="ellipse">
              <a:avLst/>
            </a:prstGeom>
            <a:solidFill>
              <a:schemeClr val="accent3"/>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mj-lt"/>
                  <a:ea typeface="MS PGothic" pitchFamily="34" charset="-128"/>
                  <a:cs typeface="+mn-cs"/>
                </a:rPr>
                <a:t>6</a:t>
              </a:r>
            </a:p>
          </p:txBody>
        </p:sp>
        <p:sp>
          <p:nvSpPr>
            <p:cNvPr id="49" name="Oval 3">
              <a:extLst>
                <a:ext uri="{FF2B5EF4-FFF2-40B4-BE49-F238E27FC236}">
                  <a16:creationId xmlns:a16="http://schemas.microsoft.com/office/drawing/2014/main" id="{0F57822A-A4D1-41BF-980C-14047AA4E9A2}"/>
                </a:ext>
              </a:extLst>
            </p:cNvPr>
            <p:cNvSpPr>
              <a:spLocks noChangeArrowheads="1"/>
            </p:cNvSpPr>
            <p:nvPr/>
          </p:nvSpPr>
          <p:spPr bwMode="auto">
            <a:xfrm>
              <a:off x="3309707" y="3930530"/>
              <a:ext cx="216000" cy="216000"/>
            </a:xfrm>
            <a:prstGeom prst="ellipse">
              <a:avLst/>
            </a:prstGeom>
            <a:solidFill>
              <a:srgbClr val="A100FF"/>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mj-lt"/>
                  <a:ea typeface="MS PGothic" pitchFamily="34" charset="-128"/>
                  <a:cs typeface="+mn-cs"/>
                </a:rPr>
                <a:t>8</a:t>
              </a:r>
            </a:p>
          </p:txBody>
        </p:sp>
        <p:sp>
          <p:nvSpPr>
            <p:cNvPr id="50" name="Oval 3">
              <a:extLst>
                <a:ext uri="{FF2B5EF4-FFF2-40B4-BE49-F238E27FC236}">
                  <a16:creationId xmlns:a16="http://schemas.microsoft.com/office/drawing/2014/main" id="{B13948AD-7E15-453C-B836-F29F23471CA7}"/>
                </a:ext>
              </a:extLst>
            </p:cNvPr>
            <p:cNvSpPr>
              <a:spLocks noChangeArrowheads="1"/>
            </p:cNvSpPr>
            <p:nvPr/>
          </p:nvSpPr>
          <p:spPr bwMode="auto">
            <a:xfrm>
              <a:off x="3167223" y="2719418"/>
              <a:ext cx="216000" cy="216000"/>
            </a:xfrm>
            <a:prstGeom prst="ellipse">
              <a:avLst/>
            </a:prstGeom>
            <a:solidFill>
              <a:schemeClr val="accent3"/>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mj-lt"/>
                  <a:ea typeface="MS PGothic" pitchFamily="34" charset="-128"/>
                  <a:cs typeface="+mn-cs"/>
                </a:rPr>
                <a:t>7</a:t>
              </a:r>
            </a:p>
          </p:txBody>
        </p:sp>
        <p:sp>
          <p:nvSpPr>
            <p:cNvPr id="51" name="Oval 3">
              <a:extLst>
                <a:ext uri="{FF2B5EF4-FFF2-40B4-BE49-F238E27FC236}">
                  <a16:creationId xmlns:a16="http://schemas.microsoft.com/office/drawing/2014/main" id="{160D1939-A584-43D6-9A9B-1CF6625EAC93}"/>
                </a:ext>
              </a:extLst>
            </p:cNvPr>
            <p:cNvSpPr>
              <a:spLocks noChangeArrowheads="1"/>
            </p:cNvSpPr>
            <p:nvPr/>
          </p:nvSpPr>
          <p:spPr bwMode="auto">
            <a:xfrm>
              <a:off x="3523433" y="2719418"/>
              <a:ext cx="216000" cy="216000"/>
            </a:xfrm>
            <a:prstGeom prst="ellipse">
              <a:avLst/>
            </a:prstGeom>
            <a:solidFill>
              <a:srgbClr val="A100FF"/>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mj-lt"/>
                  <a:ea typeface="MS PGothic" pitchFamily="34" charset="-128"/>
                  <a:cs typeface="+mn-cs"/>
                </a:rPr>
                <a:t>9</a:t>
              </a:r>
            </a:p>
          </p:txBody>
        </p:sp>
        <p:sp>
          <p:nvSpPr>
            <p:cNvPr id="52" name="Oval 3">
              <a:extLst>
                <a:ext uri="{FF2B5EF4-FFF2-40B4-BE49-F238E27FC236}">
                  <a16:creationId xmlns:a16="http://schemas.microsoft.com/office/drawing/2014/main" id="{4BAD3469-67B5-4B74-9824-A7E4CD9AA8BC}"/>
                </a:ext>
              </a:extLst>
            </p:cNvPr>
            <p:cNvSpPr>
              <a:spLocks noChangeArrowheads="1"/>
            </p:cNvSpPr>
            <p:nvPr/>
          </p:nvSpPr>
          <p:spPr bwMode="auto">
            <a:xfrm>
              <a:off x="5208007" y="3431837"/>
              <a:ext cx="216000" cy="216000"/>
            </a:xfrm>
            <a:prstGeom prst="ellipse">
              <a:avLst/>
            </a:prstGeom>
            <a:solidFill>
              <a:srgbClr val="A100FF"/>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mj-lt"/>
                  <a:ea typeface="MS PGothic" pitchFamily="34" charset="-128"/>
                  <a:cs typeface="+mn-cs"/>
                </a:rPr>
                <a:t>10</a:t>
              </a:r>
            </a:p>
          </p:txBody>
        </p:sp>
        <p:sp>
          <p:nvSpPr>
            <p:cNvPr id="53" name="Line 28">
              <a:extLst>
                <a:ext uri="{FF2B5EF4-FFF2-40B4-BE49-F238E27FC236}">
                  <a16:creationId xmlns:a16="http://schemas.microsoft.com/office/drawing/2014/main" id="{B43482CE-D1EE-4C06-B80D-C88C63C5B1AD}"/>
                </a:ext>
              </a:extLst>
            </p:cNvPr>
            <p:cNvSpPr>
              <a:spLocks noChangeShapeType="1"/>
            </p:cNvSpPr>
            <p:nvPr/>
          </p:nvSpPr>
          <p:spPr bwMode="auto">
            <a:xfrm>
              <a:off x="1177513" y="5499337"/>
              <a:ext cx="4690631" cy="0"/>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54" name="Line 28">
              <a:extLst>
                <a:ext uri="{FF2B5EF4-FFF2-40B4-BE49-F238E27FC236}">
                  <a16:creationId xmlns:a16="http://schemas.microsoft.com/office/drawing/2014/main" id="{F4760B4B-D441-4FCB-ABC5-3B1A842E5B32}"/>
                </a:ext>
              </a:extLst>
            </p:cNvPr>
            <p:cNvSpPr>
              <a:spLocks noChangeShapeType="1"/>
            </p:cNvSpPr>
            <p:nvPr/>
          </p:nvSpPr>
          <p:spPr bwMode="auto">
            <a:xfrm flipV="1">
              <a:off x="1170781" y="2017606"/>
              <a:ext cx="0" cy="3471316"/>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45641B3F-AA74-4491-8E57-35A2926E4F1D}"/>
                </a:ext>
              </a:extLst>
            </p:cNvPr>
            <p:cNvSpPr/>
            <p:nvPr/>
          </p:nvSpPr>
          <p:spPr bwMode="auto">
            <a:xfrm>
              <a:off x="323528" y="1852571"/>
              <a:ext cx="850224" cy="553998"/>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000000"/>
                  </a:solidFill>
                  <a:effectLst/>
                  <a:uLnTx/>
                  <a:uFillTx/>
                  <a:latin typeface="+mj-lt"/>
                  <a:ea typeface="MS PGothic" pitchFamily="34" charset="-128"/>
                  <a:cs typeface="+mn-cs"/>
                </a:rPr>
                <a:t>Level of Potential Benefits</a:t>
              </a:r>
            </a:p>
          </p:txBody>
        </p:sp>
      </p:grpSp>
      <p:grpSp>
        <p:nvGrpSpPr>
          <p:cNvPr id="57" name="Group 56" descr="Projects">
            <a:extLst>
              <a:ext uri="{FF2B5EF4-FFF2-40B4-BE49-F238E27FC236}">
                <a16:creationId xmlns:a16="http://schemas.microsoft.com/office/drawing/2014/main" id="{3984441D-962F-424E-AE29-ECBB980EADE7}"/>
              </a:ext>
            </a:extLst>
          </p:cNvPr>
          <p:cNvGrpSpPr/>
          <p:nvPr/>
        </p:nvGrpSpPr>
        <p:grpSpPr>
          <a:xfrm>
            <a:off x="7788188" y="2262824"/>
            <a:ext cx="2484277" cy="4001095"/>
            <a:chOff x="7788188" y="2262824"/>
            <a:chExt cx="2484277" cy="4001095"/>
          </a:xfrm>
        </p:grpSpPr>
        <p:sp>
          <p:nvSpPr>
            <p:cNvPr id="8" name="Text Box 2">
              <a:extLst>
                <a:ext uri="{FF2B5EF4-FFF2-40B4-BE49-F238E27FC236}">
                  <a16:creationId xmlns:a16="http://schemas.microsoft.com/office/drawing/2014/main" id="{84583733-4AB3-4C30-82CA-6E7664F4285E}"/>
                </a:ext>
              </a:extLst>
            </p:cNvPr>
            <p:cNvSpPr txBox="1">
              <a:spLocks noChangeArrowheads="1"/>
            </p:cNvSpPr>
            <p:nvPr/>
          </p:nvSpPr>
          <p:spPr bwMode="auto">
            <a:xfrm>
              <a:off x="8083263" y="2262824"/>
              <a:ext cx="2189202" cy="4001095"/>
            </a:xfrm>
            <a:prstGeom prst="rect">
              <a:avLst/>
            </a:prstGeom>
            <a:noFill/>
            <a:ln w="3175">
              <a:noFill/>
              <a:miter lim="800000"/>
              <a:headEnd/>
              <a:tailEnd/>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altLang="zh-CN" sz="1000" b="0" i="0" u="none" strike="noStrike" kern="0" cap="none" spc="0" normalizeH="0" baseline="0" noProof="0" dirty="0">
                  <a:ln>
                    <a:noFill/>
                  </a:ln>
                  <a:solidFill>
                    <a:srgbClr val="000000"/>
                  </a:solidFill>
                  <a:effectLst/>
                  <a:uLnTx/>
                  <a:uFillTx/>
                  <a:ea typeface="+mn-ea"/>
                  <a:cs typeface="+mn-cs"/>
                </a:rPr>
                <a:t>Process modifications at call center and back office</a:t>
              </a:r>
            </a:p>
            <a:p>
              <a:pPr marL="0" marR="0" lvl="0" indent="0" algn="l" defTabSz="914400" rtl="0" eaLnBrk="1" fontAlgn="auto" latinLnBrk="0" hangingPunct="1">
                <a:lnSpc>
                  <a:spcPct val="100000"/>
                </a:lnSpc>
                <a:spcBef>
                  <a:spcPts val="0"/>
                </a:spcBef>
                <a:spcAft>
                  <a:spcPts val="0"/>
                </a:spcAft>
                <a:buClrTx/>
                <a:buSzPct val="100000"/>
                <a:buFontTx/>
                <a:buNone/>
                <a:tabLst/>
                <a:defRPr/>
              </a:pPr>
              <a:endParaRPr kumimoji="0" lang="en-US" altLang="zh-CN" sz="1000" b="0" i="0" u="none" strike="noStrike" kern="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altLang="zh-CN" sz="1000" b="0" i="0" u="none" strike="noStrike" kern="0" cap="none" spc="0" normalizeH="0" baseline="0" noProof="0" dirty="0">
                  <a:ln>
                    <a:noFill/>
                  </a:ln>
                  <a:solidFill>
                    <a:srgbClr val="000000"/>
                  </a:solidFill>
                  <a:effectLst/>
                  <a:uLnTx/>
                  <a:uFillTx/>
                  <a:ea typeface="+mn-ea"/>
                  <a:cs typeface="+mn-cs"/>
                </a:rPr>
                <a:t>Employee training for increased customer focus</a:t>
              </a:r>
            </a:p>
            <a:p>
              <a:pPr marL="0" marR="0" lvl="0" indent="0" algn="l" defTabSz="914400" rtl="0" eaLnBrk="1" fontAlgn="auto" latinLnBrk="0" hangingPunct="1">
                <a:lnSpc>
                  <a:spcPct val="100000"/>
                </a:lnSpc>
                <a:spcBef>
                  <a:spcPts val="0"/>
                </a:spcBef>
                <a:spcAft>
                  <a:spcPts val="0"/>
                </a:spcAft>
                <a:buClrTx/>
                <a:buSzPct val="100000"/>
                <a:buFontTx/>
                <a:buNone/>
                <a:tabLst/>
                <a:defRPr/>
              </a:pPr>
              <a:endParaRPr kumimoji="0" lang="en-US" altLang="zh-CN" sz="1000" b="0" i="0" u="none" strike="noStrike" kern="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altLang="zh-CN" sz="1000" b="0" i="0" u="none" strike="noStrike" kern="0" cap="none" spc="0" normalizeH="0" baseline="0" noProof="0" dirty="0">
                  <a:ln>
                    <a:noFill/>
                  </a:ln>
                  <a:solidFill>
                    <a:srgbClr val="000000"/>
                  </a:solidFill>
                  <a:effectLst/>
                  <a:uLnTx/>
                  <a:uFillTx/>
                  <a:ea typeface="+mn-ea"/>
                  <a:cs typeface="+mn-cs"/>
                </a:rPr>
                <a:t>“Voice of customer (VoC)” survey to identify customer preferences</a:t>
              </a:r>
            </a:p>
            <a:p>
              <a:pPr marL="0" marR="0" lvl="0" indent="0" algn="l" defTabSz="914400" rtl="0" eaLnBrk="1" fontAlgn="auto" latinLnBrk="0" hangingPunct="1">
                <a:lnSpc>
                  <a:spcPct val="100000"/>
                </a:lnSpc>
                <a:spcBef>
                  <a:spcPts val="0"/>
                </a:spcBef>
                <a:spcAft>
                  <a:spcPts val="0"/>
                </a:spcAft>
                <a:buClrTx/>
                <a:buSzPct val="100000"/>
                <a:buFontTx/>
                <a:buNone/>
                <a:tabLst/>
                <a:defRPr/>
              </a:pPr>
              <a:endParaRPr kumimoji="0" lang="en-US" altLang="zh-CN" sz="1000" b="0" i="0" u="none" strike="noStrike" kern="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altLang="zh-CN" sz="1000" b="0" i="0" u="none" strike="noStrike" kern="0" cap="none" spc="0" normalizeH="0" baseline="0" noProof="0" dirty="0">
                  <a:ln>
                    <a:noFill/>
                  </a:ln>
                  <a:solidFill>
                    <a:srgbClr val="000000"/>
                  </a:solidFill>
                  <a:effectLst/>
                  <a:uLnTx/>
                  <a:uFillTx/>
                  <a:ea typeface="+mn-ea"/>
                  <a:cs typeface="+mn-cs"/>
                </a:rPr>
                <a:t>Review of advertisement strategy</a:t>
              </a:r>
            </a:p>
            <a:p>
              <a:pPr marL="0" marR="0" lvl="0" indent="0" algn="l" defTabSz="914400" rtl="0" eaLnBrk="1" fontAlgn="auto" latinLnBrk="0" hangingPunct="1">
                <a:lnSpc>
                  <a:spcPct val="100000"/>
                </a:lnSpc>
                <a:spcBef>
                  <a:spcPts val="0"/>
                </a:spcBef>
                <a:spcAft>
                  <a:spcPts val="0"/>
                </a:spcAft>
                <a:buClrTx/>
                <a:buSzPct val="100000"/>
                <a:buFontTx/>
                <a:buNone/>
                <a:tabLst/>
                <a:defRPr/>
              </a:pPr>
              <a:endParaRPr kumimoji="0" lang="en-US" altLang="zh-CN" sz="1000" b="0" i="0" u="none" strike="noStrike" kern="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altLang="zh-CN" sz="1000" b="0" i="0" u="none" strike="noStrike" kern="0" cap="none" spc="0" normalizeH="0" baseline="0" noProof="0" dirty="0">
                  <a:ln>
                    <a:noFill/>
                  </a:ln>
                  <a:solidFill>
                    <a:srgbClr val="000000"/>
                  </a:solidFill>
                  <a:effectLst/>
                  <a:uLnTx/>
                  <a:uFillTx/>
                  <a:ea typeface="+mn-ea"/>
                  <a:cs typeface="+mn-cs"/>
                </a:rPr>
                <a:t>Product strategy review to align with ‘VoC’</a:t>
              </a:r>
            </a:p>
            <a:p>
              <a:pPr marL="0" marR="0" lvl="0" indent="0" algn="l" defTabSz="914400" rtl="0" eaLnBrk="1" fontAlgn="auto" latinLnBrk="0" hangingPunct="1">
                <a:lnSpc>
                  <a:spcPct val="100000"/>
                </a:lnSpc>
                <a:spcBef>
                  <a:spcPts val="0"/>
                </a:spcBef>
                <a:spcAft>
                  <a:spcPts val="0"/>
                </a:spcAft>
                <a:buClrTx/>
                <a:buSzPct val="100000"/>
                <a:buFontTx/>
                <a:buNone/>
                <a:tabLst/>
                <a:defRPr/>
              </a:pPr>
              <a:endParaRPr kumimoji="0" lang="en-US" altLang="zh-CN" sz="1000" b="0" i="0" u="none" strike="noStrike" kern="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altLang="zh-CN" sz="1000" b="0" i="0" u="none" strike="noStrike" kern="0" cap="none" spc="0" normalizeH="0" baseline="0" noProof="0" dirty="0">
                  <a:ln>
                    <a:noFill/>
                  </a:ln>
                  <a:solidFill>
                    <a:srgbClr val="000000"/>
                  </a:solidFill>
                  <a:effectLst/>
                  <a:uLnTx/>
                  <a:uFillTx/>
                  <a:ea typeface="+mn-ea"/>
                  <a:cs typeface="+mn-cs"/>
                </a:rPr>
                <a:t>Set up single counter operations </a:t>
              </a:r>
            </a:p>
            <a:p>
              <a:pPr marL="0" marR="0" lvl="0" indent="0" algn="l" defTabSz="914400" rtl="0" eaLnBrk="1" fontAlgn="auto" latinLnBrk="0" hangingPunct="1">
                <a:lnSpc>
                  <a:spcPct val="100000"/>
                </a:lnSpc>
                <a:spcBef>
                  <a:spcPts val="0"/>
                </a:spcBef>
                <a:spcAft>
                  <a:spcPts val="0"/>
                </a:spcAft>
                <a:buClrTx/>
                <a:buSzPct val="100000"/>
                <a:buFontTx/>
                <a:buNone/>
                <a:tabLst/>
                <a:defRPr/>
              </a:pPr>
              <a:endParaRPr kumimoji="0" lang="en-US" altLang="zh-CN" sz="1000" b="0" i="0" u="none" strike="noStrike" kern="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altLang="zh-CN" sz="1000" b="0" i="0" u="none" strike="noStrike" kern="0" cap="none" spc="0" normalizeH="0" baseline="0" noProof="0" dirty="0">
                  <a:ln>
                    <a:noFill/>
                  </a:ln>
                  <a:solidFill>
                    <a:srgbClr val="000000"/>
                  </a:solidFill>
                  <a:effectLst/>
                  <a:uLnTx/>
                  <a:uFillTx/>
                  <a:ea typeface="+mn-ea"/>
                  <a:cs typeface="+mn-cs"/>
                </a:rPr>
                <a:t>Enable web based self service</a:t>
              </a:r>
            </a:p>
            <a:p>
              <a:pPr marL="0" marR="0" lvl="0" indent="0" algn="l" defTabSz="914400" rtl="0" eaLnBrk="1" fontAlgn="auto" latinLnBrk="0" hangingPunct="1">
                <a:lnSpc>
                  <a:spcPct val="100000"/>
                </a:lnSpc>
                <a:spcBef>
                  <a:spcPts val="0"/>
                </a:spcBef>
                <a:spcAft>
                  <a:spcPts val="0"/>
                </a:spcAft>
                <a:buClrTx/>
                <a:buSzPct val="100000"/>
                <a:buFontTx/>
                <a:buNone/>
                <a:tabLst/>
                <a:defRPr/>
              </a:pPr>
              <a:endParaRPr kumimoji="0" lang="en-US" altLang="zh-CN" sz="1000" b="0" i="0" u="none" strike="noStrike" kern="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altLang="zh-CN" sz="1000" b="0" i="0" u="none" strike="noStrike" kern="0" cap="none" spc="0" normalizeH="0" baseline="0" noProof="0" dirty="0">
                  <a:ln>
                    <a:noFill/>
                  </a:ln>
                  <a:solidFill>
                    <a:srgbClr val="000000"/>
                  </a:solidFill>
                  <a:effectLst/>
                  <a:uLnTx/>
                  <a:uFillTx/>
                  <a:ea typeface="+mn-ea"/>
                  <a:cs typeface="+mn-cs"/>
                </a:rPr>
                <a:t>Implement CRM for single customer view</a:t>
              </a:r>
            </a:p>
            <a:p>
              <a:pPr marL="0" marR="0" lvl="0" indent="0" algn="l" defTabSz="914400" rtl="0" eaLnBrk="1" fontAlgn="auto" latinLnBrk="0" hangingPunct="1">
                <a:lnSpc>
                  <a:spcPct val="100000"/>
                </a:lnSpc>
                <a:spcBef>
                  <a:spcPts val="0"/>
                </a:spcBef>
                <a:spcAft>
                  <a:spcPts val="0"/>
                </a:spcAft>
                <a:buClrTx/>
                <a:buSzPct val="100000"/>
                <a:buFontTx/>
                <a:buNone/>
                <a:tabLst/>
                <a:defRPr/>
              </a:pPr>
              <a:endParaRPr kumimoji="0" lang="en-US" altLang="zh-CN" sz="1000" b="0" i="0" u="none" strike="noStrike" kern="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altLang="zh-CN" sz="1000" b="0" i="0" u="none" strike="noStrike" kern="0" cap="none" spc="0" normalizeH="0" baseline="0" noProof="0" dirty="0">
                  <a:ln>
                    <a:noFill/>
                  </a:ln>
                  <a:solidFill>
                    <a:srgbClr val="000000"/>
                  </a:solidFill>
                  <a:effectLst/>
                  <a:uLnTx/>
                  <a:uFillTx/>
                  <a:ea typeface="+mn-ea"/>
                  <a:cs typeface="+mn-cs"/>
                </a:rPr>
                <a:t>Enable SMS alerts</a:t>
              </a:r>
            </a:p>
            <a:p>
              <a:pPr marL="0" marR="0" lvl="0" indent="0" algn="l" defTabSz="914400" rtl="0" eaLnBrk="1" fontAlgn="auto" latinLnBrk="0" hangingPunct="1">
                <a:lnSpc>
                  <a:spcPct val="100000"/>
                </a:lnSpc>
                <a:spcBef>
                  <a:spcPts val="0"/>
                </a:spcBef>
                <a:spcAft>
                  <a:spcPts val="0"/>
                </a:spcAft>
                <a:buClrTx/>
                <a:buSzPct val="100000"/>
                <a:buFontTx/>
                <a:buNone/>
                <a:tabLst/>
                <a:defRPr/>
              </a:pPr>
              <a:endParaRPr kumimoji="0" lang="en-US" altLang="zh-CN" sz="1000" b="0" i="0" u="none" strike="noStrike" kern="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altLang="zh-CN" sz="1000" b="0" i="0" u="none" strike="noStrike" kern="0" cap="none" spc="0" normalizeH="0" baseline="0" noProof="0" dirty="0">
                  <a:ln>
                    <a:noFill/>
                  </a:ln>
                  <a:solidFill>
                    <a:srgbClr val="000000"/>
                  </a:solidFill>
                  <a:effectLst/>
                  <a:uLnTx/>
                  <a:uFillTx/>
                  <a:ea typeface="+mn-ea"/>
                  <a:cs typeface="+mn-cs"/>
                </a:rPr>
                <a:t>Enable multi channel payment facility (through web, mobile and kiosk)</a:t>
              </a:r>
            </a:p>
          </p:txBody>
        </p:sp>
        <p:sp>
          <p:nvSpPr>
            <p:cNvPr id="9" name="Oval 3">
              <a:extLst>
                <a:ext uri="{FF2B5EF4-FFF2-40B4-BE49-F238E27FC236}">
                  <a16:creationId xmlns:a16="http://schemas.microsoft.com/office/drawing/2014/main" id="{456FCF56-DEB0-4BE4-8FE8-81F2AFE4BD4F}"/>
                </a:ext>
              </a:extLst>
            </p:cNvPr>
            <p:cNvSpPr>
              <a:spLocks noChangeArrowheads="1"/>
            </p:cNvSpPr>
            <p:nvPr/>
          </p:nvSpPr>
          <p:spPr bwMode="auto">
            <a:xfrm>
              <a:off x="7788188" y="2283735"/>
              <a:ext cx="213422" cy="216000"/>
            </a:xfrm>
            <a:prstGeom prst="ellipse">
              <a:avLst/>
            </a:prstGeom>
            <a:solidFill>
              <a:schemeClr val="accent3"/>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mj-lt"/>
                  <a:ea typeface="MS PGothic" pitchFamily="34" charset="-128"/>
                  <a:cs typeface="+mn-cs"/>
                </a:rPr>
                <a:t>1</a:t>
              </a:r>
            </a:p>
          </p:txBody>
        </p:sp>
        <p:sp>
          <p:nvSpPr>
            <p:cNvPr id="10" name="Oval 3">
              <a:extLst>
                <a:ext uri="{FF2B5EF4-FFF2-40B4-BE49-F238E27FC236}">
                  <a16:creationId xmlns:a16="http://schemas.microsoft.com/office/drawing/2014/main" id="{0F4248D1-853A-428F-B42F-549E9D7BEC6C}"/>
                </a:ext>
              </a:extLst>
            </p:cNvPr>
            <p:cNvSpPr>
              <a:spLocks noChangeArrowheads="1"/>
            </p:cNvSpPr>
            <p:nvPr/>
          </p:nvSpPr>
          <p:spPr bwMode="auto">
            <a:xfrm>
              <a:off x="7788188" y="2730876"/>
              <a:ext cx="213422" cy="216000"/>
            </a:xfrm>
            <a:prstGeom prst="ellipse">
              <a:avLst/>
            </a:prstGeom>
            <a:solidFill>
              <a:schemeClr val="accent3"/>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mj-lt"/>
                  <a:ea typeface="MS PGothic" pitchFamily="34" charset="-128"/>
                  <a:cs typeface="+mn-cs"/>
                </a:rPr>
                <a:t>2</a:t>
              </a:r>
            </a:p>
          </p:txBody>
        </p:sp>
        <p:sp>
          <p:nvSpPr>
            <p:cNvPr id="11" name="Oval 3">
              <a:extLst>
                <a:ext uri="{FF2B5EF4-FFF2-40B4-BE49-F238E27FC236}">
                  <a16:creationId xmlns:a16="http://schemas.microsoft.com/office/drawing/2014/main" id="{3C5072ED-440C-43B1-BB54-02749B752D20}"/>
                </a:ext>
              </a:extLst>
            </p:cNvPr>
            <p:cNvSpPr>
              <a:spLocks noChangeArrowheads="1"/>
            </p:cNvSpPr>
            <p:nvPr/>
          </p:nvSpPr>
          <p:spPr bwMode="auto">
            <a:xfrm>
              <a:off x="7788188" y="3198928"/>
              <a:ext cx="213422" cy="216000"/>
            </a:xfrm>
            <a:prstGeom prst="ellipse">
              <a:avLst/>
            </a:prstGeom>
            <a:solidFill>
              <a:schemeClr val="accent3"/>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mj-lt"/>
                  <a:ea typeface="MS PGothic" pitchFamily="34" charset="-128"/>
                  <a:cs typeface="+mn-cs"/>
                </a:rPr>
                <a:t>3</a:t>
              </a:r>
            </a:p>
          </p:txBody>
        </p:sp>
        <p:sp>
          <p:nvSpPr>
            <p:cNvPr id="12" name="Oval 3">
              <a:extLst>
                <a:ext uri="{FF2B5EF4-FFF2-40B4-BE49-F238E27FC236}">
                  <a16:creationId xmlns:a16="http://schemas.microsoft.com/office/drawing/2014/main" id="{3ABC1F93-E2A5-4B3E-BBD4-61934758DEED}"/>
                </a:ext>
              </a:extLst>
            </p:cNvPr>
            <p:cNvSpPr>
              <a:spLocks noChangeArrowheads="1"/>
            </p:cNvSpPr>
            <p:nvPr/>
          </p:nvSpPr>
          <p:spPr bwMode="auto">
            <a:xfrm>
              <a:off x="7788188" y="3615907"/>
              <a:ext cx="213422" cy="216000"/>
            </a:xfrm>
            <a:prstGeom prst="ellipse">
              <a:avLst/>
            </a:prstGeom>
            <a:solidFill>
              <a:schemeClr val="accent3"/>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mj-lt"/>
                  <a:ea typeface="MS PGothic" pitchFamily="34" charset="-128"/>
                  <a:cs typeface="+mn-cs"/>
                </a:rPr>
                <a:t>4</a:t>
              </a:r>
            </a:p>
          </p:txBody>
        </p:sp>
        <p:sp>
          <p:nvSpPr>
            <p:cNvPr id="13" name="Oval 3">
              <a:extLst>
                <a:ext uri="{FF2B5EF4-FFF2-40B4-BE49-F238E27FC236}">
                  <a16:creationId xmlns:a16="http://schemas.microsoft.com/office/drawing/2014/main" id="{1474C982-A4AF-4A00-8769-A0B70BB46CE3}"/>
                </a:ext>
              </a:extLst>
            </p:cNvPr>
            <p:cNvSpPr>
              <a:spLocks noChangeArrowheads="1"/>
            </p:cNvSpPr>
            <p:nvPr/>
          </p:nvSpPr>
          <p:spPr bwMode="auto">
            <a:xfrm>
              <a:off x="7788188" y="3939919"/>
              <a:ext cx="213422" cy="216000"/>
            </a:xfrm>
            <a:prstGeom prst="ellipse">
              <a:avLst/>
            </a:prstGeom>
            <a:solidFill>
              <a:srgbClr val="A100FF"/>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mj-lt"/>
                  <a:ea typeface="MS PGothic" pitchFamily="34" charset="-128"/>
                  <a:cs typeface="+mn-cs"/>
                </a:rPr>
                <a:t>5</a:t>
              </a:r>
            </a:p>
          </p:txBody>
        </p:sp>
        <p:sp>
          <p:nvSpPr>
            <p:cNvPr id="14" name="Oval 3">
              <a:extLst>
                <a:ext uri="{FF2B5EF4-FFF2-40B4-BE49-F238E27FC236}">
                  <a16:creationId xmlns:a16="http://schemas.microsoft.com/office/drawing/2014/main" id="{96F622B8-476C-488D-A220-517E79262574}"/>
                </a:ext>
              </a:extLst>
            </p:cNvPr>
            <p:cNvSpPr>
              <a:spLocks noChangeArrowheads="1"/>
            </p:cNvSpPr>
            <p:nvPr/>
          </p:nvSpPr>
          <p:spPr bwMode="auto">
            <a:xfrm>
              <a:off x="7788188" y="4371991"/>
              <a:ext cx="213422" cy="216000"/>
            </a:xfrm>
            <a:prstGeom prst="ellipse">
              <a:avLst/>
            </a:prstGeom>
            <a:solidFill>
              <a:schemeClr val="accent3"/>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mj-lt"/>
                  <a:ea typeface="MS PGothic" pitchFamily="34" charset="-128"/>
                  <a:cs typeface="+mn-cs"/>
                </a:rPr>
                <a:t>6</a:t>
              </a:r>
            </a:p>
          </p:txBody>
        </p:sp>
        <p:sp>
          <p:nvSpPr>
            <p:cNvPr id="15" name="Oval 3">
              <a:extLst>
                <a:ext uri="{FF2B5EF4-FFF2-40B4-BE49-F238E27FC236}">
                  <a16:creationId xmlns:a16="http://schemas.microsoft.com/office/drawing/2014/main" id="{2DC52032-7339-4E4C-9B17-B4AC44C4A59A}"/>
                </a:ext>
              </a:extLst>
            </p:cNvPr>
            <p:cNvSpPr>
              <a:spLocks noChangeArrowheads="1"/>
            </p:cNvSpPr>
            <p:nvPr/>
          </p:nvSpPr>
          <p:spPr bwMode="auto">
            <a:xfrm>
              <a:off x="7788188" y="4660023"/>
              <a:ext cx="213422" cy="216000"/>
            </a:xfrm>
            <a:prstGeom prst="ellipse">
              <a:avLst/>
            </a:prstGeom>
            <a:solidFill>
              <a:schemeClr val="accent3"/>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mj-lt"/>
                  <a:ea typeface="MS PGothic" pitchFamily="34" charset="-128"/>
                  <a:cs typeface="+mn-cs"/>
                </a:rPr>
                <a:t>7</a:t>
              </a:r>
            </a:p>
          </p:txBody>
        </p:sp>
        <p:sp>
          <p:nvSpPr>
            <p:cNvPr id="16" name="Oval 3">
              <a:extLst>
                <a:ext uri="{FF2B5EF4-FFF2-40B4-BE49-F238E27FC236}">
                  <a16:creationId xmlns:a16="http://schemas.microsoft.com/office/drawing/2014/main" id="{69F8E883-B2F7-4EF3-A185-02A864B2675E}"/>
                </a:ext>
              </a:extLst>
            </p:cNvPr>
            <p:cNvSpPr>
              <a:spLocks noChangeArrowheads="1"/>
            </p:cNvSpPr>
            <p:nvPr/>
          </p:nvSpPr>
          <p:spPr bwMode="auto">
            <a:xfrm>
              <a:off x="7788188" y="5035156"/>
              <a:ext cx="213422" cy="216000"/>
            </a:xfrm>
            <a:prstGeom prst="ellipse">
              <a:avLst/>
            </a:prstGeom>
            <a:solidFill>
              <a:srgbClr val="A100FF"/>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mj-lt"/>
                  <a:ea typeface="MS PGothic" pitchFamily="34" charset="-128"/>
                  <a:cs typeface="+mn-cs"/>
                </a:rPr>
                <a:t>8</a:t>
              </a:r>
            </a:p>
          </p:txBody>
        </p:sp>
        <p:sp>
          <p:nvSpPr>
            <p:cNvPr id="17" name="Oval 3">
              <a:extLst>
                <a:ext uri="{FF2B5EF4-FFF2-40B4-BE49-F238E27FC236}">
                  <a16:creationId xmlns:a16="http://schemas.microsoft.com/office/drawing/2014/main" id="{810472C3-17AE-40A4-A7C2-0665643664F8}"/>
                </a:ext>
              </a:extLst>
            </p:cNvPr>
            <p:cNvSpPr>
              <a:spLocks noChangeArrowheads="1"/>
            </p:cNvSpPr>
            <p:nvPr/>
          </p:nvSpPr>
          <p:spPr bwMode="auto">
            <a:xfrm>
              <a:off x="7788188" y="5431200"/>
              <a:ext cx="213422" cy="216000"/>
            </a:xfrm>
            <a:prstGeom prst="ellipse">
              <a:avLst/>
            </a:prstGeom>
            <a:solidFill>
              <a:srgbClr val="A100FF"/>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mj-lt"/>
                  <a:ea typeface="MS PGothic" pitchFamily="34" charset="-128"/>
                  <a:cs typeface="+mn-cs"/>
                </a:rPr>
                <a:t>9</a:t>
              </a:r>
            </a:p>
          </p:txBody>
        </p:sp>
        <p:sp>
          <p:nvSpPr>
            <p:cNvPr id="18" name="Oval 3">
              <a:extLst>
                <a:ext uri="{FF2B5EF4-FFF2-40B4-BE49-F238E27FC236}">
                  <a16:creationId xmlns:a16="http://schemas.microsoft.com/office/drawing/2014/main" id="{337DA196-C1DD-453E-B966-52ADF98DABCB}"/>
                </a:ext>
              </a:extLst>
            </p:cNvPr>
            <p:cNvSpPr>
              <a:spLocks noChangeArrowheads="1"/>
            </p:cNvSpPr>
            <p:nvPr/>
          </p:nvSpPr>
          <p:spPr bwMode="auto">
            <a:xfrm>
              <a:off x="7788188" y="5791240"/>
              <a:ext cx="213422" cy="216000"/>
            </a:xfrm>
            <a:prstGeom prst="ellipse">
              <a:avLst/>
            </a:prstGeom>
            <a:solidFill>
              <a:srgbClr val="A100FF"/>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mj-lt"/>
                  <a:ea typeface="MS PGothic" pitchFamily="34" charset="-128"/>
                  <a:cs typeface="+mn-cs"/>
                </a:rPr>
                <a:t>10</a:t>
              </a:r>
            </a:p>
          </p:txBody>
        </p:sp>
      </p:grpSp>
      <p:grpSp>
        <p:nvGrpSpPr>
          <p:cNvPr id="19" name="Group 74" descr="Ongoing">
            <a:extLst>
              <a:ext uri="{FF2B5EF4-FFF2-40B4-BE49-F238E27FC236}">
                <a16:creationId xmlns:a16="http://schemas.microsoft.com/office/drawing/2014/main" id="{8BFB1F20-3142-4965-974A-86764C066FE3}"/>
              </a:ext>
            </a:extLst>
          </p:cNvPr>
          <p:cNvGrpSpPr/>
          <p:nvPr/>
        </p:nvGrpSpPr>
        <p:grpSpPr bwMode="auto">
          <a:xfrm>
            <a:off x="1991544" y="5683790"/>
            <a:ext cx="902506" cy="246221"/>
            <a:chOff x="467544" y="6135107"/>
            <a:chExt cx="902506" cy="246221"/>
          </a:xfrm>
        </p:grpSpPr>
        <p:sp>
          <p:nvSpPr>
            <p:cNvPr id="20" name="Oval 3">
              <a:extLst>
                <a:ext uri="{FF2B5EF4-FFF2-40B4-BE49-F238E27FC236}">
                  <a16:creationId xmlns:a16="http://schemas.microsoft.com/office/drawing/2014/main" id="{9EECE769-9C60-4918-9918-57E068B5B61F}"/>
                </a:ext>
              </a:extLst>
            </p:cNvPr>
            <p:cNvSpPr>
              <a:spLocks noChangeArrowheads="1"/>
            </p:cNvSpPr>
            <p:nvPr/>
          </p:nvSpPr>
          <p:spPr bwMode="auto">
            <a:xfrm>
              <a:off x="467544" y="6142370"/>
              <a:ext cx="216000" cy="216000"/>
            </a:xfrm>
            <a:prstGeom prst="ellipse">
              <a:avLst/>
            </a:prstGeom>
            <a:solidFill>
              <a:schemeClr val="accent3"/>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endParaRPr kumimoji="1" lang="en-US" altLang="ja-JP" sz="1200" b="1" i="0" u="none" strike="noStrike" kern="0" cap="none" spc="0" normalizeH="0" baseline="0" noProof="0" dirty="0">
                <a:ln>
                  <a:noFill/>
                </a:ln>
                <a:solidFill>
                  <a:srgbClr val="FFFFFF"/>
                </a:solidFill>
                <a:effectLst/>
                <a:uLnTx/>
                <a:uFillTx/>
                <a:ea typeface="MS PGothic" pitchFamily="34" charset="-128"/>
                <a:cs typeface="+mn-cs"/>
              </a:endParaRPr>
            </a:p>
          </p:txBody>
        </p:sp>
        <p:sp>
          <p:nvSpPr>
            <p:cNvPr id="21" name="TextBox 40">
              <a:extLst>
                <a:ext uri="{FF2B5EF4-FFF2-40B4-BE49-F238E27FC236}">
                  <a16:creationId xmlns:a16="http://schemas.microsoft.com/office/drawing/2014/main" id="{827438BA-90C0-4108-8892-E53240A1BFDA}"/>
                </a:ext>
              </a:extLst>
            </p:cNvPr>
            <p:cNvSpPr txBox="1">
              <a:spLocks noChangeArrowheads="1"/>
            </p:cNvSpPr>
            <p:nvPr/>
          </p:nvSpPr>
          <p:spPr bwMode="auto">
            <a:xfrm>
              <a:off x="646775" y="6135107"/>
              <a:ext cx="723275" cy="246221"/>
            </a:xfrm>
            <a:prstGeom prst="rect">
              <a:avLst/>
            </a:prstGeom>
            <a:noFill/>
            <a:ln w="9525">
              <a:noFill/>
              <a:miter lim="800000"/>
              <a:headEnd/>
              <a:tailEnd/>
            </a:ln>
          </p:spPr>
          <p:txBody>
            <a:bodyPr wrap="none">
              <a:spAutoFit/>
            </a:bodyPr>
            <a:lstStyle/>
            <a:p>
              <a:pPr marL="109538" marR="0" lvl="0" indent="-109538"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srgbClr val="000000"/>
                  </a:solidFill>
                  <a:effectLst/>
                  <a:uLnTx/>
                  <a:uFillTx/>
                  <a:ea typeface="+mn-ea"/>
                  <a:cs typeface="+mn-cs"/>
                </a:rPr>
                <a:t>Ongoing</a:t>
              </a:r>
              <a:endParaRPr kumimoji="0" lang="zh-CN" altLang="en-US" sz="1000" b="0" i="0" u="none" strike="noStrike" kern="0" cap="none" spc="0" normalizeH="0" baseline="0" noProof="0" dirty="0">
                <a:ln>
                  <a:noFill/>
                </a:ln>
                <a:solidFill>
                  <a:srgbClr val="000000"/>
                </a:solidFill>
                <a:effectLst/>
                <a:uLnTx/>
                <a:uFillTx/>
                <a:ea typeface="+mn-ea"/>
                <a:cs typeface="+mn-cs"/>
              </a:endParaRPr>
            </a:p>
          </p:txBody>
        </p:sp>
      </p:grpSp>
      <p:grpSp>
        <p:nvGrpSpPr>
          <p:cNvPr id="22" name="Group 75" descr="Not Started">
            <a:extLst>
              <a:ext uri="{FF2B5EF4-FFF2-40B4-BE49-F238E27FC236}">
                <a16:creationId xmlns:a16="http://schemas.microsoft.com/office/drawing/2014/main" id="{28B0D7F7-0BDD-4728-A44C-2C94194AADEE}"/>
              </a:ext>
            </a:extLst>
          </p:cNvPr>
          <p:cNvGrpSpPr/>
          <p:nvPr/>
        </p:nvGrpSpPr>
        <p:grpSpPr bwMode="auto">
          <a:xfrm>
            <a:off x="1992314" y="5971822"/>
            <a:ext cx="1042129" cy="246221"/>
            <a:chOff x="1439652" y="6135107"/>
            <a:chExt cx="1042129" cy="246221"/>
          </a:xfrm>
        </p:grpSpPr>
        <p:sp>
          <p:nvSpPr>
            <p:cNvPr id="23" name="Oval 3">
              <a:extLst>
                <a:ext uri="{FF2B5EF4-FFF2-40B4-BE49-F238E27FC236}">
                  <a16:creationId xmlns:a16="http://schemas.microsoft.com/office/drawing/2014/main" id="{7EFD7C6E-05AF-47AF-8579-2919677DF1DA}"/>
                </a:ext>
              </a:extLst>
            </p:cNvPr>
            <p:cNvSpPr>
              <a:spLocks noChangeArrowheads="1"/>
            </p:cNvSpPr>
            <p:nvPr/>
          </p:nvSpPr>
          <p:spPr bwMode="auto">
            <a:xfrm>
              <a:off x="1439652" y="6142370"/>
              <a:ext cx="216000" cy="216000"/>
            </a:xfrm>
            <a:prstGeom prst="ellipse">
              <a:avLst/>
            </a:prstGeom>
            <a:solidFill>
              <a:srgbClr val="A100FF"/>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endParaRPr kumimoji="1" lang="en-US" altLang="ja-JP" sz="1200" b="1" i="0" u="none" strike="noStrike" kern="0" cap="none" spc="0" normalizeH="0" baseline="0" noProof="0" dirty="0">
                <a:ln>
                  <a:noFill/>
                </a:ln>
                <a:solidFill>
                  <a:srgbClr val="FFFFFF"/>
                </a:solidFill>
                <a:effectLst/>
                <a:uLnTx/>
                <a:uFillTx/>
                <a:ea typeface="MS PGothic" pitchFamily="34" charset="-128"/>
                <a:cs typeface="+mn-cs"/>
              </a:endParaRPr>
            </a:p>
          </p:txBody>
        </p:sp>
        <p:sp>
          <p:nvSpPr>
            <p:cNvPr id="24" name="TextBox 44">
              <a:extLst>
                <a:ext uri="{FF2B5EF4-FFF2-40B4-BE49-F238E27FC236}">
                  <a16:creationId xmlns:a16="http://schemas.microsoft.com/office/drawing/2014/main" id="{22061914-E88D-43C0-B416-19FA06C49BFB}"/>
                </a:ext>
              </a:extLst>
            </p:cNvPr>
            <p:cNvSpPr txBox="1">
              <a:spLocks noChangeArrowheads="1"/>
            </p:cNvSpPr>
            <p:nvPr/>
          </p:nvSpPr>
          <p:spPr bwMode="auto">
            <a:xfrm>
              <a:off x="1612632" y="6135107"/>
              <a:ext cx="869149" cy="246221"/>
            </a:xfrm>
            <a:prstGeom prst="rect">
              <a:avLst/>
            </a:prstGeom>
            <a:noFill/>
            <a:ln w="9525">
              <a:noFill/>
              <a:miter lim="800000"/>
              <a:headEnd/>
              <a:tailEnd/>
            </a:ln>
          </p:spPr>
          <p:txBody>
            <a:bodyPr wrap="none">
              <a:spAutoFit/>
            </a:bodyPr>
            <a:lstStyle/>
            <a:p>
              <a:pPr marL="109538" marR="0" lvl="0" indent="-109538"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srgbClr val="000000"/>
                  </a:solidFill>
                  <a:effectLst/>
                  <a:uLnTx/>
                  <a:uFillTx/>
                  <a:ea typeface="+mn-ea"/>
                  <a:cs typeface="+mn-cs"/>
                </a:rPr>
                <a:t>Not started</a:t>
              </a:r>
              <a:endParaRPr kumimoji="0" lang="zh-CN" altLang="en-US" sz="1000" b="0" i="0" u="none" strike="noStrike" kern="0" cap="none" spc="0" normalizeH="0" baseline="0" noProof="0" dirty="0">
                <a:ln>
                  <a:noFill/>
                </a:ln>
                <a:solidFill>
                  <a:srgbClr val="000000"/>
                </a:solidFill>
                <a:effectLst/>
                <a:uLnTx/>
                <a:uFillTx/>
                <a:ea typeface="+mn-ea"/>
                <a:cs typeface="+mn-cs"/>
              </a:endParaRPr>
            </a:p>
          </p:txBody>
        </p:sp>
      </p:grpSp>
      <p:sp>
        <p:nvSpPr>
          <p:cNvPr id="58" name="Footer Placeholder 57">
            <a:extLst>
              <a:ext uri="{FF2B5EF4-FFF2-40B4-BE49-F238E27FC236}">
                <a16:creationId xmlns:a16="http://schemas.microsoft.com/office/drawing/2014/main" id="{54698C1D-34F1-43CB-B669-947D0DEFD9FF}"/>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9" name="Slide Number Placeholder 58">
            <a:extLst>
              <a:ext uri="{FF2B5EF4-FFF2-40B4-BE49-F238E27FC236}">
                <a16:creationId xmlns:a16="http://schemas.microsoft.com/office/drawing/2014/main" id="{EA203C8C-9949-4A9C-B669-216EB2AC36EC}"/>
              </a:ext>
            </a:extLst>
          </p:cNvPr>
          <p:cNvSpPr>
            <a:spLocks noGrp="1"/>
          </p:cNvSpPr>
          <p:nvPr>
            <p:ph type="sldNum" sz="quarter" idx="10"/>
          </p:nvPr>
        </p:nvSpPr>
        <p:spPr/>
        <p:txBody>
          <a:bodyPr/>
          <a:lstStyle/>
          <a:p>
            <a:fld id="{1F90F471-3972-4120-B8B3-0237DE626C35}" type="slidenum">
              <a:rPr lang="en-US" smtClean="0"/>
              <a:pPr/>
              <a:t>387</a:t>
            </a:fld>
            <a:endParaRPr lang="en-US" dirty="0"/>
          </a:p>
        </p:txBody>
      </p:sp>
    </p:spTree>
    <p:extLst>
      <p:ext uri="{BB962C8B-B14F-4D97-AF65-F5344CB8AC3E}">
        <p14:creationId xmlns:p14="http://schemas.microsoft.com/office/powerpoint/2010/main" val="1356411504"/>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Prioritization Matrix 3</a:t>
            </a:r>
          </a:p>
        </p:txBody>
      </p:sp>
      <p:grpSp>
        <p:nvGrpSpPr>
          <p:cNvPr id="8" name="Group 7" descr="Matrix details">
            <a:extLst>
              <a:ext uri="{FF2B5EF4-FFF2-40B4-BE49-F238E27FC236}">
                <a16:creationId xmlns:a16="http://schemas.microsoft.com/office/drawing/2014/main" id="{2A971C13-F009-4CC2-85FE-4CB0BD042F18}"/>
              </a:ext>
            </a:extLst>
          </p:cNvPr>
          <p:cNvGrpSpPr/>
          <p:nvPr/>
        </p:nvGrpSpPr>
        <p:grpSpPr>
          <a:xfrm>
            <a:off x="1991544" y="1628800"/>
            <a:ext cx="4844100" cy="4284476"/>
            <a:chOff x="1991544" y="1628800"/>
            <a:chExt cx="4844100" cy="4284476"/>
          </a:xfrm>
        </p:grpSpPr>
        <p:sp>
          <p:nvSpPr>
            <p:cNvPr id="9" name="Rectangle 7">
              <a:extLst>
                <a:ext uri="{FF2B5EF4-FFF2-40B4-BE49-F238E27FC236}">
                  <a16:creationId xmlns:a16="http://schemas.microsoft.com/office/drawing/2014/main" id="{46A5C8D2-6AB3-4D56-85A8-F272D487A695}"/>
                </a:ext>
              </a:extLst>
            </p:cNvPr>
            <p:cNvSpPr>
              <a:spLocks noChangeArrowheads="1"/>
            </p:cNvSpPr>
            <p:nvPr/>
          </p:nvSpPr>
          <p:spPr bwMode="auto">
            <a:xfrm>
              <a:off x="2619674" y="1852484"/>
              <a:ext cx="3840074" cy="3524485"/>
            </a:xfrm>
            <a:prstGeom prst="rect">
              <a:avLst/>
            </a:prstGeom>
            <a:solidFill>
              <a:srgbClr val="BE82FF">
                <a:lumMod val="20000"/>
                <a:lumOff val="80000"/>
              </a:srgbClr>
            </a:solidFill>
            <a:ln w="6350" algn="ctr">
              <a:solidFill>
                <a:srgbClr val="96968C">
                  <a:lumMod val="40000"/>
                  <a:lumOff val="60000"/>
                </a:srgbClr>
              </a:solidFill>
              <a:miter lim="800000"/>
              <a:headEnd/>
              <a:tailEnd/>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2800" b="1" i="0" u="none" strike="noStrike" kern="0" cap="none" spc="0" normalizeH="0" baseline="0" noProof="0" dirty="0">
                <a:ln>
                  <a:noFill/>
                </a:ln>
                <a:solidFill>
                  <a:srgbClr val="000000"/>
                </a:solidFill>
                <a:effectLst/>
                <a:uLnTx/>
                <a:uFillTx/>
                <a:latin typeface="Arial"/>
                <a:ea typeface="+mn-ea"/>
                <a:cs typeface="+mn-cs"/>
              </a:endParaRPr>
            </a:p>
          </p:txBody>
        </p:sp>
        <p:sp>
          <p:nvSpPr>
            <p:cNvPr id="10" name="AutoShape 8">
              <a:extLst>
                <a:ext uri="{FF2B5EF4-FFF2-40B4-BE49-F238E27FC236}">
                  <a16:creationId xmlns:a16="http://schemas.microsoft.com/office/drawing/2014/main" id="{ED434FEE-13E1-48AA-BEF0-4D3841BC2232}"/>
                </a:ext>
              </a:extLst>
            </p:cNvPr>
            <p:cNvSpPr>
              <a:spLocks noChangeArrowheads="1"/>
            </p:cNvSpPr>
            <p:nvPr/>
          </p:nvSpPr>
          <p:spPr bwMode="auto">
            <a:xfrm rot="5400000">
              <a:off x="1894047" y="2556053"/>
              <a:ext cx="3483544" cy="2077778"/>
            </a:xfrm>
            <a:prstGeom prst="rtTriangle">
              <a:avLst/>
            </a:prstGeom>
            <a:solidFill>
              <a:srgbClr val="A100FF">
                <a:lumMod val="60000"/>
                <a:lumOff val="40000"/>
              </a:srgbClr>
            </a:solidFill>
            <a:ln w="3175" algn="ctr">
              <a:noFill/>
              <a:miter lim="800000"/>
              <a:headEnd/>
              <a:tailEnd/>
            </a:ln>
          </p:spPr>
          <p:txBody>
            <a:bodyPr rot="10800000" vert="eaVert"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1" name="AutoShape 9">
              <a:extLst>
                <a:ext uri="{FF2B5EF4-FFF2-40B4-BE49-F238E27FC236}">
                  <a16:creationId xmlns:a16="http://schemas.microsoft.com/office/drawing/2014/main" id="{2B902588-443A-4D54-BCF3-2E57C4A40145}"/>
                </a:ext>
              </a:extLst>
            </p:cNvPr>
            <p:cNvSpPr>
              <a:spLocks noChangeArrowheads="1"/>
            </p:cNvSpPr>
            <p:nvPr/>
          </p:nvSpPr>
          <p:spPr bwMode="auto">
            <a:xfrm flipH="1">
              <a:off x="2599131" y="3642962"/>
              <a:ext cx="3860618" cy="1734006"/>
            </a:xfrm>
            <a:prstGeom prst="rtTriangle">
              <a:avLst/>
            </a:prstGeom>
            <a:solidFill>
              <a:srgbClr val="A100FF">
                <a:lumMod val="40000"/>
                <a:lumOff val="60000"/>
              </a:srgbClr>
            </a:solidFill>
            <a:ln w="3175" algn="ctr">
              <a:noFill/>
              <a:miter lim="800000"/>
              <a:headEnd/>
              <a:tailEnd/>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2" name="Rectangle 10">
              <a:extLst>
                <a:ext uri="{FF2B5EF4-FFF2-40B4-BE49-F238E27FC236}">
                  <a16:creationId xmlns:a16="http://schemas.microsoft.com/office/drawing/2014/main" id="{56A6C49E-2510-47C2-9CF7-E100F4622EED}"/>
                </a:ext>
              </a:extLst>
            </p:cNvPr>
            <p:cNvSpPr>
              <a:spLocks noChangeArrowheads="1"/>
            </p:cNvSpPr>
            <p:nvPr/>
          </p:nvSpPr>
          <p:spPr bwMode="auto">
            <a:xfrm>
              <a:off x="2564566" y="1852484"/>
              <a:ext cx="562814" cy="3524484"/>
            </a:xfrm>
            <a:prstGeom prst="rect">
              <a:avLst/>
            </a:prstGeom>
            <a:solidFill>
              <a:srgbClr val="DCAFFF"/>
            </a:solidFill>
            <a:ln w="3175" algn="ctr">
              <a:noFill/>
              <a:miter lim="800000"/>
              <a:headEnd type="none" w="sm" len="sm"/>
              <a:tailEnd type="none" w="sm" len="sm"/>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3" name="Line 20">
              <a:extLst>
                <a:ext uri="{FF2B5EF4-FFF2-40B4-BE49-F238E27FC236}">
                  <a16:creationId xmlns:a16="http://schemas.microsoft.com/office/drawing/2014/main" id="{02C1C8D6-0566-4ADA-BB8E-D1572D4442A4}"/>
                </a:ext>
              </a:extLst>
            </p:cNvPr>
            <p:cNvSpPr>
              <a:spLocks noChangeShapeType="1"/>
            </p:cNvSpPr>
            <p:nvPr/>
          </p:nvSpPr>
          <p:spPr bwMode="auto">
            <a:xfrm flipV="1">
              <a:off x="3902145" y="1852484"/>
              <a:ext cx="0" cy="3524484"/>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4" name="Line 21">
              <a:extLst>
                <a:ext uri="{FF2B5EF4-FFF2-40B4-BE49-F238E27FC236}">
                  <a16:creationId xmlns:a16="http://schemas.microsoft.com/office/drawing/2014/main" id="{272E0704-3A09-4486-A605-15C42C2503DF}"/>
                </a:ext>
              </a:extLst>
            </p:cNvPr>
            <p:cNvSpPr>
              <a:spLocks noChangeShapeType="1"/>
            </p:cNvSpPr>
            <p:nvPr/>
          </p:nvSpPr>
          <p:spPr bwMode="auto">
            <a:xfrm>
              <a:off x="2557834" y="3131201"/>
              <a:ext cx="3869632" cy="0"/>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5" name="Line 22">
              <a:extLst>
                <a:ext uri="{FF2B5EF4-FFF2-40B4-BE49-F238E27FC236}">
                  <a16:creationId xmlns:a16="http://schemas.microsoft.com/office/drawing/2014/main" id="{142282EE-009A-4FCE-98B5-5006229E75CF}"/>
                </a:ext>
              </a:extLst>
            </p:cNvPr>
            <p:cNvSpPr>
              <a:spLocks noChangeShapeType="1"/>
            </p:cNvSpPr>
            <p:nvPr/>
          </p:nvSpPr>
          <p:spPr bwMode="auto">
            <a:xfrm flipV="1">
              <a:off x="5193419" y="1852484"/>
              <a:ext cx="0" cy="3524484"/>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6" name="Line 23">
              <a:extLst>
                <a:ext uri="{FF2B5EF4-FFF2-40B4-BE49-F238E27FC236}">
                  <a16:creationId xmlns:a16="http://schemas.microsoft.com/office/drawing/2014/main" id="{1DB2E22D-E8C4-46B0-BF12-A8F7FB5A4257}"/>
                </a:ext>
              </a:extLst>
            </p:cNvPr>
            <p:cNvSpPr>
              <a:spLocks noChangeShapeType="1"/>
            </p:cNvSpPr>
            <p:nvPr/>
          </p:nvSpPr>
          <p:spPr bwMode="auto">
            <a:xfrm>
              <a:off x="2557834" y="4228812"/>
              <a:ext cx="3900448" cy="0"/>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7" name="Text Box 24">
              <a:extLst>
                <a:ext uri="{FF2B5EF4-FFF2-40B4-BE49-F238E27FC236}">
                  <a16:creationId xmlns:a16="http://schemas.microsoft.com/office/drawing/2014/main" id="{0A0E1B00-6542-4871-891B-4E5C2A0CD1F8}"/>
                </a:ext>
              </a:extLst>
            </p:cNvPr>
            <p:cNvSpPr txBox="1">
              <a:spLocks noChangeArrowheads="1"/>
            </p:cNvSpPr>
            <p:nvPr/>
          </p:nvSpPr>
          <p:spPr bwMode="auto">
            <a:xfrm>
              <a:off x="3073063" y="1880690"/>
              <a:ext cx="1092717" cy="400110"/>
            </a:xfrm>
            <a:prstGeom prst="rect">
              <a:avLst/>
            </a:prstGeom>
            <a:noFill/>
            <a:ln w="12700" algn="ctr">
              <a:noFill/>
              <a:miter lim="800000"/>
              <a:headEnd type="none" w="sm" len="sm"/>
              <a:tailEnd type="none" w="sm" len="sm"/>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effectLst/>
                  <a:uLnTx/>
                  <a:uFillTx/>
                  <a:latin typeface="+mj-lt"/>
                  <a:ea typeface="+mn-ea"/>
                  <a:cs typeface="+mn-cs"/>
                </a:rPr>
                <a:t>Highly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effectLst/>
                  <a:uLnTx/>
                  <a:uFillTx/>
                  <a:latin typeface="+mj-lt"/>
                  <a:ea typeface="+mn-ea"/>
                  <a:cs typeface="+mn-cs"/>
                </a:rPr>
                <a:t>Desirable</a:t>
              </a:r>
            </a:p>
          </p:txBody>
        </p:sp>
        <p:sp>
          <p:nvSpPr>
            <p:cNvPr id="18" name="Text Box 25">
              <a:extLst>
                <a:ext uri="{FF2B5EF4-FFF2-40B4-BE49-F238E27FC236}">
                  <a16:creationId xmlns:a16="http://schemas.microsoft.com/office/drawing/2014/main" id="{30847B2A-9589-4E6B-8704-E7A8B50E310C}"/>
                </a:ext>
              </a:extLst>
            </p:cNvPr>
            <p:cNvSpPr txBox="1">
              <a:spLocks noChangeArrowheads="1"/>
            </p:cNvSpPr>
            <p:nvPr/>
          </p:nvSpPr>
          <p:spPr bwMode="auto">
            <a:xfrm>
              <a:off x="5465120" y="1880690"/>
              <a:ext cx="1136334" cy="400110"/>
            </a:xfrm>
            <a:prstGeom prst="rect">
              <a:avLst/>
            </a:prstGeom>
            <a:noFill/>
            <a:ln w="12700" algn="ctr">
              <a:noFill/>
              <a:miter lim="800000"/>
              <a:headEnd type="none" w="sm" len="sm"/>
              <a:tailEnd type="none" w="sm" len="sm"/>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mj-lt"/>
                  <a:ea typeface="+mn-ea"/>
                  <a:cs typeface="+mn-cs"/>
                </a:rPr>
                <a:t>Potentially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mj-lt"/>
                  <a:ea typeface="+mn-ea"/>
                  <a:cs typeface="+mn-cs"/>
                </a:rPr>
                <a:t>Desirable</a:t>
              </a:r>
            </a:p>
          </p:txBody>
        </p:sp>
        <p:sp>
          <p:nvSpPr>
            <p:cNvPr id="19" name="Text Box 26">
              <a:extLst>
                <a:ext uri="{FF2B5EF4-FFF2-40B4-BE49-F238E27FC236}">
                  <a16:creationId xmlns:a16="http://schemas.microsoft.com/office/drawing/2014/main" id="{9BBDB3E2-F568-4131-963A-00ECE713AACE}"/>
                </a:ext>
              </a:extLst>
            </p:cNvPr>
            <p:cNvSpPr txBox="1">
              <a:spLocks noChangeArrowheads="1"/>
            </p:cNvSpPr>
            <p:nvPr/>
          </p:nvSpPr>
          <p:spPr bwMode="auto">
            <a:xfrm>
              <a:off x="5432604" y="4830401"/>
              <a:ext cx="793807" cy="338554"/>
            </a:xfrm>
            <a:prstGeom prst="rect">
              <a:avLst/>
            </a:prstGeom>
            <a:noFill/>
            <a:ln w="12700" algn="ctr">
              <a:noFill/>
              <a:miter lim="800000"/>
              <a:headEnd type="none" w="sm" len="sm"/>
              <a:tailEnd type="none" w="sm" len="sm"/>
            </a:ln>
          </p:spPr>
          <p:txBody>
            <a:bodyPr wrap="none">
              <a:spAutoFit/>
            </a:bodyPr>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mj-lt"/>
                  <a:ea typeface="+mn-ea"/>
                  <a:cs typeface="+mn-cs"/>
                </a:rPr>
                <a:t>Least</a:t>
              </a:r>
            </a:p>
            <a:p>
              <a:pPr marL="0" marR="0" lvl="0" indent="0" algn="l"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mj-lt"/>
                  <a:ea typeface="+mn-ea"/>
                  <a:cs typeface="+mn-cs"/>
                </a:rPr>
                <a:t>Desirable</a:t>
              </a:r>
            </a:p>
          </p:txBody>
        </p:sp>
        <p:sp>
          <p:nvSpPr>
            <p:cNvPr id="20" name="Text Box 27">
              <a:extLst>
                <a:ext uri="{FF2B5EF4-FFF2-40B4-BE49-F238E27FC236}">
                  <a16:creationId xmlns:a16="http://schemas.microsoft.com/office/drawing/2014/main" id="{A495325C-C886-4F6D-B536-F597F94B1804}"/>
                </a:ext>
              </a:extLst>
            </p:cNvPr>
            <p:cNvSpPr txBox="1">
              <a:spLocks noChangeArrowheads="1"/>
            </p:cNvSpPr>
            <p:nvPr/>
          </p:nvSpPr>
          <p:spPr bwMode="auto">
            <a:xfrm>
              <a:off x="2543492" y="4830401"/>
              <a:ext cx="559769" cy="338554"/>
            </a:xfrm>
            <a:prstGeom prst="rect">
              <a:avLst/>
            </a:prstGeom>
            <a:noFill/>
            <a:ln w="12700" algn="ctr">
              <a:noFill/>
              <a:miter lim="800000"/>
              <a:headEnd type="none" w="sm" len="sm"/>
              <a:tailEnd type="none" w="sm" len="sm"/>
            </a:ln>
          </p:spPr>
          <p:txBody>
            <a:bodyPr wrap="none">
              <a:spAutoFit/>
            </a:bodyPr>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mn-cs"/>
                </a:rPr>
                <a:t>Quick</a:t>
              </a:r>
            </a:p>
            <a:p>
              <a:pPr marL="0" marR="0" lvl="0" indent="0" algn="l"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mn-cs"/>
                </a:rPr>
                <a:t>Hits</a:t>
              </a:r>
            </a:p>
          </p:txBody>
        </p:sp>
        <p:grpSp>
          <p:nvGrpSpPr>
            <p:cNvPr id="21" name="Group 4">
              <a:extLst>
                <a:ext uri="{FF2B5EF4-FFF2-40B4-BE49-F238E27FC236}">
                  <a16:creationId xmlns:a16="http://schemas.microsoft.com/office/drawing/2014/main" id="{0AA4BED7-443F-4F69-9C8B-A1C14F80A52D}"/>
                </a:ext>
              </a:extLst>
            </p:cNvPr>
            <p:cNvGrpSpPr/>
            <p:nvPr/>
          </p:nvGrpSpPr>
          <p:grpSpPr bwMode="auto">
            <a:xfrm>
              <a:off x="2809764" y="2502758"/>
              <a:ext cx="2783860" cy="2307610"/>
              <a:chOff x="1285764" y="2502758"/>
              <a:chExt cx="2783860" cy="2307610"/>
            </a:xfrm>
          </p:grpSpPr>
          <p:sp>
            <p:nvSpPr>
              <p:cNvPr id="33" name="Oval 32">
                <a:extLst>
                  <a:ext uri="{FF2B5EF4-FFF2-40B4-BE49-F238E27FC236}">
                    <a16:creationId xmlns:a16="http://schemas.microsoft.com/office/drawing/2014/main" id="{892CCC71-FA19-41F5-B0AB-2ABA4009DACD}"/>
                  </a:ext>
                </a:extLst>
              </p:cNvPr>
              <p:cNvSpPr/>
              <p:nvPr/>
            </p:nvSpPr>
            <p:spPr bwMode="auto">
              <a:xfrm>
                <a:off x="2590689" y="2569433"/>
                <a:ext cx="240685" cy="240685"/>
              </a:xfrm>
              <a:prstGeom prst="ellipse">
                <a:avLst/>
              </a:prstGeom>
              <a:solidFill>
                <a:srgbClr val="A100FF"/>
              </a:solidFill>
              <a:ln w="25400" cap="flat" cmpd="sng" algn="ctr">
                <a:noFill/>
                <a:prstDash val="solid"/>
              </a:ln>
              <a:effectLst/>
            </p:spPr>
            <p:txBody>
              <a:bodyPr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1</a:t>
                </a:r>
              </a:p>
            </p:txBody>
          </p:sp>
          <p:sp>
            <p:nvSpPr>
              <p:cNvPr id="34" name="Oval 33">
                <a:extLst>
                  <a:ext uri="{FF2B5EF4-FFF2-40B4-BE49-F238E27FC236}">
                    <a16:creationId xmlns:a16="http://schemas.microsoft.com/office/drawing/2014/main" id="{4771F673-FA77-4828-8A61-4E90C5846783}"/>
                  </a:ext>
                </a:extLst>
              </p:cNvPr>
              <p:cNvSpPr/>
              <p:nvPr/>
            </p:nvSpPr>
            <p:spPr bwMode="auto">
              <a:xfrm>
                <a:off x="2981214" y="3464783"/>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17</a:t>
                </a:r>
              </a:p>
            </p:txBody>
          </p:sp>
          <p:sp>
            <p:nvSpPr>
              <p:cNvPr id="35" name="Oval 34">
                <a:extLst>
                  <a:ext uri="{FF2B5EF4-FFF2-40B4-BE49-F238E27FC236}">
                    <a16:creationId xmlns:a16="http://schemas.microsoft.com/office/drawing/2014/main" id="{71881C1D-5491-4BA8-957F-9813B914D7CB}"/>
                  </a:ext>
                </a:extLst>
              </p:cNvPr>
              <p:cNvSpPr/>
              <p:nvPr/>
            </p:nvSpPr>
            <p:spPr bwMode="auto">
              <a:xfrm>
                <a:off x="1495314" y="2502758"/>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16</a:t>
                </a:r>
              </a:p>
            </p:txBody>
          </p:sp>
          <p:sp>
            <p:nvSpPr>
              <p:cNvPr id="36" name="Oval 35">
                <a:extLst>
                  <a:ext uri="{FF2B5EF4-FFF2-40B4-BE49-F238E27FC236}">
                    <a16:creationId xmlns:a16="http://schemas.microsoft.com/office/drawing/2014/main" id="{487088ED-B0F5-4DDA-83BE-555E0FB8E3FC}"/>
                  </a:ext>
                </a:extLst>
              </p:cNvPr>
              <p:cNvSpPr/>
              <p:nvPr/>
            </p:nvSpPr>
            <p:spPr bwMode="auto">
              <a:xfrm>
                <a:off x="2790714" y="4503008"/>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15</a:t>
                </a:r>
              </a:p>
            </p:txBody>
          </p:sp>
          <p:sp>
            <p:nvSpPr>
              <p:cNvPr id="37" name="Oval 36">
                <a:extLst>
                  <a:ext uri="{FF2B5EF4-FFF2-40B4-BE49-F238E27FC236}">
                    <a16:creationId xmlns:a16="http://schemas.microsoft.com/office/drawing/2014/main" id="{7C326016-0EF9-4AEC-B367-4D5DFB4795F9}"/>
                  </a:ext>
                </a:extLst>
              </p:cNvPr>
              <p:cNvSpPr/>
              <p:nvPr/>
            </p:nvSpPr>
            <p:spPr bwMode="auto">
              <a:xfrm>
                <a:off x="3552714" y="4179158"/>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14</a:t>
                </a:r>
              </a:p>
            </p:txBody>
          </p:sp>
          <p:sp>
            <p:nvSpPr>
              <p:cNvPr id="38" name="Oval 37">
                <a:extLst>
                  <a:ext uri="{FF2B5EF4-FFF2-40B4-BE49-F238E27FC236}">
                    <a16:creationId xmlns:a16="http://schemas.microsoft.com/office/drawing/2014/main" id="{908F888C-6461-4F9C-8DD6-6C42938BB5EC}"/>
                  </a:ext>
                </a:extLst>
              </p:cNvPr>
              <p:cNvSpPr/>
              <p:nvPr/>
            </p:nvSpPr>
            <p:spPr bwMode="auto">
              <a:xfrm>
                <a:off x="2028714" y="3579083"/>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13</a:t>
                </a:r>
              </a:p>
            </p:txBody>
          </p:sp>
          <p:sp>
            <p:nvSpPr>
              <p:cNvPr id="39" name="Oval 38">
                <a:extLst>
                  <a:ext uri="{FF2B5EF4-FFF2-40B4-BE49-F238E27FC236}">
                    <a16:creationId xmlns:a16="http://schemas.microsoft.com/office/drawing/2014/main" id="{5739CCA5-A20C-489A-869A-4CA5C74DF229}"/>
                  </a:ext>
                </a:extLst>
              </p:cNvPr>
              <p:cNvSpPr/>
              <p:nvPr/>
            </p:nvSpPr>
            <p:spPr bwMode="auto">
              <a:xfrm>
                <a:off x="3828939" y="2531333"/>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12</a:t>
                </a:r>
              </a:p>
            </p:txBody>
          </p:sp>
          <p:sp>
            <p:nvSpPr>
              <p:cNvPr id="40" name="Oval 39">
                <a:extLst>
                  <a:ext uri="{FF2B5EF4-FFF2-40B4-BE49-F238E27FC236}">
                    <a16:creationId xmlns:a16="http://schemas.microsoft.com/office/drawing/2014/main" id="{4D4453FA-8FEA-4299-A905-DE0FEEE5CB39}"/>
                  </a:ext>
                </a:extLst>
              </p:cNvPr>
              <p:cNvSpPr/>
              <p:nvPr/>
            </p:nvSpPr>
            <p:spPr bwMode="auto">
              <a:xfrm>
                <a:off x="1285764" y="4283933"/>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11</a:t>
                </a:r>
              </a:p>
            </p:txBody>
          </p:sp>
          <p:sp>
            <p:nvSpPr>
              <p:cNvPr id="41" name="Oval 40">
                <a:extLst>
                  <a:ext uri="{FF2B5EF4-FFF2-40B4-BE49-F238E27FC236}">
                    <a16:creationId xmlns:a16="http://schemas.microsoft.com/office/drawing/2014/main" id="{D060CA61-A8C1-4D84-B966-15FE95FE7A71}"/>
                  </a:ext>
                </a:extLst>
              </p:cNvPr>
              <p:cNvSpPr/>
              <p:nvPr/>
            </p:nvSpPr>
            <p:spPr bwMode="auto">
              <a:xfrm>
                <a:off x="3695589" y="3398108"/>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10</a:t>
                </a:r>
              </a:p>
            </p:txBody>
          </p:sp>
          <p:sp>
            <p:nvSpPr>
              <p:cNvPr id="42" name="Oval 41">
                <a:extLst>
                  <a:ext uri="{FF2B5EF4-FFF2-40B4-BE49-F238E27FC236}">
                    <a16:creationId xmlns:a16="http://schemas.microsoft.com/office/drawing/2014/main" id="{D3CA0E1E-E985-4C26-9E1F-CC3E7A63F360}"/>
                  </a:ext>
                </a:extLst>
              </p:cNvPr>
              <p:cNvSpPr/>
              <p:nvPr/>
            </p:nvSpPr>
            <p:spPr bwMode="auto">
              <a:xfrm>
                <a:off x="1485789" y="3636233"/>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9</a:t>
                </a:r>
              </a:p>
            </p:txBody>
          </p:sp>
          <p:sp>
            <p:nvSpPr>
              <p:cNvPr id="43" name="Oval 42">
                <a:extLst>
                  <a:ext uri="{FF2B5EF4-FFF2-40B4-BE49-F238E27FC236}">
                    <a16:creationId xmlns:a16="http://schemas.microsoft.com/office/drawing/2014/main" id="{C5DE7EDC-1EBE-40F8-AA62-698D8B7C8603}"/>
                  </a:ext>
                </a:extLst>
              </p:cNvPr>
              <p:cNvSpPr/>
              <p:nvPr/>
            </p:nvSpPr>
            <p:spPr bwMode="auto">
              <a:xfrm>
                <a:off x="3314589" y="2540858"/>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8</a:t>
                </a:r>
              </a:p>
            </p:txBody>
          </p:sp>
          <p:sp>
            <p:nvSpPr>
              <p:cNvPr id="44" name="Oval 43">
                <a:extLst>
                  <a:ext uri="{FF2B5EF4-FFF2-40B4-BE49-F238E27FC236}">
                    <a16:creationId xmlns:a16="http://schemas.microsoft.com/office/drawing/2014/main" id="{137F352B-6916-4D8C-A245-2946B228202F}"/>
                  </a:ext>
                </a:extLst>
              </p:cNvPr>
              <p:cNvSpPr/>
              <p:nvPr/>
            </p:nvSpPr>
            <p:spPr bwMode="auto">
              <a:xfrm>
                <a:off x="1838214" y="2674208"/>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7</a:t>
                </a:r>
              </a:p>
            </p:txBody>
          </p:sp>
          <p:sp>
            <p:nvSpPr>
              <p:cNvPr id="45" name="Oval 44">
                <a:extLst>
                  <a:ext uri="{FF2B5EF4-FFF2-40B4-BE49-F238E27FC236}">
                    <a16:creationId xmlns:a16="http://schemas.microsoft.com/office/drawing/2014/main" id="{960ED2EB-94F1-4CDA-B06B-E53FD1B285E2}"/>
                  </a:ext>
                </a:extLst>
              </p:cNvPr>
              <p:cNvSpPr/>
              <p:nvPr/>
            </p:nvSpPr>
            <p:spPr bwMode="auto">
              <a:xfrm>
                <a:off x="2314464" y="3912458"/>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6</a:t>
                </a:r>
              </a:p>
            </p:txBody>
          </p:sp>
          <p:sp>
            <p:nvSpPr>
              <p:cNvPr id="46" name="Oval 45">
                <a:extLst>
                  <a:ext uri="{FF2B5EF4-FFF2-40B4-BE49-F238E27FC236}">
                    <a16:creationId xmlns:a16="http://schemas.microsoft.com/office/drawing/2014/main" id="{A337A380-FE06-45DA-A12D-CCCAC0601369}"/>
                  </a:ext>
                </a:extLst>
              </p:cNvPr>
              <p:cNvSpPr/>
              <p:nvPr/>
            </p:nvSpPr>
            <p:spPr bwMode="auto">
              <a:xfrm>
                <a:off x="1581039" y="4569683"/>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5</a:t>
                </a:r>
              </a:p>
            </p:txBody>
          </p:sp>
          <p:sp>
            <p:nvSpPr>
              <p:cNvPr id="47" name="Oval 46">
                <a:extLst>
                  <a:ext uri="{FF2B5EF4-FFF2-40B4-BE49-F238E27FC236}">
                    <a16:creationId xmlns:a16="http://schemas.microsoft.com/office/drawing/2014/main" id="{AEF7ADEB-4910-416D-8276-63EE4223B17F}"/>
                  </a:ext>
                </a:extLst>
              </p:cNvPr>
              <p:cNvSpPr/>
              <p:nvPr/>
            </p:nvSpPr>
            <p:spPr bwMode="auto">
              <a:xfrm>
                <a:off x="1752489" y="3331433"/>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4</a:t>
                </a:r>
              </a:p>
            </p:txBody>
          </p:sp>
          <p:sp>
            <p:nvSpPr>
              <p:cNvPr id="48" name="Oval 47">
                <a:extLst>
                  <a:ext uri="{FF2B5EF4-FFF2-40B4-BE49-F238E27FC236}">
                    <a16:creationId xmlns:a16="http://schemas.microsoft.com/office/drawing/2014/main" id="{100C0D58-83A0-4331-B947-142A84E67C6C}"/>
                  </a:ext>
                </a:extLst>
              </p:cNvPr>
              <p:cNvSpPr/>
              <p:nvPr/>
            </p:nvSpPr>
            <p:spPr bwMode="auto">
              <a:xfrm>
                <a:off x="2809764" y="2921858"/>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3</a:t>
                </a:r>
              </a:p>
            </p:txBody>
          </p:sp>
          <p:sp>
            <p:nvSpPr>
              <p:cNvPr id="49" name="Oval 48">
                <a:extLst>
                  <a:ext uri="{FF2B5EF4-FFF2-40B4-BE49-F238E27FC236}">
                    <a16:creationId xmlns:a16="http://schemas.microsoft.com/office/drawing/2014/main" id="{EFC7934E-E8E4-41D0-82EF-78490FD219A9}"/>
                  </a:ext>
                </a:extLst>
              </p:cNvPr>
              <p:cNvSpPr/>
              <p:nvPr/>
            </p:nvSpPr>
            <p:spPr bwMode="auto">
              <a:xfrm>
                <a:off x="3695589" y="4455383"/>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2</a:t>
                </a:r>
              </a:p>
            </p:txBody>
          </p:sp>
        </p:grpSp>
        <p:grpSp>
          <p:nvGrpSpPr>
            <p:cNvPr id="22" name="Group 65">
              <a:extLst>
                <a:ext uri="{FF2B5EF4-FFF2-40B4-BE49-F238E27FC236}">
                  <a16:creationId xmlns:a16="http://schemas.microsoft.com/office/drawing/2014/main" id="{28C9BD17-A518-4770-9808-F605186E594A}"/>
                </a:ext>
              </a:extLst>
            </p:cNvPr>
            <p:cNvGrpSpPr/>
            <p:nvPr/>
          </p:nvGrpSpPr>
          <p:grpSpPr bwMode="auto">
            <a:xfrm>
              <a:off x="1991544" y="1628800"/>
              <a:ext cx="4844100" cy="4284476"/>
              <a:chOff x="610162" y="1709192"/>
              <a:chExt cx="4844100" cy="4284476"/>
            </a:xfrm>
          </p:grpSpPr>
          <p:sp>
            <p:nvSpPr>
              <p:cNvPr id="23" name="Text Box 11">
                <a:extLst>
                  <a:ext uri="{FF2B5EF4-FFF2-40B4-BE49-F238E27FC236}">
                    <a16:creationId xmlns:a16="http://schemas.microsoft.com/office/drawing/2014/main" id="{62D6CCFE-4CC5-41D6-A0B5-3EBFF910C9AB}"/>
                  </a:ext>
                </a:extLst>
              </p:cNvPr>
              <p:cNvSpPr txBox="1">
                <a:spLocks noChangeArrowheads="1"/>
              </p:cNvSpPr>
              <p:nvPr/>
            </p:nvSpPr>
            <p:spPr bwMode="auto">
              <a:xfrm>
                <a:off x="610162" y="1709192"/>
                <a:ext cx="1089902" cy="147733"/>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Value</a:t>
                </a:r>
              </a:p>
            </p:txBody>
          </p:sp>
          <p:sp>
            <p:nvSpPr>
              <p:cNvPr id="24" name="Text Box 11">
                <a:extLst>
                  <a:ext uri="{FF2B5EF4-FFF2-40B4-BE49-F238E27FC236}">
                    <a16:creationId xmlns:a16="http://schemas.microsoft.com/office/drawing/2014/main" id="{74D601BC-9CF5-4242-B0A3-CA1822C24D4E}"/>
                  </a:ext>
                </a:extLst>
              </p:cNvPr>
              <p:cNvSpPr txBox="1">
                <a:spLocks noChangeArrowheads="1"/>
              </p:cNvSpPr>
              <p:nvPr/>
            </p:nvSpPr>
            <p:spPr bwMode="auto">
              <a:xfrm>
                <a:off x="4364360" y="5845935"/>
                <a:ext cx="1089902" cy="147733"/>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Effort</a:t>
                </a:r>
              </a:p>
            </p:txBody>
          </p:sp>
          <p:sp>
            <p:nvSpPr>
              <p:cNvPr id="25" name="Text Box 13">
                <a:extLst>
                  <a:ext uri="{FF2B5EF4-FFF2-40B4-BE49-F238E27FC236}">
                    <a16:creationId xmlns:a16="http://schemas.microsoft.com/office/drawing/2014/main" id="{9A9B1FEC-BF79-4F98-AB26-7E9FEB6BAE37}"/>
                  </a:ext>
                </a:extLst>
              </p:cNvPr>
              <p:cNvSpPr txBox="1">
                <a:spLocks noChangeArrowheads="1"/>
              </p:cNvSpPr>
              <p:nvPr/>
            </p:nvSpPr>
            <p:spPr bwMode="auto">
              <a:xfrm>
                <a:off x="4176348" y="5557904"/>
                <a:ext cx="859346"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High</a:t>
                </a:r>
              </a:p>
            </p:txBody>
          </p:sp>
          <p:sp>
            <p:nvSpPr>
              <p:cNvPr id="26" name="Text Box 14">
                <a:extLst>
                  <a:ext uri="{FF2B5EF4-FFF2-40B4-BE49-F238E27FC236}">
                    <a16:creationId xmlns:a16="http://schemas.microsoft.com/office/drawing/2014/main" id="{89BD6DB8-8A68-4DE5-A753-EC2E1772BE04}"/>
                  </a:ext>
                </a:extLst>
              </p:cNvPr>
              <p:cNvSpPr txBox="1">
                <a:spLocks noChangeArrowheads="1"/>
              </p:cNvSpPr>
              <p:nvPr/>
            </p:nvSpPr>
            <p:spPr bwMode="auto">
              <a:xfrm>
                <a:off x="999249" y="5557904"/>
                <a:ext cx="890088"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Low</a:t>
                </a:r>
              </a:p>
            </p:txBody>
          </p:sp>
          <p:sp>
            <p:nvSpPr>
              <p:cNvPr id="27" name="Text Box 15">
                <a:extLst>
                  <a:ext uri="{FF2B5EF4-FFF2-40B4-BE49-F238E27FC236}">
                    <a16:creationId xmlns:a16="http://schemas.microsoft.com/office/drawing/2014/main" id="{9D228F16-F010-4A22-8AE8-30846FE6FBE1}"/>
                  </a:ext>
                </a:extLst>
              </p:cNvPr>
              <p:cNvSpPr txBox="1">
                <a:spLocks noChangeArrowheads="1"/>
              </p:cNvSpPr>
              <p:nvPr/>
            </p:nvSpPr>
            <p:spPr bwMode="auto">
              <a:xfrm>
                <a:off x="2690737" y="5557904"/>
                <a:ext cx="762932"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Med</a:t>
                </a:r>
              </a:p>
            </p:txBody>
          </p:sp>
          <p:sp>
            <p:nvSpPr>
              <p:cNvPr id="28" name="Text Box 13">
                <a:extLst>
                  <a:ext uri="{FF2B5EF4-FFF2-40B4-BE49-F238E27FC236}">
                    <a16:creationId xmlns:a16="http://schemas.microsoft.com/office/drawing/2014/main" id="{DC6E9FE8-B342-4A11-AB53-25B5BABF3998}"/>
                  </a:ext>
                </a:extLst>
              </p:cNvPr>
              <p:cNvSpPr txBox="1">
                <a:spLocks noChangeArrowheads="1"/>
              </p:cNvSpPr>
              <p:nvPr/>
            </p:nvSpPr>
            <p:spPr bwMode="auto">
              <a:xfrm>
                <a:off x="662842" y="2635769"/>
                <a:ext cx="859346"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High</a:t>
                </a:r>
              </a:p>
            </p:txBody>
          </p:sp>
          <p:sp>
            <p:nvSpPr>
              <p:cNvPr id="29" name="Text Box 14">
                <a:extLst>
                  <a:ext uri="{FF2B5EF4-FFF2-40B4-BE49-F238E27FC236}">
                    <a16:creationId xmlns:a16="http://schemas.microsoft.com/office/drawing/2014/main" id="{E0D93EEB-55AC-40D9-BF2A-7780DB7D12B4}"/>
                  </a:ext>
                </a:extLst>
              </p:cNvPr>
              <p:cNvSpPr txBox="1">
                <a:spLocks noChangeArrowheads="1"/>
              </p:cNvSpPr>
              <p:nvPr/>
            </p:nvSpPr>
            <p:spPr bwMode="auto">
              <a:xfrm>
                <a:off x="662842" y="4836633"/>
                <a:ext cx="890088"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Low</a:t>
                </a:r>
              </a:p>
            </p:txBody>
          </p:sp>
          <p:sp>
            <p:nvSpPr>
              <p:cNvPr id="30" name="Text Box 15">
                <a:extLst>
                  <a:ext uri="{FF2B5EF4-FFF2-40B4-BE49-F238E27FC236}">
                    <a16:creationId xmlns:a16="http://schemas.microsoft.com/office/drawing/2014/main" id="{086F7E33-0B4C-4CFB-BFE2-34F3627E70F5}"/>
                  </a:ext>
                </a:extLst>
              </p:cNvPr>
              <p:cNvSpPr txBox="1">
                <a:spLocks noChangeArrowheads="1"/>
              </p:cNvSpPr>
              <p:nvPr/>
            </p:nvSpPr>
            <p:spPr bwMode="auto">
              <a:xfrm>
                <a:off x="662842" y="3802512"/>
                <a:ext cx="762932"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Med</a:t>
                </a:r>
              </a:p>
            </p:txBody>
          </p:sp>
          <p:sp>
            <p:nvSpPr>
              <p:cNvPr id="31" name="Line 28">
                <a:extLst>
                  <a:ext uri="{FF2B5EF4-FFF2-40B4-BE49-F238E27FC236}">
                    <a16:creationId xmlns:a16="http://schemas.microsoft.com/office/drawing/2014/main" id="{E8B5AB64-0B29-4050-84FA-5EE19A1201FA}"/>
                  </a:ext>
                </a:extLst>
              </p:cNvPr>
              <p:cNvSpPr>
                <a:spLocks noChangeShapeType="1"/>
              </p:cNvSpPr>
              <p:nvPr/>
            </p:nvSpPr>
            <p:spPr bwMode="auto">
              <a:xfrm>
                <a:off x="1183184" y="5457361"/>
                <a:ext cx="4215510" cy="0"/>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2" name="Line 28">
                <a:extLst>
                  <a:ext uri="{FF2B5EF4-FFF2-40B4-BE49-F238E27FC236}">
                    <a16:creationId xmlns:a16="http://schemas.microsoft.com/office/drawing/2014/main" id="{CFAF2F0F-5BBA-4FB4-B66E-295547E76C66}"/>
                  </a:ext>
                </a:extLst>
              </p:cNvPr>
              <p:cNvSpPr>
                <a:spLocks noChangeShapeType="1"/>
              </p:cNvSpPr>
              <p:nvPr/>
            </p:nvSpPr>
            <p:spPr bwMode="auto">
              <a:xfrm flipV="1">
                <a:off x="1176452" y="1709192"/>
                <a:ext cx="0" cy="3748168"/>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grpSp>
      </p:grpSp>
      <p:sp>
        <p:nvSpPr>
          <p:cNvPr id="7" name="Rectangle 6">
            <a:extLst>
              <a:ext uri="{FF2B5EF4-FFF2-40B4-BE49-F238E27FC236}">
                <a16:creationId xmlns:a16="http://schemas.microsoft.com/office/drawing/2014/main" id="{80E753B9-CEF6-4194-9F77-DA52B928E2E5}"/>
              </a:ext>
            </a:extLst>
          </p:cNvPr>
          <p:cNvSpPr/>
          <p:nvPr/>
        </p:nvSpPr>
        <p:spPr bwMode="auto">
          <a:xfrm>
            <a:off x="8071520" y="1628800"/>
            <a:ext cx="2124236" cy="3919022"/>
          </a:xfrm>
          <a:prstGeom prst="rect">
            <a:avLst/>
          </a:prstGeom>
        </p:spPr>
        <p:txBody>
          <a:bodyPr wrap="square" lIns="0" tIns="0" rIns="0" bIns="0">
            <a:spAutoFit/>
          </a:bodyPr>
          <a:lstStyle/>
          <a:p>
            <a:pPr marL="144000" marR="0" lvl="0" indent="-144000" algn="l" defTabSz="914400" rtl="0" eaLnBrk="0" fontAlgn="auto" latinLnBrk="0" hangingPunct="0">
              <a:lnSpc>
                <a:spcPct val="100000"/>
              </a:lnSpc>
              <a:spcBef>
                <a:spcPts val="200"/>
              </a:spcBef>
              <a:spcAft>
                <a:spcPts val="20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mj-lt"/>
                <a:ea typeface="+mn-ea"/>
                <a:cs typeface="+mn-cs"/>
              </a:rPr>
              <a:t>Opportunities to Explore:</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1</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2</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3</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4</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5</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6</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7</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8</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9</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10</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11</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12</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13</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14</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15</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16</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mn-ea"/>
                <a:cs typeface="+mn-cs"/>
              </a:rPr>
              <a:t>Opportunity Area 17</a:t>
            </a:r>
          </a:p>
        </p:txBody>
      </p:sp>
      <p:sp>
        <p:nvSpPr>
          <p:cNvPr id="3" name="Footer Placeholder 2">
            <a:extLst>
              <a:ext uri="{FF2B5EF4-FFF2-40B4-BE49-F238E27FC236}">
                <a16:creationId xmlns:a16="http://schemas.microsoft.com/office/drawing/2014/main" id="{9E5DBDF3-7633-431C-9558-DA62A62E1E2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768AA199-E07A-4B35-B525-FECBFF9BD128}"/>
              </a:ext>
            </a:extLst>
          </p:cNvPr>
          <p:cNvSpPr>
            <a:spLocks noGrp="1"/>
          </p:cNvSpPr>
          <p:nvPr>
            <p:ph type="sldNum" sz="quarter" idx="10"/>
          </p:nvPr>
        </p:nvSpPr>
        <p:spPr/>
        <p:txBody>
          <a:bodyPr/>
          <a:lstStyle/>
          <a:p>
            <a:fld id="{1F90F471-3972-4120-B8B3-0237DE626C35}" type="slidenum">
              <a:rPr lang="en-US" smtClean="0"/>
              <a:pPr/>
              <a:t>388</a:t>
            </a:fld>
            <a:endParaRPr lang="en-US" dirty="0"/>
          </a:p>
        </p:txBody>
      </p:sp>
    </p:spTree>
    <p:extLst>
      <p:ext uri="{BB962C8B-B14F-4D97-AF65-F5344CB8AC3E}">
        <p14:creationId xmlns:p14="http://schemas.microsoft.com/office/powerpoint/2010/main" val="652748147"/>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Benefit Effort Matrix 1</a:t>
            </a:r>
          </a:p>
        </p:txBody>
      </p:sp>
      <p:sp>
        <p:nvSpPr>
          <p:cNvPr id="11" name="Rectangle 6">
            <a:extLst>
              <a:ext uri="{FF2B5EF4-FFF2-40B4-BE49-F238E27FC236}">
                <a16:creationId xmlns:a16="http://schemas.microsoft.com/office/drawing/2014/main" id="{3765A4B2-EBFE-4C6A-802D-7705F6ADBA4E}"/>
              </a:ext>
            </a:extLst>
          </p:cNvPr>
          <p:cNvSpPr>
            <a:spLocks noChangeArrowheads="1"/>
          </p:cNvSpPr>
          <p:nvPr/>
        </p:nvSpPr>
        <p:spPr bwMode="gray">
          <a:xfrm>
            <a:off x="381000" y="1101412"/>
            <a:ext cx="4342751" cy="839570"/>
          </a:xfrm>
          <a:prstGeom prst="rect">
            <a:avLst/>
          </a:prstGeom>
          <a:solidFill>
            <a:srgbClr val="F8F8F8"/>
          </a:solidFill>
          <a:ln w="9525" algn="ctr">
            <a:solidFill>
              <a:srgbClr val="E6E6E6"/>
            </a:solidFill>
            <a:miter lim="800000"/>
            <a:headEnd/>
            <a:tailEnd/>
          </a:ln>
        </p:spPr>
        <p:txBody>
          <a:bodyPr lIns="91440" tIns="91440" rIns="91440" bIns="9144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2"/>
                </a:solidFill>
                <a:effectLst/>
                <a:uLnTx/>
                <a:uFillTx/>
                <a:latin typeface="+mj-lt"/>
                <a:ea typeface="+mn-ea"/>
                <a:cs typeface="+mn-cs"/>
              </a:rPr>
              <a:t>Purpo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ea typeface="+mn-ea"/>
                <a:cs typeface="+mn-cs"/>
              </a:rPr>
              <a:t>Provides framework and graphical tool for assessing the expected benefit and perceived effort of one process improvement project relative to another</a:t>
            </a:r>
          </a:p>
        </p:txBody>
      </p:sp>
      <p:sp>
        <p:nvSpPr>
          <p:cNvPr id="7" name="Text Box 5">
            <a:extLst>
              <a:ext uri="{FF2B5EF4-FFF2-40B4-BE49-F238E27FC236}">
                <a16:creationId xmlns:a16="http://schemas.microsoft.com/office/drawing/2014/main" id="{326BC11A-E1A2-464F-9DF8-5ECC3ACF7003}"/>
              </a:ext>
            </a:extLst>
          </p:cNvPr>
          <p:cNvSpPr txBox="1">
            <a:spLocks noChangeArrowheads="1"/>
          </p:cNvSpPr>
          <p:nvPr/>
        </p:nvSpPr>
        <p:spPr bwMode="gray">
          <a:xfrm>
            <a:off x="386707" y="2027479"/>
            <a:ext cx="4338637" cy="2782330"/>
          </a:xfrm>
          <a:prstGeom prst="rect">
            <a:avLst/>
          </a:prstGeom>
          <a:solidFill>
            <a:srgbClr val="F8F8F8"/>
          </a:solidFill>
          <a:ln w="9525" algn="ctr">
            <a:solidFill>
              <a:srgbClr val="E6E6E6"/>
            </a:solidFill>
            <a:miter lim="800000"/>
            <a:headEnd/>
            <a:tailEnd/>
          </a:ln>
        </p:spPr>
        <p:txBody>
          <a:bodyPr lIns="91440" tIns="91440" bIns="91440"/>
          <a:lstStyle/>
          <a:p>
            <a:pPr marL="112713" marR="0" lvl="0" indent="-112713" algn="l" defTabSz="914400" rtl="0" eaLnBrk="1" fontAlgn="auto" latinLnBrk="0" hangingPunct="1">
              <a:lnSpc>
                <a:spcPct val="120000"/>
              </a:lnSpc>
              <a:spcBef>
                <a:spcPts val="0"/>
              </a:spcBef>
              <a:spcAft>
                <a:spcPts val="0"/>
              </a:spcAft>
              <a:buClr>
                <a:srgbClr val="000000"/>
              </a:buClr>
              <a:buSzPct val="100000"/>
              <a:buFontTx/>
              <a:buNone/>
              <a:tabLst/>
              <a:defRPr/>
            </a:pPr>
            <a:r>
              <a:rPr kumimoji="0" lang="en-GB" sz="1200" b="1" i="0" u="none" strike="noStrike" kern="0" cap="none" spc="0" normalizeH="0" baseline="0" noProof="0" dirty="0">
                <a:ln>
                  <a:noFill/>
                </a:ln>
                <a:solidFill>
                  <a:schemeClr val="accent2"/>
                </a:solidFill>
                <a:effectLst/>
                <a:uLnTx/>
                <a:uFillTx/>
                <a:latin typeface="+mj-lt"/>
                <a:ea typeface="宋体" pitchFamily="2" charset="-122"/>
                <a:cs typeface="+mn-cs"/>
              </a:rPr>
              <a:t>Asset Description/Definition:</a:t>
            </a:r>
          </a:p>
          <a:p>
            <a:pPr marL="112713" marR="0" lvl="0" indent="-112713"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0" cap="none" spc="0" normalizeH="0" baseline="0" noProof="0" dirty="0">
                <a:ln>
                  <a:noFill/>
                </a:ln>
                <a:solidFill>
                  <a:srgbClr val="000000"/>
                </a:solidFill>
                <a:effectLst/>
                <a:uLnTx/>
                <a:uFillTx/>
                <a:ea typeface="+mn-ea"/>
                <a:cs typeface="+mn-cs"/>
              </a:rPr>
              <a:t>This initial screening procedure and graph helps to facilitate a discussion around the potential benefits to be realized and the projected effort required to accomplish a particular project or process improvement.</a:t>
            </a:r>
          </a:p>
          <a:p>
            <a:pPr marL="112713" marR="0" lvl="0" indent="-112713"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0" cap="none" spc="0" normalizeH="0" baseline="0" noProof="0" dirty="0">
                <a:ln>
                  <a:noFill/>
                </a:ln>
                <a:solidFill>
                  <a:srgbClr val="000000"/>
                </a:solidFill>
                <a:effectLst/>
                <a:uLnTx/>
                <a:uFillTx/>
                <a:ea typeface="+mn-ea"/>
                <a:cs typeface="+mn-cs"/>
              </a:rPr>
              <a:t>The same measurements are applied to each and all are mapped on the same graph, displaying which projects might be quick wins or highly desirable (less effort and high benefit) and which are less desirable (high effort and lower benefit).</a:t>
            </a:r>
          </a:p>
          <a:p>
            <a:pPr marL="112713" marR="0" lvl="0" indent="-112713"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0" cap="none" spc="0" normalizeH="0" baseline="0" noProof="0" dirty="0">
                <a:ln>
                  <a:noFill/>
                </a:ln>
                <a:solidFill>
                  <a:srgbClr val="000000"/>
                </a:solidFill>
                <a:effectLst/>
                <a:uLnTx/>
                <a:uFillTx/>
                <a:ea typeface="+mn-ea"/>
                <a:cs typeface="+mn-cs"/>
              </a:rPr>
              <a:t>Benefits to be considered include: revenue growth, cost reduction, capital reduction, tax or interest rate impact</a:t>
            </a:r>
          </a:p>
          <a:p>
            <a:pPr marL="112713" marR="0" lvl="0" indent="-112713"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0" cap="none" spc="0" normalizeH="0" baseline="0" noProof="0" dirty="0">
                <a:ln>
                  <a:noFill/>
                </a:ln>
                <a:solidFill>
                  <a:srgbClr val="000000"/>
                </a:solidFill>
                <a:effectLst/>
                <a:uLnTx/>
                <a:uFillTx/>
                <a:ea typeface="+mn-ea"/>
                <a:cs typeface="+mn-cs"/>
              </a:rPr>
              <a:t>Efforts to be considered include: resources required, project duration , capital investment, expense investment</a:t>
            </a:r>
          </a:p>
          <a:p>
            <a:pPr marL="112713" marR="0" lvl="0" indent="-112713"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0" cap="none" spc="0" normalizeH="0" baseline="0" noProof="0" dirty="0">
                <a:ln>
                  <a:noFill/>
                </a:ln>
                <a:solidFill>
                  <a:srgbClr val="000000"/>
                </a:solidFill>
                <a:effectLst/>
                <a:uLnTx/>
                <a:uFillTx/>
                <a:ea typeface="+mn-ea"/>
                <a:cs typeface="+mn-cs"/>
              </a:rPr>
              <a:t>Also consider strategic fit, enabling project, regulatory compliance, project risk</a:t>
            </a:r>
          </a:p>
          <a:p>
            <a:pPr marL="569913" marR="0" lvl="1" indent="-112713" algn="l" defTabSz="914400" rtl="0" eaLnBrk="1" fontAlgn="auto" latinLnBrk="0" hangingPunct="1">
              <a:lnSpc>
                <a:spcPct val="100000"/>
              </a:lnSpc>
              <a:spcBef>
                <a:spcPts val="0"/>
              </a:spcBef>
              <a:spcAft>
                <a:spcPts val="0"/>
              </a:spcAft>
              <a:buClr>
                <a:srgbClr val="000000"/>
              </a:buClr>
              <a:buSzPct val="100000"/>
              <a:buFont typeface="Arial" pitchFamily="34" charset="0"/>
              <a:buChar char="•"/>
              <a:tabLst/>
              <a:defRPr/>
            </a:pPr>
            <a:endParaRPr kumimoji="0" lang="en-GB" sz="10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Rectangle 6">
            <a:extLst>
              <a:ext uri="{FF2B5EF4-FFF2-40B4-BE49-F238E27FC236}">
                <a16:creationId xmlns:a16="http://schemas.microsoft.com/office/drawing/2014/main" id="{C5476869-BA0F-4E3E-B395-B4D5372D955C}"/>
              </a:ext>
            </a:extLst>
          </p:cNvPr>
          <p:cNvSpPr>
            <a:spLocks noChangeArrowheads="1"/>
          </p:cNvSpPr>
          <p:nvPr/>
        </p:nvSpPr>
        <p:spPr bwMode="gray">
          <a:xfrm>
            <a:off x="389880" y="4922204"/>
            <a:ext cx="4338638" cy="1373505"/>
          </a:xfrm>
          <a:prstGeom prst="rect">
            <a:avLst/>
          </a:prstGeom>
          <a:solidFill>
            <a:srgbClr val="F8F8F8"/>
          </a:solidFill>
          <a:ln w="9525" algn="ctr">
            <a:solidFill>
              <a:srgbClr val="E6E6E6"/>
            </a:solidFill>
            <a:miter lim="800000"/>
            <a:headEnd/>
            <a:tailEnd/>
          </a:ln>
        </p:spPr>
        <p:txBody>
          <a:bodyPr lIns="91440" tIns="91440" rIns="91440" bIns="91440"/>
          <a:lstStyle/>
          <a:p>
            <a:pPr marL="112713" marR="0" lvl="0" indent="-112713"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2"/>
                </a:solidFill>
                <a:effectLst/>
                <a:uLnTx/>
                <a:uFillTx/>
                <a:latin typeface="+mj-lt"/>
                <a:ea typeface="+mn-ea"/>
                <a:cs typeface="+mn-cs"/>
              </a:rPr>
              <a:t>Value to Clients/ Benefits:</a:t>
            </a:r>
          </a:p>
          <a:p>
            <a:pPr marL="112713" marR="0" lvl="0" indent="-112713"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0" cap="none" spc="0" normalizeH="0" baseline="0" noProof="0" dirty="0">
                <a:ln>
                  <a:noFill/>
                </a:ln>
                <a:solidFill>
                  <a:srgbClr val="000000"/>
                </a:solidFill>
                <a:effectLst/>
                <a:uLnTx/>
                <a:uFillTx/>
                <a:ea typeface="+mn-ea"/>
                <a:cs typeface="+mn-cs"/>
              </a:rPr>
              <a:t>Encourages a structured process for comparison of process improvement ideas</a:t>
            </a:r>
          </a:p>
          <a:p>
            <a:pPr marL="112713" marR="0" lvl="0" indent="-112713"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0" cap="none" spc="0" normalizeH="0" baseline="0" noProof="0" dirty="0">
                <a:ln>
                  <a:noFill/>
                </a:ln>
                <a:solidFill>
                  <a:srgbClr val="000000"/>
                </a:solidFill>
                <a:effectLst/>
                <a:uLnTx/>
                <a:uFillTx/>
                <a:ea typeface="+mn-ea"/>
                <a:cs typeface="+mn-cs"/>
              </a:rPr>
              <a:t>Provides graphical representation of the projects being considered</a:t>
            </a:r>
          </a:p>
          <a:p>
            <a:pPr marL="112713" marR="0" lvl="0" indent="-112713"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0" cap="none" spc="0" normalizeH="0" baseline="0" noProof="0" dirty="0">
                <a:ln>
                  <a:noFill/>
                </a:ln>
                <a:solidFill>
                  <a:srgbClr val="000000"/>
                </a:solidFill>
                <a:effectLst/>
                <a:uLnTx/>
                <a:uFillTx/>
                <a:ea typeface="+mn-ea"/>
                <a:cs typeface="+mn-cs"/>
              </a:rPr>
              <a:t>Engages stakeholders in the activity of project prioritization</a:t>
            </a:r>
          </a:p>
        </p:txBody>
      </p:sp>
      <p:sp>
        <p:nvSpPr>
          <p:cNvPr id="9" name="Rectangle 8">
            <a:extLst>
              <a:ext uri="{FF2B5EF4-FFF2-40B4-BE49-F238E27FC236}">
                <a16:creationId xmlns:a16="http://schemas.microsoft.com/office/drawing/2014/main" id="{E129D706-9F97-484B-B95E-E3082B5698EC}"/>
              </a:ext>
            </a:extLst>
          </p:cNvPr>
          <p:cNvSpPr>
            <a:spLocks noChangeArrowheads="1"/>
          </p:cNvSpPr>
          <p:nvPr/>
        </p:nvSpPr>
        <p:spPr bwMode="gray">
          <a:xfrm>
            <a:off x="4890444" y="1104583"/>
            <a:ext cx="4371975" cy="3705225"/>
          </a:xfrm>
          <a:prstGeom prst="rect">
            <a:avLst/>
          </a:prstGeom>
          <a:solidFill>
            <a:srgbClr val="FFFFFF">
              <a:lumMod val="95000"/>
            </a:srgbClr>
          </a:solidFill>
          <a:ln w="9525" algn="ctr">
            <a:solidFill>
              <a:srgbClr val="E6E6E6"/>
            </a:solidFill>
            <a:miter lim="800000"/>
            <a:headEnd/>
            <a:tailEnd/>
          </a:ln>
        </p:spPr>
        <p:txBody>
          <a:bodyPr lIns="91440" tIns="91440" rIns="91440" bIns="91440"/>
          <a:lstStyle/>
          <a:p>
            <a:pPr marL="0" marR="0" lvl="0" indent="0" algn="l" defTabSz="914400" rtl="0" eaLnBrk="1" fontAlgn="auto" latinLnBrk="0" hangingPunct="1">
              <a:lnSpc>
                <a:spcPct val="100000"/>
              </a:lnSpc>
              <a:spcBef>
                <a:spcPts val="0"/>
              </a:spcBef>
              <a:spcAft>
                <a:spcPts val="0"/>
              </a:spcAft>
              <a:buClr>
                <a:srgbClr val="000000"/>
              </a:buClr>
              <a:buSzPct val="100000"/>
              <a:buFont typeface="Wingdings" pitchFamily="2" charset="2"/>
              <a:buNone/>
              <a:tabLst/>
              <a:defRPr/>
            </a:pPr>
            <a:r>
              <a:rPr kumimoji="0" lang="en-GB" sz="1200" b="1" i="0" u="none" strike="noStrike" kern="0" cap="none" spc="0" normalizeH="0" baseline="0" noProof="0" dirty="0">
                <a:ln>
                  <a:noFill/>
                </a:ln>
                <a:solidFill>
                  <a:schemeClr val="accent2"/>
                </a:solidFill>
                <a:effectLst/>
                <a:uLnTx/>
                <a:uFillTx/>
                <a:latin typeface="+mj-lt"/>
                <a:ea typeface="宋体" pitchFamily="2" charset="-122"/>
                <a:cs typeface="+mn-cs"/>
              </a:rPr>
              <a:t>Visual Representation:</a:t>
            </a:r>
          </a:p>
        </p:txBody>
      </p:sp>
      <p:pic>
        <p:nvPicPr>
          <p:cNvPr id="13" name="Picture 12" descr="Benefit effort matrix example">
            <a:extLst>
              <a:ext uri="{FF2B5EF4-FFF2-40B4-BE49-F238E27FC236}">
                <a16:creationId xmlns:a16="http://schemas.microsoft.com/office/drawing/2014/main" id="{F2C7409B-E8EA-4278-B49D-98B1AE73F85E}"/>
              </a:ext>
            </a:extLst>
          </p:cNvPr>
          <p:cNvPicPr>
            <a:picLocks noChangeAspect="1"/>
          </p:cNvPicPr>
          <p:nvPr/>
        </p:nvPicPr>
        <p:blipFill>
          <a:blip r:embed="rId3"/>
          <a:stretch>
            <a:fillRect/>
          </a:stretch>
        </p:blipFill>
        <p:spPr>
          <a:xfrm>
            <a:off x="5189405" y="1521197"/>
            <a:ext cx="3595959" cy="3229745"/>
          </a:xfrm>
          <a:prstGeom prst="rect">
            <a:avLst/>
          </a:prstGeom>
        </p:spPr>
      </p:pic>
      <p:sp>
        <p:nvSpPr>
          <p:cNvPr id="10" name="Rectangle 26">
            <a:extLst>
              <a:ext uri="{FF2B5EF4-FFF2-40B4-BE49-F238E27FC236}">
                <a16:creationId xmlns:a16="http://schemas.microsoft.com/office/drawing/2014/main" id="{852BE776-B142-4401-A8E3-ACB96279431B}"/>
              </a:ext>
            </a:extLst>
          </p:cNvPr>
          <p:cNvSpPr>
            <a:spLocks noChangeArrowheads="1"/>
          </p:cNvSpPr>
          <p:nvPr/>
        </p:nvSpPr>
        <p:spPr bwMode="gray">
          <a:xfrm>
            <a:off x="4891215" y="4931317"/>
            <a:ext cx="2034403" cy="1369162"/>
          </a:xfrm>
          <a:prstGeom prst="rect">
            <a:avLst/>
          </a:prstGeom>
          <a:solidFill>
            <a:srgbClr val="F8F8F8"/>
          </a:solidFill>
          <a:ln w="9525" algn="ctr">
            <a:solidFill>
              <a:srgbClr val="E6E6E6"/>
            </a:solidFill>
            <a:miter lim="800000"/>
            <a:headEnd/>
            <a:tailEnd/>
          </a:ln>
        </p:spPr>
        <p:txBody>
          <a:bodyPr lIns="91440" tIns="91440" rIns="91440" bIns="91440"/>
          <a:lstStyle/>
          <a:p>
            <a:pPr marL="112713" marR="0" lvl="0" indent="-112713"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2"/>
                </a:solidFill>
                <a:effectLst/>
                <a:uLnTx/>
                <a:uFillTx/>
                <a:latin typeface="+mj-lt"/>
                <a:ea typeface="+mn-ea"/>
                <a:cs typeface="+mn-cs"/>
              </a:rPr>
              <a:t>KX Lin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mn-ea"/>
                <a:cs typeface="+mn-cs"/>
                <a:hlinkClick r:id="rId4"/>
              </a:rPr>
              <a:t>https://kx.accenture.com/Repositories/ContributionForm.aspx?path=C21/27/3&amp;mode=Read</a:t>
            </a:r>
            <a:endParaRPr kumimoji="0" lang="en-US" sz="1200" b="0" i="0" u="none" strike="noStrike" kern="0" cap="none" spc="0" normalizeH="0" baseline="0" noProof="0" dirty="0">
              <a:ln>
                <a:noFill/>
              </a:ln>
              <a:solidFill>
                <a:srgbClr val="A055F5">
                  <a:lumMod val="75000"/>
                </a:srgbClr>
              </a:solidFill>
              <a:effectLst/>
              <a:uLnTx/>
              <a:uFillTx/>
              <a:ea typeface="+mn-ea"/>
              <a:cs typeface="+mn-cs"/>
            </a:endParaRPr>
          </a:p>
          <a:p>
            <a:pPr marL="112713" marR="0" lvl="0" indent="-112713" algn="l" defTabSz="914400" rtl="0" eaLnBrk="1" fontAlgn="auto" latinLnBrk="0" hangingPunct="1">
              <a:lnSpc>
                <a:spcPct val="100000"/>
              </a:lnSpc>
              <a:spcBef>
                <a:spcPts val="0"/>
              </a:spcBef>
              <a:spcAft>
                <a:spcPts val="0"/>
              </a:spcAft>
              <a:buClrTx/>
              <a:buSzTx/>
              <a:buFontTx/>
              <a:buChar char="•"/>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6" name="Rectangle 26">
            <a:extLst>
              <a:ext uri="{FF2B5EF4-FFF2-40B4-BE49-F238E27FC236}">
                <a16:creationId xmlns:a16="http://schemas.microsoft.com/office/drawing/2014/main" id="{33226278-974F-43C9-8376-A73C3EF40D99}"/>
              </a:ext>
            </a:extLst>
          </p:cNvPr>
          <p:cNvSpPr>
            <a:spLocks noChangeArrowheads="1"/>
          </p:cNvSpPr>
          <p:nvPr/>
        </p:nvSpPr>
        <p:spPr bwMode="gray">
          <a:xfrm>
            <a:off x="7020734" y="4932601"/>
            <a:ext cx="2241684" cy="1369162"/>
          </a:xfrm>
          <a:prstGeom prst="rect">
            <a:avLst/>
          </a:prstGeom>
          <a:solidFill>
            <a:srgbClr val="F8F8F8"/>
          </a:solidFill>
          <a:ln w="9525" algn="ctr">
            <a:solidFill>
              <a:srgbClr val="E6E6E6"/>
            </a:solidFill>
            <a:miter lim="800000"/>
            <a:headEnd/>
            <a:tailEnd/>
          </a:ln>
        </p:spPr>
        <p:txBody>
          <a:bodyPr lIns="91440" tIns="91440" rIns="91440" bIns="91440"/>
          <a:lstStyle/>
          <a:p>
            <a:pPr marL="112713" marR="0" lvl="0" indent="-112713"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2"/>
                </a:solidFill>
                <a:effectLst/>
                <a:uLnTx/>
                <a:uFillTx/>
                <a:latin typeface="+mj-lt"/>
                <a:ea typeface="+mn-ea"/>
                <a:cs typeface="+mn-cs"/>
              </a:rPr>
              <a:t>Methods Tracker</a:t>
            </a:r>
          </a:p>
          <a:p>
            <a:pPr marL="112713" marR="0" lvl="0" indent="-112713" algn="l" defTabSz="914400" rtl="0" eaLnBrk="1" fontAlgn="auto" latinLnBrk="0" hangingPunct="1">
              <a:lnSpc>
                <a:spcPct val="100000"/>
              </a:lnSpc>
              <a:spcBef>
                <a:spcPts val="0"/>
              </a:spcBef>
              <a:spcAft>
                <a:spcPts val="0"/>
              </a:spcAft>
              <a:buClrTx/>
              <a:buSzTx/>
              <a:buFontTx/>
              <a:buChar char="•"/>
              <a:tabLst/>
              <a:defRPr/>
            </a:pPr>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pic>
        <p:nvPicPr>
          <p:cNvPr id="12" name="Picture 2" descr="Methods tracker example">
            <a:extLst>
              <a:ext uri="{FF2B5EF4-FFF2-40B4-BE49-F238E27FC236}">
                <a16:creationId xmlns:a16="http://schemas.microsoft.com/office/drawing/2014/main" id="{2F9A93DC-B3F6-4C18-8D8D-B05769CE32D2}"/>
              </a:ext>
            </a:extLst>
          </p:cNvPr>
          <p:cNvPicPr>
            <a:picLocks noChangeAspect="1" noChangeArrowheads="1"/>
          </p:cNvPicPr>
          <p:nvPr/>
        </p:nvPicPr>
        <p:blipFill>
          <a:blip r:embed="rId5" cstate="print"/>
          <a:srcRect/>
          <a:stretch>
            <a:fillRect/>
          </a:stretch>
        </p:blipFill>
        <p:spPr bwMode="auto">
          <a:xfrm>
            <a:off x="7548775" y="5312096"/>
            <a:ext cx="1012295" cy="882642"/>
          </a:xfrm>
          <a:prstGeom prst="rect">
            <a:avLst/>
          </a:prstGeom>
          <a:noFill/>
          <a:ln w="9525">
            <a:noFill/>
            <a:miter lim="800000"/>
            <a:headEnd/>
            <a:tailEnd/>
          </a:ln>
        </p:spPr>
      </p:pic>
      <p:sp>
        <p:nvSpPr>
          <p:cNvPr id="3" name="Footer Placeholder 2">
            <a:extLst>
              <a:ext uri="{FF2B5EF4-FFF2-40B4-BE49-F238E27FC236}">
                <a16:creationId xmlns:a16="http://schemas.microsoft.com/office/drawing/2014/main" id="{8D039306-472B-4A4D-B7AD-328919F0AE8A}"/>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5" name="Slide Number Placeholder 14">
            <a:extLst>
              <a:ext uri="{FF2B5EF4-FFF2-40B4-BE49-F238E27FC236}">
                <a16:creationId xmlns:a16="http://schemas.microsoft.com/office/drawing/2014/main" id="{DED5EFAC-CA23-4B20-825B-300C9A352041}"/>
              </a:ext>
            </a:extLst>
          </p:cNvPr>
          <p:cNvSpPr>
            <a:spLocks noGrp="1"/>
          </p:cNvSpPr>
          <p:nvPr>
            <p:ph type="sldNum" sz="quarter" idx="10"/>
          </p:nvPr>
        </p:nvSpPr>
        <p:spPr/>
        <p:txBody>
          <a:bodyPr/>
          <a:lstStyle/>
          <a:p>
            <a:fld id="{1F90F471-3972-4120-B8B3-0237DE626C35}" type="slidenum">
              <a:rPr lang="en-US" smtClean="0"/>
              <a:pPr/>
              <a:t>389</a:t>
            </a:fld>
            <a:endParaRPr lang="en-US" dirty="0"/>
          </a:p>
        </p:txBody>
      </p:sp>
    </p:spTree>
    <p:extLst>
      <p:ext uri="{BB962C8B-B14F-4D97-AF65-F5344CB8AC3E}">
        <p14:creationId xmlns:p14="http://schemas.microsoft.com/office/powerpoint/2010/main" val="30346227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B5713A-EB73-4B00-98DF-CCB76D08B721}"/>
              </a:ext>
            </a:extLst>
          </p:cNvPr>
          <p:cNvSpPr>
            <a:spLocks noGrp="1"/>
          </p:cNvSpPr>
          <p:nvPr>
            <p:ph type="title"/>
          </p:nvPr>
        </p:nvSpPr>
        <p:spPr/>
        <p:txBody>
          <a:bodyPr/>
          <a:lstStyle/>
          <a:p>
            <a:r>
              <a:rPr lang="en-GB" dirty="0"/>
              <a:t>Place headline here (36pt, min 30pt) </a:t>
            </a:r>
            <a:endParaRPr lang="en-US" dirty="0"/>
          </a:p>
        </p:txBody>
      </p:sp>
      <p:sp>
        <p:nvSpPr>
          <p:cNvPr id="3" name="Content Placeholder 2">
            <a:extLst>
              <a:ext uri="{FF2B5EF4-FFF2-40B4-BE49-F238E27FC236}">
                <a16:creationId xmlns:a16="http://schemas.microsoft.com/office/drawing/2014/main" id="{2D7C2882-6131-4822-8F1C-FB5E83CF4A17}"/>
              </a:ext>
            </a:extLst>
          </p:cNvPr>
          <p:cNvSpPr>
            <a:spLocks noGrp="1"/>
          </p:cNvSpPr>
          <p:nvPr>
            <p:ph sz="quarter" idx="10"/>
          </p:nvPr>
        </p:nvSpPr>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a:extLst>
              <a:ext uri="{FF2B5EF4-FFF2-40B4-BE49-F238E27FC236}">
                <a16:creationId xmlns:a16="http://schemas.microsoft.com/office/drawing/2014/main" id="{0DBE449F-9427-4641-8F92-8B51245240DF}"/>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F991B6ED-949B-4989-AFAC-C5EF3F988E64}"/>
              </a:ext>
            </a:extLst>
          </p:cNvPr>
          <p:cNvSpPr>
            <a:spLocks noGrp="1"/>
          </p:cNvSpPr>
          <p:nvPr>
            <p:ph type="sldNum" sz="quarter" idx="11"/>
          </p:nvPr>
        </p:nvSpPr>
        <p:spPr/>
        <p:txBody>
          <a:bodyPr/>
          <a:lstStyle/>
          <a:p>
            <a:fld id="{1F90F471-3972-4120-B8B3-0237DE626C35}" type="slidenum">
              <a:rPr lang="en-US" smtClean="0"/>
              <a:pPr/>
              <a:t>39</a:t>
            </a:fld>
            <a:endParaRPr lang="en-US" dirty="0"/>
          </a:p>
        </p:txBody>
      </p:sp>
    </p:spTree>
    <p:extLst>
      <p:ext uri="{BB962C8B-B14F-4D97-AF65-F5344CB8AC3E}">
        <p14:creationId xmlns:p14="http://schemas.microsoft.com/office/powerpoint/2010/main" val="4264036516"/>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Benefit Effort Matrix 2</a:t>
            </a:r>
          </a:p>
        </p:txBody>
      </p:sp>
      <p:grpSp>
        <p:nvGrpSpPr>
          <p:cNvPr id="3" name="Group 2" descr="Benefit effort matrix">
            <a:extLst>
              <a:ext uri="{FF2B5EF4-FFF2-40B4-BE49-F238E27FC236}">
                <a16:creationId xmlns:a16="http://schemas.microsoft.com/office/drawing/2014/main" id="{1139AF70-785D-4BC1-B868-1AB3B47F95FE}"/>
              </a:ext>
            </a:extLst>
          </p:cNvPr>
          <p:cNvGrpSpPr/>
          <p:nvPr/>
        </p:nvGrpSpPr>
        <p:grpSpPr>
          <a:xfrm>
            <a:off x="966651" y="1179367"/>
            <a:ext cx="10431736" cy="5135880"/>
            <a:chOff x="966651" y="1179367"/>
            <a:chExt cx="10431736" cy="5135880"/>
          </a:xfrm>
        </p:grpSpPr>
        <p:sp>
          <p:nvSpPr>
            <p:cNvPr id="6" name="Text Box 5">
              <a:extLst>
                <a:ext uri="{FF2B5EF4-FFF2-40B4-BE49-F238E27FC236}">
                  <a16:creationId xmlns:a16="http://schemas.microsoft.com/office/drawing/2014/main" id="{412609E9-4916-43E9-BCAD-FAAD178107F4}"/>
                </a:ext>
              </a:extLst>
            </p:cNvPr>
            <p:cNvSpPr txBox="1">
              <a:spLocks noChangeArrowheads="1"/>
            </p:cNvSpPr>
            <p:nvPr/>
          </p:nvSpPr>
          <p:spPr bwMode="gray">
            <a:xfrm>
              <a:off x="975940" y="2040427"/>
              <a:ext cx="5114616" cy="1145096"/>
            </a:xfrm>
            <a:prstGeom prst="rect">
              <a:avLst/>
            </a:prstGeom>
            <a:solidFill>
              <a:srgbClr val="F8F8F8"/>
            </a:solidFill>
            <a:ln w="9525" algn="ctr">
              <a:solidFill>
                <a:srgbClr val="E6E6E6"/>
              </a:solidFill>
              <a:miter lim="800000"/>
              <a:headEnd/>
              <a:tailEnd/>
            </a:ln>
          </p:spPr>
          <p:txBody>
            <a:bodyPr lIns="91440" tIns="91440" bIns="91440"/>
            <a:lstStyle/>
            <a:p>
              <a:pPr marL="112713" marR="0" lvl="0" indent="-112713" algn="l" defTabSz="914400" rtl="0" eaLnBrk="1" fontAlgn="auto" latinLnBrk="0" hangingPunct="1">
                <a:lnSpc>
                  <a:spcPct val="120000"/>
                </a:lnSpc>
                <a:spcBef>
                  <a:spcPts val="0"/>
                </a:spcBef>
                <a:spcAft>
                  <a:spcPts val="0"/>
                </a:spcAft>
                <a:buClr>
                  <a:srgbClr val="000000"/>
                </a:buClr>
                <a:buSzPct val="100000"/>
                <a:buFontTx/>
                <a:buNone/>
                <a:tabLst/>
                <a:defRPr/>
              </a:pPr>
              <a:r>
                <a:rPr kumimoji="0" lang="en-GB" sz="1200" b="1" i="0" u="none" strike="noStrike" kern="0" cap="none" spc="0" normalizeH="0" baseline="0" noProof="0" dirty="0">
                  <a:ln>
                    <a:noFill/>
                  </a:ln>
                  <a:solidFill>
                    <a:schemeClr val="accent2"/>
                  </a:solidFill>
                  <a:effectLst/>
                  <a:uLnTx/>
                  <a:uFillTx/>
                  <a:latin typeface="+mj-lt"/>
                  <a:ea typeface="宋体" pitchFamily="2" charset="-122"/>
                  <a:cs typeface="+mn-cs"/>
                </a:rPr>
                <a:t>Inputs – Data Required:</a:t>
              </a:r>
            </a:p>
            <a:p>
              <a:pPr marL="112713" marR="0" lvl="0" indent="-112713"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0" cap="none" spc="0" normalizeH="0" baseline="0" noProof="0" dirty="0">
                  <a:ln>
                    <a:noFill/>
                  </a:ln>
                  <a:solidFill>
                    <a:srgbClr val="000000"/>
                  </a:solidFill>
                  <a:effectLst/>
                  <a:uLnTx/>
                  <a:uFillTx/>
                  <a:ea typeface="+mn-ea"/>
                  <a:cs typeface="+mn-cs"/>
                </a:rPr>
                <a:t>List of improvement projects</a:t>
              </a:r>
            </a:p>
            <a:p>
              <a:pPr marL="112713" marR="0" lvl="0" indent="-112713"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0" cap="none" spc="0" normalizeH="0" baseline="0" noProof="0" dirty="0">
                  <a:ln>
                    <a:noFill/>
                  </a:ln>
                  <a:solidFill>
                    <a:srgbClr val="000000"/>
                  </a:solidFill>
                  <a:effectLst/>
                  <a:uLnTx/>
                  <a:uFillTx/>
                  <a:ea typeface="+mn-ea"/>
                  <a:cs typeface="+mn-cs"/>
                </a:rPr>
                <a:t>Input or recommendations from key stakeholders around each project</a:t>
              </a:r>
            </a:p>
            <a:p>
              <a:pPr marL="112713" marR="0" lvl="0" indent="-112713"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0" cap="none" spc="0" normalizeH="0" baseline="0" noProof="0" dirty="0">
                  <a:ln>
                    <a:noFill/>
                  </a:ln>
                  <a:solidFill>
                    <a:srgbClr val="000000"/>
                  </a:solidFill>
                  <a:effectLst/>
                  <a:uLnTx/>
                  <a:uFillTx/>
                  <a:ea typeface="+mn-ea"/>
                  <a:cs typeface="+mn-cs"/>
                </a:rPr>
                <a:t>Any metrics or data about a process or project that could be used to support a benefit or effort assessment</a:t>
              </a:r>
            </a:p>
          </p:txBody>
        </p:sp>
        <p:sp>
          <p:nvSpPr>
            <p:cNvPr id="7" name="Rectangle 6">
              <a:extLst>
                <a:ext uri="{FF2B5EF4-FFF2-40B4-BE49-F238E27FC236}">
                  <a16:creationId xmlns:a16="http://schemas.microsoft.com/office/drawing/2014/main" id="{0E365A19-0152-43F6-9D86-23F14EAAEF34}"/>
                </a:ext>
              </a:extLst>
            </p:cNvPr>
            <p:cNvSpPr>
              <a:spLocks noChangeArrowheads="1"/>
            </p:cNvSpPr>
            <p:nvPr/>
          </p:nvSpPr>
          <p:spPr bwMode="gray">
            <a:xfrm>
              <a:off x="975940" y="3303441"/>
              <a:ext cx="5107557" cy="3011806"/>
            </a:xfrm>
            <a:prstGeom prst="rect">
              <a:avLst/>
            </a:prstGeom>
            <a:solidFill>
              <a:srgbClr val="F8F8F8"/>
            </a:solidFill>
            <a:ln w="9525" algn="ctr">
              <a:solidFill>
                <a:srgbClr val="E6E6E6"/>
              </a:solidFill>
              <a:miter lim="800000"/>
              <a:headEnd/>
              <a:tailEnd/>
            </a:ln>
          </p:spPr>
          <p:txBody>
            <a:bodyPr lIns="91440" tIns="91440" rIns="91440" bIns="91440"/>
            <a:lstStyle/>
            <a:p>
              <a:pPr marL="112713" marR="0" lvl="0" indent="-112713"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2"/>
                  </a:solidFill>
                  <a:effectLst/>
                  <a:uLnTx/>
                  <a:uFillTx/>
                  <a:latin typeface="+mj-lt"/>
                  <a:ea typeface="+mn-ea"/>
                  <a:cs typeface="+mn-cs"/>
                </a:rPr>
                <a:t>How to use:</a:t>
              </a:r>
            </a:p>
            <a:p>
              <a:pPr marL="112713" marR="0" lvl="0" indent="-112713"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ea typeface="Calibri" pitchFamily="34" charset="0"/>
                  <a:cs typeface="Times New Roman" pitchFamily="18" charset="0"/>
                </a:rPr>
                <a:t>The process improvements is classified into the four categories indicated on the Matrix.</a:t>
              </a:r>
            </a:p>
            <a:p>
              <a:pPr marL="112713" marR="0" lvl="0" indent="-112713"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ea typeface="+mn-ea"/>
                  <a:cs typeface="+mn-cs"/>
                </a:rPr>
                <a:t>Screen the initial list of opportunities as:</a:t>
              </a:r>
            </a:p>
            <a:p>
              <a:pPr marL="365760" marR="0" lvl="1" indent="-112713"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ea typeface="+mn-ea"/>
                  <a:cs typeface="+mn-cs"/>
                </a:rPr>
                <a:t>Highly Desirable Opportunities</a:t>
              </a:r>
            </a:p>
            <a:p>
              <a:pPr marL="365760" marR="0" lvl="1" indent="-112713"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ea typeface="+mn-ea"/>
                  <a:cs typeface="+mn-cs"/>
                </a:rPr>
                <a:t>Potentially Desirable Opportunities</a:t>
              </a:r>
            </a:p>
            <a:p>
              <a:pPr marL="365760" marR="0" lvl="1" indent="-112713"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ea typeface="+mn-ea"/>
                  <a:cs typeface="+mn-cs"/>
                </a:rPr>
                <a:t>Potential Quick Hits</a:t>
              </a:r>
            </a:p>
            <a:p>
              <a:pPr marL="365760" marR="0" lvl="1" indent="-112713"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ea typeface="+mn-ea"/>
                  <a:cs typeface="+mn-cs"/>
                </a:rPr>
                <a:t>Least Desirable Opportunities</a:t>
              </a:r>
            </a:p>
            <a:p>
              <a:pPr marL="112713" marR="0" lvl="0" indent="-112713"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ea typeface="+mn-ea"/>
                  <a:cs typeface="+mn-cs"/>
                </a:rPr>
                <a:t>Each process improvement needs to be evaluated and prioritized using specific evaluation criteria—key dependencies and by benefit-effort trade off—in order to develop a road map.</a:t>
              </a:r>
            </a:p>
            <a:p>
              <a:pPr marL="112713" marR="0" lvl="0" indent="-112713"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ea typeface="+mn-ea"/>
                  <a:cs typeface="+mn-cs"/>
                </a:rPr>
                <a:t>Scale the  Benefit: Based on the potential benefit derived, each process improvement is scaled using the five target areas guidelines(Time Reduction, Complexity Reduction, Process Transparency, Project Management and Cost Controls)</a:t>
              </a:r>
            </a:p>
          </p:txBody>
        </p:sp>
        <p:sp>
          <p:nvSpPr>
            <p:cNvPr id="8" name="Rectangle 8">
              <a:extLst>
                <a:ext uri="{FF2B5EF4-FFF2-40B4-BE49-F238E27FC236}">
                  <a16:creationId xmlns:a16="http://schemas.microsoft.com/office/drawing/2014/main" id="{1CEB2B8D-3964-4610-AF49-715AEAB9E7A7}"/>
                </a:ext>
              </a:extLst>
            </p:cNvPr>
            <p:cNvSpPr>
              <a:spLocks noChangeArrowheads="1"/>
            </p:cNvSpPr>
            <p:nvPr/>
          </p:nvSpPr>
          <p:spPr bwMode="gray">
            <a:xfrm>
              <a:off x="6226177" y="1183176"/>
              <a:ext cx="5172210" cy="5122546"/>
            </a:xfrm>
            <a:prstGeom prst="rect">
              <a:avLst/>
            </a:prstGeom>
            <a:solidFill>
              <a:srgbClr val="F8F8F8"/>
            </a:solidFill>
            <a:ln w="9525" algn="ctr">
              <a:solidFill>
                <a:srgbClr val="E6E6E6"/>
              </a:solidFill>
              <a:miter lim="800000"/>
              <a:headEnd/>
              <a:tailEnd/>
            </a:ln>
          </p:spPr>
          <p:txBody>
            <a:bodyPr lIns="91440" tIns="91440" rIns="91440" bIns="91440"/>
            <a:lstStyle/>
            <a:p>
              <a:pPr marL="0" marR="0" lvl="0" indent="0" algn="l" defTabSz="914400" rtl="0" eaLnBrk="1" fontAlgn="auto" latinLnBrk="0" hangingPunct="1">
                <a:lnSpc>
                  <a:spcPct val="100000"/>
                </a:lnSpc>
                <a:spcBef>
                  <a:spcPts val="0"/>
                </a:spcBef>
                <a:spcAft>
                  <a:spcPts val="0"/>
                </a:spcAft>
                <a:buClr>
                  <a:srgbClr val="000000"/>
                </a:buClr>
                <a:buSzPct val="100000"/>
                <a:buFont typeface="Wingdings" pitchFamily="2" charset="2"/>
                <a:buNone/>
                <a:tabLst/>
                <a:defRPr/>
              </a:pPr>
              <a:r>
                <a:rPr kumimoji="0" lang="en-GB" sz="1200" b="1" i="0" u="none" strike="noStrike" kern="0" cap="none" spc="0" normalizeH="0" baseline="0" noProof="0" dirty="0">
                  <a:ln>
                    <a:noFill/>
                  </a:ln>
                  <a:solidFill>
                    <a:schemeClr val="accent2"/>
                  </a:solidFill>
                  <a:effectLst/>
                  <a:uLnTx/>
                  <a:uFillTx/>
                  <a:latin typeface="+mj-lt"/>
                  <a:ea typeface="宋体" pitchFamily="2" charset="-122"/>
                  <a:cs typeface="+mn-cs"/>
                </a:rPr>
                <a:t>How to use – continued</a:t>
              </a:r>
            </a:p>
            <a:p>
              <a:pPr marL="112713" marR="0" lvl="1" indent="-112713" algn="l" defTabSz="914400" rtl="0" eaLnBrk="1" fontAlgn="auto" latinLnBrk="0" hangingPunct="1">
                <a:lnSpc>
                  <a:spcPct val="120000"/>
                </a:lnSpc>
                <a:spcBef>
                  <a:spcPts val="0"/>
                </a:spcBef>
                <a:spcAft>
                  <a:spcPts val="0"/>
                </a:spcAft>
                <a:buClr>
                  <a:prstClr val="black"/>
                </a:buClr>
                <a:buSzPct val="100000"/>
                <a:buFont typeface="Arial" pitchFamily="34" charset="0"/>
                <a:buChar char="•"/>
                <a:tabLst/>
                <a:defRPr/>
              </a:pPr>
              <a:r>
                <a:rPr kumimoji="0" lang="en-US" sz="1050" b="0" i="0" u="none" strike="noStrike" kern="0" cap="none" spc="0" normalizeH="0" baseline="0" noProof="0" dirty="0">
                  <a:ln>
                    <a:noFill/>
                  </a:ln>
                  <a:solidFill>
                    <a:srgbClr val="000000"/>
                  </a:solidFill>
                  <a:effectLst/>
                  <a:uLnTx/>
                  <a:uFillTx/>
                  <a:ea typeface="+mn-ea"/>
                  <a:cs typeface="+mn-cs"/>
                </a:rPr>
                <a:t>Benefits scales to assess time reduction, complexity reduction, process transparency, project management and cost controls; quantify the benefit</a:t>
              </a:r>
            </a:p>
            <a:p>
              <a:pPr marL="112713" marR="0" lvl="1" indent="-112713" algn="l" defTabSz="914400" rtl="0" eaLnBrk="1" fontAlgn="auto" latinLnBrk="0" hangingPunct="1">
                <a:lnSpc>
                  <a:spcPct val="120000"/>
                </a:lnSpc>
                <a:spcBef>
                  <a:spcPts val="0"/>
                </a:spcBef>
                <a:spcAft>
                  <a:spcPts val="0"/>
                </a:spcAft>
                <a:buClr>
                  <a:prstClr val="black"/>
                </a:buClr>
                <a:buSzPct val="100000"/>
                <a:buFont typeface="Arial" pitchFamily="34" charset="0"/>
                <a:buChar char="•"/>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 typeface="Arial" pitchFamily="34" charset="0"/>
                <a:buChar char="•"/>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 typeface="Arial" pitchFamily="34" charset="0"/>
                <a:buChar char="•"/>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 typeface="Arial" pitchFamily="34" charset="0"/>
                <a:buChar char="•"/>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 typeface="Arial" pitchFamily="34" charset="0"/>
                <a:buChar char="•"/>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Tx/>
                <a:buNone/>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 typeface="Arial" pitchFamily="34" charset="0"/>
                <a:buChar char="•"/>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 typeface="Arial" pitchFamily="34" charset="0"/>
                <a:buChar char="•"/>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 typeface="Arial" pitchFamily="34" charset="0"/>
                <a:buChar char="•"/>
                <a:tabLst/>
                <a:defRPr/>
              </a:pPr>
              <a:r>
                <a:rPr kumimoji="0" lang="en-US" sz="1050" b="0" i="0" u="none" strike="noStrike" kern="0" cap="none" spc="0" normalizeH="0" baseline="0" noProof="0" dirty="0">
                  <a:ln>
                    <a:noFill/>
                  </a:ln>
                  <a:solidFill>
                    <a:srgbClr val="000000"/>
                  </a:solidFill>
                  <a:effectLst/>
                  <a:uLnTx/>
                  <a:uFillTx/>
                  <a:ea typeface="+mn-ea"/>
                  <a:cs typeface="+mn-cs"/>
                </a:rPr>
                <a:t>Scale the Effort: consider the resources required, complexity of the project, and the amount of time required to complete, each process improvement’s potential effort is scaled based on the guidelines</a:t>
              </a:r>
            </a:p>
            <a:p>
              <a:pPr marL="112713" marR="0" lvl="1" indent="-112713" algn="l" defTabSz="914400" rtl="0" eaLnBrk="1" fontAlgn="auto" latinLnBrk="0" hangingPunct="1">
                <a:lnSpc>
                  <a:spcPct val="120000"/>
                </a:lnSpc>
                <a:spcBef>
                  <a:spcPts val="0"/>
                </a:spcBef>
                <a:spcAft>
                  <a:spcPts val="0"/>
                </a:spcAft>
                <a:buClr>
                  <a:prstClr val="black"/>
                </a:buClr>
                <a:buSzPct val="100000"/>
                <a:buFont typeface="Arial" pitchFamily="34" charset="0"/>
                <a:buChar char="•"/>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 typeface="Arial" pitchFamily="34" charset="0"/>
                <a:buChar char="•"/>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Tx/>
                <a:buNone/>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Tx/>
                <a:buNone/>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Tx/>
                <a:buNone/>
                <a:tabLst/>
                <a:defRPr/>
              </a:pPr>
              <a:br>
                <a:rPr kumimoji="0" lang="en-US" sz="1050" b="0" i="0" u="none" strike="noStrike" kern="0" cap="none" spc="0" normalizeH="0" baseline="0" noProof="0" dirty="0">
                  <a:ln>
                    <a:noFill/>
                  </a:ln>
                  <a:solidFill>
                    <a:srgbClr val="000000"/>
                  </a:solidFill>
                  <a:effectLst/>
                  <a:uLnTx/>
                  <a:uFillTx/>
                  <a:latin typeface="Arial"/>
                  <a:ea typeface="+mn-ea"/>
                  <a:cs typeface="+mn-cs"/>
                </a:rPr>
              </a:br>
              <a:endParaRPr kumimoji="0" lang="en-US" sz="1050" b="0" i="0" u="none" strike="noStrike" kern="0" cap="none" spc="0" normalizeH="0" baseline="0" noProof="0" dirty="0">
                <a:ln>
                  <a:noFill/>
                </a:ln>
                <a:solidFill>
                  <a:srgbClr val="000000"/>
                </a:solidFill>
                <a:effectLst/>
                <a:uLnTx/>
                <a:uFillTx/>
                <a:latin typeface="Arial"/>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Tx/>
                <a:buNone/>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Tx/>
                <a:buNone/>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Tx/>
                <a:buNone/>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 typeface="Arial" pitchFamily="34" charset="0"/>
                <a:buChar char="•"/>
                <a:tabLst/>
                <a:defRPr/>
              </a:pPr>
              <a:r>
                <a:rPr kumimoji="0" lang="en-US" sz="1050" b="0" i="0" u="none" strike="noStrike" kern="0" cap="none" spc="0" normalizeH="0" baseline="0" noProof="0" dirty="0">
                  <a:ln>
                    <a:noFill/>
                  </a:ln>
                  <a:solidFill>
                    <a:srgbClr val="000000"/>
                  </a:solidFill>
                  <a:effectLst/>
                  <a:uLnTx/>
                  <a:uFillTx/>
                  <a:ea typeface="+mn-ea"/>
                  <a:cs typeface="+mn-cs"/>
                </a:rPr>
                <a:t>Process improvement initiatives should target areas with the greatest benefit, while managing resources to minimize required effort</a:t>
              </a:r>
            </a:p>
          </p:txBody>
        </p:sp>
        <p:sp>
          <p:nvSpPr>
            <p:cNvPr id="9" name="Text Box 5">
              <a:extLst>
                <a:ext uri="{FF2B5EF4-FFF2-40B4-BE49-F238E27FC236}">
                  <a16:creationId xmlns:a16="http://schemas.microsoft.com/office/drawing/2014/main" id="{DE90F4E7-CD9B-42D7-ACD8-2A576D0F7FE1}"/>
                </a:ext>
              </a:extLst>
            </p:cNvPr>
            <p:cNvSpPr txBox="1">
              <a:spLocks noChangeArrowheads="1"/>
            </p:cNvSpPr>
            <p:nvPr/>
          </p:nvSpPr>
          <p:spPr bwMode="gray">
            <a:xfrm>
              <a:off x="966651" y="1179367"/>
              <a:ext cx="5116845" cy="746016"/>
            </a:xfrm>
            <a:prstGeom prst="rect">
              <a:avLst/>
            </a:prstGeom>
            <a:solidFill>
              <a:srgbClr val="F8F8F8"/>
            </a:solidFill>
            <a:ln w="9525" algn="ctr">
              <a:solidFill>
                <a:srgbClr val="E6E6E6"/>
              </a:solidFill>
              <a:miter lim="800000"/>
              <a:headEnd/>
              <a:tailEnd/>
            </a:ln>
          </p:spPr>
          <p:txBody>
            <a:bodyPr lIns="91440" tIns="91440" bIns="91440"/>
            <a:lstStyle/>
            <a:p>
              <a:pPr marL="112713" marR="0" lvl="0" indent="-112713" algn="l" defTabSz="914400" rtl="0" eaLnBrk="1" fontAlgn="auto" latinLnBrk="0" hangingPunct="1">
                <a:lnSpc>
                  <a:spcPct val="120000"/>
                </a:lnSpc>
                <a:spcBef>
                  <a:spcPts val="0"/>
                </a:spcBef>
                <a:spcAft>
                  <a:spcPts val="0"/>
                </a:spcAft>
                <a:buClr>
                  <a:srgbClr val="000000"/>
                </a:buClr>
                <a:buSzPct val="100000"/>
                <a:buFontTx/>
                <a:buNone/>
                <a:tabLst/>
                <a:defRPr/>
              </a:pPr>
              <a:r>
                <a:rPr kumimoji="0" lang="en-GB" sz="1200" b="1" i="0" u="none" strike="noStrike" kern="0" cap="none" spc="0" normalizeH="0" baseline="0" noProof="0" dirty="0">
                  <a:ln>
                    <a:noFill/>
                  </a:ln>
                  <a:solidFill>
                    <a:schemeClr val="accent2"/>
                  </a:solidFill>
                  <a:effectLst/>
                  <a:uLnTx/>
                  <a:uFillTx/>
                  <a:latin typeface="+mj-lt"/>
                  <a:ea typeface="宋体" pitchFamily="2" charset="-122"/>
                  <a:cs typeface="+mn-cs"/>
                </a:rPr>
                <a:t>When to use:</a:t>
              </a:r>
            </a:p>
            <a:p>
              <a:pPr marL="112713" marR="0" lvl="0" indent="-112713"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0" cap="none" spc="0" normalizeH="0" baseline="0" noProof="0" dirty="0">
                  <a:ln>
                    <a:noFill/>
                  </a:ln>
                  <a:solidFill>
                    <a:srgbClr val="000000"/>
                  </a:solidFill>
                  <a:effectLst/>
                  <a:uLnTx/>
                  <a:uFillTx/>
                  <a:ea typeface="+mn-ea"/>
                  <a:cs typeface="+mn-cs"/>
                </a:rPr>
                <a:t>Use a Benefit/Effort Matrix to prioritize and choose from process improvement projects prior to beginning the transformation itself</a:t>
              </a:r>
            </a:p>
          </p:txBody>
        </p:sp>
      </p:grpSp>
      <p:graphicFrame>
        <p:nvGraphicFramePr>
          <p:cNvPr id="10" name="Table 9" descr="How to use matrix table">
            <a:extLst>
              <a:ext uri="{FF2B5EF4-FFF2-40B4-BE49-F238E27FC236}">
                <a16:creationId xmlns:a16="http://schemas.microsoft.com/office/drawing/2014/main" id="{8E547203-B44E-44FE-AD3D-962F7A8B7880}"/>
              </a:ext>
            </a:extLst>
          </p:cNvPr>
          <p:cNvGraphicFramePr>
            <a:graphicFrameLocks noGrp="1"/>
          </p:cNvGraphicFramePr>
          <p:nvPr>
            <p:extLst>
              <p:ext uri="{D42A27DB-BD31-4B8C-83A1-F6EECF244321}">
                <p14:modId xmlns:p14="http://schemas.microsoft.com/office/powerpoint/2010/main" val="1497629535"/>
              </p:ext>
            </p:extLst>
          </p:nvPr>
        </p:nvGraphicFramePr>
        <p:xfrm>
          <a:off x="7178990" y="1966323"/>
          <a:ext cx="3266583" cy="1219200"/>
        </p:xfrm>
        <a:graphic>
          <a:graphicData uri="http://schemas.openxmlformats.org/drawingml/2006/table">
            <a:tbl>
              <a:tblPr firstRow="1" bandRow="1"/>
              <a:tblGrid>
                <a:gridCol w="652173">
                  <a:extLst>
                    <a:ext uri="{9D8B030D-6E8A-4147-A177-3AD203B41FA5}">
                      <a16:colId xmlns:a16="http://schemas.microsoft.com/office/drawing/2014/main" val="20000"/>
                    </a:ext>
                  </a:extLst>
                </a:gridCol>
                <a:gridCol w="2614410">
                  <a:extLst>
                    <a:ext uri="{9D8B030D-6E8A-4147-A177-3AD203B41FA5}">
                      <a16:colId xmlns:a16="http://schemas.microsoft.com/office/drawing/2014/main" val="20001"/>
                    </a:ext>
                  </a:extLst>
                </a:gridCol>
              </a:tblGrid>
              <a:tr h="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1000" dirty="0">
                          <a:latin typeface="+mj-lt"/>
                          <a:cs typeface="Arial" pitchFamily="34" charset="0"/>
                        </a:rPr>
                        <a:t>Scale</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1000" dirty="0">
                          <a:latin typeface="+mj-lt"/>
                          <a:cs typeface="Arial" pitchFamily="34" charset="0"/>
                        </a:rPr>
                        <a:t>Description</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100FF"/>
                    </a:solidFill>
                  </a:tcPr>
                </a:tc>
                <a:extLst>
                  <a:ext uri="{0D108BD9-81ED-4DB2-BD59-A6C34878D82A}">
                    <a16:rowId xmlns:a16="http://schemas.microsoft.com/office/drawing/2014/main" val="10000"/>
                  </a:ext>
                </a:extLst>
              </a:tr>
              <a:tr h="21336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000" dirty="0">
                          <a:latin typeface="+mn-lt"/>
                          <a:cs typeface="Arial" pitchFamily="34" charset="0"/>
                        </a:rPr>
                        <a:t>0-1</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A100FF">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000" dirty="0">
                          <a:latin typeface="+mn-lt"/>
                          <a:cs typeface="Arial" pitchFamily="34" charset="0"/>
                        </a:rPr>
                        <a:t>Low</a:t>
                      </a:r>
                      <a:r>
                        <a:rPr lang="en-US" sz="1000" baseline="0" dirty="0">
                          <a:latin typeface="+mn-lt"/>
                          <a:cs typeface="Arial" pitchFamily="34" charset="0"/>
                        </a:rPr>
                        <a:t>—minimal or no impact </a:t>
                      </a:r>
                      <a:endParaRPr lang="en-US" sz="1000" dirty="0">
                        <a:latin typeface="+mn-lt"/>
                        <a:cs typeface="Arial" pitchFamily="34" charset="0"/>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A100FF">
                        <a:tint val="40000"/>
                      </a:srgbClr>
                    </a:solidFill>
                  </a:tcPr>
                </a:tc>
                <a:extLst>
                  <a:ext uri="{0D108BD9-81ED-4DB2-BD59-A6C34878D82A}">
                    <a16:rowId xmlns:a16="http://schemas.microsoft.com/office/drawing/2014/main" val="10001"/>
                  </a:ext>
                </a:extLst>
              </a:tr>
              <a:tr h="21336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000" dirty="0">
                          <a:latin typeface="+mn-lt"/>
                          <a:cs typeface="Arial" pitchFamily="34" charset="0"/>
                        </a:rPr>
                        <a:t>1-2</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100F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000" dirty="0">
                          <a:latin typeface="+mn-lt"/>
                          <a:cs typeface="Arial" pitchFamily="34" charset="0"/>
                        </a:rPr>
                        <a:t>Incremental</a:t>
                      </a:r>
                      <a:r>
                        <a:rPr lang="en-US" sz="1000" baseline="0" dirty="0">
                          <a:latin typeface="+mn-lt"/>
                          <a:cs typeface="Arial" pitchFamily="34" charset="0"/>
                        </a:rPr>
                        <a:t> impact</a:t>
                      </a:r>
                      <a:endParaRPr lang="en-US" sz="1000" dirty="0">
                        <a:latin typeface="+mn-lt"/>
                        <a:cs typeface="Arial" pitchFamily="34" charset="0"/>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100FF">
                        <a:tint val="20000"/>
                      </a:srgbClr>
                    </a:solidFill>
                  </a:tcPr>
                </a:tc>
                <a:extLst>
                  <a:ext uri="{0D108BD9-81ED-4DB2-BD59-A6C34878D82A}">
                    <a16:rowId xmlns:a16="http://schemas.microsoft.com/office/drawing/2014/main" val="10002"/>
                  </a:ext>
                </a:extLst>
              </a:tr>
              <a:tr h="21336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000" dirty="0">
                          <a:latin typeface="+mn-lt"/>
                          <a:cs typeface="Arial" pitchFamily="34" charset="0"/>
                        </a:rPr>
                        <a:t>2-3</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100FF">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000" dirty="0">
                          <a:latin typeface="+mn-lt"/>
                          <a:cs typeface="Arial" pitchFamily="34" charset="0"/>
                        </a:rPr>
                        <a:t>Measurable</a:t>
                      </a:r>
                      <a:r>
                        <a:rPr lang="en-US" sz="1000" baseline="0" dirty="0">
                          <a:latin typeface="+mn-lt"/>
                          <a:cs typeface="Arial" pitchFamily="34" charset="0"/>
                        </a:rPr>
                        <a:t> impact—”move the needle”</a:t>
                      </a:r>
                      <a:endParaRPr lang="en-US" sz="1000" dirty="0">
                        <a:latin typeface="+mn-lt"/>
                        <a:cs typeface="Arial" pitchFamily="34" charset="0"/>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100FF">
                        <a:tint val="40000"/>
                      </a:srgbClr>
                    </a:solidFill>
                  </a:tcPr>
                </a:tc>
                <a:extLst>
                  <a:ext uri="{0D108BD9-81ED-4DB2-BD59-A6C34878D82A}">
                    <a16:rowId xmlns:a16="http://schemas.microsoft.com/office/drawing/2014/main" val="10003"/>
                  </a:ext>
                </a:extLst>
              </a:tr>
              <a:tr h="21336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000" dirty="0">
                          <a:latin typeface="+mn-lt"/>
                          <a:cs typeface="Arial" pitchFamily="34" charset="0"/>
                        </a:rPr>
                        <a:t>3-4</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100F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000" dirty="0">
                          <a:latin typeface="+mn-lt"/>
                          <a:cs typeface="Arial" pitchFamily="34" charset="0"/>
                        </a:rPr>
                        <a:t>High impact –” game changing”</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100FF">
                        <a:tint val="20000"/>
                      </a:srgbClr>
                    </a:solidFill>
                  </a:tcPr>
                </a:tc>
                <a:extLst>
                  <a:ext uri="{0D108BD9-81ED-4DB2-BD59-A6C34878D82A}">
                    <a16:rowId xmlns:a16="http://schemas.microsoft.com/office/drawing/2014/main" val="10004"/>
                  </a:ext>
                </a:extLst>
              </a:tr>
            </a:tbl>
          </a:graphicData>
        </a:graphic>
      </p:graphicFrame>
      <p:pic>
        <p:nvPicPr>
          <p:cNvPr id="14" name="Picture 13" descr="Example of matrix details">
            <a:extLst>
              <a:ext uri="{FF2B5EF4-FFF2-40B4-BE49-F238E27FC236}">
                <a16:creationId xmlns:a16="http://schemas.microsoft.com/office/drawing/2014/main" id="{1F2F2578-2D35-ED48-8A5E-FCE61F9A5E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17035" y="4026614"/>
            <a:ext cx="4416346" cy="1568069"/>
          </a:xfrm>
          <a:prstGeom prst="rect">
            <a:avLst/>
          </a:prstGeom>
        </p:spPr>
      </p:pic>
      <p:sp>
        <p:nvSpPr>
          <p:cNvPr id="11" name="Footer Placeholder 10">
            <a:extLst>
              <a:ext uri="{FF2B5EF4-FFF2-40B4-BE49-F238E27FC236}">
                <a16:creationId xmlns:a16="http://schemas.microsoft.com/office/drawing/2014/main" id="{977556CA-D59B-458B-A535-963F943093EB}"/>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3" name="Slide Number Placeholder 12">
            <a:extLst>
              <a:ext uri="{FF2B5EF4-FFF2-40B4-BE49-F238E27FC236}">
                <a16:creationId xmlns:a16="http://schemas.microsoft.com/office/drawing/2014/main" id="{4DDC9E7B-F541-4A55-A5FA-F10BEA288BD7}"/>
              </a:ext>
            </a:extLst>
          </p:cNvPr>
          <p:cNvSpPr>
            <a:spLocks noGrp="1"/>
          </p:cNvSpPr>
          <p:nvPr>
            <p:ph type="sldNum" sz="quarter" idx="10"/>
          </p:nvPr>
        </p:nvSpPr>
        <p:spPr/>
        <p:txBody>
          <a:bodyPr/>
          <a:lstStyle/>
          <a:p>
            <a:fld id="{1F90F471-3972-4120-B8B3-0237DE626C35}" type="slidenum">
              <a:rPr lang="en-US" smtClean="0"/>
              <a:pPr/>
              <a:t>390</a:t>
            </a:fld>
            <a:endParaRPr lang="en-US" dirty="0"/>
          </a:p>
        </p:txBody>
      </p:sp>
    </p:spTree>
    <p:extLst>
      <p:ext uri="{BB962C8B-B14F-4D97-AF65-F5344CB8AC3E}">
        <p14:creationId xmlns:p14="http://schemas.microsoft.com/office/powerpoint/2010/main" val="2337265080"/>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Benefit Effort Matrix 3</a:t>
            </a:r>
          </a:p>
        </p:txBody>
      </p:sp>
      <p:sp>
        <p:nvSpPr>
          <p:cNvPr id="6" name="Content Placeholder 2">
            <a:extLst>
              <a:ext uri="{FF2B5EF4-FFF2-40B4-BE49-F238E27FC236}">
                <a16:creationId xmlns:a16="http://schemas.microsoft.com/office/drawing/2014/main" id="{73619D21-48A4-44EC-98DE-09F5204EC9E1}"/>
              </a:ext>
            </a:extLst>
          </p:cNvPr>
          <p:cNvSpPr txBox="1">
            <a:spLocks/>
          </p:cNvSpPr>
          <p:nvPr/>
        </p:nvSpPr>
        <p:spPr>
          <a:xfrm>
            <a:off x="1898668" y="1236106"/>
            <a:ext cx="8159409" cy="835025"/>
          </a:xfrm>
          <a:prstGeom prst="rect">
            <a:avLst/>
          </a:prstGeom>
        </p:spPr>
        <p:txBody>
          <a:bodyPr/>
          <a:lstStyle>
            <a:lvl1pPr marL="174625" indent="-174625" algn="l" rtl="0" eaLnBrk="0" fontAlgn="base" hangingPunct="0">
              <a:spcBef>
                <a:spcPts val="300"/>
              </a:spcBef>
              <a:spcAft>
                <a:spcPts val="300"/>
              </a:spcAft>
              <a:buFont typeface="Arial" charset="0"/>
              <a:buChar char="•"/>
              <a:defRPr lang="de-DE" sz="2400" kern="1200" dirty="0" smtClean="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lang="de-DE" sz="2000" kern="1200" dirty="0" smtClean="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lang="de-DE" sz="1800" kern="1200" dirty="0" smtClean="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lang="de-DE" sz="1600" kern="1200" dirty="0" smtClean="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lang="en-AU" sz="14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4625" marR="0" lvl="0" indent="-174625" algn="l" defTabSz="914400" rtl="0" eaLnBrk="0" fontAlgn="base" latinLnBrk="0" hangingPunct="0">
              <a:lnSpc>
                <a:spcPct val="100000"/>
              </a:lnSpc>
              <a:spcBef>
                <a:spcPts val="300"/>
              </a:spcBef>
              <a:spcAft>
                <a:spcPts val="300"/>
              </a:spcAft>
              <a:buClrTx/>
              <a:buSzTx/>
              <a:buFontTx/>
              <a:buNone/>
              <a:tabLst/>
              <a:defRPr/>
            </a:pPr>
            <a:r>
              <a:rPr kumimoji="0" lang="en-US" sz="2400" b="0" i="0" u="none" strike="noStrike" kern="1200" cap="none" spc="0" normalizeH="0" baseline="0" noProof="0" dirty="0">
                <a:ln>
                  <a:noFill/>
                </a:ln>
                <a:solidFill>
                  <a:srgbClr val="000000"/>
                </a:solidFill>
                <a:effectLst/>
                <a:uLnTx/>
                <a:uFillTx/>
                <a:ea typeface="+mn-ea"/>
                <a:cs typeface="+mn-cs"/>
              </a:rPr>
              <a:t>Three steps to create the Benefit-Effort Matrix:</a:t>
            </a:r>
          </a:p>
        </p:txBody>
      </p:sp>
      <p:sp>
        <p:nvSpPr>
          <p:cNvPr id="9" name="Rectangle 8">
            <a:extLst>
              <a:ext uri="{FF2B5EF4-FFF2-40B4-BE49-F238E27FC236}">
                <a16:creationId xmlns:a16="http://schemas.microsoft.com/office/drawing/2014/main" id="{23C25947-2E65-417A-B8BC-452FED229BA1}"/>
              </a:ext>
            </a:extLst>
          </p:cNvPr>
          <p:cNvSpPr/>
          <p:nvPr/>
        </p:nvSpPr>
        <p:spPr>
          <a:xfrm>
            <a:off x="1975945" y="2008327"/>
            <a:ext cx="2559543" cy="718375"/>
          </a:xfrm>
          <a:prstGeom prst="rect">
            <a:avLst/>
          </a:prstGeom>
          <a:solidFill>
            <a:srgbClr val="A100FF"/>
          </a:solidFill>
          <a:ln w="25400" cap="flat" cmpd="sng" algn="ctr">
            <a:noFill/>
            <a:prstDash val="solid"/>
          </a:ln>
          <a:effectLst/>
        </p:spPr>
        <p:txBody>
          <a:bodyPr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ea typeface="+mn-ea"/>
                <a:cs typeface="Arial" pitchFamily="34" charset="0"/>
              </a:rPr>
              <a:t>1. Screen initial list of opportunities</a:t>
            </a:r>
          </a:p>
        </p:txBody>
      </p:sp>
      <p:cxnSp>
        <p:nvCxnSpPr>
          <p:cNvPr id="7" name="Straight Arrow Connector 6">
            <a:extLst>
              <a:ext uri="{FF2B5EF4-FFF2-40B4-BE49-F238E27FC236}">
                <a16:creationId xmlns:a16="http://schemas.microsoft.com/office/drawing/2014/main" id="{4210E594-ED6F-4059-9D3C-FFBC0E44B72A}"/>
              </a:ext>
              <a:ext uri="{C183D7F6-B498-43B3-948B-1728B52AA6E4}">
                <adec:decorative xmlns:adec="http://schemas.microsoft.com/office/drawing/2017/decorative" val="1"/>
              </a:ext>
            </a:extLst>
          </p:cNvPr>
          <p:cNvCxnSpPr>
            <a:cxnSpLocks/>
            <a:stCxn id="9" idx="2"/>
            <a:endCxn id="10" idx="0"/>
          </p:cNvCxnSpPr>
          <p:nvPr/>
        </p:nvCxnSpPr>
        <p:spPr>
          <a:xfrm>
            <a:off x="3255717" y="2726702"/>
            <a:ext cx="0" cy="587377"/>
          </a:xfrm>
          <a:prstGeom prst="straightConnector1">
            <a:avLst/>
          </a:prstGeom>
          <a:noFill/>
          <a:ln w="12700" cap="flat" cmpd="sng" algn="ctr">
            <a:solidFill>
              <a:srgbClr val="000000"/>
            </a:solidFill>
            <a:prstDash val="solid"/>
            <a:tailEnd type="triangle"/>
          </a:ln>
          <a:effectLst/>
        </p:spPr>
      </p:cxnSp>
      <p:sp>
        <p:nvSpPr>
          <p:cNvPr id="10" name="Rectangle 9">
            <a:extLst>
              <a:ext uri="{FF2B5EF4-FFF2-40B4-BE49-F238E27FC236}">
                <a16:creationId xmlns:a16="http://schemas.microsoft.com/office/drawing/2014/main" id="{D5D6965C-0053-42CE-95CA-D8B81035B05F}"/>
              </a:ext>
            </a:extLst>
          </p:cNvPr>
          <p:cNvSpPr/>
          <p:nvPr/>
        </p:nvSpPr>
        <p:spPr>
          <a:xfrm>
            <a:off x="1975945" y="3314079"/>
            <a:ext cx="2559543" cy="900113"/>
          </a:xfrm>
          <a:prstGeom prst="rect">
            <a:avLst/>
          </a:prstGeom>
          <a:solidFill>
            <a:srgbClr val="A100FF"/>
          </a:solidFill>
          <a:ln w="25400" cap="flat" cmpd="sng" algn="ctr">
            <a:noFill/>
            <a:prstDash val="solid"/>
          </a:ln>
          <a:effectLst/>
        </p:spPr>
        <p:txBody>
          <a:bodyPr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ea typeface="+mn-ea"/>
                <a:cs typeface="Arial" pitchFamily="34" charset="0"/>
              </a:rPr>
              <a:t>2. Evaluate and prioritize using specific evaluation criteria</a:t>
            </a:r>
          </a:p>
        </p:txBody>
      </p:sp>
      <p:cxnSp>
        <p:nvCxnSpPr>
          <p:cNvPr id="8" name="Straight Arrow Connector 7">
            <a:extLst>
              <a:ext uri="{FF2B5EF4-FFF2-40B4-BE49-F238E27FC236}">
                <a16:creationId xmlns:a16="http://schemas.microsoft.com/office/drawing/2014/main" id="{3A76BD7A-4A1F-47C8-B790-BF8FB247745F}"/>
              </a:ext>
              <a:ext uri="{C183D7F6-B498-43B3-948B-1728B52AA6E4}">
                <adec:decorative xmlns:adec="http://schemas.microsoft.com/office/drawing/2017/decorative" val="1"/>
              </a:ext>
            </a:extLst>
          </p:cNvPr>
          <p:cNvCxnSpPr>
            <a:stCxn id="10" idx="2"/>
            <a:endCxn id="11" idx="0"/>
          </p:cNvCxnSpPr>
          <p:nvPr/>
        </p:nvCxnSpPr>
        <p:spPr>
          <a:xfrm>
            <a:off x="3255717" y="4214192"/>
            <a:ext cx="0" cy="587374"/>
          </a:xfrm>
          <a:prstGeom prst="straightConnector1">
            <a:avLst/>
          </a:prstGeom>
          <a:noFill/>
          <a:ln w="12700" cap="flat" cmpd="sng" algn="ctr">
            <a:solidFill>
              <a:srgbClr val="000000"/>
            </a:solidFill>
            <a:prstDash val="solid"/>
            <a:tailEnd type="triangle"/>
          </a:ln>
          <a:effectLst/>
        </p:spPr>
      </p:cxnSp>
      <p:sp>
        <p:nvSpPr>
          <p:cNvPr id="11" name="Rectangle 10">
            <a:extLst>
              <a:ext uri="{FF2B5EF4-FFF2-40B4-BE49-F238E27FC236}">
                <a16:creationId xmlns:a16="http://schemas.microsoft.com/office/drawing/2014/main" id="{C0C4AAA5-3EA1-4951-85F4-66889CAEFD42}"/>
              </a:ext>
            </a:extLst>
          </p:cNvPr>
          <p:cNvSpPr/>
          <p:nvPr/>
        </p:nvSpPr>
        <p:spPr>
          <a:xfrm>
            <a:off x="1975945" y="4801566"/>
            <a:ext cx="2559543" cy="900112"/>
          </a:xfrm>
          <a:prstGeom prst="rect">
            <a:avLst/>
          </a:prstGeom>
          <a:solidFill>
            <a:srgbClr val="A100FF"/>
          </a:solidFill>
          <a:ln w="25400" cap="flat" cmpd="sng" algn="ctr">
            <a:noFill/>
            <a:prstDash val="solid"/>
          </a:ln>
          <a:effectLst/>
        </p:spPr>
        <p:txBody>
          <a:bodyPr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ea typeface="+mn-ea"/>
                <a:cs typeface="Arial" pitchFamily="34" charset="0"/>
              </a:rPr>
              <a:t>3. Scale the Matrix</a:t>
            </a:r>
          </a:p>
        </p:txBody>
      </p:sp>
      <p:grpSp>
        <p:nvGrpSpPr>
          <p:cNvPr id="12" name="Group 11" descr="Benefit-Effort matrix">
            <a:extLst>
              <a:ext uri="{FF2B5EF4-FFF2-40B4-BE49-F238E27FC236}">
                <a16:creationId xmlns:a16="http://schemas.microsoft.com/office/drawing/2014/main" id="{E097CA95-D186-472F-B2F7-C2211405D06D}"/>
              </a:ext>
            </a:extLst>
          </p:cNvPr>
          <p:cNvGrpSpPr/>
          <p:nvPr/>
        </p:nvGrpSpPr>
        <p:grpSpPr>
          <a:xfrm>
            <a:off x="5569338" y="1826990"/>
            <a:ext cx="4844100" cy="4284476"/>
            <a:chOff x="5569338" y="1826990"/>
            <a:chExt cx="4844100" cy="4284476"/>
          </a:xfrm>
        </p:grpSpPr>
        <p:sp>
          <p:nvSpPr>
            <p:cNvPr id="13" name="Rectangle 7">
              <a:extLst>
                <a:ext uri="{FF2B5EF4-FFF2-40B4-BE49-F238E27FC236}">
                  <a16:creationId xmlns:a16="http://schemas.microsoft.com/office/drawing/2014/main" id="{0E787354-EDB0-419E-91C7-2359FC56C18C}"/>
                </a:ext>
              </a:extLst>
            </p:cNvPr>
            <p:cNvSpPr>
              <a:spLocks noChangeArrowheads="1"/>
            </p:cNvSpPr>
            <p:nvPr/>
          </p:nvSpPr>
          <p:spPr bwMode="auto">
            <a:xfrm>
              <a:off x="6197468" y="2050674"/>
              <a:ext cx="3840074" cy="3524485"/>
            </a:xfrm>
            <a:prstGeom prst="rect">
              <a:avLst/>
            </a:prstGeom>
            <a:solidFill>
              <a:srgbClr val="BE82FF">
                <a:lumMod val="20000"/>
                <a:lumOff val="80000"/>
              </a:srgbClr>
            </a:solidFill>
            <a:ln w="6350" algn="ctr">
              <a:solidFill>
                <a:srgbClr val="96968C">
                  <a:lumMod val="40000"/>
                  <a:lumOff val="60000"/>
                </a:srgbClr>
              </a:solidFill>
              <a:miter lim="800000"/>
              <a:headEnd/>
              <a:tailEnd/>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2800" b="1" i="0" u="none" strike="noStrike" kern="0" cap="none" spc="0" normalizeH="0" baseline="0" noProof="0" dirty="0">
                <a:ln>
                  <a:noFill/>
                </a:ln>
                <a:solidFill>
                  <a:srgbClr val="000000"/>
                </a:solidFill>
                <a:effectLst/>
                <a:uLnTx/>
                <a:uFillTx/>
                <a:latin typeface="Arial"/>
                <a:ea typeface="+mn-ea"/>
                <a:cs typeface="+mn-cs"/>
              </a:endParaRPr>
            </a:p>
          </p:txBody>
        </p:sp>
        <p:sp>
          <p:nvSpPr>
            <p:cNvPr id="14" name="AutoShape 8">
              <a:extLst>
                <a:ext uri="{FF2B5EF4-FFF2-40B4-BE49-F238E27FC236}">
                  <a16:creationId xmlns:a16="http://schemas.microsoft.com/office/drawing/2014/main" id="{FC6BDCBA-9722-4D45-84F9-F4EE1CF004C6}"/>
                </a:ext>
              </a:extLst>
            </p:cNvPr>
            <p:cNvSpPr>
              <a:spLocks noChangeArrowheads="1"/>
            </p:cNvSpPr>
            <p:nvPr/>
          </p:nvSpPr>
          <p:spPr bwMode="auto">
            <a:xfrm rot="5400000">
              <a:off x="5471841" y="2754243"/>
              <a:ext cx="3483544" cy="2077778"/>
            </a:xfrm>
            <a:prstGeom prst="rtTriangle">
              <a:avLst/>
            </a:prstGeom>
            <a:solidFill>
              <a:srgbClr val="A100FF">
                <a:lumMod val="60000"/>
                <a:lumOff val="40000"/>
              </a:srgbClr>
            </a:solidFill>
            <a:ln w="3175" algn="ctr">
              <a:noFill/>
              <a:miter lim="800000"/>
              <a:headEnd/>
              <a:tailEnd/>
            </a:ln>
          </p:spPr>
          <p:txBody>
            <a:bodyPr rot="10800000" vert="eaVert"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5" name="AutoShape 9">
              <a:extLst>
                <a:ext uri="{FF2B5EF4-FFF2-40B4-BE49-F238E27FC236}">
                  <a16:creationId xmlns:a16="http://schemas.microsoft.com/office/drawing/2014/main" id="{63A9FA97-58D7-41DC-8913-868426CB634B}"/>
                </a:ext>
              </a:extLst>
            </p:cNvPr>
            <p:cNvSpPr>
              <a:spLocks noChangeArrowheads="1"/>
            </p:cNvSpPr>
            <p:nvPr/>
          </p:nvSpPr>
          <p:spPr bwMode="auto">
            <a:xfrm flipH="1">
              <a:off x="6176925" y="3841152"/>
              <a:ext cx="3860618" cy="1734006"/>
            </a:xfrm>
            <a:prstGeom prst="rtTriangle">
              <a:avLst/>
            </a:prstGeom>
            <a:solidFill>
              <a:srgbClr val="A100FF">
                <a:lumMod val="40000"/>
                <a:lumOff val="60000"/>
              </a:srgbClr>
            </a:solidFill>
            <a:ln w="3175" algn="ctr">
              <a:noFill/>
              <a:miter lim="800000"/>
              <a:headEnd/>
              <a:tailEnd/>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6" name="Rectangle 10">
              <a:extLst>
                <a:ext uri="{FF2B5EF4-FFF2-40B4-BE49-F238E27FC236}">
                  <a16:creationId xmlns:a16="http://schemas.microsoft.com/office/drawing/2014/main" id="{76861685-9BCB-4AA5-A189-2C153834DAB6}"/>
                </a:ext>
              </a:extLst>
            </p:cNvPr>
            <p:cNvSpPr>
              <a:spLocks noChangeArrowheads="1"/>
            </p:cNvSpPr>
            <p:nvPr/>
          </p:nvSpPr>
          <p:spPr bwMode="auto">
            <a:xfrm>
              <a:off x="6142360" y="2050674"/>
              <a:ext cx="562814" cy="3524484"/>
            </a:xfrm>
            <a:prstGeom prst="rect">
              <a:avLst/>
            </a:prstGeom>
            <a:solidFill>
              <a:srgbClr val="DCAFFF"/>
            </a:solidFill>
            <a:ln w="3175" algn="ctr">
              <a:noFill/>
              <a:miter lim="800000"/>
              <a:headEnd type="none" w="sm" len="sm"/>
              <a:tailEnd type="none" w="sm" len="sm"/>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7" name="Line 20">
              <a:extLst>
                <a:ext uri="{FF2B5EF4-FFF2-40B4-BE49-F238E27FC236}">
                  <a16:creationId xmlns:a16="http://schemas.microsoft.com/office/drawing/2014/main" id="{A2AF3BA5-F779-4098-9357-09AB416A15F3}"/>
                </a:ext>
              </a:extLst>
            </p:cNvPr>
            <p:cNvSpPr>
              <a:spLocks noChangeShapeType="1"/>
            </p:cNvSpPr>
            <p:nvPr/>
          </p:nvSpPr>
          <p:spPr bwMode="auto">
            <a:xfrm flipV="1">
              <a:off x="7479939" y="2050674"/>
              <a:ext cx="0" cy="3524484"/>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8" name="Line 21">
              <a:extLst>
                <a:ext uri="{FF2B5EF4-FFF2-40B4-BE49-F238E27FC236}">
                  <a16:creationId xmlns:a16="http://schemas.microsoft.com/office/drawing/2014/main" id="{CF3E6DB2-AC6B-4138-A510-3594F2FA946B}"/>
                </a:ext>
              </a:extLst>
            </p:cNvPr>
            <p:cNvSpPr>
              <a:spLocks noChangeShapeType="1"/>
            </p:cNvSpPr>
            <p:nvPr/>
          </p:nvSpPr>
          <p:spPr bwMode="auto">
            <a:xfrm>
              <a:off x="6135628" y="3329391"/>
              <a:ext cx="3869632" cy="0"/>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9" name="Line 22">
              <a:extLst>
                <a:ext uri="{FF2B5EF4-FFF2-40B4-BE49-F238E27FC236}">
                  <a16:creationId xmlns:a16="http://schemas.microsoft.com/office/drawing/2014/main" id="{BAA48C23-A0F1-4F1B-AF21-EB669E60C0AC}"/>
                </a:ext>
              </a:extLst>
            </p:cNvPr>
            <p:cNvSpPr>
              <a:spLocks noChangeShapeType="1"/>
            </p:cNvSpPr>
            <p:nvPr/>
          </p:nvSpPr>
          <p:spPr bwMode="auto">
            <a:xfrm flipV="1">
              <a:off x="8771213" y="2050674"/>
              <a:ext cx="0" cy="3524484"/>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20" name="Line 23">
              <a:extLst>
                <a:ext uri="{FF2B5EF4-FFF2-40B4-BE49-F238E27FC236}">
                  <a16:creationId xmlns:a16="http://schemas.microsoft.com/office/drawing/2014/main" id="{AED4D03D-BC4F-46CB-B5F8-D2283C7DC6CE}"/>
                </a:ext>
              </a:extLst>
            </p:cNvPr>
            <p:cNvSpPr>
              <a:spLocks noChangeShapeType="1"/>
            </p:cNvSpPr>
            <p:nvPr/>
          </p:nvSpPr>
          <p:spPr bwMode="auto">
            <a:xfrm>
              <a:off x="6135628" y="4427002"/>
              <a:ext cx="3900448" cy="0"/>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21" name="Text Box 24">
              <a:extLst>
                <a:ext uri="{FF2B5EF4-FFF2-40B4-BE49-F238E27FC236}">
                  <a16:creationId xmlns:a16="http://schemas.microsoft.com/office/drawing/2014/main" id="{ABDF1508-E54C-4F83-AED1-A3B86DA63AF6}"/>
                </a:ext>
              </a:extLst>
            </p:cNvPr>
            <p:cNvSpPr txBox="1">
              <a:spLocks noChangeArrowheads="1"/>
            </p:cNvSpPr>
            <p:nvPr/>
          </p:nvSpPr>
          <p:spPr bwMode="auto">
            <a:xfrm>
              <a:off x="6650857" y="2078880"/>
              <a:ext cx="1092717" cy="400110"/>
            </a:xfrm>
            <a:prstGeom prst="rect">
              <a:avLst/>
            </a:prstGeom>
            <a:noFill/>
            <a:ln w="12700" algn="ctr">
              <a:noFill/>
              <a:miter lim="800000"/>
              <a:headEnd type="none" w="sm" len="sm"/>
              <a:tailEnd type="none" w="sm" len="sm"/>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effectLst/>
                  <a:uLnTx/>
                  <a:uFillTx/>
                  <a:latin typeface="+mj-lt"/>
                  <a:ea typeface="+mn-ea"/>
                  <a:cs typeface="+mn-cs"/>
                </a:rPr>
                <a:t>Highly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effectLst/>
                  <a:uLnTx/>
                  <a:uFillTx/>
                  <a:latin typeface="+mj-lt"/>
                  <a:ea typeface="+mn-ea"/>
                  <a:cs typeface="+mn-cs"/>
                </a:rPr>
                <a:t>Desirable</a:t>
              </a:r>
            </a:p>
          </p:txBody>
        </p:sp>
        <p:sp>
          <p:nvSpPr>
            <p:cNvPr id="22" name="Text Box 25">
              <a:extLst>
                <a:ext uri="{FF2B5EF4-FFF2-40B4-BE49-F238E27FC236}">
                  <a16:creationId xmlns:a16="http://schemas.microsoft.com/office/drawing/2014/main" id="{576ACECF-3D09-43C4-9D81-F131418996C9}"/>
                </a:ext>
              </a:extLst>
            </p:cNvPr>
            <p:cNvSpPr txBox="1">
              <a:spLocks noChangeArrowheads="1"/>
            </p:cNvSpPr>
            <p:nvPr/>
          </p:nvSpPr>
          <p:spPr bwMode="auto">
            <a:xfrm>
              <a:off x="9042914" y="2078880"/>
              <a:ext cx="1136334" cy="400110"/>
            </a:xfrm>
            <a:prstGeom prst="rect">
              <a:avLst/>
            </a:prstGeom>
            <a:noFill/>
            <a:ln w="12700" algn="ctr">
              <a:noFill/>
              <a:miter lim="800000"/>
              <a:headEnd type="none" w="sm" len="sm"/>
              <a:tailEnd type="none" w="sm" len="sm"/>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mj-lt"/>
                  <a:ea typeface="+mn-ea"/>
                  <a:cs typeface="+mn-cs"/>
                </a:rPr>
                <a:t>Potentially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mj-lt"/>
                  <a:ea typeface="+mn-ea"/>
                  <a:cs typeface="+mn-cs"/>
                </a:rPr>
                <a:t>Desirable</a:t>
              </a:r>
            </a:p>
          </p:txBody>
        </p:sp>
        <p:sp>
          <p:nvSpPr>
            <p:cNvPr id="23" name="Text Box 26">
              <a:extLst>
                <a:ext uri="{FF2B5EF4-FFF2-40B4-BE49-F238E27FC236}">
                  <a16:creationId xmlns:a16="http://schemas.microsoft.com/office/drawing/2014/main" id="{28ED749F-1CA4-41B4-9F3F-AEC396846178}"/>
                </a:ext>
              </a:extLst>
            </p:cNvPr>
            <p:cNvSpPr txBox="1">
              <a:spLocks noChangeArrowheads="1"/>
            </p:cNvSpPr>
            <p:nvPr/>
          </p:nvSpPr>
          <p:spPr bwMode="auto">
            <a:xfrm>
              <a:off x="9010398" y="5028591"/>
              <a:ext cx="793807" cy="338554"/>
            </a:xfrm>
            <a:prstGeom prst="rect">
              <a:avLst/>
            </a:prstGeom>
            <a:noFill/>
            <a:ln w="12700" algn="ctr">
              <a:noFill/>
              <a:miter lim="800000"/>
              <a:headEnd type="none" w="sm" len="sm"/>
              <a:tailEnd type="none" w="sm" len="sm"/>
            </a:ln>
          </p:spPr>
          <p:txBody>
            <a:bodyPr wrap="none">
              <a:spAutoFit/>
            </a:bodyPr>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mj-lt"/>
                  <a:ea typeface="+mn-ea"/>
                  <a:cs typeface="+mn-cs"/>
                </a:rPr>
                <a:t>Least</a:t>
              </a:r>
            </a:p>
            <a:p>
              <a:pPr marL="0" marR="0" lvl="0" indent="0" algn="l"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mj-lt"/>
                  <a:ea typeface="+mn-ea"/>
                  <a:cs typeface="+mn-cs"/>
                </a:rPr>
                <a:t>Desirable</a:t>
              </a:r>
            </a:p>
          </p:txBody>
        </p:sp>
        <p:sp>
          <p:nvSpPr>
            <p:cNvPr id="24" name="Text Box 27">
              <a:extLst>
                <a:ext uri="{FF2B5EF4-FFF2-40B4-BE49-F238E27FC236}">
                  <a16:creationId xmlns:a16="http://schemas.microsoft.com/office/drawing/2014/main" id="{C0D1E207-CD4B-4DE1-87B9-DB050C637B21}"/>
                </a:ext>
              </a:extLst>
            </p:cNvPr>
            <p:cNvSpPr txBox="1">
              <a:spLocks noChangeArrowheads="1"/>
            </p:cNvSpPr>
            <p:nvPr/>
          </p:nvSpPr>
          <p:spPr bwMode="auto">
            <a:xfrm>
              <a:off x="6121286" y="5028591"/>
              <a:ext cx="559769" cy="338554"/>
            </a:xfrm>
            <a:prstGeom prst="rect">
              <a:avLst/>
            </a:prstGeom>
            <a:noFill/>
            <a:ln w="12700" algn="ctr">
              <a:noFill/>
              <a:miter lim="800000"/>
              <a:headEnd type="none" w="sm" len="sm"/>
              <a:tailEnd type="none" w="sm" len="sm"/>
            </a:ln>
          </p:spPr>
          <p:txBody>
            <a:bodyPr wrap="none">
              <a:spAutoFit/>
            </a:bodyPr>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mn-cs"/>
                </a:rPr>
                <a:t>Quick</a:t>
              </a:r>
            </a:p>
            <a:p>
              <a:pPr marL="0" marR="0" lvl="0" indent="0" algn="l"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mn-cs"/>
                </a:rPr>
                <a:t>Hits</a:t>
              </a:r>
            </a:p>
          </p:txBody>
        </p:sp>
        <p:grpSp>
          <p:nvGrpSpPr>
            <p:cNvPr id="25" name="Group 65">
              <a:extLst>
                <a:ext uri="{FF2B5EF4-FFF2-40B4-BE49-F238E27FC236}">
                  <a16:creationId xmlns:a16="http://schemas.microsoft.com/office/drawing/2014/main" id="{84E7CAFE-A14B-4ACA-9719-2313E7250295}"/>
                </a:ext>
              </a:extLst>
            </p:cNvPr>
            <p:cNvGrpSpPr/>
            <p:nvPr/>
          </p:nvGrpSpPr>
          <p:grpSpPr bwMode="auto">
            <a:xfrm>
              <a:off x="5569338" y="1826990"/>
              <a:ext cx="4844100" cy="4284476"/>
              <a:chOff x="610162" y="1709192"/>
              <a:chExt cx="4844100" cy="4284476"/>
            </a:xfrm>
          </p:grpSpPr>
          <p:sp>
            <p:nvSpPr>
              <p:cNvPr id="26" name="Text Box 11">
                <a:extLst>
                  <a:ext uri="{FF2B5EF4-FFF2-40B4-BE49-F238E27FC236}">
                    <a16:creationId xmlns:a16="http://schemas.microsoft.com/office/drawing/2014/main" id="{8CD7287B-E55F-4EA0-9444-5408AF52F569}"/>
                  </a:ext>
                </a:extLst>
              </p:cNvPr>
              <p:cNvSpPr txBox="1">
                <a:spLocks noChangeArrowheads="1"/>
              </p:cNvSpPr>
              <p:nvPr/>
            </p:nvSpPr>
            <p:spPr bwMode="auto">
              <a:xfrm>
                <a:off x="610162" y="1709192"/>
                <a:ext cx="1089902" cy="147733"/>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Value</a:t>
                </a:r>
              </a:p>
            </p:txBody>
          </p:sp>
          <p:sp>
            <p:nvSpPr>
              <p:cNvPr id="27" name="Text Box 11">
                <a:extLst>
                  <a:ext uri="{FF2B5EF4-FFF2-40B4-BE49-F238E27FC236}">
                    <a16:creationId xmlns:a16="http://schemas.microsoft.com/office/drawing/2014/main" id="{CDAA634B-C344-46D0-AA0E-00C8BBC0BFA0}"/>
                  </a:ext>
                </a:extLst>
              </p:cNvPr>
              <p:cNvSpPr txBox="1">
                <a:spLocks noChangeArrowheads="1"/>
              </p:cNvSpPr>
              <p:nvPr/>
            </p:nvSpPr>
            <p:spPr bwMode="auto">
              <a:xfrm>
                <a:off x="4364360" y="5845935"/>
                <a:ext cx="1089902" cy="147733"/>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Effort</a:t>
                </a:r>
              </a:p>
            </p:txBody>
          </p:sp>
          <p:sp>
            <p:nvSpPr>
              <p:cNvPr id="28" name="Text Box 13">
                <a:extLst>
                  <a:ext uri="{FF2B5EF4-FFF2-40B4-BE49-F238E27FC236}">
                    <a16:creationId xmlns:a16="http://schemas.microsoft.com/office/drawing/2014/main" id="{1C95C09F-63BB-4A64-BC86-050FB6449D8C}"/>
                  </a:ext>
                </a:extLst>
              </p:cNvPr>
              <p:cNvSpPr txBox="1">
                <a:spLocks noChangeArrowheads="1"/>
              </p:cNvSpPr>
              <p:nvPr/>
            </p:nvSpPr>
            <p:spPr bwMode="auto">
              <a:xfrm>
                <a:off x="4176348" y="5557904"/>
                <a:ext cx="859346"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High</a:t>
                </a:r>
              </a:p>
            </p:txBody>
          </p:sp>
          <p:sp>
            <p:nvSpPr>
              <p:cNvPr id="29" name="Text Box 14">
                <a:extLst>
                  <a:ext uri="{FF2B5EF4-FFF2-40B4-BE49-F238E27FC236}">
                    <a16:creationId xmlns:a16="http://schemas.microsoft.com/office/drawing/2014/main" id="{56C2696A-D505-4E71-BD32-7522D1CE25DC}"/>
                  </a:ext>
                </a:extLst>
              </p:cNvPr>
              <p:cNvSpPr txBox="1">
                <a:spLocks noChangeArrowheads="1"/>
              </p:cNvSpPr>
              <p:nvPr/>
            </p:nvSpPr>
            <p:spPr bwMode="auto">
              <a:xfrm>
                <a:off x="999249" y="5557904"/>
                <a:ext cx="890088"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Low</a:t>
                </a:r>
              </a:p>
            </p:txBody>
          </p:sp>
          <p:sp>
            <p:nvSpPr>
              <p:cNvPr id="30" name="Text Box 15">
                <a:extLst>
                  <a:ext uri="{FF2B5EF4-FFF2-40B4-BE49-F238E27FC236}">
                    <a16:creationId xmlns:a16="http://schemas.microsoft.com/office/drawing/2014/main" id="{BBD486D9-D0E4-4904-ADCE-D6F5836F7D25}"/>
                  </a:ext>
                </a:extLst>
              </p:cNvPr>
              <p:cNvSpPr txBox="1">
                <a:spLocks noChangeArrowheads="1"/>
              </p:cNvSpPr>
              <p:nvPr/>
            </p:nvSpPr>
            <p:spPr bwMode="auto">
              <a:xfrm>
                <a:off x="2690737" y="5557904"/>
                <a:ext cx="762932"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Med</a:t>
                </a:r>
              </a:p>
            </p:txBody>
          </p:sp>
          <p:sp>
            <p:nvSpPr>
              <p:cNvPr id="31" name="Text Box 13">
                <a:extLst>
                  <a:ext uri="{FF2B5EF4-FFF2-40B4-BE49-F238E27FC236}">
                    <a16:creationId xmlns:a16="http://schemas.microsoft.com/office/drawing/2014/main" id="{44A96E74-9094-4A81-AF81-6436DD2CF85E}"/>
                  </a:ext>
                </a:extLst>
              </p:cNvPr>
              <p:cNvSpPr txBox="1">
                <a:spLocks noChangeArrowheads="1"/>
              </p:cNvSpPr>
              <p:nvPr/>
            </p:nvSpPr>
            <p:spPr bwMode="auto">
              <a:xfrm>
                <a:off x="662842" y="2635769"/>
                <a:ext cx="859346"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High</a:t>
                </a:r>
              </a:p>
            </p:txBody>
          </p:sp>
          <p:sp>
            <p:nvSpPr>
              <p:cNvPr id="32" name="Text Box 14">
                <a:extLst>
                  <a:ext uri="{FF2B5EF4-FFF2-40B4-BE49-F238E27FC236}">
                    <a16:creationId xmlns:a16="http://schemas.microsoft.com/office/drawing/2014/main" id="{1C8DBD4C-1C82-4CB5-8593-06916DFCA442}"/>
                  </a:ext>
                </a:extLst>
              </p:cNvPr>
              <p:cNvSpPr txBox="1">
                <a:spLocks noChangeArrowheads="1"/>
              </p:cNvSpPr>
              <p:nvPr/>
            </p:nvSpPr>
            <p:spPr bwMode="auto">
              <a:xfrm>
                <a:off x="662842" y="4836633"/>
                <a:ext cx="890088"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Low</a:t>
                </a:r>
              </a:p>
            </p:txBody>
          </p:sp>
          <p:sp>
            <p:nvSpPr>
              <p:cNvPr id="33" name="Text Box 15">
                <a:extLst>
                  <a:ext uri="{FF2B5EF4-FFF2-40B4-BE49-F238E27FC236}">
                    <a16:creationId xmlns:a16="http://schemas.microsoft.com/office/drawing/2014/main" id="{781A0D1A-27DC-4F33-9984-4DD36660C4FF}"/>
                  </a:ext>
                </a:extLst>
              </p:cNvPr>
              <p:cNvSpPr txBox="1">
                <a:spLocks noChangeArrowheads="1"/>
              </p:cNvSpPr>
              <p:nvPr/>
            </p:nvSpPr>
            <p:spPr bwMode="auto">
              <a:xfrm>
                <a:off x="662842" y="3802512"/>
                <a:ext cx="762932"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Med</a:t>
                </a:r>
              </a:p>
            </p:txBody>
          </p:sp>
          <p:sp>
            <p:nvSpPr>
              <p:cNvPr id="34" name="Line 28">
                <a:extLst>
                  <a:ext uri="{FF2B5EF4-FFF2-40B4-BE49-F238E27FC236}">
                    <a16:creationId xmlns:a16="http://schemas.microsoft.com/office/drawing/2014/main" id="{C08C8C97-9F0C-4F16-B633-9FC492210C12}"/>
                  </a:ext>
                </a:extLst>
              </p:cNvPr>
              <p:cNvSpPr>
                <a:spLocks noChangeShapeType="1"/>
              </p:cNvSpPr>
              <p:nvPr/>
            </p:nvSpPr>
            <p:spPr bwMode="auto">
              <a:xfrm>
                <a:off x="1183184" y="5457361"/>
                <a:ext cx="4215510" cy="0"/>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5" name="Line 28">
                <a:extLst>
                  <a:ext uri="{FF2B5EF4-FFF2-40B4-BE49-F238E27FC236}">
                    <a16:creationId xmlns:a16="http://schemas.microsoft.com/office/drawing/2014/main" id="{F865831B-CBE9-459A-A6F9-D768642C9472}"/>
                  </a:ext>
                </a:extLst>
              </p:cNvPr>
              <p:cNvSpPr>
                <a:spLocks noChangeShapeType="1"/>
              </p:cNvSpPr>
              <p:nvPr/>
            </p:nvSpPr>
            <p:spPr bwMode="auto">
              <a:xfrm flipV="1">
                <a:off x="1176452" y="1709192"/>
                <a:ext cx="0" cy="3748168"/>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grpSp>
      </p:grpSp>
      <p:sp>
        <p:nvSpPr>
          <p:cNvPr id="3" name="Footer Placeholder 2">
            <a:extLst>
              <a:ext uri="{FF2B5EF4-FFF2-40B4-BE49-F238E27FC236}">
                <a16:creationId xmlns:a16="http://schemas.microsoft.com/office/drawing/2014/main" id="{A5BD97E4-4721-4C62-8F60-919790C33843}"/>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37" name="Slide Number Placeholder 36">
            <a:extLst>
              <a:ext uri="{FF2B5EF4-FFF2-40B4-BE49-F238E27FC236}">
                <a16:creationId xmlns:a16="http://schemas.microsoft.com/office/drawing/2014/main" id="{F70EB38A-1331-4FA7-A7B9-D1036B18D954}"/>
              </a:ext>
            </a:extLst>
          </p:cNvPr>
          <p:cNvSpPr>
            <a:spLocks noGrp="1"/>
          </p:cNvSpPr>
          <p:nvPr>
            <p:ph type="sldNum" sz="quarter" idx="10"/>
          </p:nvPr>
        </p:nvSpPr>
        <p:spPr/>
        <p:txBody>
          <a:bodyPr/>
          <a:lstStyle/>
          <a:p>
            <a:fld id="{1F90F471-3972-4120-B8B3-0237DE626C35}" type="slidenum">
              <a:rPr lang="en-US" smtClean="0"/>
              <a:pPr/>
              <a:t>391</a:t>
            </a:fld>
            <a:endParaRPr lang="en-US" dirty="0"/>
          </a:p>
        </p:txBody>
      </p:sp>
    </p:spTree>
    <p:extLst>
      <p:ext uri="{BB962C8B-B14F-4D97-AF65-F5344CB8AC3E}">
        <p14:creationId xmlns:p14="http://schemas.microsoft.com/office/powerpoint/2010/main" val="333720961"/>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Benefit Effort Matrix 4</a:t>
            </a:r>
          </a:p>
        </p:txBody>
      </p:sp>
      <p:sp>
        <p:nvSpPr>
          <p:cNvPr id="6" name="Pentagon 52">
            <a:extLst>
              <a:ext uri="{FF2B5EF4-FFF2-40B4-BE49-F238E27FC236}">
                <a16:creationId xmlns:a16="http://schemas.microsoft.com/office/drawing/2014/main" id="{E60DF02D-15E9-4B5A-B90B-828DED5B4084}"/>
              </a:ext>
            </a:extLst>
          </p:cNvPr>
          <p:cNvSpPr/>
          <p:nvPr/>
        </p:nvSpPr>
        <p:spPr bwMode="auto">
          <a:xfrm>
            <a:off x="683172" y="1519420"/>
            <a:ext cx="3100535" cy="3221960"/>
          </a:xfrm>
          <a:prstGeom prst="homePlate">
            <a:avLst>
              <a:gd name="adj" fmla="val 15605"/>
            </a:avLst>
          </a:prstGeom>
          <a:solidFill>
            <a:srgbClr val="E0E0E0"/>
          </a:solidFill>
          <a:ln w="25400" cap="flat" cmpd="sng" algn="ctr">
            <a:noFill/>
            <a:prstDash val="solid"/>
          </a:ln>
          <a:effectLst/>
        </p:spPr>
        <p:txBody>
          <a:bodyPr anchor="ctr"/>
          <a:lstStyle/>
          <a:p>
            <a:pPr marL="180975" marR="0" lvl="1" indent="-1809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ea typeface="+mn-ea"/>
                <a:cs typeface="Arial" pitchFamily="34" charset="0"/>
              </a:rPr>
              <a:t>Revenue enhancement</a:t>
            </a:r>
          </a:p>
          <a:p>
            <a:pPr marL="180975" marR="0" lvl="1" indent="-180975"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GB" sz="1400" b="0" i="0" u="none" strike="noStrike" kern="0" cap="none" spc="0" normalizeH="0" baseline="0" noProof="0" dirty="0">
              <a:ln>
                <a:noFill/>
              </a:ln>
              <a:solidFill>
                <a:srgbClr val="000000"/>
              </a:solidFill>
              <a:effectLst/>
              <a:uLnTx/>
              <a:uFillTx/>
              <a:ea typeface="+mn-ea"/>
              <a:cs typeface="Arial" pitchFamily="34" charset="0"/>
            </a:endParaRPr>
          </a:p>
          <a:p>
            <a:pPr marL="180975" marR="0" lvl="1" indent="-1809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ea typeface="+mn-ea"/>
                <a:cs typeface="Arial" pitchFamily="34" charset="0"/>
              </a:rPr>
              <a:t>Operating profit from cost reduction</a:t>
            </a:r>
          </a:p>
          <a:p>
            <a:pPr marL="180975" marR="0" lvl="1" indent="-180975"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GB" sz="1400" b="0" i="0" u="none" strike="noStrike" kern="0" cap="none" spc="0" normalizeH="0" baseline="0" noProof="0" dirty="0">
              <a:ln>
                <a:noFill/>
              </a:ln>
              <a:solidFill>
                <a:srgbClr val="000000"/>
              </a:solidFill>
              <a:effectLst/>
              <a:uLnTx/>
              <a:uFillTx/>
              <a:ea typeface="+mn-ea"/>
              <a:cs typeface="Arial" pitchFamily="34" charset="0"/>
            </a:endParaRPr>
          </a:p>
          <a:p>
            <a:pPr marL="180975" marR="0" lvl="1" indent="-1809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ea typeface="+mn-ea"/>
                <a:cs typeface="Arial" pitchFamily="34" charset="0"/>
              </a:rPr>
              <a:t>Capital reduction</a:t>
            </a:r>
          </a:p>
          <a:p>
            <a:pPr marL="180975" marR="0" lvl="1" indent="-180975"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GB" sz="1400" b="0" i="0" u="none" strike="noStrike" kern="0" cap="none" spc="0" normalizeH="0" baseline="0" noProof="0" dirty="0">
              <a:ln>
                <a:noFill/>
              </a:ln>
              <a:solidFill>
                <a:srgbClr val="000000"/>
              </a:solidFill>
              <a:effectLst/>
              <a:uLnTx/>
              <a:uFillTx/>
              <a:ea typeface="+mn-ea"/>
              <a:cs typeface="Arial" pitchFamily="34" charset="0"/>
            </a:endParaRPr>
          </a:p>
          <a:p>
            <a:pPr marL="180975" marR="0" lvl="1" indent="-1809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ea typeface="+mn-ea"/>
                <a:cs typeface="Arial" pitchFamily="34" charset="0"/>
              </a:rPr>
              <a:t>Strategic alignment</a:t>
            </a:r>
          </a:p>
          <a:p>
            <a:pPr marL="180975" marR="0" lvl="1" indent="-180975"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GB" sz="1400" b="0" i="0" u="none" strike="noStrike" kern="0" cap="none" spc="0" normalizeH="0" baseline="0" noProof="0" dirty="0">
              <a:ln>
                <a:noFill/>
              </a:ln>
              <a:solidFill>
                <a:srgbClr val="000000"/>
              </a:solidFill>
              <a:effectLst/>
              <a:uLnTx/>
              <a:uFillTx/>
              <a:ea typeface="+mn-ea"/>
              <a:cs typeface="Arial" pitchFamily="34" charset="0"/>
            </a:endParaRPr>
          </a:p>
          <a:p>
            <a:pPr marL="180975" marR="0" lvl="1" indent="-1809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ea typeface="+mn-ea"/>
                <a:cs typeface="Arial" pitchFamily="34" charset="0"/>
              </a:rPr>
              <a:t>Other benefits</a:t>
            </a:r>
          </a:p>
          <a:p>
            <a:pPr marL="355600" marR="0" lvl="2" indent="-17462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ea typeface="+mn-ea"/>
                <a:cs typeface="Arial" pitchFamily="34" charset="0"/>
              </a:rPr>
              <a:t>Client satisfaction</a:t>
            </a:r>
          </a:p>
          <a:p>
            <a:pPr marL="355600" marR="0" lvl="2" indent="-17462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ea typeface="+mn-ea"/>
                <a:cs typeface="Arial" pitchFamily="34" charset="0"/>
              </a:rPr>
              <a:t>Cycle time reduction</a:t>
            </a:r>
          </a:p>
          <a:p>
            <a:pPr marL="355600" marR="0" lvl="2" indent="-17462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ea typeface="+mn-ea"/>
                <a:cs typeface="Arial" pitchFamily="34" charset="0"/>
              </a:rPr>
              <a:t>Associate involvement</a:t>
            </a:r>
          </a:p>
        </p:txBody>
      </p:sp>
      <p:grpSp>
        <p:nvGrpSpPr>
          <p:cNvPr id="8" name="Group 7" descr="Benefit matrix example">
            <a:extLst>
              <a:ext uri="{FF2B5EF4-FFF2-40B4-BE49-F238E27FC236}">
                <a16:creationId xmlns:a16="http://schemas.microsoft.com/office/drawing/2014/main" id="{0EC4110A-7EB8-487D-8CFA-805D0D3C01D4}"/>
              </a:ext>
            </a:extLst>
          </p:cNvPr>
          <p:cNvGrpSpPr/>
          <p:nvPr/>
        </p:nvGrpSpPr>
        <p:grpSpPr>
          <a:xfrm>
            <a:off x="3783707" y="1005610"/>
            <a:ext cx="5289503" cy="4085748"/>
            <a:chOff x="5569338" y="1826990"/>
            <a:chExt cx="5289503" cy="4085748"/>
          </a:xfrm>
        </p:grpSpPr>
        <p:sp>
          <p:nvSpPr>
            <p:cNvPr id="9" name="Rectangle 7">
              <a:extLst>
                <a:ext uri="{FF2B5EF4-FFF2-40B4-BE49-F238E27FC236}">
                  <a16:creationId xmlns:a16="http://schemas.microsoft.com/office/drawing/2014/main" id="{CD4F767B-054E-42CE-BFA1-F60C06022C93}"/>
                </a:ext>
              </a:extLst>
            </p:cNvPr>
            <p:cNvSpPr>
              <a:spLocks noChangeArrowheads="1"/>
            </p:cNvSpPr>
            <p:nvPr/>
          </p:nvSpPr>
          <p:spPr bwMode="auto">
            <a:xfrm>
              <a:off x="6197468" y="2050674"/>
              <a:ext cx="3840074" cy="3524485"/>
            </a:xfrm>
            <a:prstGeom prst="rect">
              <a:avLst/>
            </a:prstGeom>
            <a:solidFill>
              <a:srgbClr val="BE82FF">
                <a:lumMod val="20000"/>
                <a:lumOff val="80000"/>
              </a:srgbClr>
            </a:solidFill>
            <a:ln w="6350" algn="ctr">
              <a:solidFill>
                <a:srgbClr val="96968C">
                  <a:lumMod val="40000"/>
                  <a:lumOff val="60000"/>
                </a:srgbClr>
              </a:solidFill>
              <a:miter lim="800000"/>
              <a:headEnd/>
              <a:tailEnd/>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2800" b="1" i="0" u="none" strike="noStrike" kern="0" cap="none" spc="0" normalizeH="0" baseline="0" noProof="0" dirty="0">
                <a:ln>
                  <a:noFill/>
                </a:ln>
                <a:solidFill>
                  <a:srgbClr val="000000"/>
                </a:solidFill>
                <a:effectLst/>
                <a:uLnTx/>
                <a:uFillTx/>
                <a:latin typeface="Arial"/>
                <a:ea typeface="+mn-ea"/>
                <a:cs typeface="+mn-cs"/>
              </a:endParaRPr>
            </a:p>
          </p:txBody>
        </p:sp>
        <p:sp>
          <p:nvSpPr>
            <p:cNvPr id="10" name="AutoShape 8">
              <a:extLst>
                <a:ext uri="{FF2B5EF4-FFF2-40B4-BE49-F238E27FC236}">
                  <a16:creationId xmlns:a16="http://schemas.microsoft.com/office/drawing/2014/main" id="{63AFF484-58A5-42CB-8A3D-0759F838C3EC}"/>
                </a:ext>
              </a:extLst>
            </p:cNvPr>
            <p:cNvSpPr>
              <a:spLocks noChangeArrowheads="1"/>
            </p:cNvSpPr>
            <p:nvPr/>
          </p:nvSpPr>
          <p:spPr bwMode="auto">
            <a:xfrm rot="5400000">
              <a:off x="5471841" y="2754243"/>
              <a:ext cx="3483544" cy="2077778"/>
            </a:xfrm>
            <a:prstGeom prst="rtTriangle">
              <a:avLst/>
            </a:prstGeom>
            <a:solidFill>
              <a:srgbClr val="A100FF">
                <a:lumMod val="60000"/>
                <a:lumOff val="40000"/>
              </a:srgbClr>
            </a:solidFill>
            <a:ln w="3175" algn="ctr">
              <a:noFill/>
              <a:miter lim="800000"/>
              <a:headEnd/>
              <a:tailEnd/>
            </a:ln>
          </p:spPr>
          <p:txBody>
            <a:bodyPr rot="10800000" vert="eaVert"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1" name="AutoShape 9">
              <a:extLst>
                <a:ext uri="{FF2B5EF4-FFF2-40B4-BE49-F238E27FC236}">
                  <a16:creationId xmlns:a16="http://schemas.microsoft.com/office/drawing/2014/main" id="{8F871715-1CF7-43D8-9941-624377DD63E5}"/>
                </a:ext>
              </a:extLst>
            </p:cNvPr>
            <p:cNvSpPr>
              <a:spLocks noChangeArrowheads="1"/>
            </p:cNvSpPr>
            <p:nvPr/>
          </p:nvSpPr>
          <p:spPr bwMode="auto">
            <a:xfrm flipH="1">
              <a:off x="6176925" y="3841152"/>
              <a:ext cx="3860618" cy="1734006"/>
            </a:xfrm>
            <a:prstGeom prst="rtTriangle">
              <a:avLst/>
            </a:prstGeom>
            <a:solidFill>
              <a:srgbClr val="A100FF">
                <a:lumMod val="40000"/>
                <a:lumOff val="60000"/>
              </a:srgbClr>
            </a:solidFill>
            <a:ln w="3175" algn="ctr">
              <a:noFill/>
              <a:miter lim="800000"/>
              <a:headEnd/>
              <a:tailEnd/>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2" name="Rectangle 10">
              <a:extLst>
                <a:ext uri="{FF2B5EF4-FFF2-40B4-BE49-F238E27FC236}">
                  <a16:creationId xmlns:a16="http://schemas.microsoft.com/office/drawing/2014/main" id="{6A5C8485-2E04-4156-8C2C-CC317CEA4C7E}"/>
                </a:ext>
              </a:extLst>
            </p:cNvPr>
            <p:cNvSpPr>
              <a:spLocks noChangeArrowheads="1"/>
            </p:cNvSpPr>
            <p:nvPr/>
          </p:nvSpPr>
          <p:spPr bwMode="auto">
            <a:xfrm>
              <a:off x="6142360" y="2050674"/>
              <a:ext cx="562814" cy="3524484"/>
            </a:xfrm>
            <a:prstGeom prst="rect">
              <a:avLst/>
            </a:prstGeom>
            <a:solidFill>
              <a:srgbClr val="DCAFFF"/>
            </a:solidFill>
            <a:ln w="3175" algn="ctr">
              <a:noFill/>
              <a:miter lim="800000"/>
              <a:headEnd type="none" w="sm" len="sm"/>
              <a:tailEnd type="none" w="sm" len="sm"/>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3" name="Line 20">
              <a:extLst>
                <a:ext uri="{FF2B5EF4-FFF2-40B4-BE49-F238E27FC236}">
                  <a16:creationId xmlns:a16="http://schemas.microsoft.com/office/drawing/2014/main" id="{229A104C-30EE-437A-948E-FDB17F9CDF98}"/>
                </a:ext>
              </a:extLst>
            </p:cNvPr>
            <p:cNvSpPr>
              <a:spLocks noChangeShapeType="1"/>
            </p:cNvSpPr>
            <p:nvPr/>
          </p:nvSpPr>
          <p:spPr bwMode="auto">
            <a:xfrm flipV="1">
              <a:off x="7479939" y="2050674"/>
              <a:ext cx="0" cy="3524484"/>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4" name="Line 21">
              <a:extLst>
                <a:ext uri="{FF2B5EF4-FFF2-40B4-BE49-F238E27FC236}">
                  <a16:creationId xmlns:a16="http://schemas.microsoft.com/office/drawing/2014/main" id="{1D60C95C-8612-4BDD-85FD-12D390784200}"/>
                </a:ext>
              </a:extLst>
            </p:cNvPr>
            <p:cNvSpPr>
              <a:spLocks noChangeShapeType="1"/>
            </p:cNvSpPr>
            <p:nvPr/>
          </p:nvSpPr>
          <p:spPr bwMode="auto">
            <a:xfrm>
              <a:off x="6135628" y="3329391"/>
              <a:ext cx="3869632" cy="0"/>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5" name="Line 22">
              <a:extLst>
                <a:ext uri="{FF2B5EF4-FFF2-40B4-BE49-F238E27FC236}">
                  <a16:creationId xmlns:a16="http://schemas.microsoft.com/office/drawing/2014/main" id="{256297EC-5831-4B79-9086-106C2358AC48}"/>
                </a:ext>
              </a:extLst>
            </p:cNvPr>
            <p:cNvSpPr>
              <a:spLocks noChangeShapeType="1"/>
            </p:cNvSpPr>
            <p:nvPr/>
          </p:nvSpPr>
          <p:spPr bwMode="auto">
            <a:xfrm flipV="1">
              <a:off x="8771213" y="2050674"/>
              <a:ext cx="0" cy="3524484"/>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6" name="Line 23">
              <a:extLst>
                <a:ext uri="{FF2B5EF4-FFF2-40B4-BE49-F238E27FC236}">
                  <a16:creationId xmlns:a16="http://schemas.microsoft.com/office/drawing/2014/main" id="{DE71069A-1AFF-4A3F-9E29-55CA4102825A}"/>
                </a:ext>
              </a:extLst>
            </p:cNvPr>
            <p:cNvSpPr>
              <a:spLocks noChangeShapeType="1"/>
            </p:cNvSpPr>
            <p:nvPr/>
          </p:nvSpPr>
          <p:spPr bwMode="auto">
            <a:xfrm>
              <a:off x="6135628" y="4427002"/>
              <a:ext cx="3900448" cy="0"/>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7" name="Text Box 24">
              <a:extLst>
                <a:ext uri="{FF2B5EF4-FFF2-40B4-BE49-F238E27FC236}">
                  <a16:creationId xmlns:a16="http://schemas.microsoft.com/office/drawing/2014/main" id="{C07DD390-8E9B-4143-ABD1-6471C941B6FD}"/>
                </a:ext>
              </a:extLst>
            </p:cNvPr>
            <p:cNvSpPr txBox="1">
              <a:spLocks noChangeArrowheads="1"/>
            </p:cNvSpPr>
            <p:nvPr/>
          </p:nvSpPr>
          <p:spPr bwMode="auto">
            <a:xfrm>
              <a:off x="6650857" y="2078880"/>
              <a:ext cx="1092717" cy="400110"/>
            </a:xfrm>
            <a:prstGeom prst="rect">
              <a:avLst/>
            </a:prstGeom>
            <a:noFill/>
            <a:ln w="12700" algn="ctr">
              <a:noFill/>
              <a:miter lim="800000"/>
              <a:headEnd type="none" w="sm" len="sm"/>
              <a:tailEnd type="none" w="sm" len="sm"/>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effectLst/>
                  <a:uLnTx/>
                  <a:uFillTx/>
                  <a:latin typeface="+mj-lt"/>
                  <a:ea typeface="+mn-ea"/>
                  <a:cs typeface="+mn-cs"/>
                </a:rPr>
                <a:t>Highly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effectLst/>
                  <a:uLnTx/>
                  <a:uFillTx/>
                  <a:latin typeface="+mj-lt"/>
                  <a:ea typeface="+mn-ea"/>
                  <a:cs typeface="+mn-cs"/>
                </a:rPr>
                <a:t>Desirable</a:t>
              </a:r>
            </a:p>
          </p:txBody>
        </p:sp>
        <p:sp>
          <p:nvSpPr>
            <p:cNvPr id="18" name="Text Box 25">
              <a:extLst>
                <a:ext uri="{FF2B5EF4-FFF2-40B4-BE49-F238E27FC236}">
                  <a16:creationId xmlns:a16="http://schemas.microsoft.com/office/drawing/2014/main" id="{3ADC0587-296A-4D2C-8575-A3B15AD18B2A}"/>
                </a:ext>
              </a:extLst>
            </p:cNvPr>
            <p:cNvSpPr txBox="1">
              <a:spLocks noChangeArrowheads="1"/>
            </p:cNvSpPr>
            <p:nvPr/>
          </p:nvSpPr>
          <p:spPr bwMode="auto">
            <a:xfrm>
              <a:off x="9042914" y="2078880"/>
              <a:ext cx="1136334" cy="400110"/>
            </a:xfrm>
            <a:prstGeom prst="rect">
              <a:avLst/>
            </a:prstGeom>
            <a:noFill/>
            <a:ln w="12700" algn="ctr">
              <a:noFill/>
              <a:miter lim="800000"/>
              <a:headEnd type="none" w="sm" len="sm"/>
              <a:tailEnd type="none" w="sm" len="sm"/>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mj-lt"/>
                  <a:ea typeface="+mn-ea"/>
                  <a:cs typeface="+mn-cs"/>
                </a:rPr>
                <a:t>Potentially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mj-lt"/>
                  <a:ea typeface="+mn-ea"/>
                  <a:cs typeface="+mn-cs"/>
                </a:rPr>
                <a:t>Desirable</a:t>
              </a:r>
            </a:p>
          </p:txBody>
        </p:sp>
        <p:sp>
          <p:nvSpPr>
            <p:cNvPr id="19" name="Text Box 26">
              <a:extLst>
                <a:ext uri="{FF2B5EF4-FFF2-40B4-BE49-F238E27FC236}">
                  <a16:creationId xmlns:a16="http://schemas.microsoft.com/office/drawing/2014/main" id="{C6258DF5-9224-421D-BEEE-9F24C18A88F7}"/>
                </a:ext>
              </a:extLst>
            </p:cNvPr>
            <p:cNvSpPr txBox="1">
              <a:spLocks noChangeArrowheads="1"/>
            </p:cNvSpPr>
            <p:nvPr/>
          </p:nvSpPr>
          <p:spPr bwMode="auto">
            <a:xfrm>
              <a:off x="9010398" y="5028591"/>
              <a:ext cx="793807" cy="338554"/>
            </a:xfrm>
            <a:prstGeom prst="rect">
              <a:avLst/>
            </a:prstGeom>
            <a:noFill/>
            <a:ln w="12700" algn="ctr">
              <a:noFill/>
              <a:miter lim="800000"/>
              <a:headEnd type="none" w="sm" len="sm"/>
              <a:tailEnd type="none" w="sm" len="sm"/>
            </a:ln>
          </p:spPr>
          <p:txBody>
            <a:bodyPr wrap="none">
              <a:spAutoFit/>
            </a:bodyPr>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mj-lt"/>
                  <a:ea typeface="+mn-ea"/>
                  <a:cs typeface="+mn-cs"/>
                </a:rPr>
                <a:t>Least</a:t>
              </a:r>
            </a:p>
            <a:p>
              <a:pPr marL="0" marR="0" lvl="0" indent="0" algn="l"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mj-lt"/>
                  <a:ea typeface="+mn-ea"/>
                  <a:cs typeface="+mn-cs"/>
                </a:rPr>
                <a:t>Desirable</a:t>
              </a:r>
            </a:p>
          </p:txBody>
        </p:sp>
        <p:sp>
          <p:nvSpPr>
            <p:cNvPr id="20" name="Text Box 27">
              <a:extLst>
                <a:ext uri="{FF2B5EF4-FFF2-40B4-BE49-F238E27FC236}">
                  <a16:creationId xmlns:a16="http://schemas.microsoft.com/office/drawing/2014/main" id="{2A79AFC3-E601-470B-B463-81F690325850}"/>
                </a:ext>
              </a:extLst>
            </p:cNvPr>
            <p:cNvSpPr txBox="1">
              <a:spLocks noChangeArrowheads="1"/>
            </p:cNvSpPr>
            <p:nvPr/>
          </p:nvSpPr>
          <p:spPr bwMode="auto">
            <a:xfrm>
              <a:off x="6121286" y="5028591"/>
              <a:ext cx="559769" cy="338554"/>
            </a:xfrm>
            <a:prstGeom prst="rect">
              <a:avLst/>
            </a:prstGeom>
            <a:noFill/>
            <a:ln w="12700" algn="ctr">
              <a:noFill/>
              <a:miter lim="800000"/>
              <a:headEnd type="none" w="sm" len="sm"/>
              <a:tailEnd type="none" w="sm" len="sm"/>
            </a:ln>
          </p:spPr>
          <p:txBody>
            <a:bodyPr wrap="none">
              <a:spAutoFit/>
            </a:bodyPr>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mn-cs"/>
                </a:rPr>
                <a:t>Quick</a:t>
              </a:r>
            </a:p>
            <a:p>
              <a:pPr marL="0" marR="0" lvl="0" indent="0" algn="l"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mn-cs"/>
                </a:rPr>
                <a:t>Hits</a:t>
              </a:r>
            </a:p>
          </p:txBody>
        </p:sp>
        <p:grpSp>
          <p:nvGrpSpPr>
            <p:cNvPr id="21" name="Group 65">
              <a:extLst>
                <a:ext uri="{FF2B5EF4-FFF2-40B4-BE49-F238E27FC236}">
                  <a16:creationId xmlns:a16="http://schemas.microsoft.com/office/drawing/2014/main" id="{E1AE6772-9CD4-4F1D-9DAC-453196778B1E}"/>
                </a:ext>
              </a:extLst>
            </p:cNvPr>
            <p:cNvGrpSpPr/>
            <p:nvPr/>
          </p:nvGrpSpPr>
          <p:grpSpPr bwMode="auto">
            <a:xfrm>
              <a:off x="5569338" y="1826990"/>
              <a:ext cx="5289503" cy="4085748"/>
              <a:chOff x="610162" y="1709192"/>
              <a:chExt cx="5289503" cy="4085748"/>
            </a:xfrm>
          </p:grpSpPr>
          <p:sp>
            <p:nvSpPr>
              <p:cNvPr id="22" name="Text Box 11">
                <a:extLst>
                  <a:ext uri="{FF2B5EF4-FFF2-40B4-BE49-F238E27FC236}">
                    <a16:creationId xmlns:a16="http://schemas.microsoft.com/office/drawing/2014/main" id="{E886F61E-C4F3-413A-9197-2205F4F05BE2}"/>
                  </a:ext>
                </a:extLst>
              </p:cNvPr>
              <p:cNvSpPr txBox="1">
                <a:spLocks noChangeArrowheads="1"/>
              </p:cNvSpPr>
              <p:nvPr/>
            </p:nvSpPr>
            <p:spPr bwMode="auto">
              <a:xfrm>
                <a:off x="610162" y="1709192"/>
                <a:ext cx="1089902" cy="147733"/>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Value</a:t>
                </a:r>
              </a:p>
            </p:txBody>
          </p:sp>
          <p:sp>
            <p:nvSpPr>
              <p:cNvPr id="23" name="Text Box 11">
                <a:extLst>
                  <a:ext uri="{FF2B5EF4-FFF2-40B4-BE49-F238E27FC236}">
                    <a16:creationId xmlns:a16="http://schemas.microsoft.com/office/drawing/2014/main" id="{1566AB85-025A-40B3-910F-D405ADC4DCEC}"/>
                  </a:ext>
                </a:extLst>
              </p:cNvPr>
              <p:cNvSpPr txBox="1">
                <a:spLocks noChangeArrowheads="1"/>
              </p:cNvSpPr>
              <p:nvPr/>
            </p:nvSpPr>
            <p:spPr bwMode="auto">
              <a:xfrm>
                <a:off x="4809763" y="5647207"/>
                <a:ext cx="1089902" cy="147733"/>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Effort</a:t>
                </a:r>
              </a:p>
            </p:txBody>
          </p:sp>
          <p:sp>
            <p:nvSpPr>
              <p:cNvPr id="24" name="Text Box 13">
                <a:extLst>
                  <a:ext uri="{FF2B5EF4-FFF2-40B4-BE49-F238E27FC236}">
                    <a16:creationId xmlns:a16="http://schemas.microsoft.com/office/drawing/2014/main" id="{F1CC6E95-21DD-4B5E-BB90-84996FB81FDB}"/>
                  </a:ext>
                </a:extLst>
              </p:cNvPr>
              <p:cNvSpPr txBox="1">
                <a:spLocks noChangeArrowheads="1"/>
              </p:cNvSpPr>
              <p:nvPr/>
            </p:nvSpPr>
            <p:spPr bwMode="auto">
              <a:xfrm>
                <a:off x="4176348" y="5557904"/>
                <a:ext cx="859346"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High</a:t>
                </a:r>
              </a:p>
            </p:txBody>
          </p:sp>
          <p:sp>
            <p:nvSpPr>
              <p:cNvPr id="25" name="Text Box 14">
                <a:extLst>
                  <a:ext uri="{FF2B5EF4-FFF2-40B4-BE49-F238E27FC236}">
                    <a16:creationId xmlns:a16="http://schemas.microsoft.com/office/drawing/2014/main" id="{339FFAB6-DC5C-49AE-A9DC-09AB689C140E}"/>
                  </a:ext>
                </a:extLst>
              </p:cNvPr>
              <p:cNvSpPr txBox="1">
                <a:spLocks noChangeArrowheads="1"/>
              </p:cNvSpPr>
              <p:nvPr/>
            </p:nvSpPr>
            <p:spPr bwMode="auto">
              <a:xfrm>
                <a:off x="999249" y="5557904"/>
                <a:ext cx="890088"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Low</a:t>
                </a:r>
              </a:p>
            </p:txBody>
          </p:sp>
          <p:sp>
            <p:nvSpPr>
              <p:cNvPr id="26" name="Text Box 15">
                <a:extLst>
                  <a:ext uri="{FF2B5EF4-FFF2-40B4-BE49-F238E27FC236}">
                    <a16:creationId xmlns:a16="http://schemas.microsoft.com/office/drawing/2014/main" id="{ACB3BD85-BC4C-4DED-AC84-25769C1DFD5D}"/>
                  </a:ext>
                </a:extLst>
              </p:cNvPr>
              <p:cNvSpPr txBox="1">
                <a:spLocks noChangeArrowheads="1"/>
              </p:cNvSpPr>
              <p:nvPr/>
            </p:nvSpPr>
            <p:spPr bwMode="auto">
              <a:xfrm>
                <a:off x="2690737" y="5557904"/>
                <a:ext cx="762932"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Med</a:t>
                </a:r>
              </a:p>
            </p:txBody>
          </p:sp>
          <p:sp>
            <p:nvSpPr>
              <p:cNvPr id="27" name="Text Box 13">
                <a:extLst>
                  <a:ext uri="{FF2B5EF4-FFF2-40B4-BE49-F238E27FC236}">
                    <a16:creationId xmlns:a16="http://schemas.microsoft.com/office/drawing/2014/main" id="{6109F132-B383-49D5-AE74-1FEED8922005}"/>
                  </a:ext>
                </a:extLst>
              </p:cNvPr>
              <p:cNvSpPr txBox="1">
                <a:spLocks noChangeArrowheads="1"/>
              </p:cNvSpPr>
              <p:nvPr/>
            </p:nvSpPr>
            <p:spPr bwMode="auto">
              <a:xfrm>
                <a:off x="662842" y="2635769"/>
                <a:ext cx="859346"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High</a:t>
                </a:r>
              </a:p>
            </p:txBody>
          </p:sp>
          <p:sp>
            <p:nvSpPr>
              <p:cNvPr id="28" name="Text Box 14">
                <a:extLst>
                  <a:ext uri="{FF2B5EF4-FFF2-40B4-BE49-F238E27FC236}">
                    <a16:creationId xmlns:a16="http://schemas.microsoft.com/office/drawing/2014/main" id="{FE6DC56B-D73C-44E3-8076-38ACB80AF3D1}"/>
                  </a:ext>
                </a:extLst>
              </p:cNvPr>
              <p:cNvSpPr txBox="1">
                <a:spLocks noChangeArrowheads="1"/>
              </p:cNvSpPr>
              <p:nvPr/>
            </p:nvSpPr>
            <p:spPr bwMode="auto">
              <a:xfrm>
                <a:off x="662842" y="4836633"/>
                <a:ext cx="890088"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Low</a:t>
                </a:r>
              </a:p>
            </p:txBody>
          </p:sp>
          <p:sp>
            <p:nvSpPr>
              <p:cNvPr id="29" name="Text Box 15">
                <a:extLst>
                  <a:ext uri="{FF2B5EF4-FFF2-40B4-BE49-F238E27FC236}">
                    <a16:creationId xmlns:a16="http://schemas.microsoft.com/office/drawing/2014/main" id="{9C00D796-D0FE-49F7-8ECE-B8E3DD1BA960}"/>
                  </a:ext>
                </a:extLst>
              </p:cNvPr>
              <p:cNvSpPr txBox="1">
                <a:spLocks noChangeArrowheads="1"/>
              </p:cNvSpPr>
              <p:nvPr/>
            </p:nvSpPr>
            <p:spPr bwMode="auto">
              <a:xfrm>
                <a:off x="662842" y="3802512"/>
                <a:ext cx="762932"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Med</a:t>
                </a:r>
              </a:p>
            </p:txBody>
          </p:sp>
          <p:sp>
            <p:nvSpPr>
              <p:cNvPr id="30" name="Line 28">
                <a:extLst>
                  <a:ext uri="{FF2B5EF4-FFF2-40B4-BE49-F238E27FC236}">
                    <a16:creationId xmlns:a16="http://schemas.microsoft.com/office/drawing/2014/main" id="{2FB6BA31-81EC-4517-B09A-211BB3B5B4E7}"/>
                  </a:ext>
                </a:extLst>
              </p:cNvPr>
              <p:cNvSpPr>
                <a:spLocks noChangeShapeType="1"/>
              </p:cNvSpPr>
              <p:nvPr/>
            </p:nvSpPr>
            <p:spPr bwMode="auto">
              <a:xfrm>
                <a:off x="1183184" y="5457361"/>
                <a:ext cx="4215510" cy="0"/>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1" name="Line 28">
                <a:extLst>
                  <a:ext uri="{FF2B5EF4-FFF2-40B4-BE49-F238E27FC236}">
                    <a16:creationId xmlns:a16="http://schemas.microsoft.com/office/drawing/2014/main" id="{C4D6253F-4162-40F6-8FE5-B9F5F45D5B0B}"/>
                  </a:ext>
                </a:extLst>
              </p:cNvPr>
              <p:cNvSpPr>
                <a:spLocks noChangeShapeType="1"/>
              </p:cNvSpPr>
              <p:nvPr/>
            </p:nvSpPr>
            <p:spPr bwMode="auto">
              <a:xfrm flipV="1">
                <a:off x="1176452" y="1709192"/>
                <a:ext cx="0" cy="3748168"/>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grpSp>
      </p:grpSp>
      <p:sp>
        <p:nvSpPr>
          <p:cNvPr id="7" name="Pentagon 53">
            <a:extLst>
              <a:ext uri="{FF2B5EF4-FFF2-40B4-BE49-F238E27FC236}">
                <a16:creationId xmlns:a16="http://schemas.microsoft.com/office/drawing/2014/main" id="{4EA1EC27-8A9E-4C09-8235-E91F9655AAE5}"/>
              </a:ext>
            </a:extLst>
          </p:cNvPr>
          <p:cNvSpPr/>
          <p:nvPr/>
        </p:nvSpPr>
        <p:spPr bwMode="auto">
          <a:xfrm rot="16200000">
            <a:off x="5562748" y="4202808"/>
            <a:ext cx="1360563" cy="3287420"/>
          </a:xfrm>
          <a:prstGeom prst="homePlate">
            <a:avLst>
              <a:gd name="adj" fmla="val 14520"/>
            </a:avLst>
          </a:prstGeom>
          <a:solidFill>
            <a:srgbClr val="E0E0E0"/>
          </a:solidFill>
          <a:ln w="25400" cap="flat" cmpd="sng" algn="ctr">
            <a:noFill/>
            <a:prstDash val="solid"/>
          </a:ln>
          <a:effectLst/>
        </p:spPr>
        <p:txBody>
          <a:bodyPr vert="vert" anchor="ctr"/>
          <a:lstStyle/>
          <a:p>
            <a:pPr marL="355600" marR="0" lvl="1" indent="-17462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ea typeface="+mn-ea"/>
                <a:cs typeface="Arial" pitchFamily="34" charset="0"/>
              </a:rPr>
              <a:t>Personnel requirements</a:t>
            </a:r>
          </a:p>
          <a:p>
            <a:pPr marL="355600" marR="0" lvl="1" indent="-17462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ea typeface="+mn-ea"/>
                <a:cs typeface="Arial" pitchFamily="34" charset="0"/>
              </a:rPr>
              <a:t>Project duration</a:t>
            </a:r>
          </a:p>
          <a:p>
            <a:pPr marL="355600" marR="0" lvl="1" indent="-17462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ea typeface="+mn-ea"/>
                <a:cs typeface="Arial" pitchFamily="34" charset="0"/>
              </a:rPr>
              <a:t>Capital investment</a:t>
            </a:r>
          </a:p>
          <a:p>
            <a:pPr marL="355600" marR="0" lvl="1" indent="-17462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ea typeface="+mn-ea"/>
                <a:cs typeface="Arial" pitchFamily="34" charset="0"/>
              </a:rPr>
              <a:t>Risk projection</a:t>
            </a:r>
            <a:endParaRPr kumimoji="0" lang="en-US" sz="1400" b="0" i="0" u="none" strike="noStrike" kern="0" cap="none" spc="0" normalizeH="0" baseline="0" noProof="0" dirty="0">
              <a:ln>
                <a:noFill/>
              </a:ln>
              <a:solidFill>
                <a:srgbClr val="000000"/>
              </a:solidFill>
              <a:effectLst/>
              <a:uLnTx/>
              <a:uFillTx/>
              <a:ea typeface="+mn-ea"/>
              <a:cs typeface="Arial" pitchFamily="34" charset="0"/>
            </a:endParaRPr>
          </a:p>
        </p:txBody>
      </p:sp>
      <p:sp>
        <p:nvSpPr>
          <p:cNvPr id="3" name="Footer Placeholder 2">
            <a:extLst>
              <a:ext uri="{FF2B5EF4-FFF2-40B4-BE49-F238E27FC236}">
                <a16:creationId xmlns:a16="http://schemas.microsoft.com/office/drawing/2014/main" id="{CA40D252-898B-429B-9F9B-2712E0C5193A}"/>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33" name="Slide Number Placeholder 32">
            <a:extLst>
              <a:ext uri="{FF2B5EF4-FFF2-40B4-BE49-F238E27FC236}">
                <a16:creationId xmlns:a16="http://schemas.microsoft.com/office/drawing/2014/main" id="{595E5EF0-9467-4CF8-BE2E-B5D031E94D9D}"/>
              </a:ext>
            </a:extLst>
          </p:cNvPr>
          <p:cNvSpPr>
            <a:spLocks noGrp="1"/>
          </p:cNvSpPr>
          <p:nvPr>
            <p:ph type="sldNum" sz="quarter" idx="10"/>
          </p:nvPr>
        </p:nvSpPr>
        <p:spPr/>
        <p:txBody>
          <a:bodyPr/>
          <a:lstStyle/>
          <a:p>
            <a:fld id="{1F90F471-3972-4120-B8B3-0237DE626C35}" type="slidenum">
              <a:rPr lang="en-US" smtClean="0"/>
              <a:pPr/>
              <a:t>392</a:t>
            </a:fld>
            <a:endParaRPr lang="en-US" dirty="0"/>
          </a:p>
        </p:txBody>
      </p:sp>
    </p:spTree>
    <p:extLst>
      <p:ext uri="{BB962C8B-B14F-4D97-AF65-F5344CB8AC3E}">
        <p14:creationId xmlns:p14="http://schemas.microsoft.com/office/powerpoint/2010/main" val="3637596163"/>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Benefit Effort Matrix 5</a:t>
            </a:r>
          </a:p>
        </p:txBody>
      </p:sp>
      <p:sp>
        <p:nvSpPr>
          <p:cNvPr id="2" name="TextBox 1">
            <a:extLst>
              <a:ext uri="{FF2B5EF4-FFF2-40B4-BE49-F238E27FC236}">
                <a16:creationId xmlns:a16="http://schemas.microsoft.com/office/drawing/2014/main" id="{6289C067-841A-42B5-9F66-0E80A6E244DF}"/>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ea typeface="+mn-ea"/>
                <a:cs typeface="+mn-cs"/>
              </a:rPr>
              <a:t>Process improvement initiatives should target areas with the greatest benefit, while managing resources to minimize required effort</a:t>
            </a:r>
          </a:p>
        </p:txBody>
      </p:sp>
      <p:grpSp>
        <p:nvGrpSpPr>
          <p:cNvPr id="60" name="Group 59" descr="Benefit matrix example">
            <a:extLst>
              <a:ext uri="{FF2B5EF4-FFF2-40B4-BE49-F238E27FC236}">
                <a16:creationId xmlns:a16="http://schemas.microsoft.com/office/drawing/2014/main" id="{D3A70CC4-0B6E-4416-A3CF-00212FD195FC}"/>
              </a:ext>
            </a:extLst>
          </p:cNvPr>
          <p:cNvGrpSpPr/>
          <p:nvPr/>
        </p:nvGrpSpPr>
        <p:grpSpPr>
          <a:xfrm>
            <a:off x="345018" y="1926753"/>
            <a:ext cx="4844100" cy="4284476"/>
            <a:chOff x="345018" y="1926753"/>
            <a:chExt cx="4844100" cy="4284476"/>
          </a:xfrm>
        </p:grpSpPr>
        <p:sp>
          <p:nvSpPr>
            <p:cNvPr id="7" name="Rectangle 7">
              <a:extLst>
                <a:ext uri="{FF2B5EF4-FFF2-40B4-BE49-F238E27FC236}">
                  <a16:creationId xmlns:a16="http://schemas.microsoft.com/office/drawing/2014/main" id="{282A97A1-262A-4D0F-BFED-2BBE84ACF010}"/>
                </a:ext>
              </a:extLst>
            </p:cNvPr>
            <p:cNvSpPr>
              <a:spLocks noChangeArrowheads="1"/>
            </p:cNvSpPr>
            <p:nvPr/>
          </p:nvSpPr>
          <p:spPr bwMode="auto">
            <a:xfrm>
              <a:off x="973148" y="2150437"/>
              <a:ext cx="3840074" cy="3524485"/>
            </a:xfrm>
            <a:prstGeom prst="rect">
              <a:avLst/>
            </a:prstGeom>
            <a:solidFill>
              <a:srgbClr val="BE82FF">
                <a:lumMod val="20000"/>
                <a:lumOff val="80000"/>
              </a:srgbClr>
            </a:solidFill>
            <a:ln w="6350" algn="ctr">
              <a:solidFill>
                <a:srgbClr val="96968C">
                  <a:lumMod val="40000"/>
                  <a:lumOff val="60000"/>
                </a:srgbClr>
              </a:solidFill>
              <a:miter lim="800000"/>
              <a:headEnd/>
              <a:tailEnd/>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2800" b="1" i="0" u="none" strike="noStrike" kern="0" cap="none" spc="0" normalizeH="0" baseline="0" noProof="0" dirty="0">
                <a:ln>
                  <a:noFill/>
                </a:ln>
                <a:solidFill>
                  <a:srgbClr val="000000"/>
                </a:solidFill>
                <a:effectLst/>
                <a:uLnTx/>
                <a:uFillTx/>
                <a:latin typeface="Arial"/>
                <a:ea typeface="+mn-ea"/>
                <a:cs typeface="+mn-cs"/>
              </a:endParaRPr>
            </a:p>
          </p:txBody>
        </p:sp>
        <p:sp>
          <p:nvSpPr>
            <p:cNvPr id="8" name="AutoShape 8">
              <a:extLst>
                <a:ext uri="{FF2B5EF4-FFF2-40B4-BE49-F238E27FC236}">
                  <a16:creationId xmlns:a16="http://schemas.microsoft.com/office/drawing/2014/main" id="{D66D7502-2B0B-4B70-B800-57D39C94D539}"/>
                </a:ext>
              </a:extLst>
            </p:cNvPr>
            <p:cNvSpPr>
              <a:spLocks noChangeArrowheads="1"/>
            </p:cNvSpPr>
            <p:nvPr/>
          </p:nvSpPr>
          <p:spPr bwMode="auto">
            <a:xfrm rot="5400000">
              <a:off x="247521" y="2854006"/>
              <a:ext cx="3483544" cy="2077778"/>
            </a:xfrm>
            <a:prstGeom prst="rtTriangle">
              <a:avLst/>
            </a:prstGeom>
            <a:solidFill>
              <a:srgbClr val="A100FF">
                <a:lumMod val="60000"/>
                <a:lumOff val="40000"/>
              </a:srgbClr>
            </a:solidFill>
            <a:ln w="3175" algn="ctr">
              <a:noFill/>
              <a:miter lim="800000"/>
              <a:headEnd/>
              <a:tailEnd/>
            </a:ln>
          </p:spPr>
          <p:txBody>
            <a:bodyPr rot="10800000" vert="eaVert"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9" name="AutoShape 9">
              <a:extLst>
                <a:ext uri="{FF2B5EF4-FFF2-40B4-BE49-F238E27FC236}">
                  <a16:creationId xmlns:a16="http://schemas.microsoft.com/office/drawing/2014/main" id="{930D4A8C-8A7B-494F-99E1-3919796A092D}"/>
                </a:ext>
              </a:extLst>
            </p:cNvPr>
            <p:cNvSpPr>
              <a:spLocks noChangeArrowheads="1"/>
            </p:cNvSpPr>
            <p:nvPr/>
          </p:nvSpPr>
          <p:spPr bwMode="auto">
            <a:xfrm flipH="1">
              <a:off x="952605" y="3940915"/>
              <a:ext cx="3860618" cy="1734006"/>
            </a:xfrm>
            <a:prstGeom prst="rtTriangle">
              <a:avLst/>
            </a:prstGeom>
            <a:solidFill>
              <a:srgbClr val="A100FF">
                <a:lumMod val="40000"/>
                <a:lumOff val="60000"/>
              </a:srgbClr>
            </a:solidFill>
            <a:ln w="3175" algn="ctr">
              <a:noFill/>
              <a:miter lim="800000"/>
              <a:headEnd/>
              <a:tailEnd/>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0" name="Rectangle 10">
              <a:extLst>
                <a:ext uri="{FF2B5EF4-FFF2-40B4-BE49-F238E27FC236}">
                  <a16:creationId xmlns:a16="http://schemas.microsoft.com/office/drawing/2014/main" id="{BF613330-9DD4-4444-99E9-733CB8E02E71}"/>
                </a:ext>
              </a:extLst>
            </p:cNvPr>
            <p:cNvSpPr>
              <a:spLocks noChangeArrowheads="1"/>
            </p:cNvSpPr>
            <p:nvPr/>
          </p:nvSpPr>
          <p:spPr bwMode="auto">
            <a:xfrm>
              <a:off x="918040" y="2150437"/>
              <a:ext cx="562814" cy="3524484"/>
            </a:xfrm>
            <a:prstGeom prst="rect">
              <a:avLst/>
            </a:prstGeom>
            <a:solidFill>
              <a:srgbClr val="DCAFFF"/>
            </a:solidFill>
            <a:ln w="3175" algn="ctr">
              <a:noFill/>
              <a:miter lim="800000"/>
              <a:headEnd type="none" w="sm" len="sm"/>
              <a:tailEnd type="none" w="sm" len="sm"/>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1" name="Line 20">
              <a:extLst>
                <a:ext uri="{FF2B5EF4-FFF2-40B4-BE49-F238E27FC236}">
                  <a16:creationId xmlns:a16="http://schemas.microsoft.com/office/drawing/2014/main" id="{9AB06AE2-1943-4CF9-8B0E-E1C5BD8CDC0E}"/>
                </a:ext>
              </a:extLst>
            </p:cNvPr>
            <p:cNvSpPr>
              <a:spLocks noChangeShapeType="1"/>
            </p:cNvSpPr>
            <p:nvPr/>
          </p:nvSpPr>
          <p:spPr bwMode="auto">
            <a:xfrm flipV="1">
              <a:off x="2255619" y="2150437"/>
              <a:ext cx="0" cy="3524484"/>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2" name="Line 21">
              <a:extLst>
                <a:ext uri="{FF2B5EF4-FFF2-40B4-BE49-F238E27FC236}">
                  <a16:creationId xmlns:a16="http://schemas.microsoft.com/office/drawing/2014/main" id="{C9515972-2983-40DA-A0DB-5FFBB8806DD3}"/>
                </a:ext>
              </a:extLst>
            </p:cNvPr>
            <p:cNvSpPr>
              <a:spLocks noChangeShapeType="1"/>
            </p:cNvSpPr>
            <p:nvPr/>
          </p:nvSpPr>
          <p:spPr bwMode="auto">
            <a:xfrm>
              <a:off x="911308" y="3429154"/>
              <a:ext cx="3869632" cy="0"/>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3" name="Line 22">
              <a:extLst>
                <a:ext uri="{FF2B5EF4-FFF2-40B4-BE49-F238E27FC236}">
                  <a16:creationId xmlns:a16="http://schemas.microsoft.com/office/drawing/2014/main" id="{49CBD65C-5355-40D4-9AF0-44D56314732E}"/>
                </a:ext>
              </a:extLst>
            </p:cNvPr>
            <p:cNvSpPr>
              <a:spLocks noChangeShapeType="1"/>
            </p:cNvSpPr>
            <p:nvPr/>
          </p:nvSpPr>
          <p:spPr bwMode="auto">
            <a:xfrm flipV="1">
              <a:off x="3546893" y="2150437"/>
              <a:ext cx="0" cy="3524484"/>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4" name="Line 23">
              <a:extLst>
                <a:ext uri="{FF2B5EF4-FFF2-40B4-BE49-F238E27FC236}">
                  <a16:creationId xmlns:a16="http://schemas.microsoft.com/office/drawing/2014/main" id="{CEABBDCD-623C-4737-AEC8-41AFCE42D883}"/>
                </a:ext>
              </a:extLst>
            </p:cNvPr>
            <p:cNvSpPr>
              <a:spLocks noChangeShapeType="1"/>
            </p:cNvSpPr>
            <p:nvPr/>
          </p:nvSpPr>
          <p:spPr bwMode="auto">
            <a:xfrm>
              <a:off x="911308" y="4526765"/>
              <a:ext cx="3900448" cy="0"/>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6" name="Text Box 11">
              <a:extLst>
                <a:ext uri="{FF2B5EF4-FFF2-40B4-BE49-F238E27FC236}">
                  <a16:creationId xmlns:a16="http://schemas.microsoft.com/office/drawing/2014/main" id="{B62562E5-EE6B-4492-A1A3-CE25B73F8CDC}"/>
                </a:ext>
              </a:extLst>
            </p:cNvPr>
            <p:cNvSpPr txBox="1">
              <a:spLocks noChangeArrowheads="1"/>
            </p:cNvSpPr>
            <p:nvPr/>
          </p:nvSpPr>
          <p:spPr bwMode="auto">
            <a:xfrm>
              <a:off x="345018" y="1926753"/>
              <a:ext cx="1089902" cy="147733"/>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Value</a:t>
              </a:r>
            </a:p>
          </p:txBody>
        </p:sp>
        <p:sp>
          <p:nvSpPr>
            <p:cNvPr id="17" name="Text Box 11">
              <a:extLst>
                <a:ext uri="{FF2B5EF4-FFF2-40B4-BE49-F238E27FC236}">
                  <a16:creationId xmlns:a16="http://schemas.microsoft.com/office/drawing/2014/main" id="{ED7A79C3-D19C-4028-8FEB-655C0ECE0443}"/>
                </a:ext>
              </a:extLst>
            </p:cNvPr>
            <p:cNvSpPr txBox="1">
              <a:spLocks noChangeArrowheads="1"/>
            </p:cNvSpPr>
            <p:nvPr/>
          </p:nvSpPr>
          <p:spPr bwMode="auto">
            <a:xfrm>
              <a:off x="4099216" y="6063496"/>
              <a:ext cx="1089902" cy="147733"/>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Effort</a:t>
              </a:r>
            </a:p>
          </p:txBody>
        </p:sp>
        <p:sp>
          <p:nvSpPr>
            <p:cNvPr id="18" name="Text Box 13">
              <a:extLst>
                <a:ext uri="{FF2B5EF4-FFF2-40B4-BE49-F238E27FC236}">
                  <a16:creationId xmlns:a16="http://schemas.microsoft.com/office/drawing/2014/main" id="{61113C81-AD19-40FD-BEF9-69FB065A6C49}"/>
                </a:ext>
              </a:extLst>
            </p:cNvPr>
            <p:cNvSpPr txBox="1">
              <a:spLocks noChangeArrowheads="1"/>
            </p:cNvSpPr>
            <p:nvPr/>
          </p:nvSpPr>
          <p:spPr bwMode="auto">
            <a:xfrm>
              <a:off x="3911204" y="5775465"/>
              <a:ext cx="859346"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High</a:t>
              </a:r>
            </a:p>
          </p:txBody>
        </p:sp>
        <p:sp>
          <p:nvSpPr>
            <p:cNvPr id="19" name="Text Box 14">
              <a:extLst>
                <a:ext uri="{FF2B5EF4-FFF2-40B4-BE49-F238E27FC236}">
                  <a16:creationId xmlns:a16="http://schemas.microsoft.com/office/drawing/2014/main" id="{C5B82D74-2FFB-4617-9D76-D7D27BD53D6D}"/>
                </a:ext>
              </a:extLst>
            </p:cNvPr>
            <p:cNvSpPr txBox="1">
              <a:spLocks noChangeArrowheads="1"/>
            </p:cNvSpPr>
            <p:nvPr/>
          </p:nvSpPr>
          <p:spPr bwMode="auto">
            <a:xfrm>
              <a:off x="734105" y="5775465"/>
              <a:ext cx="890088"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Low</a:t>
              </a:r>
            </a:p>
          </p:txBody>
        </p:sp>
        <p:sp>
          <p:nvSpPr>
            <p:cNvPr id="20" name="Text Box 15">
              <a:extLst>
                <a:ext uri="{FF2B5EF4-FFF2-40B4-BE49-F238E27FC236}">
                  <a16:creationId xmlns:a16="http://schemas.microsoft.com/office/drawing/2014/main" id="{00240F7D-AE63-4574-AD76-AF2C41821821}"/>
                </a:ext>
              </a:extLst>
            </p:cNvPr>
            <p:cNvSpPr txBox="1">
              <a:spLocks noChangeArrowheads="1"/>
            </p:cNvSpPr>
            <p:nvPr/>
          </p:nvSpPr>
          <p:spPr bwMode="auto">
            <a:xfrm>
              <a:off x="2425593" y="5775465"/>
              <a:ext cx="762932"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Med</a:t>
              </a:r>
            </a:p>
          </p:txBody>
        </p:sp>
        <p:sp>
          <p:nvSpPr>
            <p:cNvPr id="21" name="Text Box 13">
              <a:extLst>
                <a:ext uri="{FF2B5EF4-FFF2-40B4-BE49-F238E27FC236}">
                  <a16:creationId xmlns:a16="http://schemas.microsoft.com/office/drawing/2014/main" id="{49353CDA-2E8A-4E9D-BB86-7CBC0A848E66}"/>
                </a:ext>
              </a:extLst>
            </p:cNvPr>
            <p:cNvSpPr txBox="1">
              <a:spLocks noChangeArrowheads="1"/>
            </p:cNvSpPr>
            <p:nvPr/>
          </p:nvSpPr>
          <p:spPr bwMode="auto">
            <a:xfrm>
              <a:off x="397698" y="2853330"/>
              <a:ext cx="859346"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High</a:t>
              </a:r>
            </a:p>
          </p:txBody>
        </p:sp>
        <p:sp>
          <p:nvSpPr>
            <p:cNvPr id="22" name="Text Box 14">
              <a:extLst>
                <a:ext uri="{FF2B5EF4-FFF2-40B4-BE49-F238E27FC236}">
                  <a16:creationId xmlns:a16="http://schemas.microsoft.com/office/drawing/2014/main" id="{4D31E6C4-CBE0-4BCF-A02D-6E4ADCE3B51E}"/>
                </a:ext>
              </a:extLst>
            </p:cNvPr>
            <p:cNvSpPr txBox="1">
              <a:spLocks noChangeArrowheads="1"/>
            </p:cNvSpPr>
            <p:nvPr/>
          </p:nvSpPr>
          <p:spPr bwMode="auto">
            <a:xfrm>
              <a:off x="397698" y="5054194"/>
              <a:ext cx="890088"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Low</a:t>
              </a:r>
            </a:p>
          </p:txBody>
        </p:sp>
        <p:sp>
          <p:nvSpPr>
            <p:cNvPr id="23" name="Text Box 15">
              <a:extLst>
                <a:ext uri="{FF2B5EF4-FFF2-40B4-BE49-F238E27FC236}">
                  <a16:creationId xmlns:a16="http://schemas.microsoft.com/office/drawing/2014/main" id="{5345073D-1CC2-48B5-89D6-627F3D372344}"/>
                </a:ext>
              </a:extLst>
            </p:cNvPr>
            <p:cNvSpPr txBox="1">
              <a:spLocks noChangeArrowheads="1"/>
            </p:cNvSpPr>
            <p:nvPr/>
          </p:nvSpPr>
          <p:spPr bwMode="auto">
            <a:xfrm>
              <a:off x="397698" y="4020073"/>
              <a:ext cx="762932"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Med</a:t>
              </a:r>
            </a:p>
          </p:txBody>
        </p:sp>
        <p:sp>
          <p:nvSpPr>
            <p:cNvPr id="24" name="Line 28">
              <a:extLst>
                <a:ext uri="{FF2B5EF4-FFF2-40B4-BE49-F238E27FC236}">
                  <a16:creationId xmlns:a16="http://schemas.microsoft.com/office/drawing/2014/main" id="{46F062BF-CA0B-4899-8ECD-47FCF5CAFEBD}"/>
                </a:ext>
              </a:extLst>
            </p:cNvPr>
            <p:cNvSpPr>
              <a:spLocks noChangeShapeType="1"/>
            </p:cNvSpPr>
            <p:nvPr/>
          </p:nvSpPr>
          <p:spPr bwMode="auto">
            <a:xfrm>
              <a:off x="918040" y="5674922"/>
              <a:ext cx="4215510" cy="0"/>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5" name="Line 28">
              <a:extLst>
                <a:ext uri="{FF2B5EF4-FFF2-40B4-BE49-F238E27FC236}">
                  <a16:creationId xmlns:a16="http://schemas.microsoft.com/office/drawing/2014/main" id="{F1B40916-6625-4A83-BE69-95C3A7668CCA}"/>
                </a:ext>
              </a:extLst>
            </p:cNvPr>
            <p:cNvSpPr>
              <a:spLocks noChangeShapeType="1"/>
            </p:cNvSpPr>
            <p:nvPr/>
          </p:nvSpPr>
          <p:spPr bwMode="auto">
            <a:xfrm flipV="1">
              <a:off x="911308" y="1926753"/>
              <a:ext cx="0" cy="3748168"/>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grpSp>
          <p:nvGrpSpPr>
            <p:cNvPr id="26" name="Group 25">
              <a:extLst>
                <a:ext uri="{FF2B5EF4-FFF2-40B4-BE49-F238E27FC236}">
                  <a16:creationId xmlns:a16="http://schemas.microsoft.com/office/drawing/2014/main" id="{DA208999-9E43-4CBE-906F-248A63EFD421}"/>
                </a:ext>
              </a:extLst>
            </p:cNvPr>
            <p:cNvGrpSpPr/>
            <p:nvPr/>
          </p:nvGrpSpPr>
          <p:grpSpPr>
            <a:xfrm>
              <a:off x="1185830" y="3280456"/>
              <a:ext cx="3574781" cy="1457604"/>
              <a:chOff x="5758690" y="3458256"/>
              <a:chExt cx="3036938" cy="1238300"/>
            </a:xfrm>
          </p:grpSpPr>
          <p:sp>
            <p:nvSpPr>
              <p:cNvPr id="27" name="Oval 26">
                <a:extLst>
                  <a:ext uri="{FF2B5EF4-FFF2-40B4-BE49-F238E27FC236}">
                    <a16:creationId xmlns:a16="http://schemas.microsoft.com/office/drawing/2014/main" id="{D3C980F3-3B99-4667-B1B1-335978D638E6}"/>
                  </a:ext>
                </a:extLst>
              </p:cNvPr>
              <p:cNvSpPr>
                <a:spLocks noChangeAspect="1"/>
              </p:cNvSpPr>
              <p:nvPr/>
            </p:nvSpPr>
            <p:spPr>
              <a:xfrm>
                <a:off x="5758690" y="4145644"/>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28" name="Oval 27">
                <a:extLst>
                  <a:ext uri="{FF2B5EF4-FFF2-40B4-BE49-F238E27FC236}">
                    <a16:creationId xmlns:a16="http://schemas.microsoft.com/office/drawing/2014/main" id="{CAD46760-63AB-4D3D-B8F2-9E25D164E671}"/>
                  </a:ext>
                </a:extLst>
              </p:cNvPr>
              <p:cNvSpPr>
                <a:spLocks noChangeAspect="1"/>
              </p:cNvSpPr>
              <p:nvPr/>
            </p:nvSpPr>
            <p:spPr>
              <a:xfrm>
                <a:off x="5815840" y="3656694"/>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29" name="Oval 28">
                <a:extLst>
                  <a:ext uri="{FF2B5EF4-FFF2-40B4-BE49-F238E27FC236}">
                    <a16:creationId xmlns:a16="http://schemas.microsoft.com/office/drawing/2014/main" id="{0AEEA8FB-E72E-429B-A20E-2DEC6A81FB84}"/>
                  </a:ext>
                </a:extLst>
              </p:cNvPr>
              <p:cNvSpPr>
                <a:spLocks noChangeAspect="1"/>
              </p:cNvSpPr>
              <p:nvPr/>
            </p:nvSpPr>
            <p:spPr>
              <a:xfrm>
                <a:off x="6158740" y="3563031"/>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30" name="Oval 29">
                <a:extLst>
                  <a:ext uri="{FF2B5EF4-FFF2-40B4-BE49-F238E27FC236}">
                    <a16:creationId xmlns:a16="http://schemas.microsoft.com/office/drawing/2014/main" id="{81950079-458F-4775-91B5-DFCE499DEA96}"/>
                  </a:ext>
                </a:extLst>
              </p:cNvPr>
              <p:cNvSpPr>
                <a:spLocks noChangeAspect="1"/>
              </p:cNvSpPr>
              <p:nvPr/>
            </p:nvSpPr>
            <p:spPr>
              <a:xfrm>
                <a:off x="6393690" y="3893231"/>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31" name="Oval 30">
                <a:extLst>
                  <a:ext uri="{FF2B5EF4-FFF2-40B4-BE49-F238E27FC236}">
                    <a16:creationId xmlns:a16="http://schemas.microsoft.com/office/drawing/2014/main" id="{3BDA1F94-5281-414B-86AB-39AE6C6E013B}"/>
                  </a:ext>
                </a:extLst>
              </p:cNvPr>
              <p:cNvSpPr>
                <a:spLocks noChangeAspect="1"/>
              </p:cNvSpPr>
              <p:nvPr/>
            </p:nvSpPr>
            <p:spPr>
              <a:xfrm>
                <a:off x="6627053" y="3458256"/>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32" name="Oval 31">
                <a:extLst>
                  <a:ext uri="{FF2B5EF4-FFF2-40B4-BE49-F238E27FC236}">
                    <a16:creationId xmlns:a16="http://schemas.microsoft.com/office/drawing/2014/main" id="{73444CAB-B0AA-4133-80E2-19E8EBDECE3E}"/>
                  </a:ext>
                </a:extLst>
              </p:cNvPr>
              <p:cNvSpPr>
                <a:spLocks noChangeAspect="1"/>
              </p:cNvSpPr>
              <p:nvPr/>
            </p:nvSpPr>
            <p:spPr>
              <a:xfrm>
                <a:off x="6998529" y="3869420"/>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33" name="Oval 32">
                <a:extLst>
                  <a:ext uri="{FF2B5EF4-FFF2-40B4-BE49-F238E27FC236}">
                    <a16:creationId xmlns:a16="http://schemas.microsoft.com/office/drawing/2014/main" id="{F7EBC9B6-3F46-4BF6-A3C9-6C85AC59A87F}"/>
                  </a:ext>
                </a:extLst>
              </p:cNvPr>
              <p:cNvSpPr>
                <a:spLocks noChangeAspect="1"/>
              </p:cNvSpPr>
              <p:nvPr/>
            </p:nvSpPr>
            <p:spPr>
              <a:xfrm>
                <a:off x="6998528" y="3869419"/>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34" name="Oval 33">
                <a:extLst>
                  <a:ext uri="{FF2B5EF4-FFF2-40B4-BE49-F238E27FC236}">
                    <a16:creationId xmlns:a16="http://schemas.microsoft.com/office/drawing/2014/main" id="{8CCEAE0B-201F-4825-9553-4119BCE4B8D1}"/>
                  </a:ext>
                </a:extLst>
              </p:cNvPr>
              <p:cNvSpPr>
                <a:spLocks noChangeAspect="1"/>
              </p:cNvSpPr>
              <p:nvPr/>
            </p:nvSpPr>
            <p:spPr>
              <a:xfrm>
                <a:off x="7177915" y="4090081"/>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35" name="Oval 34">
                <a:extLst>
                  <a:ext uri="{FF2B5EF4-FFF2-40B4-BE49-F238E27FC236}">
                    <a16:creationId xmlns:a16="http://schemas.microsoft.com/office/drawing/2014/main" id="{EDE60BC0-39FC-44C3-A158-F8E7A07E0FE8}"/>
                  </a:ext>
                </a:extLst>
              </p:cNvPr>
              <p:cNvSpPr>
                <a:spLocks noChangeAspect="1"/>
              </p:cNvSpPr>
              <p:nvPr/>
            </p:nvSpPr>
            <p:spPr>
              <a:xfrm>
                <a:off x="7316028" y="4082144"/>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36" name="Oval 35">
                <a:extLst>
                  <a:ext uri="{FF2B5EF4-FFF2-40B4-BE49-F238E27FC236}">
                    <a16:creationId xmlns:a16="http://schemas.microsoft.com/office/drawing/2014/main" id="{49A0F793-B043-4C93-97A6-794627222E07}"/>
                  </a:ext>
                </a:extLst>
              </p:cNvPr>
              <p:cNvSpPr>
                <a:spLocks noChangeAspect="1"/>
              </p:cNvSpPr>
              <p:nvPr/>
            </p:nvSpPr>
            <p:spPr>
              <a:xfrm>
                <a:off x="7277928" y="4177394"/>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37" name="Oval 36">
                <a:extLst>
                  <a:ext uri="{FF2B5EF4-FFF2-40B4-BE49-F238E27FC236}">
                    <a16:creationId xmlns:a16="http://schemas.microsoft.com/office/drawing/2014/main" id="{1E3B8B34-7F19-4430-B354-04BF4E763DDB}"/>
                  </a:ext>
                </a:extLst>
              </p:cNvPr>
              <p:cNvSpPr>
                <a:spLocks noChangeAspect="1"/>
              </p:cNvSpPr>
              <p:nvPr/>
            </p:nvSpPr>
            <p:spPr>
              <a:xfrm>
                <a:off x="7416040" y="4098019"/>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38" name="Oval 37">
                <a:extLst>
                  <a:ext uri="{FF2B5EF4-FFF2-40B4-BE49-F238E27FC236}">
                    <a16:creationId xmlns:a16="http://schemas.microsoft.com/office/drawing/2014/main" id="{D6307DC9-5733-4BEA-A661-D2C476FB5BD3}"/>
                  </a:ext>
                </a:extLst>
              </p:cNvPr>
              <p:cNvSpPr>
                <a:spLocks noChangeAspect="1"/>
              </p:cNvSpPr>
              <p:nvPr/>
            </p:nvSpPr>
            <p:spPr>
              <a:xfrm>
                <a:off x="7268403" y="3663044"/>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39" name="Oval 38">
                <a:extLst>
                  <a:ext uri="{FF2B5EF4-FFF2-40B4-BE49-F238E27FC236}">
                    <a16:creationId xmlns:a16="http://schemas.microsoft.com/office/drawing/2014/main" id="{49C4F6B5-B676-4E38-BE57-3D5F998BE97D}"/>
                  </a:ext>
                </a:extLst>
              </p:cNvPr>
              <p:cNvSpPr>
                <a:spLocks noChangeAspect="1"/>
              </p:cNvSpPr>
              <p:nvPr/>
            </p:nvSpPr>
            <p:spPr>
              <a:xfrm>
                <a:off x="7652578" y="3897994"/>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40" name="Oval 39">
                <a:extLst>
                  <a:ext uri="{FF2B5EF4-FFF2-40B4-BE49-F238E27FC236}">
                    <a16:creationId xmlns:a16="http://schemas.microsoft.com/office/drawing/2014/main" id="{086B43F2-340A-4335-9934-178888D4908D}"/>
                  </a:ext>
                </a:extLst>
              </p:cNvPr>
              <p:cNvSpPr>
                <a:spLocks noChangeAspect="1"/>
              </p:cNvSpPr>
              <p:nvPr/>
            </p:nvSpPr>
            <p:spPr>
              <a:xfrm>
                <a:off x="7968490" y="4077381"/>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41" name="Oval 40">
                <a:extLst>
                  <a:ext uri="{FF2B5EF4-FFF2-40B4-BE49-F238E27FC236}">
                    <a16:creationId xmlns:a16="http://schemas.microsoft.com/office/drawing/2014/main" id="{744F4533-E64B-4926-B91F-385BF2D3178C}"/>
                  </a:ext>
                </a:extLst>
              </p:cNvPr>
              <p:cNvSpPr>
                <a:spLocks noChangeAspect="1"/>
              </p:cNvSpPr>
              <p:nvPr/>
            </p:nvSpPr>
            <p:spPr>
              <a:xfrm>
                <a:off x="8162165" y="3832906"/>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42" name="Oval 41">
                <a:extLst>
                  <a:ext uri="{FF2B5EF4-FFF2-40B4-BE49-F238E27FC236}">
                    <a16:creationId xmlns:a16="http://schemas.microsoft.com/office/drawing/2014/main" id="{A9168E5E-86CC-4FF1-8C3D-742BB8402CF5}"/>
                  </a:ext>
                </a:extLst>
              </p:cNvPr>
              <p:cNvSpPr>
                <a:spLocks noChangeAspect="1"/>
              </p:cNvSpPr>
              <p:nvPr/>
            </p:nvSpPr>
            <p:spPr>
              <a:xfrm>
                <a:off x="8438390" y="4286931"/>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43" name="Oval 42">
                <a:extLst>
                  <a:ext uri="{FF2B5EF4-FFF2-40B4-BE49-F238E27FC236}">
                    <a16:creationId xmlns:a16="http://schemas.microsoft.com/office/drawing/2014/main" id="{1A66EC22-EBAA-4093-98D2-430982DE3EBD}"/>
                  </a:ext>
                </a:extLst>
              </p:cNvPr>
              <p:cNvSpPr>
                <a:spLocks noChangeAspect="1"/>
              </p:cNvSpPr>
              <p:nvPr/>
            </p:nvSpPr>
            <p:spPr>
              <a:xfrm>
                <a:off x="8603490" y="4588556"/>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44" name="Oval 43">
                <a:extLst>
                  <a:ext uri="{FF2B5EF4-FFF2-40B4-BE49-F238E27FC236}">
                    <a16:creationId xmlns:a16="http://schemas.microsoft.com/office/drawing/2014/main" id="{9990F669-BC18-49A1-AD98-A23F3890AAE9}"/>
                  </a:ext>
                </a:extLst>
              </p:cNvPr>
              <p:cNvSpPr>
                <a:spLocks noChangeAspect="1"/>
              </p:cNvSpPr>
              <p:nvPr/>
            </p:nvSpPr>
            <p:spPr>
              <a:xfrm>
                <a:off x="8687628" y="3704319"/>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45" name="Oval 44">
                <a:extLst>
                  <a:ext uri="{FF2B5EF4-FFF2-40B4-BE49-F238E27FC236}">
                    <a16:creationId xmlns:a16="http://schemas.microsoft.com/office/drawing/2014/main" id="{49426E0B-2D90-45F1-9D64-E2020715DF41}"/>
                  </a:ext>
                </a:extLst>
              </p:cNvPr>
              <p:cNvSpPr>
                <a:spLocks noChangeAspect="1"/>
              </p:cNvSpPr>
              <p:nvPr/>
            </p:nvSpPr>
            <p:spPr>
              <a:xfrm>
                <a:off x="8486015" y="3664631"/>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46" name="Oval 45">
                <a:extLst>
                  <a:ext uri="{FF2B5EF4-FFF2-40B4-BE49-F238E27FC236}">
                    <a16:creationId xmlns:a16="http://schemas.microsoft.com/office/drawing/2014/main" id="{1CE350C8-7537-43F1-BF39-0C9E641906B0}"/>
                  </a:ext>
                </a:extLst>
              </p:cNvPr>
              <p:cNvSpPr>
                <a:spLocks noChangeAspect="1"/>
              </p:cNvSpPr>
              <p:nvPr/>
            </p:nvSpPr>
            <p:spPr>
              <a:xfrm>
                <a:off x="8638415" y="3504294"/>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Arial"/>
                  <a:ea typeface="+mn-ea"/>
                  <a:cs typeface="Arial" pitchFamily="34" charset="0"/>
                </a:endParaRPr>
              </a:p>
            </p:txBody>
          </p:sp>
        </p:grpSp>
        <p:grpSp>
          <p:nvGrpSpPr>
            <p:cNvPr id="47" name="Group 46">
              <a:extLst>
                <a:ext uri="{FF2B5EF4-FFF2-40B4-BE49-F238E27FC236}">
                  <a16:creationId xmlns:a16="http://schemas.microsoft.com/office/drawing/2014/main" id="{3F586A71-3227-4E3F-83FD-B1F978601679}"/>
                </a:ext>
              </a:extLst>
            </p:cNvPr>
            <p:cNvGrpSpPr/>
            <p:nvPr/>
          </p:nvGrpSpPr>
          <p:grpSpPr>
            <a:xfrm>
              <a:off x="1522150" y="2231670"/>
              <a:ext cx="3298114" cy="1755284"/>
              <a:chOff x="1522150" y="2231670"/>
              <a:chExt cx="3298114" cy="1755284"/>
            </a:xfrm>
          </p:grpSpPr>
          <p:sp>
            <p:nvSpPr>
              <p:cNvPr id="48" name="Oval 47">
                <a:extLst>
                  <a:ext uri="{FF2B5EF4-FFF2-40B4-BE49-F238E27FC236}">
                    <a16:creationId xmlns:a16="http://schemas.microsoft.com/office/drawing/2014/main" id="{0088313E-DC23-406E-806D-85731D51FA5B}"/>
                  </a:ext>
                </a:extLst>
              </p:cNvPr>
              <p:cNvSpPr/>
              <p:nvPr/>
            </p:nvSpPr>
            <p:spPr bwMode="auto">
              <a:xfrm>
                <a:off x="4523824" y="2231670"/>
                <a:ext cx="240685" cy="240685"/>
              </a:xfrm>
              <a:prstGeom prst="ellipse">
                <a:avLst/>
              </a:prstGeom>
              <a:solidFill>
                <a:srgbClr val="A100FF"/>
              </a:solidFill>
              <a:ln w="25400" cap="flat" cmpd="sng" algn="ctr">
                <a:noFill/>
                <a:prstDash val="solid"/>
              </a:ln>
              <a:effectLst/>
            </p:spPr>
            <p:txBody>
              <a:bodyPr lIns="0" tIns="3600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1</a:t>
                </a:r>
              </a:p>
            </p:txBody>
          </p:sp>
          <p:sp>
            <p:nvSpPr>
              <p:cNvPr id="49" name="Oval 48">
                <a:extLst>
                  <a:ext uri="{FF2B5EF4-FFF2-40B4-BE49-F238E27FC236}">
                    <a16:creationId xmlns:a16="http://schemas.microsoft.com/office/drawing/2014/main" id="{6913D264-1C3F-420F-9CE7-D6A2AC9E3E9A}"/>
                  </a:ext>
                </a:extLst>
              </p:cNvPr>
              <p:cNvSpPr/>
              <p:nvPr/>
            </p:nvSpPr>
            <p:spPr bwMode="auto">
              <a:xfrm>
                <a:off x="4579579" y="2946641"/>
                <a:ext cx="240685" cy="240685"/>
              </a:xfrm>
              <a:prstGeom prst="ellipse">
                <a:avLst/>
              </a:prstGeom>
              <a:solidFill>
                <a:srgbClr val="A100FF"/>
              </a:solidFill>
              <a:ln w="25400" cap="flat" cmpd="sng" algn="ctr">
                <a:noFill/>
                <a:prstDash val="solid"/>
              </a:ln>
              <a:effectLst/>
            </p:spPr>
            <p:txBody>
              <a:bodyPr lIns="0" tIns="3600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9</a:t>
                </a:r>
              </a:p>
            </p:txBody>
          </p:sp>
          <p:sp>
            <p:nvSpPr>
              <p:cNvPr id="50" name="Oval 49">
                <a:extLst>
                  <a:ext uri="{FF2B5EF4-FFF2-40B4-BE49-F238E27FC236}">
                    <a16:creationId xmlns:a16="http://schemas.microsoft.com/office/drawing/2014/main" id="{0FEECB76-7438-40C9-B043-5C7A010A0CB0}"/>
                  </a:ext>
                </a:extLst>
              </p:cNvPr>
              <p:cNvSpPr/>
              <p:nvPr/>
            </p:nvSpPr>
            <p:spPr bwMode="auto">
              <a:xfrm>
                <a:off x="4383916" y="3133578"/>
                <a:ext cx="240685" cy="240685"/>
              </a:xfrm>
              <a:prstGeom prst="ellipse">
                <a:avLst/>
              </a:prstGeom>
              <a:solidFill>
                <a:srgbClr val="A100FF"/>
              </a:solidFill>
              <a:ln w="25400" cap="flat" cmpd="sng" algn="ctr">
                <a:noFill/>
                <a:prstDash val="solid"/>
              </a:ln>
              <a:effectLst/>
            </p:spPr>
            <p:txBody>
              <a:bodyPr lIns="0" tIns="3600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10</a:t>
                </a:r>
              </a:p>
            </p:txBody>
          </p:sp>
          <p:sp>
            <p:nvSpPr>
              <p:cNvPr id="51" name="Oval 50">
                <a:extLst>
                  <a:ext uri="{FF2B5EF4-FFF2-40B4-BE49-F238E27FC236}">
                    <a16:creationId xmlns:a16="http://schemas.microsoft.com/office/drawing/2014/main" id="{D15C33BC-F601-4D75-BAE2-A37ADAA52858}"/>
                  </a:ext>
                </a:extLst>
              </p:cNvPr>
              <p:cNvSpPr/>
              <p:nvPr/>
            </p:nvSpPr>
            <p:spPr bwMode="auto">
              <a:xfrm>
                <a:off x="4146958" y="2966894"/>
                <a:ext cx="240685" cy="240685"/>
              </a:xfrm>
              <a:prstGeom prst="ellipse">
                <a:avLst/>
              </a:prstGeom>
              <a:solidFill>
                <a:srgbClr val="A100FF"/>
              </a:solidFill>
              <a:ln w="25400" cap="flat" cmpd="sng" algn="ctr">
                <a:noFill/>
                <a:prstDash val="solid"/>
              </a:ln>
              <a:effectLst/>
            </p:spPr>
            <p:txBody>
              <a:bodyPr lIns="0" tIns="3600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6</a:t>
                </a:r>
              </a:p>
            </p:txBody>
          </p:sp>
          <p:sp>
            <p:nvSpPr>
              <p:cNvPr id="52" name="Oval 51">
                <a:extLst>
                  <a:ext uri="{FF2B5EF4-FFF2-40B4-BE49-F238E27FC236}">
                    <a16:creationId xmlns:a16="http://schemas.microsoft.com/office/drawing/2014/main" id="{03ED787D-C8CE-4B13-9917-6E58A5BCFD7A}"/>
                  </a:ext>
                </a:extLst>
              </p:cNvPr>
              <p:cNvSpPr/>
              <p:nvPr/>
            </p:nvSpPr>
            <p:spPr bwMode="auto">
              <a:xfrm>
                <a:off x="3581327" y="3178179"/>
                <a:ext cx="240685" cy="240685"/>
              </a:xfrm>
              <a:prstGeom prst="ellipse">
                <a:avLst/>
              </a:prstGeom>
              <a:solidFill>
                <a:srgbClr val="A100FF"/>
              </a:solidFill>
              <a:ln w="25400" cap="flat" cmpd="sng" algn="ctr">
                <a:noFill/>
                <a:prstDash val="solid"/>
              </a:ln>
              <a:effectLst/>
            </p:spPr>
            <p:txBody>
              <a:bodyPr lIns="0" tIns="3600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8</a:t>
                </a:r>
              </a:p>
            </p:txBody>
          </p:sp>
          <p:sp>
            <p:nvSpPr>
              <p:cNvPr id="53" name="Oval 52">
                <a:extLst>
                  <a:ext uri="{FF2B5EF4-FFF2-40B4-BE49-F238E27FC236}">
                    <a16:creationId xmlns:a16="http://schemas.microsoft.com/office/drawing/2014/main" id="{B0593A6B-6DE3-4CEE-A721-EFC4EA956A1F}"/>
                  </a:ext>
                </a:extLst>
              </p:cNvPr>
              <p:cNvSpPr/>
              <p:nvPr/>
            </p:nvSpPr>
            <p:spPr bwMode="auto">
              <a:xfrm>
                <a:off x="3155115" y="3454921"/>
                <a:ext cx="240685" cy="240685"/>
              </a:xfrm>
              <a:prstGeom prst="ellipse">
                <a:avLst/>
              </a:prstGeom>
              <a:solidFill>
                <a:srgbClr val="A100FF"/>
              </a:solidFill>
              <a:ln w="25400" cap="flat" cmpd="sng" algn="ctr">
                <a:noFill/>
                <a:prstDash val="solid"/>
              </a:ln>
              <a:effectLst/>
            </p:spPr>
            <p:txBody>
              <a:bodyPr lIns="0" tIns="3600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7</a:t>
                </a:r>
              </a:p>
            </p:txBody>
          </p:sp>
          <p:sp>
            <p:nvSpPr>
              <p:cNvPr id="54" name="Oval 53">
                <a:extLst>
                  <a:ext uri="{FF2B5EF4-FFF2-40B4-BE49-F238E27FC236}">
                    <a16:creationId xmlns:a16="http://schemas.microsoft.com/office/drawing/2014/main" id="{3873B859-B8D1-4FC9-82A9-99BD7A455A7C}"/>
                  </a:ext>
                </a:extLst>
              </p:cNvPr>
              <p:cNvSpPr/>
              <p:nvPr/>
            </p:nvSpPr>
            <p:spPr bwMode="auto">
              <a:xfrm>
                <a:off x="2912343" y="3253920"/>
                <a:ext cx="240685" cy="240685"/>
              </a:xfrm>
              <a:prstGeom prst="ellipse">
                <a:avLst/>
              </a:prstGeom>
              <a:solidFill>
                <a:srgbClr val="A100FF"/>
              </a:solidFill>
              <a:ln w="25400" cap="flat" cmpd="sng" algn="ctr">
                <a:noFill/>
                <a:prstDash val="solid"/>
              </a:ln>
              <a:effectLst/>
            </p:spPr>
            <p:txBody>
              <a:bodyPr lIns="0" tIns="3600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3</a:t>
                </a:r>
              </a:p>
            </p:txBody>
          </p:sp>
          <p:sp>
            <p:nvSpPr>
              <p:cNvPr id="55" name="Oval 54">
                <a:extLst>
                  <a:ext uri="{FF2B5EF4-FFF2-40B4-BE49-F238E27FC236}">
                    <a16:creationId xmlns:a16="http://schemas.microsoft.com/office/drawing/2014/main" id="{A7835AF6-541F-42DF-A0EB-CE34B31237A6}"/>
                  </a:ext>
                </a:extLst>
              </p:cNvPr>
              <p:cNvSpPr/>
              <p:nvPr/>
            </p:nvSpPr>
            <p:spPr bwMode="auto">
              <a:xfrm>
                <a:off x="2643853" y="3121785"/>
                <a:ext cx="240685" cy="240685"/>
              </a:xfrm>
              <a:prstGeom prst="ellipse">
                <a:avLst/>
              </a:prstGeom>
              <a:solidFill>
                <a:srgbClr val="A100FF"/>
              </a:solidFill>
              <a:ln w="25400" cap="flat" cmpd="sng" algn="ctr">
                <a:noFill/>
                <a:prstDash val="solid"/>
              </a:ln>
              <a:effectLst/>
            </p:spPr>
            <p:txBody>
              <a:bodyPr lIns="0" tIns="3600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2</a:t>
                </a:r>
              </a:p>
            </p:txBody>
          </p:sp>
          <p:sp>
            <p:nvSpPr>
              <p:cNvPr id="56" name="Oval 55">
                <a:extLst>
                  <a:ext uri="{FF2B5EF4-FFF2-40B4-BE49-F238E27FC236}">
                    <a16:creationId xmlns:a16="http://schemas.microsoft.com/office/drawing/2014/main" id="{411B3865-ACD6-412A-909F-9871B9991A1E}"/>
                  </a:ext>
                </a:extLst>
              </p:cNvPr>
              <p:cNvSpPr/>
              <p:nvPr/>
            </p:nvSpPr>
            <p:spPr bwMode="auto">
              <a:xfrm>
                <a:off x="2333159" y="2914885"/>
                <a:ext cx="240685" cy="240685"/>
              </a:xfrm>
              <a:prstGeom prst="ellipse">
                <a:avLst/>
              </a:prstGeom>
              <a:solidFill>
                <a:srgbClr val="A100FF"/>
              </a:solidFill>
              <a:ln w="25400" cap="flat" cmpd="sng" algn="ctr">
                <a:noFill/>
                <a:prstDash val="solid"/>
              </a:ln>
              <a:effectLst/>
            </p:spPr>
            <p:txBody>
              <a:bodyPr lIns="0" tIns="3600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5</a:t>
                </a:r>
              </a:p>
            </p:txBody>
          </p:sp>
          <p:sp>
            <p:nvSpPr>
              <p:cNvPr id="57" name="Oval 56">
                <a:extLst>
                  <a:ext uri="{FF2B5EF4-FFF2-40B4-BE49-F238E27FC236}">
                    <a16:creationId xmlns:a16="http://schemas.microsoft.com/office/drawing/2014/main" id="{33AA475D-898B-49D3-81DF-4F9F9E5A0B8F}"/>
                  </a:ext>
                </a:extLst>
              </p:cNvPr>
              <p:cNvSpPr/>
              <p:nvPr/>
            </p:nvSpPr>
            <p:spPr bwMode="auto">
              <a:xfrm>
                <a:off x="1522150" y="3746269"/>
                <a:ext cx="240685" cy="240685"/>
              </a:xfrm>
              <a:prstGeom prst="ellipse">
                <a:avLst/>
              </a:prstGeom>
              <a:solidFill>
                <a:srgbClr val="A100FF"/>
              </a:solidFill>
              <a:ln w="25400" cap="flat" cmpd="sng" algn="ctr">
                <a:noFill/>
                <a:prstDash val="solid"/>
              </a:ln>
              <a:effectLst/>
            </p:spPr>
            <p:txBody>
              <a:bodyPr lIns="0" tIns="3600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Arial" pitchFamily="34" charset="0"/>
                  </a:rPr>
                  <a:t>4</a:t>
                </a:r>
              </a:p>
            </p:txBody>
          </p:sp>
        </p:grpSp>
        <p:sp>
          <p:nvSpPr>
            <p:cNvPr id="58" name="Rectangle 57">
              <a:extLst>
                <a:ext uri="{FF2B5EF4-FFF2-40B4-BE49-F238E27FC236}">
                  <a16:creationId xmlns:a16="http://schemas.microsoft.com/office/drawing/2014/main" id="{BDB967E3-170B-4E9A-BA39-1FDF01567BA4}"/>
                </a:ext>
              </a:extLst>
            </p:cNvPr>
            <p:cNvSpPr/>
            <p:nvPr/>
          </p:nvSpPr>
          <p:spPr>
            <a:xfrm>
              <a:off x="1242355" y="2019226"/>
              <a:ext cx="3738719" cy="1952028"/>
            </a:xfrm>
            <a:prstGeom prst="rect">
              <a:avLst/>
            </a:prstGeom>
            <a:noFill/>
            <a:ln w="19050" cap="flat" cmpd="sng" algn="ctr">
              <a:solidFill>
                <a:schemeClr val="accent1"/>
              </a:solidFill>
              <a:prstDash val="dash"/>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Arial"/>
                <a:ea typeface="+mn-ea"/>
                <a:cs typeface="Arial" pitchFamily="34" charset="0"/>
              </a:endParaRPr>
            </a:p>
          </p:txBody>
        </p:sp>
      </p:grpSp>
      <p:sp>
        <p:nvSpPr>
          <p:cNvPr id="6" name="Rectangle 26">
            <a:extLst>
              <a:ext uri="{FF2B5EF4-FFF2-40B4-BE49-F238E27FC236}">
                <a16:creationId xmlns:a16="http://schemas.microsoft.com/office/drawing/2014/main" id="{CBE03A63-F0D7-4979-941D-A071B17076C8}"/>
              </a:ext>
            </a:extLst>
          </p:cNvPr>
          <p:cNvSpPr>
            <a:spLocks noChangeArrowheads="1"/>
          </p:cNvSpPr>
          <p:nvPr/>
        </p:nvSpPr>
        <p:spPr bwMode="auto">
          <a:xfrm>
            <a:off x="5586761" y="2197458"/>
            <a:ext cx="6268689" cy="3732691"/>
          </a:xfrm>
          <a:prstGeom prst="rect">
            <a:avLst/>
          </a:prstGeom>
          <a:solidFill>
            <a:srgbClr val="E0E0E0"/>
          </a:solidFill>
          <a:ln w="9525" cmpd="sng">
            <a:solidFill>
              <a:srgbClr val="E0E0E0"/>
            </a:solidFill>
            <a:miter lim="800000"/>
            <a:headEnd/>
            <a:tailEnd/>
          </a:ln>
        </p:spPr>
        <p:txBody>
          <a:bodyPr wrap="square" lIns="180000" tIns="108000" bIns="108000">
            <a:noAutofit/>
          </a:bodyPr>
          <a:lstStyle/>
          <a:p>
            <a:pPr marL="273050" marR="0" lvl="0" indent="-273050"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j-lt"/>
                <a:ea typeface="+mn-ea"/>
                <a:cs typeface="Arial" charset="0"/>
              </a:rPr>
              <a:t>Initial Recommendations</a:t>
            </a:r>
          </a:p>
          <a:p>
            <a:pPr marL="273050" marR="0" lvl="0" indent="-273050" algn="l" defTabSz="914400" rtl="0" eaLnBrk="1" fontAlgn="auto" latinLnBrk="0" hangingPunct="1">
              <a:lnSpc>
                <a:spcPct val="100000"/>
              </a:lnSpc>
              <a:spcBef>
                <a:spcPts val="0"/>
              </a:spcBef>
              <a:spcAft>
                <a:spcPts val="0"/>
              </a:spcAft>
              <a:buClrTx/>
              <a:buSzTx/>
              <a:buFont typeface="Arial" charset="0"/>
              <a:buAutoNum type="arabicPeriod"/>
              <a:tabLst/>
              <a:defRPr/>
            </a:pPr>
            <a:r>
              <a:rPr kumimoji="0" lang="en-US" sz="1200" b="0" i="0" u="none" strike="noStrike" kern="1200" cap="none" spc="0" normalizeH="0" baseline="0" noProof="0" dirty="0">
                <a:ln>
                  <a:noFill/>
                </a:ln>
                <a:solidFill>
                  <a:srgbClr val="000000"/>
                </a:solidFill>
                <a:effectLst/>
                <a:uLnTx/>
                <a:uFillTx/>
                <a:ea typeface="+mn-ea"/>
                <a:cs typeface="Arial" charset="0"/>
              </a:rPr>
              <a:t>Define and develop a single process owner.</a:t>
            </a:r>
          </a:p>
          <a:p>
            <a:pPr marL="273050" marR="0" lvl="0" indent="-273050" algn="l" defTabSz="914400" rtl="0" eaLnBrk="1" fontAlgn="auto" latinLnBrk="0" hangingPunct="1">
              <a:lnSpc>
                <a:spcPct val="100000"/>
              </a:lnSpc>
              <a:spcBef>
                <a:spcPts val="0"/>
              </a:spcBef>
              <a:spcAft>
                <a:spcPts val="0"/>
              </a:spcAft>
              <a:buClrTx/>
              <a:buSzTx/>
              <a:buFont typeface="Arial" charset="0"/>
              <a:buAutoNum type="arabicPeriod"/>
              <a:tabLst/>
              <a:defRPr/>
            </a:pPr>
            <a:r>
              <a:rPr kumimoji="0" lang="en-US" sz="1200" b="0" i="0" u="none" strike="noStrike" kern="1200" cap="none" spc="0" normalizeH="0" baseline="0" noProof="0" dirty="0">
                <a:ln>
                  <a:noFill/>
                </a:ln>
                <a:solidFill>
                  <a:srgbClr val="000000"/>
                </a:solidFill>
                <a:effectLst/>
                <a:uLnTx/>
                <a:uFillTx/>
                <a:ea typeface="+mn-ea"/>
                <a:cs typeface="Arial" charset="0"/>
              </a:rPr>
              <a:t>Build feedback loops and toll gates to facilitate a learning process.</a:t>
            </a:r>
          </a:p>
          <a:p>
            <a:pPr marL="273050" marR="0" lvl="0" indent="-273050" algn="l" defTabSz="914400" rtl="0" eaLnBrk="1" fontAlgn="auto" latinLnBrk="0" hangingPunct="1">
              <a:lnSpc>
                <a:spcPct val="100000"/>
              </a:lnSpc>
              <a:spcBef>
                <a:spcPts val="0"/>
              </a:spcBef>
              <a:spcAft>
                <a:spcPts val="0"/>
              </a:spcAft>
              <a:buClrTx/>
              <a:buSzTx/>
              <a:buFont typeface="Arial" charset="0"/>
              <a:buAutoNum type="arabicPeriod"/>
              <a:tabLst/>
              <a:defRPr/>
            </a:pPr>
            <a:r>
              <a:rPr kumimoji="0" lang="en-US" sz="1200" b="0" i="0" u="none" strike="noStrike" kern="1200" cap="none" spc="0" normalizeH="0" baseline="0" noProof="0" dirty="0">
                <a:ln>
                  <a:noFill/>
                </a:ln>
                <a:solidFill>
                  <a:srgbClr val="000000"/>
                </a:solidFill>
                <a:effectLst/>
                <a:uLnTx/>
                <a:uFillTx/>
                <a:ea typeface="+mn-ea"/>
                <a:cs typeface="Arial" charset="0"/>
              </a:rPr>
              <a:t>Evaluate and realign key performance drivers across functions participating in the process.</a:t>
            </a:r>
          </a:p>
          <a:p>
            <a:pPr marL="273050" marR="0" lvl="0" indent="-273050" algn="l" defTabSz="914400" rtl="0" eaLnBrk="1" fontAlgn="auto" latinLnBrk="0" hangingPunct="1">
              <a:lnSpc>
                <a:spcPct val="100000"/>
              </a:lnSpc>
              <a:spcBef>
                <a:spcPts val="0"/>
              </a:spcBef>
              <a:spcAft>
                <a:spcPts val="0"/>
              </a:spcAft>
              <a:buClrTx/>
              <a:buSzTx/>
              <a:buFont typeface="Arial" charset="0"/>
              <a:buAutoNum type="arabicPeriod"/>
              <a:tabLst/>
              <a:defRPr/>
            </a:pPr>
            <a:r>
              <a:rPr kumimoji="0" lang="en-US" sz="1200" b="0" i="0" u="none" strike="noStrike" kern="1200" cap="none" spc="0" normalizeH="0" baseline="0" noProof="0" dirty="0">
                <a:ln>
                  <a:noFill/>
                </a:ln>
                <a:solidFill>
                  <a:srgbClr val="000000"/>
                </a:solidFill>
                <a:effectLst/>
                <a:uLnTx/>
                <a:uFillTx/>
                <a:ea typeface="+mn-ea"/>
                <a:cs typeface="Arial" charset="0"/>
              </a:rPr>
              <a:t>Leverage CVSM to enhance upstream and downstream process visibility and knowledge.</a:t>
            </a:r>
          </a:p>
          <a:p>
            <a:pPr marL="273050" marR="0" lvl="0" indent="-273050" algn="l" defTabSz="914400" rtl="0" eaLnBrk="1" fontAlgn="auto" latinLnBrk="0" hangingPunct="1">
              <a:lnSpc>
                <a:spcPct val="100000"/>
              </a:lnSpc>
              <a:spcBef>
                <a:spcPts val="0"/>
              </a:spcBef>
              <a:spcAft>
                <a:spcPts val="0"/>
              </a:spcAft>
              <a:buClrTx/>
              <a:buSzTx/>
              <a:buFont typeface="Arial" charset="0"/>
              <a:buAutoNum type="arabicPeriod"/>
              <a:tabLst/>
              <a:defRPr/>
            </a:pPr>
            <a:r>
              <a:rPr kumimoji="0" lang="en-US" sz="1200" b="0" i="0" u="none" strike="noStrike" kern="1200" cap="none" spc="0" normalizeH="0" baseline="0" noProof="0" dirty="0">
                <a:ln>
                  <a:noFill/>
                </a:ln>
                <a:solidFill>
                  <a:srgbClr val="000000"/>
                </a:solidFill>
                <a:effectLst/>
                <a:uLnTx/>
                <a:uFillTx/>
                <a:ea typeface="+mn-ea"/>
                <a:cs typeface="Arial" charset="0"/>
              </a:rPr>
              <a:t>Refine and standardize premium costing analysis, including direct and indirect costs.</a:t>
            </a:r>
          </a:p>
          <a:p>
            <a:pPr marL="273050" marR="0" lvl="0" indent="-273050" algn="l" defTabSz="914400" rtl="0" eaLnBrk="1" fontAlgn="auto" latinLnBrk="0" hangingPunct="1">
              <a:lnSpc>
                <a:spcPct val="100000"/>
              </a:lnSpc>
              <a:spcBef>
                <a:spcPts val="0"/>
              </a:spcBef>
              <a:spcAft>
                <a:spcPts val="0"/>
              </a:spcAft>
              <a:buClrTx/>
              <a:buSzTx/>
              <a:buFont typeface="Arial" charset="0"/>
              <a:buAutoNum type="arabicPeriod"/>
              <a:tabLst/>
              <a:defRPr/>
            </a:pPr>
            <a:r>
              <a:rPr kumimoji="0" lang="en-US" sz="1200" b="0" i="0" u="none" strike="noStrike" kern="1200" cap="none" spc="0" normalizeH="0" baseline="0" noProof="0" dirty="0">
                <a:ln>
                  <a:noFill/>
                </a:ln>
                <a:solidFill>
                  <a:srgbClr val="000000"/>
                </a:solidFill>
                <a:effectLst/>
                <a:uLnTx/>
                <a:uFillTx/>
                <a:ea typeface="+mn-ea"/>
                <a:cs typeface="Arial" charset="0"/>
              </a:rPr>
              <a:t>Design and implement a single </a:t>
            </a:r>
            <a:br>
              <a:rPr kumimoji="0" lang="en-US" sz="1200" b="0" i="0" u="none" strike="noStrike" kern="1200" cap="none" spc="0" normalizeH="0" baseline="0" noProof="0" dirty="0">
                <a:ln>
                  <a:noFill/>
                </a:ln>
                <a:solidFill>
                  <a:srgbClr val="000000"/>
                </a:solidFill>
                <a:effectLst/>
                <a:uLnTx/>
                <a:uFillTx/>
                <a:ea typeface="+mn-ea"/>
                <a:cs typeface="Arial" charset="0"/>
              </a:rPr>
            </a:br>
            <a:r>
              <a:rPr kumimoji="0" lang="en-US" sz="1200" b="0" i="0" u="none" strike="noStrike" kern="1200" cap="none" spc="0" normalizeH="0" baseline="0" noProof="0" dirty="0">
                <a:ln>
                  <a:noFill/>
                </a:ln>
                <a:solidFill>
                  <a:srgbClr val="000000"/>
                </a:solidFill>
                <a:effectLst/>
                <a:uLnTx/>
                <a:uFillTx/>
                <a:ea typeface="+mn-ea"/>
                <a:cs typeface="Arial" charset="0"/>
              </a:rPr>
              <a:t>promotions "white board“.</a:t>
            </a:r>
          </a:p>
          <a:p>
            <a:pPr marL="273050" marR="0" lvl="0" indent="-273050" algn="l" defTabSz="914400" rtl="0" eaLnBrk="1" fontAlgn="auto" latinLnBrk="0" hangingPunct="1">
              <a:lnSpc>
                <a:spcPct val="100000"/>
              </a:lnSpc>
              <a:spcBef>
                <a:spcPts val="0"/>
              </a:spcBef>
              <a:spcAft>
                <a:spcPts val="0"/>
              </a:spcAft>
              <a:buClrTx/>
              <a:buSzTx/>
              <a:buFont typeface="Arial" charset="0"/>
              <a:buAutoNum type="arabicPeriod"/>
              <a:tabLst/>
              <a:defRPr/>
            </a:pPr>
            <a:r>
              <a:rPr kumimoji="0" lang="en-US" sz="1200" b="0" i="0" u="none" strike="noStrike" kern="1200" cap="none" spc="0" normalizeH="0" baseline="0" noProof="0" dirty="0">
                <a:ln>
                  <a:noFill/>
                </a:ln>
                <a:solidFill>
                  <a:srgbClr val="000000"/>
                </a:solidFill>
                <a:effectLst/>
                <a:uLnTx/>
                <a:uFillTx/>
                <a:ea typeface="+mn-ea"/>
                <a:cs typeface="Arial" charset="0"/>
              </a:rPr>
              <a:t>Define and implement a pre-project impact meeting with all potential process participants.</a:t>
            </a:r>
          </a:p>
          <a:p>
            <a:pPr marL="273050" marR="0" lvl="0" indent="-273050" algn="l" defTabSz="914400" rtl="0" eaLnBrk="1" fontAlgn="auto" latinLnBrk="0" hangingPunct="1">
              <a:lnSpc>
                <a:spcPct val="100000"/>
              </a:lnSpc>
              <a:spcBef>
                <a:spcPts val="0"/>
              </a:spcBef>
              <a:spcAft>
                <a:spcPts val="0"/>
              </a:spcAft>
              <a:buClrTx/>
              <a:buSzTx/>
              <a:buFont typeface="Arial" charset="0"/>
              <a:buAutoNum type="arabicPeriod"/>
              <a:tabLst/>
              <a:defRPr/>
            </a:pPr>
            <a:r>
              <a:rPr kumimoji="0" lang="en-US" sz="1200" b="0" i="0" u="none" strike="noStrike" kern="1200" cap="none" spc="0" normalizeH="0" baseline="0" noProof="0" dirty="0">
                <a:ln>
                  <a:noFill/>
                </a:ln>
                <a:solidFill>
                  <a:srgbClr val="000000"/>
                </a:solidFill>
                <a:effectLst/>
                <a:uLnTx/>
                <a:uFillTx/>
                <a:ea typeface="+mn-ea"/>
                <a:cs typeface="Arial" charset="0"/>
              </a:rPr>
              <a:t>Define and implement formal kick-off meeting.</a:t>
            </a:r>
          </a:p>
          <a:p>
            <a:pPr marL="273050" marR="0" lvl="0" indent="-273050" algn="l" defTabSz="914400" rtl="0" eaLnBrk="1" fontAlgn="auto" latinLnBrk="0" hangingPunct="1">
              <a:lnSpc>
                <a:spcPct val="100000"/>
              </a:lnSpc>
              <a:spcBef>
                <a:spcPts val="0"/>
              </a:spcBef>
              <a:spcAft>
                <a:spcPts val="0"/>
              </a:spcAft>
              <a:buClrTx/>
              <a:buSzTx/>
              <a:buFont typeface="Arial" charset="0"/>
              <a:buAutoNum type="arabicPeriod"/>
              <a:tabLst/>
              <a:defRPr/>
            </a:pPr>
            <a:r>
              <a:rPr kumimoji="0" lang="en-US" sz="1200" b="0" i="0" u="none" strike="noStrike" kern="1200" cap="none" spc="0" normalizeH="0" baseline="0" noProof="0" dirty="0">
                <a:ln>
                  <a:noFill/>
                </a:ln>
                <a:solidFill>
                  <a:srgbClr val="000000"/>
                </a:solidFill>
                <a:effectLst/>
                <a:uLnTx/>
                <a:uFillTx/>
                <a:ea typeface="+mn-ea"/>
                <a:cs typeface="Arial" charset="0"/>
              </a:rPr>
              <a:t>Develop concept/premium decision matrix with inputs and potential cost/capacity outputs.</a:t>
            </a:r>
          </a:p>
          <a:p>
            <a:pPr marL="273050" marR="0" lvl="0" indent="-273050" algn="l" defTabSz="914400" rtl="0" eaLnBrk="1" fontAlgn="auto" latinLnBrk="0" hangingPunct="1">
              <a:lnSpc>
                <a:spcPct val="100000"/>
              </a:lnSpc>
              <a:spcBef>
                <a:spcPts val="0"/>
              </a:spcBef>
              <a:spcAft>
                <a:spcPts val="0"/>
              </a:spcAft>
              <a:buClrTx/>
              <a:buSzTx/>
              <a:buFont typeface="Arial" charset="0"/>
              <a:buAutoNum type="arabicPeriod"/>
              <a:tabLst/>
              <a:defRPr/>
            </a:pPr>
            <a:r>
              <a:rPr kumimoji="0" lang="en-US" sz="1200" b="0" i="0" u="none" strike="noStrike" kern="1200" cap="none" spc="0" normalizeH="0" baseline="0" noProof="0" dirty="0">
                <a:ln>
                  <a:noFill/>
                </a:ln>
                <a:solidFill>
                  <a:srgbClr val="000000"/>
                </a:solidFill>
                <a:effectLst/>
                <a:uLnTx/>
                <a:uFillTx/>
                <a:ea typeface="+mn-ea"/>
                <a:cs typeface="Arial" charset="0"/>
              </a:rPr>
              <a:t>Define premium promotion "post-mortem" process, including data gathering and performance evaluation.</a:t>
            </a:r>
          </a:p>
        </p:txBody>
      </p:sp>
      <p:sp>
        <p:nvSpPr>
          <p:cNvPr id="61" name="Footer Placeholder 60">
            <a:extLst>
              <a:ext uri="{FF2B5EF4-FFF2-40B4-BE49-F238E27FC236}">
                <a16:creationId xmlns:a16="http://schemas.microsoft.com/office/drawing/2014/main" id="{CD70C72D-EB6D-4B78-935B-B456A7DE491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2" name="Slide Number Placeholder 61">
            <a:extLst>
              <a:ext uri="{FF2B5EF4-FFF2-40B4-BE49-F238E27FC236}">
                <a16:creationId xmlns:a16="http://schemas.microsoft.com/office/drawing/2014/main" id="{E65F755A-5839-41F6-87C7-CA7A544ED674}"/>
              </a:ext>
            </a:extLst>
          </p:cNvPr>
          <p:cNvSpPr>
            <a:spLocks noGrp="1"/>
          </p:cNvSpPr>
          <p:nvPr>
            <p:ph type="sldNum" sz="quarter" idx="10"/>
          </p:nvPr>
        </p:nvSpPr>
        <p:spPr/>
        <p:txBody>
          <a:bodyPr/>
          <a:lstStyle/>
          <a:p>
            <a:fld id="{1F90F471-3972-4120-B8B3-0237DE626C35}" type="slidenum">
              <a:rPr lang="en-US" smtClean="0"/>
              <a:pPr/>
              <a:t>393</a:t>
            </a:fld>
            <a:endParaRPr lang="en-US" dirty="0"/>
          </a:p>
        </p:txBody>
      </p:sp>
    </p:spTree>
    <p:extLst>
      <p:ext uri="{BB962C8B-B14F-4D97-AF65-F5344CB8AC3E}">
        <p14:creationId xmlns:p14="http://schemas.microsoft.com/office/powerpoint/2010/main" val="985381238"/>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Benefit Effort Matrix 6</a:t>
            </a:r>
          </a:p>
        </p:txBody>
      </p:sp>
      <p:grpSp>
        <p:nvGrpSpPr>
          <p:cNvPr id="7" name="Group 6" descr="Matrix example">
            <a:extLst>
              <a:ext uri="{FF2B5EF4-FFF2-40B4-BE49-F238E27FC236}">
                <a16:creationId xmlns:a16="http://schemas.microsoft.com/office/drawing/2014/main" id="{CB7EB7F4-912F-498D-9110-18C621DF3052}"/>
              </a:ext>
            </a:extLst>
          </p:cNvPr>
          <p:cNvGrpSpPr/>
          <p:nvPr/>
        </p:nvGrpSpPr>
        <p:grpSpPr>
          <a:xfrm>
            <a:off x="637044" y="1926753"/>
            <a:ext cx="4520570" cy="4007664"/>
            <a:chOff x="637044" y="1926753"/>
            <a:chExt cx="4520570" cy="4007664"/>
          </a:xfrm>
        </p:grpSpPr>
        <p:sp>
          <p:nvSpPr>
            <p:cNvPr id="121" name="Rectangle 7">
              <a:extLst>
                <a:ext uri="{FF2B5EF4-FFF2-40B4-BE49-F238E27FC236}">
                  <a16:creationId xmlns:a16="http://schemas.microsoft.com/office/drawing/2014/main" id="{F8BE874E-FCCE-4359-BC32-71EF8C320B8A}"/>
                </a:ext>
              </a:extLst>
            </p:cNvPr>
            <p:cNvSpPr>
              <a:spLocks noChangeArrowheads="1"/>
            </p:cNvSpPr>
            <p:nvPr/>
          </p:nvSpPr>
          <p:spPr bwMode="auto">
            <a:xfrm>
              <a:off x="938463" y="2150437"/>
              <a:ext cx="3874759" cy="3524485"/>
            </a:xfrm>
            <a:prstGeom prst="rect">
              <a:avLst/>
            </a:prstGeom>
            <a:solidFill>
              <a:srgbClr val="BE82FF">
                <a:lumMod val="20000"/>
                <a:lumOff val="80000"/>
              </a:srgbClr>
            </a:solidFill>
            <a:ln w="6350" algn="ctr">
              <a:solidFill>
                <a:srgbClr val="96968C">
                  <a:lumMod val="40000"/>
                  <a:lumOff val="60000"/>
                </a:srgbClr>
              </a:solidFill>
              <a:miter lim="800000"/>
              <a:headEnd/>
              <a:tailEnd/>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2800" b="1" i="0" u="none" strike="noStrike" kern="0" cap="none" spc="0" normalizeH="0" baseline="0" noProof="0" dirty="0">
                <a:ln>
                  <a:noFill/>
                </a:ln>
                <a:solidFill>
                  <a:srgbClr val="000000"/>
                </a:solidFill>
                <a:effectLst/>
                <a:uLnTx/>
                <a:uFillTx/>
                <a:latin typeface="Arial"/>
                <a:ea typeface="+mn-ea"/>
                <a:cs typeface="+mn-cs"/>
              </a:endParaRPr>
            </a:p>
          </p:txBody>
        </p:sp>
        <p:sp>
          <p:nvSpPr>
            <p:cNvPr id="122" name="AutoShape 8">
              <a:extLst>
                <a:ext uri="{FF2B5EF4-FFF2-40B4-BE49-F238E27FC236}">
                  <a16:creationId xmlns:a16="http://schemas.microsoft.com/office/drawing/2014/main" id="{31E5281D-411F-4D80-8226-C01BAEAA75F1}"/>
                </a:ext>
              </a:extLst>
            </p:cNvPr>
            <p:cNvSpPr>
              <a:spLocks noChangeArrowheads="1"/>
            </p:cNvSpPr>
            <p:nvPr/>
          </p:nvSpPr>
          <p:spPr bwMode="auto">
            <a:xfrm rot="5400000">
              <a:off x="247521" y="2854006"/>
              <a:ext cx="3483544" cy="2077778"/>
            </a:xfrm>
            <a:prstGeom prst="rtTriangle">
              <a:avLst/>
            </a:prstGeom>
            <a:solidFill>
              <a:srgbClr val="A100FF">
                <a:lumMod val="60000"/>
                <a:lumOff val="40000"/>
              </a:srgbClr>
            </a:solidFill>
            <a:ln w="3175" algn="ctr">
              <a:noFill/>
              <a:miter lim="800000"/>
              <a:headEnd/>
              <a:tailEnd/>
            </a:ln>
          </p:spPr>
          <p:txBody>
            <a:bodyPr rot="10800000" vert="eaVert"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23" name="AutoShape 9">
              <a:extLst>
                <a:ext uri="{FF2B5EF4-FFF2-40B4-BE49-F238E27FC236}">
                  <a16:creationId xmlns:a16="http://schemas.microsoft.com/office/drawing/2014/main" id="{C7F06588-C0C3-4534-BF1A-A2B6958B4F22}"/>
                </a:ext>
              </a:extLst>
            </p:cNvPr>
            <p:cNvSpPr>
              <a:spLocks noChangeArrowheads="1"/>
            </p:cNvSpPr>
            <p:nvPr/>
          </p:nvSpPr>
          <p:spPr bwMode="auto">
            <a:xfrm flipH="1">
              <a:off x="952605" y="3940915"/>
              <a:ext cx="3860618" cy="1734006"/>
            </a:xfrm>
            <a:prstGeom prst="rtTriangle">
              <a:avLst/>
            </a:prstGeom>
            <a:solidFill>
              <a:srgbClr val="A100FF">
                <a:lumMod val="40000"/>
                <a:lumOff val="60000"/>
              </a:srgbClr>
            </a:solidFill>
            <a:ln w="3175" algn="ctr">
              <a:noFill/>
              <a:miter lim="800000"/>
              <a:headEnd/>
              <a:tailEnd/>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24" name="Line 20">
              <a:extLst>
                <a:ext uri="{FF2B5EF4-FFF2-40B4-BE49-F238E27FC236}">
                  <a16:creationId xmlns:a16="http://schemas.microsoft.com/office/drawing/2014/main" id="{61F1CBAF-0434-4D96-A87A-9764A61A3167}"/>
                </a:ext>
              </a:extLst>
            </p:cNvPr>
            <p:cNvSpPr>
              <a:spLocks noChangeShapeType="1"/>
            </p:cNvSpPr>
            <p:nvPr/>
          </p:nvSpPr>
          <p:spPr bwMode="auto">
            <a:xfrm flipV="1">
              <a:off x="2255619" y="2150437"/>
              <a:ext cx="0" cy="3524484"/>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25" name="Line 22">
              <a:extLst>
                <a:ext uri="{FF2B5EF4-FFF2-40B4-BE49-F238E27FC236}">
                  <a16:creationId xmlns:a16="http://schemas.microsoft.com/office/drawing/2014/main" id="{677CA3DB-5111-4634-AC44-135277ED067D}"/>
                </a:ext>
              </a:extLst>
            </p:cNvPr>
            <p:cNvSpPr>
              <a:spLocks noChangeShapeType="1"/>
            </p:cNvSpPr>
            <p:nvPr/>
          </p:nvSpPr>
          <p:spPr bwMode="auto">
            <a:xfrm flipV="1">
              <a:off x="3546893" y="2150437"/>
              <a:ext cx="0" cy="3524484"/>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grpSp>
          <p:nvGrpSpPr>
            <p:cNvPr id="126" name="Group 125">
              <a:extLst>
                <a:ext uri="{FF2B5EF4-FFF2-40B4-BE49-F238E27FC236}">
                  <a16:creationId xmlns:a16="http://schemas.microsoft.com/office/drawing/2014/main" id="{566C4ABF-A974-4329-9C89-33C744C403CF}"/>
                </a:ext>
              </a:extLst>
            </p:cNvPr>
            <p:cNvGrpSpPr/>
            <p:nvPr/>
          </p:nvGrpSpPr>
          <p:grpSpPr>
            <a:xfrm>
              <a:off x="935288" y="3429154"/>
              <a:ext cx="3876467" cy="1097611"/>
              <a:chOff x="911308" y="3429154"/>
              <a:chExt cx="3900448" cy="1097611"/>
            </a:xfrm>
          </p:grpSpPr>
          <p:sp>
            <p:nvSpPr>
              <p:cNvPr id="127" name="Line 21">
                <a:extLst>
                  <a:ext uri="{FF2B5EF4-FFF2-40B4-BE49-F238E27FC236}">
                    <a16:creationId xmlns:a16="http://schemas.microsoft.com/office/drawing/2014/main" id="{10331AA7-0BE2-4FDF-9763-3CD8161E8803}"/>
                  </a:ext>
                </a:extLst>
              </p:cNvPr>
              <p:cNvSpPr>
                <a:spLocks noChangeShapeType="1"/>
              </p:cNvSpPr>
              <p:nvPr/>
            </p:nvSpPr>
            <p:spPr bwMode="auto">
              <a:xfrm>
                <a:off x="911308" y="3429154"/>
                <a:ext cx="3869632" cy="0"/>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sp>
            <p:nvSpPr>
              <p:cNvPr id="128" name="Line 23">
                <a:extLst>
                  <a:ext uri="{FF2B5EF4-FFF2-40B4-BE49-F238E27FC236}">
                    <a16:creationId xmlns:a16="http://schemas.microsoft.com/office/drawing/2014/main" id="{9C4D7996-A0F8-4E4A-9B68-BF1202E56BD5}"/>
                  </a:ext>
                </a:extLst>
              </p:cNvPr>
              <p:cNvSpPr>
                <a:spLocks noChangeShapeType="1"/>
              </p:cNvSpPr>
              <p:nvPr/>
            </p:nvSpPr>
            <p:spPr bwMode="auto">
              <a:xfrm>
                <a:off x="911308" y="4526765"/>
                <a:ext cx="3900448" cy="0"/>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29" name="Group 65">
              <a:extLst>
                <a:ext uri="{FF2B5EF4-FFF2-40B4-BE49-F238E27FC236}">
                  <a16:creationId xmlns:a16="http://schemas.microsoft.com/office/drawing/2014/main" id="{58E886AB-9DD9-49BF-90B8-E8E0F10EA448}"/>
                </a:ext>
              </a:extLst>
            </p:cNvPr>
            <p:cNvGrpSpPr/>
            <p:nvPr/>
          </p:nvGrpSpPr>
          <p:grpSpPr bwMode="auto">
            <a:xfrm>
              <a:off x="637044" y="1926753"/>
              <a:ext cx="4520570" cy="4007664"/>
              <a:chOff x="902188" y="1709192"/>
              <a:chExt cx="4520570" cy="4007664"/>
            </a:xfrm>
          </p:grpSpPr>
          <p:sp>
            <p:nvSpPr>
              <p:cNvPr id="130" name="Text Box 11">
                <a:extLst>
                  <a:ext uri="{FF2B5EF4-FFF2-40B4-BE49-F238E27FC236}">
                    <a16:creationId xmlns:a16="http://schemas.microsoft.com/office/drawing/2014/main" id="{AA6EDCAE-3E2C-4E65-B07E-548533042FAE}"/>
                  </a:ext>
                </a:extLst>
              </p:cNvPr>
              <p:cNvSpPr txBox="1">
                <a:spLocks noChangeArrowheads="1"/>
              </p:cNvSpPr>
              <p:nvPr/>
            </p:nvSpPr>
            <p:spPr bwMode="auto">
              <a:xfrm rot="16200000">
                <a:off x="-683541" y="3669335"/>
                <a:ext cx="3319191" cy="147733"/>
              </a:xfrm>
              <a:prstGeom prst="rect">
                <a:avLst/>
              </a:prstGeom>
              <a:noFill/>
              <a:ln w="12700">
                <a:noFill/>
                <a:miter lim="800000"/>
                <a:headEnd/>
                <a:tailEnd/>
              </a:ln>
            </p:spPr>
            <p:txBody>
              <a:bodyPr wrap="square"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Business Benefit</a:t>
                </a:r>
              </a:p>
            </p:txBody>
          </p:sp>
          <p:sp>
            <p:nvSpPr>
              <p:cNvPr id="131" name="Text Box 11">
                <a:extLst>
                  <a:ext uri="{FF2B5EF4-FFF2-40B4-BE49-F238E27FC236}">
                    <a16:creationId xmlns:a16="http://schemas.microsoft.com/office/drawing/2014/main" id="{772F7F0C-C3B0-4791-BAB3-436BB4201330}"/>
                  </a:ext>
                </a:extLst>
              </p:cNvPr>
              <p:cNvSpPr txBox="1">
                <a:spLocks noChangeArrowheads="1"/>
              </p:cNvSpPr>
              <p:nvPr/>
            </p:nvSpPr>
            <p:spPr bwMode="auto">
              <a:xfrm>
                <a:off x="2683107" y="5569123"/>
                <a:ext cx="1089902" cy="147733"/>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Effort</a:t>
                </a:r>
              </a:p>
            </p:txBody>
          </p:sp>
          <p:sp>
            <p:nvSpPr>
              <p:cNvPr id="132" name="Line 28">
                <a:extLst>
                  <a:ext uri="{FF2B5EF4-FFF2-40B4-BE49-F238E27FC236}">
                    <a16:creationId xmlns:a16="http://schemas.microsoft.com/office/drawing/2014/main" id="{4A171644-17B3-4D51-99AA-52E06A243F0B}"/>
                  </a:ext>
                </a:extLst>
              </p:cNvPr>
              <p:cNvSpPr>
                <a:spLocks noChangeShapeType="1"/>
              </p:cNvSpPr>
              <p:nvPr/>
            </p:nvSpPr>
            <p:spPr bwMode="auto">
              <a:xfrm>
                <a:off x="1207248" y="5457361"/>
                <a:ext cx="4215510" cy="0"/>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33" name="Line 28">
                <a:extLst>
                  <a:ext uri="{FF2B5EF4-FFF2-40B4-BE49-F238E27FC236}">
                    <a16:creationId xmlns:a16="http://schemas.microsoft.com/office/drawing/2014/main" id="{AB291E3A-74C6-48EB-A1C1-71683CAE8FFA}"/>
                  </a:ext>
                </a:extLst>
              </p:cNvPr>
              <p:cNvSpPr>
                <a:spLocks noChangeShapeType="1"/>
              </p:cNvSpPr>
              <p:nvPr/>
            </p:nvSpPr>
            <p:spPr bwMode="auto">
              <a:xfrm flipV="1">
                <a:off x="1212548" y="1709192"/>
                <a:ext cx="0" cy="3748168"/>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grpSp>
        <p:cxnSp>
          <p:nvCxnSpPr>
            <p:cNvPr id="134" name="Straight Connector 143">
              <a:extLst>
                <a:ext uri="{FF2B5EF4-FFF2-40B4-BE49-F238E27FC236}">
                  <a16:creationId xmlns:a16="http://schemas.microsoft.com/office/drawing/2014/main" id="{4322FE87-D9C0-46B1-97FC-076FBE82FE52}"/>
                </a:ext>
              </a:extLst>
            </p:cNvPr>
            <p:cNvCxnSpPr>
              <a:cxnSpLocks noChangeShapeType="1"/>
            </p:cNvCxnSpPr>
            <p:nvPr/>
          </p:nvCxnSpPr>
          <p:spPr bwMode="auto">
            <a:xfrm rot="10800000" flipH="1">
              <a:off x="992336" y="2150436"/>
              <a:ext cx="3805106" cy="3544574"/>
            </a:xfrm>
            <a:prstGeom prst="line">
              <a:avLst/>
            </a:prstGeom>
            <a:noFill/>
            <a:ln w="19050" algn="ctr">
              <a:solidFill>
                <a:srgbClr val="A100FF"/>
              </a:solidFill>
              <a:prstDash val="dash"/>
              <a:round/>
              <a:headEnd/>
              <a:tailEnd/>
            </a:ln>
          </p:spPr>
        </p:cxnSp>
        <p:sp>
          <p:nvSpPr>
            <p:cNvPr id="135" name="Rectangle 194">
              <a:extLst>
                <a:ext uri="{FF2B5EF4-FFF2-40B4-BE49-F238E27FC236}">
                  <a16:creationId xmlns:a16="http://schemas.microsoft.com/office/drawing/2014/main" id="{CB00FDEF-A541-4BAE-AF32-9D67C10607AA}"/>
                </a:ext>
              </a:extLst>
            </p:cNvPr>
            <p:cNvSpPr>
              <a:spLocks noChangeArrowheads="1"/>
            </p:cNvSpPr>
            <p:nvPr/>
          </p:nvSpPr>
          <p:spPr bwMode="auto">
            <a:xfrm>
              <a:off x="1019276" y="2172656"/>
              <a:ext cx="433378" cy="3489015"/>
            </a:xfrm>
            <a:prstGeom prst="rect">
              <a:avLst/>
            </a:prstGeom>
            <a:noFill/>
            <a:ln w="28575" algn="ctr">
              <a:solidFill>
                <a:srgbClr val="DCAFFF"/>
              </a:solidFill>
              <a:prstDash val="sysDash"/>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6" name="Isosceles Triangle 208">
              <a:extLst>
                <a:ext uri="{FF2B5EF4-FFF2-40B4-BE49-F238E27FC236}">
                  <a16:creationId xmlns:a16="http://schemas.microsoft.com/office/drawing/2014/main" id="{B54707D7-7EED-4F50-80AC-6605F48AB109}"/>
                </a:ext>
              </a:extLst>
            </p:cNvPr>
            <p:cNvSpPr>
              <a:spLocks noChangeArrowheads="1"/>
            </p:cNvSpPr>
            <p:nvPr/>
          </p:nvSpPr>
          <p:spPr bwMode="auto">
            <a:xfrm rot="5400000">
              <a:off x="1619435" y="2105883"/>
              <a:ext cx="2922328" cy="3100320"/>
            </a:xfrm>
            <a:prstGeom prst="triangle">
              <a:avLst>
                <a:gd name="adj" fmla="val 0"/>
              </a:avLst>
            </a:prstGeom>
            <a:noFill/>
            <a:ln w="28575" algn="ctr">
              <a:solidFill>
                <a:schemeClr val="accent1"/>
              </a:solidFill>
              <a:prstDash val="sysDash"/>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nvGrpSpPr>
            <p:cNvPr id="137" name="Group 136">
              <a:extLst>
                <a:ext uri="{FF2B5EF4-FFF2-40B4-BE49-F238E27FC236}">
                  <a16:creationId xmlns:a16="http://schemas.microsoft.com/office/drawing/2014/main" id="{F340FB2E-95E4-4B85-A644-D9CD7772FCE0}"/>
                </a:ext>
              </a:extLst>
            </p:cNvPr>
            <p:cNvGrpSpPr/>
            <p:nvPr/>
          </p:nvGrpSpPr>
          <p:grpSpPr>
            <a:xfrm>
              <a:off x="1019276" y="2250437"/>
              <a:ext cx="3663922" cy="3263671"/>
              <a:chOff x="1019276" y="2250437"/>
              <a:chExt cx="3663922" cy="3263671"/>
            </a:xfrm>
          </p:grpSpPr>
          <p:sp>
            <p:nvSpPr>
              <p:cNvPr id="138" name="Oval 160">
                <a:extLst>
                  <a:ext uri="{FF2B5EF4-FFF2-40B4-BE49-F238E27FC236}">
                    <a16:creationId xmlns:a16="http://schemas.microsoft.com/office/drawing/2014/main" id="{82AF7B12-FB0F-4342-AC57-DC2D67438243}"/>
                  </a:ext>
                </a:extLst>
              </p:cNvPr>
              <p:cNvSpPr>
                <a:spLocks noChangeAspect="1" noChangeArrowheads="1"/>
              </p:cNvSpPr>
              <p:nvPr/>
            </p:nvSpPr>
            <p:spPr bwMode="auto">
              <a:xfrm>
                <a:off x="3919574" y="2305995"/>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9" name="Oval 161">
                <a:extLst>
                  <a:ext uri="{FF2B5EF4-FFF2-40B4-BE49-F238E27FC236}">
                    <a16:creationId xmlns:a16="http://schemas.microsoft.com/office/drawing/2014/main" id="{0CB8528E-A206-498A-949F-1EAECF879F00}"/>
                  </a:ext>
                </a:extLst>
              </p:cNvPr>
              <p:cNvSpPr>
                <a:spLocks noChangeAspect="1" noChangeArrowheads="1"/>
              </p:cNvSpPr>
              <p:nvPr/>
            </p:nvSpPr>
            <p:spPr bwMode="auto">
              <a:xfrm>
                <a:off x="3463972" y="2628229"/>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0" name="Oval 162">
                <a:extLst>
                  <a:ext uri="{FF2B5EF4-FFF2-40B4-BE49-F238E27FC236}">
                    <a16:creationId xmlns:a16="http://schemas.microsoft.com/office/drawing/2014/main" id="{4DD5DD5A-6C2B-4C47-BB34-D0C9364B57F7}"/>
                  </a:ext>
                </a:extLst>
              </p:cNvPr>
              <p:cNvSpPr>
                <a:spLocks noChangeAspect="1" noChangeArrowheads="1"/>
              </p:cNvSpPr>
              <p:nvPr/>
            </p:nvSpPr>
            <p:spPr bwMode="auto">
              <a:xfrm>
                <a:off x="2808349" y="2261549"/>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1" name="Oval 163">
                <a:extLst>
                  <a:ext uri="{FF2B5EF4-FFF2-40B4-BE49-F238E27FC236}">
                    <a16:creationId xmlns:a16="http://schemas.microsoft.com/office/drawing/2014/main" id="{0E6B2CE6-36D9-476A-9A42-04A71DDECC7D}"/>
                  </a:ext>
                </a:extLst>
              </p:cNvPr>
              <p:cNvSpPr>
                <a:spLocks noChangeAspect="1" noChangeArrowheads="1"/>
              </p:cNvSpPr>
              <p:nvPr/>
            </p:nvSpPr>
            <p:spPr bwMode="auto">
              <a:xfrm>
                <a:off x="2519430" y="2317107"/>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2" name="Oval 164">
                <a:extLst>
                  <a:ext uri="{FF2B5EF4-FFF2-40B4-BE49-F238E27FC236}">
                    <a16:creationId xmlns:a16="http://schemas.microsoft.com/office/drawing/2014/main" id="{152B5E3F-1447-43F9-B44B-4DDA253A9219}"/>
                  </a:ext>
                </a:extLst>
              </p:cNvPr>
              <p:cNvSpPr>
                <a:spLocks noChangeAspect="1" noChangeArrowheads="1"/>
              </p:cNvSpPr>
              <p:nvPr/>
            </p:nvSpPr>
            <p:spPr bwMode="auto">
              <a:xfrm>
                <a:off x="3052818" y="2494891"/>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3" name="Oval 165">
                <a:extLst>
                  <a:ext uri="{FF2B5EF4-FFF2-40B4-BE49-F238E27FC236}">
                    <a16:creationId xmlns:a16="http://schemas.microsoft.com/office/drawing/2014/main" id="{9CB33290-BA64-46AA-9E55-998DC8DDF664}"/>
                  </a:ext>
                </a:extLst>
              </p:cNvPr>
              <p:cNvSpPr>
                <a:spLocks noChangeAspect="1" noChangeArrowheads="1"/>
              </p:cNvSpPr>
              <p:nvPr/>
            </p:nvSpPr>
            <p:spPr bwMode="auto">
              <a:xfrm>
                <a:off x="2763899" y="2728233"/>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4" name="Oval 166">
                <a:extLst>
                  <a:ext uri="{FF2B5EF4-FFF2-40B4-BE49-F238E27FC236}">
                    <a16:creationId xmlns:a16="http://schemas.microsoft.com/office/drawing/2014/main" id="{9691A6E9-ADD2-4528-961A-D6E0DE048DF2}"/>
                  </a:ext>
                </a:extLst>
              </p:cNvPr>
              <p:cNvSpPr>
                <a:spLocks noChangeAspect="1" noChangeArrowheads="1"/>
              </p:cNvSpPr>
              <p:nvPr/>
            </p:nvSpPr>
            <p:spPr bwMode="auto">
              <a:xfrm>
                <a:off x="2041603" y="2394888"/>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5" name="Oval 167">
                <a:extLst>
                  <a:ext uri="{FF2B5EF4-FFF2-40B4-BE49-F238E27FC236}">
                    <a16:creationId xmlns:a16="http://schemas.microsoft.com/office/drawing/2014/main" id="{2967529E-9EFE-48B1-BC33-4FCF3F327CFC}"/>
                  </a:ext>
                </a:extLst>
              </p:cNvPr>
              <p:cNvSpPr>
                <a:spLocks noChangeAspect="1" noChangeArrowheads="1"/>
              </p:cNvSpPr>
              <p:nvPr/>
            </p:nvSpPr>
            <p:spPr bwMode="auto">
              <a:xfrm>
                <a:off x="1663786" y="2739344"/>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6" name="Oval 168">
                <a:extLst>
                  <a:ext uri="{FF2B5EF4-FFF2-40B4-BE49-F238E27FC236}">
                    <a16:creationId xmlns:a16="http://schemas.microsoft.com/office/drawing/2014/main" id="{BAD72C73-FC79-4FF3-BFCC-4AD1C48C3FFC}"/>
                  </a:ext>
                </a:extLst>
              </p:cNvPr>
              <p:cNvSpPr>
                <a:spLocks noChangeAspect="1" noChangeArrowheads="1"/>
              </p:cNvSpPr>
              <p:nvPr/>
            </p:nvSpPr>
            <p:spPr bwMode="auto">
              <a:xfrm>
                <a:off x="3363962" y="3061579"/>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7" name="Oval 169">
                <a:extLst>
                  <a:ext uri="{FF2B5EF4-FFF2-40B4-BE49-F238E27FC236}">
                    <a16:creationId xmlns:a16="http://schemas.microsoft.com/office/drawing/2014/main" id="{B83B1009-DDA9-4F96-83CE-EECA2326F947}"/>
                  </a:ext>
                </a:extLst>
              </p:cNvPr>
              <p:cNvSpPr>
                <a:spLocks noChangeAspect="1" noChangeArrowheads="1"/>
              </p:cNvSpPr>
              <p:nvPr/>
            </p:nvSpPr>
            <p:spPr bwMode="auto">
              <a:xfrm>
                <a:off x="3075043" y="3194916"/>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8" name="Oval 170">
                <a:extLst>
                  <a:ext uri="{FF2B5EF4-FFF2-40B4-BE49-F238E27FC236}">
                    <a16:creationId xmlns:a16="http://schemas.microsoft.com/office/drawing/2014/main" id="{0BAD728D-422C-4053-8396-A8B3C4D8ED0E}"/>
                  </a:ext>
                </a:extLst>
              </p:cNvPr>
              <p:cNvSpPr>
                <a:spLocks noChangeAspect="1" noChangeArrowheads="1"/>
              </p:cNvSpPr>
              <p:nvPr/>
            </p:nvSpPr>
            <p:spPr bwMode="auto">
              <a:xfrm>
                <a:off x="2352746" y="3550484"/>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9" name="Oval 171">
                <a:extLst>
                  <a:ext uri="{FF2B5EF4-FFF2-40B4-BE49-F238E27FC236}">
                    <a16:creationId xmlns:a16="http://schemas.microsoft.com/office/drawing/2014/main" id="{802C94FC-F603-422B-8EA4-8AD39D0C57DB}"/>
                  </a:ext>
                </a:extLst>
              </p:cNvPr>
              <p:cNvSpPr>
                <a:spLocks noChangeAspect="1" noChangeArrowheads="1"/>
              </p:cNvSpPr>
              <p:nvPr/>
            </p:nvSpPr>
            <p:spPr bwMode="auto">
              <a:xfrm>
                <a:off x="2286072" y="2839348"/>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0" name="Oval 172">
                <a:extLst>
                  <a:ext uri="{FF2B5EF4-FFF2-40B4-BE49-F238E27FC236}">
                    <a16:creationId xmlns:a16="http://schemas.microsoft.com/office/drawing/2014/main" id="{97885243-F950-403E-876B-8F955233477D}"/>
                  </a:ext>
                </a:extLst>
              </p:cNvPr>
              <p:cNvSpPr>
                <a:spLocks noChangeAspect="1" noChangeArrowheads="1"/>
              </p:cNvSpPr>
              <p:nvPr/>
            </p:nvSpPr>
            <p:spPr bwMode="auto">
              <a:xfrm>
                <a:off x="1074837" y="4017168"/>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1" name="Oval 173">
                <a:extLst>
                  <a:ext uri="{FF2B5EF4-FFF2-40B4-BE49-F238E27FC236}">
                    <a16:creationId xmlns:a16="http://schemas.microsoft.com/office/drawing/2014/main" id="{B316AA1A-D44B-450A-B38E-57A95A597781}"/>
                  </a:ext>
                </a:extLst>
              </p:cNvPr>
              <p:cNvSpPr>
                <a:spLocks noChangeAspect="1" noChangeArrowheads="1"/>
              </p:cNvSpPr>
              <p:nvPr/>
            </p:nvSpPr>
            <p:spPr bwMode="auto">
              <a:xfrm>
                <a:off x="1019276" y="5150543"/>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2" name="Oval 174">
                <a:extLst>
                  <a:ext uri="{FF2B5EF4-FFF2-40B4-BE49-F238E27FC236}">
                    <a16:creationId xmlns:a16="http://schemas.microsoft.com/office/drawing/2014/main" id="{AC9E25A6-E76A-4593-A3FA-8AB4633A1B09}"/>
                  </a:ext>
                </a:extLst>
              </p:cNvPr>
              <p:cNvSpPr>
                <a:spLocks noChangeAspect="1" noChangeArrowheads="1"/>
              </p:cNvSpPr>
              <p:nvPr/>
            </p:nvSpPr>
            <p:spPr bwMode="auto">
              <a:xfrm>
                <a:off x="1230408" y="5239435"/>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3" name="Oval 175">
                <a:extLst>
                  <a:ext uri="{FF2B5EF4-FFF2-40B4-BE49-F238E27FC236}">
                    <a16:creationId xmlns:a16="http://schemas.microsoft.com/office/drawing/2014/main" id="{B90EBEC4-896F-472C-BBA3-FBE3456373D0}"/>
                  </a:ext>
                </a:extLst>
              </p:cNvPr>
              <p:cNvSpPr>
                <a:spLocks noChangeAspect="1" noChangeArrowheads="1"/>
              </p:cNvSpPr>
              <p:nvPr/>
            </p:nvSpPr>
            <p:spPr bwMode="auto">
              <a:xfrm>
                <a:off x="2530542" y="5283881"/>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4" name="Oval 176">
                <a:extLst>
                  <a:ext uri="{FF2B5EF4-FFF2-40B4-BE49-F238E27FC236}">
                    <a16:creationId xmlns:a16="http://schemas.microsoft.com/office/drawing/2014/main" id="{281D7A60-3CEB-4B3F-99B2-7E2D560EBB47}"/>
                  </a:ext>
                </a:extLst>
              </p:cNvPr>
              <p:cNvSpPr>
                <a:spLocks noChangeAspect="1" noChangeArrowheads="1"/>
              </p:cNvSpPr>
              <p:nvPr/>
            </p:nvSpPr>
            <p:spPr bwMode="auto">
              <a:xfrm>
                <a:off x="4308503" y="5406108"/>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5" name="Oval 179">
                <a:extLst>
                  <a:ext uri="{FF2B5EF4-FFF2-40B4-BE49-F238E27FC236}">
                    <a16:creationId xmlns:a16="http://schemas.microsoft.com/office/drawing/2014/main" id="{84022816-14AE-4B72-8CA1-08CE57FEFF6E}"/>
                  </a:ext>
                </a:extLst>
              </p:cNvPr>
              <p:cNvSpPr>
                <a:spLocks noChangeAspect="1" noChangeArrowheads="1"/>
              </p:cNvSpPr>
              <p:nvPr/>
            </p:nvSpPr>
            <p:spPr bwMode="auto">
              <a:xfrm>
                <a:off x="4175156" y="2250437"/>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6" name="Oval 185">
                <a:extLst>
                  <a:ext uri="{FF2B5EF4-FFF2-40B4-BE49-F238E27FC236}">
                    <a16:creationId xmlns:a16="http://schemas.microsoft.com/office/drawing/2014/main" id="{7118993F-B51D-42D0-B7A9-7C5B376946A2}"/>
                  </a:ext>
                </a:extLst>
              </p:cNvPr>
              <p:cNvSpPr>
                <a:spLocks noChangeAspect="1" noChangeArrowheads="1"/>
              </p:cNvSpPr>
              <p:nvPr/>
            </p:nvSpPr>
            <p:spPr bwMode="auto">
              <a:xfrm>
                <a:off x="3197278" y="2250437"/>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7" name="Oval 186">
                <a:extLst>
                  <a:ext uri="{FF2B5EF4-FFF2-40B4-BE49-F238E27FC236}">
                    <a16:creationId xmlns:a16="http://schemas.microsoft.com/office/drawing/2014/main" id="{0D93E637-583D-4B12-9E87-C0BB921FADED}"/>
                  </a:ext>
                </a:extLst>
              </p:cNvPr>
              <p:cNvSpPr>
                <a:spLocks noChangeAspect="1" noChangeArrowheads="1"/>
              </p:cNvSpPr>
              <p:nvPr/>
            </p:nvSpPr>
            <p:spPr bwMode="auto">
              <a:xfrm>
                <a:off x="3997360" y="3083801"/>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8" name="Oval 188">
                <a:extLst>
                  <a:ext uri="{FF2B5EF4-FFF2-40B4-BE49-F238E27FC236}">
                    <a16:creationId xmlns:a16="http://schemas.microsoft.com/office/drawing/2014/main" id="{630888D7-3A78-4348-A4F1-0BBE18D41CFB}"/>
                  </a:ext>
                </a:extLst>
              </p:cNvPr>
              <p:cNvSpPr>
                <a:spLocks noChangeAspect="1" noChangeArrowheads="1"/>
              </p:cNvSpPr>
              <p:nvPr/>
            </p:nvSpPr>
            <p:spPr bwMode="auto">
              <a:xfrm>
                <a:off x="3441747" y="3850496"/>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59" name="Oval 189">
                <a:extLst>
                  <a:ext uri="{FF2B5EF4-FFF2-40B4-BE49-F238E27FC236}">
                    <a16:creationId xmlns:a16="http://schemas.microsoft.com/office/drawing/2014/main" id="{AD5B6A95-A75A-4EF4-8C3F-46F433C08FE1}"/>
                  </a:ext>
                </a:extLst>
              </p:cNvPr>
              <p:cNvSpPr>
                <a:spLocks noChangeAspect="1" noChangeArrowheads="1"/>
              </p:cNvSpPr>
              <p:nvPr/>
            </p:nvSpPr>
            <p:spPr bwMode="auto">
              <a:xfrm>
                <a:off x="4575198" y="2939351"/>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0" name="Oval 190">
                <a:extLst>
                  <a:ext uri="{FF2B5EF4-FFF2-40B4-BE49-F238E27FC236}">
                    <a16:creationId xmlns:a16="http://schemas.microsoft.com/office/drawing/2014/main" id="{D8CF0751-6670-42D0-97B6-3EB144616A0E}"/>
                  </a:ext>
                </a:extLst>
              </p:cNvPr>
              <p:cNvSpPr>
                <a:spLocks noChangeAspect="1" noChangeArrowheads="1"/>
              </p:cNvSpPr>
              <p:nvPr/>
            </p:nvSpPr>
            <p:spPr bwMode="auto">
              <a:xfrm>
                <a:off x="2752787" y="4128283"/>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1" name="Oval 191">
                <a:extLst>
                  <a:ext uri="{FF2B5EF4-FFF2-40B4-BE49-F238E27FC236}">
                    <a16:creationId xmlns:a16="http://schemas.microsoft.com/office/drawing/2014/main" id="{8F81FD1F-A9E8-4B22-A94E-C579827072EA}"/>
                  </a:ext>
                </a:extLst>
              </p:cNvPr>
              <p:cNvSpPr>
                <a:spLocks noChangeAspect="1" noChangeArrowheads="1"/>
              </p:cNvSpPr>
              <p:nvPr/>
            </p:nvSpPr>
            <p:spPr bwMode="auto">
              <a:xfrm>
                <a:off x="2174950" y="4239398"/>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2" name="Oval 192">
                <a:extLst>
                  <a:ext uri="{FF2B5EF4-FFF2-40B4-BE49-F238E27FC236}">
                    <a16:creationId xmlns:a16="http://schemas.microsoft.com/office/drawing/2014/main" id="{4F9ADB7A-FC6B-4973-94AA-95243429B1B6}"/>
                  </a:ext>
                </a:extLst>
              </p:cNvPr>
              <p:cNvSpPr>
                <a:spLocks noChangeAspect="1" noChangeArrowheads="1"/>
              </p:cNvSpPr>
              <p:nvPr/>
            </p:nvSpPr>
            <p:spPr bwMode="auto">
              <a:xfrm>
                <a:off x="1508215" y="4472741"/>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sp>
        <p:nvSpPr>
          <p:cNvPr id="171" name="Rectangle 193">
            <a:extLst>
              <a:ext uri="{FF2B5EF4-FFF2-40B4-BE49-F238E27FC236}">
                <a16:creationId xmlns:a16="http://schemas.microsoft.com/office/drawing/2014/main" id="{B697F90D-7CE5-4FA9-814F-ABE88DFDE520}"/>
              </a:ext>
              <a:ext uri="{C183D7F6-B498-43B3-948B-1728B52AA6E4}">
                <adec:decorative xmlns:adec="http://schemas.microsoft.com/office/drawing/2017/decorative" val="1"/>
              </a:ext>
            </a:extLst>
          </p:cNvPr>
          <p:cNvSpPr>
            <a:spLocks noChangeArrowheads="1"/>
          </p:cNvSpPr>
          <p:nvPr/>
        </p:nvSpPr>
        <p:spPr bwMode="auto">
          <a:xfrm>
            <a:off x="4157378" y="1516252"/>
            <a:ext cx="844928" cy="399074"/>
          </a:xfrm>
          <a:prstGeom prst="rect">
            <a:avLst/>
          </a:prstGeom>
          <a:noFill/>
          <a:ln w="19050" algn="ctr">
            <a:solidFill>
              <a:srgbClr val="96968C">
                <a:lumMod val="60000"/>
                <a:lumOff val="40000"/>
              </a:srgbClr>
            </a:solidFill>
            <a:prstDash val="sysDash"/>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nvGrpSpPr>
          <p:cNvPr id="165" name="Group 164" descr="Pattern">
            <a:extLst>
              <a:ext uri="{FF2B5EF4-FFF2-40B4-BE49-F238E27FC236}">
                <a16:creationId xmlns:a16="http://schemas.microsoft.com/office/drawing/2014/main" id="{29B53DE7-CA0F-4B0D-ACFF-4C4835DDA514}"/>
              </a:ext>
              <a:ext uri="{C183D7F6-B498-43B3-948B-1728B52AA6E4}">
                <adec:decorative xmlns:adec="http://schemas.microsoft.com/office/drawing/2017/decorative" val="0"/>
              </a:ext>
            </a:extLst>
          </p:cNvPr>
          <p:cNvGrpSpPr/>
          <p:nvPr/>
        </p:nvGrpSpPr>
        <p:grpSpPr>
          <a:xfrm>
            <a:off x="4292917" y="1596952"/>
            <a:ext cx="625173" cy="273622"/>
            <a:chOff x="4292917" y="1596952"/>
            <a:chExt cx="625173" cy="273622"/>
          </a:xfrm>
          <a:solidFill>
            <a:srgbClr val="000000"/>
          </a:solidFill>
        </p:grpSpPr>
        <p:sp>
          <p:nvSpPr>
            <p:cNvPr id="166" name="Oval 177">
              <a:extLst>
                <a:ext uri="{FF2B5EF4-FFF2-40B4-BE49-F238E27FC236}">
                  <a16:creationId xmlns:a16="http://schemas.microsoft.com/office/drawing/2014/main" id="{D4656713-CEB7-4966-918F-54801E92591E}"/>
                </a:ext>
              </a:extLst>
            </p:cNvPr>
            <p:cNvSpPr>
              <a:spLocks noChangeAspect="1" noChangeArrowheads="1"/>
            </p:cNvSpPr>
            <p:nvPr/>
          </p:nvSpPr>
          <p:spPr bwMode="auto">
            <a:xfrm>
              <a:off x="4710906" y="1596952"/>
              <a:ext cx="108000" cy="106261"/>
            </a:xfrm>
            <a:prstGeom prst="ellipse">
              <a:avLst/>
            </a:prstGeom>
            <a:grpFill/>
            <a:ln w="9525" algn="ctr">
              <a:no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7" name="Oval 180">
              <a:extLst>
                <a:ext uri="{FF2B5EF4-FFF2-40B4-BE49-F238E27FC236}">
                  <a16:creationId xmlns:a16="http://schemas.microsoft.com/office/drawing/2014/main" id="{5E32B390-787A-4FFB-A1AA-773D130974E8}"/>
                </a:ext>
              </a:extLst>
            </p:cNvPr>
            <p:cNvSpPr>
              <a:spLocks noChangeAspect="1" noChangeArrowheads="1"/>
            </p:cNvSpPr>
            <p:nvPr/>
          </p:nvSpPr>
          <p:spPr bwMode="auto">
            <a:xfrm>
              <a:off x="4555046" y="1658052"/>
              <a:ext cx="108000" cy="106261"/>
            </a:xfrm>
            <a:prstGeom prst="ellipse">
              <a:avLst/>
            </a:prstGeom>
            <a:grpFill/>
            <a:ln w="9525" algn="ctr">
              <a:no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8" name="Oval 182">
              <a:extLst>
                <a:ext uri="{FF2B5EF4-FFF2-40B4-BE49-F238E27FC236}">
                  <a16:creationId xmlns:a16="http://schemas.microsoft.com/office/drawing/2014/main" id="{D1203EDF-A673-4D57-9322-FDBCAFFC367E}"/>
                </a:ext>
              </a:extLst>
            </p:cNvPr>
            <p:cNvSpPr>
              <a:spLocks noChangeAspect="1" noChangeArrowheads="1"/>
            </p:cNvSpPr>
            <p:nvPr/>
          </p:nvSpPr>
          <p:spPr bwMode="auto">
            <a:xfrm>
              <a:off x="4406270" y="1750145"/>
              <a:ext cx="108000" cy="106261"/>
            </a:xfrm>
            <a:prstGeom prst="ellipse">
              <a:avLst/>
            </a:prstGeom>
            <a:grpFill/>
            <a:ln w="9525" algn="ctr">
              <a:no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69" name="Oval 183">
              <a:extLst>
                <a:ext uri="{FF2B5EF4-FFF2-40B4-BE49-F238E27FC236}">
                  <a16:creationId xmlns:a16="http://schemas.microsoft.com/office/drawing/2014/main" id="{C89F8C1A-0D29-4DE7-9370-51D5CDA06491}"/>
                </a:ext>
              </a:extLst>
            </p:cNvPr>
            <p:cNvSpPr>
              <a:spLocks noChangeAspect="1" noChangeArrowheads="1"/>
            </p:cNvSpPr>
            <p:nvPr/>
          </p:nvSpPr>
          <p:spPr bwMode="auto">
            <a:xfrm>
              <a:off x="4292917" y="1596952"/>
              <a:ext cx="108000" cy="106261"/>
            </a:xfrm>
            <a:prstGeom prst="ellipse">
              <a:avLst/>
            </a:prstGeom>
            <a:grpFill/>
            <a:ln w="9525" algn="ctr">
              <a:no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70" name="Oval 184">
              <a:extLst>
                <a:ext uri="{FF2B5EF4-FFF2-40B4-BE49-F238E27FC236}">
                  <a16:creationId xmlns:a16="http://schemas.microsoft.com/office/drawing/2014/main" id="{BF69BEA1-0D6D-424B-AA0C-71A310B54753}"/>
                </a:ext>
              </a:extLst>
            </p:cNvPr>
            <p:cNvSpPr>
              <a:spLocks noChangeAspect="1" noChangeArrowheads="1"/>
            </p:cNvSpPr>
            <p:nvPr/>
          </p:nvSpPr>
          <p:spPr bwMode="auto">
            <a:xfrm>
              <a:off x="4810090" y="1764313"/>
              <a:ext cx="108000" cy="106261"/>
            </a:xfrm>
            <a:prstGeom prst="ellipse">
              <a:avLst/>
            </a:prstGeom>
            <a:grpFill/>
            <a:ln w="9525" algn="ctr">
              <a:no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cxnSp>
        <p:nvCxnSpPr>
          <p:cNvPr id="172" name="Connector: Elbow 171">
            <a:extLst>
              <a:ext uri="{FF2B5EF4-FFF2-40B4-BE49-F238E27FC236}">
                <a16:creationId xmlns:a16="http://schemas.microsoft.com/office/drawing/2014/main" id="{CAFE86F3-456E-41EF-B58E-06AB09E8F7DF}"/>
              </a:ext>
              <a:ext uri="{C183D7F6-B498-43B3-948B-1728B52AA6E4}">
                <adec:decorative xmlns:adec="http://schemas.microsoft.com/office/drawing/2017/decorative" val="1"/>
              </a:ext>
            </a:extLst>
          </p:cNvPr>
          <p:cNvCxnSpPr>
            <a:stCxn id="118" idx="1"/>
            <a:endCxn id="171" idx="3"/>
          </p:cNvCxnSpPr>
          <p:nvPr/>
        </p:nvCxnSpPr>
        <p:spPr>
          <a:xfrm rot="10800000">
            <a:off x="5002307" y="1715790"/>
            <a:ext cx="919727" cy="456867"/>
          </a:xfrm>
          <a:prstGeom prst="bentConnector3">
            <a:avLst/>
          </a:prstGeom>
          <a:noFill/>
          <a:ln w="19050" cap="flat" cmpd="sng" algn="ctr">
            <a:solidFill>
              <a:srgbClr val="96968C">
                <a:lumMod val="60000"/>
                <a:lumOff val="40000"/>
              </a:srgbClr>
            </a:solidFill>
            <a:prstDash val="solid"/>
            <a:tailEnd type="triangle"/>
          </a:ln>
          <a:effectLst/>
        </p:spPr>
      </p:cxnSp>
      <p:sp>
        <p:nvSpPr>
          <p:cNvPr id="118" name="TextBox 117">
            <a:extLst>
              <a:ext uri="{FF2B5EF4-FFF2-40B4-BE49-F238E27FC236}">
                <a16:creationId xmlns:a16="http://schemas.microsoft.com/office/drawing/2014/main" id="{6C3CEE31-384E-42C2-9032-905BF711B00D}"/>
              </a:ext>
            </a:extLst>
          </p:cNvPr>
          <p:cNvSpPr txBox="1"/>
          <p:nvPr/>
        </p:nvSpPr>
        <p:spPr>
          <a:xfrm>
            <a:off x="5922033" y="1583076"/>
            <a:ext cx="5933417" cy="1179160"/>
          </a:xfrm>
          <a:prstGeom prst="rect">
            <a:avLst/>
          </a:prstGeom>
          <a:noFill/>
          <a:ln w="19050">
            <a:solidFill>
              <a:srgbClr val="96968C">
                <a:lumMod val="60000"/>
                <a:lumOff val="40000"/>
              </a:srgbClr>
            </a:solidFill>
          </a:ln>
        </p:spPr>
        <p:txBody>
          <a:bodyPr wrap="square" bIns="72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000000"/>
                </a:solidFill>
                <a:effectLst/>
                <a:uLnTx/>
                <a:uFillTx/>
                <a:ea typeface="+mn-ea"/>
                <a:cs typeface="Arial" pitchFamily="34" charset="0"/>
              </a:rPr>
              <a:t>Strategic Initiatives</a:t>
            </a:r>
          </a:p>
          <a:p>
            <a:pPr marL="180975" marR="0" lvl="0" indent="-180975" algn="l" defTabSz="914400" rtl="0" eaLnBrk="1" fontAlgn="auto" latinLnBrk="0" hangingPunct="1">
              <a:lnSpc>
                <a:spcPct val="100000"/>
              </a:lnSpc>
              <a:spcBef>
                <a:spcPct val="10000"/>
              </a:spcBef>
              <a:spcAft>
                <a:spcPts val="0"/>
              </a:spcAft>
              <a:buClrTx/>
              <a:buSzTx/>
              <a:buFontTx/>
              <a:buChar char="•"/>
              <a:tabLst/>
              <a:defRPr/>
            </a:pPr>
            <a:r>
              <a:rPr kumimoji="0" lang="en-US" sz="1300" b="0" i="0" u="none" strike="noStrike" kern="0" cap="none" spc="0" normalizeH="0" baseline="0" noProof="0" dirty="0">
                <a:ln>
                  <a:noFill/>
                </a:ln>
                <a:solidFill>
                  <a:srgbClr val="000000"/>
                </a:solidFill>
                <a:effectLst/>
                <a:uLnTx/>
                <a:uFillTx/>
                <a:ea typeface="+mn-ea"/>
                <a:cs typeface="Arial" pitchFamily="34" charset="0"/>
              </a:rPr>
              <a:t>Network-wide, unbounded, systemic business issues</a:t>
            </a:r>
          </a:p>
          <a:p>
            <a:pPr marL="180975" marR="0" lvl="0" indent="-180975" algn="l" defTabSz="914400" rtl="0" eaLnBrk="1" fontAlgn="auto" latinLnBrk="0" hangingPunct="1">
              <a:lnSpc>
                <a:spcPct val="100000"/>
              </a:lnSpc>
              <a:spcBef>
                <a:spcPct val="10000"/>
              </a:spcBef>
              <a:spcAft>
                <a:spcPts val="0"/>
              </a:spcAft>
              <a:buClrTx/>
              <a:buSzTx/>
              <a:buFontTx/>
              <a:buChar char="•"/>
              <a:tabLst/>
              <a:defRPr/>
            </a:pPr>
            <a:r>
              <a:rPr kumimoji="0" lang="en-US" sz="1300" b="0" i="0" u="none" strike="noStrike" kern="0" cap="none" spc="0" normalizeH="0" baseline="0" noProof="0" dirty="0">
                <a:ln>
                  <a:noFill/>
                </a:ln>
                <a:solidFill>
                  <a:srgbClr val="000000"/>
                </a:solidFill>
                <a:effectLst/>
                <a:uLnTx/>
                <a:uFillTx/>
                <a:ea typeface="+mn-ea"/>
                <a:cs typeface="Arial" pitchFamily="34" charset="0"/>
              </a:rPr>
              <a:t>Require the use of hypothesis-driven analysis to drive insights that lead to recommendations</a:t>
            </a:r>
          </a:p>
          <a:p>
            <a:pPr marL="180975" marR="0" lvl="0" indent="-180975" algn="l" defTabSz="914400" rtl="0" eaLnBrk="1" fontAlgn="auto" latinLnBrk="0" hangingPunct="1">
              <a:lnSpc>
                <a:spcPct val="100000"/>
              </a:lnSpc>
              <a:spcBef>
                <a:spcPct val="10000"/>
              </a:spcBef>
              <a:spcAft>
                <a:spcPts val="0"/>
              </a:spcAft>
              <a:buClrTx/>
              <a:buSzTx/>
              <a:buFontTx/>
              <a:buChar char="•"/>
              <a:tabLst/>
              <a:defRPr/>
            </a:pPr>
            <a:r>
              <a:rPr kumimoji="0" lang="en-US" sz="1300" b="0" i="0" u="none" strike="noStrike" kern="0" cap="none" spc="0" normalizeH="0" baseline="0" noProof="0" dirty="0">
                <a:ln>
                  <a:noFill/>
                </a:ln>
                <a:solidFill>
                  <a:srgbClr val="000000"/>
                </a:solidFill>
                <a:effectLst/>
                <a:uLnTx/>
                <a:uFillTx/>
                <a:ea typeface="+mn-ea"/>
                <a:cs typeface="Arial" pitchFamily="34" charset="0"/>
              </a:rPr>
              <a:t>Significant execution effort (time, FTE)</a:t>
            </a:r>
          </a:p>
        </p:txBody>
      </p:sp>
      <p:cxnSp>
        <p:nvCxnSpPr>
          <p:cNvPr id="164" name="Straight Arrow Connector 163">
            <a:extLst>
              <a:ext uri="{FF2B5EF4-FFF2-40B4-BE49-F238E27FC236}">
                <a16:creationId xmlns:a16="http://schemas.microsoft.com/office/drawing/2014/main" id="{4A11AFB0-EF46-4A78-A4EE-995A05D3DBC8}"/>
              </a:ext>
              <a:ext uri="{C183D7F6-B498-43B3-948B-1728B52AA6E4}">
                <adec:decorative xmlns:adec="http://schemas.microsoft.com/office/drawing/2017/decorative" val="1"/>
              </a:ext>
            </a:extLst>
          </p:cNvPr>
          <p:cNvCxnSpPr>
            <a:stCxn id="119" idx="1"/>
          </p:cNvCxnSpPr>
          <p:nvPr/>
        </p:nvCxnSpPr>
        <p:spPr>
          <a:xfrm flipH="1">
            <a:off x="3197278" y="3548166"/>
            <a:ext cx="2724755" cy="2318"/>
          </a:xfrm>
          <a:prstGeom prst="straightConnector1">
            <a:avLst/>
          </a:prstGeom>
          <a:noFill/>
          <a:ln w="19050" cap="flat" cmpd="sng" algn="ctr">
            <a:solidFill>
              <a:schemeClr val="accent1"/>
            </a:solidFill>
            <a:prstDash val="solid"/>
            <a:tailEnd type="none"/>
          </a:ln>
          <a:effectLst/>
        </p:spPr>
      </p:cxnSp>
      <p:sp>
        <p:nvSpPr>
          <p:cNvPr id="119" name="TextBox 118">
            <a:extLst>
              <a:ext uri="{FF2B5EF4-FFF2-40B4-BE49-F238E27FC236}">
                <a16:creationId xmlns:a16="http://schemas.microsoft.com/office/drawing/2014/main" id="{41862BFE-019A-429C-904E-EA661082F12B}"/>
              </a:ext>
            </a:extLst>
          </p:cNvPr>
          <p:cNvSpPr txBox="1"/>
          <p:nvPr/>
        </p:nvSpPr>
        <p:spPr>
          <a:xfrm>
            <a:off x="5922033" y="3050149"/>
            <a:ext cx="5933417" cy="996033"/>
          </a:xfrm>
          <a:prstGeom prst="rect">
            <a:avLst/>
          </a:prstGeom>
          <a:noFill/>
          <a:ln w="19050">
            <a:solidFill>
              <a:schemeClr val="accent1"/>
            </a:solidFill>
          </a:ln>
        </p:spPr>
        <p:txBody>
          <a:bodyPr wrap="square" bIns="72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ea typeface="+mn-ea"/>
                <a:cs typeface="Arial" pitchFamily="34" charset="0"/>
              </a:rPr>
              <a:t>Process Improvement Projects</a:t>
            </a:r>
          </a:p>
          <a:p>
            <a:pPr marL="180975" marR="0" lvl="0" indent="-180975" algn="l" defTabSz="914400" rtl="0" eaLnBrk="1" fontAlgn="auto" latinLnBrk="0" hangingPunct="1">
              <a:lnSpc>
                <a:spcPct val="100000"/>
              </a:lnSpc>
              <a:spcBef>
                <a:spcPct val="10000"/>
              </a:spcBef>
              <a:spcAft>
                <a:spcPts val="0"/>
              </a:spcAft>
              <a:buClrTx/>
              <a:buSzTx/>
              <a:buFontTx/>
              <a:buChar char="•"/>
              <a:tabLst/>
              <a:defRPr/>
            </a:pPr>
            <a:r>
              <a:rPr kumimoji="0" lang="en-US" sz="1300" b="0" i="0" u="none" strike="noStrike" kern="1200" cap="none" spc="0" normalizeH="0" baseline="0" noProof="0" dirty="0">
                <a:ln>
                  <a:noFill/>
                </a:ln>
                <a:solidFill>
                  <a:srgbClr val="000000"/>
                </a:solidFill>
                <a:effectLst/>
                <a:uLnTx/>
                <a:uFillTx/>
                <a:ea typeface="+mn-ea"/>
                <a:cs typeface="Arial" pitchFamily="34" charset="0"/>
              </a:rPr>
              <a:t>Complex projects where root cause of problem is not fully understood</a:t>
            </a:r>
          </a:p>
          <a:p>
            <a:pPr marL="180975" marR="0" lvl="0" indent="-180975" algn="l" defTabSz="914400" rtl="0" eaLnBrk="1" fontAlgn="auto" latinLnBrk="0" hangingPunct="1">
              <a:lnSpc>
                <a:spcPct val="100000"/>
              </a:lnSpc>
              <a:spcBef>
                <a:spcPct val="10000"/>
              </a:spcBef>
              <a:spcAft>
                <a:spcPts val="0"/>
              </a:spcAft>
              <a:buClrTx/>
              <a:buSzTx/>
              <a:buFontTx/>
              <a:buChar char="•"/>
              <a:tabLst/>
              <a:defRPr/>
            </a:pPr>
            <a:r>
              <a:rPr kumimoji="0" lang="en-US" sz="1300" b="0" i="0" u="none" strike="noStrike" kern="1200" cap="none" spc="0" normalizeH="0" baseline="0" noProof="0" dirty="0">
                <a:ln>
                  <a:noFill/>
                </a:ln>
                <a:solidFill>
                  <a:srgbClr val="000000"/>
                </a:solidFill>
                <a:effectLst/>
                <a:uLnTx/>
                <a:uFillTx/>
                <a:ea typeface="+mn-ea"/>
                <a:cs typeface="Arial" pitchFamily="34" charset="0"/>
              </a:rPr>
              <a:t>Thorough measurement and analysis prior to implementation</a:t>
            </a:r>
          </a:p>
          <a:p>
            <a:pPr marL="180975" marR="0" lvl="0" indent="-180975" algn="l" defTabSz="914400" rtl="0" eaLnBrk="1" fontAlgn="auto" latinLnBrk="0" hangingPunct="1">
              <a:lnSpc>
                <a:spcPct val="100000"/>
              </a:lnSpc>
              <a:spcBef>
                <a:spcPct val="10000"/>
              </a:spcBef>
              <a:spcAft>
                <a:spcPts val="0"/>
              </a:spcAft>
              <a:buClrTx/>
              <a:buSzTx/>
              <a:buFontTx/>
              <a:buChar char="•"/>
              <a:tabLst/>
              <a:defRPr/>
            </a:pPr>
            <a:r>
              <a:rPr kumimoji="0" lang="en-US" sz="1300" b="0" i="0" u="none" strike="noStrike" kern="1200" cap="none" spc="0" normalizeH="0" baseline="0" noProof="0" dirty="0">
                <a:ln>
                  <a:noFill/>
                </a:ln>
                <a:solidFill>
                  <a:srgbClr val="000000"/>
                </a:solidFill>
                <a:effectLst/>
                <a:uLnTx/>
                <a:uFillTx/>
                <a:ea typeface="+mn-ea"/>
                <a:cs typeface="Arial" pitchFamily="34" charset="0"/>
              </a:rPr>
              <a:t>Typical 1 to 4 month project </a:t>
            </a:r>
            <a:r>
              <a:rPr kumimoji="0" lang="en-US" sz="1400" b="0" i="0" u="none" strike="noStrike" kern="1200" cap="none" spc="0" normalizeH="0" baseline="0" noProof="0" dirty="0">
                <a:ln>
                  <a:noFill/>
                </a:ln>
                <a:solidFill>
                  <a:srgbClr val="000000"/>
                </a:solidFill>
                <a:effectLst/>
                <a:uLnTx/>
                <a:uFillTx/>
                <a:ea typeface="+mn-ea"/>
                <a:cs typeface="Arial" pitchFamily="34" charset="0"/>
              </a:rPr>
              <a:t>duration</a:t>
            </a:r>
          </a:p>
        </p:txBody>
      </p:sp>
      <p:cxnSp>
        <p:nvCxnSpPr>
          <p:cNvPr id="163" name="Straight Arrow Connector 162">
            <a:extLst>
              <a:ext uri="{FF2B5EF4-FFF2-40B4-BE49-F238E27FC236}">
                <a16:creationId xmlns:a16="http://schemas.microsoft.com/office/drawing/2014/main" id="{BE2F2C06-78A4-4263-B873-9280F8944273}"/>
              </a:ext>
              <a:ext uri="{C183D7F6-B498-43B3-948B-1728B52AA6E4}">
                <adec:decorative xmlns:adec="http://schemas.microsoft.com/office/drawing/2017/decorative" val="1"/>
              </a:ext>
            </a:extLst>
          </p:cNvPr>
          <p:cNvCxnSpPr>
            <a:stCxn id="117" idx="1"/>
          </p:cNvCxnSpPr>
          <p:nvPr/>
        </p:nvCxnSpPr>
        <p:spPr>
          <a:xfrm flipH="1">
            <a:off x="1452654" y="4713618"/>
            <a:ext cx="4469379" cy="41262"/>
          </a:xfrm>
          <a:prstGeom prst="straightConnector1">
            <a:avLst/>
          </a:prstGeom>
          <a:noFill/>
          <a:ln w="19050" cap="flat" cmpd="sng" algn="ctr">
            <a:solidFill>
              <a:srgbClr val="DCAFFF"/>
            </a:solidFill>
            <a:prstDash val="solid"/>
            <a:tailEnd type="none"/>
          </a:ln>
          <a:effectLst/>
        </p:spPr>
      </p:cxnSp>
      <p:sp>
        <p:nvSpPr>
          <p:cNvPr id="117" name="TextBox 116">
            <a:extLst>
              <a:ext uri="{FF2B5EF4-FFF2-40B4-BE49-F238E27FC236}">
                <a16:creationId xmlns:a16="http://schemas.microsoft.com/office/drawing/2014/main" id="{ACA349FB-E5A3-4D6F-9B19-1A7AFCD50FD5}"/>
              </a:ext>
            </a:extLst>
          </p:cNvPr>
          <p:cNvSpPr txBox="1"/>
          <p:nvPr/>
        </p:nvSpPr>
        <p:spPr>
          <a:xfrm>
            <a:off x="5922033" y="4334095"/>
            <a:ext cx="5933417" cy="759045"/>
          </a:xfrm>
          <a:prstGeom prst="rect">
            <a:avLst/>
          </a:prstGeom>
          <a:noFill/>
          <a:ln w="19050">
            <a:solidFill>
              <a:srgbClr val="DCAFFF"/>
            </a:solidFill>
          </a:ln>
        </p:spPr>
        <p:txBody>
          <a:bodyPr wrap="square" bIns="72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ea typeface="+mn-ea"/>
                <a:cs typeface="Arial" pitchFamily="34" charset="0"/>
              </a:rPr>
              <a:t>Just Do It</a:t>
            </a:r>
          </a:p>
          <a:p>
            <a:pPr marL="180975" marR="0" lvl="0" indent="-180975" algn="l" defTabSz="914400" rtl="0" eaLnBrk="1" fontAlgn="auto" latinLnBrk="0" hangingPunct="1">
              <a:lnSpc>
                <a:spcPct val="100000"/>
              </a:lnSpc>
              <a:spcBef>
                <a:spcPct val="1000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ea typeface="+mn-ea"/>
                <a:cs typeface="Arial" pitchFamily="34" charset="0"/>
              </a:rPr>
              <a:t>Low complexity projects where </a:t>
            </a:r>
            <a:r>
              <a:rPr kumimoji="0" lang="en-US" sz="1300" b="0" i="0" u="sng" strike="noStrike" kern="1200" cap="none" spc="0" normalizeH="0" baseline="0" noProof="0" dirty="0">
                <a:ln>
                  <a:noFill/>
                </a:ln>
                <a:solidFill>
                  <a:srgbClr val="000000"/>
                </a:solidFill>
                <a:effectLst/>
                <a:uLnTx/>
                <a:uFillTx/>
                <a:ea typeface="+mn-ea"/>
                <a:cs typeface="Arial" pitchFamily="34" charset="0"/>
              </a:rPr>
              <a:t>known solution</a:t>
            </a:r>
            <a:r>
              <a:rPr kumimoji="0" lang="en-US" sz="1300" b="0" i="0" u="none" strike="noStrike" kern="1200" cap="none" spc="0" normalizeH="0" baseline="0" noProof="0" dirty="0">
                <a:ln>
                  <a:noFill/>
                </a:ln>
                <a:solidFill>
                  <a:srgbClr val="000000"/>
                </a:solidFill>
                <a:effectLst/>
                <a:uLnTx/>
                <a:uFillTx/>
                <a:ea typeface="+mn-ea"/>
                <a:cs typeface="Arial" pitchFamily="34" charset="0"/>
              </a:rPr>
              <a:t>(s) can be applied</a:t>
            </a:r>
          </a:p>
          <a:p>
            <a:pPr marL="180975" marR="0" lvl="0" indent="-180975" algn="l" defTabSz="914400" rtl="0" eaLnBrk="1" fontAlgn="auto" latinLnBrk="0" hangingPunct="1">
              <a:lnSpc>
                <a:spcPct val="100000"/>
              </a:lnSpc>
              <a:spcBef>
                <a:spcPct val="1000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ea typeface="+mn-ea"/>
                <a:cs typeface="Arial" pitchFamily="34" charset="0"/>
              </a:rPr>
              <a:t>High bias for action and implementation</a:t>
            </a:r>
          </a:p>
        </p:txBody>
      </p:sp>
      <p:cxnSp>
        <p:nvCxnSpPr>
          <p:cNvPr id="173" name="Connector: Elbow 172">
            <a:extLst>
              <a:ext uri="{FF2B5EF4-FFF2-40B4-BE49-F238E27FC236}">
                <a16:creationId xmlns:a16="http://schemas.microsoft.com/office/drawing/2014/main" id="{FBA39221-915E-4312-902E-DF11680AF68E}"/>
              </a:ext>
              <a:ext uri="{C183D7F6-B498-43B3-948B-1728B52AA6E4}">
                <adec:decorative xmlns:adec="http://schemas.microsoft.com/office/drawing/2017/decorative" val="1"/>
              </a:ext>
            </a:extLst>
          </p:cNvPr>
          <p:cNvCxnSpPr>
            <a:stCxn id="120" idx="1"/>
          </p:cNvCxnSpPr>
          <p:nvPr/>
        </p:nvCxnSpPr>
        <p:spPr>
          <a:xfrm rot="10800000">
            <a:off x="4918091" y="4959275"/>
            <a:ext cx="1003943" cy="801300"/>
          </a:xfrm>
          <a:prstGeom prst="bentConnector3">
            <a:avLst/>
          </a:prstGeom>
          <a:noFill/>
          <a:ln w="19050" cap="flat" cmpd="sng" algn="ctr">
            <a:solidFill>
              <a:schemeClr val="accent1">
                <a:lumMod val="40000"/>
                <a:lumOff val="60000"/>
              </a:schemeClr>
            </a:solidFill>
            <a:prstDash val="solid"/>
            <a:tailEnd type="triangle"/>
          </a:ln>
          <a:effectLst/>
        </p:spPr>
      </p:cxnSp>
      <p:sp>
        <p:nvSpPr>
          <p:cNvPr id="120" name="TextBox 119">
            <a:extLst>
              <a:ext uri="{FF2B5EF4-FFF2-40B4-BE49-F238E27FC236}">
                <a16:creationId xmlns:a16="http://schemas.microsoft.com/office/drawing/2014/main" id="{1CCAE691-9F8F-4BDC-B8AE-8B7ABA93B585}"/>
              </a:ext>
            </a:extLst>
          </p:cNvPr>
          <p:cNvSpPr txBox="1"/>
          <p:nvPr/>
        </p:nvSpPr>
        <p:spPr>
          <a:xfrm>
            <a:off x="5922033" y="5381052"/>
            <a:ext cx="5933417" cy="759045"/>
          </a:xfrm>
          <a:prstGeom prst="rect">
            <a:avLst/>
          </a:prstGeom>
          <a:noFill/>
          <a:ln w="19050">
            <a:solidFill>
              <a:schemeClr val="accent1">
                <a:lumMod val="40000"/>
                <a:lumOff val="60000"/>
              </a:schemeClr>
            </a:solidFill>
          </a:ln>
        </p:spPr>
        <p:txBody>
          <a:bodyPr wrap="square" bIns="72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ea typeface="+mn-ea"/>
                <a:cs typeface="Arial" pitchFamily="34" charset="0"/>
              </a:rPr>
              <a:t>Not Worth It</a:t>
            </a:r>
          </a:p>
          <a:p>
            <a:pPr marL="180975" marR="0" lvl="0" indent="-180975" algn="l" defTabSz="914400" rtl="0" eaLnBrk="1" fontAlgn="auto" latinLnBrk="0" hangingPunct="1">
              <a:lnSpc>
                <a:spcPct val="100000"/>
              </a:lnSpc>
              <a:spcBef>
                <a:spcPct val="1000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ea typeface="+mn-ea"/>
                <a:cs typeface="Arial" pitchFamily="34" charset="0"/>
              </a:rPr>
              <a:t>Benefits don’t outweigh costs</a:t>
            </a:r>
          </a:p>
          <a:p>
            <a:pPr marL="180975" marR="0" lvl="0" indent="-180975" algn="l" defTabSz="914400" rtl="0" eaLnBrk="1" fontAlgn="auto" latinLnBrk="0" hangingPunct="1">
              <a:lnSpc>
                <a:spcPct val="100000"/>
              </a:lnSpc>
              <a:spcBef>
                <a:spcPct val="1000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ea typeface="+mn-ea"/>
                <a:cs typeface="Arial" pitchFamily="34" charset="0"/>
              </a:rPr>
              <a:t>Limited opportunity for improvement</a:t>
            </a:r>
          </a:p>
        </p:txBody>
      </p:sp>
      <p:sp>
        <p:nvSpPr>
          <p:cNvPr id="3" name="Footer Placeholder 2">
            <a:extLst>
              <a:ext uri="{FF2B5EF4-FFF2-40B4-BE49-F238E27FC236}">
                <a16:creationId xmlns:a16="http://schemas.microsoft.com/office/drawing/2014/main" id="{7B7AB1E4-D91D-4E59-9055-1F48DBF4114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D8B6DCEF-158B-422D-904C-EC2E8A853561}"/>
              </a:ext>
            </a:extLst>
          </p:cNvPr>
          <p:cNvSpPr>
            <a:spLocks noGrp="1"/>
          </p:cNvSpPr>
          <p:nvPr>
            <p:ph type="sldNum" sz="quarter" idx="10"/>
          </p:nvPr>
        </p:nvSpPr>
        <p:spPr/>
        <p:txBody>
          <a:bodyPr/>
          <a:lstStyle/>
          <a:p>
            <a:fld id="{1F90F471-3972-4120-B8B3-0237DE626C35}" type="slidenum">
              <a:rPr lang="en-US" smtClean="0"/>
              <a:pPr/>
              <a:t>394</a:t>
            </a:fld>
            <a:endParaRPr lang="en-US" dirty="0"/>
          </a:p>
        </p:txBody>
      </p:sp>
    </p:spTree>
    <p:extLst>
      <p:ext uri="{BB962C8B-B14F-4D97-AF65-F5344CB8AC3E}">
        <p14:creationId xmlns:p14="http://schemas.microsoft.com/office/powerpoint/2010/main" val="2944600183"/>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ZA" dirty="0"/>
              <a:t>High-Level Business Case</a:t>
            </a:r>
            <a:endParaRPr lang="en-US" dirty="0"/>
          </a:p>
        </p:txBody>
      </p:sp>
      <p:sp>
        <p:nvSpPr>
          <p:cNvPr id="9" name="Rectangle 8">
            <a:extLst>
              <a:ext uri="{FF2B5EF4-FFF2-40B4-BE49-F238E27FC236}">
                <a16:creationId xmlns:a16="http://schemas.microsoft.com/office/drawing/2014/main" id="{DC2A6AC5-8B2A-4E5E-8B2F-5A79C7CB3592}"/>
              </a:ext>
            </a:extLst>
          </p:cNvPr>
          <p:cNvSpPr/>
          <p:nvPr/>
        </p:nvSpPr>
        <p:spPr>
          <a:xfrm>
            <a:off x="1504282" y="1114195"/>
            <a:ext cx="4427622" cy="338554"/>
          </a:xfrm>
          <a:prstGeom prst="rect">
            <a:avLst/>
          </a:prstGeom>
        </p:spPr>
        <p:txBody>
          <a:bodyPr wrap="none">
            <a:spAutoFit/>
          </a:bodyPr>
          <a:lstStyle/>
          <a:p>
            <a:r>
              <a:rPr lang="en-US" sz="1600" b="1" dirty="0">
                <a:latin typeface="+mj-lt"/>
              </a:rPr>
              <a:t>Preliminary High-Level Business Case</a:t>
            </a:r>
            <a:endParaRPr lang="en-US" sz="1600" b="1" baseline="30000" dirty="0">
              <a:latin typeface="+mj-lt"/>
            </a:endParaRPr>
          </a:p>
        </p:txBody>
      </p:sp>
      <p:graphicFrame>
        <p:nvGraphicFramePr>
          <p:cNvPr id="7" name="Table 6">
            <a:extLst>
              <a:ext uri="{FF2B5EF4-FFF2-40B4-BE49-F238E27FC236}">
                <a16:creationId xmlns:a16="http://schemas.microsoft.com/office/drawing/2014/main" id="{2A9906E7-CDCD-4A64-A82C-C9F6D3BA99F0}"/>
              </a:ext>
            </a:extLst>
          </p:cNvPr>
          <p:cNvGraphicFramePr>
            <a:graphicFrameLocks noGrp="1"/>
          </p:cNvGraphicFramePr>
          <p:nvPr>
            <p:extLst>
              <p:ext uri="{D42A27DB-BD31-4B8C-83A1-F6EECF244321}">
                <p14:modId xmlns:p14="http://schemas.microsoft.com/office/powerpoint/2010/main" val="3188036656"/>
              </p:ext>
            </p:extLst>
          </p:nvPr>
        </p:nvGraphicFramePr>
        <p:xfrm>
          <a:off x="1883132" y="1595007"/>
          <a:ext cx="8289926" cy="4264149"/>
        </p:xfrm>
        <a:graphic>
          <a:graphicData uri="http://schemas.openxmlformats.org/drawingml/2006/table">
            <a:tbl>
              <a:tblPr firstRow="1" bandRow="1"/>
              <a:tblGrid>
                <a:gridCol w="4144963">
                  <a:extLst>
                    <a:ext uri="{9D8B030D-6E8A-4147-A177-3AD203B41FA5}">
                      <a16:colId xmlns:a16="http://schemas.microsoft.com/office/drawing/2014/main" val="20000"/>
                    </a:ext>
                  </a:extLst>
                </a:gridCol>
                <a:gridCol w="4144963">
                  <a:extLst>
                    <a:ext uri="{9D8B030D-6E8A-4147-A177-3AD203B41FA5}">
                      <a16:colId xmlns:a16="http://schemas.microsoft.com/office/drawing/2014/main" val="20001"/>
                    </a:ext>
                  </a:extLst>
                </a:gridCol>
              </a:tblGrid>
              <a:tr h="426414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chemeClr val="tx1"/>
                        </a:buClr>
                        <a:buSzTx/>
                        <a:buFontTx/>
                        <a:buNone/>
                        <a:tabLst/>
                        <a:defRPr/>
                      </a:pPr>
                      <a:r>
                        <a:rPr kumimoji="0" lang="en-US" sz="1200" b="1" i="0" u="none" strike="noStrike" kern="0" cap="none" spc="0" normalizeH="0" baseline="0" noProof="0" dirty="0">
                          <a:ln>
                            <a:noFill/>
                          </a:ln>
                          <a:solidFill>
                            <a:schemeClr val="tx1"/>
                          </a:solidFill>
                          <a:effectLst/>
                          <a:uLnTx/>
                          <a:uFillTx/>
                          <a:latin typeface="+mn-lt"/>
                          <a:ea typeface="+mn-ea"/>
                          <a:cs typeface="+mn-cs"/>
                        </a:rPr>
                        <a:t>Target Benefits ($)</a:t>
                      </a:r>
                    </a:p>
                    <a:p>
                      <a:pPr marL="176213" marR="0" lvl="0" indent="-176213" algn="l" defTabSz="914400" rtl="0" eaLnBrk="1" fontAlgn="base" latinLnBrk="0" hangingPunct="1">
                        <a:lnSpc>
                          <a:spcPct val="100000"/>
                        </a:lnSpc>
                        <a:spcBef>
                          <a:spcPct val="20000"/>
                        </a:spcBef>
                        <a:spcAft>
                          <a:spcPct val="0"/>
                        </a:spcAft>
                        <a:buClr>
                          <a:schemeClr val="tx1"/>
                        </a:buClr>
                        <a:buSzTx/>
                        <a:buFontTx/>
                        <a:buChar char="•"/>
                        <a:tabLst/>
                        <a:defRPr/>
                      </a:pPr>
                      <a:r>
                        <a:rPr kumimoji="0" lang="en-US" sz="1200" b="0" i="0" u="none" strike="noStrike" kern="0" cap="none" spc="0" normalizeH="0" baseline="0" noProof="0" dirty="0">
                          <a:ln>
                            <a:noFill/>
                          </a:ln>
                          <a:solidFill>
                            <a:schemeClr val="tx1"/>
                          </a:solidFill>
                          <a:effectLst/>
                          <a:uLnTx/>
                          <a:uFillTx/>
                          <a:latin typeface="+mn-lt"/>
                          <a:ea typeface="+mn-ea"/>
                          <a:cs typeface="+mn-cs"/>
                        </a:rPr>
                        <a:t>Body copy</a:t>
                      </a:r>
                    </a:p>
                  </a:txBody>
                  <a:tcPr>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6350" cap="flat" cmpd="sng" algn="ctr">
                      <a:noFill/>
                      <a:prstDash val="dash"/>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6213" marR="0" lvl="0" indent="-176213" algn="l" defTabSz="914400" rtl="0" eaLnBrk="1" fontAlgn="base" latinLnBrk="0" hangingPunct="1">
                        <a:lnSpc>
                          <a:spcPct val="100000"/>
                        </a:lnSpc>
                        <a:spcBef>
                          <a:spcPct val="20000"/>
                        </a:spcBef>
                        <a:spcAft>
                          <a:spcPct val="0"/>
                        </a:spcAft>
                        <a:buClr>
                          <a:schemeClr val="tx1"/>
                        </a:buClr>
                        <a:buSzTx/>
                        <a:buFontTx/>
                        <a:buNone/>
                        <a:tabLst/>
                        <a:defRPr/>
                      </a:pPr>
                      <a:r>
                        <a:rPr kumimoji="0" lang="en-US" sz="1200" b="1" i="0" u="none" strike="noStrike" kern="0" cap="none" spc="0" normalizeH="0" baseline="0" noProof="0" dirty="0">
                          <a:ln>
                            <a:noFill/>
                          </a:ln>
                          <a:solidFill>
                            <a:schemeClr val="tx1"/>
                          </a:solidFill>
                          <a:effectLst/>
                          <a:uLnTx/>
                          <a:uFillTx/>
                          <a:latin typeface="+mn-lt"/>
                          <a:ea typeface="+mn-ea"/>
                          <a:cs typeface="+mn-cs"/>
                        </a:rPr>
                        <a:t>Investment Required ($) -- Optional</a:t>
                      </a:r>
                    </a:p>
                    <a:p>
                      <a:pPr marL="176213" marR="0" lvl="0" indent="-176213" algn="l" defTabSz="914400" rtl="0" eaLnBrk="1" fontAlgn="base" latinLnBrk="0" hangingPunct="1">
                        <a:lnSpc>
                          <a:spcPct val="100000"/>
                        </a:lnSpc>
                        <a:spcBef>
                          <a:spcPct val="20000"/>
                        </a:spcBef>
                        <a:spcAft>
                          <a:spcPct val="0"/>
                        </a:spcAft>
                        <a:buClr>
                          <a:schemeClr val="tx1"/>
                        </a:buClr>
                        <a:buSzTx/>
                        <a:buFontTx/>
                        <a:buChar char="•"/>
                        <a:tabLst/>
                        <a:defRPr/>
                      </a:pPr>
                      <a:r>
                        <a:rPr kumimoji="0" lang="en-US" sz="1200" b="0" i="0" u="none" strike="noStrike" kern="0" cap="none" spc="0" normalizeH="0" baseline="0" noProof="0" dirty="0">
                          <a:ln>
                            <a:noFill/>
                          </a:ln>
                          <a:solidFill>
                            <a:schemeClr val="tx1"/>
                          </a:solidFill>
                          <a:effectLst/>
                          <a:uLnTx/>
                          <a:uFillTx/>
                          <a:latin typeface="+mn-lt"/>
                          <a:ea typeface="+mn-ea"/>
                          <a:cs typeface="+mn-cs"/>
                        </a:rPr>
                        <a:t>Body copy</a:t>
                      </a:r>
                    </a:p>
                  </a:txBody>
                  <a:tcPr>
                    <a:lnL w="12700" cap="flat" cmpd="sng" algn="ctr">
                      <a:solidFill>
                        <a:srgbClr val="96968C">
                          <a:lumMod val="60000"/>
                          <a:lumOff val="40000"/>
                        </a:srgbClr>
                      </a:solidFill>
                      <a:prstDash val="sysDot"/>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3" name="Footer Placeholder 2">
            <a:extLst>
              <a:ext uri="{FF2B5EF4-FFF2-40B4-BE49-F238E27FC236}">
                <a16:creationId xmlns:a16="http://schemas.microsoft.com/office/drawing/2014/main" id="{4A07F4BF-954A-4B8B-9AD7-67DA2398DC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8" name="Slide Number Placeholder 7">
            <a:extLst>
              <a:ext uri="{FF2B5EF4-FFF2-40B4-BE49-F238E27FC236}">
                <a16:creationId xmlns:a16="http://schemas.microsoft.com/office/drawing/2014/main" id="{52ECE5C3-69A1-4836-838E-918E888CFAB5}"/>
              </a:ext>
            </a:extLst>
          </p:cNvPr>
          <p:cNvSpPr>
            <a:spLocks noGrp="1"/>
          </p:cNvSpPr>
          <p:nvPr>
            <p:ph type="sldNum" sz="quarter" idx="10"/>
          </p:nvPr>
        </p:nvSpPr>
        <p:spPr/>
        <p:txBody>
          <a:bodyPr/>
          <a:lstStyle/>
          <a:p>
            <a:fld id="{1F90F471-3972-4120-B8B3-0237DE626C35}" type="slidenum">
              <a:rPr lang="en-US" smtClean="0"/>
              <a:pPr/>
              <a:t>395</a:t>
            </a:fld>
            <a:endParaRPr lang="en-US" dirty="0"/>
          </a:p>
        </p:txBody>
      </p:sp>
    </p:spTree>
    <p:extLst>
      <p:ext uri="{BB962C8B-B14F-4D97-AF65-F5344CB8AC3E}">
        <p14:creationId xmlns:p14="http://schemas.microsoft.com/office/powerpoint/2010/main" val="3911678296"/>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de-DE" dirty="0"/>
              <a:t>Open Items</a:t>
            </a:r>
            <a:endParaRPr lang="en-US" dirty="0"/>
          </a:p>
        </p:txBody>
      </p:sp>
      <p:graphicFrame>
        <p:nvGraphicFramePr>
          <p:cNvPr id="9" name="Group 6" descr="Open items table description">
            <a:extLst>
              <a:ext uri="{FF2B5EF4-FFF2-40B4-BE49-F238E27FC236}">
                <a16:creationId xmlns:a16="http://schemas.microsoft.com/office/drawing/2014/main" id="{218801A7-5F43-46AA-8077-8335DDF7BDA7}"/>
              </a:ext>
            </a:extLst>
          </p:cNvPr>
          <p:cNvGraphicFramePr>
            <a:graphicFrameLocks noGrp="1"/>
          </p:cNvGraphicFramePr>
          <p:nvPr>
            <p:extLst>
              <p:ext uri="{D42A27DB-BD31-4B8C-83A1-F6EECF244321}">
                <p14:modId xmlns:p14="http://schemas.microsoft.com/office/powerpoint/2010/main" val="1311201498"/>
              </p:ext>
            </p:extLst>
          </p:nvPr>
        </p:nvGraphicFramePr>
        <p:xfrm>
          <a:off x="2063751" y="1718210"/>
          <a:ext cx="8208963" cy="3384552"/>
        </p:xfrm>
        <a:graphic>
          <a:graphicData uri="http://schemas.openxmlformats.org/drawingml/2006/table">
            <a:tbl>
              <a:tblPr firstRow="1"/>
              <a:tblGrid>
                <a:gridCol w="627063">
                  <a:extLst>
                    <a:ext uri="{9D8B030D-6E8A-4147-A177-3AD203B41FA5}">
                      <a16:colId xmlns:a16="http://schemas.microsoft.com/office/drawing/2014/main" val="20000"/>
                    </a:ext>
                  </a:extLst>
                </a:gridCol>
                <a:gridCol w="6645275">
                  <a:extLst>
                    <a:ext uri="{9D8B030D-6E8A-4147-A177-3AD203B41FA5}">
                      <a16:colId xmlns:a16="http://schemas.microsoft.com/office/drawing/2014/main" val="20001"/>
                    </a:ext>
                  </a:extLst>
                </a:gridCol>
                <a:gridCol w="936625">
                  <a:extLst>
                    <a:ext uri="{9D8B030D-6E8A-4147-A177-3AD203B41FA5}">
                      <a16:colId xmlns:a16="http://schemas.microsoft.com/office/drawing/2014/main" val="20002"/>
                    </a:ext>
                  </a:extLst>
                </a:gridCol>
              </a:tblGrid>
              <a:tr h="42386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2563" marR="0" lvl="0" indent="-182563"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800" b="1" i="0" u="none" strike="noStrike" cap="none" normalizeH="0" baseline="0" dirty="0">
                          <a:ln>
                            <a:noFill/>
                          </a:ln>
                          <a:solidFill>
                            <a:schemeClr val="tx1"/>
                          </a:solidFill>
                          <a:effectLst/>
                          <a:latin typeface="+mj-lt"/>
                        </a:rPr>
                        <a:t>1</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2563" marR="0" lvl="0" indent="-182563" algn="l" defTabSz="914400" rtl="0" eaLnBrk="1" fontAlgn="base" latinLnBrk="0" hangingPunct="1">
                        <a:lnSpc>
                          <a:spcPct val="100000"/>
                        </a:lnSpc>
                        <a:spcBef>
                          <a:spcPct val="0"/>
                        </a:spcBef>
                        <a:spcAft>
                          <a:spcPct val="0"/>
                        </a:spcAft>
                        <a:buClr>
                          <a:schemeClr val="tx2"/>
                        </a:buClr>
                        <a:buSzTx/>
                        <a:buFont typeface="Wingdings" pitchFamily="2" charset="2"/>
                        <a:buChar char="§"/>
                        <a:tabLst/>
                      </a:pPr>
                      <a:r>
                        <a:rPr kumimoji="0" lang="de-DE" sz="1600" b="1" i="0" u="none" strike="noStrike" cap="none" normalizeH="0" baseline="0" dirty="0">
                          <a:ln>
                            <a:noFill/>
                          </a:ln>
                          <a:solidFill>
                            <a:srgbClr val="000000"/>
                          </a:solidFill>
                          <a:effectLst/>
                          <a:latin typeface="+mj-lt"/>
                        </a:rPr>
                        <a:t>xx</a:t>
                      </a:r>
                      <a:endParaRPr kumimoji="0" lang="de-DE" sz="1600" b="1" i="0" u="none" strike="noStrike" cap="none" normalizeH="0" baseline="0" dirty="0">
                        <a:ln>
                          <a:noFill/>
                        </a:ln>
                        <a:solidFill>
                          <a:schemeClr val="tx1"/>
                        </a:solidFill>
                        <a:effectLst/>
                        <a:latin typeface="+mj-lt"/>
                      </a:endParaRP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800" b="1" i="0" u="none" strike="noStrike" cap="none" normalizeH="0" baseline="0" dirty="0">
                          <a:ln>
                            <a:noFill/>
                          </a:ln>
                          <a:solidFill>
                            <a:schemeClr val="bg1"/>
                          </a:solidFill>
                          <a:effectLst/>
                          <a:latin typeface="+mn-lt"/>
                          <a:sym typeface="Wingdings" pitchFamily="2" charset="2"/>
                        </a:rPr>
                        <a:t></a:t>
                      </a:r>
                      <a:endParaRPr kumimoji="0" lang="de-DE" sz="1800" b="0" i="0" u="none" strike="noStrike" cap="none" normalizeH="0" baseline="0" dirty="0">
                        <a:ln>
                          <a:noFill/>
                        </a:ln>
                        <a:solidFill>
                          <a:schemeClr val="bg1"/>
                        </a:solidFill>
                        <a:effectLst/>
                        <a:latin typeface="+mn-lt"/>
                      </a:endParaRP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extLst>
                  <a:ext uri="{0D108BD9-81ED-4DB2-BD59-A6C34878D82A}">
                    <a16:rowId xmlns:a16="http://schemas.microsoft.com/office/drawing/2014/main" val="10000"/>
                  </a:ext>
                </a:extLst>
              </a:tr>
              <a:tr h="4222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2563" marR="0" lvl="0" indent="-182563"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800" b="1" i="0" u="none" strike="noStrike" cap="none" normalizeH="0" baseline="0" dirty="0">
                          <a:ln>
                            <a:noFill/>
                          </a:ln>
                          <a:solidFill>
                            <a:schemeClr val="tx1"/>
                          </a:solidFill>
                          <a:effectLst/>
                          <a:latin typeface="+mj-lt"/>
                        </a:rPr>
                        <a:t>2</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2563" marR="0" lvl="0" indent="-182563" algn="l" defTabSz="914400" rtl="0" eaLnBrk="1" fontAlgn="base" latinLnBrk="0" hangingPunct="1">
                        <a:lnSpc>
                          <a:spcPct val="100000"/>
                        </a:lnSpc>
                        <a:spcBef>
                          <a:spcPct val="0"/>
                        </a:spcBef>
                        <a:spcAft>
                          <a:spcPct val="0"/>
                        </a:spcAft>
                        <a:buClr>
                          <a:schemeClr val="tx2"/>
                        </a:buClr>
                        <a:buSzTx/>
                        <a:buFont typeface="Wingdings" pitchFamily="2" charset="2"/>
                        <a:buChar char="§"/>
                        <a:tabLst/>
                      </a:pPr>
                      <a:r>
                        <a:rPr kumimoji="0" lang="de-DE" sz="1600" b="1" i="0" u="none" strike="noStrike" cap="none" normalizeH="0" baseline="0" dirty="0">
                          <a:ln>
                            <a:noFill/>
                          </a:ln>
                          <a:solidFill>
                            <a:srgbClr val="000000"/>
                          </a:solidFill>
                          <a:effectLst/>
                          <a:latin typeface="+mj-lt"/>
                        </a:rPr>
                        <a:t>xx</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
                          <a:srgbClr val="A100FF"/>
                        </a:buClr>
                        <a:buSzTx/>
                        <a:buFont typeface="Wingdings" pitchFamily="2" charset="2"/>
                        <a:buNone/>
                        <a:tabLst/>
                        <a:defRPr/>
                      </a:pPr>
                      <a:r>
                        <a:rPr kumimoji="0" lang="de-DE" sz="1800" b="1" i="0" u="none" strike="noStrike" kern="1200" cap="none" spc="0" normalizeH="0" baseline="0" noProof="0" dirty="0">
                          <a:ln>
                            <a:noFill/>
                          </a:ln>
                          <a:solidFill>
                            <a:srgbClr val="FFFFFF"/>
                          </a:solidFill>
                          <a:effectLst/>
                          <a:uLnTx/>
                          <a:uFillTx/>
                          <a:latin typeface="+mn-lt"/>
                          <a:ea typeface="+mn-ea"/>
                          <a:cs typeface="+mn-cs"/>
                          <a:sym typeface="Wingdings" pitchFamily="2" charset="2"/>
                        </a:rPr>
                        <a:t></a:t>
                      </a:r>
                      <a:endParaRPr kumimoji="0" lang="de-DE" sz="1800" b="0" i="0" u="none" strike="noStrike" kern="1200" cap="none" spc="0" normalizeH="0" baseline="0" noProof="0" dirty="0">
                        <a:ln>
                          <a:noFill/>
                        </a:ln>
                        <a:solidFill>
                          <a:srgbClr val="FFFFFF"/>
                        </a:solidFill>
                        <a:effectLst/>
                        <a:uLnTx/>
                        <a:uFillTx/>
                        <a:latin typeface="+mn-lt"/>
                        <a:ea typeface="+mn-ea"/>
                        <a:cs typeface="+mn-cs"/>
                      </a:endParaRP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extLst>
                  <a:ext uri="{0D108BD9-81ED-4DB2-BD59-A6C34878D82A}">
                    <a16:rowId xmlns:a16="http://schemas.microsoft.com/office/drawing/2014/main" val="10001"/>
                  </a:ext>
                </a:extLst>
              </a:tr>
              <a:tr h="42386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2563" marR="0" lvl="0" indent="-182563"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800" b="1" i="0" u="none" strike="noStrike" cap="none" normalizeH="0" baseline="0" dirty="0">
                          <a:ln>
                            <a:noFill/>
                          </a:ln>
                          <a:solidFill>
                            <a:schemeClr val="tx1"/>
                          </a:solidFill>
                          <a:effectLst/>
                          <a:latin typeface="+mj-lt"/>
                        </a:rPr>
                        <a:t>3</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2563" marR="0" lvl="0" indent="-182563" algn="l" defTabSz="914400" rtl="0" eaLnBrk="1" fontAlgn="base" latinLnBrk="0" hangingPunct="1">
                        <a:lnSpc>
                          <a:spcPct val="100000"/>
                        </a:lnSpc>
                        <a:spcBef>
                          <a:spcPct val="0"/>
                        </a:spcBef>
                        <a:spcAft>
                          <a:spcPct val="0"/>
                        </a:spcAft>
                        <a:buClr>
                          <a:schemeClr val="tx2"/>
                        </a:buClr>
                        <a:buSzTx/>
                        <a:buFont typeface="Wingdings" pitchFamily="2" charset="2"/>
                        <a:buChar char="§"/>
                        <a:tabLst/>
                      </a:pPr>
                      <a:r>
                        <a:rPr kumimoji="0" lang="de-DE" sz="1600" b="1" i="0" u="none" strike="noStrike" cap="none" normalizeH="0" baseline="0" dirty="0">
                          <a:ln>
                            <a:noFill/>
                          </a:ln>
                          <a:solidFill>
                            <a:srgbClr val="000000"/>
                          </a:solidFill>
                          <a:effectLst/>
                          <a:latin typeface="+mj-lt"/>
                        </a:rPr>
                        <a:t>xx</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
                          <a:srgbClr val="A100FF"/>
                        </a:buClr>
                        <a:buSzTx/>
                        <a:buFont typeface="Wingdings" pitchFamily="2" charset="2"/>
                        <a:buNone/>
                        <a:tabLst/>
                        <a:defRPr/>
                      </a:pPr>
                      <a:r>
                        <a:rPr kumimoji="0" lang="de-DE" sz="1800" b="1" i="0" u="none" strike="noStrike" kern="1200" cap="none" spc="0" normalizeH="0" baseline="0" noProof="0" dirty="0">
                          <a:ln>
                            <a:noFill/>
                          </a:ln>
                          <a:solidFill>
                            <a:srgbClr val="FFFFFF"/>
                          </a:solidFill>
                          <a:effectLst/>
                          <a:uLnTx/>
                          <a:uFillTx/>
                          <a:latin typeface="+mn-lt"/>
                          <a:ea typeface="+mn-ea"/>
                          <a:cs typeface="+mn-cs"/>
                          <a:sym typeface="Wingdings" pitchFamily="2" charset="2"/>
                        </a:rPr>
                        <a:t></a:t>
                      </a:r>
                      <a:endParaRPr kumimoji="0" lang="de-DE" sz="1800" b="0" i="0" u="none" strike="noStrike" kern="1200" cap="none" spc="0" normalizeH="0" baseline="0" noProof="0" dirty="0">
                        <a:ln>
                          <a:noFill/>
                        </a:ln>
                        <a:solidFill>
                          <a:srgbClr val="FFFFFF"/>
                        </a:solidFill>
                        <a:effectLst/>
                        <a:uLnTx/>
                        <a:uFillTx/>
                        <a:latin typeface="+mn-lt"/>
                        <a:ea typeface="+mn-ea"/>
                        <a:cs typeface="+mn-cs"/>
                      </a:endParaRP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extLst>
                  <a:ext uri="{0D108BD9-81ED-4DB2-BD59-A6C34878D82A}">
                    <a16:rowId xmlns:a16="http://schemas.microsoft.com/office/drawing/2014/main" val="10002"/>
                  </a:ext>
                </a:extLst>
              </a:tr>
              <a:tr h="4222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2563" marR="0" lvl="0" indent="-182563"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800" b="1" i="0" u="none" strike="noStrike" cap="none" normalizeH="0" baseline="0" dirty="0">
                          <a:ln>
                            <a:noFill/>
                          </a:ln>
                          <a:solidFill>
                            <a:schemeClr val="tx1"/>
                          </a:solidFill>
                          <a:effectLst/>
                          <a:latin typeface="+mj-lt"/>
                        </a:rPr>
                        <a:t>4</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2563" marR="0" lvl="0" indent="-182563" algn="l" defTabSz="914400" rtl="0" eaLnBrk="1" fontAlgn="base" latinLnBrk="0" hangingPunct="1">
                        <a:lnSpc>
                          <a:spcPct val="100000"/>
                        </a:lnSpc>
                        <a:spcBef>
                          <a:spcPct val="0"/>
                        </a:spcBef>
                        <a:spcAft>
                          <a:spcPct val="0"/>
                        </a:spcAft>
                        <a:buClr>
                          <a:schemeClr val="tx2"/>
                        </a:buClr>
                        <a:buSzTx/>
                        <a:buFont typeface="Wingdings" pitchFamily="2" charset="2"/>
                        <a:buChar char="§"/>
                        <a:tabLst/>
                      </a:pPr>
                      <a:r>
                        <a:rPr kumimoji="0" lang="de-DE" sz="1600" b="1" i="0" u="none" strike="noStrike" cap="none" normalizeH="0" baseline="0" dirty="0">
                          <a:ln>
                            <a:noFill/>
                          </a:ln>
                          <a:solidFill>
                            <a:srgbClr val="000000"/>
                          </a:solidFill>
                          <a:effectLst/>
                          <a:latin typeface="+mj-lt"/>
                        </a:rPr>
                        <a:t>xx</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800" b="1" i="0" u="none" strike="noStrike" cap="none" normalizeH="0" baseline="0" dirty="0">
                          <a:ln>
                            <a:noFill/>
                          </a:ln>
                          <a:solidFill>
                            <a:schemeClr val="bg1"/>
                          </a:solidFill>
                          <a:effectLst/>
                          <a:latin typeface="+mn-lt"/>
                          <a:sym typeface="Wingdings" pitchFamily="2" charset="2"/>
                        </a:rPr>
                        <a:t>?</a:t>
                      </a:r>
                      <a:endParaRPr kumimoji="0" lang="de-DE" sz="1800" b="0" i="0" u="none" strike="noStrike" cap="none" normalizeH="0" baseline="0" dirty="0">
                        <a:ln>
                          <a:noFill/>
                        </a:ln>
                        <a:solidFill>
                          <a:schemeClr val="bg1"/>
                        </a:solidFill>
                        <a:effectLst/>
                        <a:latin typeface="+mn-lt"/>
                      </a:endParaRP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A100FF"/>
                    </a:solidFill>
                  </a:tcPr>
                </a:tc>
                <a:extLst>
                  <a:ext uri="{0D108BD9-81ED-4DB2-BD59-A6C34878D82A}">
                    <a16:rowId xmlns:a16="http://schemas.microsoft.com/office/drawing/2014/main" val="10003"/>
                  </a:ext>
                </a:extLst>
              </a:tr>
              <a:tr h="42386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2563" marR="0" lvl="0" indent="-182563"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800" b="1" i="0" u="none" strike="noStrike" cap="none" normalizeH="0" baseline="0" dirty="0">
                          <a:ln>
                            <a:noFill/>
                          </a:ln>
                          <a:solidFill>
                            <a:schemeClr val="tx1"/>
                          </a:solidFill>
                          <a:effectLst/>
                          <a:latin typeface="+mj-lt"/>
                        </a:rPr>
                        <a:t>5</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2563" marR="0" lvl="0" indent="-182563" algn="l" defTabSz="914400" rtl="0" eaLnBrk="1" fontAlgn="base" latinLnBrk="0" hangingPunct="1">
                        <a:lnSpc>
                          <a:spcPct val="100000"/>
                        </a:lnSpc>
                        <a:spcBef>
                          <a:spcPct val="0"/>
                        </a:spcBef>
                        <a:spcAft>
                          <a:spcPct val="0"/>
                        </a:spcAft>
                        <a:buClr>
                          <a:schemeClr val="tx2"/>
                        </a:buClr>
                        <a:buSzTx/>
                        <a:buFont typeface="Wingdings" pitchFamily="2" charset="2"/>
                        <a:buChar char="§"/>
                        <a:tabLst/>
                      </a:pPr>
                      <a:r>
                        <a:rPr kumimoji="0" lang="de-DE" sz="1600" b="1" i="0" u="none" strike="noStrike" cap="none" normalizeH="0" baseline="0" dirty="0">
                          <a:ln>
                            <a:noFill/>
                          </a:ln>
                          <a:solidFill>
                            <a:srgbClr val="000000"/>
                          </a:solidFill>
                          <a:effectLst/>
                          <a:latin typeface="+mj-lt"/>
                        </a:rPr>
                        <a:t>xx</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
                          <a:srgbClr val="A100FF"/>
                        </a:buClr>
                        <a:buSzTx/>
                        <a:buFont typeface="Wingdings" pitchFamily="2" charset="2"/>
                        <a:buNone/>
                        <a:tabLst/>
                        <a:defRPr/>
                      </a:pPr>
                      <a:r>
                        <a:rPr kumimoji="0" lang="de-DE" sz="1800" b="1" i="0" u="none" strike="noStrike" kern="1200" cap="none" spc="0" normalizeH="0" baseline="0" noProof="0" dirty="0">
                          <a:ln>
                            <a:noFill/>
                          </a:ln>
                          <a:solidFill>
                            <a:srgbClr val="FFFFFF"/>
                          </a:solidFill>
                          <a:effectLst/>
                          <a:uLnTx/>
                          <a:uFillTx/>
                          <a:latin typeface="+mn-lt"/>
                          <a:ea typeface="+mn-ea"/>
                          <a:cs typeface="+mn-cs"/>
                          <a:sym typeface="Wingdings" pitchFamily="2" charset="2"/>
                        </a:rPr>
                        <a:t></a:t>
                      </a:r>
                      <a:endParaRPr kumimoji="0" lang="de-DE" sz="1800" b="0" i="0" u="none" strike="noStrike" kern="1200" cap="none" spc="0" normalizeH="0" baseline="0" noProof="0" dirty="0">
                        <a:ln>
                          <a:noFill/>
                        </a:ln>
                        <a:solidFill>
                          <a:srgbClr val="FFFFFF"/>
                        </a:solidFill>
                        <a:effectLst/>
                        <a:uLnTx/>
                        <a:uFillTx/>
                        <a:latin typeface="+mn-lt"/>
                        <a:ea typeface="+mn-ea"/>
                        <a:cs typeface="+mn-cs"/>
                      </a:endParaRP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extLst>
                  <a:ext uri="{0D108BD9-81ED-4DB2-BD59-A6C34878D82A}">
                    <a16:rowId xmlns:a16="http://schemas.microsoft.com/office/drawing/2014/main" val="10004"/>
                  </a:ext>
                </a:extLst>
              </a:tr>
              <a:tr h="4222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2563" marR="0" lvl="0" indent="-182563"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800" b="1" i="0" u="none" strike="noStrike" cap="none" normalizeH="0" baseline="0" dirty="0">
                          <a:ln>
                            <a:noFill/>
                          </a:ln>
                          <a:solidFill>
                            <a:schemeClr val="tx1"/>
                          </a:solidFill>
                          <a:effectLst/>
                          <a:latin typeface="+mj-lt"/>
                        </a:rPr>
                        <a:t>6</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2563" marR="0" lvl="0" indent="-182563" algn="l" defTabSz="914400" rtl="0" eaLnBrk="1" fontAlgn="base" latinLnBrk="0" hangingPunct="1">
                        <a:lnSpc>
                          <a:spcPct val="100000"/>
                        </a:lnSpc>
                        <a:spcBef>
                          <a:spcPct val="0"/>
                        </a:spcBef>
                        <a:spcAft>
                          <a:spcPct val="0"/>
                        </a:spcAft>
                        <a:buClr>
                          <a:schemeClr val="tx2"/>
                        </a:buClr>
                        <a:buSzTx/>
                        <a:buFont typeface="Wingdings" pitchFamily="2" charset="2"/>
                        <a:buChar char="§"/>
                        <a:tabLst/>
                      </a:pPr>
                      <a:r>
                        <a:rPr kumimoji="0" lang="de-DE" sz="1600" b="1" i="0" u="none" strike="noStrike" cap="none" normalizeH="0" baseline="0" dirty="0">
                          <a:ln>
                            <a:noFill/>
                          </a:ln>
                          <a:solidFill>
                            <a:srgbClr val="000000"/>
                          </a:solidFill>
                          <a:effectLst/>
                          <a:latin typeface="+mj-lt"/>
                        </a:rPr>
                        <a:t>xx</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
                          <a:srgbClr val="A100FF"/>
                        </a:buClr>
                        <a:buSzTx/>
                        <a:buFont typeface="Wingdings" pitchFamily="2" charset="2"/>
                        <a:buNone/>
                        <a:tabLst/>
                        <a:defRPr/>
                      </a:pPr>
                      <a:r>
                        <a:rPr kumimoji="0" lang="de-DE" sz="1800" b="1" i="0" u="none" strike="noStrike" kern="1200" cap="none" spc="0" normalizeH="0" baseline="0" noProof="0" dirty="0">
                          <a:ln>
                            <a:noFill/>
                          </a:ln>
                          <a:solidFill>
                            <a:srgbClr val="FFFFFF"/>
                          </a:solidFill>
                          <a:effectLst/>
                          <a:uLnTx/>
                          <a:uFillTx/>
                          <a:latin typeface="+mn-lt"/>
                          <a:ea typeface="+mn-ea"/>
                          <a:cs typeface="+mn-cs"/>
                          <a:sym typeface="Wingdings" pitchFamily="2" charset="2"/>
                        </a:rPr>
                        <a:t></a:t>
                      </a:r>
                      <a:endParaRPr kumimoji="0" lang="de-DE" sz="1800" b="0" i="0" u="none" strike="noStrike" kern="1200" cap="none" spc="0" normalizeH="0" baseline="0" noProof="0" dirty="0">
                        <a:ln>
                          <a:noFill/>
                        </a:ln>
                        <a:solidFill>
                          <a:srgbClr val="FFFFFF"/>
                        </a:solidFill>
                        <a:effectLst/>
                        <a:uLnTx/>
                        <a:uFillTx/>
                        <a:latin typeface="+mn-lt"/>
                        <a:ea typeface="+mn-ea"/>
                        <a:cs typeface="+mn-cs"/>
                      </a:endParaRP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extLst>
                  <a:ext uri="{0D108BD9-81ED-4DB2-BD59-A6C34878D82A}">
                    <a16:rowId xmlns:a16="http://schemas.microsoft.com/office/drawing/2014/main" val="10005"/>
                  </a:ext>
                </a:extLst>
              </a:tr>
              <a:tr h="42386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2563" marR="0" lvl="0" indent="-182563"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800" b="1" i="0" u="none" strike="noStrike" cap="none" normalizeH="0" baseline="0" dirty="0">
                          <a:ln>
                            <a:noFill/>
                          </a:ln>
                          <a:solidFill>
                            <a:schemeClr val="tx1"/>
                          </a:solidFill>
                          <a:effectLst/>
                          <a:latin typeface="+mj-lt"/>
                        </a:rPr>
                        <a:t>7</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2563" marR="0" lvl="0" indent="-182563" algn="l" defTabSz="914400" rtl="0" eaLnBrk="1" fontAlgn="base" latinLnBrk="0" hangingPunct="1">
                        <a:lnSpc>
                          <a:spcPct val="100000"/>
                        </a:lnSpc>
                        <a:spcBef>
                          <a:spcPct val="0"/>
                        </a:spcBef>
                        <a:spcAft>
                          <a:spcPct val="0"/>
                        </a:spcAft>
                        <a:buClr>
                          <a:schemeClr val="tx2"/>
                        </a:buClr>
                        <a:buSzTx/>
                        <a:buFont typeface="Wingdings" pitchFamily="2" charset="2"/>
                        <a:buChar char="§"/>
                        <a:tabLst/>
                      </a:pPr>
                      <a:r>
                        <a:rPr kumimoji="0" lang="de-DE" sz="1600" b="1" i="0" u="none" strike="noStrike" cap="none" normalizeH="0" baseline="0" dirty="0">
                          <a:ln>
                            <a:noFill/>
                          </a:ln>
                          <a:solidFill>
                            <a:srgbClr val="000000"/>
                          </a:solidFill>
                          <a:effectLst/>
                          <a:latin typeface="+mj-lt"/>
                        </a:rPr>
                        <a:t>xx</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
                          <a:srgbClr val="A100FF"/>
                        </a:buClr>
                        <a:buSzTx/>
                        <a:buFont typeface="Wingdings" pitchFamily="2" charset="2"/>
                        <a:buNone/>
                        <a:tabLst/>
                        <a:defRPr/>
                      </a:pPr>
                      <a:r>
                        <a:rPr kumimoji="0" lang="de-DE" sz="1800" b="1" i="0" u="none" strike="noStrike" kern="1200" cap="none" spc="0" normalizeH="0" baseline="0" noProof="0" dirty="0">
                          <a:ln>
                            <a:noFill/>
                          </a:ln>
                          <a:solidFill>
                            <a:srgbClr val="FFFFFF"/>
                          </a:solidFill>
                          <a:effectLst/>
                          <a:uLnTx/>
                          <a:uFillTx/>
                          <a:latin typeface="+mn-lt"/>
                          <a:ea typeface="+mn-ea"/>
                          <a:cs typeface="+mn-cs"/>
                          <a:sym typeface="Wingdings" pitchFamily="2" charset="2"/>
                        </a:rPr>
                        <a:t></a:t>
                      </a:r>
                      <a:endParaRPr kumimoji="0" lang="de-DE" sz="1800" b="0" i="0" u="none" strike="noStrike" kern="1200" cap="none" spc="0" normalizeH="0" baseline="0" noProof="0" dirty="0">
                        <a:ln>
                          <a:noFill/>
                        </a:ln>
                        <a:solidFill>
                          <a:srgbClr val="FFFFFF"/>
                        </a:solidFill>
                        <a:effectLst/>
                        <a:uLnTx/>
                        <a:uFillTx/>
                        <a:latin typeface="+mn-lt"/>
                        <a:ea typeface="+mn-ea"/>
                        <a:cs typeface="+mn-cs"/>
                      </a:endParaRP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extLst>
                  <a:ext uri="{0D108BD9-81ED-4DB2-BD59-A6C34878D82A}">
                    <a16:rowId xmlns:a16="http://schemas.microsoft.com/office/drawing/2014/main" val="10006"/>
                  </a:ext>
                </a:extLst>
              </a:tr>
              <a:tr h="4222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2563" marR="0" lvl="0" indent="-182563"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800" b="1" i="0" u="none" strike="noStrike" cap="none" normalizeH="0" baseline="0" dirty="0">
                          <a:ln>
                            <a:noFill/>
                          </a:ln>
                          <a:solidFill>
                            <a:schemeClr val="tx1"/>
                          </a:solidFill>
                          <a:effectLst/>
                          <a:latin typeface="+mj-lt"/>
                        </a:rPr>
                        <a:t>8</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2563" marR="0" lvl="0" indent="-182563" algn="l" defTabSz="914400" rtl="0" eaLnBrk="1" fontAlgn="base" latinLnBrk="0" hangingPunct="1">
                        <a:lnSpc>
                          <a:spcPct val="100000"/>
                        </a:lnSpc>
                        <a:spcBef>
                          <a:spcPct val="0"/>
                        </a:spcBef>
                        <a:spcAft>
                          <a:spcPct val="0"/>
                        </a:spcAft>
                        <a:buClr>
                          <a:schemeClr val="tx2"/>
                        </a:buClr>
                        <a:buSzTx/>
                        <a:buFont typeface="Wingdings" pitchFamily="2" charset="2"/>
                        <a:buChar char="§"/>
                        <a:tabLst/>
                      </a:pPr>
                      <a:r>
                        <a:rPr kumimoji="0" lang="de-DE" sz="1600" b="1" i="0" u="none" strike="noStrike" cap="none" normalizeH="0" baseline="0" dirty="0">
                          <a:ln>
                            <a:noFill/>
                          </a:ln>
                          <a:solidFill>
                            <a:srgbClr val="000000"/>
                          </a:solidFill>
                          <a:effectLst/>
                          <a:latin typeface="+mj-lt"/>
                        </a:rPr>
                        <a:t>xx</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de-DE" sz="1800" b="1" i="0" u="none" strike="noStrike" kern="1200" cap="none" normalizeH="0" baseline="0" dirty="0">
                          <a:ln>
                            <a:noFill/>
                          </a:ln>
                          <a:solidFill>
                            <a:schemeClr val="bg1"/>
                          </a:solidFill>
                          <a:effectLst/>
                          <a:latin typeface="+mn-lt"/>
                          <a:ea typeface="+mn-ea"/>
                          <a:cs typeface="+mn-cs"/>
                          <a:sym typeface="Wingdings" pitchFamily="2" charset="2"/>
                        </a:rPr>
                        <a:t>?</a:t>
                      </a:r>
                      <a:endParaRPr kumimoji="0" lang="de-DE" sz="1800" b="0" i="0" u="none" strike="noStrike" kern="1200" cap="none" normalizeH="0" baseline="0" dirty="0">
                        <a:ln>
                          <a:noFill/>
                        </a:ln>
                        <a:solidFill>
                          <a:schemeClr val="bg1"/>
                        </a:solidFill>
                        <a:effectLst/>
                        <a:latin typeface="+mn-lt"/>
                        <a:ea typeface="+mn-ea"/>
                        <a:cs typeface="+mn-cs"/>
                      </a:endParaRP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A100FF"/>
                    </a:solidFill>
                  </a:tcPr>
                </a:tc>
                <a:extLst>
                  <a:ext uri="{0D108BD9-81ED-4DB2-BD59-A6C34878D82A}">
                    <a16:rowId xmlns:a16="http://schemas.microsoft.com/office/drawing/2014/main" val="10007"/>
                  </a:ext>
                </a:extLst>
              </a:tr>
            </a:tbl>
          </a:graphicData>
        </a:graphic>
      </p:graphicFrame>
      <p:sp>
        <p:nvSpPr>
          <p:cNvPr id="6" name="Text Box 3">
            <a:extLst>
              <a:ext uri="{FF2B5EF4-FFF2-40B4-BE49-F238E27FC236}">
                <a16:creationId xmlns:a16="http://schemas.microsoft.com/office/drawing/2014/main" id="{DE866DD4-9955-45F1-A581-6842951AA6EA}"/>
              </a:ext>
            </a:extLst>
          </p:cNvPr>
          <p:cNvSpPr txBox="1">
            <a:spLocks noChangeArrowheads="1"/>
          </p:cNvSpPr>
          <p:nvPr/>
        </p:nvSpPr>
        <p:spPr bwMode="auto">
          <a:xfrm>
            <a:off x="2046818" y="5675314"/>
            <a:ext cx="3439583" cy="598487"/>
          </a:xfrm>
          <a:prstGeom prst="rect">
            <a:avLst/>
          </a:prstGeom>
          <a:solidFill>
            <a:srgbClr val="FFFFFF"/>
          </a:solidFill>
          <a:ln w="9525">
            <a:noFill/>
            <a:miter lim="800000"/>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tab pos="982663" algn="l"/>
              </a:tabLst>
              <a:defRPr/>
            </a:pPr>
            <a:r>
              <a:rPr kumimoji="0" lang="de-DE" sz="1200" b="0" i="0" u="none" strike="noStrike" kern="0" cap="none" spc="0" normalizeH="0" baseline="0" noProof="0" dirty="0">
                <a:ln>
                  <a:noFill/>
                </a:ln>
                <a:solidFill>
                  <a:srgbClr val="000000"/>
                </a:solidFill>
                <a:effectLst/>
                <a:uLnTx/>
                <a:uFillTx/>
                <a:ea typeface="+mn-ea"/>
                <a:cs typeface="+mn-cs"/>
              </a:rPr>
              <a:t>Status:	= Decision needed</a:t>
            </a:r>
          </a:p>
          <a:p>
            <a:pPr marL="0" marR="0" lvl="0" indent="0" algn="l" defTabSz="914400" rtl="0" eaLnBrk="1" fontAlgn="auto" latinLnBrk="0" hangingPunct="1">
              <a:lnSpc>
                <a:spcPct val="100000"/>
              </a:lnSpc>
              <a:spcBef>
                <a:spcPct val="0"/>
              </a:spcBef>
              <a:spcAft>
                <a:spcPts val="0"/>
              </a:spcAft>
              <a:buClrTx/>
              <a:buSzTx/>
              <a:buFontTx/>
              <a:buNone/>
              <a:tabLst>
                <a:tab pos="1516063" algn="l"/>
              </a:tabLst>
              <a:defRPr/>
            </a:pPr>
            <a:endParaRPr kumimoji="0" lang="de-DE" sz="1200" b="0" i="0" u="none" strike="noStrike" kern="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tab pos="982663" algn="l"/>
              </a:tabLst>
              <a:defRPr/>
            </a:pPr>
            <a:r>
              <a:rPr kumimoji="0" lang="de-DE" sz="1200" b="0" i="0" u="none" strike="noStrike" kern="0" cap="none" spc="0" normalizeH="0" baseline="0" noProof="0" dirty="0">
                <a:ln>
                  <a:noFill/>
                </a:ln>
                <a:solidFill>
                  <a:srgbClr val="000000"/>
                </a:solidFill>
                <a:effectLst/>
                <a:uLnTx/>
                <a:uFillTx/>
                <a:ea typeface="+mn-ea"/>
                <a:cs typeface="+mn-cs"/>
              </a:rPr>
              <a:t>	= Item closed</a:t>
            </a:r>
          </a:p>
        </p:txBody>
      </p:sp>
      <p:sp>
        <p:nvSpPr>
          <p:cNvPr id="7" name="Rectangle 4">
            <a:extLst>
              <a:ext uri="{FF2B5EF4-FFF2-40B4-BE49-F238E27FC236}">
                <a16:creationId xmlns:a16="http://schemas.microsoft.com/office/drawing/2014/main" id="{F6887DD5-FAF6-4543-8824-4B9FAFE8E136}"/>
              </a:ext>
            </a:extLst>
          </p:cNvPr>
          <p:cNvSpPr>
            <a:spLocks noChangeArrowheads="1"/>
          </p:cNvSpPr>
          <p:nvPr/>
        </p:nvSpPr>
        <p:spPr bwMode="auto">
          <a:xfrm>
            <a:off x="2814120" y="5700577"/>
            <a:ext cx="219075" cy="278089"/>
          </a:xfrm>
          <a:prstGeom prst="rect">
            <a:avLst/>
          </a:prstGeom>
          <a:solidFill>
            <a:srgbClr val="A100FF"/>
          </a:solidFill>
          <a:ln w="12700">
            <a:noFill/>
            <a:miter lim="800000"/>
            <a:headEnd/>
            <a:tailEnd/>
          </a:ln>
        </p:spPr>
        <p:txBody>
          <a:bodyPr lIns="46800" tIns="46800" rIns="46800" anchor="ctr">
            <a:spAutoFit/>
          </a:bodyPr>
          <a:lstStyle/>
          <a:p>
            <a:pPr marL="190500" marR="0" lvl="0" indent="-190500" algn="l" defTabSz="914400" rtl="0" eaLnBrk="0" fontAlgn="auto" latinLnBrk="0" hangingPunct="0">
              <a:lnSpc>
                <a:spcPct val="100000"/>
              </a:lnSpc>
              <a:spcBef>
                <a:spcPct val="100000"/>
              </a:spcBef>
              <a:spcAft>
                <a:spcPts val="0"/>
              </a:spcAft>
              <a:buClr>
                <a:srgbClr val="7500C0"/>
              </a:buClr>
              <a:buSzTx/>
              <a:buFontTx/>
              <a:buNone/>
              <a:tabLst/>
              <a:defRPr/>
            </a:pPr>
            <a:r>
              <a:rPr kumimoji="0" lang="de-DE" sz="1200" b="1" i="0" u="none" strike="noStrike" kern="0" cap="none" spc="0" normalizeH="0" baseline="0" noProof="0" dirty="0">
                <a:ln>
                  <a:noFill/>
                </a:ln>
                <a:solidFill>
                  <a:srgbClr val="FFFFFF"/>
                </a:solidFill>
                <a:effectLst/>
                <a:uLnTx/>
                <a:uFillTx/>
                <a:latin typeface="Arial"/>
                <a:ea typeface="+mn-ea"/>
                <a:cs typeface="+mn-cs"/>
                <a:sym typeface="Monotype Sorts" pitchFamily="2" charset="2"/>
              </a:rPr>
              <a:t>?</a:t>
            </a:r>
          </a:p>
        </p:txBody>
      </p:sp>
      <p:sp>
        <p:nvSpPr>
          <p:cNvPr id="8" name="Rectangle 5">
            <a:extLst>
              <a:ext uri="{FF2B5EF4-FFF2-40B4-BE49-F238E27FC236}">
                <a16:creationId xmlns:a16="http://schemas.microsoft.com/office/drawing/2014/main" id="{CACBBAD2-4055-4FBD-A5AE-F2B9D2862FCF}"/>
              </a:ext>
            </a:extLst>
          </p:cNvPr>
          <p:cNvSpPr>
            <a:spLocks noChangeArrowheads="1"/>
          </p:cNvSpPr>
          <p:nvPr/>
        </p:nvSpPr>
        <p:spPr bwMode="auto">
          <a:xfrm>
            <a:off x="2814120" y="5987914"/>
            <a:ext cx="219075" cy="278089"/>
          </a:xfrm>
          <a:prstGeom prst="rect">
            <a:avLst/>
          </a:prstGeom>
          <a:solidFill>
            <a:schemeClr val="bg1">
              <a:lumMod val="65000"/>
            </a:schemeClr>
          </a:solidFill>
          <a:ln w="12700">
            <a:noFill/>
            <a:miter lim="800000"/>
            <a:headEnd/>
            <a:tailEnd/>
          </a:ln>
        </p:spPr>
        <p:txBody>
          <a:bodyPr lIns="46800" tIns="46800" rIns="46800" anchor="ctr">
            <a:spAutoFit/>
          </a:bodyPr>
          <a:lstStyle/>
          <a:p>
            <a:pPr marL="190500" marR="0" lvl="0" indent="-190500" algn="l" defTabSz="914400" rtl="0" eaLnBrk="0" fontAlgn="auto" latinLnBrk="0" hangingPunct="0">
              <a:lnSpc>
                <a:spcPct val="100000"/>
              </a:lnSpc>
              <a:spcBef>
                <a:spcPct val="100000"/>
              </a:spcBef>
              <a:spcAft>
                <a:spcPts val="0"/>
              </a:spcAft>
              <a:buClr>
                <a:srgbClr val="7500C0"/>
              </a:buClr>
              <a:buSzTx/>
              <a:buFontTx/>
              <a:buNone/>
              <a:tabLst/>
              <a:defRPr/>
            </a:pPr>
            <a:r>
              <a:rPr kumimoji="0" lang="de-DE" sz="1200" b="1" i="0" u="none" strike="noStrike" kern="0" cap="none" spc="0" normalizeH="0" baseline="0" noProof="0" dirty="0">
                <a:ln>
                  <a:noFill/>
                </a:ln>
                <a:solidFill>
                  <a:srgbClr val="FFFFFF"/>
                </a:solidFill>
                <a:effectLst/>
                <a:uLnTx/>
                <a:uFillTx/>
                <a:latin typeface="Arial"/>
                <a:ea typeface="+mn-ea"/>
                <a:cs typeface="+mn-cs"/>
                <a:sym typeface="Wingdings" pitchFamily="2" charset="2"/>
              </a:rPr>
              <a:t></a:t>
            </a:r>
          </a:p>
        </p:txBody>
      </p:sp>
      <p:sp>
        <p:nvSpPr>
          <p:cNvPr id="3" name="Footer Placeholder 2">
            <a:extLst>
              <a:ext uri="{FF2B5EF4-FFF2-40B4-BE49-F238E27FC236}">
                <a16:creationId xmlns:a16="http://schemas.microsoft.com/office/drawing/2014/main" id="{3B30FB44-EFE2-4445-9994-3BFF4537F84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1" name="Slide Number Placeholder 10">
            <a:extLst>
              <a:ext uri="{FF2B5EF4-FFF2-40B4-BE49-F238E27FC236}">
                <a16:creationId xmlns:a16="http://schemas.microsoft.com/office/drawing/2014/main" id="{B2D946EA-1D63-4095-98B7-7A3BE46BF0E0}"/>
              </a:ext>
            </a:extLst>
          </p:cNvPr>
          <p:cNvSpPr>
            <a:spLocks noGrp="1"/>
          </p:cNvSpPr>
          <p:nvPr>
            <p:ph type="sldNum" sz="quarter" idx="10"/>
          </p:nvPr>
        </p:nvSpPr>
        <p:spPr/>
        <p:txBody>
          <a:bodyPr/>
          <a:lstStyle/>
          <a:p>
            <a:fld id="{1F90F471-3972-4120-B8B3-0237DE626C35}" type="slidenum">
              <a:rPr lang="en-US" smtClean="0"/>
              <a:pPr/>
              <a:t>396</a:t>
            </a:fld>
            <a:endParaRPr lang="en-US" dirty="0"/>
          </a:p>
        </p:txBody>
      </p:sp>
    </p:spTree>
    <p:extLst>
      <p:ext uri="{BB962C8B-B14F-4D97-AF65-F5344CB8AC3E}">
        <p14:creationId xmlns:p14="http://schemas.microsoft.com/office/powerpoint/2010/main" val="4205296099"/>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descr="Add text and order accordingly">
            <a:hlinkClick r:id="rId2" action="ppaction://hlinksldjump" tooltip="Return to Index"/>
            <a:extLst>
              <a:ext uri="{FF2B5EF4-FFF2-40B4-BE49-F238E27FC236}">
                <a16:creationId xmlns:a16="http://schemas.microsoft.com/office/drawing/2014/main" id="{0DE3F75C-CF1B-47BB-A358-FF97AF03C85D}"/>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itle 6">
            <a:extLst>
              <a:ext uri="{FF2B5EF4-FFF2-40B4-BE49-F238E27FC236}">
                <a16:creationId xmlns:a16="http://schemas.microsoft.com/office/drawing/2014/main" id="{F7C4124B-B9D5-4FB9-AA46-3262DD2B40DB}"/>
              </a:ext>
            </a:extLst>
          </p:cNvPr>
          <p:cNvSpPr>
            <a:spLocks noGrp="1"/>
          </p:cNvSpPr>
          <p:nvPr>
            <p:ph type="title"/>
          </p:nvPr>
        </p:nvSpPr>
        <p:spPr/>
        <p:txBody>
          <a:bodyPr/>
          <a:lstStyle/>
          <a:p>
            <a:r>
              <a:rPr lang="en-US" dirty="0"/>
              <a:t>Teams and People</a:t>
            </a:r>
          </a:p>
        </p:txBody>
      </p:sp>
      <p:sp>
        <p:nvSpPr>
          <p:cNvPr id="9" name="Text Placeholder 8">
            <a:extLst>
              <a:ext uri="{FF2B5EF4-FFF2-40B4-BE49-F238E27FC236}">
                <a16:creationId xmlns:a16="http://schemas.microsoft.com/office/drawing/2014/main" id="{1265ADBE-657A-4DC7-A6A6-2F0E697C4723}"/>
              </a:ext>
            </a:extLst>
          </p:cNvPr>
          <p:cNvSpPr>
            <a:spLocks noGrp="1"/>
          </p:cNvSpPr>
          <p:nvPr>
            <p:ph type="body" sz="quarter" idx="15"/>
          </p:nvPr>
        </p:nvSpPr>
        <p:spPr/>
        <p:txBody>
          <a:bodyPr/>
          <a:lstStyle/>
          <a:p>
            <a:r>
              <a:rPr lang="en-US" dirty="0"/>
              <a:t>Part of </a:t>
            </a:r>
            <a:br>
              <a:rPr lang="en-US" dirty="0"/>
            </a:br>
            <a:r>
              <a:rPr lang="en-US" dirty="0">
                <a:hlinkClick r:id="rId3" action="ppaction://hlinksldjump">
                  <a:extLst>
                    <a:ext uri="{A12FA001-AC4F-418D-AE19-62706E023703}">
                      <ahyp:hlinkClr xmlns:ahyp="http://schemas.microsoft.com/office/drawing/2018/hyperlinkcolor" val="tx"/>
                    </a:ext>
                  </a:extLst>
                </a:hlinkClick>
              </a:rPr>
              <a:t>Standard Visuals</a:t>
            </a:r>
            <a:endParaRPr lang="en-US" dirty="0"/>
          </a:p>
        </p:txBody>
      </p:sp>
      <p:sp>
        <p:nvSpPr>
          <p:cNvPr id="5" name="Footer Placeholder 4">
            <a:extLst>
              <a:ext uri="{FF2B5EF4-FFF2-40B4-BE49-F238E27FC236}">
                <a16:creationId xmlns:a16="http://schemas.microsoft.com/office/drawing/2014/main" id="{9DC78945-A645-4563-BCA9-927812C9C4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BEE2891-AE3F-4D8A-B562-5662B242B3DF}"/>
              </a:ext>
            </a:extLst>
          </p:cNvPr>
          <p:cNvSpPr>
            <a:spLocks noGrp="1"/>
          </p:cNvSpPr>
          <p:nvPr>
            <p:ph type="sldNum" sz="quarter" idx="17"/>
          </p:nvPr>
        </p:nvSpPr>
        <p:spPr/>
        <p:txBody>
          <a:bodyPr/>
          <a:lstStyle/>
          <a:p>
            <a:fld id="{1F90F471-3972-4120-B8B3-0237DE626C35}" type="slidenum">
              <a:rPr lang="en-US" smtClean="0"/>
              <a:pPr/>
              <a:t>397</a:t>
            </a:fld>
            <a:endParaRPr lang="en-US" dirty="0"/>
          </a:p>
        </p:txBody>
      </p:sp>
    </p:spTree>
    <p:extLst>
      <p:ext uri="{BB962C8B-B14F-4D97-AF65-F5344CB8AC3E}">
        <p14:creationId xmlns:p14="http://schemas.microsoft.com/office/powerpoint/2010/main" val="478331004"/>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ZA" dirty="0"/>
              <a:t>Team Structure</a:t>
            </a:r>
            <a:endParaRPr lang="en-US" dirty="0"/>
          </a:p>
        </p:txBody>
      </p:sp>
      <p:sp>
        <p:nvSpPr>
          <p:cNvPr id="57" name="Rectangle 19">
            <a:extLst>
              <a:ext uri="{FF2B5EF4-FFF2-40B4-BE49-F238E27FC236}">
                <a16:creationId xmlns:a16="http://schemas.microsoft.com/office/drawing/2014/main" id="{02CF5096-5B4A-4036-A5F4-69EDE2944B79}"/>
              </a:ext>
            </a:extLst>
          </p:cNvPr>
          <p:cNvSpPr>
            <a:spLocks noChangeArrowheads="1"/>
          </p:cNvSpPr>
          <p:nvPr/>
        </p:nvSpPr>
        <p:spPr bwMode="auto">
          <a:xfrm>
            <a:off x="2167890" y="1284288"/>
            <a:ext cx="7856220" cy="344487"/>
          </a:xfrm>
          <a:prstGeom prst="rect">
            <a:avLst/>
          </a:prstGeom>
          <a:solidFill>
            <a:schemeClr val="tx2">
              <a:lumMod val="50000"/>
            </a:schemeClr>
          </a:solidFill>
          <a:ln>
            <a:no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lIns="45720" rIns="45720" anchor="ctr"/>
          <a:lstStyle/>
          <a:p>
            <a:pPr algn="ctr">
              <a:buClr>
                <a:schemeClr val="folHlink"/>
              </a:buClr>
              <a:defRPr/>
            </a:pPr>
            <a:r>
              <a:rPr lang="en-US" sz="1200" b="1" dirty="0">
                <a:solidFill>
                  <a:schemeClr val="bg1"/>
                </a:solidFill>
              </a:rPr>
              <a:t>Executive Steering Team</a:t>
            </a:r>
          </a:p>
        </p:txBody>
      </p:sp>
      <p:sp>
        <p:nvSpPr>
          <p:cNvPr id="59" name="Rectangle 19">
            <a:extLst>
              <a:ext uri="{FF2B5EF4-FFF2-40B4-BE49-F238E27FC236}">
                <a16:creationId xmlns:a16="http://schemas.microsoft.com/office/drawing/2014/main" id="{ACDBCB81-76B6-4799-8ECD-6F06F05E4CA2}"/>
              </a:ext>
              <a:ext uri="{C183D7F6-B498-43B3-948B-1728B52AA6E4}">
                <adec:decorative xmlns:adec="http://schemas.microsoft.com/office/drawing/2017/decorative" val="1"/>
              </a:ext>
            </a:extLst>
          </p:cNvPr>
          <p:cNvSpPr>
            <a:spLocks noChangeArrowheads="1"/>
          </p:cNvSpPr>
          <p:nvPr/>
        </p:nvSpPr>
        <p:spPr bwMode="auto">
          <a:xfrm>
            <a:off x="2167890" y="1284289"/>
            <a:ext cx="7856220" cy="1182688"/>
          </a:xfrm>
          <a:prstGeom prst="rect">
            <a:avLst/>
          </a:prstGeom>
          <a:noFill/>
          <a:ln w="12700">
            <a:solidFill>
              <a:schemeClr val="tx2">
                <a:lumMod val="60000"/>
                <a:lumOff val="40000"/>
              </a:schemeClr>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lIns="45720" rIns="45720" anchor="ctr"/>
          <a:lstStyle/>
          <a:p>
            <a:pPr marL="571500" indent="-112713" algn="ctr">
              <a:buClr>
                <a:schemeClr val="folHlink"/>
              </a:buClr>
              <a:defRPr/>
            </a:pPr>
            <a:endParaRPr lang="en-US" sz="1100" dirty="0">
              <a:solidFill>
                <a:schemeClr val="bg1"/>
              </a:solidFill>
            </a:endParaRPr>
          </a:p>
        </p:txBody>
      </p:sp>
      <p:sp>
        <p:nvSpPr>
          <p:cNvPr id="58" name="AutoShape 3">
            <a:extLst>
              <a:ext uri="{FF2B5EF4-FFF2-40B4-BE49-F238E27FC236}">
                <a16:creationId xmlns:a16="http://schemas.microsoft.com/office/drawing/2014/main" id="{525B2700-4C2A-473B-B687-309476851817}"/>
              </a:ext>
            </a:extLst>
          </p:cNvPr>
          <p:cNvSpPr>
            <a:spLocks noChangeArrowheads="1"/>
          </p:cNvSpPr>
          <p:nvPr/>
        </p:nvSpPr>
        <p:spPr bwMode="auto">
          <a:xfrm>
            <a:off x="4648269" y="1754037"/>
            <a:ext cx="2902685" cy="230657"/>
          </a:xfrm>
          <a:prstGeom prst="roundRect">
            <a:avLst>
              <a:gd name="adj" fmla="val 0"/>
            </a:avLst>
          </a:prstGeom>
          <a:solidFill>
            <a:schemeClr val="accent3"/>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eaLnBrk="0" hangingPunct="0">
              <a:lnSpc>
                <a:spcPct val="100000"/>
              </a:lnSpc>
              <a:spcBef>
                <a:spcPct val="20000"/>
              </a:spcBef>
              <a:buFont typeface="Wingdings" pitchFamily="2" charset="2"/>
              <a:buNone/>
              <a:defRPr/>
            </a:pPr>
            <a:endParaRPr lang="en-US" sz="1100" dirty="0">
              <a:solidFill>
                <a:schemeClr val="bg1"/>
              </a:solidFill>
            </a:endParaRPr>
          </a:p>
          <a:p>
            <a:pPr algn="ctr" eaLnBrk="0" hangingPunct="0">
              <a:lnSpc>
                <a:spcPct val="100000"/>
              </a:lnSpc>
              <a:spcBef>
                <a:spcPct val="20000"/>
              </a:spcBef>
              <a:buFont typeface="Wingdings" pitchFamily="2" charset="2"/>
              <a:buNone/>
              <a:defRPr/>
            </a:pPr>
            <a:r>
              <a:rPr lang="en-US" sz="1100" dirty="0">
                <a:solidFill>
                  <a:schemeClr val="bg1"/>
                </a:solidFill>
              </a:rPr>
              <a:t>Client Lead</a:t>
            </a:r>
          </a:p>
          <a:p>
            <a:pPr algn="ctr" eaLnBrk="0" hangingPunct="0">
              <a:lnSpc>
                <a:spcPct val="100000"/>
              </a:lnSpc>
              <a:spcBef>
                <a:spcPct val="20000"/>
              </a:spcBef>
              <a:buFont typeface="Wingdings" pitchFamily="2" charset="2"/>
              <a:buNone/>
              <a:defRPr/>
            </a:pPr>
            <a:endParaRPr lang="en-US" sz="1100" dirty="0"/>
          </a:p>
        </p:txBody>
      </p:sp>
      <p:sp>
        <p:nvSpPr>
          <p:cNvPr id="60" name="AutoShape 3">
            <a:extLst>
              <a:ext uri="{FF2B5EF4-FFF2-40B4-BE49-F238E27FC236}">
                <a16:creationId xmlns:a16="http://schemas.microsoft.com/office/drawing/2014/main" id="{F4814E73-C342-405B-9514-3579E8F5E684}"/>
              </a:ext>
            </a:extLst>
          </p:cNvPr>
          <p:cNvSpPr>
            <a:spLocks noChangeArrowheads="1"/>
          </p:cNvSpPr>
          <p:nvPr/>
        </p:nvSpPr>
        <p:spPr bwMode="auto">
          <a:xfrm>
            <a:off x="2476762" y="2109955"/>
            <a:ext cx="2902685" cy="230657"/>
          </a:xfrm>
          <a:prstGeom prst="roundRect">
            <a:avLst>
              <a:gd name="adj" fmla="val 0"/>
            </a:avLst>
          </a:prstGeom>
          <a:solidFill>
            <a:schemeClr val="accent2"/>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dirty="0">
                <a:solidFill>
                  <a:schemeClr val="bg1"/>
                </a:solidFill>
              </a:rPr>
              <a:t>Managing Director</a:t>
            </a:r>
          </a:p>
        </p:txBody>
      </p:sp>
      <p:sp>
        <p:nvSpPr>
          <p:cNvPr id="66" name="Rectangle 19">
            <a:extLst>
              <a:ext uri="{FF2B5EF4-FFF2-40B4-BE49-F238E27FC236}">
                <a16:creationId xmlns:a16="http://schemas.microsoft.com/office/drawing/2014/main" id="{7E0E81E5-7120-476E-A1C9-D076EF28AADA}"/>
              </a:ext>
              <a:ext uri="{C183D7F6-B498-43B3-948B-1728B52AA6E4}">
                <adec:decorative xmlns:adec="http://schemas.microsoft.com/office/drawing/2017/decorative" val="1"/>
              </a:ext>
            </a:extLst>
          </p:cNvPr>
          <p:cNvSpPr>
            <a:spLocks noChangeArrowheads="1"/>
          </p:cNvSpPr>
          <p:nvPr/>
        </p:nvSpPr>
        <p:spPr bwMode="auto">
          <a:xfrm>
            <a:off x="2177521" y="2655889"/>
            <a:ext cx="3493526" cy="1182688"/>
          </a:xfrm>
          <a:prstGeom prst="rect">
            <a:avLst/>
          </a:prstGeom>
          <a:noFill/>
          <a:ln w="12700">
            <a:solidFill>
              <a:schemeClr val="tx2">
                <a:lumMod val="60000"/>
                <a:lumOff val="40000"/>
              </a:schemeClr>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lIns="45720" rIns="45720" anchor="ctr"/>
          <a:lstStyle/>
          <a:p>
            <a:pPr marL="571500" indent="-112713" algn="ctr">
              <a:buClr>
                <a:schemeClr val="folHlink"/>
              </a:buClr>
              <a:defRPr/>
            </a:pPr>
            <a:endParaRPr lang="en-US" sz="1100" dirty="0">
              <a:solidFill>
                <a:schemeClr val="bg1"/>
              </a:solidFill>
            </a:endParaRPr>
          </a:p>
        </p:txBody>
      </p:sp>
      <p:cxnSp>
        <p:nvCxnSpPr>
          <p:cNvPr id="65" name="Straight Connector 64">
            <a:extLst>
              <a:ext uri="{FF2B5EF4-FFF2-40B4-BE49-F238E27FC236}">
                <a16:creationId xmlns:a16="http://schemas.microsoft.com/office/drawing/2014/main" id="{EF6A81A5-0318-4824-A9A4-7C30B85DF133}"/>
              </a:ext>
              <a:ext uri="{C183D7F6-B498-43B3-948B-1728B52AA6E4}">
                <adec:decorative xmlns:adec="http://schemas.microsoft.com/office/drawing/2017/decorative" val="1"/>
              </a:ext>
            </a:extLst>
          </p:cNvPr>
          <p:cNvCxnSpPr>
            <a:stCxn id="60" idx="2"/>
            <a:endCxn id="62" idx="0"/>
          </p:cNvCxnSpPr>
          <p:nvPr/>
        </p:nvCxnSpPr>
        <p:spPr bwMode="auto">
          <a:xfrm flipH="1">
            <a:off x="3924283" y="2340612"/>
            <a:ext cx="3820" cy="315276"/>
          </a:xfrm>
          <a:prstGeom prst="line">
            <a:avLst/>
          </a:prstGeom>
          <a:solidFill>
            <a:schemeClr val="accent1"/>
          </a:solidFill>
          <a:ln w="9525" cap="flat" cmpd="sng" algn="ctr">
            <a:solidFill>
              <a:srgbClr val="778888"/>
            </a:solidFill>
            <a:prstDash val="solid"/>
            <a:round/>
            <a:headEnd type="none" w="med" len="med"/>
            <a:tailEnd type="none" w="med" len="med"/>
          </a:ln>
          <a:effectLst/>
        </p:spPr>
      </p:cxnSp>
      <p:sp>
        <p:nvSpPr>
          <p:cNvPr id="62" name="Rectangle 19">
            <a:extLst>
              <a:ext uri="{FF2B5EF4-FFF2-40B4-BE49-F238E27FC236}">
                <a16:creationId xmlns:a16="http://schemas.microsoft.com/office/drawing/2014/main" id="{1A0E7966-9945-4B46-AB88-2F27556506D4}"/>
              </a:ext>
            </a:extLst>
          </p:cNvPr>
          <p:cNvSpPr>
            <a:spLocks noChangeArrowheads="1"/>
          </p:cNvSpPr>
          <p:nvPr/>
        </p:nvSpPr>
        <p:spPr bwMode="auto">
          <a:xfrm>
            <a:off x="2177521" y="2655888"/>
            <a:ext cx="3493526" cy="344487"/>
          </a:xfrm>
          <a:prstGeom prst="rect">
            <a:avLst/>
          </a:prstGeom>
          <a:solidFill>
            <a:schemeClr val="tx2">
              <a:lumMod val="50000"/>
            </a:schemeClr>
          </a:solidFill>
          <a:ln>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lIns="45720" rIns="45720" anchor="ctr"/>
          <a:lstStyle/>
          <a:p>
            <a:pPr algn="ctr">
              <a:buClr>
                <a:schemeClr val="folHlink"/>
              </a:buClr>
              <a:defRPr/>
            </a:pPr>
            <a:r>
              <a:rPr lang="en-US" sz="1200" b="1" dirty="0">
                <a:solidFill>
                  <a:schemeClr val="bg1"/>
                </a:solidFill>
              </a:rPr>
              <a:t>Account Team </a:t>
            </a:r>
          </a:p>
        </p:txBody>
      </p:sp>
      <p:sp>
        <p:nvSpPr>
          <p:cNvPr id="63" name="AutoShape 3">
            <a:extLst>
              <a:ext uri="{FF2B5EF4-FFF2-40B4-BE49-F238E27FC236}">
                <a16:creationId xmlns:a16="http://schemas.microsoft.com/office/drawing/2014/main" id="{D34E1286-E03E-43FF-8635-160B307C3207}"/>
              </a:ext>
            </a:extLst>
          </p:cNvPr>
          <p:cNvSpPr>
            <a:spLocks noChangeArrowheads="1"/>
          </p:cNvSpPr>
          <p:nvPr/>
        </p:nvSpPr>
        <p:spPr bwMode="auto">
          <a:xfrm>
            <a:off x="2476762" y="3125637"/>
            <a:ext cx="2902685" cy="230657"/>
          </a:xfrm>
          <a:prstGeom prst="roundRect">
            <a:avLst>
              <a:gd name="adj" fmla="val 0"/>
            </a:avLst>
          </a:prstGeom>
          <a:solidFill>
            <a:schemeClr val="accent2"/>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dirty="0">
                <a:solidFill>
                  <a:schemeClr val="bg1"/>
                </a:solidFill>
              </a:rPr>
              <a:t>Senior Manager</a:t>
            </a:r>
          </a:p>
        </p:txBody>
      </p:sp>
      <p:sp>
        <p:nvSpPr>
          <p:cNvPr id="64" name="AutoShape 3">
            <a:extLst>
              <a:ext uri="{FF2B5EF4-FFF2-40B4-BE49-F238E27FC236}">
                <a16:creationId xmlns:a16="http://schemas.microsoft.com/office/drawing/2014/main" id="{DEBFCA0B-9EFA-4E7C-99CE-D5516282FC51}"/>
              </a:ext>
            </a:extLst>
          </p:cNvPr>
          <p:cNvSpPr>
            <a:spLocks noChangeArrowheads="1"/>
          </p:cNvSpPr>
          <p:nvPr/>
        </p:nvSpPr>
        <p:spPr bwMode="auto">
          <a:xfrm>
            <a:off x="2476762" y="3481555"/>
            <a:ext cx="2902685" cy="230657"/>
          </a:xfrm>
          <a:prstGeom prst="roundRect">
            <a:avLst>
              <a:gd name="adj" fmla="val 0"/>
            </a:avLst>
          </a:prstGeom>
          <a:solidFill>
            <a:schemeClr val="accent2"/>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dirty="0">
                <a:solidFill>
                  <a:schemeClr val="bg1"/>
                </a:solidFill>
              </a:rPr>
              <a:t>Manager</a:t>
            </a:r>
          </a:p>
        </p:txBody>
      </p:sp>
      <p:sp>
        <p:nvSpPr>
          <p:cNvPr id="56" name="Rectangle 19">
            <a:extLst>
              <a:ext uri="{FF2B5EF4-FFF2-40B4-BE49-F238E27FC236}">
                <a16:creationId xmlns:a16="http://schemas.microsoft.com/office/drawing/2014/main" id="{A41B669C-1E0D-46B0-B8A6-DB0DEC2659B3}"/>
              </a:ext>
              <a:ext uri="{C183D7F6-B498-43B3-948B-1728B52AA6E4}">
                <adec:decorative xmlns:adec="http://schemas.microsoft.com/office/drawing/2017/decorative" val="1"/>
              </a:ext>
            </a:extLst>
          </p:cNvPr>
          <p:cNvSpPr>
            <a:spLocks noChangeArrowheads="1"/>
          </p:cNvSpPr>
          <p:nvPr/>
        </p:nvSpPr>
        <p:spPr bwMode="auto">
          <a:xfrm>
            <a:off x="6530584" y="4406385"/>
            <a:ext cx="3493526" cy="1182688"/>
          </a:xfrm>
          <a:prstGeom prst="rect">
            <a:avLst/>
          </a:prstGeom>
          <a:solidFill>
            <a:schemeClr val="bg1"/>
          </a:solidFill>
          <a:ln w="12700">
            <a:solidFill>
              <a:schemeClr val="tx2">
                <a:lumMod val="60000"/>
                <a:lumOff val="40000"/>
              </a:schemeClr>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lIns="45720" rIns="45720" anchor="ctr"/>
          <a:lstStyle/>
          <a:p>
            <a:pPr marL="571500" indent="-112713" algn="ctr">
              <a:buClr>
                <a:schemeClr val="folHlink"/>
              </a:buClr>
              <a:defRPr/>
            </a:pPr>
            <a:endParaRPr lang="en-US" sz="1100" dirty="0">
              <a:solidFill>
                <a:schemeClr val="bg1"/>
              </a:solidFill>
            </a:endParaRPr>
          </a:p>
        </p:txBody>
      </p:sp>
      <p:sp>
        <p:nvSpPr>
          <p:cNvPr id="61" name="AutoShape 3">
            <a:extLst>
              <a:ext uri="{FF2B5EF4-FFF2-40B4-BE49-F238E27FC236}">
                <a16:creationId xmlns:a16="http://schemas.microsoft.com/office/drawing/2014/main" id="{65766CFD-C347-4DE2-B2DD-7B08C3D8A1F5}"/>
              </a:ext>
            </a:extLst>
          </p:cNvPr>
          <p:cNvSpPr>
            <a:spLocks noChangeArrowheads="1"/>
          </p:cNvSpPr>
          <p:nvPr/>
        </p:nvSpPr>
        <p:spPr bwMode="auto">
          <a:xfrm>
            <a:off x="6824112" y="2109955"/>
            <a:ext cx="2902685" cy="230657"/>
          </a:xfrm>
          <a:prstGeom prst="roundRect">
            <a:avLst>
              <a:gd name="adj" fmla="val 0"/>
            </a:avLst>
          </a:prstGeom>
          <a:solidFill>
            <a:schemeClr val="accent1"/>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dirty="0">
                <a:solidFill>
                  <a:schemeClr val="bg1"/>
                </a:solidFill>
              </a:rPr>
              <a:t>Managing Director</a:t>
            </a:r>
          </a:p>
        </p:txBody>
      </p:sp>
      <p:cxnSp>
        <p:nvCxnSpPr>
          <p:cNvPr id="69" name="Straight Connector 68">
            <a:extLst>
              <a:ext uri="{FF2B5EF4-FFF2-40B4-BE49-F238E27FC236}">
                <a16:creationId xmlns:a16="http://schemas.microsoft.com/office/drawing/2014/main" id="{F54F4501-DCAF-4F0B-8348-FF7EAB008CE4}"/>
              </a:ext>
              <a:ext uri="{C183D7F6-B498-43B3-948B-1728B52AA6E4}">
                <adec:decorative xmlns:adec="http://schemas.microsoft.com/office/drawing/2017/decorative" val="1"/>
              </a:ext>
            </a:extLst>
          </p:cNvPr>
          <p:cNvCxnSpPr>
            <a:stCxn id="61" idx="2"/>
            <a:endCxn id="67" idx="0"/>
          </p:cNvCxnSpPr>
          <p:nvPr/>
        </p:nvCxnSpPr>
        <p:spPr bwMode="auto">
          <a:xfrm rot="16200000" flipH="1">
            <a:off x="8118560" y="2497507"/>
            <a:ext cx="315277" cy="1485"/>
          </a:xfrm>
          <a:prstGeom prst="line">
            <a:avLst/>
          </a:prstGeom>
          <a:solidFill>
            <a:schemeClr val="accent1"/>
          </a:solidFill>
          <a:ln w="9525" cap="flat" cmpd="sng" algn="ctr">
            <a:solidFill>
              <a:srgbClr val="778888"/>
            </a:solidFill>
            <a:prstDash val="solid"/>
            <a:round/>
            <a:headEnd type="none" w="med" len="med"/>
            <a:tailEnd type="none" w="med" len="med"/>
          </a:ln>
          <a:effectLst/>
        </p:spPr>
      </p:cxnSp>
      <p:sp>
        <p:nvSpPr>
          <p:cNvPr id="70" name="Rectangle 19">
            <a:extLst>
              <a:ext uri="{FF2B5EF4-FFF2-40B4-BE49-F238E27FC236}">
                <a16:creationId xmlns:a16="http://schemas.microsoft.com/office/drawing/2014/main" id="{01B2844B-3B87-4CBD-981B-1F9F669D9BA8}"/>
              </a:ext>
              <a:ext uri="{C183D7F6-B498-43B3-948B-1728B52AA6E4}">
                <adec:decorative xmlns:adec="http://schemas.microsoft.com/office/drawing/2017/decorative" val="1"/>
              </a:ext>
            </a:extLst>
          </p:cNvPr>
          <p:cNvSpPr>
            <a:spLocks noChangeArrowheads="1"/>
          </p:cNvSpPr>
          <p:nvPr/>
        </p:nvSpPr>
        <p:spPr bwMode="auto">
          <a:xfrm>
            <a:off x="6529769" y="2655889"/>
            <a:ext cx="3494341" cy="1549400"/>
          </a:xfrm>
          <a:prstGeom prst="rect">
            <a:avLst/>
          </a:prstGeom>
          <a:noFill/>
          <a:ln w="12700">
            <a:solidFill>
              <a:schemeClr val="tx2">
                <a:lumMod val="60000"/>
                <a:lumOff val="40000"/>
              </a:schemeClr>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lIns="45720" rIns="45720" anchor="ctr"/>
          <a:lstStyle/>
          <a:p>
            <a:pPr marL="571500" indent="-112713" algn="ctr">
              <a:buClr>
                <a:schemeClr val="folHlink"/>
              </a:buClr>
              <a:defRPr/>
            </a:pPr>
            <a:endParaRPr lang="en-US" sz="1100" dirty="0">
              <a:solidFill>
                <a:schemeClr val="bg1"/>
              </a:solidFill>
            </a:endParaRPr>
          </a:p>
        </p:txBody>
      </p:sp>
      <p:sp>
        <p:nvSpPr>
          <p:cNvPr id="67" name="Rectangle 19">
            <a:extLst>
              <a:ext uri="{FF2B5EF4-FFF2-40B4-BE49-F238E27FC236}">
                <a16:creationId xmlns:a16="http://schemas.microsoft.com/office/drawing/2014/main" id="{623B768C-5718-4189-B4EF-2E544AC5653C}"/>
              </a:ext>
            </a:extLst>
          </p:cNvPr>
          <p:cNvSpPr>
            <a:spLocks noChangeArrowheads="1"/>
          </p:cNvSpPr>
          <p:nvPr/>
        </p:nvSpPr>
        <p:spPr bwMode="auto">
          <a:xfrm>
            <a:off x="6529769" y="2655889"/>
            <a:ext cx="3494341" cy="344487"/>
          </a:xfrm>
          <a:prstGeom prst="rect">
            <a:avLst/>
          </a:prstGeom>
          <a:solidFill>
            <a:schemeClr val="tx2">
              <a:lumMod val="50000"/>
            </a:schemeClr>
          </a:solidFill>
          <a:ln>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lIns="45720" rIns="45720" anchor="ctr"/>
          <a:lstStyle/>
          <a:p>
            <a:pPr algn="ctr">
              <a:buClr>
                <a:schemeClr val="folHlink"/>
              </a:buClr>
              <a:defRPr/>
            </a:pPr>
            <a:r>
              <a:rPr lang="en-US" sz="1200" b="1" dirty="0">
                <a:solidFill>
                  <a:schemeClr val="bg1"/>
                </a:solidFill>
              </a:rPr>
              <a:t>Operating Model Team</a:t>
            </a:r>
          </a:p>
        </p:txBody>
      </p:sp>
      <p:cxnSp>
        <p:nvCxnSpPr>
          <p:cNvPr id="71" name="Straight Connector 70">
            <a:extLst>
              <a:ext uri="{FF2B5EF4-FFF2-40B4-BE49-F238E27FC236}">
                <a16:creationId xmlns:a16="http://schemas.microsoft.com/office/drawing/2014/main" id="{451EDFCE-A5B1-4721-8020-F0354DCDC1DB}"/>
              </a:ext>
              <a:ext uri="{C183D7F6-B498-43B3-948B-1728B52AA6E4}">
                <adec:decorative xmlns:adec="http://schemas.microsoft.com/office/drawing/2017/decorative" val="1"/>
              </a:ext>
            </a:extLst>
          </p:cNvPr>
          <p:cNvCxnSpPr>
            <a:stCxn id="68" idx="2"/>
            <a:endCxn id="79" idx="0"/>
          </p:cNvCxnSpPr>
          <p:nvPr/>
        </p:nvCxnSpPr>
        <p:spPr bwMode="auto">
          <a:xfrm rot="16200000" flipH="1">
            <a:off x="8227850" y="3418427"/>
            <a:ext cx="125261" cy="992"/>
          </a:xfrm>
          <a:prstGeom prst="line">
            <a:avLst/>
          </a:prstGeom>
          <a:solidFill>
            <a:schemeClr val="accent1"/>
          </a:solidFill>
          <a:ln w="9525" cap="flat" cmpd="sng" algn="ctr">
            <a:solidFill>
              <a:srgbClr val="778888"/>
            </a:solidFill>
            <a:prstDash val="solid"/>
            <a:round/>
            <a:headEnd type="none" w="med" len="med"/>
            <a:tailEnd type="none" w="med" len="med"/>
          </a:ln>
          <a:effectLst/>
        </p:spPr>
      </p:cxnSp>
      <p:sp>
        <p:nvSpPr>
          <p:cNvPr id="68" name="AutoShape 3">
            <a:extLst>
              <a:ext uri="{FF2B5EF4-FFF2-40B4-BE49-F238E27FC236}">
                <a16:creationId xmlns:a16="http://schemas.microsoft.com/office/drawing/2014/main" id="{E136F65C-EF41-4A0D-9C24-4C3E58A814E8}"/>
              </a:ext>
            </a:extLst>
          </p:cNvPr>
          <p:cNvSpPr>
            <a:spLocks noChangeArrowheads="1"/>
          </p:cNvSpPr>
          <p:nvPr/>
        </p:nvSpPr>
        <p:spPr bwMode="auto">
          <a:xfrm>
            <a:off x="6838640" y="3125637"/>
            <a:ext cx="2902685" cy="230657"/>
          </a:xfrm>
          <a:prstGeom prst="roundRect">
            <a:avLst>
              <a:gd name="adj" fmla="val 0"/>
            </a:avLst>
          </a:prstGeom>
          <a:solidFill>
            <a:schemeClr val="accent1"/>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dirty="0">
                <a:solidFill>
                  <a:schemeClr val="bg1"/>
                </a:solidFill>
              </a:rPr>
              <a:t>Senior Manager</a:t>
            </a:r>
          </a:p>
        </p:txBody>
      </p:sp>
      <p:sp>
        <p:nvSpPr>
          <p:cNvPr id="79" name="AutoShape 3">
            <a:extLst>
              <a:ext uri="{FF2B5EF4-FFF2-40B4-BE49-F238E27FC236}">
                <a16:creationId xmlns:a16="http://schemas.microsoft.com/office/drawing/2014/main" id="{A47B9B1F-32E9-4307-B15E-FFD5B5FC01B2}"/>
              </a:ext>
            </a:extLst>
          </p:cNvPr>
          <p:cNvSpPr>
            <a:spLocks noChangeArrowheads="1"/>
          </p:cNvSpPr>
          <p:nvPr/>
        </p:nvSpPr>
        <p:spPr bwMode="auto">
          <a:xfrm>
            <a:off x="6838639" y="3481555"/>
            <a:ext cx="2904671" cy="230657"/>
          </a:xfrm>
          <a:prstGeom prst="roundRect">
            <a:avLst>
              <a:gd name="adj" fmla="val 0"/>
            </a:avLst>
          </a:prstGeom>
          <a:solidFill>
            <a:schemeClr val="accent1"/>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dirty="0">
                <a:solidFill>
                  <a:schemeClr val="bg1"/>
                </a:solidFill>
              </a:rPr>
              <a:t>Manager</a:t>
            </a:r>
          </a:p>
        </p:txBody>
      </p:sp>
      <p:cxnSp>
        <p:nvCxnSpPr>
          <p:cNvPr id="72" name="Straight Connector 71">
            <a:extLst>
              <a:ext uri="{FF2B5EF4-FFF2-40B4-BE49-F238E27FC236}">
                <a16:creationId xmlns:a16="http://schemas.microsoft.com/office/drawing/2014/main" id="{EAE2A1FB-62E4-43B2-9496-5CF39F7CA666}"/>
              </a:ext>
              <a:ext uri="{C183D7F6-B498-43B3-948B-1728B52AA6E4}">
                <adec:decorative xmlns:adec="http://schemas.microsoft.com/office/drawing/2017/decorative" val="1"/>
              </a:ext>
            </a:extLst>
          </p:cNvPr>
          <p:cNvCxnSpPr/>
          <p:nvPr/>
        </p:nvCxnSpPr>
        <p:spPr bwMode="auto">
          <a:xfrm rot="5400000">
            <a:off x="7352790" y="3774283"/>
            <a:ext cx="214313" cy="0"/>
          </a:xfrm>
          <a:prstGeom prst="line">
            <a:avLst/>
          </a:prstGeom>
          <a:solidFill>
            <a:schemeClr val="accent1"/>
          </a:solidFill>
          <a:ln w="9525" cap="flat" cmpd="sng" algn="ctr">
            <a:solidFill>
              <a:srgbClr val="778888"/>
            </a:solidFill>
            <a:prstDash val="solid"/>
            <a:round/>
            <a:headEnd type="none" w="med" len="med"/>
            <a:tailEnd type="none" w="med" len="med"/>
          </a:ln>
          <a:effectLst/>
        </p:spPr>
      </p:cxnSp>
      <p:sp>
        <p:nvSpPr>
          <p:cNvPr id="74" name="AutoShape 3">
            <a:extLst>
              <a:ext uri="{FF2B5EF4-FFF2-40B4-BE49-F238E27FC236}">
                <a16:creationId xmlns:a16="http://schemas.microsoft.com/office/drawing/2014/main" id="{FAC3733F-76C8-499A-B005-BEE45F475AFD}"/>
              </a:ext>
            </a:extLst>
          </p:cNvPr>
          <p:cNvSpPr>
            <a:spLocks noChangeArrowheads="1"/>
          </p:cNvSpPr>
          <p:nvPr/>
        </p:nvSpPr>
        <p:spPr bwMode="auto">
          <a:xfrm>
            <a:off x="6838642" y="3836837"/>
            <a:ext cx="1257855" cy="230657"/>
          </a:xfrm>
          <a:prstGeom prst="roundRect">
            <a:avLst>
              <a:gd name="adj" fmla="val 0"/>
            </a:avLst>
          </a:prstGeom>
          <a:solidFill>
            <a:schemeClr val="accent1"/>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dirty="0">
                <a:solidFill>
                  <a:schemeClr val="bg1"/>
                </a:solidFill>
              </a:rPr>
              <a:t>Consultant</a:t>
            </a:r>
          </a:p>
        </p:txBody>
      </p:sp>
      <p:cxnSp>
        <p:nvCxnSpPr>
          <p:cNvPr id="73" name="Straight Connector 72">
            <a:extLst>
              <a:ext uri="{FF2B5EF4-FFF2-40B4-BE49-F238E27FC236}">
                <a16:creationId xmlns:a16="http://schemas.microsoft.com/office/drawing/2014/main" id="{B165073F-309F-42B5-AB05-9F9B8E57ABD3}"/>
              </a:ext>
              <a:ext uri="{C183D7F6-B498-43B3-948B-1728B52AA6E4}">
                <adec:decorative xmlns:adec="http://schemas.microsoft.com/office/drawing/2017/decorative" val="1"/>
              </a:ext>
            </a:extLst>
          </p:cNvPr>
          <p:cNvCxnSpPr/>
          <p:nvPr/>
        </p:nvCxnSpPr>
        <p:spPr bwMode="auto">
          <a:xfrm rot="5400000">
            <a:off x="8739607" y="3774284"/>
            <a:ext cx="214313" cy="0"/>
          </a:xfrm>
          <a:prstGeom prst="line">
            <a:avLst/>
          </a:prstGeom>
          <a:solidFill>
            <a:schemeClr val="accent1"/>
          </a:solidFill>
          <a:ln w="9525" cap="flat" cmpd="sng" algn="ctr">
            <a:solidFill>
              <a:srgbClr val="778888"/>
            </a:solidFill>
            <a:prstDash val="solid"/>
            <a:round/>
            <a:headEnd type="none" w="med" len="med"/>
            <a:tailEnd type="none" w="med" len="med"/>
          </a:ln>
          <a:effectLst/>
        </p:spPr>
      </p:cxnSp>
      <p:sp>
        <p:nvSpPr>
          <p:cNvPr id="75" name="AutoShape 3">
            <a:extLst>
              <a:ext uri="{FF2B5EF4-FFF2-40B4-BE49-F238E27FC236}">
                <a16:creationId xmlns:a16="http://schemas.microsoft.com/office/drawing/2014/main" id="{7191596B-73F7-4A5E-8DC9-D6934CD56283}"/>
              </a:ext>
              <a:ext uri="{C183D7F6-B498-43B3-948B-1728B52AA6E4}">
                <adec:decorative xmlns:adec="http://schemas.microsoft.com/office/drawing/2017/decorative" val="0"/>
              </a:ext>
            </a:extLst>
          </p:cNvPr>
          <p:cNvSpPr>
            <a:spLocks noChangeArrowheads="1"/>
          </p:cNvSpPr>
          <p:nvPr/>
        </p:nvSpPr>
        <p:spPr bwMode="auto">
          <a:xfrm>
            <a:off x="8225458" y="3836837"/>
            <a:ext cx="1257855" cy="230657"/>
          </a:xfrm>
          <a:prstGeom prst="roundRect">
            <a:avLst>
              <a:gd name="adj" fmla="val 0"/>
            </a:avLst>
          </a:prstGeom>
          <a:solidFill>
            <a:schemeClr val="accent1"/>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dirty="0">
                <a:solidFill>
                  <a:schemeClr val="bg1"/>
                </a:solidFill>
              </a:rPr>
              <a:t>Analyst</a:t>
            </a:r>
          </a:p>
        </p:txBody>
      </p:sp>
      <p:cxnSp>
        <p:nvCxnSpPr>
          <p:cNvPr id="78" name="Straight Connector 77">
            <a:extLst>
              <a:ext uri="{FF2B5EF4-FFF2-40B4-BE49-F238E27FC236}">
                <a16:creationId xmlns:a16="http://schemas.microsoft.com/office/drawing/2014/main" id="{3AD7B87B-1A13-4D78-872A-FF99C561F5A1}"/>
              </a:ext>
              <a:ext uri="{C183D7F6-B498-43B3-948B-1728B52AA6E4}">
                <adec:decorative xmlns:adec="http://schemas.microsoft.com/office/drawing/2017/decorative" val="1"/>
              </a:ext>
            </a:extLst>
          </p:cNvPr>
          <p:cNvCxnSpPr/>
          <p:nvPr/>
        </p:nvCxnSpPr>
        <p:spPr bwMode="auto">
          <a:xfrm rot="5400000">
            <a:off x="9225100" y="4055746"/>
            <a:ext cx="754380" cy="0"/>
          </a:xfrm>
          <a:prstGeom prst="line">
            <a:avLst/>
          </a:prstGeom>
          <a:solidFill>
            <a:schemeClr val="accent1"/>
          </a:solidFill>
          <a:ln w="9525" cap="flat" cmpd="sng" algn="ctr">
            <a:solidFill>
              <a:srgbClr val="778888"/>
            </a:solidFill>
            <a:prstDash val="solid"/>
            <a:round/>
            <a:headEnd type="none" w="med" len="med"/>
            <a:tailEnd type="none" w="med" len="med"/>
          </a:ln>
          <a:effectLst/>
        </p:spPr>
      </p:cxnSp>
      <p:sp>
        <p:nvSpPr>
          <p:cNvPr id="80" name="Rectangle 19">
            <a:extLst>
              <a:ext uri="{FF2B5EF4-FFF2-40B4-BE49-F238E27FC236}">
                <a16:creationId xmlns:a16="http://schemas.microsoft.com/office/drawing/2014/main" id="{BF1C30D6-5F7E-4BCC-B6A5-87294ED36713}"/>
              </a:ext>
            </a:extLst>
          </p:cNvPr>
          <p:cNvSpPr>
            <a:spLocks noChangeArrowheads="1"/>
          </p:cNvSpPr>
          <p:nvPr/>
        </p:nvSpPr>
        <p:spPr bwMode="auto">
          <a:xfrm>
            <a:off x="6530584" y="4406385"/>
            <a:ext cx="3493526" cy="344487"/>
          </a:xfrm>
          <a:prstGeom prst="rect">
            <a:avLst/>
          </a:prstGeom>
          <a:solidFill>
            <a:schemeClr val="tx2">
              <a:lumMod val="50000"/>
            </a:schemeClr>
          </a:solidFill>
          <a:ln>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lIns="45720" rIns="45720" anchor="ctr"/>
          <a:lstStyle/>
          <a:p>
            <a:pPr algn="ctr">
              <a:buClr>
                <a:schemeClr val="folHlink"/>
              </a:buClr>
              <a:defRPr/>
            </a:pPr>
            <a:r>
              <a:rPr lang="en-US" sz="1200" b="1" dirty="0">
                <a:solidFill>
                  <a:schemeClr val="bg1"/>
                </a:solidFill>
              </a:rPr>
              <a:t>Global Talent &amp; Innovation Network</a:t>
            </a:r>
          </a:p>
        </p:txBody>
      </p:sp>
      <p:sp>
        <p:nvSpPr>
          <p:cNvPr id="76" name="AutoShape 3">
            <a:extLst>
              <a:ext uri="{FF2B5EF4-FFF2-40B4-BE49-F238E27FC236}">
                <a16:creationId xmlns:a16="http://schemas.microsoft.com/office/drawing/2014/main" id="{F55E6436-1D55-4C07-89B2-F22BD808E606}"/>
              </a:ext>
            </a:extLst>
          </p:cNvPr>
          <p:cNvSpPr>
            <a:spLocks noChangeArrowheads="1"/>
          </p:cNvSpPr>
          <p:nvPr/>
        </p:nvSpPr>
        <p:spPr bwMode="auto">
          <a:xfrm>
            <a:off x="6839456" y="4876133"/>
            <a:ext cx="2902685" cy="230657"/>
          </a:xfrm>
          <a:prstGeom prst="roundRect">
            <a:avLst>
              <a:gd name="adj" fmla="val 0"/>
            </a:avLst>
          </a:prstGeom>
          <a:solidFill>
            <a:schemeClr val="accent1"/>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dirty="0">
                <a:solidFill>
                  <a:schemeClr val="bg1"/>
                </a:solidFill>
              </a:rPr>
              <a:t>Consultant</a:t>
            </a:r>
          </a:p>
        </p:txBody>
      </p:sp>
      <p:sp>
        <p:nvSpPr>
          <p:cNvPr id="77" name="AutoShape 3">
            <a:extLst>
              <a:ext uri="{FF2B5EF4-FFF2-40B4-BE49-F238E27FC236}">
                <a16:creationId xmlns:a16="http://schemas.microsoft.com/office/drawing/2014/main" id="{87434B08-1B8F-4148-852C-51EBF09758EB}"/>
              </a:ext>
            </a:extLst>
          </p:cNvPr>
          <p:cNvSpPr>
            <a:spLocks noChangeArrowheads="1"/>
          </p:cNvSpPr>
          <p:nvPr/>
        </p:nvSpPr>
        <p:spPr bwMode="auto">
          <a:xfrm>
            <a:off x="6839456" y="5232051"/>
            <a:ext cx="2902685" cy="230657"/>
          </a:xfrm>
          <a:prstGeom prst="roundRect">
            <a:avLst>
              <a:gd name="adj" fmla="val 0"/>
            </a:avLst>
          </a:prstGeom>
          <a:solidFill>
            <a:schemeClr val="accent1"/>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dirty="0">
                <a:solidFill>
                  <a:schemeClr val="bg1"/>
                </a:solidFill>
              </a:rPr>
              <a:t>Analyst</a:t>
            </a:r>
          </a:p>
        </p:txBody>
      </p:sp>
      <p:sp>
        <p:nvSpPr>
          <p:cNvPr id="3" name="Footer Placeholder 2">
            <a:extLst>
              <a:ext uri="{FF2B5EF4-FFF2-40B4-BE49-F238E27FC236}">
                <a16:creationId xmlns:a16="http://schemas.microsoft.com/office/drawing/2014/main" id="{3E502DFC-C4D4-4DED-AB82-D0FB2D8CD353}"/>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E0594D34-20BF-4009-9CEC-735CEF965951}"/>
              </a:ext>
            </a:extLst>
          </p:cNvPr>
          <p:cNvSpPr>
            <a:spLocks noGrp="1"/>
          </p:cNvSpPr>
          <p:nvPr>
            <p:ph type="sldNum" sz="quarter" idx="10"/>
          </p:nvPr>
        </p:nvSpPr>
        <p:spPr/>
        <p:txBody>
          <a:bodyPr/>
          <a:lstStyle/>
          <a:p>
            <a:fld id="{1F90F471-3972-4120-B8B3-0237DE626C35}" type="slidenum">
              <a:rPr lang="en-US" smtClean="0"/>
              <a:pPr/>
              <a:t>398</a:t>
            </a:fld>
            <a:endParaRPr lang="en-US" dirty="0"/>
          </a:p>
        </p:txBody>
      </p:sp>
    </p:spTree>
    <p:extLst>
      <p:ext uri="{BB962C8B-B14F-4D97-AF65-F5344CB8AC3E}">
        <p14:creationId xmlns:p14="http://schemas.microsoft.com/office/powerpoint/2010/main" val="724998507"/>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Project Organization 1</a:t>
            </a:r>
          </a:p>
        </p:txBody>
      </p:sp>
      <p:sp>
        <p:nvSpPr>
          <p:cNvPr id="11" name="Rectangle 9">
            <a:extLst>
              <a:ext uri="{FF2B5EF4-FFF2-40B4-BE49-F238E27FC236}">
                <a16:creationId xmlns:a16="http://schemas.microsoft.com/office/drawing/2014/main" id="{29306749-0CE7-46AE-8D1D-121431399BA1}"/>
              </a:ext>
            </a:extLst>
          </p:cNvPr>
          <p:cNvSpPr>
            <a:spLocks noChangeArrowheads="1"/>
          </p:cNvSpPr>
          <p:nvPr/>
        </p:nvSpPr>
        <p:spPr bwMode="auto">
          <a:xfrm>
            <a:off x="4823153" y="1668780"/>
            <a:ext cx="2530904" cy="354343"/>
          </a:xfrm>
          <a:prstGeom prst="rect">
            <a:avLst/>
          </a:prstGeom>
          <a:solidFill>
            <a:schemeClr val="accent1"/>
          </a:solidFill>
          <a:ln w="6350">
            <a:noFill/>
            <a:miter lim="800000"/>
            <a:headEnd/>
            <a:tailEnd/>
          </a:ln>
          <a:effectLst/>
        </p:spPr>
        <p:txBody>
          <a:bodyPr lIns="72000" tIns="72000" rIns="72000" bIns="7200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mj-lt"/>
                <a:ea typeface="+mn-ea"/>
                <a:cs typeface="+mn-cs"/>
              </a:rPr>
              <a:t>Text</a:t>
            </a:r>
          </a:p>
        </p:txBody>
      </p:sp>
      <p:sp>
        <p:nvSpPr>
          <p:cNvPr id="16" name="Rectangle 14">
            <a:extLst>
              <a:ext uri="{FF2B5EF4-FFF2-40B4-BE49-F238E27FC236}">
                <a16:creationId xmlns:a16="http://schemas.microsoft.com/office/drawing/2014/main" id="{3C7B49C7-00C7-48B0-A3DE-02AF48A44C80}"/>
              </a:ext>
            </a:extLst>
          </p:cNvPr>
          <p:cNvSpPr>
            <a:spLocks noChangeArrowheads="1"/>
          </p:cNvSpPr>
          <p:nvPr/>
        </p:nvSpPr>
        <p:spPr bwMode="auto">
          <a:xfrm>
            <a:off x="4823153" y="2007324"/>
            <a:ext cx="2530904" cy="444621"/>
          </a:xfrm>
          <a:prstGeom prst="rect">
            <a:avLst/>
          </a:prstGeom>
          <a:solidFill>
            <a:srgbClr val="96968C">
              <a:lumMod val="20000"/>
              <a:lumOff val="80000"/>
            </a:srgbClr>
          </a:solidFill>
          <a:ln w="6350">
            <a:noFill/>
            <a:miter lim="800000"/>
            <a:headEnd/>
            <a:tailEnd/>
          </a:ln>
          <a:effectLst/>
        </p:spPr>
        <p:txBody>
          <a:bodyPr wrap="none" lIns="180000" tIns="72000" rIns="72000" bIns="72000"/>
          <a:lstStyle/>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cxnSp>
        <p:nvCxnSpPr>
          <p:cNvPr id="18" name="AutoShape 16">
            <a:extLst>
              <a:ext uri="{FF2B5EF4-FFF2-40B4-BE49-F238E27FC236}">
                <a16:creationId xmlns:a16="http://schemas.microsoft.com/office/drawing/2014/main" id="{5A57B635-4DE5-416D-8567-91BF835136B5}"/>
              </a:ext>
              <a:ext uri="{C183D7F6-B498-43B3-948B-1728B52AA6E4}">
                <adec:decorative xmlns:adec="http://schemas.microsoft.com/office/drawing/2017/decorative" val="1"/>
              </a:ext>
            </a:extLst>
          </p:cNvPr>
          <p:cNvCxnSpPr>
            <a:cxnSpLocks noChangeShapeType="1"/>
            <a:stCxn id="16" idx="2"/>
            <a:endCxn id="12" idx="0"/>
          </p:cNvCxnSpPr>
          <p:nvPr/>
        </p:nvCxnSpPr>
        <p:spPr bwMode="auto">
          <a:xfrm>
            <a:off x="6088605" y="2451945"/>
            <a:ext cx="0" cy="401739"/>
          </a:xfrm>
          <a:prstGeom prst="straightConnector1">
            <a:avLst/>
          </a:prstGeom>
          <a:noFill/>
          <a:ln w="12700" cap="rnd" cmpd="sng" algn="ctr">
            <a:solidFill>
              <a:srgbClr val="96968C"/>
            </a:solidFill>
            <a:prstDash val="sysDot"/>
            <a:headEnd type="none" w="med" len="med"/>
            <a:tailEnd type="none" w="med" len="med"/>
          </a:ln>
          <a:effectLst/>
        </p:spPr>
      </p:cxnSp>
      <p:sp>
        <p:nvSpPr>
          <p:cNvPr id="12" name="Rectangle 10">
            <a:extLst>
              <a:ext uri="{FF2B5EF4-FFF2-40B4-BE49-F238E27FC236}">
                <a16:creationId xmlns:a16="http://schemas.microsoft.com/office/drawing/2014/main" id="{E9DFAA0D-2E69-479B-B792-D67438CF1192}"/>
              </a:ext>
            </a:extLst>
          </p:cNvPr>
          <p:cNvSpPr>
            <a:spLocks noChangeArrowheads="1"/>
          </p:cNvSpPr>
          <p:nvPr/>
        </p:nvSpPr>
        <p:spPr bwMode="auto">
          <a:xfrm>
            <a:off x="4823153" y="2853684"/>
            <a:ext cx="2530904" cy="354343"/>
          </a:xfrm>
          <a:prstGeom prst="rect">
            <a:avLst/>
          </a:prstGeom>
          <a:solidFill>
            <a:schemeClr val="accent2"/>
          </a:solidFill>
          <a:ln w="6350">
            <a:noFill/>
            <a:miter lim="800000"/>
            <a:headEnd/>
            <a:tailEnd/>
          </a:ln>
          <a:effectLst/>
        </p:spPr>
        <p:txBody>
          <a:bodyPr lIns="72000" tIns="72000" rIns="72000" bIns="7200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mj-lt"/>
                <a:ea typeface="+mn-ea"/>
                <a:cs typeface="+mn-cs"/>
              </a:rPr>
              <a:t>Text</a:t>
            </a:r>
          </a:p>
        </p:txBody>
      </p:sp>
      <p:sp>
        <p:nvSpPr>
          <p:cNvPr id="17" name="Rectangle 15">
            <a:extLst>
              <a:ext uri="{FF2B5EF4-FFF2-40B4-BE49-F238E27FC236}">
                <a16:creationId xmlns:a16="http://schemas.microsoft.com/office/drawing/2014/main" id="{292DB0E6-86DE-4885-838C-8DBB087160CA}"/>
              </a:ext>
            </a:extLst>
          </p:cNvPr>
          <p:cNvSpPr>
            <a:spLocks noChangeArrowheads="1"/>
          </p:cNvSpPr>
          <p:nvPr/>
        </p:nvSpPr>
        <p:spPr bwMode="auto">
          <a:xfrm>
            <a:off x="4823153" y="3192228"/>
            <a:ext cx="2530904" cy="990806"/>
          </a:xfrm>
          <a:prstGeom prst="rect">
            <a:avLst/>
          </a:prstGeom>
          <a:solidFill>
            <a:srgbClr val="96968C">
              <a:lumMod val="20000"/>
              <a:lumOff val="80000"/>
            </a:srgbClr>
          </a:solidFill>
          <a:ln w="6350">
            <a:noFill/>
            <a:miter lim="800000"/>
            <a:headEnd/>
            <a:tailEnd/>
          </a:ln>
          <a:effectLst/>
        </p:spPr>
        <p:txBody>
          <a:bodyPr wrap="none" lIns="180000" tIns="72000" rIns="72000" bIns="72000"/>
          <a:lstStyle/>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grpSp>
        <p:nvGrpSpPr>
          <p:cNvPr id="2" name="Group 1">
            <a:extLst>
              <a:ext uri="{FF2B5EF4-FFF2-40B4-BE49-F238E27FC236}">
                <a16:creationId xmlns:a16="http://schemas.microsoft.com/office/drawing/2014/main" id="{B4AE7C6F-C685-4FE4-AD2A-A8721307B12E}"/>
              </a:ext>
              <a:ext uri="{C183D7F6-B498-43B3-948B-1728B52AA6E4}">
                <adec:decorative xmlns:adec="http://schemas.microsoft.com/office/drawing/2017/decorative" val="1"/>
              </a:ext>
            </a:extLst>
          </p:cNvPr>
          <p:cNvGrpSpPr/>
          <p:nvPr/>
        </p:nvGrpSpPr>
        <p:grpSpPr>
          <a:xfrm>
            <a:off x="3263373" y="4183033"/>
            <a:ext cx="5665890" cy="487505"/>
            <a:chOff x="3263373" y="4183033"/>
            <a:chExt cx="5665890" cy="487505"/>
          </a:xfrm>
        </p:grpSpPr>
        <p:cxnSp>
          <p:nvCxnSpPr>
            <p:cNvPr id="19" name="AutoShape 17">
              <a:extLst>
                <a:ext uri="{FF2B5EF4-FFF2-40B4-BE49-F238E27FC236}">
                  <a16:creationId xmlns:a16="http://schemas.microsoft.com/office/drawing/2014/main" id="{6F0E0176-04A4-462A-B737-7196B5BB22AF}"/>
                </a:ext>
              </a:extLst>
            </p:cNvPr>
            <p:cNvCxnSpPr>
              <a:cxnSpLocks noChangeShapeType="1"/>
              <a:stCxn id="17" idx="2"/>
              <a:endCxn id="9" idx="0"/>
            </p:cNvCxnSpPr>
            <p:nvPr/>
          </p:nvCxnSpPr>
          <p:spPr bwMode="auto">
            <a:xfrm rot="5400000">
              <a:off x="4432238" y="3014168"/>
              <a:ext cx="487503" cy="2825234"/>
            </a:xfrm>
            <a:prstGeom prst="bentConnector3">
              <a:avLst>
                <a:gd name="adj1" fmla="val 50000"/>
              </a:avLst>
            </a:prstGeom>
            <a:noFill/>
            <a:ln w="12700" cap="rnd" cmpd="sng" algn="ctr">
              <a:solidFill>
                <a:srgbClr val="96968C"/>
              </a:solidFill>
              <a:prstDash val="sysDot"/>
              <a:headEnd type="none" w="med" len="med"/>
              <a:tailEnd type="none" w="med" len="med"/>
            </a:ln>
            <a:effectLst/>
          </p:spPr>
        </p:cxnSp>
        <p:cxnSp>
          <p:nvCxnSpPr>
            <p:cNvPr id="20" name="AutoShape 18">
              <a:extLst>
                <a:ext uri="{FF2B5EF4-FFF2-40B4-BE49-F238E27FC236}">
                  <a16:creationId xmlns:a16="http://schemas.microsoft.com/office/drawing/2014/main" id="{75633AEB-50D7-4F82-BCCF-6B56512C7FDF}"/>
                </a:ext>
              </a:extLst>
            </p:cNvPr>
            <p:cNvCxnSpPr>
              <a:cxnSpLocks noChangeShapeType="1"/>
              <a:stCxn id="17" idx="2"/>
              <a:endCxn id="10" idx="0"/>
            </p:cNvCxnSpPr>
            <p:nvPr/>
          </p:nvCxnSpPr>
          <p:spPr bwMode="auto">
            <a:xfrm rot="16200000" flipH="1">
              <a:off x="7265182" y="3006456"/>
              <a:ext cx="487504" cy="2840659"/>
            </a:xfrm>
            <a:prstGeom prst="bentConnector3">
              <a:avLst>
                <a:gd name="adj1" fmla="val 50000"/>
              </a:avLst>
            </a:prstGeom>
            <a:noFill/>
            <a:ln w="12700" cap="rnd" cmpd="sng" algn="ctr">
              <a:solidFill>
                <a:srgbClr val="96968C"/>
              </a:solidFill>
              <a:prstDash val="sysDot"/>
              <a:headEnd type="none" w="med" len="med"/>
              <a:tailEnd type="none" w="med" len="med"/>
            </a:ln>
            <a:effectLst/>
          </p:spPr>
        </p:cxnSp>
        <p:cxnSp>
          <p:nvCxnSpPr>
            <p:cNvPr id="21" name="AutoShape 19">
              <a:extLst>
                <a:ext uri="{FF2B5EF4-FFF2-40B4-BE49-F238E27FC236}">
                  <a16:creationId xmlns:a16="http://schemas.microsoft.com/office/drawing/2014/main" id="{512669C2-3DCA-49EF-BE4E-66AE291AA7CB}"/>
                </a:ext>
              </a:extLst>
            </p:cNvPr>
            <p:cNvCxnSpPr>
              <a:cxnSpLocks noChangeShapeType="1"/>
              <a:stCxn id="17" idx="2"/>
              <a:endCxn id="8" idx="0"/>
            </p:cNvCxnSpPr>
            <p:nvPr/>
          </p:nvCxnSpPr>
          <p:spPr bwMode="auto">
            <a:xfrm>
              <a:off x="6088605" y="4183034"/>
              <a:ext cx="1043" cy="487504"/>
            </a:xfrm>
            <a:prstGeom prst="straightConnector1">
              <a:avLst/>
            </a:prstGeom>
            <a:noFill/>
            <a:ln w="12700" cap="rnd" cmpd="sng" algn="ctr">
              <a:solidFill>
                <a:srgbClr val="96968C"/>
              </a:solidFill>
              <a:prstDash val="sysDot"/>
              <a:headEnd type="none" w="med" len="med"/>
              <a:tailEnd type="none" w="med" len="med"/>
            </a:ln>
            <a:effectLst/>
          </p:spPr>
        </p:cxnSp>
      </p:grpSp>
      <p:sp>
        <p:nvSpPr>
          <p:cNvPr id="9" name="Rectangle 7">
            <a:extLst>
              <a:ext uri="{FF2B5EF4-FFF2-40B4-BE49-F238E27FC236}">
                <a16:creationId xmlns:a16="http://schemas.microsoft.com/office/drawing/2014/main" id="{88999B96-8339-468C-B41D-1434B6A8C424}"/>
              </a:ext>
            </a:extLst>
          </p:cNvPr>
          <p:cNvSpPr>
            <a:spLocks noChangeArrowheads="1"/>
          </p:cNvSpPr>
          <p:nvPr/>
        </p:nvSpPr>
        <p:spPr bwMode="auto">
          <a:xfrm>
            <a:off x="1996878" y="4670538"/>
            <a:ext cx="2532987" cy="354343"/>
          </a:xfrm>
          <a:prstGeom prst="rect">
            <a:avLst/>
          </a:prstGeom>
          <a:solidFill>
            <a:schemeClr val="accent3"/>
          </a:solidFill>
          <a:ln w="6350">
            <a:noFill/>
            <a:miter lim="800000"/>
            <a:headEnd/>
            <a:tailEnd/>
          </a:ln>
          <a:effectLst/>
        </p:spPr>
        <p:txBody>
          <a:bodyPr lIns="72000" tIns="72000" rIns="72000" bIns="7200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mj-lt"/>
                <a:ea typeface="+mn-ea"/>
                <a:cs typeface="+mn-cs"/>
              </a:rPr>
              <a:t>Text</a:t>
            </a:r>
          </a:p>
        </p:txBody>
      </p:sp>
      <p:sp>
        <p:nvSpPr>
          <p:cNvPr id="14" name="Rectangle 12">
            <a:extLst>
              <a:ext uri="{FF2B5EF4-FFF2-40B4-BE49-F238E27FC236}">
                <a16:creationId xmlns:a16="http://schemas.microsoft.com/office/drawing/2014/main" id="{28EC4FDD-4B1F-49E5-930B-9A5CDF006808}"/>
              </a:ext>
            </a:extLst>
          </p:cNvPr>
          <p:cNvSpPr>
            <a:spLocks noChangeArrowheads="1"/>
          </p:cNvSpPr>
          <p:nvPr/>
        </p:nvSpPr>
        <p:spPr bwMode="auto">
          <a:xfrm>
            <a:off x="1996878" y="5011338"/>
            <a:ext cx="2532987" cy="990806"/>
          </a:xfrm>
          <a:prstGeom prst="rect">
            <a:avLst/>
          </a:prstGeom>
          <a:solidFill>
            <a:srgbClr val="96968C">
              <a:lumMod val="20000"/>
              <a:lumOff val="80000"/>
            </a:srgbClr>
          </a:solidFill>
          <a:ln w="6350">
            <a:noFill/>
            <a:miter lim="800000"/>
            <a:headEnd/>
            <a:tailEnd/>
          </a:ln>
          <a:effectLst/>
        </p:spPr>
        <p:txBody>
          <a:bodyPr wrap="none" lIns="180000" tIns="72000" rIns="72000" bIns="72000"/>
          <a:lstStyle/>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8" name="Rectangle 6">
            <a:extLst>
              <a:ext uri="{FF2B5EF4-FFF2-40B4-BE49-F238E27FC236}">
                <a16:creationId xmlns:a16="http://schemas.microsoft.com/office/drawing/2014/main" id="{524BF40D-FC1B-4578-B4CC-A889478D8A74}"/>
              </a:ext>
            </a:extLst>
          </p:cNvPr>
          <p:cNvSpPr>
            <a:spLocks noChangeArrowheads="1"/>
          </p:cNvSpPr>
          <p:nvPr/>
        </p:nvSpPr>
        <p:spPr bwMode="auto">
          <a:xfrm>
            <a:off x="4823154" y="4670538"/>
            <a:ext cx="2532987" cy="354343"/>
          </a:xfrm>
          <a:prstGeom prst="rect">
            <a:avLst/>
          </a:prstGeom>
          <a:solidFill>
            <a:schemeClr val="accent3"/>
          </a:solidFill>
          <a:ln w="6350">
            <a:noFill/>
            <a:miter lim="800000"/>
            <a:headEnd/>
            <a:tailEnd/>
          </a:ln>
          <a:effectLst/>
        </p:spPr>
        <p:txBody>
          <a:bodyPr lIns="72000" tIns="72000" rIns="72000" bIns="7200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mj-lt"/>
                <a:ea typeface="+mn-ea"/>
                <a:cs typeface="+mn-cs"/>
              </a:rPr>
              <a:t>Text</a:t>
            </a:r>
          </a:p>
        </p:txBody>
      </p:sp>
      <p:sp>
        <p:nvSpPr>
          <p:cNvPr id="13" name="Rectangle 11">
            <a:extLst>
              <a:ext uri="{FF2B5EF4-FFF2-40B4-BE49-F238E27FC236}">
                <a16:creationId xmlns:a16="http://schemas.microsoft.com/office/drawing/2014/main" id="{57327646-B8C3-4556-BC66-06B38F8AAD30}"/>
              </a:ext>
            </a:extLst>
          </p:cNvPr>
          <p:cNvSpPr>
            <a:spLocks noChangeArrowheads="1"/>
          </p:cNvSpPr>
          <p:nvPr/>
        </p:nvSpPr>
        <p:spPr bwMode="auto">
          <a:xfrm>
            <a:off x="4823154" y="5011338"/>
            <a:ext cx="2532987" cy="990806"/>
          </a:xfrm>
          <a:prstGeom prst="rect">
            <a:avLst/>
          </a:prstGeom>
          <a:solidFill>
            <a:srgbClr val="96968C">
              <a:lumMod val="20000"/>
              <a:lumOff val="80000"/>
            </a:srgbClr>
          </a:solidFill>
          <a:ln w="6350">
            <a:noFill/>
            <a:miter lim="800000"/>
            <a:headEnd/>
            <a:tailEnd/>
          </a:ln>
          <a:effectLst/>
        </p:spPr>
        <p:txBody>
          <a:bodyPr wrap="none" lIns="180000" tIns="72000" rIns="72000" bIns="72000"/>
          <a:lstStyle/>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10" name="Rectangle 8">
            <a:extLst>
              <a:ext uri="{FF2B5EF4-FFF2-40B4-BE49-F238E27FC236}">
                <a16:creationId xmlns:a16="http://schemas.microsoft.com/office/drawing/2014/main" id="{32308F00-1C39-456E-BDE7-6A4DD680237C}"/>
              </a:ext>
            </a:extLst>
          </p:cNvPr>
          <p:cNvSpPr>
            <a:spLocks noChangeArrowheads="1"/>
          </p:cNvSpPr>
          <p:nvPr/>
        </p:nvSpPr>
        <p:spPr bwMode="auto">
          <a:xfrm>
            <a:off x="7662770" y="4670538"/>
            <a:ext cx="2532987" cy="354343"/>
          </a:xfrm>
          <a:prstGeom prst="rect">
            <a:avLst/>
          </a:prstGeom>
          <a:solidFill>
            <a:schemeClr val="accent3"/>
          </a:solidFill>
          <a:ln w="6350">
            <a:noFill/>
            <a:miter lim="800000"/>
            <a:headEnd/>
            <a:tailEnd/>
          </a:ln>
          <a:effectLst/>
        </p:spPr>
        <p:txBody>
          <a:bodyPr lIns="72000" tIns="72000" rIns="72000" bIns="7200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mj-lt"/>
                <a:ea typeface="+mn-ea"/>
                <a:cs typeface="+mn-cs"/>
              </a:rPr>
              <a:t>Text</a:t>
            </a:r>
          </a:p>
        </p:txBody>
      </p:sp>
      <p:sp>
        <p:nvSpPr>
          <p:cNvPr id="15" name="Rectangle 13">
            <a:extLst>
              <a:ext uri="{FF2B5EF4-FFF2-40B4-BE49-F238E27FC236}">
                <a16:creationId xmlns:a16="http://schemas.microsoft.com/office/drawing/2014/main" id="{FE73D1E1-B122-4F73-A9B0-55D1FC82FE13}"/>
              </a:ext>
            </a:extLst>
          </p:cNvPr>
          <p:cNvSpPr>
            <a:spLocks noChangeArrowheads="1"/>
          </p:cNvSpPr>
          <p:nvPr/>
        </p:nvSpPr>
        <p:spPr bwMode="auto">
          <a:xfrm>
            <a:off x="7662770" y="5011338"/>
            <a:ext cx="2532987" cy="990806"/>
          </a:xfrm>
          <a:prstGeom prst="rect">
            <a:avLst/>
          </a:prstGeom>
          <a:solidFill>
            <a:srgbClr val="96968C">
              <a:lumMod val="20000"/>
              <a:lumOff val="80000"/>
            </a:srgbClr>
          </a:solidFill>
          <a:ln w="6350">
            <a:noFill/>
            <a:miter lim="800000"/>
            <a:headEnd/>
            <a:tailEnd/>
          </a:ln>
          <a:effectLst/>
        </p:spPr>
        <p:txBody>
          <a:bodyPr wrap="none" lIns="180000" tIns="72000" rIns="72000" bIns="72000"/>
          <a:lstStyle/>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3" name="Footer Placeholder 2">
            <a:extLst>
              <a:ext uri="{FF2B5EF4-FFF2-40B4-BE49-F238E27FC236}">
                <a16:creationId xmlns:a16="http://schemas.microsoft.com/office/drawing/2014/main" id="{AD0CA86B-F1AF-4094-9270-7CA1AD595E3B}"/>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3" name="Slide Number Placeholder 22">
            <a:extLst>
              <a:ext uri="{FF2B5EF4-FFF2-40B4-BE49-F238E27FC236}">
                <a16:creationId xmlns:a16="http://schemas.microsoft.com/office/drawing/2014/main" id="{34A09792-6318-44D8-9349-3269C6A07C69}"/>
              </a:ext>
            </a:extLst>
          </p:cNvPr>
          <p:cNvSpPr>
            <a:spLocks noGrp="1"/>
          </p:cNvSpPr>
          <p:nvPr>
            <p:ph type="sldNum" sz="quarter" idx="10"/>
          </p:nvPr>
        </p:nvSpPr>
        <p:spPr/>
        <p:txBody>
          <a:bodyPr/>
          <a:lstStyle/>
          <a:p>
            <a:fld id="{1F90F471-3972-4120-B8B3-0237DE626C35}" type="slidenum">
              <a:rPr lang="en-US" smtClean="0"/>
              <a:pPr/>
              <a:t>399</a:t>
            </a:fld>
            <a:endParaRPr lang="en-US" dirty="0"/>
          </a:p>
        </p:txBody>
      </p:sp>
    </p:spTree>
    <p:extLst>
      <p:ext uri="{BB962C8B-B14F-4D97-AF65-F5344CB8AC3E}">
        <p14:creationId xmlns:p14="http://schemas.microsoft.com/office/powerpoint/2010/main" val="17703570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D087608-1BEB-5DEA-826D-209C305ADE0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7" name="think-cell data - do not delete" hidden="1">
                        <a:extLst>
                          <a:ext uri="{FF2B5EF4-FFF2-40B4-BE49-F238E27FC236}">
                            <a16:creationId xmlns:a16="http://schemas.microsoft.com/office/drawing/2014/main" id="{CD087608-1BEB-5DEA-826D-209C305ADE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3297117-A3F3-EAA4-024B-7521771AD893}"/>
              </a:ext>
            </a:extLst>
          </p:cNvPr>
          <p:cNvSpPr>
            <a:spLocks noGrp="1"/>
          </p:cNvSpPr>
          <p:nvPr>
            <p:ph type="title"/>
          </p:nvPr>
        </p:nvSpPr>
        <p:spPr/>
        <p:txBody>
          <a:bodyPr vert="horz"/>
          <a:lstStyle/>
          <a:p>
            <a:r>
              <a:rPr lang="en-US" dirty="0">
                <a:latin typeface="Graphik" panose="020B0503030202060203" pitchFamily="34" charset="0"/>
              </a:rPr>
              <a:t>E2E Automation solution</a:t>
            </a:r>
            <a:br>
              <a:rPr lang="it-IT" dirty="0"/>
            </a:br>
            <a:r>
              <a:rPr lang="en-US" sz="1600" cap="small" dirty="0">
                <a:solidFill>
                  <a:schemeClr val="accent1"/>
                </a:solidFill>
                <a:latin typeface="Graphik Light" panose="020B0403030202060203" pitchFamily="34" charset="0"/>
              </a:rPr>
              <a:t>Using </a:t>
            </a:r>
            <a:r>
              <a:rPr lang="en-US" sz="1600" cap="small" dirty="0" err="1">
                <a:solidFill>
                  <a:schemeClr val="accent1"/>
                </a:solidFill>
                <a:latin typeface="Graphik Light" panose="020B0403030202060203" pitchFamily="34" charset="0"/>
              </a:rPr>
              <a:t>agentforce</a:t>
            </a:r>
            <a:r>
              <a:rPr lang="en-US" sz="1600" cap="small" dirty="0">
                <a:solidFill>
                  <a:schemeClr val="accent1"/>
                </a:solidFill>
                <a:latin typeface="Graphik Light" panose="020B0403030202060203" pitchFamily="34" charset="0"/>
              </a:rPr>
              <a:t> to automate the sales opportunities in salesforce</a:t>
            </a:r>
            <a:br>
              <a:rPr lang="it-IT" dirty="0"/>
            </a:br>
            <a:endParaRPr lang="en-FR" dirty="0"/>
          </a:p>
        </p:txBody>
      </p:sp>
      <p:grpSp>
        <p:nvGrpSpPr>
          <p:cNvPr id="66" name="Group 65">
            <a:extLst>
              <a:ext uri="{FF2B5EF4-FFF2-40B4-BE49-F238E27FC236}">
                <a16:creationId xmlns:a16="http://schemas.microsoft.com/office/drawing/2014/main" id="{DD65CDC8-C33F-F0CD-56CE-F793CDE4218C}"/>
              </a:ext>
            </a:extLst>
          </p:cNvPr>
          <p:cNvGrpSpPr/>
          <p:nvPr/>
        </p:nvGrpSpPr>
        <p:grpSpPr>
          <a:xfrm>
            <a:off x="381000" y="1073239"/>
            <a:ext cx="5212080" cy="374138"/>
            <a:chOff x="381000" y="1118959"/>
            <a:chExt cx="5212080" cy="374138"/>
          </a:xfrm>
        </p:grpSpPr>
        <p:cxnSp>
          <p:nvCxnSpPr>
            <p:cNvPr id="19" name="Straight Connector 18">
              <a:extLst>
                <a:ext uri="{FF2B5EF4-FFF2-40B4-BE49-F238E27FC236}">
                  <a16:creationId xmlns:a16="http://schemas.microsoft.com/office/drawing/2014/main" id="{1D913095-6217-1084-D2B7-BA8B76131C3D}"/>
                </a:ext>
              </a:extLst>
            </p:cNvPr>
            <p:cNvCxnSpPr>
              <a:cxnSpLocks/>
            </p:cNvCxnSpPr>
            <p:nvPr/>
          </p:nvCxnSpPr>
          <p:spPr>
            <a:xfrm>
              <a:off x="381000" y="1493097"/>
              <a:ext cx="52120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52801B5-92B2-E82C-F731-AB778E65672B}"/>
                </a:ext>
              </a:extLst>
            </p:cNvPr>
            <p:cNvCxnSpPr>
              <a:cxnSpLocks/>
            </p:cNvCxnSpPr>
            <p:nvPr/>
          </p:nvCxnSpPr>
          <p:spPr>
            <a:xfrm>
              <a:off x="381000" y="1493097"/>
              <a:ext cx="2581656"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139C892-3522-25BB-E01C-64DBEF249765}"/>
                </a:ext>
              </a:extLst>
            </p:cNvPr>
            <p:cNvSpPr txBox="1"/>
            <p:nvPr/>
          </p:nvSpPr>
          <p:spPr>
            <a:xfrm>
              <a:off x="827786" y="1118959"/>
              <a:ext cx="2632640" cy="338554"/>
            </a:xfrm>
            <a:prstGeom prst="rect">
              <a:avLst/>
            </a:prstGeom>
            <a:noFill/>
          </p:spPr>
          <p:txBody>
            <a:bodyPr wrap="square" rtlCol="0">
              <a:spAutoFit/>
            </a:bodyPr>
            <a:lstStyle/>
            <a:p>
              <a:r>
                <a:rPr lang="en-GB" sz="1600" b="1" dirty="0">
                  <a:solidFill>
                    <a:schemeClr val="accent1"/>
                  </a:solidFill>
                </a:rPr>
                <a:t>SCOPE</a:t>
              </a:r>
            </a:p>
          </p:txBody>
        </p:sp>
      </p:grpSp>
      <p:grpSp>
        <p:nvGrpSpPr>
          <p:cNvPr id="67" name="Group 66">
            <a:extLst>
              <a:ext uri="{FF2B5EF4-FFF2-40B4-BE49-F238E27FC236}">
                <a16:creationId xmlns:a16="http://schemas.microsoft.com/office/drawing/2014/main" id="{4D6AF021-18A2-7C44-E2F4-F27EC16413C1}"/>
              </a:ext>
            </a:extLst>
          </p:cNvPr>
          <p:cNvGrpSpPr/>
          <p:nvPr/>
        </p:nvGrpSpPr>
        <p:grpSpPr>
          <a:xfrm>
            <a:off x="5681043" y="1073239"/>
            <a:ext cx="5507736" cy="374138"/>
            <a:chOff x="6319393" y="1118959"/>
            <a:chExt cx="5507736" cy="374138"/>
          </a:xfrm>
        </p:grpSpPr>
        <p:cxnSp>
          <p:nvCxnSpPr>
            <p:cNvPr id="28" name="Straight Connector 27">
              <a:extLst>
                <a:ext uri="{FF2B5EF4-FFF2-40B4-BE49-F238E27FC236}">
                  <a16:creationId xmlns:a16="http://schemas.microsoft.com/office/drawing/2014/main" id="{6F7F1B9C-6489-F1B0-F5F5-99241E8A5853}"/>
                </a:ext>
              </a:extLst>
            </p:cNvPr>
            <p:cNvCxnSpPr>
              <a:cxnSpLocks/>
            </p:cNvCxnSpPr>
            <p:nvPr/>
          </p:nvCxnSpPr>
          <p:spPr>
            <a:xfrm>
              <a:off x="6319393" y="1493097"/>
              <a:ext cx="550773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AA2D85D-F474-1866-6E1B-FE650D6D65F7}"/>
                </a:ext>
              </a:extLst>
            </p:cNvPr>
            <p:cNvCxnSpPr>
              <a:cxnSpLocks/>
            </p:cNvCxnSpPr>
            <p:nvPr/>
          </p:nvCxnSpPr>
          <p:spPr>
            <a:xfrm>
              <a:off x="6319393" y="1493097"/>
              <a:ext cx="2861183"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0436E4CB-904C-F26B-D22D-E5700241B3F6}"/>
                </a:ext>
              </a:extLst>
            </p:cNvPr>
            <p:cNvSpPr txBox="1"/>
            <p:nvPr/>
          </p:nvSpPr>
          <p:spPr>
            <a:xfrm>
              <a:off x="6766179" y="1118959"/>
              <a:ext cx="2725293" cy="338554"/>
            </a:xfrm>
            <a:prstGeom prst="rect">
              <a:avLst/>
            </a:prstGeom>
            <a:noFill/>
          </p:spPr>
          <p:txBody>
            <a:bodyPr wrap="square" rtlCol="0">
              <a:spAutoFit/>
            </a:bodyPr>
            <a:lstStyle/>
            <a:p>
              <a:r>
                <a:rPr lang="en-GB" sz="1600" b="1" dirty="0">
                  <a:solidFill>
                    <a:schemeClr val="accent1"/>
                  </a:solidFill>
                </a:rPr>
                <a:t>Process</a:t>
              </a:r>
            </a:p>
          </p:txBody>
        </p:sp>
      </p:grpSp>
      <p:sp>
        <p:nvSpPr>
          <p:cNvPr id="153" name="Text Placeholder 1">
            <a:extLst>
              <a:ext uri="{FF2B5EF4-FFF2-40B4-BE49-F238E27FC236}">
                <a16:creationId xmlns:a16="http://schemas.microsoft.com/office/drawing/2014/main" id="{FD44270B-F805-6E88-6B96-29C3A9BFC7EC}"/>
              </a:ext>
            </a:extLst>
          </p:cNvPr>
          <p:cNvSpPr txBox="1">
            <a:spLocks/>
          </p:cNvSpPr>
          <p:nvPr/>
        </p:nvSpPr>
        <p:spPr>
          <a:xfrm>
            <a:off x="391703" y="1507251"/>
            <a:ext cx="5175115" cy="2587686"/>
          </a:xfrm>
          <a:prstGeom prst="rect">
            <a:avLst/>
          </a:prstGeom>
        </p:spPr>
        <p:txBody>
          <a:bodyPr vert="horz" lIns="0" tIns="0" rIns="0" bIns="0" rtlCol="0" anchor="t">
            <a:noAutofit/>
          </a:bodyPr>
          <a:lstStyle>
            <a:lvl1pPr marL="0" indent="0" algn="l" defTabSz="228600" rtl="0" eaLnBrk="1" latinLnBrk="0" hangingPunct="1">
              <a:lnSpc>
                <a:spcPct val="100000"/>
              </a:lnSpc>
              <a:spcBef>
                <a:spcPts val="1200"/>
              </a:spcBef>
              <a:spcAft>
                <a:spcPts val="600"/>
              </a:spcAft>
              <a:buFontTx/>
              <a:buNone/>
              <a:defRPr lang="en-US" sz="2400" b="0" kern="1200" cap="none" baseline="0" dirty="0">
                <a:solidFill>
                  <a:schemeClr val="tx1"/>
                </a:solidFill>
                <a:latin typeface="Graphik" panose="020B0503030202060203" pitchFamily="34" charset="0"/>
                <a:ea typeface="+mn-ea"/>
                <a:cs typeface="Arial" panose="020B0604020202020204" pitchFamily="34" charset="0"/>
              </a:defRPr>
            </a:lvl1pPr>
            <a:lvl2pPr marL="230188" indent="-230188" algn="l" defTabSz="228600" rtl="0" eaLnBrk="1" latinLnBrk="0" hangingPunct="1">
              <a:lnSpc>
                <a:spcPct val="100000"/>
              </a:lnSpc>
              <a:spcBef>
                <a:spcPts val="0"/>
              </a:spcBef>
              <a:spcAft>
                <a:spcPts val="600"/>
              </a:spcAft>
              <a:buClrTx/>
              <a:buFont typeface="Arial" panose="020B0604020202020204" pitchFamily="34" charset="0"/>
              <a:buChar char="•"/>
              <a:defRPr lang="en-US" sz="2400" kern="1200" dirty="0">
                <a:solidFill>
                  <a:schemeClr val="tx1"/>
                </a:solidFill>
                <a:latin typeface="Graphik" panose="020B0503030202060203" pitchFamily="34" charset="0"/>
                <a:ea typeface="+mn-ea"/>
                <a:cs typeface="Arial" panose="020B0604020202020204" pitchFamily="34" charset="0"/>
              </a:defRPr>
            </a:lvl2pPr>
            <a:lvl3pPr marL="517525" indent="-287338" algn="l" defTabSz="228600" rtl="0" eaLnBrk="1" latinLnBrk="0" hangingPunct="1">
              <a:lnSpc>
                <a:spcPct val="100000"/>
              </a:lnSpc>
              <a:spcBef>
                <a:spcPts val="0"/>
              </a:spcBef>
              <a:spcAft>
                <a:spcPts val="600"/>
              </a:spcAft>
              <a:buFont typeface="Arial" panose="020B0604020202020204" pitchFamily="34" charset="0"/>
              <a:buChar char="─"/>
              <a:defRPr lang="en-US" sz="2000" kern="1200" dirty="0">
                <a:solidFill>
                  <a:schemeClr val="tx1"/>
                </a:solidFill>
                <a:latin typeface="Graphik" panose="020B0503030202060203" pitchFamily="34" charset="0"/>
                <a:ea typeface="+mn-ea"/>
                <a:cs typeface="Arial" panose="020B0604020202020204" pitchFamily="34" charset="0"/>
              </a:defRPr>
            </a:lvl3pPr>
            <a:lvl4pPr marL="738188" indent="-220663" algn="l" defTabSz="228600" rtl="0" eaLnBrk="1" latinLnBrk="0" hangingPunct="1">
              <a:lnSpc>
                <a:spcPct val="100000"/>
              </a:lnSpc>
              <a:spcBef>
                <a:spcPts val="0"/>
              </a:spcBef>
              <a:spcAft>
                <a:spcPts val="600"/>
              </a:spcAft>
              <a:buFont typeface="Arial" panose="020B0604020202020204" pitchFamily="34" charset="0"/>
              <a:buChar char="•"/>
              <a:defRPr lang="en-US" sz="1800" kern="1200" cap="none" baseline="0" dirty="0">
                <a:solidFill>
                  <a:schemeClr val="tx1"/>
                </a:solidFill>
                <a:latin typeface="Graphik" panose="020B0503030202060203" pitchFamily="34" charset="0"/>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lang="en-US" sz="1400" kern="1200" cap="none" baseline="0" dirty="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lang="en-US" sz="1200" kern="1200" cap="none" baseline="0" dirty="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lang="en-US" sz="1200" b="1" kern="1200" cap="none" baseline="0" dirty="0">
                <a:solidFill>
                  <a:schemeClr val="tx1"/>
                </a:solidFill>
                <a:latin typeface="+mj-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lang="en-US" sz="1800" b="1" kern="1200" cap="none" baseline="0" dirty="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lang="en-US" sz="1200" kern="1200" cap="none" baseline="0" dirty="0">
                <a:solidFill>
                  <a:schemeClr val="tx1"/>
                </a:solidFill>
                <a:latin typeface="+mn-lt"/>
                <a:ea typeface="+mn-ea"/>
                <a:cs typeface="+mn-cs"/>
              </a:defRPr>
            </a:lvl9pPr>
          </a:lstStyle>
          <a:p>
            <a:pPr marL="171450" indent="-171450">
              <a:spcBef>
                <a:spcPts val="0"/>
              </a:spcBef>
              <a:buFont typeface="Arial" panose="020B0604020202020204" pitchFamily="34" charset="0"/>
              <a:buChar char="•"/>
            </a:pPr>
            <a:r>
              <a:rPr lang="en-GB" sz="1200" dirty="0">
                <a:solidFill>
                  <a:srgbClr val="000000"/>
                </a:solidFill>
                <a:effectLst/>
              </a:rPr>
              <a:t>4PL mission for :</a:t>
            </a:r>
          </a:p>
          <a:p>
            <a:pPr marL="401638" lvl="1" indent="-171450">
              <a:buFont typeface="Courier New" panose="02070309020205020404" pitchFamily="49" charset="0"/>
              <a:buChar char="o"/>
            </a:pPr>
            <a:r>
              <a:rPr lang="en-GB" sz="1200" b="1" dirty="0">
                <a:solidFill>
                  <a:srgbClr val="000000"/>
                </a:solidFill>
                <a:effectLst/>
              </a:rPr>
              <a:t>Manufacturing:</a:t>
            </a:r>
            <a:r>
              <a:rPr lang="en-GB" sz="1200" dirty="0">
                <a:solidFill>
                  <a:srgbClr val="000000"/>
                </a:solidFill>
                <a:effectLst/>
              </a:rPr>
              <a:t> only inbound overland flows of parts &amp; empty packaging returns (overseas flows are excluded).</a:t>
            </a:r>
          </a:p>
          <a:p>
            <a:pPr marL="401638" lvl="1" indent="-171450">
              <a:buFont typeface="Courier New" panose="02070309020205020404" pitchFamily="49" charset="0"/>
              <a:buChar char="o"/>
            </a:pPr>
            <a:r>
              <a:rPr lang="en-GB" sz="1200" b="1" dirty="0">
                <a:solidFill>
                  <a:srgbClr val="000000"/>
                </a:solidFill>
                <a:effectLst/>
              </a:rPr>
              <a:t>Aftersales</a:t>
            </a:r>
            <a:r>
              <a:rPr lang="en-GB" sz="1200" b="1" dirty="0">
                <a:solidFill>
                  <a:srgbClr val="000000"/>
                </a:solidFill>
              </a:rPr>
              <a:t>:</a:t>
            </a:r>
            <a:r>
              <a:rPr lang="en-GB" sz="1200" dirty="0">
                <a:solidFill>
                  <a:srgbClr val="000000"/>
                </a:solidFill>
              </a:rPr>
              <a:t> </a:t>
            </a:r>
            <a:r>
              <a:rPr lang="en-GB" sz="1200" dirty="0">
                <a:solidFill>
                  <a:srgbClr val="000000"/>
                </a:solidFill>
                <a:effectLst/>
              </a:rPr>
              <a:t>inbound &amp; outbound flows (including Internal warehouses and flows between Warehouses and Circular economy plants) all relative to parts</a:t>
            </a:r>
          </a:p>
          <a:p>
            <a:pPr marL="401638" lvl="1" indent="-171450">
              <a:buFont typeface="Courier New" panose="02070309020205020404" pitchFamily="49" charset="0"/>
              <a:buChar char="o"/>
            </a:pPr>
            <a:r>
              <a:rPr lang="en-GB" sz="1200" dirty="0">
                <a:solidFill>
                  <a:srgbClr val="000000"/>
                </a:solidFill>
                <a:effectLst/>
              </a:rPr>
              <a:t>Both include shipments of parts &amp; empty packaging returns</a:t>
            </a:r>
          </a:p>
          <a:p>
            <a:pPr marL="401638" lvl="1" indent="-171450">
              <a:buFont typeface="Courier New" panose="02070309020205020404" pitchFamily="49" charset="0"/>
              <a:buChar char="o"/>
            </a:pPr>
            <a:r>
              <a:rPr lang="en-GB" sz="1200" dirty="0">
                <a:solidFill>
                  <a:srgbClr val="000000"/>
                </a:solidFill>
                <a:effectLst/>
              </a:rPr>
              <a:t>Both exclude overseas flows (long sea flows from other regions)</a:t>
            </a:r>
          </a:p>
          <a:p>
            <a:pPr marL="171450" indent="-171450">
              <a:spcBef>
                <a:spcPts val="0"/>
              </a:spcBef>
              <a:buFont typeface="Arial" panose="020B0604020202020204" pitchFamily="34" charset="0"/>
              <a:buChar char="•"/>
            </a:pPr>
            <a:r>
              <a:rPr lang="en-GB" sz="1200" dirty="0">
                <a:solidFill>
                  <a:srgbClr val="000000"/>
                </a:solidFill>
                <a:effectLst/>
              </a:rPr>
              <a:t>Geographical scope is </a:t>
            </a:r>
            <a:r>
              <a:rPr lang="en-GB" sz="1200" b="1" dirty="0">
                <a:solidFill>
                  <a:srgbClr val="000000"/>
                </a:solidFill>
                <a:effectLst/>
              </a:rPr>
              <a:t>Europe</a:t>
            </a:r>
            <a:r>
              <a:rPr lang="en-GB" sz="1200" dirty="0">
                <a:solidFill>
                  <a:srgbClr val="000000"/>
                </a:solidFill>
                <a:effectLst/>
              </a:rPr>
              <a:t> mainly, but also </a:t>
            </a:r>
            <a:r>
              <a:rPr lang="en-GB" sz="1200" b="1" dirty="0">
                <a:solidFill>
                  <a:srgbClr val="000000"/>
                </a:solidFill>
                <a:effectLst/>
              </a:rPr>
              <a:t>Morocco</a:t>
            </a:r>
            <a:r>
              <a:rPr lang="en-GB" sz="1200" dirty="0">
                <a:solidFill>
                  <a:srgbClr val="000000"/>
                </a:solidFill>
                <a:effectLst/>
              </a:rPr>
              <a:t>, &amp; </a:t>
            </a:r>
            <a:r>
              <a:rPr lang="en-GB" sz="1200" b="1" dirty="0">
                <a:solidFill>
                  <a:srgbClr val="000000"/>
                </a:solidFill>
                <a:effectLst/>
              </a:rPr>
              <a:t>Turkey</a:t>
            </a:r>
          </a:p>
          <a:p>
            <a:pPr marL="171450" indent="-171450">
              <a:spcBef>
                <a:spcPts val="0"/>
              </a:spcBef>
              <a:buFont typeface="Arial" panose="020B0604020202020204" pitchFamily="34" charset="0"/>
              <a:buChar char="•"/>
            </a:pPr>
            <a:r>
              <a:rPr lang="en-FR" sz="1200" b="1" noProof="0" dirty="0"/>
              <a:t>ROM </a:t>
            </a:r>
            <a:r>
              <a:rPr lang="it-IT" sz="1200" b="1" noProof="0" dirty="0"/>
              <a:t>T</a:t>
            </a:r>
            <a:r>
              <a:rPr lang="en-FR" sz="1200" b="1" noProof="0" dirty="0"/>
              <a:t>ransport</a:t>
            </a:r>
            <a:r>
              <a:rPr lang="it-IT" sz="1200" b="1" noProof="0" dirty="0"/>
              <a:t>ation</a:t>
            </a:r>
            <a:r>
              <a:rPr lang="en-FR" sz="1200" b="1" noProof="0" dirty="0"/>
              <a:t> </a:t>
            </a:r>
            <a:r>
              <a:rPr lang="en-GB" sz="1200" b="1" noProof="0" dirty="0"/>
              <a:t>S</a:t>
            </a:r>
            <a:r>
              <a:rPr lang="en-FR" sz="1200" b="1" noProof="0" dirty="0"/>
              <a:t>pend 1B/year</a:t>
            </a:r>
          </a:p>
          <a:p>
            <a:pPr marL="171450" indent="-171450">
              <a:spcBef>
                <a:spcPts val="0"/>
              </a:spcBef>
              <a:buFont typeface="Arial" panose="020B0604020202020204" pitchFamily="34" charset="0"/>
              <a:buChar char="•"/>
            </a:pPr>
            <a:endParaRPr lang="en-GB" sz="1200" b="1" dirty="0">
              <a:solidFill>
                <a:srgbClr val="000000"/>
              </a:solidFill>
              <a:effectLst/>
            </a:endParaRPr>
          </a:p>
          <a:p>
            <a:pPr algn="just">
              <a:spcBef>
                <a:spcPts val="300"/>
              </a:spcBef>
              <a:spcAft>
                <a:spcPts val="0"/>
              </a:spcAft>
            </a:pPr>
            <a:endParaRPr lang="en-US" sz="1100" dirty="0"/>
          </a:p>
        </p:txBody>
      </p:sp>
      <p:grpSp>
        <p:nvGrpSpPr>
          <p:cNvPr id="159" name="Group 4">
            <a:extLst>
              <a:ext uri="{FF2B5EF4-FFF2-40B4-BE49-F238E27FC236}">
                <a16:creationId xmlns:a16="http://schemas.microsoft.com/office/drawing/2014/main" id="{E8364CB0-3680-E2CF-11C8-09A226BCAE8D}"/>
              </a:ext>
            </a:extLst>
          </p:cNvPr>
          <p:cNvGrpSpPr>
            <a:grpSpLocks noChangeAspect="1"/>
          </p:cNvGrpSpPr>
          <p:nvPr/>
        </p:nvGrpSpPr>
        <p:grpSpPr bwMode="auto">
          <a:xfrm>
            <a:off x="426049" y="978408"/>
            <a:ext cx="362752" cy="361750"/>
            <a:chOff x="380" y="473"/>
            <a:chExt cx="362" cy="361"/>
          </a:xfrm>
          <a:solidFill>
            <a:srgbClr val="A100FF"/>
          </a:solidFill>
        </p:grpSpPr>
        <p:sp>
          <p:nvSpPr>
            <p:cNvPr id="160" name="Freeform 5">
              <a:extLst>
                <a:ext uri="{FF2B5EF4-FFF2-40B4-BE49-F238E27FC236}">
                  <a16:creationId xmlns:a16="http://schemas.microsoft.com/office/drawing/2014/main" id="{A17F7215-3C44-3DC9-A3D8-4EA56E84A9A3}"/>
                </a:ext>
              </a:extLst>
            </p:cNvPr>
            <p:cNvSpPr>
              <a:spLocks noEditPoints="1"/>
            </p:cNvSpPr>
            <p:nvPr/>
          </p:nvSpPr>
          <p:spPr bwMode="auto">
            <a:xfrm>
              <a:off x="545" y="473"/>
              <a:ext cx="197" cy="197"/>
            </a:xfrm>
            <a:custGeom>
              <a:avLst/>
              <a:gdLst>
                <a:gd name="T0" fmla="*/ 11 w 133"/>
                <a:gd name="T1" fmla="*/ 111 h 133"/>
                <a:gd name="T2" fmla="*/ 0 w 133"/>
                <a:gd name="T3" fmla="*/ 122 h 133"/>
                <a:gd name="T4" fmla="*/ 11 w 133"/>
                <a:gd name="T5" fmla="*/ 133 h 133"/>
                <a:gd name="T6" fmla="*/ 22 w 133"/>
                <a:gd name="T7" fmla="*/ 122 h 133"/>
                <a:gd name="T8" fmla="*/ 21 w 133"/>
                <a:gd name="T9" fmla="*/ 120 h 133"/>
                <a:gd name="T10" fmla="*/ 73 w 133"/>
                <a:gd name="T11" fmla="*/ 68 h 133"/>
                <a:gd name="T12" fmla="*/ 99 w 133"/>
                <a:gd name="T13" fmla="*/ 68 h 133"/>
                <a:gd name="T14" fmla="*/ 103 w 133"/>
                <a:gd name="T15" fmla="*/ 67 h 133"/>
                <a:gd name="T16" fmla="*/ 131 w 133"/>
                <a:gd name="T17" fmla="*/ 39 h 133"/>
                <a:gd name="T18" fmla="*/ 132 w 133"/>
                <a:gd name="T19" fmla="*/ 32 h 133"/>
                <a:gd name="T20" fmla="*/ 126 w 133"/>
                <a:gd name="T21" fmla="*/ 28 h 133"/>
                <a:gd name="T22" fmla="*/ 105 w 133"/>
                <a:gd name="T23" fmla="*/ 28 h 133"/>
                <a:gd name="T24" fmla="*/ 105 w 133"/>
                <a:gd name="T25" fmla="*/ 7 h 133"/>
                <a:gd name="T26" fmla="*/ 101 w 133"/>
                <a:gd name="T27" fmla="*/ 1 h 133"/>
                <a:gd name="T28" fmla="*/ 94 w 133"/>
                <a:gd name="T29" fmla="*/ 2 h 133"/>
                <a:gd name="T30" fmla="*/ 66 w 133"/>
                <a:gd name="T31" fmla="*/ 30 h 133"/>
                <a:gd name="T32" fmla="*/ 64 w 133"/>
                <a:gd name="T33" fmla="*/ 34 h 133"/>
                <a:gd name="T34" fmla="*/ 64 w 133"/>
                <a:gd name="T35" fmla="*/ 59 h 133"/>
                <a:gd name="T36" fmla="*/ 12 w 133"/>
                <a:gd name="T37" fmla="*/ 111 h 133"/>
                <a:gd name="T38" fmla="*/ 11 w 133"/>
                <a:gd name="T39" fmla="*/ 111 h 133"/>
                <a:gd name="T40" fmla="*/ 94 w 133"/>
                <a:gd name="T41" fmla="*/ 39 h 133"/>
                <a:gd name="T42" fmla="*/ 99 w 133"/>
                <a:gd name="T43" fmla="*/ 41 h 133"/>
                <a:gd name="T44" fmla="*/ 111 w 133"/>
                <a:gd name="T45" fmla="*/ 41 h 133"/>
                <a:gd name="T46" fmla="*/ 96 w 133"/>
                <a:gd name="T47" fmla="*/ 56 h 133"/>
                <a:gd name="T48" fmla="*/ 77 w 133"/>
                <a:gd name="T49" fmla="*/ 56 h 133"/>
                <a:gd name="T50" fmla="*/ 77 w 133"/>
                <a:gd name="T51" fmla="*/ 37 h 133"/>
                <a:gd name="T52" fmla="*/ 92 w 133"/>
                <a:gd name="T53" fmla="*/ 22 h 133"/>
                <a:gd name="T54" fmla="*/ 92 w 133"/>
                <a:gd name="T55" fmla="*/ 34 h 133"/>
                <a:gd name="T56" fmla="*/ 94 w 133"/>
                <a:gd name="T57" fmla="*/ 3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3">
                  <a:moveTo>
                    <a:pt x="11" y="111"/>
                  </a:moveTo>
                  <a:cubicBezTo>
                    <a:pt x="5" y="111"/>
                    <a:pt x="0" y="116"/>
                    <a:pt x="0" y="122"/>
                  </a:cubicBezTo>
                  <a:cubicBezTo>
                    <a:pt x="0" y="128"/>
                    <a:pt x="5" y="133"/>
                    <a:pt x="11" y="133"/>
                  </a:cubicBezTo>
                  <a:cubicBezTo>
                    <a:pt x="17" y="133"/>
                    <a:pt x="22" y="128"/>
                    <a:pt x="22" y="122"/>
                  </a:cubicBezTo>
                  <a:cubicBezTo>
                    <a:pt x="22" y="122"/>
                    <a:pt x="22" y="121"/>
                    <a:pt x="21" y="120"/>
                  </a:cubicBezTo>
                  <a:cubicBezTo>
                    <a:pt x="73" y="68"/>
                    <a:pt x="73" y="68"/>
                    <a:pt x="73" y="68"/>
                  </a:cubicBezTo>
                  <a:cubicBezTo>
                    <a:pt x="99" y="68"/>
                    <a:pt x="99" y="68"/>
                    <a:pt x="99" y="68"/>
                  </a:cubicBezTo>
                  <a:cubicBezTo>
                    <a:pt x="100" y="68"/>
                    <a:pt x="102" y="68"/>
                    <a:pt x="103" y="67"/>
                  </a:cubicBezTo>
                  <a:cubicBezTo>
                    <a:pt x="131" y="39"/>
                    <a:pt x="131" y="39"/>
                    <a:pt x="131" y="39"/>
                  </a:cubicBezTo>
                  <a:cubicBezTo>
                    <a:pt x="133" y="37"/>
                    <a:pt x="133" y="34"/>
                    <a:pt x="132" y="32"/>
                  </a:cubicBezTo>
                  <a:cubicBezTo>
                    <a:pt x="131" y="30"/>
                    <a:pt x="129" y="28"/>
                    <a:pt x="126" y="28"/>
                  </a:cubicBezTo>
                  <a:cubicBezTo>
                    <a:pt x="105" y="28"/>
                    <a:pt x="105" y="28"/>
                    <a:pt x="105" y="28"/>
                  </a:cubicBezTo>
                  <a:cubicBezTo>
                    <a:pt x="105" y="7"/>
                    <a:pt x="105" y="7"/>
                    <a:pt x="105" y="7"/>
                  </a:cubicBezTo>
                  <a:cubicBezTo>
                    <a:pt x="105" y="4"/>
                    <a:pt x="103" y="2"/>
                    <a:pt x="101" y="1"/>
                  </a:cubicBezTo>
                  <a:cubicBezTo>
                    <a:pt x="99" y="0"/>
                    <a:pt x="96" y="0"/>
                    <a:pt x="94" y="2"/>
                  </a:cubicBezTo>
                  <a:cubicBezTo>
                    <a:pt x="66" y="30"/>
                    <a:pt x="66" y="30"/>
                    <a:pt x="66" y="30"/>
                  </a:cubicBezTo>
                  <a:cubicBezTo>
                    <a:pt x="65" y="31"/>
                    <a:pt x="64" y="33"/>
                    <a:pt x="64" y="34"/>
                  </a:cubicBezTo>
                  <a:cubicBezTo>
                    <a:pt x="64" y="59"/>
                    <a:pt x="64" y="59"/>
                    <a:pt x="64" y="59"/>
                  </a:cubicBezTo>
                  <a:cubicBezTo>
                    <a:pt x="12" y="111"/>
                    <a:pt x="12" y="111"/>
                    <a:pt x="12" y="111"/>
                  </a:cubicBezTo>
                  <a:cubicBezTo>
                    <a:pt x="12" y="111"/>
                    <a:pt x="11" y="111"/>
                    <a:pt x="11" y="111"/>
                  </a:cubicBezTo>
                  <a:close/>
                  <a:moveTo>
                    <a:pt x="94" y="39"/>
                  </a:moveTo>
                  <a:cubicBezTo>
                    <a:pt x="95" y="40"/>
                    <a:pt x="97" y="41"/>
                    <a:pt x="99" y="41"/>
                  </a:cubicBezTo>
                  <a:cubicBezTo>
                    <a:pt x="111" y="41"/>
                    <a:pt x="111" y="41"/>
                    <a:pt x="111" y="41"/>
                  </a:cubicBezTo>
                  <a:cubicBezTo>
                    <a:pt x="96" y="56"/>
                    <a:pt x="96" y="56"/>
                    <a:pt x="96" y="56"/>
                  </a:cubicBezTo>
                  <a:cubicBezTo>
                    <a:pt x="77" y="56"/>
                    <a:pt x="77" y="56"/>
                    <a:pt x="77" y="56"/>
                  </a:cubicBezTo>
                  <a:cubicBezTo>
                    <a:pt x="77" y="37"/>
                    <a:pt x="77" y="37"/>
                    <a:pt x="77" y="37"/>
                  </a:cubicBezTo>
                  <a:cubicBezTo>
                    <a:pt x="92" y="22"/>
                    <a:pt x="92" y="22"/>
                    <a:pt x="92" y="22"/>
                  </a:cubicBezTo>
                  <a:cubicBezTo>
                    <a:pt x="92" y="34"/>
                    <a:pt x="92" y="34"/>
                    <a:pt x="92" y="34"/>
                  </a:cubicBezTo>
                  <a:cubicBezTo>
                    <a:pt x="92" y="36"/>
                    <a:pt x="93" y="38"/>
                    <a:pt x="94"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61" name="Freeform 6">
              <a:extLst>
                <a:ext uri="{FF2B5EF4-FFF2-40B4-BE49-F238E27FC236}">
                  <a16:creationId xmlns:a16="http://schemas.microsoft.com/office/drawing/2014/main" id="{BCED7044-EE0B-294B-7BFD-A1E0EBB6CFF7}"/>
                </a:ext>
              </a:extLst>
            </p:cNvPr>
            <p:cNvSpPr>
              <a:spLocks/>
            </p:cNvSpPr>
            <p:nvPr/>
          </p:nvSpPr>
          <p:spPr bwMode="auto">
            <a:xfrm>
              <a:off x="435" y="528"/>
              <a:ext cx="252" cy="251"/>
            </a:xfrm>
            <a:custGeom>
              <a:avLst/>
              <a:gdLst>
                <a:gd name="T0" fmla="*/ 123 w 170"/>
                <a:gd name="T1" fmla="*/ 16 h 170"/>
                <a:gd name="T2" fmla="*/ 120 w 170"/>
                <a:gd name="T3" fmla="*/ 8 h 170"/>
                <a:gd name="T4" fmla="*/ 119 w 170"/>
                <a:gd name="T5" fmla="*/ 8 h 170"/>
                <a:gd name="T6" fmla="*/ 85 w 170"/>
                <a:gd name="T7" fmla="*/ 0 h 170"/>
                <a:gd name="T8" fmla="*/ 0 w 170"/>
                <a:gd name="T9" fmla="*/ 85 h 170"/>
                <a:gd name="T10" fmla="*/ 85 w 170"/>
                <a:gd name="T11" fmla="*/ 170 h 170"/>
                <a:gd name="T12" fmla="*/ 170 w 170"/>
                <a:gd name="T13" fmla="*/ 85 h 170"/>
                <a:gd name="T14" fmla="*/ 162 w 170"/>
                <a:gd name="T15" fmla="*/ 50 h 170"/>
                <a:gd name="T16" fmla="*/ 158 w 170"/>
                <a:gd name="T17" fmla="*/ 47 h 170"/>
                <a:gd name="T18" fmla="*/ 154 w 170"/>
                <a:gd name="T19" fmla="*/ 47 h 170"/>
                <a:gd name="T20" fmla="*/ 150 w 170"/>
                <a:gd name="T21" fmla="*/ 51 h 170"/>
                <a:gd name="T22" fmla="*/ 151 w 170"/>
                <a:gd name="T23" fmla="*/ 55 h 170"/>
                <a:gd name="T24" fmla="*/ 157 w 170"/>
                <a:gd name="T25" fmla="*/ 85 h 170"/>
                <a:gd name="T26" fmla="*/ 85 w 170"/>
                <a:gd name="T27" fmla="*/ 158 h 170"/>
                <a:gd name="T28" fmla="*/ 12 w 170"/>
                <a:gd name="T29" fmla="*/ 85 h 170"/>
                <a:gd name="T30" fmla="*/ 85 w 170"/>
                <a:gd name="T31" fmla="*/ 13 h 170"/>
                <a:gd name="T32" fmla="*/ 114 w 170"/>
                <a:gd name="T33" fmla="*/ 19 h 170"/>
                <a:gd name="T34" fmla="*/ 123 w 170"/>
                <a:gd name="T35" fmla="*/ 1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23" y="16"/>
                  </a:moveTo>
                  <a:cubicBezTo>
                    <a:pt x="124" y="13"/>
                    <a:pt x="123" y="9"/>
                    <a:pt x="120" y="8"/>
                  </a:cubicBezTo>
                  <a:cubicBezTo>
                    <a:pt x="119" y="8"/>
                    <a:pt x="119" y="8"/>
                    <a:pt x="119" y="8"/>
                  </a:cubicBezTo>
                  <a:cubicBezTo>
                    <a:pt x="108" y="3"/>
                    <a:pt x="97" y="0"/>
                    <a:pt x="85" y="0"/>
                  </a:cubicBezTo>
                  <a:cubicBezTo>
                    <a:pt x="38" y="0"/>
                    <a:pt x="0" y="38"/>
                    <a:pt x="0" y="85"/>
                  </a:cubicBezTo>
                  <a:cubicBezTo>
                    <a:pt x="0" y="132"/>
                    <a:pt x="38" y="170"/>
                    <a:pt x="85" y="170"/>
                  </a:cubicBezTo>
                  <a:cubicBezTo>
                    <a:pt x="131" y="170"/>
                    <a:pt x="170" y="132"/>
                    <a:pt x="170" y="85"/>
                  </a:cubicBezTo>
                  <a:cubicBezTo>
                    <a:pt x="170" y="73"/>
                    <a:pt x="167" y="61"/>
                    <a:pt x="162" y="50"/>
                  </a:cubicBezTo>
                  <a:cubicBezTo>
                    <a:pt x="161" y="49"/>
                    <a:pt x="160" y="48"/>
                    <a:pt x="158" y="47"/>
                  </a:cubicBezTo>
                  <a:cubicBezTo>
                    <a:pt x="157" y="46"/>
                    <a:pt x="155" y="46"/>
                    <a:pt x="154" y="47"/>
                  </a:cubicBezTo>
                  <a:cubicBezTo>
                    <a:pt x="152" y="48"/>
                    <a:pt x="151" y="49"/>
                    <a:pt x="150" y="51"/>
                  </a:cubicBezTo>
                  <a:cubicBezTo>
                    <a:pt x="150" y="52"/>
                    <a:pt x="150" y="54"/>
                    <a:pt x="151" y="55"/>
                  </a:cubicBezTo>
                  <a:cubicBezTo>
                    <a:pt x="155" y="65"/>
                    <a:pt x="157" y="75"/>
                    <a:pt x="157" y="85"/>
                  </a:cubicBezTo>
                  <a:cubicBezTo>
                    <a:pt x="157" y="125"/>
                    <a:pt x="124" y="158"/>
                    <a:pt x="85" y="158"/>
                  </a:cubicBezTo>
                  <a:cubicBezTo>
                    <a:pt x="45" y="158"/>
                    <a:pt x="12" y="125"/>
                    <a:pt x="12" y="85"/>
                  </a:cubicBezTo>
                  <a:cubicBezTo>
                    <a:pt x="12" y="45"/>
                    <a:pt x="45" y="13"/>
                    <a:pt x="85" y="13"/>
                  </a:cubicBezTo>
                  <a:cubicBezTo>
                    <a:pt x="95" y="13"/>
                    <a:pt x="105" y="15"/>
                    <a:pt x="114" y="19"/>
                  </a:cubicBezTo>
                  <a:cubicBezTo>
                    <a:pt x="118" y="21"/>
                    <a:pt x="121" y="19"/>
                    <a:pt x="12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62" name="Freeform 7">
              <a:extLst>
                <a:ext uri="{FF2B5EF4-FFF2-40B4-BE49-F238E27FC236}">
                  <a16:creationId xmlns:a16="http://schemas.microsoft.com/office/drawing/2014/main" id="{507F648B-D686-3F98-B513-8E5E27AF1E9A}"/>
                </a:ext>
              </a:extLst>
            </p:cNvPr>
            <p:cNvSpPr>
              <a:spLocks/>
            </p:cNvSpPr>
            <p:nvPr/>
          </p:nvSpPr>
          <p:spPr bwMode="auto">
            <a:xfrm>
              <a:off x="490" y="583"/>
              <a:ext cx="142" cy="141"/>
            </a:xfrm>
            <a:custGeom>
              <a:avLst/>
              <a:gdLst>
                <a:gd name="T0" fmla="*/ 48 w 96"/>
                <a:gd name="T1" fmla="*/ 13 h 96"/>
                <a:gd name="T2" fmla="*/ 55 w 96"/>
                <a:gd name="T3" fmla="*/ 14 h 96"/>
                <a:gd name="T4" fmla="*/ 63 w 96"/>
                <a:gd name="T5" fmla="*/ 9 h 96"/>
                <a:gd name="T6" fmla="*/ 58 w 96"/>
                <a:gd name="T7" fmla="*/ 2 h 96"/>
                <a:gd name="T8" fmla="*/ 48 w 96"/>
                <a:gd name="T9" fmla="*/ 0 h 96"/>
                <a:gd name="T10" fmla="*/ 0 w 96"/>
                <a:gd name="T11" fmla="*/ 48 h 96"/>
                <a:gd name="T12" fmla="*/ 48 w 96"/>
                <a:gd name="T13" fmla="*/ 96 h 96"/>
                <a:gd name="T14" fmla="*/ 96 w 96"/>
                <a:gd name="T15" fmla="*/ 48 h 96"/>
                <a:gd name="T16" fmla="*/ 94 w 96"/>
                <a:gd name="T17" fmla="*/ 38 h 96"/>
                <a:gd name="T18" fmla="*/ 92 w 96"/>
                <a:gd name="T19" fmla="*/ 34 h 96"/>
                <a:gd name="T20" fmla="*/ 87 w 96"/>
                <a:gd name="T21" fmla="*/ 33 h 96"/>
                <a:gd name="T22" fmla="*/ 83 w 96"/>
                <a:gd name="T23" fmla="*/ 36 h 96"/>
                <a:gd name="T24" fmla="*/ 82 w 96"/>
                <a:gd name="T25" fmla="*/ 40 h 96"/>
                <a:gd name="T26" fmla="*/ 83 w 96"/>
                <a:gd name="T27" fmla="*/ 48 h 96"/>
                <a:gd name="T28" fmla="*/ 48 w 96"/>
                <a:gd name="T29" fmla="*/ 84 h 96"/>
                <a:gd name="T30" fmla="*/ 12 w 96"/>
                <a:gd name="T31" fmla="*/ 48 h 96"/>
                <a:gd name="T32" fmla="*/ 48 w 96"/>
                <a:gd name="T33" fmla="*/ 1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96">
                  <a:moveTo>
                    <a:pt x="48" y="13"/>
                  </a:moveTo>
                  <a:cubicBezTo>
                    <a:pt x="50" y="13"/>
                    <a:pt x="53" y="13"/>
                    <a:pt x="55" y="14"/>
                  </a:cubicBezTo>
                  <a:cubicBezTo>
                    <a:pt x="59" y="15"/>
                    <a:pt x="62" y="12"/>
                    <a:pt x="63" y="9"/>
                  </a:cubicBezTo>
                  <a:cubicBezTo>
                    <a:pt x="64" y="6"/>
                    <a:pt x="62" y="2"/>
                    <a:pt x="58" y="2"/>
                  </a:cubicBezTo>
                  <a:cubicBezTo>
                    <a:pt x="55" y="1"/>
                    <a:pt x="51" y="0"/>
                    <a:pt x="48" y="0"/>
                  </a:cubicBezTo>
                  <a:cubicBezTo>
                    <a:pt x="21" y="0"/>
                    <a:pt x="0" y="22"/>
                    <a:pt x="0" y="48"/>
                  </a:cubicBezTo>
                  <a:cubicBezTo>
                    <a:pt x="0" y="75"/>
                    <a:pt x="21" y="96"/>
                    <a:pt x="48" y="96"/>
                  </a:cubicBezTo>
                  <a:cubicBezTo>
                    <a:pt x="74" y="96"/>
                    <a:pt x="96" y="75"/>
                    <a:pt x="96" y="48"/>
                  </a:cubicBezTo>
                  <a:cubicBezTo>
                    <a:pt x="96" y="45"/>
                    <a:pt x="95" y="41"/>
                    <a:pt x="94" y="38"/>
                  </a:cubicBezTo>
                  <a:cubicBezTo>
                    <a:pt x="94" y="36"/>
                    <a:pt x="93" y="35"/>
                    <a:pt x="92" y="34"/>
                  </a:cubicBezTo>
                  <a:cubicBezTo>
                    <a:pt x="90" y="33"/>
                    <a:pt x="88" y="32"/>
                    <a:pt x="87" y="33"/>
                  </a:cubicBezTo>
                  <a:cubicBezTo>
                    <a:pt x="85" y="33"/>
                    <a:pt x="84" y="34"/>
                    <a:pt x="83" y="36"/>
                  </a:cubicBezTo>
                  <a:cubicBezTo>
                    <a:pt x="82" y="37"/>
                    <a:pt x="82" y="39"/>
                    <a:pt x="82" y="40"/>
                  </a:cubicBezTo>
                  <a:cubicBezTo>
                    <a:pt x="83" y="43"/>
                    <a:pt x="83" y="46"/>
                    <a:pt x="83" y="48"/>
                  </a:cubicBezTo>
                  <a:cubicBezTo>
                    <a:pt x="83" y="68"/>
                    <a:pt x="67" y="84"/>
                    <a:pt x="48" y="84"/>
                  </a:cubicBezTo>
                  <a:cubicBezTo>
                    <a:pt x="28" y="84"/>
                    <a:pt x="12" y="68"/>
                    <a:pt x="12" y="48"/>
                  </a:cubicBezTo>
                  <a:cubicBezTo>
                    <a:pt x="12" y="29"/>
                    <a:pt x="28" y="13"/>
                    <a:pt x="4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sp>
          <p:nvSpPr>
            <p:cNvPr id="163" name="Freeform 8">
              <a:extLst>
                <a:ext uri="{FF2B5EF4-FFF2-40B4-BE49-F238E27FC236}">
                  <a16:creationId xmlns:a16="http://schemas.microsoft.com/office/drawing/2014/main" id="{B8F7DF47-C878-FE3C-3ECF-C12631FB3D76}"/>
                </a:ext>
              </a:extLst>
            </p:cNvPr>
            <p:cNvSpPr>
              <a:spLocks/>
            </p:cNvSpPr>
            <p:nvPr/>
          </p:nvSpPr>
          <p:spPr bwMode="auto">
            <a:xfrm>
              <a:off x="380" y="473"/>
              <a:ext cx="362" cy="361"/>
            </a:xfrm>
            <a:custGeom>
              <a:avLst/>
              <a:gdLst>
                <a:gd name="T0" fmla="*/ 234 w 244"/>
                <a:gd name="T1" fmla="*/ 74 h 244"/>
                <a:gd name="T2" fmla="*/ 230 w 244"/>
                <a:gd name="T3" fmla="*/ 70 h 244"/>
                <a:gd name="T4" fmla="*/ 225 w 244"/>
                <a:gd name="T5" fmla="*/ 70 h 244"/>
                <a:gd name="T6" fmla="*/ 222 w 244"/>
                <a:gd name="T7" fmla="*/ 79 h 244"/>
                <a:gd name="T8" fmla="*/ 231 w 244"/>
                <a:gd name="T9" fmla="*/ 122 h 244"/>
                <a:gd name="T10" fmla="*/ 122 w 244"/>
                <a:gd name="T11" fmla="*/ 232 h 244"/>
                <a:gd name="T12" fmla="*/ 12 w 244"/>
                <a:gd name="T13" fmla="*/ 122 h 244"/>
                <a:gd name="T14" fmla="*/ 122 w 244"/>
                <a:gd name="T15" fmla="*/ 13 h 244"/>
                <a:gd name="T16" fmla="*/ 165 w 244"/>
                <a:gd name="T17" fmla="*/ 22 h 244"/>
                <a:gd name="T18" fmla="*/ 170 w 244"/>
                <a:gd name="T19" fmla="*/ 22 h 244"/>
                <a:gd name="T20" fmla="*/ 173 w 244"/>
                <a:gd name="T21" fmla="*/ 19 h 244"/>
                <a:gd name="T22" fmla="*/ 174 w 244"/>
                <a:gd name="T23" fmla="*/ 14 h 244"/>
                <a:gd name="T24" fmla="*/ 170 w 244"/>
                <a:gd name="T25" fmla="*/ 10 h 244"/>
                <a:gd name="T26" fmla="*/ 122 w 244"/>
                <a:gd name="T27" fmla="*/ 0 h 244"/>
                <a:gd name="T28" fmla="*/ 0 w 244"/>
                <a:gd name="T29" fmla="*/ 122 h 244"/>
                <a:gd name="T30" fmla="*/ 122 w 244"/>
                <a:gd name="T31" fmla="*/ 244 h 244"/>
                <a:gd name="T32" fmla="*/ 244 w 244"/>
                <a:gd name="T33" fmla="*/ 122 h 244"/>
                <a:gd name="T34" fmla="*/ 234 w 244"/>
                <a:gd name="T35" fmla="*/ 7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4" h="244">
                  <a:moveTo>
                    <a:pt x="234" y="74"/>
                  </a:moveTo>
                  <a:cubicBezTo>
                    <a:pt x="233" y="72"/>
                    <a:pt x="232" y="71"/>
                    <a:pt x="230" y="70"/>
                  </a:cubicBezTo>
                  <a:cubicBezTo>
                    <a:pt x="229" y="70"/>
                    <a:pt x="227" y="70"/>
                    <a:pt x="225" y="70"/>
                  </a:cubicBezTo>
                  <a:cubicBezTo>
                    <a:pt x="222" y="72"/>
                    <a:pt x="221" y="76"/>
                    <a:pt x="222" y="79"/>
                  </a:cubicBezTo>
                  <a:cubicBezTo>
                    <a:pt x="228" y="93"/>
                    <a:pt x="231" y="107"/>
                    <a:pt x="231" y="122"/>
                  </a:cubicBezTo>
                  <a:cubicBezTo>
                    <a:pt x="231" y="182"/>
                    <a:pt x="182" y="232"/>
                    <a:pt x="122" y="232"/>
                  </a:cubicBezTo>
                  <a:cubicBezTo>
                    <a:pt x="61" y="232"/>
                    <a:pt x="12" y="182"/>
                    <a:pt x="12" y="122"/>
                  </a:cubicBezTo>
                  <a:cubicBezTo>
                    <a:pt x="12" y="62"/>
                    <a:pt x="61" y="13"/>
                    <a:pt x="122" y="13"/>
                  </a:cubicBezTo>
                  <a:cubicBezTo>
                    <a:pt x="137" y="13"/>
                    <a:pt x="151" y="16"/>
                    <a:pt x="165" y="22"/>
                  </a:cubicBezTo>
                  <a:cubicBezTo>
                    <a:pt x="167" y="23"/>
                    <a:pt x="168" y="23"/>
                    <a:pt x="170" y="22"/>
                  </a:cubicBezTo>
                  <a:cubicBezTo>
                    <a:pt x="172" y="21"/>
                    <a:pt x="173" y="20"/>
                    <a:pt x="173" y="19"/>
                  </a:cubicBezTo>
                  <a:cubicBezTo>
                    <a:pt x="174" y="17"/>
                    <a:pt x="174" y="15"/>
                    <a:pt x="174" y="14"/>
                  </a:cubicBezTo>
                  <a:cubicBezTo>
                    <a:pt x="173" y="12"/>
                    <a:pt x="172" y="11"/>
                    <a:pt x="170" y="10"/>
                  </a:cubicBezTo>
                  <a:cubicBezTo>
                    <a:pt x="155" y="4"/>
                    <a:pt x="138" y="0"/>
                    <a:pt x="122" y="0"/>
                  </a:cubicBezTo>
                  <a:cubicBezTo>
                    <a:pt x="54" y="0"/>
                    <a:pt x="0" y="55"/>
                    <a:pt x="0" y="122"/>
                  </a:cubicBezTo>
                  <a:cubicBezTo>
                    <a:pt x="0" y="189"/>
                    <a:pt x="54" y="244"/>
                    <a:pt x="122" y="244"/>
                  </a:cubicBezTo>
                  <a:cubicBezTo>
                    <a:pt x="189" y="244"/>
                    <a:pt x="244" y="189"/>
                    <a:pt x="244" y="122"/>
                  </a:cubicBezTo>
                  <a:cubicBezTo>
                    <a:pt x="244" y="105"/>
                    <a:pt x="240" y="89"/>
                    <a:pt x="234"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190" name="Group 171">
            <a:extLst>
              <a:ext uri="{FF2B5EF4-FFF2-40B4-BE49-F238E27FC236}">
                <a16:creationId xmlns:a16="http://schemas.microsoft.com/office/drawing/2014/main" id="{B8EDC37F-FA4B-7988-425A-37F25FB84191}"/>
              </a:ext>
            </a:extLst>
          </p:cNvPr>
          <p:cNvGrpSpPr>
            <a:grpSpLocks noChangeAspect="1"/>
          </p:cNvGrpSpPr>
          <p:nvPr/>
        </p:nvGrpSpPr>
        <p:grpSpPr bwMode="auto">
          <a:xfrm>
            <a:off x="5795059" y="985808"/>
            <a:ext cx="339061" cy="389682"/>
            <a:chOff x="1392" y="1728"/>
            <a:chExt cx="355" cy="408"/>
          </a:xfrm>
          <a:solidFill>
            <a:srgbClr val="A100FF"/>
          </a:solidFill>
        </p:grpSpPr>
        <p:sp>
          <p:nvSpPr>
            <p:cNvPr id="191" name="Freeform 172">
              <a:extLst>
                <a:ext uri="{FF2B5EF4-FFF2-40B4-BE49-F238E27FC236}">
                  <a16:creationId xmlns:a16="http://schemas.microsoft.com/office/drawing/2014/main" id="{4B409E31-E0F8-B5BC-45E8-51451D973509}"/>
                </a:ext>
              </a:extLst>
            </p:cNvPr>
            <p:cNvSpPr>
              <a:spLocks noEditPoints="1"/>
            </p:cNvSpPr>
            <p:nvPr/>
          </p:nvSpPr>
          <p:spPr bwMode="auto">
            <a:xfrm>
              <a:off x="1392" y="1799"/>
              <a:ext cx="249" cy="89"/>
            </a:xfrm>
            <a:custGeom>
              <a:avLst/>
              <a:gdLst>
                <a:gd name="T0" fmla="*/ 162 w 168"/>
                <a:gd name="T1" fmla="*/ 60 h 60"/>
                <a:gd name="T2" fmla="*/ 6 w 168"/>
                <a:gd name="T3" fmla="*/ 60 h 60"/>
                <a:gd name="T4" fmla="*/ 0 w 168"/>
                <a:gd name="T5" fmla="*/ 54 h 60"/>
                <a:gd name="T6" fmla="*/ 0 w 168"/>
                <a:gd name="T7" fmla="*/ 6 h 60"/>
                <a:gd name="T8" fmla="*/ 6 w 168"/>
                <a:gd name="T9" fmla="*/ 0 h 60"/>
                <a:gd name="T10" fmla="*/ 162 w 168"/>
                <a:gd name="T11" fmla="*/ 0 h 60"/>
                <a:gd name="T12" fmla="*/ 168 w 168"/>
                <a:gd name="T13" fmla="*/ 6 h 60"/>
                <a:gd name="T14" fmla="*/ 168 w 168"/>
                <a:gd name="T15" fmla="*/ 54 h 60"/>
                <a:gd name="T16" fmla="*/ 162 w 168"/>
                <a:gd name="T17" fmla="*/ 60 h 60"/>
                <a:gd name="T18" fmla="*/ 12 w 168"/>
                <a:gd name="T19" fmla="*/ 48 h 60"/>
                <a:gd name="T20" fmla="*/ 156 w 168"/>
                <a:gd name="T21" fmla="*/ 48 h 60"/>
                <a:gd name="T22" fmla="*/ 156 w 168"/>
                <a:gd name="T23" fmla="*/ 12 h 60"/>
                <a:gd name="T24" fmla="*/ 12 w 168"/>
                <a:gd name="T25" fmla="*/ 12 h 60"/>
                <a:gd name="T26" fmla="*/ 12 w 16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60">
                  <a:moveTo>
                    <a:pt x="162" y="60"/>
                  </a:moveTo>
                  <a:cubicBezTo>
                    <a:pt x="6" y="60"/>
                    <a:pt x="6" y="60"/>
                    <a:pt x="6" y="60"/>
                  </a:cubicBezTo>
                  <a:cubicBezTo>
                    <a:pt x="3" y="60"/>
                    <a:pt x="0" y="57"/>
                    <a:pt x="0" y="54"/>
                  </a:cubicBezTo>
                  <a:cubicBezTo>
                    <a:pt x="0" y="6"/>
                    <a:pt x="0" y="6"/>
                    <a:pt x="0" y="6"/>
                  </a:cubicBezTo>
                  <a:cubicBezTo>
                    <a:pt x="0" y="3"/>
                    <a:pt x="3" y="0"/>
                    <a:pt x="6" y="0"/>
                  </a:cubicBezTo>
                  <a:cubicBezTo>
                    <a:pt x="162" y="0"/>
                    <a:pt x="162" y="0"/>
                    <a:pt x="162" y="0"/>
                  </a:cubicBezTo>
                  <a:cubicBezTo>
                    <a:pt x="165" y="0"/>
                    <a:pt x="168" y="3"/>
                    <a:pt x="168" y="6"/>
                  </a:cubicBezTo>
                  <a:cubicBezTo>
                    <a:pt x="168" y="54"/>
                    <a:pt x="168" y="54"/>
                    <a:pt x="168" y="54"/>
                  </a:cubicBezTo>
                  <a:cubicBezTo>
                    <a:pt x="168" y="57"/>
                    <a:pt x="165" y="60"/>
                    <a:pt x="162" y="60"/>
                  </a:cubicBezTo>
                  <a:close/>
                  <a:moveTo>
                    <a:pt x="12" y="48"/>
                  </a:moveTo>
                  <a:cubicBezTo>
                    <a:pt x="156" y="48"/>
                    <a:pt x="156" y="48"/>
                    <a:pt x="156" y="48"/>
                  </a:cubicBezTo>
                  <a:cubicBezTo>
                    <a:pt x="156" y="12"/>
                    <a:pt x="156" y="12"/>
                    <a:pt x="15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2" name="Freeform 173">
              <a:extLst>
                <a:ext uri="{FF2B5EF4-FFF2-40B4-BE49-F238E27FC236}">
                  <a16:creationId xmlns:a16="http://schemas.microsoft.com/office/drawing/2014/main" id="{233CDE29-64C4-EF60-AF71-4EBB2B66909B}"/>
                </a:ext>
              </a:extLst>
            </p:cNvPr>
            <p:cNvSpPr>
              <a:spLocks noEditPoints="1"/>
            </p:cNvSpPr>
            <p:nvPr/>
          </p:nvSpPr>
          <p:spPr bwMode="auto">
            <a:xfrm>
              <a:off x="1392" y="1923"/>
              <a:ext cx="249" cy="89"/>
            </a:xfrm>
            <a:custGeom>
              <a:avLst/>
              <a:gdLst>
                <a:gd name="T0" fmla="*/ 162 w 168"/>
                <a:gd name="T1" fmla="*/ 60 h 60"/>
                <a:gd name="T2" fmla="*/ 6 w 168"/>
                <a:gd name="T3" fmla="*/ 60 h 60"/>
                <a:gd name="T4" fmla="*/ 0 w 168"/>
                <a:gd name="T5" fmla="*/ 54 h 60"/>
                <a:gd name="T6" fmla="*/ 0 w 168"/>
                <a:gd name="T7" fmla="*/ 6 h 60"/>
                <a:gd name="T8" fmla="*/ 6 w 168"/>
                <a:gd name="T9" fmla="*/ 0 h 60"/>
                <a:gd name="T10" fmla="*/ 162 w 168"/>
                <a:gd name="T11" fmla="*/ 0 h 60"/>
                <a:gd name="T12" fmla="*/ 168 w 168"/>
                <a:gd name="T13" fmla="*/ 6 h 60"/>
                <a:gd name="T14" fmla="*/ 168 w 168"/>
                <a:gd name="T15" fmla="*/ 54 h 60"/>
                <a:gd name="T16" fmla="*/ 162 w 168"/>
                <a:gd name="T17" fmla="*/ 60 h 60"/>
                <a:gd name="T18" fmla="*/ 12 w 168"/>
                <a:gd name="T19" fmla="*/ 48 h 60"/>
                <a:gd name="T20" fmla="*/ 156 w 168"/>
                <a:gd name="T21" fmla="*/ 48 h 60"/>
                <a:gd name="T22" fmla="*/ 156 w 168"/>
                <a:gd name="T23" fmla="*/ 12 h 60"/>
                <a:gd name="T24" fmla="*/ 12 w 168"/>
                <a:gd name="T25" fmla="*/ 12 h 60"/>
                <a:gd name="T26" fmla="*/ 12 w 16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60">
                  <a:moveTo>
                    <a:pt x="162" y="60"/>
                  </a:moveTo>
                  <a:cubicBezTo>
                    <a:pt x="6" y="60"/>
                    <a:pt x="6" y="60"/>
                    <a:pt x="6" y="60"/>
                  </a:cubicBezTo>
                  <a:cubicBezTo>
                    <a:pt x="3" y="60"/>
                    <a:pt x="0" y="57"/>
                    <a:pt x="0" y="54"/>
                  </a:cubicBezTo>
                  <a:cubicBezTo>
                    <a:pt x="0" y="6"/>
                    <a:pt x="0" y="6"/>
                    <a:pt x="0" y="6"/>
                  </a:cubicBezTo>
                  <a:cubicBezTo>
                    <a:pt x="0" y="3"/>
                    <a:pt x="3" y="0"/>
                    <a:pt x="6" y="0"/>
                  </a:cubicBezTo>
                  <a:cubicBezTo>
                    <a:pt x="162" y="0"/>
                    <a:pt x="162" y="0"/>
                    <a:pt x="162" y="0"/>
                  </a:cubicBezTo>
                  <a:cubicBezTo>
                    <a:pt x="165" y="0"/>
                    <a:pt x="168" y="3"/>
                    <a:pt x="168" y="6"/>
                  </a:cubicBezTo>
                  <a:cubicBezTo>
                    <a:pt x="168" y="54"/>
                    <a:pt x="168" y="54"/>
                    <a:pt x="168" y="54"/>
                  </a:cubicBezTo>
                  <a:cubicBezTo>
                    <a:pt x="168" y="57"/>
                    <a:pt x="165" y="60"/>
                    <a:pt x="162" y="60"/>
                  </a:cubicBezTo>
                  <a:close/>
                  <a:moveTo>
                    <a:pt x="12" y="48"/>
                  </a:moveTo>
                  <a:cubicBezTo>
                    <a:pt x="156" y="48"/>
                    <a:pt x="156" y="48"/>
                    <a:pt x="156" y="48"/>
                  </a:cubicBezTo>
                  <a:cubicBezTo>
                    <a:pt x="156" y="12"/>
                    <a:pt x="156" y="12"/>
                    <a:pt x="15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3" name="Freeform 174">
              <a:extLst>
                <a:ext uri="{FF2B5EF4-FFF2-40B4-BE49-F238E27FC236}">
                  <a16:creationId xmlns:a16="http://schemas.microsoft.com/office/drawing/2014/main" id="{9F72AFBD-012F-7ED1-CD55-399C2117535A}"/>
                </a:ext>
              </a:extLst>
            </p:cNvPr>
            <p:cNvSpPr>
              <a:spLocks noEditPoints="1"/>
            </p:cNvSpPr>
            <p:nvPr/>
          </p:nvSpPr>
          <p:spPr bwMode="auto">
            <a:xfrm>
              <a:off x="1392" y="2047"/>
              <a:ext cx="249" cy="89"/>
            </a:xfrm>
            <a:custGeom>
              <a:avLst/>
              <a:gdLst>
                <a:gd name="T0" fmla="*/ 162 w 168"/>
                <a:gd name="T1" fmla="*/ 60 h 60"/>
                <a:gd name="T2" fmla="*/ 6 w 168"/>
                <a:gd name="T3" fmla="*/ 60 h 60"/>
                <a:gd name="T4" fmla="*/ 0 w 168"/>
                <a:gd name="T5" fmla="*/ 54 h 60"/>
                <a:gd name="T6" fmla="*/ 0 w 168"/>
                <a:gd name="T7" fmla="*/ 6 h 60"/>
                <a:gd name="T8" fmla="*/ 6 w 168"/>
                <a:gd name="T9" fmla="*/ 0 h 60"/>
                <a:gd name="T10" fmla="*/ 162 w 168"/>
                <a:gd name="T11" fmla="*/ 0 h 60"/>
                <a:gd name="T12" fmla="*/ 168 w 168"/>
                <a:gd name="T13" fmla="*/ 6 h 60"/>
                <a:gd name="T14" fmla="*/ 168 w 168"/>
                <a:gd name="T15" fmla="*/ 54 h 60"/>
                <a:gd name="T16" fmla="*/ 162 w 168"/>
                <a:gd name="T17" fmla="*/ 60 h 60"/>
                <a:gd name="T18" fmla="*/ 12 w 168"/>
                <a:gd name="T19" fmla="*/ 48 h 60"/>
                <a:gd name="T20" fmla="*/ 156 w 168"/>
                <a:gd name="T21" fmla="*/ 48 h 60"/>
                <a:gd name="T22" fmla="*/ 156 w 168"/>
                <a:gd name="T23" fmla="*/ 12 h 60"/>
                <a:gd name="T24" fmla="*/ 12 w 168"/>
                <a:gd name="T25" fmla="*/ 12 h 60"/>
                <a:gd name="T26" fmla="*/ 12 w 16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60">
                  <a:moveTo>
                    <a:pt x="162" y="60"/>
                  </a:moveTo>
                  <a:cubicBezTo>
                    <a:pt x="6" y="60"/>
                    <a:pt x="6" y="60"/>
                    <a:pt x="6" y="60"/>
                  </a:cubicBezTo>
                  <a:cubicBezTo>
                    <a:pt x="3" y="60"/>
                    <a:pt x="0" y="57"/>
                    <a:pt x="0" y="54"/>
                  </a:cubicBezTo>
                  <a:cubicBezTo>
                    <a:pt x="0" y="6"/>
                    <a:pt x="0" y="6"/>
                    <a:pt x="0" y="6"/>
                  </a:cubicBezTo>
                  <a:cubicBezTo>
                    <a:pt x="0" y="3"/>
                    <a:pt x="3" y="0"/>
                    <a:pt x="6" y="0"/>
                  </a:cubicBezTo>
                  <a:cubicBezTo>
                    <a:pt x="162" y="0"/>
                    <a:pt x="162" y="0"/>
                    <a:pt x="162" y="0"/>
                  </a:cubicBezTo>
                  <a:cubicBezTo>
                    <a:pt x="165" y="0"/>
                    <a:pt x="168" y="3"/>
                    <a:pt x="168" y="6"/>
                  </a:cubicBezTo>
                  <a:cubicBezTo>
                    <a:pt x="168" y="54"/>
                    <a:pt x="168" y="54"/>
                    <a:pt x="168" y="54"/>
                  </a:cubicBezTo>
                  <a:cubicBezTo>
                    <a:pt x="168" y="57"/>
                    <a:pt x="165" y="60"/>
                    <a:pt x="162" y="60"/>
                  </a:cubicBezTo>
                  <a:close/>
                  <a:moveTo>
                    <a:pt x="12" y="48"/>
                  </a:moveTo>
                  <a:cubicBezTo>
                    <a:pt x="156" y="48"/>
                    <a:pt x="156" y="48"/>
                    <a:pt x="156" y="48"/>
                  </a:cubicBezTo>
                  <a:cubicBezTo>
                    <a:pt x="156" y="12"/>
                    <a:pt x="156" y="12"/>
                    <a:pt x="15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4" name="Freeform 175">
              <a:extLst>
                <a:ext uri="{FF2B5EF4-FFF2-40B4-BE49-F238E27FC236}">
                  <a16:creationId xmlns:a16="http://schemas.microsoft.com/office/drawing/2014/main" id="{D011B22C-0233-DF59-314B-FAEE8D9D714E}"/>
                </a:ext>
              </a:extLst>
            </p:cNvPr>
            <p:cNvSpPr>
              <a:spLocks/>
            </p:cNvSpPr>
            <p:nvPr/>
          </p:nvSpPr>
          <p:spPr bwMode="auto">
            <a:xfrm>
              <a:off x="1632" y="1728"/>
              <a:ext cx="115" cy="372"/>
            </a:xfrm>
            <a:custGeom>
              <a:avLst/>
              <a:gdLst>
                <a:gd name="T0" fmla="*/ 72 w 78"/>
                <a:gd name="T1" fmla="*/ 252 h 252"/>
                <a:gd name="T2" fmla="*/ 0 w 78"/>
                <a:gd name="T3" fmla="*/ 252 h 252"/>
                <a:gd name="T4" fmla="*/ 0 w 78"/>
                <a:gd name="T5" fmla="*/ 240 h 252"/>
                <a:gd name="T6" fmla="*/ 66 w 78"/>
                <a:gd name="T7" fmla="*/ 240 h 252"/>
                <a:gd name="T8" fmla="*/ 66 w 78"/>
                <a:gd name="T9" fmla="*/ 0 h 252"/>
                <a:gd name="T10" fmla="*/ 78 w 78"/>
                <a:gd name="T11" fmla="*/ 0 h 252"/>
                <a:gd name="T12" fmla="*/ 78 w 78"/>
                <a:gd name="T13" fmla="*/ 246 h 252"/>
                <a:gd name="T14" fmla="*/ 72 w 78"/>
                <a:gd name="T15" fmla="*/ 252 h 2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252">
                  <a:moveTo>
                    <a:pt x="72" y="252"/>
                  </a:moveTo>
                  <a:cubicBezTo>
                    <a:pt x="0" y="252"/>
                    <a:pt x="0" y="252"/>
                    <a:pt x="0" y="252"/>
                  </a:cubicBezTo>
                  <a:cubicBezTo>
                    <a:pt x="0" y="240"/>
                    <a:pt x="0" y="240"/>
                    <a:pt x="0" y="240"/>
                  </a:cubicBezTo>
                  <a:cubicBezTo>
                    <a:pt x="66" y="240"/>
                    <a:pt x="66" y="240"/>
                    <a:pt x="66" y="240"/>
                  </a:cubicBezTo>
                  <a:cubicBezTo>
                    <a:pt x="66" y="0"/>
                    <a:pt x="66" y="0"/>
                    <a:pt x="66" y="0"/>
                  </a:cubicBezTo>
                  <a:cubicBezTo>
                    <a:pt x="78" y="0"/>
                    <a:pt x="78" y="0"/>
                    <a:pt x="78" y="0"/>
                  </a:cubicBezTo>
                  <a:cubicBezTo>
                    <a:pt x="78" y="246"/>
                    <a:pt x="78" y="246"/>
                    <a:pt x="78" y="246"/>
                  </a:cubicBezTo>
                  <a:cubicBezTo>
                    <a:pt x="78" y="249"/>
                    <a:pt x="75" y="252"/>
                    <a:pt x="72"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5" name="Rectangle 176">
              <a:extLst>
                <a:ext uri="{FF2B5EF4-FFF2-40B4-BE49-F238E27FC236}">
                  <a16:creationId xmlns:a16="http://schemas.microsoft.com/office/drawing/2014/main" id="{648A58EC-3117-28AD-7AFB-B258E6F25956}"/>
                </a:ext>
              </a:extLst>
            </p:cNvPr>
            <p:cNvSpPr>
              <a:spLocks noChangeArrowheads="1"/>
            </p:cNvSpPr>
            <p:nvPr/>
          </p:nvSpPr>
          <p:spPr bwMode="auto">
            <a:xfrm>
              <a:off x="1632" y="1835"/>
              <a:ext cx="106"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6" name="Rectangle 177">
              <a:extLst>
                <a:ext uri="{FF2B5EF4-FFF2-40B4-BE49-F238E27FC236}">
                  <a16:creationId xmlns:a16="http://schemas.microsoft.com/office/drawing/2014/main" id="{B69BD155-225A-BBE8-1DFB-0D38D8DB85D0}"/>
                </a:ext>
              </a:extLst>
            </p:cNvPr>
            <p:cNvSpPr>
              <a:spLocks noChangeArrowheads="1"/>
            </p:cNvSpPr>
            <p:nvPr/>
          </p:nvSpPr>
          <p:spPr bwMode="auto">
            <a:xfrm>
              <a:off x="1632" y="1959"/>
              <a:ext cx="106"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206" name="Group 205">
            <a:extLst>
              <a:ext uri="{FF2B5EF4-FFF2-40B4-BE49-F238E27FC236}">
                <a16:creationId xmlns:a16="http://schemas.microsoft.com/office/drawing/2014/main" id="{3156FA29-A78E-A18B-3910-D40B6EBDE8FC}"/>
              </a:ext>
            </a:extLst>
          </p:cNvPr>
          <p:cNvGrpSpPr/>
          <p:nvPr/>
        </p:nvGrpSpPr>
        <p:grpSpPr>
          <a:xfrm>
            <a:off x="412273" y="4117111"/>
            <a:ext cx="5145860" cy="1867696"/>
            <a:chOff x="6319393" y="4515312"/>
            <a:chExt cx="5766969" cy="1867696"/>
          </a:xfrm>
        </p:grpSpPr>
        <p:grpSp>
          <p:nvGrpSpPr>
            <p:cNvPr id="68" name="Group 67">
              <a:extLst>
                <a:ext uri="{FF2B5EF4-FFF2-40B4-BE49-F238E27FC236}">
                  <a16:creationId xmlns:a16="http://schemas.microsoft.com/office/drawing/2014/main" id="{1D92021F-42DA-44CB-1C5A-B07018AF2360}"/>
                </a:ext>
              </a:extLst>
            </p:cNvPr>
            <p:cNvGrpSpPr/>
            <p:nvPr/>
          </p:nvGrpSpPr>
          <p:grpSpPr>
            <a:xfrm>
              <a:off x="6319393" y="4581487"/>
              <a:ext cx="5507736" cy="374138"/>
              <a:chOff x="6319393" y="4654639"/>
              <a:chExt cx="5507736" cy="374138"/>
            </a:xfrm>
          </p:grpSpPr>
          <p:cxnSp>
            <p:nvCxnSpPr>
              <p:cNvPr id="32" name="Straight Connector 31">
                <a:extLst>
                  <a:ext uri="{FF2B5EF4-FFF2-40B4-BE49-F238E27FC236}">
                    <a16:creationId xmlns:a16="http://schemas.microsoft.com/office/drawing/2014/main" id="{3561D85C-E078-0751-A8AC-19CB106C8731}"/>
                  </a:ext>
                </a:extLst>
              </p:cNvPr>
              <p:cNvCxnSpPr>
                <a:cxnSpLocks/>
              </p:cNvCxnSpPr>
              <p:nvPr/>
            </p:nvCxnSpPr>
            <p:spPr>
              <a:xfrm>
                <a:off x="6319393" y="5028777"/>
                <a:ext cx="550773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0A3B2DC-0C0D-697F-841D-4B158ECA41B7}"/>
                  </a:ext>
                </a:extLst>
              </p:cNvPr>
              <p:cNvCxnSpPr>
                <a:cxnSpLocks/>
              </p:cNvCxnSpPr>
              <p:nvPr/>
            </p:nvCxnSpPr>
            <p:spPr>
              <a:xfrm>
                <a:off x="6319393" y="5028777"/>
                <a:ext cx="2861183"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640F1DFF-9C06-2FF7-0C7B-D9629D921C24}"/>
                  </a:ext>
                </a:extLst>
              </p:cNvPr>
              <p:cNvSpPr txBox="1"/>
              <p:nvPr/>
            </p:nvSpPr>
            <p:spPr>
              <a:xfrm>
                <a:off x="6766179" y="4654639"/>
                <a:ext cx="2725293" cy="338554"/>
              </a:xfrm>
              <a:prstGeom prst="rect">
                <a:avLst/>
              </a:prstGeom>
              <a:noFill/>
            </p:spPr>
            <p:txBody>
              <a:bodyPr wrap="square" rtlCol="0">
                <a:spAutoFit/>
              </a:bodyPr>
              <a:lstStyle/>
              <a:p>
                <a:r>
                  <a:rPr lang="en-GB" sz="1600" b="1" dirty="0">
                    <a:solidFill>
                      <a:schemeClr val="accent1"/>
                    </a:solidFill>
                  </a:rPr>
                  <a:t>IN SCOPE ACTIVITIES</a:t>
                </a:r>
              </a:p>
            </p:txBody>
          </p:sp>
        </p:grpSp>
        <p:sp>
          <p:nvSpPr>
            <p:cNvPr id="71" name="Rectangle 70">
              <a:extLst>
                <a:ext uri="{FF2B5EF4-FFF2-40B4-BE49-F238E27FC236}">
                  <a16:creationId xmlns:a16="http://schemas.microsoft.com/office/drawing/2014/main" id="{90F70644-D7E7-E155-EFD7-CC57FA77C674}"/>
                </a:ext>
              </a:extLst>
            </p:cNvPr>
            <p:cNvSpPr/>
            <p:nvPr/>
          </p:nvSpPr>
          <p:spPr>
            <a:xfrm>
              <a:off x="6319393" y="5064362"/>
              <a:ext cx="5766969" cy="1318646"/>
            </a:xfrm>
            <a:prstGeom prst="rect">
              <a:avLst/>
            </a:prstGeom>
            <a:solidFill>
              <a:schemeClr val="bg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defTabSz="914377"/>
              <a:endParaRPr lang="en-US" sz="900">
                <a:solidFill>
                  <a:srgbClr val="FFFFFF"/>
                </a:solidFill>
                <a:latin typeface="Graphik" panose="020B0503030202060203" pitchFamily="34" charset="0"/>
              </a:endParaRPr>
            </a:p>
          </p:txBody>
        </p:sp>
        <p:grpSp>
          <p:nvGrpSpPr>
            <p:cNvPr id="72" name="Group 71">
              <a:extLst>
                <a:ext uri="{FF2B5EF4-FFF2-40B4-BE49-F238E27FC236}">
                  <a16:creationId xmlns:a16="http://schemas.microsoft.com/office/drawing/2014/main" id="{0668E87F-3CDF-4C78-D527-3F9AC2A58890}"/>
                </a:ext>
              </a:extLst>
            </p:cNvPr>
            <p:cNvGrpSpPr/>
            <p:nvPr/>
          </p:nvGrpSpPr>
          <p:grpSpPr>
            <a:xfrm>
              <a:off x="6398112" y="5147563"/>
              <a:ext cx="5605822" cy="497520"/>
              <a:chOff x="4498337" y="3714260"/>
              <a:chExt cx="4204366" cy="373140"/>
            </a:xfrm>
          </p:grpSpPr>
          <p:sp>
            <p:nvSpPr>
              <p:cNvPr id="73" name="Rectangle 72">
                <a:extLst>
                  <a:ext uri="{FF2B5EF4-FFF2-40B4-BE49-F238E27FC236}">
                    <a16:creationId xmlns:a16="http://schemas.microsoft.com/office/drawing/2014/main" id="{82F53931-F931-E803-53D3-D2102CF4BC9F}"/>
                  </a:ext>
                </a:extLst>
              </p:cNvPr>
              <p:cNvSpPr/>
              <p:nvPr/>
            </p:nvSpPr>
            <p:spPr bwMode="auto">
              <a:xfrm>
                <a:off x="4498337" y="3714260"/>
                <a:ext cx="756000" cy="373140"/>
              </a:xfrm>
              <a:prstGeom prst="rect">
                <a:avLst/>
              </a:prstGeom>
              <a:solidFill>
                <a:schemeClr val="bg1"/>
              </a:solidFill>
              <a:ln w="3175" cap="flat" cmpd="sng" algn="ctr">
                <a:solidFill>
                  <a:schemeClr val="accent1"/>
                </a:solidFill>
                <a:prstDash val="solid"/>
              </a:ln>
              <a:effectLst/>
            </p:spPr>
            <p:txBody>
              <a:bodyPr lIns="36000" tIns="36000" rIns="36000" bIns="36000" rtlCol="0" anchor="ctr"/>
              <a:lstStyle/>
              <a:p>
                <a:pPr algn="ctr" defTabSz="914377">
                  <a:defRPr/>
                </a:pPr>
                <a:r>
                  <a:rPr lang="en-US" sz="1067">
                    <a:solidFill>
                      <a:srgbClr val="243782"/>
                    </a:solidFill>
                    <a:latin typeface="Graphik" panose="020B0503030202060203" pitchFamily="34" charset="0"/>
                  </a:rPr>
                  <a:t>Tactical Planning</a:t>
                </a:r>
              </a:p>
            </p:txBody>
          </p:sp>
          <p:sp>
            <p:nvSpPr>
              <p:cNvPr id="74" name="Rectangle 73">
                <a:extLst>
                  <a:ext uri="{FF2B5EF4-FFF2-40B4-BE49-F238E27FC236}">
                    <a16:creationId xmlns:a16="http://schemas.microsoft.com/office/drawing/2014/main" id="{89223EB9-59A4-4E36-BDC5-7C1625C1B829}"/>
                  </a:ext>
                </a:extLst>
              </p:cNvPr>
              <p:cNvSpPr/>
              <p:nvPr/>
            </p:nvSpPr>
            <p:spPr bwMode="auto">
              <a:xfrm>
                <a:off x="5360428" y="3714260"/>
                <a:ext cx="756000" cy="373140"/>
              </a:xfrm>
              <a:prstGeom prst="rect">
                <a:avLst/>
              </a:prstGeom>
              <a:solidFill>
                <a:schemeClr val="bg1"/>
              </a:solidFill>
              <a:ln w="3175" cap="flat" cmpd="sng" algn="ctr">
                <a:solidFill>
                  <a:schemeClr val="accent1"/>
                </a:solidFill>
                <a:prstDash val="solid"/>
              </a:ln>
              <a:effectLst/>
            </p:spPr>
            <p:txBody>
              <a:bodyPr lIns="36000" tIns="36000" rIns="36000" bIns="36000" rtlCol="0" anchor="ctr"/>
              <a:lstStyle/>
              <a:p>
                <a:pPr algn="ctr" defTabSz="914377">
                  <a:defRPr/>
                </a:pPr>
                <a:r>
                  <a:rPr lang="en-US" sz="1067">
                    <a:solidFill>
                      <a:srgbClr val="243782"/>
                    </a:solidFill>
                    <a:latin typeface="Graphik" panose="020B0503030202060203" pitchFamily="34" charset="0"/>
                  </a:rPr>
                  <a:t>Load Balancing &amp; Assignment</a:t>
                </a:r>
              </a:p>
            </p:txBody>
          </p:sp>
          <p:sp>
            <p:nvSpPr>
              <p:cNvPr id="75" name="Rectangle 74">
                <a:extLst>
                  <a:ext uri="{FF2B5EF4-FFF2-40B4-BE49-F238E27FC236}">
                    <a16:creationId xmlns:a16="http://schemas.microsoft.com/office/drawing/2014/main" id="{25F6FF74-766B-2202-DF30-4F633884AE48}"/>
                  </a:ext>
                </a:extLst>
              </p:cNvPr>
              <p:cNvSpPr/>
              <p:nvPr/>
            </p:nvSpPr>
            <p:spPr bwMode="auto">
              <a:xfrm>
                <a:off x="6222520" y="3714260"/>
                <a:ext cx="756000" cy="373140"/>
              </a:xfrm>
              <a:prstGeom prst="rect">
                <a:avLst/>
              </a:prstGeom>
              <a:solidFill>
                <a:schemeClr val="bg1"/>
              </a:solidFill>
              <a:ln w="3175" cap="flat" cmpd="sng" algn="ctr">
                <a:solidFill>
                  <a:schemeClr val="accent1"/>
                </a:solidFill>
                <a:prstDash val="solid"/>
              </a:ln>
              <a:effectLst/>
            </p:spPr>
            <p:txBody>
              <a:bodyPr lIns="36000" tIns="36000" rIns="36000" bIns="36000" rtlCol="0" anchor="ctr"/>
              <a:lstStyle/>
              <a:p>
                <a:pPr algn="ctr" defTabSz="914377"/>
                <a:r>
                  <a:rPr lang="en-US" sz="1067">
                    <a:solidFill>
                      <a:srgbClr val="243782"/>
                    </a:solidFill>
                    <a:latin typeface="Graphik" panose="020B0503030202060203" pitchFamily="34" charset="0"/>
                  </a:rPr>
                  <a:t>Transport Execution</a:t>
                </a:r>
              </a:p>
            </p:txBody>
          </p:sp>
          <p:sp>
            <p:nvSpPr>
              <p:cNvPr id="76" name="Rectangle 75">
                <a:extLst>
                  <a:ext uri="{FF2B5EF4-FFF2-40B4-BE49-F238E27FC236}">
                    <a16:creationId xmlns:a16="http://schemas.microsoft.com/office/drawing/2014/main" id="{0A355B6E-0836-A74E-BD0C-E995D4FF1874}"/>
                  </a:ext>
                </a:extLst>
              </p:cNvPr>
              <p:cNvSpPr/>
              <p:nvPr/>
            </p:nvSpPr>
            <p:spPr bwMode="auto">
              <a:xfrm>
                <a:off x="7084611" y="3714260"/>
                <a:ext cx="756000" cy="373140"/>
              </a:xfrm>
              <a:prstGeom prst="rect">
                <a:avLst/>
              </a:prstGeom>
              <a:solidFill>
                <a:schemeClr val="bg1"/>
              </a:solidFill>
              <a:ln w="3175" cap="flat" cmpd="sng" algn="ctr">
                <a:solidFill>
                  <a:schemeClr val="accent1"/>
                </a:solidFill>
                <a:prstDash val="solid"/>
              </a:ln>
              <a:effectLst/>
            </p:spPr>
            <p:txBody>
              <a:bodyPr lIns="36000" tIns="36000" rIns="36000" bIns="36000" rtlCol="0" anchor="ctr"/>
              <a:lstStyle/>
              <a:p>
                <a:pPr algn="ctr" defTabSz="914377"/>
                <a:r>
                  <a:rPr lang="en-US" sz="1067" dirty="0">
                    <a:solidFill>
                      <a:srgbClr val="243782"/>
                    </a:solidFill>
                    <a:latin typeface="Graphik" panose="020B0503030202060203" pitchFamily="34" charset="0"/>
                  </a:rPr>
                  <a:t>Master Data Management</a:t>
                </a:r>
              </a:p>
            </p:txBody>
          </p:sp>
          <p:sp>
            <p:nvSpPr>
              <p:cNvPr id="77" name="Rectangle 76">
                <a:extLst>
                  <a:ext uri="{FF2B5EF4-FFF2-40B4-BE49-F238E27FC236}">
                    <a16:creationId xmlns:a16="http://schemas.microsoft.com/office/drawing/2014/main" id="{FFB1B892-DE89-03E8-857F-F2A9BF18A5C4}"/>
                  </a:ext>
                </a:extLst>
              </p:cNvPr>
              <p:cNvSpPr/>
              <p:nvPr/>
            </p:nvSpPr>
            <p:spPr bwMode="auto">
              <a:xfrm>
                <a:off x="7946703" y="3714260"/>
                <a:ext cx="756000" cy="373140"/>
              </a:xfrm>
              <a:prstGeom prst="rect">
                <a:avLst/>
              </a:prstGeom>
              <a:solidFill>
                <a:schemeClr val="bg1"/>
              </a:solidFill>
              <a:ln w="3175" cap="flat" cmpd="sng" algn="ctr">
                <a:solidFill>
                  <a:schemeClr val="accent1"/>
                </a:solidFill>
                <a:prstDash val="solid"/>
              </a:ln>
              <a:effectLst/>
            </p:spPr>
            <p:txBody>
              <a:bodyPr lIns="36000" tIns="36000" rIns="36000" bIns="36000" rtlCol="0" anchor="ctr"/>
              <a:lstStyle/>
              <a:p>
                <a:pPr algn="ctr" defTabSz="914377"/>
                <a:r>
                  <a:rPr lang="en-US" sz="1067">
                    <a:solidFill>
                      <a:srgbClr val="243782"/>
                    </a:solidFill>
                    <a:latin typeface="Graphik" panose="020B0503030202060203" pitchFamily="34" charset="0"/>
                  </a:rPr>
                  <a:t>Business Intelligence &amp; Performance</a:t>
                </a:r>
              </a:p>
            </p:txBody>
          </p:sp>
        </p:grpSp>
        <p:grpSp>
          <p:nvGrpSpPr>
            <p:cNvPr id="78" name="Group 77">
              <a:extLst>
                <a:ext uri="{FF2B5EF4-FFF2-40B4-BE49-F238E27FC236}">
                  <a16:creationId xmlns:a16="http://schemas.microsoft.com/office/drawing/2014/main" id="{C8D8143D-8871-7D79-7F2D-623E134A8A3C}"/>
                </a:ext>
              </a:extLst>
            </p:cNvPr>
            <p:cNvGrpSpPr/>
            <p:nvPr/>
          </p:nvGrpSpPr>
          <p:grpSpPr>
            <a:xfrm>
              <a:off x="6569562" y="5770992"/>
              <a:ext cx="5262915" cy="497520"/>
              <a:chOff x="4775173" y="4333214"/>
              <a:chExt cx="3947187" cy="373140"/>
            </a:xfrm>
          </p:grpSpPr>
          <p:sp>
            <p:nvSpPr>
              <p:cNvPr id="79" name="TextBox 78">
                <a:extLst>
                  <a:ext uri="{FF2B5EF4-FFF2-40B4-BE49-F238E27FC236}">
                    <a16:creationId xmlns:a16="http://schemas.microsoft.com/office/drawing/2014/main" id="{03462321-12EC-1B4A-7ADC-33C86046E52C}"/>
                  </a:ext>
                </a:extLst>
              </p:cNvPr>
              <p:cNvSpPr txBox="1"/>
              <p:nvPr/>
            </p:nvSpPr>
            <p:spPr>
              <a:xfrm>
                <a:off x="7530846" y="4333214"/>
                <a:ext cx="1191514" cy="373140"/>
              </a:xfrm>
              <a:prstGeom prst="rect">
                <a:avLst/>
              </a:prstGeom>
              <a:solidFill>
                <a:schemeClr val="bg1"/>
              </a:solidFill>
              <a:ln w="3175" cap="flat" cmpd="sng" algn="ctr">
                <a:solidFill>
                  <a:schemeClr val="accent2"/>
                </a:solidFill>
                <a:prstDash val="solid"/>
                <a:miter lim="800000"/>
              </a:ln>
              <a:effectLst/>
            </p:spPr>
            <p:txBody>
              <a:bodyPr rtlCol="0" anchor="ctr"/>
              <a:lstStyle>
                <a:defPPr marR="0" lvl="0" algn="l" rtl="0">
                  <a:lnSpc>
                    <a:spcPct val="100000"/>
                  </a:lnSpc>
                  <a:spcBef>
                    <a:spcPts val="0"/>
                  </a:spcBef>
                  <a:spcAft>
                    <a:spcPts val="0"/>
                  </a:spcAft>
                </a:defPPr>
                <a:lvl1pPr algn="ctr" defTabSz="685800">
                  <a:buClrTx/>
                  <a:defRPr sz="900" b="1">
                    <a:solidFill>
                      <a:schemeClr val="bg1"/>
                    </a:solidFill>
                    <a:latin typeface="Graphik"/>
                  </a:defRPr>
                </a:lvl1pPr>
              </a:lstStyle>
              <a:p>
                <a:r>
                  <a:rPr lang="en-US" sz="1067" b="0">
                    <a:solidFill>
                      <a:srgbClr val="243782"/>
                    </a:solidFill>
                    <a:latin typeface="Graphik" panose="020B0503030202060203" pitchFamily="34" charset="0"/>
                  </a:rPr>
                  <a:t>Aftersales Packaging and Smart Booking</a:t>
                </a:r>
              </a:p>
            </p:txBody>
          </p:sp>
          <p:sp>
            <p:nvSpPr>
              <p:cNvPr id="80" name="Rectangle 79">
                <a:extLst>
                  <a:ext uri="{FF2B5EF4-FFF2-40B4-BE49-F238E27FC236}">
                    <a16:creationId xmlns:a16="http://schemas.microsoft.com/office/drawing/2014/main" id="{BFE1248B-B800-5393-0CA7-9E3D38813282}"/>
                  </a:ext>
                </a:extLst>
              </p:cNvPr>
              <p:cNvSpPr/>
              <p:nvPr/>
            </p:nvSpPr>
            <p:spPr bwMode="auto">
              <a:xfrm>
                <a:off x="4775173" y="4333214"/>
                <a:ext cx="976081" cy="373140"/>
              </a:xfrm>
              <a:prstGeom prst="rect">
                <a:avLst/>
              </a:prstGeom>
              <a:solidFill>
                <a:schemeClr val="bg1"/>
              </a:solidFill>
              <a:ln w="3175" cap="flat" cmpd="sng" algn="ctr">
                <a:solidFill>
                  <a:schemeClr val="accent1"/>
                </a:solidFill>
                <a:prstDash val="solid"/>
              </a:ln>
              <a:effectLst/>
            </p:spPr>
            <p:txBody>
              <a:bodyPr lIns="36000" tIns="36000" rIns="36000" bIns="36000" rtlCol="0" anchor="ctr"/>
              <a:lstStyle/>
              <a:p>
                <a:pPr algn="ctr" defTabSz="914377">
                  <a:defRPr/>
                </a:pPr>
                <a:r>
                  <a:rPr lang="en-US" sz="933">
                    <a:solidFill>
                      <a:srgbClr val="243782"/>
                    </a:solidFill>
                    <a:latin typeface="Graphik" panose="020B0503030202060203" pitchFamily="34" charset="0"/>
                  </a:rPr>
                  <a:t>Carrier Performance Management </a:t>
                </a:r>
                <a:endParaRPr lang="en-US" sz="800">
                  <a:solidFill>
                    <a:srgbClr val="243782"/>
                  </a:solidFill>
                  <a:latin typeface="Graphik" panose="020B0503030202060203" pitchFamily="34" charset="0"/>
                  <a:cs typeface="Arial" pitchFamily="34" charset="0"/>
                </a:endParaRPr>
              </a:p>
            </p:txBody>
          </p:sp>
          <p:sp>
            <p:nvSpPr>
              <p:cNvPr id="81" name="Rectangle 80">
                <a:extLst>
                  <a:ext uri="{FF2B5EF4-FFF2-40B4-BE49-F238E27FC236}">
                    <a16:creationId xmlns:a16="http://schemas.microsoft.com/office/drawing/2014/main" id="{D17D132E-D237-79F6-BB6E-8B81FD4A9E42}"/>
                  </a:ext>
                </a:extLst>
              </p:cNvPr>
              <p:cNvSpPr/>
              <p:nvPr/>
            </p:nvSpPr>
            <p:spPr bwMode="auto">
              <a:xfrm>
                <a:off x="5838445" y="4333214"/>
                <a:ext cx="756000" cy="373140"/>
              </a:xfrm>
              <a:prstGeom prst="rect">
                <a:avLst/>
              </a:prstGeom>
              <a:solidFill>
                <a:srgbClr val="D9D9D9"/>
              </a:solidFill>
              <a:ln w="3175" cap="flat" cmpd="sng" algn="ctr">
                <a:solidFill>
                  <a:schemeClr val="accent1"/>
                </a:solidFill>
                <a:prstDash val="solid"/>
              </a:ln>
              <a:effectLst/>
            </p:spPr>
            <p:txBody>
              <a:bodyPr lIns="36000" tIns="36000" rIns="36000" bIns="36000" rtlCol="0" anchor="ctr"/>
              <a:lstStyle/>
              <a:p>
                <a:pPr algn="ctr" defTabSz="914377">
                  <a:defRPr/>
                </a:pPr>
                <a:r>
                  <a:rPr lang="en-US" sz="1067">
                    <a:solidFill>
                      <a:srgbClr val="243782"/>
                    </a:solidFill>
                    <a:latin typeface="Graphik" panose="020B0503030202060203" pitchFamily="34" charset="0"/>
                  </a:rPr>
                  <a:t>Carrier Claims Management </a:t>
                </a:r>
                <a:endParaRPr lang="en-US" sz="900">
                  <a:solidFill>
                    <a:srgbClr val="243782"/>
                  </a:solidFill>
                  <a:latin typeface="Graphik" panose="020B0503030202060203" pitchFamily="34" charset="0"/>
                  <a:cs typeface="Arial" pitchFamily="34" charset="0"/>
                </a:endParaRPr>
              </a:p>
            </p:txBody>
          </p:sp>
          <p:sp>
            <p:nvSpPr>
              <p:cNvPr id="82" name="Rectangle 81">
                <a:extLst>
                  <a:ext uri="{FF2B5EF4-FFF2-40B4-BE49-F238E27FC236}">
                    <a16:creationId xmlns:a16="http://schemas.microsoft.com/office/drawing/2014/main" id="{E5C6657D-E504-3660-1858-5F790D87D470}"/>
                  </a:ext>
                </a:extLst>
              </p:cNvPr>
              <p:cNvSpPr/>
              <p:nvPr/>
            </p:nvSpPr>
            <p:spPr bwMode="auto">
              <a:xfrm>
                <a:off x="6659898" y="4333214"/>
                <a:ext cx="756000" cy="373140"/>
              </a:xfrm>
              <a:prstGeom prst="rect">
                <a:avLst/>
              </a:prstGeom>
              <a:solidFill>
                <a:schemeClr val="bg1"/>
              </a:solidFill>
              <a:ln w="3175" cap="flat" cmpd="sng" algn="ctr">
                <a:solidFill>
                  <a:schemeClr val="accent1"/>
                </a:solidFill>
                <a:prstDash val="solid"/>
              </a:ln>
              <a:effectLst/>
            </p:spPr>
            <p:txBody>
              <a:bodyPr lIns="36000" tIns="36000" rIns="36000" bIns="36000" rtlCol="0" anchor="ctr"/>
              <a:lstStyle/>
              <a:p>
                <a:pPr algn="ctr" defTabSz="914377">
                  <a:defRPr/>
                </a:pPr>
                <a:r>
                  <a:rPr lang="en-US" sz="1067" b="0">
                    <a:solidFill>
                      <a:srgbClr val="243782"/>
                    </a:solidFill>
                    <a:latin typeface="Graphik" panose="020B0503030202060203" pitchFamily="34" charset="0"/>
                  </a:rPr>
                  <a:t>Freight Audit &amp; Pay</a:t>
                </a:r>
                <a:endParaRPr lang="en-US" sz="900">
                  <a:solidFill>
                    <a:srgbClr val="243782"/>
                  </a:solidFill>
                  <a:latin typeface="Graphik" panose="020B0503030202060203" pitchFamily="34" charset="0"/>
                  <a:cs typeface="Arial" pitchFamily="34" charset="0"/>
                </a:endParaRPr>
              </a:p>
            </p:txBody>
          </p:sp>
        </p:grpSp>
        <p:sp>
          <p:nvSpPr>
            <p:cNvPr id="197" name="Freeform 65">
              <a:extLst>
                <a:ext uri="{FF2B5EF4-FFF2-40B4-BE49-F238E27FC236}">
                  <a16:creationId xmlns:a16="http://schemas.microsoft.com/office/drawing/2014/main" id="{B8757E54-C60C-41F8-69FF-8DF595BBB7B0}"/>
                </a:ext>
              </a:extLst>
            </p:cNvPr>
            <p:cNvSpPr>
              <a:spLocks noChangeAspect="1" noEditPoints="1"/>
            </p:cNvSpPr>
            <p:nvPr/>
          </p:nvSpPr>
          <p:spPr bwMode="auto">
            <a:xfrm>
              <a:off x="6559081" y="4515312"/>
              <a:ext cx="203678" cy="405454"/>
            </a:xfrm>
            <a:custGeom>
              <a:avLst/>
              <a:gdLst>
                <a:gd name="T0" fmla="*/ 18 w 145"/>
                <a:gd name="T1" fmla="*/ 288 h 288"/>
                <a:gd name="T2" fmla="*/ 16 w 145"/>
                <a:gd name="T3" fmla="*/ 288 h 288"/>
                <a:gd name="T4" fmla="*/ 13 w 145"/>
                <a:gd name="T5" fmla="*/ 281 h 288"/>
                <a:gd name="T6" fmla="*/ 47 w 145"/>
                <a:gd name="T7" fmla="*/ 156 h 288"/>
                <a:gd name="T8" fmla="*/ 6 w 145"/>
                <a:gd name="T9" fmla="*/ 156 h 288"/>
                <a:gd name="T10" fmla="*/ 2 w 145"/>
                <a:gd name="T11" fmla="*/ 154 h 288"/>
                <a:gd name="T12" fmla="*/ 1 w 145"/>
                <a:gd name="T13" fmla="*/ 149 h 288"/>
                <a:gd name="T14" fmla="*/ 37 w 145"/>
                <a:gd name="T15" fmla="*/ 5 h 288"/>
                <a:gd name="T16" fmla="*/ 42 w 145"/>
                <a:gd name="T17" fmla="*/ 0 h 288"/>
                <a:gd name="T18" fmla="*/ 138 w 145"/>
                <a:gd name="T19" fmla="*/ 0 h 288"/>
                <a:gd name="T20" fmla="*/ 144 w 145"/>
                <a:gd name="T21" fmla="*/ 3 h 288"/>
                <a:gd name="T22" fmla="*/ 144 w 145"/>
                <a:gd name="T23" fmla="*/ 9 h 288"/>
                <a:gd name="T24" fmla="*/ 89 w 145"/>
                <a:gd name="T25" fmla="*/ 96 h 288"/>
                <a:gd name="T26" fmla="*/ 138 w 145"/>
                <a:gd name="T27" fmla="*/ 96 h 288"/>
                <a:gd name="T28" fmla="*/ 144 w 145"/>
                <a:gd name="T29" fmla="*/ 99 h 288"/>
                <a:gd name="T30" fmla="*/ 143 w 145"/>
                <a:gd name="T31" fmla="*/ 106 h 288"/>
                <a:gd name="T32" fmla="*/ 23 w 145"/>
                <a:gd name="T33" fmla="*/ 286 h 288"/>
                <a:gd name="T34" fmla="*/ 18 w 145"/>
                <a:gd name="T35" fmla="*/ 288 h 288"/>
                <a:gd name="T36" fmla="*/ 14 w 145"/>
                <a:gd name="T37" fmla="*/ 144 h 288"/>
                <a:gd name="T38" fmla="*/ 54 w 145"/>
                <a:gd name="T39" fmla="*/ 144 h 288"/>
                <a:gd name="T40" fmla="*/ 59 w 145"/>
                <a:gd name="T41" fmla="*/ 147 h 288"/>
                <a:gd name="T42" fmla="*/ 60 w 145"/>
                <a:gd name="T43" fmla="*/ 152 h 288"/>
                <a:gd name="T44" fmla="*/ 34 w 145"/>
                <a:gd name="T45" fmla="*/ 248 h 288"/>
                <a:gd name="T46" fmla="*/ 127 w 145"/>
                <a:gd name="T47" fmla="*/ 108 h 288"/>
                <a:gd name="T48" fmla="*/ 78 w 145"/>
                <a:gd name="T49" fmla="*/ 108 h 288"/>
                <a:gd name="T50" fmla="*/ 73 w 145"/>
                <a:gd name="T51" fmla="*/ 105 h 288"/>
                <a:gd name="T52" fmla="*/ 73 w 145"/>
                <a:gd name="T53" fmla="*/ 99 h 288"/>
                <a:gd name="T54" fmla="*/ 128 w 145"/>
                <a:gd name="T55" fmla="*/ 12 h 288"/>
                <a:gd name="T56" fmla="*/ 47 w 145"/>
                <a:gd name="T57" fmla="*/ 12 h 288"/>
                <a:gd name="T58" fmla="*/ 14 w 145"/>
                <a:gd name="T59" fmla="*/ 14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5" h="288">
                  <a:moveTo>
                    <a:pt x="18" y="288"/>
                  </a:moveTo>
                  <a:cubicBezTo>
                    <a:pt x="18" y="288"/>
                    <a:pt x="17" y="288"/>
                    <a:pt x="16" y="288"/>
                  </a:cubicBezTo>
                  <a:cubicBezTo>
                    <a:pt x="13" y="286"/>
                    <a:pt x="12" y="283"/>
                    <a:pt x="13" y="281"/>
                  </a:cubicBezTo>
                  <a:cubicBezTo>
                    <a:pt x="47" y="156"/>
                    <a:pt x="47" y="156"/>
                    <a:pt x="47" y="156"/>
                  </a:cubicBezTo>
                  <a:cubicBezTo>
                    <a:pt x="6" y="156"/>
                    <a:pt x="6" y="156"/>
                    <a:pt x="6" y="156"/>
                  </a:cubicBezTo>
                  <a:cubicBezTo>
                    <a:pt x="5" y="156"/>
                    <a:pt x="3" y="155"/>
                    <a:pt x="2" y="154"/>
                  </a:cubicBezTo>
                  <a:cubicBezTo>
                    <a:pt x="1" y="152"/>
                    <a:pt x="0" y="151"/>
                    <a:pt x="1" y="149"/>
                  </a:cubicBezTo>
                  <a:cubicBezTo>
                    <a:pt x="37" y="5"/>
                    <a:pt x="37" y="5"/>
                    <a:pt x="37" y="5"/>
                  </a:cubicBezTo>
                  <a:cubicBezTo>
                    <a:pt x="37" y="2"/>
                    <a:pt x="40" y="0"/>
                    <a:pt x="42" y="0"/>
                  </a:cubicBezTo>
                  <a:cubicBezTo>
                    <a:pt x="138" y="0"/>
                    <a:pt x="138" y="0"/>
                    <a:pt x="138" y="0"/>
                  </a:cubicBezTo>
                  <a:cubicBezTo>
                    <a:pt x="141" y="0"/>
                    <a:pt x="143" y="1"/>
                    <a:pt x="144" y="3"/>
                  </a:cubicBezTo>
                  <a:cubicBezTo>
                    <a:pt x="145" y="5"/>
                    <a:pt x="145" y="8"/>
                    <a:pt x="144" y="9"/>
                  </a:cubicBezTo>
                  <a:cubicBezTo>
                    <a:pt x="89" y="96"/>
                    <a:pt x="89" y="96"/>
                    <a:pt x="89" y="96"/>
                  </a:cubicBezTo>
                  <a:cubicBezTo>
                    <a:pt x="138" y="96"/>
                    <a:pt x="138" y="96"/>
                    <a:pt x="138" y="96"/>
                  </a:cubicBezTo>
                  <a:cubicBezTo>
                    <a:pt x="141" y="96"/>
                    <a:pt x="143" y="97"/>
                    <a:pt x="144" y="99"/>
                  </a:cubicBezTo>
                  <a:cubicBezTo>
                    <a:pt x="145" y="101"/>
                    <a:pt x="145" y="104"/>
                    <a:pt x="143" y="106"/>
                  </a:cubicBezTo>
                  <a:cubicBezTo>
                    <a:pt x="23" y="286"/>
                    <a:pt x="23" y="286"/>
                    <a:pt x="23" y="286"/>
                  </a:cubicBezTo>
                  <a:cubicBezTo>
                    <a:pt x="22" y="287"/>
                    <a:pt x="20" y="288"/>
                    <a:pt x="18" y="288"/>
                  </a:cubicBezTo>
                  <a:close/>
                  <a:moveTo>
                    <a:pt x="14" y="144"/>
                  </a:moveTo>
                  <a:cubicBezTo>
                    <a:pt x="54" y="144"/>
                    <a:pt x="54" y="144"/>
                    <a:pt x="54" y="144"/>
                  </a:cubicBezTo>
                  <a:cubicBezTo>
                    <a:pt x="56" y="144"/>
                    <a:pt x="58" y="145"/>
                    <a:pt x="59" y="147"/>
                  </a:cubicBezTo>
                  <a:cubicBezTo>
                    <a:pt x="60" y="148"/>
                    <a:pt x="61" y="150"/>
                    <a:pt x="60" y="152"/>
                  </a:cubicBezTo>
                  <a:cubicBezTo>
                    <a:pt x="34" y="248"/>
                    <a:pt x="34" y="248"/>
                    <a:pt x="34" y="248"/>
                  </a:cubicBezTo>
                  <a:cubicBezTo>
                    <a:pt x="127" y="108"/>
                    <a:pt x="127" y="108"/>
                    <a:pt x="127" y="108"/>
                  </a:cubicBezTo>
                  <a:cubicBezTo>
                    <a:pt x="78" y="108"/>
                    <a:pt x="78" y="108"/>
                    <a:pt x="78" y="108"/>
                  </a:cubicBezTo>
                  <a:cubicBezTo>
                    <a:pt x="76" y="108"/>
                    <a:pt x="74" y="107"/>
                    <a:pt x="73" y="105"/>
                  </a:cubicBezTo>
                  <a:cubicBezTo>
                    <a:pt x="72" y="103"/>
                    <a:pt x="72" y="101"/>
                    <a:pt x="73" y="99"/>
                  </a:cubicBezTo>
                  <a:cubicBezTo>
                    <a:pt x="128" y="12"/>
                    <a:pt x="128" y="12"/>
                    <a:pt x="128" y="12"/>
                  </a:cubicBezTo>
                  <a:cubicBezTo>
                    <a:pt x="47" y="12"/>
                    <a:pt x="47" y="12"/>
                    <a:pt x="47" y="12"/>
                  </a:cubicBezTo>
                  <a:lnTo>
                    <a:pt x="14" y="144"/>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Graphik" charset="0"/>
                <a:cs typeface="Arial" charset="0"/>
              </a:endParaRPr>
            </a:p>
          </p:txBody>
        </p:sp>
      </p:grpSp>
      <p:grpSp>
        <p:nvGrpSpPr>
          <p:cNvPr id="232" name="Group 231">
            <a:extLst>
              <a:ext uri="{FF2B5EF4-FFF2-40B4-BE49-F238E27FC236}">
                <a16:creationId xmlns:a16="http://schemas.microsoft.com/office/drawing/2014/main" id="{D974391A-417B-7CBC-8A1A-AA6C963E165B}"/>
              </a:ext>
            </a:extLst>
          </p:cNvPr>
          <p:cNvGrpSpPr>
            <a:grpSpLocks noChangeAspect="1"/>
          </p:cNvGrpSpPr>
          <p:nvPr/>
        </p:nvGrpSpPr>
        <p:grpSpPr>
          <a:xfrm>
            <a:off x="5725800" y="1523155"/>
            <a:ext cx="6321567" cy="4461651"/>
            <a:chOff x="3333069" y="1314189"/>
            <a:chExt cx="6472896" cy="3898274"/>
          </a:xfrm>
        </p:grpSpPr>
        <p:grpSp>
          <p:nvGrpSpPr>
            <p:cNvPr id="233" name="Group 232">
              <a:extLst>
                <a:ext uri="{FF2B5EF4-FFF2-40B4-BE49-F238E27FC236}">
                  <a16:creationId xmlns:a16="http://schemas.microsoft.com/office/drawing/2014/main" id="{8BF97456-8CF3-3154-92A8-1765C176FD23}"/>
                </a:ext>
              </a:extLst>
            </p:cNvPr>
            <p:cNvGrpSpPr/>
            <p:nvPr/>
          </p:nvGrpSpPr>
          <p:grpSpPr>
            <a:xfrm>
              <a:off x="3369717" y="1917033"/>
              <a:ext cx="1066711" cy="281872"/>
              <a:chOff x="0" y="0"/>
              <a:chExt cx="634214" cy="167587"/>
            </a:xfrm>
          </p:grpSpPr>
          <p:sp>
            <p:nvSpPr>
              <p:cNvPr id="305" name="Freeform 3">
                <a:extLst>
                  <a:ext uri="{FF2B5EF4-FFF2-40B4-BE49-F238E27FC236}">
                    <a16:creationId xmlns:a16="http://schemas.microsoft.com/office/drawing/2014/main" id="{95A11E48-65D9-AB2F-F0F1-AC51C3248109}"/>
                  </a:ext>
                </a:extLst>
              </p:cNvPr>
              <p:cNvSpPr/>
              <p:nvPr/>
            </p:nvSpPr>
            <p:spPr>
              <a:xfrm>
                <a:off x="0" y="0"/>
                <a:ext cx="634214" cy="167587"/>
              </a:xfrm>
              <a:custGeom>
                <a:avLst/>
                <a:gdLst/>
                <a:ahLst/>
                <a:cxnLst/>
                <a:rect l="l" t="t" r="r" b="b"/>
                <a:pathLst>
                  <a:path w="634214" h="167587">
                    <a:moveTo>
                      <a:pt x="83794" y="0"/>
                    </a:moveTo>
                    <a:lnTo>
                      <a:pt x="550421" y="0"/>
                    </a:lnTo>
                    <a:cubicBezTo>
                      <a:pt x="596699" y="0"/>
                      <a:pt x="634214" y="37516"/>
                      <a:pt x="634214" y="83794"/>
                    </a:cubicBezTo>
                    <a:lnTo>
                      <a:pt x="634214" y="83794"/>
                    </a:lnTo>
                    <a:cubicBezTo>
                      <a:pt x="634214" y="130072"/>
                      <a:pt x="596699" y="167587"/>
                      <a:pt x="550421" y="167587"/>
                    </a:cubicBezTo>
                    <a:lnTo>
                      <a:pt x="83794" y="167587"/>
                    </a:lnTo>
                    <a:cubicBezTo>
                      <a:pt x="37516" y="167587"/>
                      <a:pt x="0" y="130072"/>
                      <a:pt x="0" y="83794"/>
                    </a:cubicBezTo>
                    <a:lnTo>
                      <a:pt x="0" y="83794"/>
                    </a:lnTo>
                    <a:cubicBezTo>
                      <a:pt x="0" y="37516"/>
                      <a:pt x="37516" y="0"/>
                      <a:pt x="83794" y="0"/>
                    </a:cubicBezTo>
                    <a:close/>
                  </a:path>
                </a:pathLst>
              </a:custGeom>
              <a:solidFill>
                <a:schemeClr val="accent1">
                  <a:lumMod val="20000"/>
                  <a:lumOff val="80000"/>
                </a:schemeClr>
              </a:solidFill>
            </p:spPr>
            <p:txBody>
              <a:bodyPr/>
              <a:lstStyle/>
              <a:p>
                <a:endParaRPr lang="en-US" sz="1000" b="1"/>
              </a:p>
            </p:txBody>
          </p:sp>
          <p:sp>
            <p:nvSpPr>
              <p:cNvPr id="306" name="TextBox 4">
                <a:extLst>
                  <a:ext uri="{FF2B5EF4-FFF2-40B4-BE49-F238E27FC236}">
                    <a16:creationId xmlns:a16="http://schemas.microsoft.com/office/drawing/2014/main" id="{09590D43-B236-366C-BD2E-958D957D9566}"/>
                  </a:ext>
                </a:extLst>
              </p:cNvPr>
              <p:cNvSpPr txBox="1"/>
              <p:nvPr/>
            </p:nvSpPr>
            <p:spPr>
              <a:xfrm>
                <a:off x="0" y="-9525"/>
                <a:ext cx="634214" cy="177112"/>
              </a:xfrm>
              <a:prstGeom prst="rect">
                <a:avLst/>
              </a:prstGeom>
            </p:spPr>
            <p:txBody>
              <a:bodyPr lIns="47625" tIns="47625" rIns="47625" bIns="47625" rtlCol="0" anchor="ctr"/>
              <a:lstStyle/>
              <a:p>
                <a:pPr algn="ctr">
                  <a:lnSpc>
                    <a:spcPts val="1574"/>
                  </a:lnSpc>
                  <a:spcBef>
                    <a:spcPct val="0"/>
                  </a:spcBef>
                </a:pPr>
                <a:r>
                  <a:rPr lang="en-US" sz="700" b="1" dirty="0">
                    <a:solidFill>
                      <a:srgbClr val="000000"/>
                    </a:solidFill>
                    <a:latin typeface="TT Interphases Bold"/>
                    <a:ea typeface="TT Interphases Bold"/>
                    <a:cs typeface="TT Interphases Bold"/>
                    <a:sym typeface="TT Interphases Bold"/>
                  </a:rPr>
                  <a:t>START</a:t>
                </a:r>
              </a:p>
            </p:txBody>
          </p:sp>
        </p:grpSp>
        <p:sp>
          <p:nvSpPr>
            <p:cNvPr id="234" name="AutoShape 5">
              <a:extLst>
                <a:ext uri="{FF2B5EF4-FFF2-40B4-BE49-F238E27FC236}">
                  <a16:creationId xmlns:a16="http://schemas.microsoft.com/office/drawing/2014/main" id="{CC5156A0-D2AC-0F90-F0C5-76D76C999AA7}"/>
                </a:ext>
              </a:extLst>
            </p:cNvPr>
            <p:cNvSpPr/>
            <p:nvPr/>
          </p:nvSpPr>
          <p:spPr>
            <a:xfrm flipH="1">
              <a:off x="3903071" y="2198905"/>
              <a:ext cx="0" cy="345347"/>
            </a:xfrm>
            <a:prstGeom prst="line">
              <a:avLst/>
            </a:prstGeom>
            <a:ln w="19050" cap="flat">
              <a:solidFill>
                <a:srgbClr val="000000"/>
              </a:solidFill>
              <a:prstDash val="solid"/>
              <a:headEnd type="none" w="sm" len="sm"/>
              <a:tailEnd type="arrow" w="med" len="sm"/>
            </a:ln>
          </p:spPr>
          <p:txBody>
            <a:bodyPr/>
            <a:lstStyle/>
            <a:p>
              <a:endParaRPr lang="en-US" sz="1000" b="1"/>
            </a:p>
          </p:txBody>
        </p:sp>
        <p:grpSp>
          <p:nvGrpSpPr>
            <p:cNvPr id="235" name="Group 6">
              <a:extLst>
                <a:ext uri="{FF2B5EF4-FFF2-40B4-BE49-F238E27FC236}">
                  <a16:creationId xmlns:a16="http://schemas.microsoft.com/office/drawing/2014/main" id="{9BEC0874-AA84-472B-582C-0E3952493D49}"/>
                </a:ext>
              </a:extLst>
            </p:cNvPr>
            <p:cNvGrpSpPr/>
            <p:nvPr/>
          </p:nvGrpSpPr>
          <p:grpSpPr>
            <a:xfrm>
              <a:off x="3369717" y="2544252"/>
              <a:ext cx="1066711" cy="326580"/>
              <a:chOff x="0" y="0"/>
              <a:chExt cx="634214" cy="194169"/>
            </a:xfrm>
          </p:grpSpPr>
          <p:sp>
            <p:nvSpPr>
              <p:cNvPr id="303" name="Freeform 7">
                <a:extLst>
                  <a:ext uri="{FF2B5EF4-FFF2-40B4-BE49-F238E27FC236}">
                    <a16:creationId xmlns:a16="http://schemas.microsoft.com/office/drawing/2014/main" id="{AFEA426E-C2DE-0FE0-E66E-ADD17190DF60}"/>
                  </a:ext>
                </a:extLst>
              </p:cNvPr>
              <p:cNvSpPr/>
              <p:nvPr/>
            </p:nvSpPr>
            <p:spPr>
              <a:xfrm>
                <a:off x="0" y="0"/>
                <a:ext cx="634214" cy="194169"/>
              </a:xfrm>
              <a:custGeom>
                <a:avLst/>
                <a:gdLst/>
                <a:ahLst/>
                <a:cxnLst/>
                <a:rect l="l" t="t" r="r" b="b"/>
                <a:pathLst>
                  <a:path w="634214" h="194169">
                    <a:moveTo>
                      <a:pt x="0" y="0"/>
                    </a:moveTo>
                    <a:lnTo>
                      <a:pt x="634214" y="0"/>
                    </a:lnTo>
                    <a:lnTo>
                      <a:pt x="634214" y="194169"/>
                    </a:lnTo>
                    <a:lnTo>
                      <a:pt x="0" y="194169"/>
                    </a:lnTo>
                    <a:close/>
                  </a:path>
                </a:pathLst>
              </a:custGeom>
              <a:solidFill>
                <a:srgbClr val="FFFFFF"/>
              </a:solidFill>
              <a:ln w="9525" cap="sq">
                <a:solidFill>
                  <a:srgbClr val="000000"/>
                </a:solidFill>
                <a:prstDash val="solid"/>
                <a:miter/>
              </a:ln>
            </p:spPr>
            <p:txBody>
              <a:bodyPr/>
              <a:lstStyle/>
              <a:p>
                <a:endParaRPr lang="en-US" sz="1000" b="1"/>
              </a:p>
            </p:txBody>
          </p:sp>
          <p:sp>
            <p:nvSpPr>
              <p:cNvPr id="304" name="TextBox 8">
                <a:extLst>
                  <a:ext uri="{FF2B5EF4-FFF2-40B4-BE49-F238E27FC236}">
                    <a16:creationId xmlns:a16="http://schemas.microsoft.com/office/drawing/2014/main" id="{57C18324-5833-1E5A-971C-0CC20ED6406B}"/>
                  </a:ext>
                </a:extLst>
              </p:cNvPr>
              <p:cNvSpPr txBox="1"/>
              <p:nvPr/>
            </p:nvSpPr>
            <p:spPr>
              <a:xfrm>
                <a:off x="0" y="-9525"/>
                <a:ext cx="634214" cy="203694"/>
              </a:xfrm>
              <a:prstGeom prst="rect">
                <a:avLst/>
              </a:prstGeom>
            </p:spPr>
            <p:txBody>
              <a:bodyPr lIns="47625" tIns="47625" rIns="47625" bIns="47625" rtlCol="0" anchor="ctr"/>
              <a:lstStyle/>
              <a:p>
                <a:pPr algn="ctr">
                  <a:lnSpc>
                    <a:spcPts val="1574"/>
                  </a:lnSpc>
                  <a:spcBef>
                    <a:spcPct val="0"/>
                  </a:spcBef>
                </a:pPr>
                <a:r>
                  <a:rPr lang="en-US" sz="700" b="1" dirty="0">
                    <a:solidFill>
                      <a:srgbClr val="000000"/>
                    </a:solidFill>
                    <a:latin typeface="TT Interphases Bold"/>
                    <a:ea typeface="TT Interphases Bold"/>
                    <a:cs typeface="TT Interphases Bold"/>
                    <a:sym typeface="TT Interphases Bold"/>
                  </a:rPr>
                  <a:t>Email reception</a:t>
                </a:r>
              </a:p>
            </p:txBody>
          </p:sp>
        </p:grpSp>
        <p:sp>
          <p:nvSpPr>
            <p:cNvPr id="236" name="AutoShape 9">
              <a:extLst>
                <a:ext uri="{FF2B5EF4-FFF2-40B4-BE49-F238E27FC236}">
                  <a16:creationId xmlns:a16="http://schemas.microsoft.com/office/drawing/2014/main" id="{1BFEC027-3B1D-2BAD-D779-43A6092AF985}"/>
                </a:ext>
              </a:extLst>
            </p:cNvPr>
            <p:cNvSpPr/>
            <p:nvPr/>
          </p:nvSpPr>
          <p:spPr>
            <a:xfrm flipH="1">
              <a:off x="3903071" y="2870833"/>
              <a:ext cx="0" cy="407854"/>
            </a:xfrm>
            <a:prstGeom prst="line">
              <a:avLst/>
            </a:prstGeom>
            <a:ln w="19050" cap="flat">
              <a:solidFill>
                <a:srgbClr val="000000"/>
              </a:solidFill>
              <a:prstDash val="solid"/>
              <a:headEnd type="none" w="sm" len="sm"/>
              <a:tailEnd type="arrow" w="med" len="sm"/>
            </a:ln>
          </p:spPr>
          <p:txBody>
            <a:bodyPr/>
            <a:lstStyle/>
            <a:p>
              <a:endParaRPr lang="en-US" sz="1000" b="1"/>
            </a:p>
          </p:txBody>
        </p:sp>
        <p:grpSp>
          <p:nvGrpSpPr>
            <p:cNvPr id="237" name="Group 16">
              <a:extLst>
                <a:ext uri="{FF2B5EF4-FFF2-40B4-BE49-F238E27FC236}">
                  <a16:creationId xmlns:a16="http://schemas.microsoft.com/office/drawing/2014/main" id="{823830D0-CFD0-9A29-DB2B-2BB16385578A}"/>
                </a:ext>
              </a:extLst>
            </p:cNvPr>
            <p:cNvGrpSpPr/>
            <p:nvPr/>
          </p:nvGrpSpPr>
          <p:grpSpPr>
            <a:xfrm>
              <a:off x="5544789" y="1917033"/>
              <a:ext cx="1066711" cy="281872"/>
              <a:chOff x="0" y="0"/>
              <a:chExt cx="634214" cy="167587"/>
            </a:xfrm>
          </p:grpSpPr>
          <p:sp>
            <p:nvSpPr>
              <p:cNvPr id="301" name="Freeform 17">
                <a:extLst>
                  <a:ext uri="{FF2B5EF4-FFF2-40B4-BE49-F238E27FC236}">
                    <a16:creationId xmlns:a16="http://schemas.microsoft.com/office/drawing/2014/main" id="{753509BC-2F3E-48FA-2608-A4E883A6BFDC}"/>
                  </a:ext>
                </a:extLst>
              </p:cNvPr>
              <p:cNvSpPr/>
              <p:nvPr/>
            </p:nvSpPr>
            <p:spPr>
              <a:xfrm>
                <a:off x="0" y="0"/>
                <a:ext cx="634214" cy="167587"/>
              </a:xfrm>
              <a:custGeom>
                <a:avLst/>
                <a:gdLst/>
                <a:ahLst/>
                <a:cxnLst/>
                <a:rect l="l" t="t" r="r" b="b"/>
                <a:pathLst>
                  <a:path w="634214" h="167587">
                    <a:moveTo>
                      <a:pt x="0" y="0"/>
                    </a:moveTo>
                    <a:lnTo>
                      <a:pt x="634214" y="0"/>
                    </a:lnTo>
                    <a:lnTo>
                      <a:pt x="634214" y="167587"/>
                    </a:lnTo>
                    <a:lnTo>
                      <a:pt x="0" y="167587"/>
                    </a:lnTo>
                    <a:close/>
                  </a:path>
                </a:pathLst>
              </a:custGeom>
              <a:solidFill>
                <a:srgbClr val="FFFFFF"/>
              </a:solidFill>
              <a:ln w="9525" cap="sq">
                <a:solidFill>
                  <a:srgbClr val="000000"/>
                </a:solidFill>
                <a:prstDash val="solid"/>
                <a:miter/>
              </a:ln>
            </p:spPr>
            <p:txBody>
              <a:bodyPr/>
              <a:lstStyle/>
              <a:p>
                <a:endParaRPr lang="en-US" sz="1000" b="1"/>
              </a:p>
            </p:txBody>
          </p:sp>
          <p:sp>
            <p:nvSpPr>
              <p:cNvPr id="302" name="TextBox 18">
                <a:extLst>
                  <a:ext uri="{FF2B5EF4-FFF2-40B4-BE49-F238E27FC236}">
                    <a16:creationId xmlns:a16="http://schemas.microsoft.com/office/drawing/2014/main" id="{D5240026-975F-3B10-7216-739044003908}"/>
                  </a:ext>
                </a:extLst>
              </p:cNvPr>
              <p:cNvSpPr txBox="1"/>
              <p:nvPr/>
            </p:nvSpPr>
            <p:spPr>
              <a:xfrm>
                <a:off x="0" y="-9525"/>
                <a:ext cx="634214" cy="177112"/>
              </a:xfrm>
              <a:prstGeom prst="rect">
                <a:avLst/>
              </a:prstGeom>
            </p:spPr>
            <p:txBody>
              <a:bodyPr lIns="47625" tIns="47625" rIns="47625" bIns="47625" rtlCol="0" anchor="ctr"/>
              <a:lstStyle/>
              <a:p>
                <a:pPr algn="ctr">
                  <a:spcBef>
                    <a:spcPct val="0"/>
                  </a:spcBef>
                </a:pPr>
                <a:r>
                  <a:rPr lang="en-US" sz="700" b="1" dirty="0">
                    <a:solidFill>
                      <a:srgbClr val="000000"/>
                    </a:solidFill>
                    <a:latin typeface="TT Interphases Bold"/>
                    <a:ea typeface="TT Interphases Bold"/>
                    <a:cs typeface="TT Interphases Bold"/>
                    <a:sym typeface="TT Interphases Bold"/>
                  </a:rPr>
                  <a:t>Is Sales Opportunity exists?</a:t>
                </a:r>
              </a:p>
            </p:txBody>
          </p:sp>
        </p:grpSp>
        <p:sp>
          <p:nvSpPr>
            <p:cNvPr id="238" name="TextBox 24">
              <a:extLst>
                <a:ext uri="{FF2B5EF4-FFF2-40B4-BE49-F238E27FC236}">
                  <a16:creationId xmlns:a16="http://schemas.microsoft.com/office/drawing/2014/main" id="{ACF9611A-8C08-CEB5-7AE4-9BC4FD253881}"/>
                </a:ext>
              </a:extLst>
            </p:cNvPr>
            <p:cNvSpPr txBox="1"/>
            <p:nvPr/>
          </p:nvSpPr>
          <p:spPr>
            <a:xfrm>
              <a:off x="3453414" y="3848610"/>
              <a:ext cx="342227" cy="241393"/>
            </a:xfrm>
            <a:prstGeom prst="rect">
              <a:avLst/>
            </a:prstGeom>
          </p:spPr>
          <p:txBody>
            <a:bodyPr lIns="47625" tIns="47625" rIns="47625" bIns="47625" rtlCol="0" anchor="ctr"/>
            <a:lstStyle/>
            <a:p>
              <a:pPr algn="ctr">
                <a:lnSpc>
                  <a:spcPts val="1574"/>
                </a:lnSpc>
                <a:spcBef>
                  <a:spcPct val="0"/>
                </a:spcBef>
              </a:pPr>
              <a:r>
                <a:rPr lang="en-US" sz="700" b="1">
                  <a:solidFill>
                    <a:srgbClr val="FFFFFF"/>
                  </a:solidFill>
                  <a:latin typeface="TT Interphases Bold"/>
                  <a:ea typeface="TT Interphases Bold"/>
                  <a:cs typeface="TT Interphases Bold"/>
                  <a:sym typeface="TT Interphases Bold"/>
                </a:rPr>
                <a:t>No</a:t>
              </a:r>
            </a:p>
          </p:txBody>
        </p:sp>
        <p:sp>
          <p:nvSpPr>
            <p:cNvPr id="239" name="TextBox 27">
              <a:extLst>
                <a:ext uri="{FF2B5EF4-FFF2-40B4-BE49-F238E27FC236}">
                  <a16:creationId xmlns:a16="http://schemas.microsoft.com/office/drawing/2014/main" id="{B842B767-0F41-860F-1369-00E43597CA86}"/>
                </a:ext>
              </a:extLst>
            </p:cNvPr>
            <p:cNvSpPr txBox="1"/>
            <p:nvPr/>
          </p:nvSpPr>
          <p:spPr>
            <a:xfrm>
              <a:off x="3998636" y="3848610"/>
              <a:ext cx="342227" cy="241393"/>
            </a:xfrm>
            <a:prstGeom prst="rect">
              <a:avLst/>
            </a:prstGeom>
          </p:spPr>
          <p:txBody>
            <a:bodyPr lIns="47625" tIns="47625" rIns="47625" bIns="47625" rtlCol="0" anchor="ctr"/>
            <a:lstStyle/>
            <a:p>
              <a:pPr algn="ctr">
                <a:lnSpc>
                  <a:spcPts val="1574"/>
                </a:lnSpc>
                <a:spcBef>
                  <a:spcPct val="0"/>
                </a:spcBef>
              </a:pPr>
              <a:r>
                <a:rPr lang="en-US" sz="700" b="1">
                  <a:solidFill>
                    <a:srgbClr val="FFFFFF"/>
                  </a:solidFill>
                  <a:latin typeface="TT Interphases Bold"/>
                  <a:ea typeface="TT Interphases Bold"/>
                  <a:cs typeface="TT Interphases Bold"/>
                  <a:sym typeface="TT Interphases Bold"/>
                </a:rPr>
                <a:t>Yes</a:t>
              </a:r>
            </a:p>
          </p:txBody>
        </p:sp>
        <p:grpSp>
          <p:nvGrpSpPr>
            <p:cNvPr id="240" name="Group 29">
              <a:extLst>
                <a:ext uri="{FF2B5EF4-FFF2-40B4-BE49-F238E27FC236}">
                  <a16:creationId xmlns:a16="http://schemas.microsoft.com/office/drawing/2014/main" id="{7303BD74-F18F-C642-EB43-532076592F67}"/>
                </a:ext>
              </a:extLst>
            </p:cNvPr>
            <p:cNvGrpSpPr/>
            <p:nvPr/>
          </p:nvGrpSpPr>
          <p:grpSpPr>
            <a:xfrm>
              <a:off x="3369717" y="3278688"/>
              <a:ext cx="1066711" cy="330672"/>
              <a:chOff x="0" y="0"/>
              <a:chExt cx="634214" cy="196602"/>
            </a:xfrm>
          </p:grpSpPr>
          <p:sp>
            <p:nvSpPr>
              <p:cNvPr id="299" name="Freeform 30">
                <a:extLst>
                  <a:ext uri="{FF2B5EF4-FFF2-40B4-BE49-F238E27FC236}">
                    <a16:creationId xmlns:a16="http://schemas.microsoft.com/office/drawing/2014/main" id="{339991AA-26B4-A3E8-BB54-2444431C4368}"/>
                  </a:ext>
                </a:extLst>
              </p:cNvPr>
              <p:cNvSpPr/>
              <p:nvPr/>
            </p:nvSpPr>
            <p:spPr>
              <a:xfrm>
                <a:off x="0" y="0"/>
                <a:ext cx="634214" cy="196602"/>
              </a:xfrm>
              <a:custGeom>
                <a:avLst/>
                <a:gdLst/>
                <a:ahLst/>
                <a:cxnLst/>
                <a:rect l="l" t="t" r="r" b="b"/>
                <a:pathLst>
                  <a:path w="634214" h="196602">
                    <a:moveTo>
                      <a:pt x="0" y="0"/>
                    </a:moveTo>
                    <a:lnTo>
                      <a:pt x="634214" y="0"/>
                    </a:lnTo>
                    <a:lnTo>
                      <a:pt x="634214" y="196602"/>
                    </a:lnTo>
                    <a:lnTo>
                      <a:pt x="0" y="196602"/>
                    </a:lnTo>
                    <a:close/>
                  </a:path>
                </a:pathLst>
              </a:custGeom>
              <a:solidFill>
                <a:srgbClr val="FFFFFF"/>
              </a:solidFill>
              <a:ln w="9525" cap="sq">
                <a:solidFill>
                  <a:srgbClr val="000000"/>
                </a:solidFill>
                <a:prstDash val="solid"/>
                <a:miter/>
              </a:ln>
            </p:spPr>
            <p:txBody>
              <a:bodyPr/>
              <a:lstStyle/>
              <a:p>
                <a:endParaRPr lang="en-US" sz="1000" b="1"/>
              </a:p>
            </p:txBody>
          </p:sp>
          <p:sp>
            <p:nvSpPr>
              <p:cNvPr id="300" name="TextBox 31">
                <a:extLst>
                  <a:ext uri="{FF2B5EF4-FFF2-40B4-BE49-F238E27FC236}">
                    <a16:creationId xmlns:a16="http://schemas.microsoft.com/office/drawing/2014/main" id="{15A09E48-EF19-0E00-0DB7-613DF108AE5C}"/>
                  </a:ext>
                </a:extLst>
              </p:cNvPr>
              <p:cNvSpPr txBox="1"/>
              <p:nvPr/>
            </p:nvSpPr>
            <p:spPr>
              <a:xfrm>
                <a:off x="0" y="-9525"/>
                <a:ext cx="634214" cy="206127"/>
              </a:xfrm>
              <a:prstGeom prst="rect">
                <a:avLst/>
              </a:prstGeom>
            </p:spPr>
            <p:txBody>
              <a:bodyPr lIns="47625" tIns="47625" rIns="47625" bIns="47625" rtlCol="0" anchor="ctr"/>
              <a:lstStyle/>
              <a:p>
                <a:pPr algn="ctr">
                  <a:spcBef>
                    <a:spcPct val="0"/>
                  </a:spcBef>
                </a:pPr>
                <a:r>
                  <a:rPr lang="en-US" sz="700" b="1" dirty="0">
                    <a:solidFill>
                      <a:srgbClr val="000000"/>
                    </a:solidFill>
                    <a:latin typeface="TT Interphases Bold"/>
                    <a:ea typeface="TT Interphases Bold"/>
                    <a:cs typeface="TT Interphases Bold"/>
                    <a:sym typeface="TT Interphases Bold"/>
                  </a:rPr>
                  <a:t>Case creation in Salesforce</a:t>
                </a:r>
              </a:p>
            </p:txBody>
          </p:sp>
        </p:grpSp>
        <p:sp>
          <p:nvSpPr>
            <p:cNvPr id="241" name="AutoShape 32">
              <a:extLst>
                <a:ext uri="{FF2B5EF4-FFF2-40B4-BE49-F238E27FC236}">
                  <a16:creationId xmlns:a16="http://schemas.microsoft.com/office/drawing/2014/main" id="{733242EC-29AC-3ABF-9F4B-9E2077985DDC}"/>
                </a:ext>
              </a:extLst>
            </p:cNvPr>
            <p:cNvSpPr/>
            <p:nvPr/>
          </p:nvSpPr>
          <p:spPr>
            <a:xfrm flipH="1">
              <a:off x="5781799" y="2232385"/>
              <a:ext cx="272612" cy="232541"/>
            </a:xfrm>
            <a:prstGeom prst="line">
              <a:avLst/>
            </a:prstGeom>
            <a:ln w="19050" cap="flat">
              <a:solidFill>
                <a:srgbClr val="000000"/>
              </a:solidFill>
              <a:prstDash val="solid"/>
              <a:headEnd type="none" w="sm" len="sm"/>
              <a:tailEnd type="arrow" w="med" len="sm"/>
            </a:ln>
          </p:spPr>
          <p:txBody>
            <a:bodyPr/>
            <a:lstStyle/>
            <a:p>
              <a:endParaRPr lang="en-US" sz="1000" b="1"/>
            </a:p>
          </p:txBody>
        </p:sp>
        <p:grpSp>
          <p:nvGrpSpPr>
            <p:cNvPr id="242" name="Group 33">
              <a:extLst>
                <a:ext uri="{FF2B5EF4-FFF2-40B4-BE49-F238E27FC236}">
                  <a16:creationId xmlns:a16="http://schemas.microsoft.com/office/drawing/2014/main" id="{F1245A2D-BD30-9845-69E1-9322AE2E075B}"/>
                </a:ext>
              </a:extLst>
            </p:cNvPr>
            <p:cNvGrpSpPr/>
            <p:nvPr/>
          </p:nvGrpSpPr>
          <p:grpSpPr>
            <a:xfrm>
              <a:off x="5521055" y="2464927"/>
              <a:ext cx="521488" cy="358385"/>
              <a:chOff x="0" y="0"/>
              <a:chExt cx="812800" cy="558584"/>
            </a:xfrm>
          </p:grpSpPr>
          <p:sp>
            <p:nvSpPr>
              <p:cNvPr id="297" name="Freeform 34">
                <a:extLst>
                  <a:ext uri="{FF2B5EF4-FFF2-40B4-BE49-F238E27FC236}">
                    <a16:creationId xmlns:a16="http://schemas.microsoft.com/office/drawing/2014/main" id="{FEBD2024-2EE7-67BA-C76B-39E86FBCF880}"/>
                  </a:ext>
                </a:extLst>
              </p:cNvPr>
              <p:cNvSpPr/>
              <p:nvPr/>
            </p:nvSpPr>
            <p:spPr>
              <a:xfrm>
                <a:off x="0" y="0"/>
                <a:ext cx="812800" cy="558584"/>
              </a:xfrm>
              <a:custGeom>
                <a:avLst/>
                <a:gdLst/>
                <a:ahLst/>
                <a:cxnLst/>
                <a:rect l="l" t="t" r="r" b="b"/>
                <a:pathLst>
                  <a:path w="812800" h="558583">
                    <a:moveTo>
                      <a:pt x="406400" y="0"/>
                    </a:moveTo>
                    <a:lnTo>
                      <a:pt x="812800" y="279292"/>
                    </a:lnTo>
                    <a:lnTo>
                      <a:pt x="406400" y="558583"/>
                    </a:lnTo>
                    <a:lnTo>
                      <a:pt x="0" y="279292"/>
                    </a:lnTo>
                    <a:lnTo>
                      <a:pt x="406400" y="0"/>
                    </a:lnTo>
                    <a:close/>
                  </a:path>
                </a:pathLst>
              </a:custGeom>
              <a:solidFill>
                <a:srgbClr val="487984"/>
              </a:solidFill>
              <a:ln cap="sq">
                <a:noFill/>
                <a:prstDash val="solid"/>
                <a:miter/>
              </a:ln>
            </p:spPr>
            <p:txBody>
              <a:bodyPr/>
              <a:lstStyle/>
              <a:p>
                <a:endParaRPr lang="en-US" sz="1000" b="1"/>
              </a:p>
            </p:txBody>
          </p:sp>
          <p:sp>
            <p:nvSpPr>
              <p:cNvPr id="298" name="TextBox 35">
                <a:extLst>
                  <a:ext uri="{FF2B5EF4-FFF2-40B4-BE49-F238E27FC236}">
                    <a16:creationId xmlns:a16="http://schemas.microsoft.com/office/drawing/2014/main" id="{9466CDF3-AD64-D322-D2D5-9C079E37C967}"/>
                  </a:ext>
                </a:extLst>
              </p:cNvPr>
              <p:cNvSpPr txBox="1"/>
              <p:nvPr/>
            </p:nvSpPr>
            <p:spPr>
              <a:xfrm>
                <a:off x="139700" y="86481"/>
                <a:ext cx="533400" cy="376095"/>
              </a:xfrm>
              <a:prstGeom prst="rect">
                <a:avLst/>
              </a:prstGeom>
            </p:spPr>
            <p:txBody>
              <a:bodyPr lIns="47625" tIns="47625" rIns="47625" bIns="47625" rtlCol="0" anchor="ctr"/>
              <a:lstStyle/>
              <a:p>
                <a:pPr algn="ctr">
                  <a:lnSpc>
                    <a:spcPts val="1574"/>
                  </a:lnSpc>
                  <a:spcBef>
                    <a:spcPct val="0"/>
                  </a:spcBef>
                </a:pPr>
                <a:r>
                  <a:rPr lang="en-US" sz="700" b="1" dirty="0">
                    <a:solidFill>
                      <a:srgbClr val="FFFFFF"/>
                    </a:solidFill>
                    <a:latin typeface="TT Interphases Bold"/>
                    <a:ea typeface="TT Interphases Bold"/>
                    <a:cs typeface="TT Interphases Bold"/>
                    <a:sym typeface="TT Interphases Bold"/>
                  </a:rPr>
                  <a:t>Yes</a:t>
                </a:r>
              </a:p>
            </p:txBody>
          </p:sp>
        </p:grpSp>
        <p:grpSp>
          <p:nvGrpSpPr>
            <p:cNvPr id="243" name="Group 36">
              <a:extLst>
                <a:ext uri="{FF2B5EF4-FFF2-40B4-BE49-F238E27FC236}">
                  <a16:creationId xmlns:a16="http://schemas.microsoft.com/office/drawing/2014/main" id="{BFD775D9-9822-6584-491A-008C1FD8BC76}"/>
                </a:ext>
              </a:extLst>
            </p:cNvPr>
            <p:cNvGrpSpPr/>
            <p:nvPr/>
          </p:nvGrpSpPr>
          <p:grpSpPr>
            <a:xfrm>
              <a:off x="6066278" y="2464927"/>
              <a:ext cx="521488" cy="358384"/>
              <a:chOff x="0" y="0"/>
              <a:chExt cx="812800" cy="558583"/>
            </a:xfrm>
          </p:grpSpPr>
          <p:sp>
            <p:nvSpPr>
              <p:cNvPr id="295" name="Freeform 37">
                <a:extLst>
                  <a:ext uri="{FF2B5EF4-FFF2-40B4-BE49-F238E27FC236}">
                    <a16:creationId xmlns:a16="http://schemas.microsoft.com/office/drawing/2014/main" id="{C0C3C4F4-CA84-5F2A-D707-3D54C4636AE0}"/>
                  </a:ext>
                </a:extLst>
              </p:cNvPr>
              <p:cNvSpPr/>
              <p:nvPr/>
            </p:nvSpPr>
            <p:spPr>
              <a:xfrm>
                <a:off x="0" y="0"/>
                <a:ext cx="812800" cy="558583"/>
              </a:xfrm>
              <a:custGeom>
                <a:avLst/>
                <a:gdLst/>
                <a:ahLst/>
                <a:cxnLst/>
                <a:rect l="l" t="t" r="r" b="b"/>
                <a:pathLst>
                  <a:path w="812800" h="558583">
                    <a:moveTo>
                      <a:pt x="406400" y="0"/>
                    </a:moveTo>
                    <a:lnTo>
                      <a:pt x="812800" y="279292"/>
                    </a:lnTo>
                    <a:lnTo>
                      <a:pt x="406400" y="558583"/>
                    </a:lnTo>
                    <a:lnTo>
                      <a:pt x="0" y="279292"/>
                    </a:lnTo>
                    <a:lnTo>
                      <a:pt x="406400" y="0"/>
                    </a:lnTo>
                    <a:close/>
                  </a:path>
                </a:pathLst>
              </a:custGeom>
              <a:solidFill>
                <a:srgbClr val="487984"/>
              </a:solidFill>
            </p:spPr>
            <p:txBody>
              <a:bodyPr/>
              <a:lstStyle/>
              <a:p>
                <a:endParaRPr lang="en-US" sz="1000" b="1"/>
              </a:p>
            </p:txBody>
          </p:sp>
          <p:sp>
            <p:nvSpPr>
              <p:cNvPr id="296" name="TextBox 38">
                <a:extLst>
                  <a:ext uri="{FF2B5EF4-FFF2-40B4-BE49-F238E27FC236}">
                    <a16:creationId xmlns:a16="http://schemas.microsoft.com/office/drawing/2014/main" id="{94A71D07-28FC-D153-46AB-EE0EA7942FAE}"/>
                  </a:ext>
                </a:extLst>
              </p:cNvPr>
              <p:cNvSpPr txBox="1"/>
              <p:nvPr/>
            </p:nvSpPr>
            <p:spPr>
              <a:xfrm>
                <a:off x="139700" y="86481"/>
                <a:ext cx="533401" cy="376094"/>
              </a:xfrm>
              <a:prstGeom prst="rect">
                <a:avLst/>
              </a:prstGeom>
            </p:spPr>
            <p:txBody>
              <a:bodyPr lIns="47625" tIns="47625" rIns="47625" bIns="47625" rtlCol="0" anchor="ctr"/>
              <a:lstStyle/>
              <a:p>
                <a:pPr algn="ctr">
                  <a:lnSpc>
                    <a:spcPts val="1574"/>
                  </a:lnSpc>
                  <a:spcBef>
                    <a:spcPct val="0"/>
                  </a:spcBef>
                </a:pPr>
                <a:r>
                  <a:rPr lang="en-US" sz="700" b="1" dirty="0">
                    <a:solidFill>
                      <a:srgbClr val="FFFFFF"/>
                    </a:solidFill>
                    <a:latin typeface="TT Interphases Bold"/>
                    <a:ea typeface="TT Interphases Bold"/>
                    <a:cs typeface="TT Interphases Bold"/>
                    <a:sym typeface="TT Interphases Bold"/>
                  </a:rPr>
                  <a:t>No</a:t>
                </a:r>
              </a:p>
            </p:txBody>
          </p:sp>
        </p:grpSp>
        <p:sp>
          <p:nvSpPr>
            <p:cNvPr id="244" name="AutoShape 39">
              <a:extLst>
                <a:ext uri="{FF2B5EF4-FFF2-40B4-BE49-F238E27FC236}">
                  <a16:creationId xmlns:a16="http://schemas.microsoft.com/office/drawing/2014/main" id="{13FC05F9-C044-DAF2-7365-15B8C085C79E}"/>
                </a:ext>
              </a:extLst>
            </p:cNvPr>
            <p:cNvSpPr/>
            <p:nvPr/>
          </p:nvSpPr>
          <p:spPr>
            <a:xfrm>
              <a:off x="6054410" y="2232385"/>
              <a:ext cx="272612" cy="232541"/>
            </a:xfrm>
            <a:prstGeom prst="line">
              <a:avLst/>
            </a:prstGeom>
            <a:ln w="19050" cap="flat">
              <a:solidFill>
                <a:srgbClr val="000000"/>
              </a:solidFill>
              <a:prstDash val="solid"/>
              <a:headEnd type="none" w="sm" len="sm"/>
              <a:tailEnd type="arrow" w="med" len="sm"/>
            </a:ln>
          </p:spPr>
          <p:txBody>
            <a:bodyPr/>
            <a:lstStyle/>
            <a:p>
              <a:endParaRPr lang="en-US" sz="1000" b="1"/>
            </a:p>
          </p:txBody>
        </p:sp>
        <p:grpSp>
          <p:nvGrpSpPr>
            <p:cNvPr id="245" name="Group 41">
              <a:extLst>
                <a:ext uri="{FF2B5EF4-FFF2-40B4-BE49-F238E27FC236}">
                  <a16:creationId xmlns:a16="http://schemas.microsoft.com/office/drawing/2014/main" id="{FBE2E5B6-9A9C-A358-5B45-768053B51500}"/>
                </a:ext>
              </a:extLst>
            </p:cNvPr>
            <p:cNvGrpSpPr/>
            <p:nvPr/>
          </p:nvGrpSpPr>
          <p:grpSpPr>
            <a:xfrm rot="16200000">
              <a:off x="4725886" y="3345632"/>
              <a:ext cx="1016307" cy="442374"/>
              <a:chOff x="0" y="-9525"/>
              <a:chExt cx="604247" cy="203470"/>
            </a:xfrm>
          </p:grpSpPr>
          <p:sp>
            <p:nvSpPr>
              <p:cNvPr id="293" name="Freeform 42">
                <a:extLst>
                  <a:ext uri="{FF2B5EF4-FFF2-40B4-BE49-F238E27FC236}">
                    <a16:creationId xmlns:a16="http://schemas.microsoft.com/office/drawing/2014/main" id="{9642258D-81D6-0AE5-5948-7E0ADD664D4E}"/>
                  </a:ext>
                </a:extLst>
              </p:cNvPr>
              <p:cNvSpPr/>
              <p:nvPr/>
            </p:nvSpPr>
            <p:spPr>
              <a:xfrm>
                <a:off x="0" y="0"/>
                <a:ext cx="604247" cy="167587"/>
              </a:xfrm>
              <a:custGeom>
                <a:avLst/>
                <a:gdLst/>
                <a:ahLst/>
                <a:cxnLst/>
                <a:rect l="l" t="t" r="r" b="b"/>
                <a:pathLst>
                  <a:path w="604247" h="167587">
                    <a:moveTo>
                      <a:pt x="0" y="0"/>
                    </a:moveTo>
                    <a:lnTo>
                      <a:pt x="604247" y="0"/>
                    </a:lnTo>
                    <a:lnTo>
                      <a:pt x="604247" y="167587"/>
                    </a:lnTo>
                    <a:lnTo>
                      <a:pt x="0" y="167587"/>
                    </a:lnTo>
                    <a:close/>
                  </a:path>
                </a:pathLst>
              </a:custGeom>
              <a:solidFill>
                <a:srgbClr val="FFFFFF"/>
              </a:solidFill>
              <a:ln w="9525" cap="sq">
                <a:solidFill>
                  <a:srgbClr val="000000"/>
                </a:solidFill>
                <a:prstDash val="solid"/>
                <a:miter/>
              </a:ln>
            </p:spPr>
            <p:txBody>
              <a:bodyPr/>
              <a:lstStyle/>
              <a:p>
                <a:endParaRPr lang="en-US" sz="1000" b="1"/>
              </a:p>
            </p:txBody>
          </p:sp>
          <p:sp>
            <p:nvSpPr>
              <p:cNvPr id="294" name="TextBox 43">
                <a:extLst>
                  <a:ext uri="{FF2B5EF4-FFF2-40B4-BE49-F238E27FC236}">
                    <a16:creationId xmlns:a16="http://schemas.microsoft.com/office/drawing/2014/main" id="{11AA027B-0BE1-057C-8B0F-69C5E8E735F3}"/>
                  </a:ext>
                </a:extLst>
              </p:cNvPr>
              <p:cNvSpPr txBox="1"/>
              <p:nvPr/>
            </p:nvSpPr>
            <p:spPr>
              <a:xfrm>
                <a:off x="0" y="-9525"/>
                <a:ext cx="604247" cy="203470"/>
              </a:xfrm>
              <a:prstGeom prst="rect">
                <a:avLst/>
              </a:prstGeom>
            </p:spPr>
            <p:txBody>
              <a:bodyPr lIns="47625" tIns="47625" rIns="47625" bIns="47625" rtlCol="0" anchor="ctr"/>
              <a:lstStyle/>
              <a:p>
                <a:pPr algn="ctr">
                  <a:spcBef>
                    <a:spcPct val="0"/>
                  </a:spcBef>
                </a:pPr>
                <a:r>
                  <a:rPr lang="en-US" sz="700" b="1" dirty="0">
                    <a:solidFill>
                      <a:srgbClr val="000000"/>
                    </a:solidFill>
                    <a:latin typeface="TT Interphases Bold"/>
                    <a:ea typeface="TT Interphases Bold"/>
                    <a:cs typeface="TT Interphases Bold"/>
                    <a:sym typeface="TT Interphases Bold"/>
                  </a:rPr>
                  <a:t>Update existing opportunity with new data</a:t>
                </a:r>
              </a:p>
            </p:txBody>
          </p:sp>
        </p:grpSp>
        <p:sp>
          <p:nvSpPr>
            <p:cNvPr id="246" name="AutoShape 44">
              <a:extLst>
                <a:ext uri="{FF2B5EF4-FFF2-40B4-BE49-F238E27FC236}">
                  <a16:creationId xmlns:a16="http://schemas.microsoft.com/office/drawing/2014/main" id="{FB1F0588-0326-AD1D-FB79-EAD5F3920352}"/>
                </a:ext>
              </a:extLst>
            </p:cNvPr>
            <p:cNvSpPr/>
            <p:nvPr/>
          </p:nvSpPr>
          <p:spPr>
            <a:xfrm rot="10800000" flipV="1">
              <a:off x="5197522" y="2685188"/>
              <a:ext cx="347267" cy="373477"/>
            </a:xfrm>
            <a:prstGeom prst="line">
              <a:avLst/>
            </a:prstGeom>
            <a:ln w="19050" cap="flat">
              <a:solidFill>
                <a:srgbClr val="000000"/>
              </a:solidFill>
              <a:prstDash val="solid"/>
              <a:headEnd type="none" w="sm" len="sm"/>
              <a:tailEnd type="arrow" w="med" len="sm"/>
            </a:ln>
          </p:spPr>
          <p:txBody>
            <a:bodyPr/>
            <a:lstStyle/>
            <a:p>
              <a:endParaRPr lang="en-US" sz="1000" b="1"/>
            </a:p>
          </p:txBody>
        </p:sp>
        <p:grpSp>
          <p:nvGrpSpPr>
            <p:cNvPr id="247" name="Group 63">
              <a:extLst>
                <a:ext uri="{FF2B5EF4-FFF2-40B4-BE49-F238E27FC236}">
                  <a16:creationId xmlns:a16="http://schemas.microsoft.com/office/drawing/2014/main" id="{68D59F2F-2174-0825-D90A-1D22E622EE22}"/>
                </a:ext>
              </a:extLst>
            </p:cNvPr>
            <p:cNvGrpSpPr/>
            <p:nvPr/>
          </p:nvGrpSpPr>
          <p:grpSpPr>
            <a:xfrm>
              <a:off x="7365934" y="1871349"/>
              <a:ext cx="1184678" cy="813839"/>
              <a:chOff x="-364" y="-9525"/>
              <a:chExt cx="634578" cy="177112"/>
            </a:xfrm>
          </p:grpSpPr>
          <p:sp>
            <p:nvSpPr>
              <p:cNvPr id="291" name="Freeform 64">
                <a:extLst>
                  <a:ext uri="{FF2B5EF4-FFF2-40B4-BE49-F238E27FC236}">
                    <a16:creationId xmlns:a16="http://schemas.microsoft.com/office/drawing/2014/main" id="{E1F1E5A8-FEE7-78FB-670B-6F56BCDB98C6}"/>
                  </a:ext>
                </a:extLst>
              </p:cNvPr>
              <p:cNvSpPr/>
              <p:nvPr/>
            </p:nvSpPr>
            <p:spPr>
              <a:xfrm>
                <a:off x="-364" y="26643"/>
                <a:ext cx="634214" cy="107307"/>
              </a:xfrm>
              <a:prstGeom prst="roundRect">
                <a:avLst>
                  <a:gd name="adj" fmla="val 50000"/>
                </a:avLst>
              </a:prstGeom>
              <a:solidFill>
                <a:schemeClr val="accent2"/>
              </a:solidFill>
              <a:ln w="9525" cap="sq">
                <a:solidFill>
                  <a:srgbClr val="000000"/>
                </a:solidFill>
                <a:prstDash val="solid"/>
                <a:miter/>
              </a:ln>
            </p:spPr>
            <p:txBody>
              <a:bodyPr/>
              <a:lstStyle/>
              <a:p>
                <a:endParaRPr lang="en-US" sz="1000" b="1"/>
              </a:p>
            </p:txBody>
          </p:sp>
          <p:sp>
            <p:nvSpPr>
              <p:cNvPr id="292" name="TextBox 65">
                <a:extLst>
                  <a:ext uri="{FF2B5EF4-FFF2-40B4-BE49-F238E27FC236}">
                    <a16:creationId xmlns:a16="http://schemas.microsoft.com/office/drawing/2014/main" id="{1BCE590E-C16C-2114-2D71-D267559B52D6}"/>
                  </a:ext>
                </a:extLst>
              </p:cNvPr>
              <p:cNvSpPr txBox="1"/>
              <p:nvPr/>
            </p:nvSpPr>
            <p:spPr>
              <a:xfrm>
                <a:off x="0" y="-9525"/>
                <a:ext cx="634214" cy="177112"/>
              </a:xfrm>
              <a:prstGeom prst="rect">
                <a:avLst/>
              </a:prstGeom>
              <a:ln>
                <a:solidFill>
                  <a:schemeClr val="bg1"/>
                </a:solidFill>
              </a:ln>
            </p:spPr>
            <p:txBody>
              <a:bodyPr lIns="47625" tIns="47625" rIns="47625" bIns="47625" rtlCol="0" anchor="ctr"/>
              <a:lstStyle/>
              <a:p>
                <a:pPr algn="ctr">
                  <a:lnSpc>
                    <a:spcPts val="1574"/>
                  </a:lnSpc>
                  <a:spcBef>
                    <a:spcPct val="0"/>
                  </a:spcBef>
                </a:pPr>
                <a:r>
                  <a:rPr lang="en-US" sz="700" b="1" dirty="0" err="1">
                    <a:solidFill>
                      <a:schemeClr val="bg1"/>
                    </a:solidFill>
                    <a:latin typeface="TT Interphases Bold"/>
                    <a:ea typeface="TT Interphases Bold"/>
                    <a:cs typeface="TT Interphases Bold"/>
                    <a:sym typeface="TT Interphases Bold"/>
                  </a:rPr>
                  <a:t>Agentforce</a:t>
                </a:r>
                <a:r>
                  <a:rPr lang="en-US" sz="700" b="1" dirty="0">
                    <a:solidFill>
                      <a:schemeClr val="bg1"/>
                    </a:solidFill>
                    <a:latin typeface="TT Interphases Bold"/>
                    <a:ea typeface="TT Interphases Bold"/>
                    <a:cs typeface="TT Interphases Bold"/>
                    <a:sym typeface="TT Interphases Bold"/>
                  </a:rPr>
                  <a:t> decision making</a:t>
                </a:r>
              </a:p>
            </p:txBody>
          </p:sp>
        </p:grpSp>
        <p:grpSp>
          <p:nvGrpSpPr>
            <p:cNvPr id="248" name="Group 68">
              <a:extLst>
                <a:ext uri="{FF2B5EF4-FFF2-40B4-BE49-F238E27FC236}">
                  <a16:creationId xmlns:a16="http://schemas.microsoft.com/office/drawing/2014/main" id="{512D4C27-9F4D-80BE-E090-786FE181CB71}"/>
                </a:ext>
              </a:extLst>
            </p:cNvPr>
            <p:cNvGrpSpPr/>
            <p:nvPr/>
          </p:nvGrpSpPr>
          <p:grpSpPr>
            <a:xfrm>
              <a:off x="7384957" y="3153778"/>
              <a:ext cx="1066711" cy="281872"/>
              <a:chOff x="0" y="0"/>
              <a:chExt cx="634214" cy="167587"/>
            </a:xfrm>
          </p:grpSpPr>
          <p:sp>
            <p:nvSpPr>
              <p:cNvPr id="289" name="Freeform 69">
                <a:extLst>
                  <a:ext uri="{FF2B5EF4-FFF2-40B4-BE49-F238E27FC236}">
                    <a16:creationId xmlns:a16="http://schemas.microsoft.com/office/drawing/2014/main" id="{CA18C059-68E9-E4AB-54CD-B171B79BE122}"/>
                  </a:ext>
                </a:extLst>
              </p:cNvPr>
              <p:cNvSpPr/>
              <p:nvPr/>
            </p:nvSpPr>
            <p:spPr>
              <a:xfrm>
                <a:off x="0" y="0"/>
                <a:ext cx="634214" cy="167587"/>
              </a:xfrm>
              <a:custGeom>
                <a:avLst/>
                <a:gdLst/>
                <a:ahLst/>
                <a:cxnLst/>
                <a:rect l="l" t="t" r="r" b="b"/>
                <a:pathLst>
                  <a:path w="634214" h="167587">
                    <a:moveTo>
                      <a:pt x="0" y="0"/>
                    </a:moveTo>
                    <a:lnTo>
                      <a:pt x="634214" y="0"/>
                    </a:lnTo>
                    <a:lnTo>
                      <a:pt x="634214" y="167587"/>
                    </a:lnTo>
                    <a:lnTo>
                      <a:pt x="0" y="167587"/>
                    </a:lnTo>
                    <a:close/>
                  </a:path>
                </a:pathLst>
              </a:custGeom>
              <a:solidFill>
                <a:srgbClr val="FFFFFF"/>
              </a:solidFill>
              <a:ln w="9525" cap="sq">
                <a:solidFill>
                  <a:srgbClr val="000000"/>
                </a:solidFill>
                <a:prstDash val="solid"/>
                <a:miter/>
              </a:ln>
            </p:spPr>
            <p:txBody>
              <a:bodyPr/>
              <a:lstStyle/>
              <a:p>
                <a:endParaRPr lang="en-US" sz="1000" b="1"/>
              </a:p>
            </p:txBody>
          </p:sp>
          <p:sp>
            <p:nvSpPr>
              <p:cNvPr id="290" name="TextBox 70">
                <a:extLst>
                  <a:ext uri="{FF2B5EF4-FFF2-40B4-BE49-F238E27FC236}">
                    <a16:creationId xmlns:a16="http://schemas.microsoft.com/office/drawing/2014/main" id="{3E9DF561-2D6E-41BC-389D-AEFD9649D75B}"/>
                  </a:ext>
                </a:extLst>
              </p:cNvPr>
              <p:cNvSpPr txBox="1"/>
              <p:nvPr/>
            </p:nvSpPr>
            <p:spPr>
              <a:xfrm>
                <a:off x="0" y="-9525"/>
                <a:ext cx="634214" cy="177112"/>
              </a:xfrm>
              <a:prstGeom prst="rect">
                <a:avLst/>
              </a:prstGeom>
            </p:spPr>
            <p:txBody>
              <a:bodyPr lIns="47625" tIns="47625" rIns="47625" bIns="47625" rtlCol="0" anchor="ctr"/>
              <a:lstStyle/>
              <a:p>
                <a:pPr algn="ctr">
                  <a:lnSpc>
                    <a:spcPts val="1574"/>
                  </a:lnSpc>
                  <a:spcBef>
                    <a:spcPct val="0"/>
                  </a:spcBef>
                </a:pPr>
                <a:r>
                  <a:rPr lang="en-US" sz="700" b="1" dirty="0">
                    <a:solidFill>
                      <a:srgbClr val="000000"/>
                    </a:solidFill>
                    <a:latin typeface="TT Interphases Bold"/>
                    <a:ea typeface="TT Interphases Bold"/>
                    <a:cs typeface="TT Interphases Bold"/>
                    <a:sym typeface="TT Interphases Bold"/>
                  </a:rPr>
                  <a:t>Is data complete?</a:t>
                </a:r>
              </a:p>
            </p:txBody>
          </p:sp>
        </p:grpSp>
        <p:grpSp>
          <p:nvGrpSpPr>
            <p:cNvPr id="249" name="Group 76">
              <a:extLst>
                <a:ext uri="{FF2B5EF4-FFF2-40B4-BE49-F238E27FC236}">
                  <a16:creationId xmlns:a16="http://schemas.microsoft.com/office/drawing/2014/main" id="{9C7E543B-D940-96FE-4030-1F44AE6CE140}"/>
                </a:ext>
              </a:extLst>
            </p:cNvPr>
            <p:cNvGrpSpPr/>
            <p:nvPr/>
          </p:nvGrpSpPr>
          <p:grpSpPr>
            <a:xfrm>
              <a:off x="5940368" y="4778747"/>
              <a:ext cx="1066711" cy="433716"/>
              <a:chOff x="0" y="-24022"/>
              <a:chExt cx="634214" cy="257866"/>
            </a:xfrm>
          </p:grpSpPr>
          <p:sp>
            <p:nvSpPr>
              <p:cNvPr id="287" name="Freeform 77">
                <a:extLst>
                  <a:ext uri="{FF2B5EF4-FFF2-40B4-BE49-F238E27FC236}">
                    <a16:creationId xmlns:a16="http://schemas.microsoft.com/office/drawing/2014/main" id="{A542AC99-2F32-5D5C-AF82-C2B98FC30913}"/>
                  </a:ext>
                </a:extLst>
              </p:cNvPr>
              <p:cNvSpPr/>
              <p:nvPr/>
            </p:nvSpPr>
            <p:spPr>
              <a:xfrm>
                <a:off x="0" y="0"/>
                <a:ext cx="634214" cy="233844"/>
              </a:xfrm>
              <a:custGeom>
                <a:avLst/>
                <a:gdLst/>
                <a:ahLst/>
                <a:cxnLst/>
                <a:rect l="l" t="t" r="r" b="b"/>
                <a:pathLst>
                  <a:path w="634214" h="233844">
                    <a:moveTo>
                      <a:pt x="116922" y="0"/>
                    </a:moveTo>
                    <a:lnTo>
                      <a:pt x="517292" y="0"/>
                    </a:lnTo>
                    <a:cubicBezTo>
                      <a:pt x="581867" y="0"/>
                      <a:pt x="634214" y="52348"/>
                      <a:pt x="634214" y="116922"/>
                    </a:cubicBezTo>
                    <a:lnTo>
                      <a:pt x="634214" y="116922"/>
                    </a:lnTo>
                    <a:cubicBezTo>
                      <a:pt x="634214" y="181496"/>
                      <a:pt x="581867" y="233844"/>
                      <a:pt x="517292" y="233844"/>
                    </a:cubicBezTo>
                    <a:lnTo>
                      <a:pt x="116922" y="233844"/>
                    </a:lnTo>
                    <a:cubicBezTo>
                      <a:pt x="52348" y="233844"/>
                      <a:pt x="0" y="181496"/>
                      <a:pt x="0" y="116922"/>
                    </a:cubicBezTo>
                    <a:lnTo>
                      <a:pt x="0" y="116922"/>
                    </a:lnTo>
                    <a:cubicBezTo>
                      <a:pt x="0" y="52348"/>
                      <a:pt x="52348" y="0"/>
                      <a:pt x="116922" y="0"/>
                    </a:cubicBezTo>
                    <a:close/>
                  </a:path>
                </a:pathLst>
              </a:custGeom>
              <a:solidFill>
                <a:schemeClr val="accent1">
                  <a:lumMod val="40000"/>
                  <a:lumOff val="60000"/>
                </a:schemeClr>
              </a:solidFill>
              <a:ln cap="rnd">
                <a:noFill/>
                <a:prstDash val="solid"/>
                <a:round/>
              </a:ln>
            </p:spPr>
            <p:txBody>
              <a:bodyPr/>
              <a:lstStyle/>
              <a:p>
                <a:endParaRPr lang="en-US" sz="1000" b="1"/>
              </a:p>
            </p:txBody>
          </p:sp>
          <p:sp>
            <p:nvSpPr>
              <p:cNvPr id="288" name="TextBox 78">
                <a:extLst>
                  <a:ext uri="{FF2B5EF4-FFF2-40B4-BE49-F238E27FC236}">
                    <a16:creationId xmlns:a16="http://schemas.microsoft.com/office/drawing/2014/main" id="{94CC4E1E-136E-A4AA-CB61-18C2FB61698D}"/>
                  </a:ext>
                </a:extLst>
              </p:cNvPr>
              <p:cNvSpPr txBox="1"/>
              <p:nvPr/>
            </p:nvSpPr>
            <p:spPr>
              <a:xfrm>
                <a:off x="0" y="-24022"/>
                <a:ext cx="634214" cy="243369"/>
              </a:xfrm>
              <a:prstGeom prst="rect">
                <a:avLst/>
              </a:prstGeom>
            </p:spPr>
            <p:txBody>
              <a:bodyPr lIns="47625" tIns="47625" rIns="47625" bIns="47625" rtlCol="0" anchor="ctr"/>
              <a:lstStyle/>
              <a:p>
                <a:pPr algn="ctr">
                  <a:lnSpc>
                    <a:spcPts val="1574"/>
                  </a:lnSpc>
                  <a:spcBef>
                    <a:spcPct val="0"/>
                  </a:spcBef>
                </a:pPr>
                <a:r>
                  <a:rPr lang="en-US" sz="700" b="1" dirty="0">
                    <a:solidFill>
                      <a:srgbClr val="000000"/>
                    </a:solidFill>
                    <a:latin typeface="TT Interphases Bold"/>
                    <a:ea typeface="TT Interphases Bold"/>
                    <a:cs typeface="TT Interphases Bold"/>
                    <a:sym typeface="TT Interphases Bold"/>
                  </a:rPr>
                  <a:t>Email Confirmation</a:t>
                </a:r>
              </a:p>
            </p:txBody>
          </p:sp>
        </p:grpSp>
        <p:sp>
          <p:nvSpPr>
            <p:cNvPr id="250" name="AutoShape 83">
              <a:extLst>
                <a:ext uri="{FF2B5EF4-FFF2-40B4-BE49-F238E27FC236}">
                  <a16:creationId xmlns:a16="http://schemas.microsoft.com/office/drawing/2014/main" id="{7FBD02A0-A4A8-2690-DAFC-23290F3E9A08}"/>
                </a:ext>
              </a:extLst>
            </p:cNvPr>
            <p:cNvSpPr/>
            <p:nvPr/>
          </p:nvSpPr>
          <p:spPr>
            <a:xfrm>
              <a:off x="4350791" y="1724424"/>
              <a:ext cx="2257960" cy="2431"/>
            </a:xfrm>
            <a:prstGeom prst="line">
              <a:avLst/>
            </a:prstGeom>
            <a:ln w="19050" cap="flat">
              <a:solidFill>
                <a:srgbClr val="487984"/>
              </a:solidFill>
              <a:prstDash val="solid"/>
              <a:headEnd type="none" w="sm" len="sm"/>
              <a:tailEnd type="none" w="sm" len="sm"/>
            </a:ln>
          </p:spPr>
          <p:txBody>
            <a:bodyPr/>
            <a:lstStyle/>
            <a:p>
              <a:endParaRPr lang="en-US" sz="1000" b="1"/>
            </a:p>
          </p:txBody>
        </p:sp>
        <p:grpSp>
          <p:nvGrpSpPr>
            <p:cNvPr id="251" name="Group 84">
              <a:extLst>
                <a:ext uri="{FF2B5EF4-FFF2-40B4-BE49-F238E27FC236}">
                  <a16:creationId xmlns:a16="http://schemas.microsoft.com/office/drawing/2014/main" id="{ECD83A5D-4849-B00A-6599-6F616B8A17B4}"/>
                </a:ext>
              </a:extLst>
            </p:cNvPr>
            <p:cNvGrpSpPr/>
            <p:nvPr/>
          </p:nvGrpSpPr>
          <p:grpSpPr>
            <a:xfrm>
              <a:off x="3788918" y="1703839"/>
              <a:ext cx="471218" cy="41169"/>
              <a:chOff x="0" y="0"/>
              <a:chExt cx="1008589" cy="88119"/>
            </a:xfrm>
          </p:grpSpPr>
          <p:sp>
            <p:nvSpPr>
              <p:cNvPr id="284" name="Freeform 85">
                <a:extLst>
                  <a:ext uri="{FF2B5EF4-FFF2-40B4-BE49-F238E27FC236}">
                    <a16:creationId xmlns:a16="http://schemas.microsoft.com/office/drawing/2014/main" id="{D8BB9D0D-2441-2E3E-F982-955873586451}"/>
                  </a:ext>
                </a:extLst>
              </p:cNvPr>
              <p:cNvSpPr/>
              <p:nvPr/>
            </p:nvSpPr>
            <p:spPr>
              <a:xfrm>
                <a:off x="920470" y="0"/>
                <a:ext cx="88119" cy="88119"/>
              </a:xfrm>
              <a:custGeom>
                <a:avLst/>
                <a:gdLst/>
                <a:ahLst/>
                <a:cxnLst/>
                <a:rect l="l" t="t" r="r" b="b"/>
                <a:pathLst>
                  <a:path w="88119" h="88119">
                    <a:moveTo>
                      <a:pt x="0" y="0"/>
                    </a:moveTo>
                    <a:lnTo>
                      <a:pt x="88119" y="0"/>
                    </a:lnTo>
                    <a:lnTo>
                      <a:pt x="88119" y="88119"/>
                    </a:lnTo>
                    <a:lnTo>
                      <a:pt x="0" y="88119"/>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sz="1000" b="1"/>
              </a:p>
            </p:txBody>
          </p:sp>
          <p:sp>
            <p:nvSpPr>
              <p:cNvPr id="285" name="Freeform 86">
                <a:extLst>
                  <a:ext uri="{FF2B5EF4-FFF2-40B4-BE49-F238E27FC236}">
                    <a16:creationId xmlns:a16="http://schemas.microsoft.com/office/drawing/2014/main" id="{D2B1C29F-E0E4-9B69-7208-E1BD0A9539BB}"/>
                  </a:ext>
                </a:extLst>
              </p:cNvPr>
              <p:cNvSpPr/>
              <p:nvPr/>
            </p:nvSpPr>
            <p:spPr>
              <a:xfrm>
                <a:off x="460235" y="0"/>
                <a:ext cx="88119" cy="88119"/>
              </a:xfrm>
              <a:custGeom>
                <a:avLst/>
                <a:gdLst/>
                <a:ahLst/>
                <a:cxnLst/>
                <a:rect l="l" t="t" r="r" b="b"/>
                <a:pathLst>
                  <a:path w="88119" h="88119">
                    <a:moveTo>
                      <a:pt x="0" y="0"/>
                    </a:moveTo>
                    <a:lnTo>
                      <a:pt x="88119" y="0"/>
                    </a:lnTo>
                    <a:lnTo>
                      <a:pt x="88119" y="88119"/>
                    </a:lnTo>
                    <a:lnTo>
                      <a:pt x="0" y="88119"/>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US" sz="1000" b="1"/>
              </a:p>
            </p:txBody>
          </p:sp>
          <p:sp>
            <p:nvSpPr>
              <p:cNvPr id="286" name="Freeform 87">
                <a:extLst>
                  <a:ext uri="{FF2B5EF4-FFF2-40B4-BE49-F238E27FC236}">
                    <a16:creationId xmlns:a16="http://schemas.microsoft.com/office/drawing/2014/main" id="{7539DC05-1C3A-209A-632E-0AB02308055A}"/>
                  </a:ext>
                </a:extLst>
              </p:cNvPr>
              <p:cNvSpPr/>
              <p:nvPr/>
            </p:nvSpPr>
            <p:spPr>
              <a:xfrm>
                <a:off x="0" y="0"/>
                <a:ext cx="88119" cy="88119"/>
              </a:xfrm>
              <a:custGeom>
                <a:avLst/>
                <a:gdLst/>
                <a:ahLst/>
                <a:cxnLst/>
                <a:rect l="l" t="t" r="r" b="b"/>
                <a:pathLst>
                  <a:path w="88119" h="88119">
                    <a:moveTo>
                      <a:pt x="0" y="0"/>
                    </a:moveTo>
                    <a:lnTo>
                      <a:pt x="88119" y="0"/>
                    </a:lnTo>
                    <a:lnTo>
                      <a:pt x="88119" y="88119"/>
                    </a:lnTo>
                    <a:lnTo>
                      <a:pt x="0" y="88119"/>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US" sz="1000" b="1"/>
              </a:p>
            </p:txBody>
          </p:sp>
        </p:grpSp>
        <p:sp>
          <p:nvSpPr>
            <p:cNvPr id="252" name="Freeform 88">
              <a:extLst>
                <a:ext uri="{FF2B5EF4-FFF2-40B4-BE49-F238E27FC236}">
                  <a16:creationId xmlns:a16="http://schemas.microsoft.com/office/drawing/2014/main" id="{4DABB4C5-AF76-4624-A2BE-96DA7A8264E1}"/>
                </a:ext>
              </a:extLst>
            </p:cNvPr>
            <p:cNvSpPr/>
            <p:nvPr/>
          </p:nvSpPr>
          <p:spPr>
            <a:xfrm>
              <a:off x="3375650" y="1644196"/>
              <a:ext cx="330199" cy="148590"/>
            </a:xfrm>
            <a:custGeom>
              <a:avLst/>
              <a:gdLst/>
              <a:ahLst/>
              <a:cxnLst/>
              <a:rect l="l" t="t" r="r" b="b"/>
              <a:pathLst>
                <a:path w="530065" h="238529">
                  <a:moveTo>
                    <a:pt x="0" y="0"/>
                  </a:moveTo>
                  <a:lnTo>
                    <a:pt x="530065" y="0"/>
                  </a:lnTo>
                  <a:lnTo>
                    <a:pt x="530065" y="238529"/>
                  </a:lnTo>
                  <a:lnTo>
                    <a:pt x="0" y="238529"/>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en-US" sz="1000" b="1"/>
            </a:p>
          </p:txBody>
        </p:sp>
        <p:sp>
          <p:nvSpPr>
            <p:cNvPr id="253" name="TextBox 91">
              <a:extLst>
                <a:ext uri="{FF2B5EF4-FFF2-40B4-BE49-F238E27FC236}">
                  <a16:creationId xmlns:a16="http://schemas.microsoft.com/office/drawing/2014/main" id="{3A4BAB2A-2F19-2356-DF13-5B99E0F94C5E}"/>
                </a:ext>
              </a:extLst>
            </p:cNvPr>
            <p:cNvSpPr txBox="1"/>
            <p:nvPr/>
          </p:nvSpPr>
          <p:spPr>
            <a:xfrm>
              <a:off x="3369716" y="1314189"/>
              <a:ext cx="3239034" cy="259951"/>
            </a:xfrm>
            <a:prstGeom prst="rect">
              <a:avLst/>
            </a:prstGeom>
          </p:spPr>
          <p:txBody>
            <a:bodyPr lIns="0" tIns="0" rIns="0" bIns="0" rtlCol="0" anchor="t">
              <a:spAutoFit/>
            </a:bodyPr>
            <a:lstStyle/>
            <a:p>
              <a:pPr>
                <a:lnSpc>
                  <a:spcPts val="2625"/>
                </a:lnSpc>
              </a:pPr>
              <a:r>
                <a:rPr lang="en-US" sz="1050" b="1" dirty="0">
                  <a:solidFill>
                    <a:srgbClr val="000000"/>
                  </a:solidFill>
                  <a:latin typeface="Neue Machina Ultra-Bold"/>
                  <a:ea typeface="Neue Machina Ultra-Bold"/>
                  <a:cs typeface="Neue Machina Ultra-Bold"/>
                  <a:sym typeface="Neue Machina Ultra-Bold"/>
                </a:rPr>
                <a:t>Process below describes the workflow </a:t>
              </a:r>
            </a:p>
          </p:txBody>
        </p:sp>
        <p:sp>
          <p:nvSpPr>
            <p:cNvPr id="254" name="AutoShape 9">
              <a:extLst>
                <a:ext uri="{FF2B5EF4-FFF2-40B4-BE49-F238E27FC236}">
                  <a16:creationId xmlns:a16="http://schemas.microsoft.com/office/drawing/2014/main" id="{23FECB37-D76E-E06E-7D12-65A10F95D013}"/>
                </a:ext>
              </a:extLst>
            </p:cNvPr>
            <p:cNvSpPr/>
            <p:nvPr/>
          </p:nvSpPr>
          <p:spPr>
            <a:xfrm flipH="1">
              <a:off x="3928472" y="3615900"/>
              <a:ext cx="0" cy="407854"/>
            </a:xfrm>
            <a:prstGeom prst="line">
              <a:avLst/>
            </a:prstGeom>
            <a:ln w="19050" cap="flat">
              <a:solidFill>
                <a:srgbClr val="000000"/>
              </a:solidFill>
              <a:prstDash val="solid"/>
              <a:headEnd type="none" w="sm" len="sm"/>
              <a:tailEnd type="arrow" w="med" len="sm"/>
            </a:ln>
          </p:spPr>
          <p:txBody>
            <a:bodyPr/>
            <a:lstStyle/>
            <a:p>
              <a:endParaRPr lang="en-US" sz="1000" b="1"/>
            </a:p>
          </p:txBody>
        </p:sp>
        <p:grpSp>
          <p:nvGrpSpPr>
            <p:cNvPr id="255" name="Group 29">
              <a:extLst>
                <a:ext uri="{FF2B5EF4-FFF2-40B4-BE49-F238E27FC236}">
                  <a16:creationId xmlns:a16="http://schemas.microsoft.com/office/drawing/2014/main" id="{0B6F3FFE-E012-D77F-67F9-E17036E2D298}"/>
                </a:ext>
              </a:extLst>
            </p:cNvPr>
            <p:cNvGrpSpPr/>
            <p:nvPr/>
          </p:nvGrpSpPr>
          <p:grpSpPr>
            <a:xfrm>
              <a:off x="3333069" y="4023754"/>
              <a:ext cx="1066711" cy="330672"/>
              <a:chOff x="0" y="0"/>
              <a:chExt cx="634214" cy="196602"/>
            </a:xfrm>
          </p:grpSpPr>
          <p:sp>
            <p:nvSpPr>
              <p:cNvPr id="282" name="Freeform 30">
                <a:extLst>
                  <a:ext uri="{FF2B5EF4-FFF2-40B4-BE49-F238E27FC236}">
                    <a16:creationId xmlns:a16="http://schemas.microsoft.com/office/drawing/2014/main" id="{289CB196-803B-C74A-51CE-5428FD301E5A}"/>
                  </a:ext>
                </a:extLst>
              </p:cNvPr>
              <p:cNvSpPr/>
              <p:nvPr/>
            </p:nvSpPr>
            <p:spPr>
              <a:xfrm>
                <a:off x="0" y="0"/>
                <a:ext cx="634214" cy="196602"/>
              </a:xfrm>
              <a:custGeom>
                <a:avLst/>
                <a:gdLst/>
                <a:ahLst/>
                <a:cxnLst/>
                <a:rect l="l" t="t" r="r" b="b"/>
                <a:pathLst>
                  <a:path w="634214" h="196602">
                    <a:moveTo>
                      <a:pt x="0" y="0"/>
                    </a:moveTo>
                    <a:lnTo>
                      <a:pt x="634214" y="0"/>
                    </a:lnTo>
                    <a:lnTo>
                      <a:pt x="634214" y="196602"/>
                    </a:lnTo>
                    <a:lnTo>
                      <a:pt x="0" y="196602"/>
                    </a:lnTo>
                    <a:close/>
                  </a:path>
                </a:pathLst>
              </a:custGeom>
              <a:solidFill>
                <a:srgbClr val="FFFFFF"/>
              </a:solidFill>
              <a:ln w="9525" cap="sq">
                <a:solidFill>
                  <a:srgbClr val="000000"/>
                </a:solidFill>
                <a:prstDash val="solid"/>
                <a:miter/>
              </a:ln>
            </p:spPr>
            <p:txBody>
              <a:bodyPr/>
              <a:lstStyle/>
              <a:p>
                <a:endParaRPr lang="en-US" sz="1000" b="1"/>
              </a:p>
            </p:txBody>
          </p:sp>
          <p:sp>
            <p:nvSpPr>
              <p:cNvPr id="283" name="TextBox 31">
                <a:extLst>
                  <a:ext uri="{FF2B5EF4-FFF2-40B4-BE49-F238E27FC236}">
                    <a16:creationId xmlns:a16="http://schemas.microsoft.com/office/drawing/2014/main" id="{7BB29510-8808-7DFC-B121-561B1577097D}"/>
                  </a:ext>
                </a:extLst>
              </p:cNvPr>
              <p:cNvSpPr txBox="1"/>
              <p:nvPr/>
            </p:nvSpPr>
            <p:spPr>
              <a:xfrm>
                <a:off x="0" y="-9525"/>
                <a:ext cx="634214" cy="206127"/>
              </a:xfrm>
              <a:prstGeom prst="rect">
                <a:avLst/>
              </a:prstGeom>
            </p:spPr>
            <p:txBody>
              <a:bodyPr lIns="47625" tIns="47625" rIns="47625" bIns="47625" rtlCol="0" anchor="ctr"/>
              <a:lstStyle/>
              <a:p>
                <a:pPr algn="ctr">
                  <a:spcBef>
                    <a:spcPct val="0"/>
                  </a:spcBef>
                </a:pPr>
                <a:r>
                  <a:rPr lang="en-US" sz="700" b="1" dirty="0">
                    <a:solidFill>
                      <a:srgbClr val="000000"/>
                    </a:solidFill>
                    <a:latin typeface="TT Interphases Bold"/>
                    <a:ea typeface="TT Interphases Bold"/>
                    <a:cs typeface="TT Interphases Bold"/>
                    <a:sym typeface="TT Interphases Bold"/>
                  </a:rPr>
                  <a:t>Flow trigger in Salesforce</a:t>
                </a:r>
              </a:p>
            </p:txBody>
          </p:sp>
        </p:grpSp>
        <p:sp>
          <p:nvSpPr>
            <p:cNvPr id="256" name="AutoShape 5">
              <a:extLst>
                <a:ext uri="{FF2B5EF4-FFF2-40B4-BE49-F238E27FC236}">
                  <a16:creationId xmlns:a16="http://schemas.microsoft.com/office/drawing/2014/main" id="{A9A00F02-C0DC-AB5C-D712-99A5ADB5B31E}"/>
                </a:ext>
              </a:extLst>
            </p:cNvPr>
            <p:cNvSpPr/>
            <p:nvPr/>
          </p:nvSpPr>
          <p:spPr>
            <a:xfrm flipH="1">
              <a:off x="6326960" y="2823311"/>
              <a:ext cx="0" cy="274320"/>
            </a:xfrm>
            <a:prstGeom prst="line">
              <a:avLst/>
            </a:prstGeom>
            <a:ln w="19050" cap="flat">
              <a:solidFill>
                <a:srgbClr val="000000"/>
              </a:solidFill>
              <a:prstDash val="solid"/>
              <a:headEnd type="none" w="sm" len="sm"/>
              <a:tailEnd type="arrow" w="med" len="sm"/>
            </a:ln>
          </p:spPr>
          <p:txBody>
            <a:bodyPr/>
            <a:lstStyle/>
            <a:p>
              <a:endParaRPr lang="en-US" sz="1000" b="1"/>
            </a:p>
          </p:txBody>
        </p:sp>
        <p:grpSp>
          <p:nvGrpSpPr>
            <p:cNvPr id="257" name="Group 6">
              <a:extLst>
                <a:ext uri="{FF2B5EF4-FFF2-40B4-BE49-F238E27FC236}">
                  <a16:creationId xmlns:a16="http://schemas.microsoft.com/office/drawing/2014/main" id="{11554852-8711-483A-E98A-E8A0927FAA2A}"/>
                </a:ext>
              </a:extLst>
            </p:cNvPr>
            <p:cNvGrpSpPr/>
            <p:nvPr/>
          </p:nvGrpSpPr>
          <p:grpSpPr>
            <a:xfrm>
              <a:off x="5793307" y="3104807"/>
              <a:ext cx="1066711" cy="455751"/>
              <a:chOff x="0" y="0"/>
              <a:chExt cx="634214" cy="194169"/>
            </a:xfrm>
          </p:grpSpPr>
          <p:sp>
            <p:nvSpPr>
              <p:cNvPr id="280" name="Freeform 7">
                <a:extLst>
                  <a:ext uri="{FF2B5EF4-FFF2-40B4-BE49-F238E27FC236}">
                    <a16:creationId xmlns:a16="http://schemas.microsoft.com/office/drawing/2014/main" id="{8DE1C40C-0DF5-E4EF-DA45-11C30BF78383}"/>
                  </a:ext>
                </a:extLst>
              </p:cNvPr>
              <p:cNvSpPr/>
              <p:nvPr/>
            </p:nvSpPr>
            <p:spPr>
              <a:xfrm>
                <a:off x="0" y="0"/>
                <a:ext cx="634214" cy="194169"/>
              </a:xfrm>
              <a:custGeom>
                <a:avLst/>
                <a:gdLst/>
                <a:ahLst/>
                <a:cxnLst/>
                <a:rect l="l" t="t" r="r" b="b"/>
                <a:pathLst>
                  <a:path w="634214" h="194169">
                    <a:moveTo>
                      <a:pt x="0" y="0"/>
                    </a:moveTo>
                    <a:lnTo>
                      <a:pt x="634214" y="0"/>
                    </a:lnTo>
                    <a:lnTo>
                      <a:pt x="634214" y="194169"/>
                    </a:lnTo>
                    <a:lnTo>
                      <a:pt x="0" y="194169"/>
                    </a:lnTo>
                    <a:close/>
                  </a:path>
                </a:pathLst>
              </a:custGeom>
              <a:solidFill>
                <a:srgbClr val="FFFFFF"/>
              </a:solidFill>
              <a:ln w="9525" cap="sq">
                <a:solidFill>
                  <a:srgbClr val="000000"/>
                </a:solidFill>
                <a:prstDash val="solid"/>
                <a:miter/>
              </a:ln>
            </p:spPr>
            <p:txBody>
              <a:bodyPr/>
              <a:lstStyle/>
              <a:p>
                <a:endParaRPr lang="en-US" sz="1000" b="1"/>
              </a:p>
            </p:txBody>
          </p:sp>
          <p:sp>
            <p:nvSpPr>
              <p:cNvPr id="281" name="TextBox 8">
                <a:extLst>
                  <a:ext uri="{FF2B5EF4-FFF2-40B4-BE49-F238E27FC236}">
                    <a16:creationId xmlns:a16="http://schemas.microsoft.com/office/drawing/2014/main" id="{25EACA16-DEA5-EEE3-CA6A-5EE1CAF8F199}"/>
                  </a:ext>
                </a:extLst>
              </p:cNvPr>
              <p:cNvSpPr txBox="1"/>
              <p:nvPr/>
            </p:nvSpPr>
            <p:spPr>
              <a:xfrm>
                <a:off x="0" y="-9525"/>
                <a:ext cx="634214" cy="203694"/>
              </a:xfrm>
              <a:prstGeom prst="rect">
                <a:avLst/>
              </a:prstGeom>
            </p:spPr>
            <p:txBody>
              <a:bodyPr lIns="47625" tIns="47625" rIns="47625" bIns="47625" rtlCol="0" anchor="ctr"/>
              <a:lstStyle/>
              <a:p>
                <a:pPr algn="ctr">
                  <a:spcBef>
                    <a:spcPct val="0"/>
                  </a:spcBef>
                </a:pPr>
                <a:r>
                  <a:rPr lang="en-US" sz="700" b="1" dirty="0">
                    <a:solidFill>
                      <a:srgbClr val="000000"/>
                    </a:solidFill>
                    <a:latin typeface="TT Interphases Bold"/>
                    <a:sym typeface="Lato Bold"/>
                  </a:rPr>
                  <a:t>Data extraction (</a:t>
                </a:r>
                <a:r>
                  <a:rPr lang="en-US" sz="700" b="1" dirty="0" err="1">
                    <a:solidFill>
                      <a:srgbClr val="000000"/>
                    </a:solidFill>
                    <a:latin typeface="TT Interphases Bold"/>
                    <a:sym typeface="Lato Bold"/>
                  </a:rPr>
                  <a:t>Agentforce</a:t>
                </a:r>
                <a:r>
                  <a:rPr lang="en-US" sz="700" b="1" dirty="0">
                    <a:solidFill>
                      <a:srgbClr val="000000"/>
                    </a:solidFill>
                    <a:latin typeface="TT Interphases Bold"/>
                    <a:sym typeface="Lato Bold"/>
                  </a:rPr>
                  <a:t> + Apex Excel Parser)</a:t>
                </a:r>
                <a:endParaRPr lang="en-US" sz="700" b="1" dirty="0">
                  <a:solidFill>
                    <a:srgbClr val="000000"/>
                  </a:solidFill>
                  <a:latin typeface="TT Interphases Bold"/>
                  <a:sym typeface="TT Interphases Bold"/>
                </a:endParaRPr>
              </a:p>
            </p:txBody>
          </p:sp>
        </p:grpSp>
        <p:sp>
          <p:nvSpPr>
            <p:cNvPr id="258" name="AutoShape 55">
              <a:extLst>
                <a:ext uri="{FF2B5EF4-FFF2-40B4-BE49-F238E27FC236}">
                  <a16:creationId xmlns:a16="http://schemas.microsoft.com/office/drawing/2014/main" id="{DFA23546-8E0A-2F18-A81E-106C3DEA41FD}"/>
                </a:ext>
              </a:extLst>
            </p:cNvPr>
            <p:cNvSpPr/>
            <p:nvPr/>
          </p:nvSpPr>
          <p:spPr>
            <a:xfrm flipH="1">
              <a:off x="7627357" y="3452610"/>
              <a:ext cx="272612" cy="237150"/>
            </a:xfrm>
            <a:prstGeom prst="line">
              <a:avLst/>
            </a:prstGeom>
            <a:ln w="19050" cap="flat">
              <a:solidFill>
                <a:srgbClr val="000000"/>
              </a:solidFill>
              <a:prstDash val="solid"/>
              <a:headEnd type="none" w="sm" len="sm"/>
              <a:tailEnd type="arrow" w="med" len="sm"/>
            </a:ln>
          </p:spPr>
          <p:txBody>
            <a:bodyPr/>
            <a:lstStyle/>
            <a:p>
              <a:endParaRPr lang="en-US" sz="1000" b="1"/>
            </a:p>
          </p:txBody>
        </p:sp>
        <p:grpSp>
          <p:nvGrpSpPr>
            <p:cNvPr id="259" name="Group 56">
              <a:extLst>
                <a:ext uri="{FF2B5EF4-FFF2-40B4-BE49-F238E27FC236}">
                  <a16:creationId xmlns:a16="http://schemas.microsoft.com/office/drawing/2014/main" id="{A26B047A-9019-15F9-4BF7-779CEBD2F6DC}"/>
                </a:ext>
              </a:extLst>
            </p:cNvPr>
            <p:cNvGrpSpPr/>
            <p:nvPr/>
          </p:nvGrpSpPr>
          <p:grpSpPr>
            <a:xfrm>
              <a:off x="7366613" y="3689761"/>
              <a:ext cx="521488" cy="358384"/>
              <a:chOff x="0" y="0"/>
              <a:chExt cx="812800" cy="558583"/>
            </a:xfrm>
          </p:grpSpPr>
          <p:sp>
            <p:nvSpPr>
              <p:cNvPr id="278" name="Freeform 57">
                <a:extLst>
                  <a:ext uri="{FF2B5EF4-FFF2-40B4-BE49-F238E27FC236}">
                    <a16:creationId xmlns:a16="http://schemas.microsoft.com/office/drawing/2014/main" id="{E6EB6B0D-2E3E-E44F-33A8-0A264EC47A73}"/>
                  </a:ext>
                </a:extLst>
              </p:cNvPr>
              <p:cNvSpPr/>
              <p:nvPr/>
            </p:nvSpPr>
            <p:spPr>
              <a:xfrm>
                <a:off x="0" y="0"/>
                <a:ext cx="812800" cy="558583"/>
              </a:xfrm>
              <a:custGeom>
                <a:avLst/>
                <a:gdLst/>
                <a:ahLst/>
                <a:cxnLst/>
                <a:rect l="l" t="t" r="r" b="b"/>
                <a:pathLst>
                  <a:path w="812800" h="558583">
                    <a:moveTo>
                      <a:pt x="406400" y="0"/>
                    </a:moveTo>
                    <a:lnTo>
                      <a:pt x="812800" y="279292"/>
                    </a:lnTo>
                    <a:lnTo>
                      <a:pt x="406400" y="558583"/>
                    </a:lnTo>
                    <a:lnTo>
                      <a:pt x="0" y="279292"/>
                    </a:lnTo>
                    <a:lnTo>
                      <a:pt x="406400" y="0"/>
                    </a:lnTo>
                    <a:close/>
                  </a:path>
                </a:pathLst>
              </a:custGeom>
              <a:solidFill>
                <a:srgbClr val="487984"/>
              </a:solidFill>
            </p:spPr>
            <p:txBody>
              <a:bodyPr/>
              <a:lstStyle/>
              <a:p>
                <a:endParaRPr lang="en-US" sz="1000" b="1"/>
              </a:p>
            </p:txBody>
          </p:sp>
          <p:sp>
            <p:nvSpPr>
              <p:cNvPr id="279" name="TextBox 58">
                <a:extLst>
                  <a:ext uri="{FF2B5EF4-FFF2-40B4-BE49-F238E27FC236}">
                    <a16:creationId xmlns:a16="http://schemas.microsoft.com/office/drawing/2014/main" id="{08E9988D-7F94-2880-37ED-20C3BE268E3D}"/>
                  </a:ext>
                </a:extLst>
              </p:cNvPr>
              <p:cNvSpPr txBox="1"/>
              <p:nvPr/>
            </p:nvSpPr>
            <p:spPr>
              <a:xfrm>
                <a:off x="139700" y="86481"/>
                <a:ext cx="533400" cy="376095"/>
              </a:xfrm>
              <a:prstGeom prst="rect">
                <a:avLst/>
              </a:prstGeom>
            </p:spPr>
            <p:txBody>
              <a:bodyPr lIns="47625" tIns="47625" rIns="47625" bIns="47625" rtlCol="0" anchor="ctr"/>
              <a:lstStyle/>
              <a:p>
                <a:pPr algn="ctr">
                  <a:lnSpc>
                    <a:spcPts val="1574"/>
                  </a:lnSpc>
                  <a:spcBef>
                    <a:spcPct val="0"/>
                  </a:spcBef>
                </a:pPr>
                <a:r>
                  <a:rPr lang="en-US" sz="700" b="1" dirty="0">
                    <a:solidFill>
                      <a:srgbClr val="FFFFFF"/>
                    </a:solidFill>
                    <a:latin typeface="TT Interphases Bold"/>
                    <a:ea typeface="TT Interphases Bold"/>
                    <a:cs typeface="TT Interphases Bold"/>
                    <a:sym typeface="TT Interphases Bold"/>
                  </a:rPr>
                  <a:t>Yes</a:t>
                </a:r>
              </a:p>
            </p:txBody>
          </p:sp>
        </p:grpSp>
        <p:grpSp>
          <p:nvGrpSpPr>
            <p:cNvPr id="260" name="Group 59">
              <a:extLst>
                <a:ext uri="{FF2B5EF4-FFF2-40B4-BE49-F238E27FC236}">
                  <a16:creationId xmlns:a16="http://schemas.microsoft.com/office/drawing/2014/main" id="{B5289AF9-5B70-26EF-5F82-EA838B5E8DFF}"/>
                </a:ext>
              </a:extLst>
            </p:cNvPr>
            <p:cNvGrpSpPr/>
            <p:nvPr/>
          </p:nvGrpSpPr>
          <p:grpSpPr>
            <a:xfrm>
              <a:off x="7911835" y="3689761"/>
              <a:ext cx="521488" cy="358384"/>
              <a:chOff x="0" y="0"/>
              <a:chExt cx="812800" cy="558583"/>
            </a:xfrm>
          </p:grpSpPr>
          <p:sp>
            <p:nvSpPr>
              <p:cNvPr id="276" name="Freeform 60">
                <a:extLst>
                  <a:ext uri="{FF2B5EF4-FFF2-40B4-BE49-F238E27FC236}">
                    <a16:creationId xmlns:a16="http://schemas.microsoft.com/office/drawing/2014/main" id="{4A7DF17D-4F1E-2B0B-1E44-D2D07826E7BD}"/>
                  </a:ext>
                </a:extLst>
              </p:cNvPr>
              <p:cNvSpPr/>
              <p:nvPr/>
            </p:nvSpPr>
            <p:spPr>
              <a:xfrm>
                <a:off x="0" y="0"/>
                <a:ext cx="812800" cy="558583"/>
              </a:xfrm>
              <a:custGeom>
                <a:avLst/>
                <a:gdLst/>
                <a:ahLst/>
                <a:cxnLst/>
                <a:rect l="l" t="t" r="r" b="b"/>
                <a:pathLst>
                  <a:path w="812800" h="558583">
                    <a:moveTo>
                      <a:pt x="406400" y="0"/>
                    </a:moveTo>
                    <a:lnTo>
                      <a:pt x="812800" y="279292"/>
                    </a:lnTo>
                    <a:lnTo>
                      <a:pt x="406400" y="558583"/>
                    </a:lnTo>
                    <a:lnTo>
                      <a:pt x="0" y="279292"/>
                    </a:lnTo>
                    <a:lnTo>
                      <a:pt x="406400" y="0"/>
                    </a:lnTo>
                    <a:close/>
                  </a:path>
                </a:pathLst>
              </a:custGeom>
              <a:solidFill>
                <a:srgbClr val="487984"/>
              </a:solidFill>
            </p:spPr>
            <p:txBody>
              <a:bodyPr/>
              <a:lstStyle/>
              <a:p>
                <a:endParaRPr lang="en-US" sz="1000" b="1"/>
              </a:p>
            </p:txBody>
          </p:sp>
          <p:sp>
            <p:nvSpPr>
              <p:cNvPr id="277" name="TextBox 61">
                <a:extLst>
                  <a:ext uri="{FF2B5EF4-FFF2-40B4-BE49-F238E27FC236}">
                    <a16:creationId xmlns:a16="http://schemas.microsoft.com/office/drawing/2014/main" id="{F3EF24ED-F84F-396D-6358-5DBD66F09A81}"/>
                  </a:ext>
                </a:extLst>
              </p:cNvPr>
              <p:cNvSpPr txBox="1"/>
              <p:nvPr/>
            </p:nvSpPr>
            <p:spPr>
              <a:xfrm>
                <a:off x="139700" y="86481"/>
                <a:ext cx="533400" cy="376095"/>
              </a:xfrm>
              <a:prstGeom prst="rect">
                <a:avLst/>
              </a:prstGeom>
            </p:spPr>
            <p:txBody>
              <a:bodyPr lIns="47625" tIns="47625" rIns="47625" bIns="47625" rtlCol="0" anchor="ctr"/>
              <a:lstStyle/>
              <a:p>
                <a:pPr algn="ctr">
                  <a:lnSpc>
                    <a:spcPts val="1574"/>
                  </a:lnSpc>
                  <a:spcBef>
                    <a:spcPct val="0"/>
                  </a:spcBef>
                </a:pPr>
                <a:r>
                  <a:rPr lang="en-US" sz="700" b="1" dirty="0">
                    <a:solidFill>
                      <a:srgbClr val="FFFFFF"/>
                    </a:solidFill>
                    <a:latin typeface="TT Interphases Bold"/>
                    <a:ea typeface="TT Interphases Bold"/>
                    <a:cs typeface="TT Interphases Bold"/>
                    <a:sym typeface="TT Interphases Bold"/>
                  </a:rPr>
                  <a:t>No</a:t>
                </a:r>
              </a:p>
            </p:txBody>
          </p:sp>
        </p:grpSp>
        <p:sp>
          <p:nvSpPr>
            <p:cNvPr id="261" name="AutoShape 62">
              <a:extLst>
                <a:ext uri="{FF2B5EF4-FFF2-40B4-BE49-F238E27FC236}">
                  <a16:creationId xmlns:a16="http://schemas.microsoft.com/office/drawing/2014/main" id="{5C297A9C-7355-3952-B4F0-B6123D538957}"/>
                </a:ext>
              </a:extLst>
            </p:cNvPr>
            <p:cNvSpPr/>
            <p:nvPr/>
          </p:nvSpPr>
          <p:spPr>
            <a:xfrm>
              <a:off x="7899968" y="3452610"/>
              <a:ext cx="272612" cy="237150"/>
            </a:xfrm>
            <a:prstGeom prst="line">
              <a:avLst/>
            </a:prstGeom>
            <a:ln w="19050" cap="flat">
              <a:solidFill>
                <a:srgbClr val="000000"/>
              </a:solidFill>
              <a:prstDash val="solid"/>
              <a:headEnd type="none" w="sm" len="sm"/>
              <a:tailEnd type="arrow" w="med" len="sm"/>
            </a:ln>
          </p:spPr>
          <p:txBody>
            <a:bodyPr/>
            <a:lstStyle/>
            <a:p>
              <a:endParaRPr lang="en-US" sz="1000" b="1"/>
            </a:p>
          </p:txBody>
        </p:sp>
        <p:sp>
          <p:nvSpPr>
            <p:cNvPr id="262" name="AutoShape 80">
              <a:extLst>
                <a:ext uri="{FF2B5EF4-FFF2-40B4-BE49-F238E27FC236}">
                  <a16:creationId xmlns:a16="http://schemas.microsoft.com/office/drawing/2014/main" id="{F7B5B3D8-06FA-0692-162E-EF4292CECB6E}"/>
                </a:ext>
              </a:extLst>
            </p:cNvPr>
            <p:cNvSpPr/>
            <p:nvPr/>
          </p:nvSpPr>
          <p:spPr>
            <a:xfrm rot="16200000">
              <a:off x="7133705" y="3071291"/>
              <a:ext cx="2432" cy="474672"/>
            </a:xfrm>
            <a:prstGeom prst="line">
              <a:avLst/>
            </a:prstGeom>
            <a:ln w="19050" cap="flat">
              <a:solidFill>
                <a:srgbClr val="000000"/>
              </a:solidFill>
              <a:prstDash val="solid"/>
              <a:headEnd type="none" w="sm" len="sm"/>
              <a:tailEnd type="arrow" w="med" len="sm"/>
            </a:ln>
          </p:spPr>
          <p:txBody>
            <a:bodyPr/>
            <a:lstStyle/>
            <a:p>
              <a:endParaRPr lang="en-US" sz="1000" b="1"/>
            </a:p>
          </p:txBody>
        </p:sp>
        <p:sp>
          <p:nvSpPr>
            <p:cNvPr id="263" name="AutoShape 5">
              <a:extLst>
                <a:ext uri="{FF2B5EF4-FFF2-40B4-BE49-F238E27FC236}">
                  <a16:creationId xmlns:a16="http://schemas.microsoft.com/office/drawing/2014/main" id="{8218A79E-871B-7F26-5195-0A3BCB267B94}"/>
                </a:ext>
              </a:extLst>
            </p:cNvPr>
            <p:cNvSpPr/>
            <p:nvPr/>
          </p:nvSpPr>
          <p:spPr>
            <a:xfrm flipH="1">
              <a:off x="7618380" y="4039981"/>
              <a:ext cx="0" cy="274320"/>
            </a:xfrm>
            <a:prstGeom prst="line">
              <a:avLst/>
            </a:prstGeom>
            <a:ln w="19050" cap="flat">
              <a:solidFill>
                <a:srgbClr val="000000"/>
              </a:solidFill>
              <a:prstDash val="solid"/>
              <a:headEnd type="none" w="sm" len="sm"/>
              <a:tailEnd type="arrow" w="med" len="sm"/>
            </a:ln>
          </p:spPr>
          <p:txBody>
            <a:bodyPr/>
            <a:lstStyle/>
            <a:p>
              <a:endParaRPr lang="en-US" sz="1000" b="1"/>
            </a:p>
          </p:txBody>
        </p:sp>
        <p:grpSp>
          <p:nvGrpSpPr>
            <p:cNvPr id="264" name="Group 68">
              <a:extLst>
                <a:ext uri="{FF2B5EF4-FFF2-40B4-BE49-F238E27FC236}">
                  <a16:creationId xmlns:a16="http://schemas.microsoft.com/office/drawing/2014/main" id="{34A1D15E-DF9B-8E10-A6E9-D767FEF9BA66}"/>
                </a:ext>
              </a:extLst>
            </p:cNvPr>
            <p:cNvGrpSpPr/>
            <p:nvPr/>
          </p:nvGrpSpPr>
          <p:grpSpPr>
            <a:xfrm>
              <a:off x="7030715" y="4302255"/>
              <a:ext cx="1066711" cy="358385"/>
              <a:chOff x="0" y="0"/>
              <a:chExt cx="634214" cy="167587"/>
            </a:xfrm>
          </p:grpSpPr>
          <p:sp>
            <p:nvSpPr>
              <p:cNvPr id="274" name="Freeform 69">
                <a:extLst>
                  <a:ext uri="{FF2B5EF4-FFF2-40B4-BE49-F238E27FC236}">
                    <a16:creationId xmlns:a16="http://schemas.microsoft.com/office/drawing/2014/main" id="{3EE97F5C-5989-CEA7-F572-8E1A25756EAE}"/>
                  </a:ext>
                </a:extLst>
              </p:cNvPr>
              <p:cNvSpPr/>
              <p:nvPr/>
            </p:nvSpPr>
            <p:spPr>
              <a:xfrm>
                <a:off x="0" y="0"/>
                <a:ext cx="634214" cy="167587"/>
              </a:xfrm>
              <a:custGeom>
                <a:avLst/>
                <a:gdLst/>
                <a:ahLst/>
                <a:cxnLst/>
                <a:rect l="l" t="t" r="r" b="b"/>
                <a:pathLst>
                  <a:path w="634214" h="167587">
                    <a:moveTo>
                      <a:pt x="0" y="0"/>
                    </a:moveTo>
                    <a:lnTo>
                      <a:pt x="634214" y="0"/>
                    </a:lnTo>
                    <a:lnTo>
                      <a:pt x="634214" y="167587"/>
                    </a:lnTo>
                    <a:lnTo>
                      <a:pt x="0" y="167587"/>
                    </a:lnTo>
                    <a:close/>
                  </a:path>
                </a:pathLst>
              </a:custGeom>
              <a:solidFill>
                <a:srgbClr val="FFFFFF"/>
              </a:solidFill>
              <a:ln w="9525" cap="sq">
                <a:solidFill>
                  <a:srgbClr val="000000"/>
                </a:solidFill>
                <a:prstDash val="solid"/>
                <a:miter/>
              </a:ln>
            </p:spPr>
            <p:txBody>
              <a:bodyPr/>
              <a:lstStyle/>
              <a:p>
                <a:endParaRPr lang="en-US" sz="1000" b="1"/>
              </a:p>
            </p:txBody>
          </p:sp>
          <p:sp>
            <p:nvSpPr>
              <p:cNvPr id="275" name="TextBox 70">
                <a:extLst>
                  <a:ext uri="{FF2B5EF4-FFF2-40B4-BE49-F238E27FC236}">
                    <a16:creationId xmlns:a16="http://schemas.microsoft.com/office/drawing/2014/main" id="{65D40E9E-2CAA-B25B-FEE1-30D467378714}"/>
                  </a:ext>
                </a:extLst>
              </p:cNvPr>
              <p:cNvSpPr txBox="1"/>
              <p:nvPr/>
            </p:nvSpPr>
            <p:spPr>
              <a:xfrm>
                <a:off x="0" y="-9525"/>
                <a:ext cx="634214" cy="177112"/>
              </a:xfrm>
              <a:prstGeom prst="rect">
                <a:avLst/>
              </a:prstGeom>
            </p:spPr>
            <p:txBody>
              <a:bodyPr lIns="47625" tIns="47625" rIns="47625" bIns="47625" rtlCol="0" anchor="ctr"/>
              <a:lstStyle/>
              <a:p>
                <a:pPr algn="ctr">
                  <a:spcBef>
                    <a:spcPct val="0"/>
                  </a:spcBef>
                </a:pPr>
                <a:r>
                  <a:rPr lang="en-US" sz="700" b="1" dirty="0">
                    <a:solidFill>
                      <a:srgbClr val="000000"/>
                    </a:solidFill>
                    <a:latin typeface="TT Interphases Bold"/>
                    <a:ea typeface="TT Interphases Bold"/>
                    <a:cs typeface="TT Interphases Bold"/>
                    <a:sym typeface="TT Interphases Bold"/>
                  </a:rPr>
                  <a:t>Creation of the opportunity in Salesforces</a:t>
                </a:r>
              </a:p>
            </p:txBody>
          </p:sp>
        </p:grpSp>
        <p:cxnSp>
          <p:nvCxnSpPr>
            <p:cNvPr id="265" name="Connector: Elbow 264">
              <a:extLst>
                <a:ext uri="{FF2B5EF4-FFF2-40B4-BE49-F238E27FC236}">
                  <a16:creationId xmlns:a16="http://schemas.microsoft.com/office/drawing/2014/main" id="{8F00698E-1197-F4A1-94CE-FF5D3DBB7F86}"/>
                </a:ext>
              </a:extLst>
            </p:cNvPr>
            <p:cNvCxnSpPr>
              <a:cxnSpLocks/>
            </p:cNvCxnSpPr>
            <p:nvPr/>
          </p:nvCxnSpPr>
          <p:spPr>
            <a:xfrm rot="10800000" flipH="1" flipV="1">
              <a:off x="5212364" y="4092464"/>
              <a:ext cx="731520" cy="914400"/>
            </a:xfrm>
            <a:prstGeom prst="bentConnector3">
              <a:avLst>
                <a:gd name="adj1" fmla="val 27"/>
              </a:avLst>
            </a:prstGeom>
            <a:ln w="19050" cap="flat">
              <a:solidFill>
                <a:srgbClr val="000000"/>
              </a:solidFill>
              <a:prstDash val="solid"/>
              <a:headEnd type="none" w="sm" len="sm"/>
              <a:tailEnd type="arrow" w="med" len="sm"/>
            </a:ln>
          </p:spPr>
        </p:cxnSp>
        <p:cxnSp>
          <p:nvCxnSpPr>
            <p:cNvPr id="266" name="Connector: Elbow 265">
              <a:extLst>
                <a:ext uri="{FF2B5EF4-FFF2-40B4-BE49-F238E27FC236}">
                  <a16:creationId xmlns:a16="http://schemas.microsoft.com/office/drawing/2014/main" id="{7C1B120F-8A08-3E95-0811-3AB4A72CDDE3}"/>
                </a:ext>
              </a:extLst>
            </p:cNvPr>
            <p:cNvCxnSpPr>
              <a:cxnSpLocks/>
            </p:cNvCxnSpPr>
            <p:nvPr/>
          </p:nvCxnSpPr>
          <p:spPr>
            <a:xfrm rot="10800000" flipV="1">
              <a:off x="7003564" y="4676847"/>
              <a:ext cx="548640" cy="329184"/>
            </a:xfrm>
            <a:prstGeom prst="bentConnector3">
              <a:avLst>
                <a:gd name="adj1" fmla="val 27"/>
              </a:avLst>
            </a:prstGeom>
            <a:ln w="19050" cap="flat">
              <a:solidFill>
                <a:srgbClr val="000000"/>
              </a:solidFill>
              <a:prstDash val="solid"/>
              <a:headEnd type="none" w="sm" len="sm"/>
              <a:tailEnd type="arrow" w="med" len="sm"/>
            </a:ln>
          </p:spPr>
        </p:cxnSp>
        <p:cxnSp>
          <p:nvCxnSpPr>
            <p:cNvPr id="267" name="Connector: Elbow 266">
              <a:extLst>
                <a:ext uri="{FF2B5EF4-FFF2-40B4-BE49-F238E27FC236}">
                  <a16:creationId xmlns:a16="http://schemas.microsoft.com/office/drawing/2014/main" id="{D027D192-ADAF-9914-F2C2-E05D1437D8B8}"/>
                </a:ext>
              </a:extLst>
            </p:cNvPr>
            <p:cNvCxnSpPr>
              <a:cxnSpLocks/>
            </p:cNvCxnSpPr>
            <p:nvPr/>
          </p:nvCxnSpPr>
          <p:spPr>
            <a:xfrm rot="5400000" flipH="1" flipV="1">
              <a:off x="8446958" y="3036387"/>
              <a:ext cx="823883" cy="851154"/>
            </a:xfrm>
            <a:prstGeom prst="bentConnector3">
              <a:avLst>
                <a:gd name="adj1" fmla="val -825"/>
              </a:avLst>
            </a:prstGeom>
            <a:ln w="19050" cap="flat">
              <a:solidFill>
                <a:srgbClr val="000000"/>
              </a:solidFill>
              <a:prstDash val="solid"/>
              <a:headEnd type="none" w="sm" len="sm"/>
              <a:tailEnd type="arrow" w="med" len="sm"/>
            </a:ln>
          </p:spPr>
        </p:cxnSp>
        <p:grpSp>
          <p:nvGrpSpPr>
            <p:cNvPr id="268" name="Group 16">
              <a:extLst>
                <a:ext uri="{FF2B5EF4-FFF2-40B4-BE49-F238E27FC236}">
                  <a16:creationId xmlns:a16="http://schemas.microsoft.com/office/drawing/2014/main" id="{978AFEB7-F6A3-1EF0-3B84-B7EE6C7929D1}"/>
                </a:ext>
              </a:extLst>
            </p:cNvPr>
            <p:cNvGrpSpPr/>
            <p:nvPr/>
          </p:nvGrpSpPr>
          <p:grpSpPr>
            <a:xfrm>
              <a:off x="8739254" y="2616778"/>
              <a:ext cx="1066711" cy="441882"/>
              <a:chOff x="0" y="-40673"/>
              <a:chExt cx="634214" cy="262721"/>
            </a:xfrm>
          </p:grpSpPr>
          <p:sp>
            <p:nvSpPr>
              <p:cNvPr id="272" name="Freeform 17">
                <a:extLst>
                  <a:ext uri="{FF2B5EF4-FFF2-40B4-BE49-F238E27FC236}">
                    <a16:creationId xmlns:a16="http://schemas.microsoft.com/office/drawing/2014/main" id="{75622A1D-8F45-8AE0-9D43-C646098713EF}"/>
                  </a:ext>
                </a:extLst>
              </p:cNvPr>
              <p:cNvSpPr/>
              <p:nvPr/>
            </p:nvSpPr>
            <p:spPr>
              <a:xfrm>
                <a:off x="0" y="-40673"/>
                <a:ext cx="634214" cy="262721"/>
              </a:xfrm>
              <a:custGeom>
                <a:avLst/>
                <a:gdLst/>
                <a:ahLst/>
                <a:cxnLst/>
                <a:rect l="l" t="t" r="r" b="b"/>
                <a:pathLst>
                  <a:path w="634214" h="167587">
                    <a:moveTo>
                      <a:pt x="0" y="0"/>
                    </a:moveTo>
                    <a:lnTo>
                      <a:pt x="634214" y="0"/>
                    </a:lnTo>
                    <a:lnTo>
                      <a:pt x="634214" y="167587"/>
                    </a:lnTo>
                    <a:lnTo>
                      <a:pt x="0" y="167587"/>
                    </a:lnTo>
                    <a:close/>
                  </a:path>
                </a:pathLst>
              </a:custGeom>
              <a:solidFill>
                <a:srgbClr val="FFFFFF"/>
              </a:solidFill>
              <a:ln w="9525" cap="sq">
                <a:solidFill>
                  <a:srgbClr val="000000"/>
                </a:solidFill>
                <a:prstDash val="solid"/>
                <a:miter/>
              </a:ln>
            </p:spPr>
            <p:txBody>
              <a:bodyPr/>
              <a:lstStyle/>
              <a:p>
                <a:endParaRPr lang="en-US" sz="1000" b="1"/>
              </a:p>
            </p:txBody>
          </p:sp>
          <p:sp>
            <p:nvSpPr>
              <p:cNvPr id="273" name="TextBox 18">
                <a:extLst>
                  <a:ext uri="{FF2B5EF4-FFF2-40B4-BE49-F238E27FC236}">
                    <a16:creationId xmlns:a16="http://schemas.microsoft.com/office/drawing/2014/main" id="{E53F7375-6361-A99C-C526-AA2F5952FE5F}"/>
                  </a:ext>
                </a:extLst>
              </p:cNvPr>
              <p:cNvSpPr txBox="1"/>
              <p:nvPr/>
            </p:nvSpPr>
            <p:spPr>
              <a:xfrm>
                <a:off x="0" y="-9524"/>
                <a:ext cx="634214" cy="177111"/>
              </a:xfrm>
              <a:prstGeom prst="rect">
                <a:avLst/>
              </a:prstGeom>
            </p:spPr>
            <p:txBody>
              <a:bodyPr lIns="47625" tIns="47625" rIns="47625" bIns="47625" rtlCol="0" anchor="ctr"/>
              <a:lstStyle/>
              <a:p>
                <a:pPr algn="ctr">
                  <a:spcBef>
                    <a:spcPct val="0"/>
                  </a:spcBef>
                </a:pPr>
                <a:r>
                  <a:rPr lang="en-US" sz="700" b="1" dirty="0">
                    <a:solidFill>
                      <a:srgbClr val="000000"/>
                    </a:solidFill>
                    <a:latin typeface="TT Interphases Bold"/>
                    <a:ea typeface="TT Interphases Bold"/>
                    <a:cs typeface="TT Interphases Bold"/>
                    <a:sym typeface="TT Interphases Bold"/>
                  </a:rPr>
                  <a:t>Initiating </a:t>
                </a:r>
                <a:r>
                  <a:rPr lang="en-US" sz="700" b="1" dirty="0" err="1">
                    <a:solidFill>
                      <a:srgbClr val="000000"/>
                    </a:solidFill>
                    <a:latin typeface="TT Interphases Bold"/>
                    <a:ea typeface="TT Interphases Bold"/>
                    <a:cs typeface="TT Interphases Bold"/>
                    <a:sym typeface="TT Interphases Bold"/>
                  </a:rPr>
                  <a:t>Agentforce</a:t>
                </a:r>
                <a:r>
                  <a:rPr lang="en-US" sz="700" b="1" dirty="0">
                    <a:solidFill>
                      <a:srgbClr val="000000"/>
                    </a:solidFill>
                    <a:latin typeface="TT Interphases Bold"/>
                    <a:ea typeface="TT Interphases Bold"/>
                    <a:cs typeface="TT Interphases Bold"/>
                    <a:sym typeface="TT Interphases Bold"/>
                  </a:rPr>
                  <a:t> decision process</a:t>
                </a:r>
              </a:p>
            </p:txBody>
          </p:sp>
        </p:grpSp>
        <p:cxnSp>
          <p:nvCxnSpPr>
            <p:cNvPr id="269" name="Connector: Elbow 268">
              <a:extLst>
                <a:ext uri="{FF2B5EF4-FFF2-40B4-BE49-F238E27FC236}">
                  <a16:creationId xmlns:a16="http://schemas.microsoft.com/office/drawing/2014/main" id="{CE1E397F-354D-51D2-BE2B-1ED4B31B51C8}"/>
                </a:ext>
              </a:extLst>
            </p:cNvPr>
            <p:cNvCxnSpPr>
              <a:cxnSpLocks/>
            </p:cNvCxnSpPr>
            <p:nvPr/>
          </p:nvCxnSpPr>
          <p:spPr>
            <a:xfrm flipH="1" flipV="1">
              <a:off x="8615779" y="2303407"/>
              <a:ext cx="640081" cy="308956"/>
            </a:xfrm>
            <a:prstGeom prst="bentConnector3">
              <a:avLst>
                <a:gd name="adj1" fmla="val -825"/>
              </a:avLst>
            </a:prstGeom>
            <a:ln w="19050" cap="flat">
              <a:solidFill>
                <a:srgbClr val="000000"/>
              </a:solidFill>
              <a:prstDash val="solid"/>
              <a:headEnd type="none" w="sm" len="sm"/>
              <a:tailEnd type="arrow" w="med" len="sm"/>
            </a:ln>
          </p:spPr>
        </p:cxnSp>
        <p:cxnSp>
          <p:nvCxnSpPr>
            <p:cNvPr id="270" name="Connector: Elbow 269">
              <a:extLst>
                <a:ext uri="{FF2B5EF4-FFF2-40B4-BE49-F238E27FC236}">
                  <a16:creationId xmlns:a16="http://schemas.microsoft.com/office/drawing/2014/main" id="{AC61B170-368D-68A6-0EE1-C1585977AD39}"/>
                </a:ext>
              </a:extLst>
            </p:cNvPr>
            <p:cNvCxnSpPr>
              <a:cxnSpLocks/>
            </p:cNvCxnSpPr>
            <p:nvPr/>
          </p:nvCxnSpPr>
          <p:spPr>
            <a:xfrm flipV="1">
              <a:off x="4400280" y="2010778"/>
              <a:ext cx="1005840" cy="2194560"/>
            </a:xfrm>
            <a:prstGeom prst="bentConnector3">
              <a:avLst>
                <a:gd name="adj1" fmla="val 50000"/>
              </a:avLst>
            </a:prstGeom>
            <a:ln w="19050" cap="flat">
              <a:solidFill>
                <a:srgbClr val="000000"/>
              </a:solidFill>
              <a:prstDash val="solid"/>
              <a:headEnd type="none" w="sm" len="sm"/>
              <a:tailEnd type="arrow" w="med" len="sm"/>
            </a:ln>
          </p:spPr>
        </p:cxnSp>
        <p:sp>
          <p:nvSpPr>
            <p:cNvPr id="271" name="AutoShape 80">
              <a:extLst>
                <a:ext uri="{FF2B5EF4-FFF2-40B4-BE49-F238E27FC236}">
                  <a16:creationId xmlns:a16="http://schemas.microsoft.com/office/drawing/2014/main" id="{1F55B52B-2370-BCDD-1603-EC00B635359A}"/>
                </a:ext>
              </a:extLst>
            </p:cNvPr>
            <p:cNvSpPr/>
            <p:nvPr/>
          </p:nvSpPr>
          <p:spPr>
            <a:xfrm flipH="1">
              <a:off x="7957934" y="2546078"/>
              <a:ext cx="0" cy="559256"/>
            </a:xfrm>
            <a:prstGeom prst="line">
              <a:avLst/>
            </a:prstGeom>
            <a:ln w="19050" cap="flat">
              <a:solidFill>
                <a:srgbClr val="000000"/>
              </a:solidFill>
              <a:prstDash val="solid"/>
              <a:headEnd type="none" w="sm" len="sm"/>
              <a:tailEnd type="arrow" w="med" len="sm"/>
            </a:ln>
          </p:spPr>
          <p:txBody>
            <a:bodyPr/>
            <a:lstStyle/>
            <a:p>
              <a:endParaRPr lang="en-US" sz="1000" b="1"/>
            </a:p>
          </p:txBody>
        </p:sp>
      </p:grpSp>
    </p:spTree>
    <p:extLst>
      <p:ext uri="{BB962C8B-B14F-4D97-AF65-F5344CB8AC3E}">
        <p14:creationId xmlns:p14="http://schemas.microsoft.com/office/powerpoint/2010/main" val="7728745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7DA10-9CAC-4EB3-8793-C6B27D6EF6B3}"/>
              </a:ext>
            </a:extLst>
          </p:cNvPr>
          <p:cNvSpPr>
            <a:spLocks noGrp="1"/>
          </p:cNvSpPr>
          <p:nvPr>
            <p:ph type="title"/>
          </p:nvPr>
        </p:nvSpPr>
        <p:spPr/>
        <p:txBody>
          <a:bodyPr/>
          <a:lstStyle/>
          <a:p>
            <a:r>
              <a:rPr lang="en-GB" dirty="0"/>
              <a:t>Place headline here (36pt, min 30pt) </a:t>
            </a:r>
            <a:endParaRPr lang="en-US" dirty="0"/>
          </a:p>
        </p:txBody>
      </p:sp>
      <p:sp>
        <p:nvSpPr>
          <p:cNvPr id="4" name="Text Placeholder 3">
            <a:extLst>
              <a:ext uri="{FF2B5EF4-FFF2-40B4-BE49-F238E27FC236}">
                <a16:creationId xmlns:a16="http://schemas.microsoft.com/office/drawing/2014/main" id="{3F8927B5-FED1-4C0E-A70D-018C9898F092}"/>
              </a:ext>
            </a:extLst>
          </p:cNvPr>
          <p:cNvSpPr>
            <a:spLocks noGrp="1"/>
          </p:cNvSpPr>
          <p:nvPr>
            <p:ph type="body" sz="quarter" idx="11"/>
          </p:nvPr>
        </p:nvSpPr>
        <p:spPr/>
        <p:txBody>
          <a:bodyPr/>
          <a:lstStyle/>
          <a:p>
            <a:r>
              <a:rPr lang="en-GB" dirty="0"/>
              <a:t>Place subtitle here in GT Sectra Fine </a:t>
            </a:r>
            <a:r>
              <a:rPr lang="en-GB" dirty="0" err="1"/>
              <a:t>Rg</a:t>
            </a:r>
            <a:r>
              <a:rPr lang="en-GB" dirty="0"/>
              <a:t> 20pt</a:t>
            </a:r>
            <a:endParaRPr lang="en-US" dirty="0"/>
          </a:p>
        </p:txBody>
      </p:sp>
      <p:sp>
        <p:nvSpPr>
          <p:cNvPr id="3" name="Content Placeholder 2">
            <a:extLst>
              <a:ext uri="{FF2B5EF4-FFF2-40B4-BE49-F238E27FC236}">
                <a16:creationId xmlns:a16="http://schemas.microsoft.com/office/drawing/2014/main" id="{09D7EF7F-8C4A-4A33-ADA4-EE63952AF930}"/>
              </a:ext>
            </a:extLst>
          </p:cNvPr>
          <p:cNvSpPr>
            <a:spLocks noGrp="1"/>
          </p:cNvSpPr>
          <p:nvPr>
            <p:ph sz="quarter" idx="10"/>
          </p:nvPr>
        </p:nvSpPr>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5A7519C1-9E16-4619-8454-11BB25938F9A}"/>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5588E60-B7F0-4078-82F8-E8511A8AA1AB}"/>
              </a:ext>
            </a:extLst>
          </p:cNvPr>
          <p:cNvSpPr>
            <a:spLocks noGrp="1"/>
          </p:cNvSpPr>
          <p:nvPr>
            <p:ph type="sldNum" sz="quarter" idx="12"/>
          </p:nvPr>
        </p:nvSpPr>
        <p:spPr/>
        <p:txBody>
          <a:bodyPr/>
          <a:lstStyle/>
          <a:p>
            <a:fld id="{1F90F471-3972-4120-B8B3-0237DE626C35}" type="slidenum">
              <a:rPr lang="en-US" smtClean="0"/>
              <a:pPr/>
              <a:t>40</a:t>
            </a:fld>
            <a:endParaRPr lang="en-US" dirty="0"/>
          </a:p>
        </p:txBody>
      </p:sp>
    </p:spTree>
    <p:extLst>
      <p:ext uri="{BB962C8B-B14F-4D97-AF65-F5344CB8AC3E}">
        <p14:creationId xmlns:p14="http://schemas.microsoft.com/office/powerpoint/2010/main" val="2216513050"/>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Project Organization 2</a:t>
            </a:r>
          </a:p>
        </p:txBody>
      </p:sp>
      <p:sp>
        <p:nvSpPr>
          <p:cNvPr id="11" name="Rectangle 10">
            <a:extLst>
              <a:ext uri="{FF2B5EF4-FFF2-40B4-BE49-F238E27FC236}">
                <a16:creationId xmlns:a16="http://schemas.microsoft.com/office/drawing/2014/main" id="{E8C06075-2B48-4F05-8408-27D1D7822782}"/>
              </a:ext>
            </a:extLst>
          </p:cNvPr>
          <p:cNvSpPr>
            <a:spLocks noChangeArrowheads="1"/>
          </p:cNvSpPr>
          <p:nvPr/>
        </p:nvSpPr>
        <p:spPr bwMode="auto">
          <a:xfrm>
            <a:off x="4986360" y="1665289"/>
            <a:ext cx="2259716" cy="357201"/>
          </a:xfrm>
          <a:prstGeom prst="rect">
            <a:avLst/>
          </a:prstGeom>
          <a:solidFill>
            <a:schemeClr val="accent1"/>
          </a:solidFill>
          <a:ln w="6350">
            <a:noFill/>
            <a:miter lim="800000"/>
            <a:headEnd/>
            <a:tailEnd/>
          </a:ln>
          <a:effectLst/>
        </p:spPr>
        <p:txBody>
          <a:bodyPr lIns="72000" tIns="72000" rIns="72000" bIns="72000" anchor="b"/>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mj-lt"/>
                <a:ea typeface="+mn-ea"/>
                <a:cs typeface="+mn-cs"/>
              </a:rPr>
              <a:t>Steering Committee</a:t>
            </a:r>
          </a:p>
        </p:txBody>
      </p:sp>
      <p:sp>
        <p:nvSpPr>
          <p:cNvPr id="12" name="Rectangle 11">
            <a:extLst>
              <a:ext uri="{FF2B5EF4-FFF2-40B4-BE49-F238E27FC236}">
                <a16:creationId xmlns:a16="http://schemas.microsoft.com/office/drawing/2014/main" id="{3B1F9032-F35A-4483-932D-DB3CB8B4DF75}"/>
              </a:ext>
            </a:extLst>
          </p:cNvPr>
          <p:cNvSpPr>
            <a:spLocks noChangeArrowheads="1"/>
          </p:cNvSpPr>
          <p:nvPr/>
        </p:nvSpPr>
        <p:spPr bwMode="auto">
          <a:xfrm>
            <a:off x="4986360" y="2019424"/>
            <a:ext cx="2259716" cy="876904"/>
          </a:xfrm>
          <a:prstGeom prst="rect">
            <a:avLst/>
          </a:prstGeom>
          <a:solidFill>
            <a:srgbClr val="96968C">
              <a:lumMod val="20000"/>
              <a:lumOff val="80000"/>
            </a:srgbClr>
          </a:solidFill>
          <a:ln w="6350">
            <a:noFill/>
            <a:miter lim="800000"/>
            <a:headEnd/>
            <a:tailEnd/>
          </a:ln>
          <a:effectLst/>
        </p:spPr>
        <p:txBody>
          <a:bodyPr wrap="none" lIns="180000" tIns="72000" rIns="72000" bIns="72000"/>
          <a:lstStyle/>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grpSp>
        <p:nvGrpSpPr>
          <p:cNvPr id="2" name="Group 1">
            <a:extLst>
              <a:ext uri="{FF2B5EF4-FFF2-40B4-BE49-F238E27FC236}">
                <a16:creationId xmlns:a16="http://schemas.microsoft.com/office/drawing/2014/main" id="{580D4BAA-EB30-45E9-AEBC-3BEE5B3EAB10}"/>
              </a:ext>
              <a:ext uri="{C183D7F6-B498-43B3-948B-1728B52AA6E4}">
                <adec:decorative xmlns:adec="http://schemas.microsoft.com/office/drawing/2017/decorative" val="1"/>
              </a:ext>
            </a:extLst>
          </p:cNvPr>
          <p:cNvGrpSpPr/>
          <p:nvPr/>
        </p:nvGrpSpPr>
        <p:grpSpPr>
          <a:xfrm>
            <a:off x="3099175" y="2896328"/>
            <a:ext cx="5992694" cy="1888717"/>
            <a:chOff x="3099175" y="2896328"/>
            <a:chExt cx="5992694" cy="1888717"/>
          </a:xfrm>
        </p:grpSpPr>
        <p:cxnSp>
          <p:nvCxnSpPr>
            <p:cNvPr id="7" name="AutoShape 5">
              <a:extLst>
                <a:ext uri="{FF2B5EF4-FFF2-40B4-BE49-F238E27FC236}">
                  <a16:creationId xmlns:a16="http://schemas.microsoft.com/office/drawing/2014/main" id="{554054F9-51B5-4562-8998-A28923DAC4C7}"/>
                </a:ext>
              </a:extLst>
            </p:cNvPr>
            <p:cNvCxnSpPr>
              <a:cxnSpLocks noChangeShapeType="1"/>
              <a:stCxn id="17" idx="3"/>
              <a:endCxn id="19" idx="1"/>
            </p:cNvCxnSpPr>
            <p:nvPr/>
          </p:nvCxnSpPr>
          <p:spPr bwMode="auto">
            <a:xfrm>
              <a:off x="4206038" y="4001655"/>
              <a:ext cx="3824961" cy="1534"/>
            </a:xfrm>
            <a:prstGeom prst="straightConnector1">
              <a:avLst/>
            </a:prstGeom>
            <a:noFill/>
            <a:ln w="12700" cap="rnd" cmpd="sng" algn="ctr">
              <a:solidFill>
                <a:srgbClr val="96968C"/>
              </a:solidFill>
              <a:prstDash val="sysDot"/>
              <a:headEnd type="none" w="med" len="med"/>
              <a:tailEnd type="none" w="med" len="med"/>
            </a:ln>
            <a:effectLst/>
          </p:spPr>
        </p:cxnSp>
        <p:cxnSp>
          <p:nvCxnSpPr>
            <p:cNvPr id="8" name="AutoShape 6">
              <a:extLst>
                <a:ext uri="{FF2B5EF4-FFF2-40B4-BE49-F238E27FC236}">
                  <a16:creationId xmlns:a16="http://schemas.microsoft.com/office/drawing/2014/main" id="{EB37142E-1E11-4426-8063-34AD54D0EB15}"/>
                </a:ext>
              </a:extLst>
            </p:cNvPr>
            <p:cNvCxnSpPr>
              <a:cxnSpLocks noChangeShapeType="1"/>
              <a:stCxn id="12" idx="2"/>
              <a:endCxn id="13" idx="0"/>
            </p:cNvCxnSpPr>
            <p:nvPr/>
          </p:nvCxnSpPr>
          <p:spPr bwMode="auto">
            <a:xfrm>
              <a:off x="6116218" y="2896328"/>
              <a:ext cx="0" cy="1888717"/>
            </a:xfrm>
            <a:prstGeom prst="straightConnector1">
              <a:avLst/>
            </a:prstGeom>
            <a:noFill/>
            <a:ln w="12700" cap="rnd" cmpd="sng" algn="ctr">
              <a:solidFill>
                <a:srgbClr val="96968C"/>
              </a:solidFill>
              <a:prstDash val="sysDot"/>
              <a:headEnd type="none" w="med" len="med"/>
              <a:tailEnd type="none" w="med" len="med"/>
            </a:ln>
            <a:effectLst/>
          </p:spPr>
        </p:cxnSp>
        <p:cxnSp>
          <p:nvCxnSpPr>
            <p:cNvPr id="10" name="AutoShape 9">
              <a:extLst>
                <a:ext uri="{FF2B5EF4-FFF2-40B4-BE49-F238E27FC236}">
                  <a16:creationId xmlns:a16="http://schemas.microsoft.com/office/drawing/2014/main" id="{14202FE9-4514-4400-9A11-D289354489FB}"/>
                </a:ext>
              </a:extLst>
            </p:cNvPr>
            <p:cNvCxnSpPr>
              <a:cxnSpLocks noChangeShapeType="1"/>
              <a:stCxn id="20" idx="0"/>
              <a:endCxn id="9" idx="0"/>
            </p:cNvCxnSpPr>
            <p:nvPr/>
          </p:nvCxnSpPr>
          <p:spPr bwMode="auto">
            <a:xfrm rot="16200000" flipH="1">
              <a:off x="6083258" y="1776434"/>
              <a:ext cx="24528" cy="5992694"/>
            </a:xfrm>
            <a:prstGeom prst="bentConnector3">
              <a:avLst>
                <a:gd name="adj1" fmla="val -931996"/>
              </a:avLst>
            </a:prstGeom>
            <a:noFill/>
            <a:ln w="12700" cap="rnd" cmpd="sng" algn="ctr">
              <a:solidFill>
                <a:srgbClr val="96968C"/>
              </a:solidFill>
              <a:prstDash val="sysDot"/>
              <a:headEnd type="none" w="med" len="med"/>
              <a:tailEnd type="none" w="med" len="med"/>
            </a:ln>
            <a:effectLst/>
          </p:spPr>
        </p:cxnSp>
      </p:grpSp>
      <p:sp>
        <p:nvSpPr>
          <p:cNvPr id="16" name="Rectangle 16">
            <a:extLst>
              <a:ext uri="{FF2B5EF4-FFF2-40B4-BE49-F238E27FC236}">
                <a16:creationId xmlns:a16="http://schemas.microsoft.com/office/drawing/2014/main" id="{CE1A4503-16D1-421E-A35C-4E884DB8ECAE}"/>
              </a:ext>
            </a:extLst>
          </p:cNvPr>
          <p:cNvSpPr>
            <a:spLocks noChangeArrowheads="1"/>
          </p:cNvSpPr>
          <p:nvPr/>
        </p:nvSpPr>
        <p:spPr bwMode="auto">
          <a:xfrm>
            <a:off x="1992313" y="3232065"/>
            <a:ext cx="2213724" cy="361800"/>
          </a:xfrm>
          <a:prstGeom prst="rect">
            <a:avLst/>
          </a:prstGeom>
          <a:solidFill>
            <a:schemeClr val="accent2"/>
          </a:solidFill>
          <a:ln w="6350">
            <a:noFill/>
            <a:miter lim="800000"/>
            <a:headEnd/>
            <a:tailEnd/>
          </a:ln>
          <a:effectLst/>
        </p:spPr>
        <p:txBody>
          <a:bodyPr lIns="72000" tIns="72000" rIns="72000" bIns="72000" anchor="b"/>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mj-lt"/>
                <a:ea typeface="+mn-ea"/>
                <a:cs typeface="+mn-cs"/>
              </a:rPr>
              <a:t>QA</a:t>
            </a:r>
          </a:p>
        </p:txBody>
      </p:sp>
      <p:sp>
        <p:nvSpPr>
          <p:cNvPr id="17" name="Rectangle 17">
            <a:extLst>
              <a:ext uri="{FF2B5EF4-FFF2-40B4-BE49-F238E27FC236}">
                <a16:creationId xmlns:a16="http://schemas.microsoft.com/office/drawing/2014/main" id="{40EB8ABD-AAF2-47C6-A9F5-F2D90C6C5666}"/>
              </a:ext>
            </a:extLst>
          </p:cNvPr>
          <p:cNvSpPr>
            <a:spLocks noChangeArrowheads="1"/>
          </p:cNvSpPr>
          <p:nvPr/>
        </p:nvSpPr>
        <p:spPr bwMode="auto">
          <a:xfrm>
            <a:off x="1992313" y="3593865"/>
            <a:ext cx="2213724" cy="815583"/>
          </a:xfrm>
          <a:prstGeom prst="rect">
            <a:avLst/>
          </a:prstGeom>
          <a:solidFill>
            <a:srgbClr val="96968C">
              <a:lumMod val="20000"/>
              <a:lumOff val="80000"/>
            </a:srgbClr>
          </a:solidFill>
          <a:ln w="6350">
            <a:noFill/>
            <a:miter lim="800000"/>
            <a:headEnd/>
            <a:tailEnd/>
          </a:ln>
          <a:effectLst/>
        </p:spPr>
        <p:txBody>
          <a:bodyPr wrap="none" lIns="180000" tIns="72000" rIns="72000" bIns="72000"/>
          <a:lstStyle/>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ea typeface="+mn-ea"/>
                <a:cs typeface="+mn-cs"/>
              </a:rPr>
              <a:t>Text</a:t>
            </a:r>
          </a:p>
        </p:txBody>
      </p:sp>
      <p:sp>
        <p:nvSpPr>
          <p:cNvPr id="14" name="Rectangle 13">
            <a:extLst>
              <a:ext uri="{FF2B5EF4-FFF2-40B4-BE49-F238E27FC236}">
                <a16:creationId xmlns:a16="http://schemas.microsoft.com/office/drawing/2014/main" id="{E7514B50-ECFD-4675-9DDD-8D7447450545}"/>
              </a:ext>
            </a:extLst>
          </p:cNvPr>
          <p:cNvSpPr>
            <a:spLocks noChangeArrowheads="1"/>
          </p:cNvSpPr>
          <p:nvPr/>
        </p:nvSpPr>
        <p:spPr bwMode="auto">
          <a:xfrm>
            <a:off x="4986360" y="3232065"/>
            <a:ext cx="2259716" cy="361800"/>
          </a:xfrm>
          <a:prstGeom prst="rect">
            <a:avLst/>
          </a:prstGeom>
          <a:solidFill>
            <a:schemeClr val="accent2"/>
          </a:solidFill>
          <a:ln w="6350">
            <a:noFill/>
            <a:miter lim="800000"/>
            <a:headEnd/>
            <a:tailEnd/>
          </a:ln>
          <a:effectLst/>
        </p:spPr>
        <p:txBody>
          <a:bodyPr lIns="72000" tIns="72000" rIns="72000" bIns="72000" anchor="b"/>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mj-lt"/>
                <a:ea typeface="+mn-ea"/>
                <a:cs typeface="+mn-cs"/>
              </a:rPr>
              <a:t>Project Management</a:t>
            </a:r>
          </a:p>
        </p:txBody>
      </p:sp>
      <p:sp>
        <p:nvSpPr>
          <p:cNvPr id="15" name="Rectangle 15">
            <a:extLst>
              <a:ext uri="{FF2B5EF4-FFF2-40B4-BE49-F238E27FC236}">
                <a16:creationId xmlns:a16="http://schemas.microsoft.com/office/drawing/2014/main" id="{CD6C2C40-D762-4032-83DA-C6C6FD3205D6}"/>
              </a:ext>
            </a:extLst>
          </p:cNvPr>
          <p:cNvSpPr>
            <a:spLocks noChangeArrowheads="1"/>
          </p:cNvSpPr>
          <p:nvPr/>
        </p:nvSpPr>
        <p:spPr bwMode="auto">
          <a:xfrm>
            <a:off x="4986360" y="3593865"/>
            <a:ext cx="2259716" cy="815583"/>
          </a:xfrm>
          <a:prstGeom prst="rect">
            <a:avLst/>
          </a:prstGeom>
          <a:solidFill>
            <a:srgbClr val="96968C">
              <a:lumMod val="20000"/>
              <a:lumOff val="80000"/>
            </a:srgbClr>
          </a:solidFill>
          <a:ln w="6350">
            <a:noFill/>
            <a:miter lim="800000"/>
            <a:headEnd/>
            <a:tailEnd/>
          </a:ln>
          <a:effectLst/>
        </p:spPr>
        <p:txBody>
          <a:bodyPr wrap="none" lIns="180000" tIns="72000" rIns="72000" bIns="72000"/>
          <a:lstStyle/>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ea typeface="+mn-ea"/>
                <a:cs typeface="+mn-cs"/>
              </a:rPr>
              <a:t>Text</a:t>
            </a:r>
          </a:p>
        </p:txBody>
      </p:sp>
      <p:sp>
        <p:nvSpPr>
          <p:cNvPr id="18" name="Rectangle 18">
            <a:extLst>
              <a:ext uri="{FF2B5EF4-FFF2-40B4-BE49-F238E27FC236}">
                <a16:creationId xmlns:a16="http://schemas.microsoft.com/office/drawing/2014/main" id="{C2F513D6-B549-4A60-9FE3-829B9401DD47}"/>
              </a:ext>
            </a:extLst>
          </p:cNvPr>
          <p:cNvSpPr>
            <a:spLocks noChangeArrowheads="1"/>
          </p:cNvSpPr>
          <p:nvPr/>
        </p:nvSpPr>
        <p:spPr bwMode="auto">
          <a:xfrm>
            <a:off x="8030999" y="3232065"/>
            <a:ext cx="2167733" cy="361800"/>
          </a:xfrm>
          <a:prstGeom prst="rect">
            <a:avLst/>
          </a:prstGeom>
          <a:solidFill>
            <a:schemeClr val="accent2"/>
          </a:solidFill>
          <a:ln w="6350">
            <a:noFill/>
            <a:miter lim="800000"/>
            <a:headEnd/>
            <a:tailEnd/>
          </a:ln>
          <a:effectLst/>
        </p:spPr>
        <p:txBody>
          <a:bodyPr lIns="72000" tIns="72000" rIns="72000" bIns="72000" anchor="b"/>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Subject Matter Experts</a:t>
            </a:r>
          </a:p>
        </p:txBody>
      </p:sp>
      <p:sp>
        <p:nvSpPr>
          <p:cNvPr id="19" name="Rectangle 19">
            <a:extLst>
              <a:ext uri="{FF2B5EF4-FFF2-40B4-BE49-F238E27FC236}">
                <a16:creationId xmlns:a16="http://schemas.microsoft.com/office/drawing/2014/main" id="{22EA9979-F046-43AE-A1E7-56FF9C82A7BC}"/>
              </a:ext>
            </a:extLst>
          </p:cNvPr>
          <p:cNvSpPr>
            <a:spLocks noChangeArrowheads="1"/>
          </p:cNvSpPr>
          <p:nvPr/>
        </p:nvSpPr>
        <p:spPr bwMode="auto">
          <a:xfrm>
            <a:off x="8030999" y="3593865"/>
            <a:ext cx="2167733" cy="815583"/>
          </a:xfrm>
          <a:prstGeom prst="rect">
            <a:avLst/>
          </a:prstGeom>
          <a:solidFill>
            <a:srgbClr val="96968C">
              <a:lumMod val="20000"/>
              <a:lumOff val="80000"/>
            </a:srgbClr>
          </a:solidFill>
          <a:ln w="6350">
            <a:noFill/>
            <a:miter lim="800000"/>
            <a:headEnd/>
            <a:tailEnd/>
          </a:ln>
          <a:effectLst/>
        </p:spPr>
        <p:txBody>
          <a:bodyPr wrap="none" lIns="180000" tIns="72000" rIns="72000" bIns="72000"/>
          <a:lstStyle/>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20" name="Rectangle 7">
            <a:extLst>
              <a:ext uri="{FF2B5EF4-FFF2-40B4-BE49-F238E27FC236}">
                <a16:creationId xmlns:a16="http://schemas.microsoft.com/office/drawing/2014/main" id="{EE069B4A-49FE-4686-A615-F79FF15D9C20}"/>
              </a:ext>
            </a:extLst>
          </p:cNvPr>
          <p:cNvSpPr>
            <a:spLocks noChangeArrowheads="1"/>
          </p:cNvSpPr>
          <p:nvPr/>
        </p:nvSpPr>
        <p:spPr bwMode="auto">
          <a:xfrm>
            <a:off x="1992313" y="4760517"/>
            <a:ext cx="2213724" cy="407791"/>
          </a:xfrm>
          <a:prstGeom prst="rect">
            <a:avLst/>
          </a:prstGeom>
          <a:solidFill>
            <a:schemeClr val="accent3"/>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mj-lt"/>
                <a:ea typeface="+mn-ea"/>
                <a:cs typeface="+mn-cs"/>
              </a:rPr>
              <a:t>Team 1</a:t>
            </a:r>
          </a:p>
        </p:txBody>
      </p:sp>
      <p:sp>
        <p:nvSpPr>
          <p:cNvPr id="21" name="Rectangle 20">
            <a:extLst>
              <a:ext uri="{FF2B5EF4-FFF2-40B4-BE49-F238E27FC236}">
                <a16:creationId xmlns:a16="http://schemas.microsoft.com/office/drawing/2014/main" id="{D73CCB6C-6E23-4F4A-8DFA-A7F801ADF582}"/>
              </a:ext>
            </a:extLst>
          </p:cNvPr>
          <p:cNvSpPr>
            <a:spLocks noChangeArrowheads="1"/>
          </p:cNvSpPr>
          <p:nvPr/>
        </p:nvSpPr>
        <p:spPr bwMode="auto">
          <a:xfrm>
            <a:off x="1992313" y="5159110"/>
            <a:ext cx="2213724" cy="817116"/>
          </a:xfrm>
          <a:prstGeom prst="rect">
            <a:avLst/>
          </a:prstGeom>
          <a:solidFill>
            <a:srgbClr val="96968C">
              <a:lumMod val="20000"/>
              <a:lumOff val="80000"/>
            </a:srgbClr>
          </a:solidFill>
          <a:ln w="6350">
            <a:noFill/>
            <a:miter lim="800000"/>
            <a:headEnd/>
            <a:tailEnd/>
          </a:ln>
          <a:effectLst/>
        </p:spPr>
        <p:txBody>
          <a:bodyPr wrap="none" lIns="180000" tIns="72000" rIns="72000" bIns="72000"/>
          <a:lstStyle/>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ea typeface="+mn-ea"/>
                <a:cs typeface="+mn-cs"/>
              </a:rPr>
              <a:t>Text</a:t>
            </a:r>
          </a:p>
        </p:txBody>
      </p:sp>
      <p:sp>
        <p:nvSpPr>
          <p:cNvPr id="13" name="Rectangle 12">
            <a:extLst>
              <a:ext uri="{FF2B5EF4-FFF2-40B4-BE49-F238E27FC236}">
                <a16:creationId xmlns:a16="http://schemas.microsoft.com/office/drawing/2014/main" id="{A156C0DF-DC69-4560-8D49-00E96B75FFF7}"/>
              </a:ext>
            </a:extLst>
          </p:cNvPr>
          <p:cNvSpPr>
            <a:spLocks noChangeArrowheads="1"/>
          </p:cNvSpPr>
          <p:nvPr/>
        </p:nvSpPr>
        <p:spPr bwMode="auto">
          <a:xfrm>
            <a:off x="4986360" y="4785045"/>
            <a:ext cx="2259716" cy="407791"/>
          </a:xfrm>
          <a:prstGeom prst="rect">
            <a:avLst/>
          </a:prstGeom>
          <a:solidFill>
            <a:schemeClr val="accent3"/>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mj-lt"/>
                <a:ea typeface="+mn-ea"/>
                <a:cs typeface="+mn-cs"/>
              </a:rPr>
              <a:t>Team 2</a:t>
            </a:r>
          </a:p>
        </p:txBody>
      </p:sp>
      <p:sp>
        <p:nvSpPr>
          <p:cNvPr id="23" name="Rectangle 22">
            <a:extLst>
              <a:ext uri="{FF2B5EF4-FFF2-40B4-BE49-F238E27FC236}">
                <a16:creationId xmlns:a16="http://schemas.microsoft.com/office/drawing/2014/main" id="{76D27719-C461-4884-A02F-D0DEB43E79E6}"/>
              </a:ext>
            </a:extLst>
          </p:cNvPr>
          <p:cNvSpPr>
            <a:spLocks noChangeArrowheads="1"/>
          </p:cNvSpPr>
          <p:nvPr/>
        </p:nvSpPr>
        <p:spPr bwMode="auto">
          <a:xfrm>
            <a:off x="4986360" y="5192836"/>
            <a:ext cx="2259716" cy="817116"/>
          </a:xfrm>
          <a:prstGeom prst="rect">
            <a:avLst/>
          </a:prstGeom>
          <a:solidFill>
            <a:srgbClr val="96968C">
              <a:lumMod val="20000"/>
              <a:lumOff val="80000"/>
            </a:srgbClr>
          </a:solidFill>
          <a:ln w="6350">
            <a:noFill/>
            <a:miter lim="800000"/>
            <a:headEnd/>
            <a:tailEnd/>
          </a:ln>
          <a:effectLst/>
        </p:spPr>
        <p:txBody>
          <a:bodyPr wrap="none" lIns="180000" tIns="72000" rIns="72000" bIns="72000"/>
          <a:lstStyle/>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ea typeface="+mn-ea"/>
                <a:cs typeface="+mn-cs"/>
              </a:rPr>
              <a:t>Text</a:t>
            </a:r>
          </a:p>
        </p:txBody>
      </p:sp>
      <p:sp>
        <p:nvSpPr>
          <p:cNvPr id="9" name="Rectangle 8">
            <a:extLst>
              <a:ext uri="{FF2B5EF4-FFF2-40B4-BE49-F238E27FC236}">
                <a16:creationId xmlns:a16="http://schemas.microsoft.com/office/drawing/2014/main" id="{97DD97AD-5736-4CAF-98D6-7B648BF1377E}"/>
              </a:ext>
            </a:extLst>
          </p:cNvPr>
          <p:cNvSpPr>
            <a:spLocks noChangeArrowheads="1"/>
          </p:cNvSpPr>
          <p:nvPr/>
        </p:nvSpPr>
        <p:spPr bwMode="auto">
          <a:xfrm>
            <a:off x="7985007" y="4785045"/>
            <a:ext cx="2213724" cy="407791"/>
          </a:xfrm>
          <a:prstGeom prst="rect">
            <a:avLst/>
          </a:prstGeom>
          <a:solidFill>
            <a:schemeClr val="accent3"/>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Team 3</a:t>
            </a:r>
          </a:p>
        </p:txBody>
      </p:sp>
      <p:sp>
        <p:nvSpPr>
          <p:cNvPr id="22" name="Rectangle 21">
            <a:extLst>
              <a:ext uri="{FF2B5EF4-FFF2-40B4-BE49-F238E27FC236}">
                <a16:creationId xmlns:a16="http://schemas.microsoft.com/office/drawing/2014/main" id="{C004206B-1493-4CF7-AEBB-2C8668A2EE7A}"/>
              </a:ext>
            </a:extLst>
          </p:cNvPr>
          <p:cNvSpPr>
            <a:spLocks noChangeArrowheads="1"/>
          </p:cNvSpPr>
          <p:nvPr/>
        </p:nvSpPr>
        <p:spPr bwMode="auto">
          <a:xfrm>
            <a:off x="7985007" y="5192836"/>
            <a:ext cx="2213724" cy="817116"/>
          </a:xfrm>
          <a:prstGeom prst="rect">
            <a:avLst/>
          </a:prstGeom>
          <a:solidFill>
            <a:srgbClr val="96968C">
              <a:lumMod val="20000"/>
              <a:lumOff val="80000"/>
            </a:srgbClr>
          </a:solidFill>
          <a:ln w="6350">
            <a:noFill/>
            <a:miter lim="800000"/>
            <a:headEnd/>
            <a:tailEnd/>
          </a:ln>
          <a:effectLst/>
        </p:spPr>
        <p:txBody>
          <a:bodyPr wrap="none" lIns="180000" tIns="72000" rIns="72000" bIns="72000"/>
          <a:lstStyle/>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ea typeface="+mn-ea"/>
                <a:cs typeface="+mn-cs"/>
              </a:rPr>
              <a:t>Text</a:t>
            </a:r>
          </a:p>
        </p:txBody>
      </p:sp>
      <p:sp>
        <p:nvSpPr>
          <p:cNvPr id="3" name="Footer Placeholder 2">
            <a:extLst>
              <a:ext uri="{FF2B5EF4-FFF2-40B4-BE49-F238E27FC236}">
                <a16:creationId xmlns:a16="http://schemas.microsoft.com/office/drawing/2014/main" id="{2777C29F-55D8-4B4D-BAE7-A0D98B09B8D8}"/>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5" name="Slide Number Placeholder 24">
            <a:extLst>
              <a:ext uri="{FF2B5EF4-FFF2-40B4-BE49-F238E27FC236}">
                <a16:creationId xmlns:a16="http://schemas.microsoft.com/office/drawing/2014/main" id="{F3718B15-6488-457B-AE96-B45E69D8F87D}"/>
              </a:ext>
            </a:extLst>
          </p:cNvPr>
          <p:cNvSpPr>
            <a:spLocks noGrp="1"/>
          </p:cNvSpPr>
          <p:nvPr>
            <p:ph type="sldNum" sz="quarter" idx="10"/>
          </p:nvPr>
        </p:nvSpPr>
        <p:spPr/>
        <p:txBody>
          <a:bodyPr/>
          <a:lstStyle/>
          <a:p>
            <a:fld id="{1F90F471-3972-4120-B8B3-0237DE626C35}" type="slidenum">
              <a:rPr lang="en-US" smtClean="0"/>
              <a:pPr/>
              <a:t>400</a:t>
            </a:fld>
            <a:endParaRPr lang="en-US" dirty="0"/>
          </a:p>
        </p:txBody>
      </p:sp>
    </p:spTree>
    <p:extLst>
      <p:ext uri="{BB962C8B-B14F-4D97-AF65-F5344CB8AC3E}">
        <p14:creationId xmlns:p14="http://schemas.microsoft.com/office/powerpoint/2010/main" val="3880591061"/>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ZA" dirty="0"/>
              <a:t>Individual Resource Profile</a:t>
            </a:r>
            <a:endParaRPr lang="en-US" dirty="0"/>
          </a:p>
        </p:txBody>
      </p:sp>
      <p:sp>
        <p:nvSpPr>
          <p:cNvPr id="2" name="TextBox 1">
            <a:extLst>
              <a:ext uri="{FF2B5EF4-FFF2-40B4-BE49-F238E27FC236}">
                <a16:creationId xmlns:a16="http://schemas.microsoft.com/office/drawing/2014/main" id="{59126BFE-6974-4DAE-AAD5-41749C49774C}"/>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ea typeface="+mn-ea"/>
                <a:cs typeface="+mn-cs"/>
              </a:rPr>
              <a:t>Accenture Team Member: Representative Profile</a:t>
            </a:r>
          </a:p>
        </p:txBody>
      </p:sp>
      <p:sp>
        <p:nvSpPr>
          <p:cNvPr id="6" name="Rectangle 5">
            <a:extLst>
              <a:ext uri="{FF2B5EF4-FFF2-40B4-BE49-F238E27FC236}">
                <a16:creationId xmlns:a16="http://schemas.microsoft.com/office/drawing/2014/main" id="{760EA6C3-16B0-4F71-B002-ED5F4F6FEC20}"/>
              </a:ext>
            </a:extLst>
          </p:cNvPr>
          <p:cNvSpPr>
            <a:spLocks noChangeArrowheads="1"/>
          </p:cNvSpPr>
          <p:nvPr/>
        </p:nvSpPr>
        <p:spPr bwMode="auto">
          <a:xfrm>
            <a:off x="1955540" y="1628801"/>
            <a:ext cx="2923202" cy="287313"/>
          </a:xfrm>
          <a:prstGeom prst="rect">
            <a:avLst/>
          </a:prstGeom>
          <a:noFill/>
          <a:ln w="9525" algn="ctr">
            <a:noFill/>
            <a:round/>
            <a:headEnd/>
            <a:tailEnd/>
          </a:ln>
        </p:spPr>
        <p:txBody>
          <a:bodyPr lIns="0" rIns="0"/>
          <a:lstStyle/>
          <a:p>
            <a:pPr marL="176213" marR="0" lvl="0" indent="-176213" algn="l" defTabSz="914400" rtl="0" eaLnBrk="1" fontAlgn="auto" latinLnBrk="0" hangingPunct="1">
              <a:lnSpc>
                <a:spcPct val="100000"/>
              </a:lnSpc>
              <a:spcBef>
                <a:spcPct val="20000"/>
              </a:spcBef>
              <a:spcAft>
                <a:spcPts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Profile Overview</a:t>
            </a:r>
          </a:p>
        </p:txBody>
      </p:sp>
      <p:sp>
        <p:nvSpPr>
          <p:cNvPr id="9" name="Rounded Rectangle 18">
            <a:extLst>
              <a:ext uri="{FF2B5EF4-FFF2-40B4-BE49-F238E27FC236}">
                <a16:creationId xmlns:a16="http://schemas.microsoft.com/office/drawing/2014/main" id="{5407894F-5A69-4F08-B616-4201D8F74C4F}"/>
              </a:ext>
            </a:extLst>
          </p:cNvPr>
          <p:cNvSpPr/>
          <p:nvPr/>
        </p:nvSpPr>
        <p:spPr bwMode="auto">
          <a:xfrm>
            <a:off x="1957885" y="1988840"/>
            <a:ext cx="1010721" cy="1206500"/>
          </a:xfrm>
          <a:prstGeom prst="roundRect">
            <a:avLst>
              <a:gd name="adj" fmla="val 0"/>
            </a:avLst>
          </a:prstGeom>
          <a:solidFill>
            <a:srgbClr val="96968C">
              <a:lumMod val="60000"/>
              <a:lumOff val="40000"/>
            </a:srgbClr>
          </a:solidFill>
          <a:ln w="9525" cap="flat" cmpd="sng" algn="ctr">
            <a:noFill/>
            <a:prstDash val="solid"/>
            <a:round/>
            <a:headEnd type="none" w="med" len="med"/>
            <a:tailEnd type="none" w="med" len="med"/>
          </a:ln>
          <a:effectLst/>
        </p:spPr>
        <p:txBody>
          <a:bodyPr/>
          <a:lstStyle/>
          <a:p>
            <a:pPr marL="0" marR="0" lvl="0" indent="0" algn="l" defTabSz="914400" rtl="0" eaLnBrk="0" fontAlgn="auto" latinLnBrk="0" hangingPunct="0">
              <a:lnSpc>
                <a:spcPct val="8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Insert Photo</a:t>
            </a:r>
          </a:p>
        </p:txBody>
      </p:sp>
      <p:sp>
        <p:nvSpPr>
          <p:cNvPr id="10" name="TextBox 9">
            <a:extLst>
              <a:ext uri="{FF2B5EF4-FFF2-40B4-BE49-F238E27FC236}">
                <a16:creationId xmlns:a16="http://schemas.microsoft.com/office/drawing/2014/main" id="{615EBD1D-2790-4C79-841D-B73A9C625C9F}"/>
              </a:ext>
            </a:extLst>
          </p:cNvPr>
          <p:cNvSpPr txBox="1"/>
          <p:nvPr/>
        </p:nvSpPr>
        <p:spPr bwMode="auto">
          <a:xfrm>
            <a:off x="2928023" y="2784957"/>
            <a:ext cx="579005"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ea typeface="+mn-ea"/>
                <a:cs typeface="+mn-cs"/>
              </a:rPr>
              <a:t>Na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ea typeface="+mn-ea"/>
                <a:cs typeface="+mn-cs"/>
              </a:rPr>
              <a:t>Title</a:t>
            </a:r>
            <a:endParaRPr kumimoji="0" lang="en-US" sz="1100" b="0" i="0" u="none" strike="noStrike" kern="0" cap="none" spc="0" normalizeH="0" baseline="0" noProof="0" dirty="0">
              <a:ln>
                <a:noFill/>
              </a:ln>
              <a:solidFill>
                <a:srgbClr val="000000"/>
              </a:solidFill>
              <a:effectLst/>
              <a:uLnTx/>
              <a:uFillTx/>
              <a:ea typeface="+mn-ea"/>
              <a:cs typeface="+mn-cs"/>
            </a:endParaRPr>
          </a:p>
        </p:txBody>
      </p:sp>
      <p:sp>
        <p:nvSpPr>
          <p:cNvPr id="11" name="TextBox 10">
            <a:extLst>
              <a:ext uri="{FF2B5EF4-FFF2-40B4-BE49-F238E27FC236}">
                <a16:creationId xmlns:a16="http://schemas.microsoft.com/office/drawing/2014/main" id="{EBA9EECF-ED21-41C1-9612-B02D90AE3D04}"/>
              </a:ext>
            </a:extLst>
          </p:cNvPr>
          <p:cNvSpPr txBox="1"/>
          <p:nvPr/>
        </p:nvSpPr>
        <p:spPr bwMode="auto">
          <a:xfrm>
            <a:off x="1957884" y="3275402"/>
            <a:ext cx="2920114" cy="261610"/>
          </a:xfrm>
          <a:prstGeom prst="rect">
            <a:avLst/>
          </a:prstGeom>
          <a:noFill/>
        </p:spPr>
        <p:txBody>
          <a:bodyPr wrap="square" lIns="0" rtlCol="0">
            <a:spAutoFit/>
          </a:bodyPr>
          <a:lstStyle/>
          <a:p>
            <a:pPr marL="92075" marR="0" lvl="0" indent="-920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ea typeface="+mn-ea"/>
                <a:cs typeface="+mn-cs"/>
              </a:rPr>
              <a:t>Text</a:t>
            </a:r>
          </a:p>
        </p:txBody>
      </p:sp>
      <p:cxnSp>
        <p:nvCxnSpPr>
          <p:cNvPr id="14" name="Straight Connector 13">
            <a:extLst>
              <a:ext uri="{FF2B5EF4-FFF2-40B4-BE49-F238E27FC236}">
                <a16:creationId xmlns:a16="http://schemas.microsoft.com/office/drawing/2014/main" id="{FCA6FAE2-98AB-4EE4-AD0A-2FE97247A2A2}"/>
              </a:ext>
              <a:ext uri="{C183D7F6-B498-43B3-948B-1728B52AA6E4}">
                <adec:decorative xmlns:adec="http://schemas.microsoft.com/office/drawing/2017/decorative" val="1"/>
              </a:ext>
            </a:extLst>
          </p:cNvPr>
          <p:cNvCxnSpPr/>
          <p:nvPr/>
        </p:nvCxnSpPr>
        <p:spPr bwMode="auto">
          <a:xfrm rot="5400000">
            <a:off x="2720377" y="3951536"/>
            <a:ext cx="4482828"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7" name="Rectangle 15">
            <a:extLst>
              <a:ext uri="{FF2B5EF4-FFF2-40B4-BE49-F238E27FC236}">
                <a16:creationId xmlns:a16="http://schemas.microsoft.com/office/drawing/2014/main" id="{FD7557E8-1947-4FC7-98D8-F5495ED2131B}"/>
              </a:ext>
            </a:extLst>
          </p:cNvPr>
          <p:cNvSpPr>
            <a:spLocks noChangeArrowheads="1"/>
          </p:cNvSpPr>
          <p:nvPr/>
        </p:nvSpPr>
        <p:spPr bwMode="auto">
          <a:xfrm>
            <a:off x="5036135" y="1628801"/>
            <a:ext cx="5381041" cy="287313"/>
          </a:xfrm>
          <a:prstGeom prst="rect">
            <a:avLst/>
          </a:prstGeom>
          <a:noFill/>
          <a:ln w="9525" algn="ctr">
            <a:noFill/>
            <a:round/>
            <a:headEnd/>
            <a:tailEnd/>
          </a:ln>
        </p:spPr>
        <p:txBody>
          <a:bodyPr/>
          <a:lstStyle/>
          <a:p>
            <a:pPr marL="176213" marR="0" lvl="0" indent="-176213" algn="l" defTabSz="914400" rtl="0" eaLnBrk="1" fontAlgn="auto" latinLnBrk="0" hangingPunct="1">
              <a:lnSpc>
                <a:spcPct val="100000"/>
              </a:lnSpc>
              <a:spcBef>
                <a:spcPct val="20000"/>
              </a:spcBef>
              <a:spcAft>
                <a:spcPts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Relevant Experience</a:t>
            </a:r>
          </a:p>
        </p:txBody>
      </p:sp>
      <p:sp>
        <p:nvSpPr>
          <p:cNvPr id="12" name="TextBox 11">
            <a:extLst>
              <a:ext uri="{FF2B5EF4-FFF2-40B4-BE49-F238E27FC236}">
                <a16:creationId xmlns:a16="http://schemas.microsoft.com/office/drawing/2014/main" id="{9BB2324B-B023-44A7-866E-34CE3850B80B}"/>
              </a:ext>
            </a:extLst>
          </p:cNvPr>
          <p:cNvSpPr txBox="1"/>
          <p:nvPr/>
        </p:nvSpPr>
        <p:spPr bwMode="auto">
          <a:xfrm>
            <a:off x="5036135" y="1911351"/>
            <a:ext cx="5381041" cy="261610"/>
          </a:xfrm>
          <a:prstGeom prst="rect">
            <a:avLst/>
          </a:prstGeom>
          <a:noFill/>
        </p:spPr>
        <p:txBody>
          <a:bodyPr wrap="square" rtlCol="0">
            <a:spAutoFit/>
          </a:bodyPr>
          <a:lstStyle/>
          <a:p>
            <a:pPr marL="92075" marR="0" lvl="0" indent="-920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ea typeface="+mn-ea"/>
                <a:cs typeface="+mn-cs"/>
              </a:rPr>
              <a:t>Text</a:t>
            </a:r>
          </a:p>
        </p:txBody>
      </p:sp>
      <p:cxnSp>
        <p:nvCxnSpPr>
          <p:cNvPr id="15" name="Straight Connector 14">
            <a:extLst>
              <a:ext uri="{FF2B5EF4-FFF2-40B4-BE49-F238E27FC236}">
                <a16:creationId xmlns:a16="http://schemas.microsoft.com/office/drawing/2014/main" id="{177969BB-512E-4F94-BF6F-DC4A348C5C16}"/>
              </a:ext>
              <a:ext uri="{C183D7F6-B498-43B3-948B-1728B52AA6E4}">
                <adec:decorative xmlns:adec="http://schemas.microsoft.com/office/drawing/2017/decorative" val="1"/>
              </a:ext>
            </a:extLst>
          </p:cNvPr>
          <p:cNvCxnSpPr/>
          <p:nvPr/>
        </p:nvCxnSpPr>
        <p:spPr bwMode="auto">
          <a:xfrm>
            <a:off x="5043985" y="4723745"/>
            <a:ext cx="5201740"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8" name="Rectangle 15">
            <a:extLst>
              <a:ext uri="{FF2B5EF4-FFF2-40B4-BE49-F238E27FC236}">
                <a16:creationId xmlns:a16="http://schemas.microsoft.com/office/drawing/2014/main" id="{922A1B51-8840-46CE-B3A5-01EBFC42460C}"/>
              </a:ext>
            </a:extLst>
          </p:cNvPr>
          <p:cNvSpPr>
            <a:spLocks noChangeArrowheads="1"/>
          </p:cNvSpPr>
          <p:nvPr/>
        </p:nvSpPr>
        <p:spPr bwMode="auto">
          <a:xfrm>
            <a:off x="5036135" y="4791100"/>
            <a:ext cx="5381041" cy="302080"/>
          </a:xfrm>
          <a:prstGeom prst="rect">
            <a:avLst/>
          </a:prstGeom>
          <a:noFill/>
          <a:ln w="9525" algn="ctr">
            <a:noFill/>
            <a:round/>
            <a:headEnd/>
            <a:tailEnd/>
          </a:ln>
        </p:spPr>
        <p:txBody>
          <a:bodyPr/>
          <a:lstStyle/>
          <a:p>
            <a:pPr marL="176213" marR="0" lvl="0" indent="-176213" algn="l" defTabSz="914400" rtl="0" eaLnBrk="1" fontAlgn="auto" latinLnBrk="0" hangingPunct="1">
              <a:lnSpc>
                <a:spcPct val="100000"/>
              </a:lnSpc>
              <a:spcBef>
                <a:spcPct val="20000"/>
              </a:spcBef>
              <a:spcAft>
                <a:spcPts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Relevant Skills</a:t>
            </a:r>
          </a:p>
        </p:txBody>
      </p:sp>
      <p:sp>
        <p:nvSpPr>
          <p:cNvPr id="13" name="TextBox 12">
            <a:extLst>
              <a:ext uri="{FF2B5EF4-FFF2-40B4-BE49-F238E27FC236}">
                <a16:creationId xmlns:a16="http://schemas.microsoft.com/office/drawing/2014/main" id="{41A9B3EA-B8EA-4A6C-8966-50D05A4653B9}"/>
              </a:ext>
            </a:extLst>
          </p:cNvPr>
          <p:cNvSpPr txBox="1"/>
          <p:nvPr/>
        </p:nvSpPr>
        <p:spPr bwMode="auto">
          <a:xfrm>
            <a:off x="5036135" y="5093181"/>
            <a:ext cx="269052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mj-lt"/>
                <a:ea typeface="+mn-ea"/>
                <a:cs typeface="+mn-cs"/>
              </a:rPr>
              <a:t>Industry</a:t>
            </a:r>
          </a:p>
          <a:p>
            <a:pPr marL="92075" marR="0" lvl="0" indent="-920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ea typeface="+mn-ea"/>
                <a:cs typeface="+mn-cs"/>
              </a:rPr>
              <a:t>Text</a:t>
            </a:r>
          </a:p>
        </p:txBody>
      </p:sp>
      <p:sp>
        <p:nvSpPr>
          <p:cNvPr id="16" name="TextBox 15">
            <a:extLst>
              <a:ext uri="{FF2B5EF4-FFF2-40B4-BE49-F238E27FC236}">
                <a16:creationId xmlns:a16="http://schemas.microsoft.com/office/drawing/2014/main" id="{0904CA2E-0DA0-4B52-BAA1-9C40C101AEFA}"/>
              </a:ext>
            </a:extLst>
          </p:cNvPr>
          <p:cNvSpPr txBox="1"/>
          <p:nvPr/>
        </p:nvSpPr>
        <p:spPr bwMode="auto">
          <a:xfrm>
            <a:off x="7719893" y="5093181"/>
            <a:ext cx="269052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mj-lt"/>
                <a:ea typeface="+mn-ea"/>
                <a:cs typeface="+mn-cs"/>
              </a:rPr>
              <a:t>Functional</a:t>
            </a:r>
          </a:p>
          <a:p>
            <a:pPr marL="92075" marR="0" lvl="0" indent="-920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ea typeface="+mn-ea"/>
                <a:cs typeface="+mn-cs"/>
              </a:rPr>
              <a:t>Text</a:t>
            </a:r>
          </a:p>
        </p:txBody>
      </p:sp>
      <p:sp>
        <p:nvSpPr>
          <p:cNvPr id="18" name="Footer Placeholder 17">
            <a:extLst>
              <a:ext uri="{FF2B5EF4-FFF2-40B4-BE49-F238E27FC236}">
                <a16:creationId xmlns:a16="http://schemas.microsoft.com/office/drawing/2014/main" id="{893A2503-1BD6-4532-BC28-D75D578D716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9" name="Slide Number Placeholder 18">
            <a:extLst>
              <a:ext uri="{FF2B5EF4-FFF2-40B4-BE49-F238E27FC236}">
                <a16:creationId xmlns:a16="http://schemas.microsoft.com/office/drawing/2014/main" id="{A5E9EDB8-73C4-4908-A856-35D6F3105A11}"/>
              </a:ext>
            </a:extLst>
          </p:cNvPr>
          <p:cNvSpPr>
            <a:spLocks noGrp="1"/>
          </p:cNvSpPr>
          <p:nvPr>
            <p:ph type="sldNum" sz="quarter" idx="10"/>
          </p:nvPr>
        </p:nvSpPr>
        <p:spPr/>
        <p:txBody>
          <a:bodyPr/>
          <a:lstStyle/>
          <a:p>
            <a:fld id="{1F90F471-3972-4120-B8B3-0237DE626C35}" type="slidenum">
              <a:rPr lang="en-US" smtClean="0"/>
              <a:pPr/>
              <a:t>401</a:t>
            </a:fld>
            <a:endParaRPr lang="en-US" dirty="0"/>
          </a:p>
        </p:txBody>
      </p:sp>
    </p:spTree>
    <p:extLst>
      <p:ext uri="{BB962C8B-B14F-4D97-AF65-F5344CB8AC3E}">
        <p14:creationId xmlns:p14="http://schemas.microsoft.com/office/powerpoint/2010/main" val="2591112499"/>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GB" dirty="0"/>
              <a:t>&lt;Title&gt; in &lt;OG, BD or GG&gt;,</a:t>
            </a:r>
            <a:br>
              <a:rPr lang="en-GB" dirty="0"/>
            </a:br>
            <a:r>
              <a:rPr lang="en-GB" dirty="0"/>
              <a:t>&lt;Location&gt;: &lt;Full name&gt;</a:t>
            </a:r>
            <a:endParaRPr lang="en-US" dirty="0"/>
          </a:p>
        </p:txBody>
      </p:sp>
      <p:sp>
        <p:nvSpPr>
          <p:cNvPr id="7" name="Rounded Rectangle 6">
            <a:extLst>
              <a:ext uri="{FF2B5EF4-FFF2-40B4-BE49-F238E27FC236}">
                <a16:creationId xmlns:a16="http://schemas.microsoft.com/office/drawing/2014/main" id="{93FD38E9-BA7C-4543-B759-D90B133DE19A}"/>
              </a:ext>
            </a:extLst>
          </p:cNvPr>
          <p:cNvSpPr/>
          <p:nvPr/>
        </p:nvSpPr>
        <p:spPr bwMode="auto">
          <a:xfrm>
            <a:off x="1955801" y="1550717"/>
            <a:ext cx="932973" cy="1155062"/>
          </a:xfrm>
          <a:prstGeom prst="roundRect">
            <a:avLst>
              <a:gd name="adj" fmla="val 0"/>
            </a:avLst>
          </a:prstGeom>
          <a:solidFill>
            <a:srgbClr val="E0E0E0"/>
          </a:solidFill>
          <a:ln w="9525" cap="flat" cmpd="sng" algn="ctr">
            <a:noFill/>
            <a:prstDash val="solid"/>
            <a:round/>
            <a:headEnd type="none" w="med" len="med"/>
            <a:tailEnd type="none" w="med" len="med"/>
          </a:ln>
          <a:effectLst/>
        </p:spPr>
        <p:txBody>
          <a:bodyPr/>
          <a:lstStyle/>
          <a:p>
            <a:pPr marL="0" marR="0" lvl="0" indent="0" algn="l" defTabSz="914400" rtl="0" eaLnBrk="0" fontAlgn="auto" latinLnBrk="0" hangingPunct="0">
              <a:lnSpc>
                <a:spcPct val="80000"/>
              </a:lnSpc>
              <a:spcBef>
                <a:spcPts val="0"/>
              </a:spcBef>
              <a:spcAft>
                <a:spcPts val="0"/>
              </a:spcAft>
              <a:buClrTx/>
              <a:buSzTx/>
              <a:buFontTx/>
              <a:buNone/>
              <a:tabLst/>
              <a:defRPr/>
            </a:pPr>
            <a:r>
              <a:rPr kumimoji="0" lang="en-AU" sz="1000" b="0" i="0" u="none" strike="noStrike" kern="0" cap="none" spc="0" normalizeH="0" baseline="0" noProof="0" dirty="0">
                <a:ln>
                  <a:noFill/>
                </a:ln>
                <a:solidFill>
                  <a:srgbClr val="000000"/>
                </a:solidFill>
                <a:effectLst/>
                <a:uLnTx/>
                <a:uFillTx/>
                <a:ea typeface="+mn-ea"/>
                <a:cs typeface="+mn-cs"/>
              </a:rPr>
              <a:t>Insert Photo</a:t>
            </a:r>
          </a:p>
        </p:txBody>
      </p:sp>
      <p:sp>
        <p:nvSpPr>
          <p:cNvPr id="8" name="TextBox 7">
            <a:extLst>
              <a:ext uri="{FF2B5EF4-FFF2-40B4-BE49-F238E27FC236}">
                <a16:creationId xmlns:a16="http://schemas.microsoft.com/office/drawing/2014/main" id="{15AFC403-CDB1-4AD2-800D-B5EFF2313522}"/>
              </a:ext>
            </a:extLst>
          </p:cNvPr>
          <p:cNvSpPr txBox="1"/>
          <p:nvPr/>
        </p:nvSpPr>
        <p:spPr bwMode="auto">
          <a:xfrm>
            <a:off x="2976511" y="1600962"/>
            <a:ext cx="579005"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0" cap="none" spc="0" normalizeH="0" baseline="0" noProof="0" dirty="0">
                <a:ln>
                  <a:noFill/>
                </a:ln>
                <a:solidFill>
                  <a:srgbClr val="000000"/>
                </a:solidFill>
                <a:effectLst/>
                <a:uLnTx/>
                <a:uFillTx/>
                <a:ea typeface="+mn-ea"/>
                <a:cs typeface="+mn-cs"/>
              </a:rPr>
              <a:t>Na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0" cap="none" spc="0" normalizeH="0" baseline="0" noProof="0" dirty="0">
                <a:ln>
                  <a:noFill/>
                </a:ln>
                <a:solidFill>
                  <a:srgbClr val="000000"/>
                </a:solidFill>
                <a:effectLst/>
                <a:uLnTx/>
                <a:uFillTx/>
                <a:ea typeface="+mn-ea"/>
                <a:cs typeface="+mn-cs"/>
              </a:rPr>
              <a:t>Title</a:t>
            </a:r>
          </a:p>
        </p:txBody>
      </p:sp>
      <p:sp>
        <p:nvSpPr>
          <p:cNvPr id="9" name="TextBox 8">
            <a:extLst>
              <a:ext uri="{FF2B5EF4-FFF2-40B4-BE49-F238E27FC236}">
                <a16:creationId xmlns:a16="http://schemas.microsoft.com/office/drawing/2014/main" id="{519CFF4E-EC0D-4F94-8625-99288A0AC6AA}"/>
              </a:ext>
            </a:extLst>
          </p:cNvPr>
          <p:cNvSpPr txBox="1"/>
          <p:nvPr/>
        </p:nvSpPr>
        <p:spPr bwMode="auto">
          <a:xfrm>
            <a:off x="1934712" y="2741405"/>
            <a:ext cx="2678288" cy="276999"/>
          </a:xfrm>
          <a:prstGeom prst="rect">
            <a:avLst/>
          </a:prstGeom>
          <a:noFill/>
        </p:spPr>
        <p:txBody>
          <a:bodyPr wrap="square" lIns="0" rtlCol="0">
            <a:spAutoFit/>
          </a:bodyPr>
          <a:lstStyle/>
          <a:p>
            <a:pPr marL="119063" marR="0" lvl="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AU" sz="1200" b="0" i="0" u="none" strike="noStrike" kern="0" cap="none" spc="0" normalizeH="0" baseline="0" noProof="0" dirty="0">
                <a:ln>
                  <a:noFill/>
                </a:ln>
                <a:solidFill>
                  <a:srgbClr val="000000"/>
                </a:solidFill>
                <a:effectLst/>
                <a:uLnTx/>
                <a:uFillTx/>
                <a:ea typeface="+mn-ea"/>
                <a:cs typeface="+mn-cs"/>
              </a:rPr>
              <a:t>Summary </a:t>
            </a:r>
          </a:p>
        </p:txBody>
      </p:sp>
      <p:sp>
        <p:nvSpPr>
          <p:cNvPr id="6" name="Rectangle 15">
            <a:extLst>
              <a:ext uri="{FF2B5EF4-FFF2-40B4-BE49-F238E27FC236}">
                <a16:creationId xmlns:a16="http://schemas.microsoft.com/office/drawing/2014/main" id="{EDDC289A-B9AA-4466-AB72-62F0CA4FA40F}"/>
              </a:ext>
            </a:extLst>
          </p:cNvPr>
          <p:cNvSpPr>
            <a:spLocks noChangeArrowheads="1"/>
          </p:cNvSpPr>
          <p:nvPr/>
        </p:nvSpPr>
        <p:spPr bwMode="auto">
          <a:xfrm>
            <a:off x="1945475" y="3379516"/>
            <a:ext cx="2608150" cy="252598"/>
          </a:xfrm>
          <a:prstGeom prst="rect">
            <a:avLst/>
          </a:prstGeom>
          <a:noFill/>
          <a:ln w="9525" algn="ctr">
            <a:noFill/>
            <a:round/>
            <a:headEnd/>
            <a:tailEnd/>
          </a:ln>
        </p:spPr>
        <p:txBody>
          <a:bodyPr lIns="0"/>
          <a:lstStyle/>
          <a:p>
            <a:pPr marL="0" marR="0" lvl="0" indent="0" algn="l" defTabSz="914400" rtl="0" eaLnBrk="1" fontAlgn="auto" latinLnBrk="0" hangingPunct="1">
              <a:lnSpc>
                <a:spcPct val="100000"/>
              </a:lnSpc>
              <a:spcBef>
                <a:spcPct val="20000"/>
              </a:spcBef>
              <a:spcAft>
                <a:spcPts val="0"/>
              </a:spcAft>
              <a:buClr>
                <a:srgbClr val="000000"/>
              </a:buClr>
              <a:buSzTx/>
              <a:buFontTx/>
              <a:buNone/>
              <a:tabLst/>
              <a:defRPr/>
            </a:pPr>
            <a:r>
              <a:rPr kumimoji="0" lang="en-US" sz="1400" b="1" i="0" u="none" strike="noStrike" kern="0" cap="none" spc="0" normalizeH="0" baseline="0" noProof="0" dirty="0">
                <a:ln>
                  <a:noFill/>
                </a:ln>
                <a:solidFill>
                  <a:srgbClr val="A100FF"/>
                </a:solidFill>
                <a:effectLst/>
                <a:uLnTx/>
                <a:uFillTx/>
                <a:latin typeface="+mj-lt"/>
                <a:ea typeface="+mn-ea"/>
                <a:cs typeface="+mn-cs"/>
              </a:rPr>
              <a:t>Relevant Skills:</a:t>
            </a:r>
          </a:p>
        </p:txBody>
      </p:sp>
      <p:graphicFrame>
        <p:nvGraphicFramePr>
          <p:cNvPr id="11" name="Table 10" descr="Industry">
            <a:extLst>
              <a:ext uri="{FF2B5EF4-FFF2-40B4-BE49-F238E27FC236}">
                <a16:creationId xmlns:a16="http://schemas.microsoft.com/office/drawing/2014/main" id="{3E8C8F75-8B72-44F2-9260-9E2024CA6448}"/>
              </a:ext>
            </a:extLst>
          </p:cNvPr>
          <p:cNvGraphicFramePr>
            <a:graphicFrameLocks noGrp="1"/>
          </p:cNvGraphicFramePr>
          <p:nvPr>
            <p:extLst>
              <p:ext uri="{D42A27DB-BD31-4B8C-83A1-F6EECF244321}">
                <p14:modId xmlns:p14="http://schemas.microsoft.com/office/powerpoint/2010/main" val="984947069"/>
              </p:ext>
            </p:extLst>
          </p:nvPr>
        </p:nvGraphicFramePr>
        <p:xfrm>
          <a:off x="1955801" y="3712028"/>
          <a:ext cx="2465475" cy="1318161"/>
        </p:xfrm>
        <a:graphic>
          <a:graphicData uri="http://schemas.openxmlformats.org/drawingml/2006/table">
            <a:tbl>
              <a:tblPr firstRow="1" bandRow="1"/>
              <a:tblGrid>
                <a:gridCol w="2465475">
                  <a:extLst>
                    <a:ext uri="{9D8B030D-6E8A-4147-A177-3AD203B41FA5}">
                      <a16:colId xmlns:a16="http://schemas.microsoft.com/office/drawing/2014/main" val="20000"/>
                    </a:ext>
                  </a:extLst>
                </a:gridCol>
              </a:tblGrid>
              <a:tr h="282139">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AU" sz="1200" b="0" dirty="0">
                          <a:latin typeface="+mn-lt"/>
                        </a:rPr>
                        <a:t>Industry </a:t>
                      </a:r>
                    </a:p>
                  </a:txBody>
                  <a:tcPr marL="84406" marR="84406">
                    <a:lnL w="12700" cmpd="sng">
                      <a:noFill/>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10000"/>
                  </a:ext>
                </a:extLst>
              </a:tr>
              <a:tr h="103602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9063" indent="-119063">
                        <a:buFont typeface="Arial" pitchFamily="34" charset="0"/>
                        <a:buChar char="•"/>
                      </a:pPr>
                      <a:r>
                        <a:rPr lang="en-AU" sz="1000" dirty="0">
                          <a:latin typeface="+mn-lt"/>
                        </a:rPr>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graphicFrame>
        <p:nvGraphicFramePr>
          <p:cNvPr id="12" name="Table 11" descr="Functional">
            <a:extLst>
              <a:ext uri="{FF2B5EF4-FFF2-40B4-BE49-F238E27FC236}">
                <a16:creationId xmlns:a16="http://schemas.microsoft.com/office/drawing/2014/main" id="{418D9FCA-10EF-40B1-B353-CAEA892E1C6E}"/>
              </a:ext>
            </a:extLst>
          </p:cNvPr>
          <p:cNvGraphicFramePr>
            <a:graphicFrameLocks noGrp="1"/>
          </p:cNvGraphicFramePr>
          <p:nvPr>
            <p:extLst>
              <p:ext uri="{D42A27DB-BD31-4B8C-83A1-F6EECF244321}">
                <p14:modId xmlns:p14="http://schemas.microsoft.com/office/powerpoint/2010/main" val="1552165520"/>
              </p:ext>
            </p:extLst>
          </p:nvPr>
        </p:nvGraphicFramePr>
        <p:xfrm>
          <a:off x="1955801" y="5089564"/>
          <a:ext cx="2465475" cy="1230035"/>
        </p:xfrm>
        <a:graphic>
          <a:graphicData uri="http://schemas.openxmlformats.org/drawingml/2006/table">
            <a:tbl>
              <a:tblPr firstRow="1" bandRow="1"/>
              <a:tblGrid>
                <a:gridCol w="2465475">
                  <a:extLst>
                    <a:ext uri="{9D8B030D-6E8A-4147-A177-3AD203B41FA5}">
                      <a16:colId xmlns:a16="http://schemas.microsoft.com/office/drawing/2014/main" val="20000"/>
                    </a:ext>
                  </a:extLst>
                </a:gridCol>
              </a:tblGrid>
              <a:tr h="260269">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AU" sz="1200" b="0" dirty="0">
                          <a:latin typeface="+mn-lt"/>
                        </a:rPr>
                        <a:t>Functional</a:t>
                      </a:r>
                    </a:p>
                  </a:txBody>
                  <a:tcPr marL="84406" marR="84406">
                    <a:lnL w="12700" cmpd="sng">
                      <a:noFill/>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10000"/>
                  </a:ext>
                </a:extLst>
              </a:tr>
              <a:tr h="95571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9063" indent="-119063">
                        <a:buFont typeface="Arial" pitchFamily="34" charset="0"/>
                        <a:buChar char="•"/>
                      </a:pPr>
                      <a:r>
                        <a:rPr lang="en-AU" sz="1000" dirty="0">
                          <a:latin typeface="+mn-lt"/>
                        </a:rPr>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cxnSp>
        <p:nvCxnSpPr>
          <p:cNvPr id="10" name="Straight Connector 9">
            <a:extLst>
              <a:ext uri="{FF2B5EF4-FFF2-40B4-BE49-F238E27FC236}">
                <a16:creationId xmlns:a16="http://schemas.microsoft.com/office/drawing/2014/main" id="{3F1178D6-C68D-4FA4-98B2-B5D59CE73CA5}"/>
              </a:ext>
              <a:ext uri="{C183D7F6-B498-43B3-948B-1728B52AA6E4}">
                <adec:decorative xmlns:adec="http://schemas.microsoft.com/office/drawing/2017/decorative" val="1"/>
              </a:ext>
            </a:extLst>
          </p:cNvPr>
          <p:cNvCxnSpPr/>
          <p:nvPr/>
        </p:nvCxnSpPr>
        <p:spPr bwMode="auto">
          <a:xfrm>
            <a:off x="4494341" y="1300162"/>
            <a:ext cx="0" cy="5005387"/>
          </a:xfrm>
          <a:prstGeom prst="line">
            <a:avLst/>
          </a:prstGeom>
          <a:solidFill>
            <a:srgbClr val="A100FF"/>
          </a:solidFill>
          <a:ln w="12700" cap="flat" cmpd="sng" algn="ctr">
            <a:solidFill>
              <a:srgbClr val="666666"/>
            </a:solidFill>
            <a:prstDash val="dash"/>
            <a:round/>
            <a:headEnd type="none" w="med" len="med"/>
            <a:tailEnd type="none" w="med" len="med"/>
          </a:ln>
          <a:effectLst/>
        </p:spPr>
      </p:cxnSp>
      <p:graphicFrame>
        <p:nvGraphicFramePr>
          <p:cNvPr id="13" name="Table 12" descr="Experience Details">
            <a:extLst>
              <a:ext uri="{FF2B5EF4-FFF2-40B4-BE49-F238E27FC236}">
                <a16:creationId xmlns:a16="http://schemas.microsoft.com/office/drawing/2014/main" id="{3A4873A0-60AD-412D-8E9D-08FE64BD78CB}"/>
              </a:ext>
            </a:extLst>
          </p:cNvPr>
          <p:cNvGraphicFramePr>
            <a:graphicFrameLocks noGrp="1"/>
          </p:cNvGraphicFramePr>
          <p:nvPr>
            <p:extLst>
              <p:ext uri="{D42A27DB-BD31-4B8C-83A1-F6EECF244321}">
                <p14:modId xmlns:p14="http://schemas.microsoft.com/office/powerpoint/2010/main" val="796239744"/>
              </p:ext>
            </p:extLst>
          </p:nvPr>
        </p:nvGraphicFramePr>
        <p:xfrm>
          <a:off x="4660499" y="1569726"/>
          <a:ext cx="6984462" cy="4777749"/>
        </p:xfrm>
        <a:graphic>
          <a:graphicData uri="http://schemas.openxmlformats.org/drawingml/2006/table">
            <a:tbl>
              <a:tblPr firstRow="1" bandRow="1"/>
              <a:tblGrid>
                <a:gridCol w="3492231">
                  <a:extLst>
                    <a:ext uri="{9D8B030D-6E8A-4147-A177-3AD203B41FA5}">
                      <a16:colId xmlns:a16="http://schemas.microsoft.com/office/drawing/2014/main" val="20000"/>
                    </a:ext>
                  </a:extLst>
                </a:gridCol>
                <a:gridCol w="3492231">
                  <a:extLst>
                    <a:ext uri="{9D8B030D-6E8A-4147-A177-3AD203B41FA5}">
                      <a16:colId xmlns:a16="http://schemas.microsoft.com/office/drawing/2014/main" val="20001"/>
                    </a:ext>
                  </a:extLst>
                </a:gridCol>
              </a:tblGrid>
              <a:tr h="2323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AU" sz="1200" b="0" dirty="0">
                          <a:latin typeface="+mn-lt"/>
                        </a:rPr>
                        <a:t>Experience</a:t>
                      </a:r>
                    </a:p>
                  </a:txBody>
                  <a:tcPr marL="84406" marR="84406">
                    <a:lnL w="12700" cmpd="sng">
                      <a:noFill/>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AU" sz="1200" b="0" dirty="0">
                          <a:latin typeface="+mn-lt"/>
                        </a:rPr>
                        <a:t>Outcomes</a:t>
                      </a:r>
                    </a:p>
                  </a:txBody>
                  <a:tcPr marL="84406" marR="84406">
                    <a:lnL w="12700" cmpd="sng">
                      <a:noFill/>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643347">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9063" indent="-119063">
                        <a:buFont typeface="Arial" pitchFamily="34" charset="0"/>
                        <a:buChar char="•"/>
                      </a:pPr>
                      <a:r>
                        <a:rPr lang="en-AU" sz="1200" dirty="0">
                          <a:latin typeface="+mn-lt"/>
                        </a:rPr>
                        <a:t> &lt;List relevant experience&gt;</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9063" indent="-119063">
                        <a:buFont typeface="Arial" pitchFamily="34" charset="0"/>
                        <a:buChar char="•"/>
                      </a:pPr>
                      <a:r>
                        <a:rPr lang="en-AU" sz="1200" dirty="0">
                          <a:latin typeface="+mn-lt"/>
                        </a:rPr>
                        <a:t> &lt;Highlight outcomes and tangible value delivered to clients&gt;</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43347">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9063" indent="-119063">
                        <a:buFont typeface="Arial" pitchFamily="34" charset="0"/>
                        <a:buChar char="•"/>
                      </a:pPr>
                      <a:r>
                        <a:rPr lang="en-AU" sz="1200" dirty="0">
                          <a:latin typeface="+mn-lt"/>
                        </a:rPr>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lumMod val="85000"/>
                        </a:srgbClr>
                      </a:solidFill>
                      <a:prstDash val="solid"/>
                      <a:round/>
                      <a:headEnd type="none" w="med" len="med"/>
                      <a:tailEnd type="none" w="med" len="med"/>
                    </a:lnT>
                    <a:lnB w="3175"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9063" indent="-119063">
                        <a:buFont typeface="Arial" pitchFamily="34" charset="0"/>
                        <a:buChar char="•"/>
                      </a:pPr>
                      <a:r>
                        <a:rPr lang="en-AU" sz="1200" dirty="0">
                          <a:latin typeface="+mn-lt"/>
                        </a:rPr>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lumMod val="85000"/>
                        </a:srgbClr>
                      </a:solidFill>
                      <a:prstDash val="solid"/>
                      <a:round/>
                      <a:headEnd type="none" w="med" len="med"/>
                      <a:tailEnd type="none" w="med" len="med"/>
                    </a:lnT>
                    <a:lnB w="3175"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43347">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9063" indent="-119063">
                        <a:buFont typeface="Arial" pitchFamily="34" charset="0"/>
                        <a:buChar char="•"/>
                      </a:pPr>
                      <a:r>
                        <a:rPr lang="en-AU" sz="1200" dirty="0">
                          <a:latin typeface="+mn-lt"/>
                        </a:rPr>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lumMod val="85000"/>
                        </a:srgbClr>
                      </a:solidFill>
                      <a:prstDash val="solid"/>
                      <a:round/>
                      <a:headEnd type="none" w="med" len="med"/>
                      <a:tailEnd type="none" w="med" len="med"/>
                    </a:lnT>
                    <a:lnB w="3175"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9063" indent="-119063">
                        <a:buFont typeface="Arial" pitchFamily="34" charset="0"/>
                        <a:buChar char="•"/>
                      </a:pPr>
                      <a:r>
                        <a:rPr lang="en-AU" sz="1200" dirty="0">
                          <a:latin typeface="+mn-lt"/>
                        </a:rPr>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lumMod val="85000"/>
                        </a:srgbClr>
                      </a:solidFill>
                      <a:prstDash val="solid"/>
                      <a:round/>
                      <a:headEnd type="none" w="med" len="med"/>
                      <a:tailEnd type="none" w="med" len="med"/>
                    </a:lnT>
                    <a:lnB w="3175"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43347">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9063" indent="-119063">
                        <a:buFont typeface="Arial" pitchFamily="34" charset="0"/>
                        <a:buChar char="•"/>
                      </a:pPr>
                      <a:r>
                        <a:rPr lang="en-AU" sz="1200" dirty="0">
                          <a:latin typeface="+mn-lt"/>
                        </a:rPr>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lumMod val="85000"/>
                        </a:srgbClr>
                      </a:solidFill>
                      <a:prstDash val="solid"/>
                      <a:round/>
                      <a:headEnd type="none" w="med" len="med"/>
                      <a:tailEnd type="none" w="med" len="med"/>
                    </a:lnT>
                    <a:lnB w="3175"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9063" indent="-119063">
                        <a:buFont typeface="Arial" pitchFamily="34" charset="0"/>
                        <a:buChar char="•"/>
                      </a:pPr>
                      <a:r>
                        <a:rPr lang="en-AU" sz="1200" dirty="0">
                          <a:latin typeface="+mn-lt"/>
                        </a:rPr>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lumMod val="85000"/>
                        </a:srgbClr>
                      </a:solidFill>
                      <a:prstDash val="solid"/>
                      <a:round/>
                      <a:headEnd type="none" w="med" len="med"/>
                      <a:tailEnd type="none" w="med" len="med"/>
                    </a:lnT>
                    <a:lnB w="3175"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643347">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9063" indent="-119063">
                        <a:buFont typeface="Arial" pitchFamily="34" charset="0"/>
                        <a:buChar char="•"/>
                      </a:pPr>
                      <a:r>
                        <a:rPr lang="en-AU" sz="1200" dirty="0">
                          <a:latin typeface="+mn-lt"/>
                        </a:rPr>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lumMod val="85000"/>
                        </a:srgbClr>
                      </a:solidFill>
                      <a:prstDash val="solid"/>
                      <a:round/>
                      <a:headEnd type="none" w="med" len="med"/>
                      <a:tailEnd type="none" w="med" len="med"/>
                    </a:lnT>
                    <a:lnB w="3175"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9063" indent="-119063">
                        <a:buFont typeface="Arial" pitchFamily="34" charset="0"/>
                        <a:buChar char="•"/>
                      </a:pPr>
                      <a:r>
                        <a:rPr lang="en-AU" sz="1200" dirty="0">
                          <a:latin typeface="+mn-lt"/>
                        </a:rPr>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lumMod val="85000"/>
                        </a:srgbClr>
                      </a:solidFill>
                      <a:prstDash val="solid"/>
                      <a:round/>
                      <a:headEnd type="none" w="med" len="med"/>
                      <a:tailEnd type="none" w="med" len="med"/>
                    </a:lnT>
                    <a:lnB w="3175"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643347">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9063" indent="-119063">
                        <a:buFont typeface="Arial" pitchFamily="34" charset="0"/>
                        <a:buChar char="•"/>
                      </a:pPr>
                      <a:r>
                        <a:rPr lang="en-AU" sz="1200" dirty="0">
                          <a:latin typeface="+mn-lt"/>
                        </a:rPr>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lumMod val="85000"/>
                        </a:srgbClr>
                      </a:solidFill>
                      <a:prstDash val="solid"/>
                      <a:round/>
                      <a:headEnd type="none" w="med" len="med"/>
                      <a:tailEnd type="none" w="med" len="med"/>
                    </a:lnT>
                    <a:lnB w="3175"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9063" indent="-119063">
                        <a:buFont typeface="Arial" pitchFamily="34" charset="0"/>
                        <a:buChar char="•"/>
                      </a:pPr>
                      <a:r>
                        <a:rPr lang="en-AU" sz="1200" dirty="0">
                          <a:latin typeface="+mn-lt"/>
                        </a:rPr>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lumMod val="85000"/>
                        </a:srgbClr>
                      </a:solidFill>
                      <a:prstDash val="solid"/>
                      <a:round/>
                      <a:headEnd type="none" w="med" len="med"/>
                      <a:tailEnd type="none" w="med" len="med"/>
                    </a:lnT>
                    <a:lnB w="3175"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643347">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9063" indent="-119063">
                        <a:buFont typeface="Arial" pitchFamily="34" charset="0"/>
                        <a:buChar char="•"/>
                      </a:pPr>
                      <a:r>
                        <a:rPr lang="en-AU" sz="1200" dirty="0">
                          <a:latin typeface="+mn-lt"/>
                        </a:rPr>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lumMod val="85000"/>
                        </a:srgb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9063" indent="-119063">
                        <a:buFont typeface="Arial" pitchFamily="34" charset="0"/>
                        <a:buChar char="•"/>
                      </a:pPr>
                      <a:r>
                        <a:rPr lang="en-AU" sz="1200" dirty="0">
                          <a:latin typeface="+mn-lt"/>
                        </a:rPr>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lumMod val="85000"/>
                        </a:srgb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bl>
          </a:graphicData>
        </a:graphic>
      </p:graphicFrame>
      <p:sp>
        <p:nvSpPr>
          <p:cNvPr id="3" name="Footer Placeholder 2">
            <a:extLst>
              <a:ext uri="{FF2B5EF4-FFF2-40B4-BE49-F238E27FC236}">
                <a16:creationId xmlns:a16="http://schemas.microsoft.com/office/drawing/2014/main" id="{84AFE381-86C0-4367-B264-6DFA818EC32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5" name="Slide Number Placeholder 14">
            <a:extLst>
              <a:ext uri="{FF2B5EF4-FFF2-40B4-BE49-F238E27FC236}">
                <a16:creationId xmlns:a16="http://schemas.microsoft.com/office/drawing/2014/main" id="{95036574-AA0F-4710-8CB8-F50865FC0B90}"/>
              </a:ext>
            </a:extLst>
          </p:cNvPr>
          <p:cNvSpPr>
            <a:spLocks noGrp="1"/>
          </p:cNvSpPr>
          <p:nvPr>
            <p:ph type="sldNum" sz="quarter" idx="10"/>
          </p:nvPr>
        </p:nvSpPr>
        <p:spPr/>
        <p:txBody>
          <a:bodyPr/>
          <a:lstStyle/>
          <a:p>
            <a:fld id="{1F90F471-3972-4120-B8B3-0237DE626C35}" type="slidenum">
              <a:rPr lang="en-US" smtClean="0"/>
              <a:pPr/>
              <a:t>402</a:t>
            </a:fld>
            <a:endParaRPr lang="en-US" dirty="0"/>
          </a:p>
        </p:txBody>
      </p:sp>
    </p:spTree>
    <p:extLst>
      <p:ext uri="{BB962C8B-B14F-4D97-AF65-F5344CB8AC3E}">
        <p14:creationId xmlns:p14="http://schemas.microsoft.com/office/powerpoint/2010/main" val="3544034571"/>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AU" dirty="0"/>
              <a:t>&lt;List names, roles and key experience of </a:t>
            </a:r>
            <a:br>
              <a:rPr lang="en-AU" dirty="0"/>
            </a:br>
            <a:r>
              <a:rPr lang="en-AU" dirty="0"/>
              <a:t>team members&gt;</a:t>
            </a:r>
            <a:endParaRPr lang="en-US" dirty="0"/>
          </a:p>
        </p:txBody>
      </p:sp>
      <p:graphicFrame>
        <p:nvGraphicFramePr>
          <p:cNvPr id="6" name="Content Placeholder 4">
            <a:extLst>
              <a:ext uri="{FF2B5EF4-FFF2-40B4-BE49-F238E27FC236}">
                <a16:creationId xmlns:a16="http://schemas.microsoft.com/office/drawing/2014/main" id="{21525619-382A-4BAF-AF27-8F06D4569A87}"/>
              </a:ext>
            </a:extLst>
          </p:cNvPr>
          <p:cNvGraphicFramePr>
            <a:graphicFrameLocks/>
          </p:cNvGraphicFramePr>
          <p:nvPr>
            <p:extLst>
              <p:ext uri="{D42A27DB-BD31-4B8C-83A1-F6EECF244321}">
                <p14:modId xmlns:p14="http://schemas.microsoft.com/office/powerpoint/2010/main" val="2069598700"/>
              </p:ext>
            </p:extLst>
          </p:nvPr>
        </p:nvGraphicFramePr>
        <p:xfrm>
          <a:off x="345017" y="1289275"/>
          <a:ext cx="11599333" cy="4715678"/>
        </p:xfrm>
        <a:graphic>
          <a:graphicData uri="http://schemas.openxmlformats.org/drawingml/2006/table">
            <a:tbl>
              <a:tblPr firstRow="1"/>
              <a:tblGrid>
                <a:gridCol w="1347374">
                  <a:extLst>
                    <a:ext uri="{9D8B030D-6E8A-4147-A177-3AD203B41FA5}">
                      <a16:colId xmlns:a16="http://schemas.microsoft.com/office/drawing/2014/main" val="20000"/>
                    </a:ext>
                  </a:extLst>
                </a:gridCol>
                <a:gridCol w="1276949">
                  <a:extLst>
                    <a:ext uri="{9D8B030D-6E8A-4147-A177-3AD203B41FA5}">
                      <a16:colId xmlns:a16="http://schemas.microsoft.com/office/drawing/2014/main" val="20001"/>
                    </a:ext>
                  </a:extLst>
                </a:gridCol>
                <a:gridCol w="1499241">
                  <a:extLst>
                    <a:ext uri="{9D8B030D-6E8A-4147-A177-3AD203B41FA5}">
                      <a16:colId xmlns:a16="http://schemas.microsoft.com/office/drawing/2014/main" val="20002"/>
                    </a:ext>
                  </a:extLst>
                </a:gridCol>
                <a:gridCol w="7475769">
                  <a:extLst>
                    <a:ext uri="{9D8B030D-6E8A-4147-A177-3AD203B41FA5}">
                      <a16:colId xmlns:a16="http://schemas.microsoft.com/office/drawing/2014/main" val="20003"/>
                    </a:ext>
                  </a:extLst>
                </a:gridCol>
              </a:tblGrid>
              <a:tr h="334651">
                <a:tc gridSpan="2">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GB" sz="1200" dirty="0">
                          <a:solidFill>
                            <a:schemeClr val="tx1"/>
                          </a:solidFill>
                          <a:latin typeface="+mj-lt"/>
                        </a:rPr>
                        <a:t>Name</a:t>
                      </a:r>
                      <a:endParaRPr lang="en-GB" sz="1200" b="1" dirty="0">
                        <a:solidFill>
                          <a:schemeClr val="tx1"/>
                        </a:solidFill>
                        <a:latin typeface="+mj-lt"/>
                      </a:endParaRPr>
                    </a:p>
                  </a:txBody>
                  <a:tcPr marR="33231" marT="91440">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12700" cmpd="sng">
                      <a:solidFill>
                        <a:srgbClr val="FFFFFF"/>
                      </a:solidFill>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200" dirty="0">
                        <a:solidFill>
                          <a:schemeClr val="bg1"/>
                        </a:solidFill>
                      </a:endParaRPr>
                    </a:p>
                  </a:txBody>
                  <a:tcPr marL="36000" marR="36000" anchor="ctr">
                    <a:solidFill>
                      <a:srgbClr val="CC660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GB" sz="1200" dirty="0">
                          <a:solidFill>
                            <a:schemeClr val="tx1"/>
                          </a:solidFill>
                          <a:latin typeface="+mj-lt"/>
                        </a:rPr>
                        <a:t>Role</a:t>
                      </a:r>
                      <a:endParaRPr lang="en-GB" sz="1200" b="1" dirty="0">
                        <a:solidFill>
                          <a:schemeClr val="tx1"/>
                        </a:solidFill>
                        <a:latin typeface="+mj-lt"/>
                      </a:endParaRPr>
                    </a:p>
                  </a:txBody>
                  <a:tcPr marR="33231" marT="91440">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12700" cmpd="sng">
                      <a:solidFill>
                        <a:srgbClr val="FFFFFF"/>
                      </a:solidFill>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GB" sz="1200" dirty="0">
                          <a:solidFill>
                            <a:schemeClr val="tx1"/>
                          </a:solidFill>
                          <a:latin typeface="+mj-lt"/>
                        </a:rPr>
                        <a:t>Experience</a:t>
                      </a:r>
                      <a:endParaRPr lang="en-GB" sz="1200" b="1" dirty="0">
                        <a:solidFill>
                          <a:schemeClr val="tx1"/>
                        </a:solidFill>
                        <a:latin typeface="+mj-lt"/>
                      </a:endParaRPr>
                    </a:p>
                  </a:txBody>
                  <a:tcPr marR="33231" marT="91440">
                    <a:lnL w="12700" cap="flat" cmpd="sng" algn="ctr">
                      <a:solidFill>
                        <a:srgbClr val="96968C">
                          <a:lumMod val="60000"/>
                          <a:lumOff val="40000"/>
                        </a:srgbClr>
                      </a:solidFill>
                      <a:prstDash val="sysDot"/>
                      <a:round/>
                      <a:headEnd type="none" w="med" len="med"/>
                      <a:tailEnd type="none" w="med" len="med"/>
                    </a:lnL>
                    <a:lnR w="12700" cmpd="sng">
                      <a:solidFill>
                        <a:srgbClr val="FFFFFF"/>
                      </a:solidFill>
                    </a:lnR>
                    <a:lnT w="12700" cmpd="sng">
                      <a:solidFill>
                        <a:srgbClr val="FFFFFF"/>
                      </a:solidFill>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84303">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lang="en-AU" sz="1200" dirty="0">
                          <a:solidFill>
                            <a:schemeClr val="tx1"/>
                          </a:solidFill>
                          <a:latin typeface="+mn-lt"/>
                        </a:rPr>
                        <a:t> Name 1</a:t>
                      </a:r>
                      <a:endParaRPr lang="en-GB" sz="1200" dirty="0">
                        <a:solidFill>
                          <a:schemeClr val="tx1"/>
                        </a:solidFill>
                        <a:latin typeface="+mn-lt"/>
                        <a:ea typeface="Times New Roman"/>
                        <a:cs typeface="Times New Roman"/>
                      </a:endParaRPr>
                    </a:p>
                  </a:txBody>
                  <a:tcPr marR="33231" marT="91440">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12700" cap="flat" cmpd="sng" algn="ctr">
                      <a:solidFill>
                        <a:srgbClr val="96968C">
                          <a:lumMod val="60000"/>
                          <a:lumOff val="40000"/>
                        </a:srgbClr>
                      </a:solidFill>
                      <a:prstDash val="sysDot"/>
                      <a:round/>
                      <a:headEnd type="none" w="med" len="med"/>
                      <a:tailEnd type="none" w="med" len="med"/>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3175" marR="0" lvl="0" indent="-3175" algn="l" defTabSz="914400" rtl="0" eaLnBrk="1" fontAlgn="auto" latinLnBrk="0" hangingPunct="1">
                        <a:lnSpc>
                          <a:spcPct val="100000"/>
                        </a:lnSpc>
                        <a:spcBef>
                          <a:spcPts val="400"/>
                        </a:spcBef>
                        <a:spcAft>
                          <a:spcPts val="0"/>
                        </a:spcAft>
                        <a:buClrTx/>
                        <a:buSzTx/>
                        <a:buFontTx/>
                        <a:buNone/>
                        <a:tabLst/>
                        <a:defRPr/>
                      </a:pPr>
                      <a:endParaRPr lang="en-GB" sz="1200" dirty="0">
                        <a:solidFill>
                          <a:schemeClr val="tx1"/>
                        </a:solidFill>
                        <a:latin typeface="+mn-lt"/>
                        <a:ea typeface="Times New Roman"/>
                        <a:cs typeface="Times New Roman"/>
                      </a:endParaRPr>
                    </a:p>
                  </a:txBody>
                  <a:tcPr marR="33231" marT="91440">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12700" cap="flat" cmpd="sng" algn="ctr">
                      <a:solidFill>
                        <a:srgbClr val="96968C">
                          <a:lumMod val="60000"/>
                          <a:lumOff val="40000"/>
                        </a:srgbClr>
                      </a:solidFill>
                      <a:prstDash val="sysDot"/>
                      <a:round/>
                      <a:headEnd type="none" w="med" len="med"/>
                      <a:tailEnd type="none" w="med" len="med"/>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3175" marR="0" indent="-3175" algn="l">
                        <a:lnSpc>
                          <a:spcPct val="100000"/>
                        </a:lnSpc>
                        <a:spcBef>
                          <a:spcPts val="400"/>
                        </a:spcBef>
                        <a:spcAft>
                          <a:spcPts val="0"/>
                        </a:spcAft>
                        <a:buFontTx/>
                        <a:buNone/>
                      </a:pPr>
                      <a:r>
                        <a:rPr lang="en-GB" sz="1200" kern="1200" dirty="0">
                          <a:solidFill>
                            <a:schemeClr val="tx1"/>
                          </a:solidFill>
                          <a:latin typeface="+mn-lt"/>
                        </a:rPr>
                        <a:t>Project Director</a:t>
                      </a:r>
                      <a:endParaRPr lang="en-GB" sz="1200" kern="1200" dirty="0">
                        <a:solidFill>
                          <a:schemeClr val="tx1"/>
                        </a:solidFill>
                        <a:latin typeface="+mn-lt"/>
                        <a:ea typeface="MS Mincho"/>
                        <a:cs typeface="Times New Roman"/>
                      </a:endParaRPr>
                    </a:p>
                  </a:txBody>
                  <a:tcPr marR="33231" marT="91440">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12700" cap="flat" cmpd="sng" algn="ctr">
                      <a:solidFill>
                        <a:srgbClr val="96968C">
                          <a:lumMod val="60000"/>
                          <a:lumOff val="40000"/>
                        </a:srgbClr>
                      </a:solidFill>
                      <a:prstDash val="sysDot"/>
                      <a:round/>
                      <a:headEnd type="none" w="med" len="med"/>
                      <a:tailEnd type="none" w="med" len="med"/>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9063" indent="-119063" algn="l">
                        <a:lnSpc>
                          <a:spcPct val="100000"/>
                        </a:lnSpc>
                        <a:buFont typeface="Arial" pitchFamily="34" charset="0"/>
                        <a:buChar char="•"/>
                      </a:pPr>
                      <a:r>
                        <a:rPr lang="en-AU" sz="1200" dirty="0">
                          <a:solidFill>
                            <a:schemeClr val="tx1"/>
                          </a:solidFill>
                          <a:latin typeface="+mn-lt"/>
                        </a:rPr>
                        <a:t>&lt;In addition</a:t>
                      </a:r>
                      <a:r>
                        <a:rPr lang="en-AU" sz="1200" baseline="0" dirty="0">
                          <a:solidFill>
                            <a:schemeClr val="tx1"/>
                          </a:solidFill>
                          <a:latin typeface="+mn-lt"/>
                        </a:rPr>
                        <a:t> to listing relevant experience, h</a:t>
                      </a:r>
                      <a:r>
                        <a:rPr lang="en-AU" sz="1200" dirty="0">
                          <a:solidFill>
                            <a:schemeClr val="tx1"/>
                          </a:solidFill>
                          <a:latin typeface="+mn-lt"/>
                        </a:rPr>
                        <a:t>ighlight outcomes and tangible</a:t>
                      </a:r>
                      <a:r>
                        <a:rPr lang="en-AU" sz="1200" baseline="0" dirty="0">
                          <a:solidFill>
                            <a:schemeClr val="tx1"/>
                          </a:solidFill>
                          <a:latin typeface="+mn-lt"/>
                        </a:rPr>
                        <a:t> value delivered to clients&gt;</a:t>
                      </a:r>
                      <a:endParaRPr lang="en-US" sz="1200" dirty="0">
                        <a:solidFill>
                          <a:schemeClr val="tx1"/>
                        </a:solidFill>
                        <a:latin typeface="+mn-lt"/>
                      </a:endParaRPr>
                    </a:p>
                  </a:txBody>
                  <a:tcPr marR="33231" marT="91440" marB="36000">
                    <a:lnL w="12700" cap="flat" cmpd="sng" algn="ctr">
                      <a:solidFill>
                        <a:srgbClr val="96968C">
                          <a:lumMod val="60000"/>
                          <a:lumOff val="40000"/>
                        </a:srgbClr>
                      </a:solidFill>
                      <a:prstDash val="sysDot"/>
                      <a:round/>
                      <a:headEnd type="none" w="med" len="med"/>
                      <a:tailEnd type="none" w="med" len="med"/>
                    </a:lnL>
                    <a:lnR w="12700" cmpd="sng">
                      <a:solidFill>
                        <a:srgbClr val="FFFFFF"/>
                      </a:solidFill>
                    </a:lnR>
                    <a:lnT w="12700" cap="flat" cmpd="sng" algn="ctr">
                      <a:solidFill>
                        <a:srgbClr val="96968C">
                          <a:lumMod val="60000"/>
                          <a:lumOff val="40000"/>
                        </a:srgbClr>
                      </a:solidFill>
                      <a:prstDash val="sysDot"/>
                      <a:round/>
                      <a:headEnd type="none" w="med" len="med"/>
                      <a:tailEnd type="none" w="med" len="med"/>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25235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lang="en-AU" sz="1200" dirty="0">
                          <a:solidFill>
                            <a:schemeClr val="tx1"/>
                          </a:solidFill>
                          <a:latin typeface="+mn-lt"/>
                        </a:rPr>
                        <a:t>Name 2</a:t>
                      </a:r>
                      <a:endParaRPr lang="en-GB" sz="1200" kern="1200" dirty="0">
                        <a:solidFill>
                          <a:schemeClr val="tx1"/>
                        </a:solidFill>
                        <a:latin typeface="+mn-lt"/>
                        <a:ea typeface="Times New Roman"/>
                        <a:cs typeface="Times New Roman"/>
                      </a:endParaRPr>
                    </a:p>
                  </a:txBody>
                  <a:tcPr marR="33231" marT="91440">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12700" cap="flat" cmpd="sng" algn="ctr">
                      <a:solidFill>
                        <a:srgbClr val="96968C">
                          <a:lumMod val="60000"/>
                          <a:lumOff val="40000"/>
                        </a:srgbClr>
                      </a:solidFill>
                      <a:prstDash val="sysDot"/>
                      <a:round/>
                      <a:headEnd type="none" w="med" len="med"/>
                      <a:tailEnd type="none" w="med" len="med"/>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3175" marR="0" lvl="0" indent="-3175" algn="l" defTabSz="914400" rtl="0" eaLnBrk="1" fontAlgn="auto" latinLnBrk="0" hangingPunct="1">
                        <a:lnSpc>
                          <a:spcPct val="100000"/>
                        </a:lnSpc>
                        <a:spcBef>
                          <a:spcPts val="400"/>
                        </a:spcBef>
                        <a:spcAft>
                          <a:spcPts val="0"/>
                        </a:spcAft>
                        <a:buClrTx/>
                        <a:buSzTx/>
                        <a:buFontTx/>
                        <a:buNone/>
                        <a:tabLst/>
                        <a:defRPr/>
                      </a:pPr>
                      <a:endParaRPr lang="en-GB" sz="1200" kern="1200" dirty="0">
                        <a:solidFill>
                          <a:schemeClr val="tx1"/>
                        </a:solidFill>
                        <a:latin typeface="+mn-lt"/>
                        <a:ea typeface="Times New Roman"/>
                        <a:cs typeface="Times New Roman"/>
                      </a:endParaRPr>
                    </a:p>
                  </a:txBody>
                  <a:tcPr marR="33231" marT="91440">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12700" cap="flat" cmpd="sng" algn="ctr">
                      <a:solidFill>
                        <a:srgbClr val="96968C">
                          <a:lumMod val="60000"/>
                          <a:lumOff val="40000"/>
                        </a:srgbClr>
                      </a:solidFill>
                      <a:prstDash val="sysDot"/>
                      <a:round/>
                      <a:headEnd type="none" w="med" len="med"/>
                      <a:tailEnd type="none" w="med" len="med"/>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3175" marR="0" indent="-3175" algn="l" defTabSz="914400" rtl="0" eaLnBrk="1" latinLnBrk="0" hangingPunct="1">
                        <a:lnSpc>
                          <a:spcPct val="100000"/>
                        </a:lnSpc>
                        <a:spcBef>
                          <a:spcPts val="400"/>
                        </a:spcBef>
                        <a:spcAft>
                          <a:spcPts val="0"/>
                        </a:spcAft>
                        <a:buFontTx/>
                        <a:buNone/>
                      </a:pPr>
                      <a:r>
                        <a:rPr lang="en-GB" sz="1200" kern="1200" dirty="0">
                          <a:solidFill>
                            <a:schemeClr val="tx1"/>
                          </a:solidFill>
                          <a:latin typeface="+mn-lt"/>
                        </a:rPr>
                        <a:t>Project</a:t>
                      </a:r>
                      <a:r>
                        <a:rPr lang="en-GB" sz="1200" kern="1200" baseline="0" dirty="0">
                          <a:solidFill>
                            <a:schemeClr val="tx1"/>
                          </a:solidFill>
                          <a:latin typeface="+mn-lt"/>
                        </a:rPr>
                        <a:t> Manager</a:t>
                      </a:r>
                      <a:endParaRPr lang="en-GB" sz="1200" kern="1200" dirty="0">
                        <a:solidFill>
                          <a:schemeClr val="tx1"/>
                        </a:solidFill>
                        <a:latin typeface="+mn-lt"/>
                        <a:ea typeface="MS Mincho"/>
                        <a:cs typeface="Times New Roman"/>
                      </a:endParaRPr>
                    </a:p>
                  </a:txBody>
                  <a:tcPr marR="33231" marT="91440">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12700" cap="flat" cmpd="sng" algn="ctr">
                      <a:solidFill>
                        <a:srgbClr val="96968C">
                          <a:lumMod val="60000"/>
                          <a:lumOff val="40000"/>
                        </a:srgbClr>
                      </a:solidFill>
                      <a:prstDash val="sysDot"/>
                      <a:round/>
                      <a:headEnd type="none" w="med" len="med"/>
                      <a:tailEnd type="none" w="med" len="med"/>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9063" indent="-119063" algn="l" defTabSz="914400" rtl="0" eaLnBrk="1" latinLnBrk="0" hangingPunct="1">
                        <a:lnSpc>
                          <a:spcPct val="100000"/>
                        </a:lnSpc>
                        <a:buFont typeface="Arial" pitchFamily="34" charset="0"/>
                        <a:buChar char="•"/>
                      </a:pPr>
                      <a:r>
                        <a:rPr lang="en-AU" sz="1200" kern="1200" dirty="0">
                          <a:solidFill>
                            <a:schemeClr val="tx1"/>
                          </a:solidFill>
                          <a:latin typeface="+mn-lt"/>
                          <a:ea typeface="+mn-ea"/>
                          <a:cs typeface="+mn-cs"/>
                        </a:rPr>
                        <a:t>&lt;In addition to listing relevant experience, highlight outcomes and tangible value delivered to clients&gt;</a:t>
                      </a:r>
                      <a:endParaRPr lang="en-US" sz="1200" kern="1200" dirty="0">
                        <a:solidFill>
                          <a:schemeClr val="tx1"/>
                        </a:solidFill>
                        <a:latin typeface="+mn-lt"/>
                        <a:ea typeface="+mn-ea"/>
                        <a:cs typeface="+mn-cs"/>
                      </a:endParaRPr>
                    </a:p>
                  </a:txBody>
                  <a:tcPr marR="33231" marT="91440" marB="36000">
                    <a:lnL w="12700" cap="flat" cmpd="sng" algn="ctr">
                      <a:solidFill>
                        <a:srgbClr val="96968C">
                          <a:lumMod val="60000"/>
                          <a:lumOff val="40000"/>
                        </a:srgbClr>
                      </a:solidFill>
                      <a:prstDash val="sysDot"/>
                      <a:round/>
                      <a:headEnd type="none" w="med" len="med"/>
                      <a:tailEnd type="none" w="med" len="med"/>
                    </a:lnL>
                    <a:lnR w="12700" cmpd="sng">
                      <a:solidFill>
                        <a:srgbClr val="FFFFFF"/>
                      </a:solidFill>
                    </a:lnR>
                    <a:lnT w="12700" cap="flat" cmpd="sng" algn="ctr">
                      <a:solidFill>
                        <a:srgbClr val="96968C">
                          <a:lumMod val="60000"/>
                          <a:lumOff val="40000"/>
                        </a:srgbClr>
                      </a:solidFill>
                      <a:prstDash val="sysDot"/>
                      <a:round/>
                      <a:headEnd type="none" w="med" len="med"/>
                      <a:tailEnd type="none" w="med" len="med"/>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984303">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lang="en-AU" sz="1200" dirty="0">
                          <a:solidFill>
                            <a:schemeClr val="tx1"/>
                          </a:solidFill>
                          <a:latin typeface="+mn-lt"/>
                        </a:rPr>
                        <a:t>Name 3</a:t>
                      </a:r>
                      <a:endParaRPr lang="en-US" altLang="zh-TW" sz="1200" i="0" dirty="0">
                        <a:solidFill>
                          <a:schemeClr val="tx1"/>
                        </a:solidFill>
                        <a:latin typeface="+mn-lt"/>
                        <a:ea typeface="宋体" pitchFamily="2" charset="-122"/>
                        <a:cs typeface="Tahoma" pitchFamily="34" charset="0"/>
                      </a:endParaRPr>
                    </a:p>
                  </a:txBody>
                  <a:tcPr marR="33231" marT="91440">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12700" cap="flat" cmpd="sng" algn="ctr">
                      <a:solidFill>
                        <a:srgbClr val="96968C">
                          <a:lumMod val="60000"/>
                          <a:lumOff val="40000"/>
                        </a:srgbClr>
                      </a:solidFill>
                      <a:prstDash val="sysDot"/>
                      <a:round/>
                      <a:headEnd type="none" w="med" len="med"/>
                      <a:tailEnd type="none" w="med" len="med"/>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3175" marR="0" lvl="0" indent="-3175" algn="l" defTabSz="914400" rtl="0" eaLnBrk="1" fontAlgn="auto" latinLnBrk="0" hangingPunct="1">
                        <a:lnSpc>
                          <a:spcPct val="100000"/>
                        </a:lnSpc>
                        <a:spcBef>
                          <a:spcPts val="400"/>
                        </a:spcBef>
                        <a:spcAft>
                          <a:spcPts val="0"/>
                        </a:spcAft>
                        <a:buClrTx/>
                        <a:buSzTx/>
                        <a:buFontTx/>
                        <a:buNone/>
                        <a:tabLst/>
                        <a:defRPr/>
                      </a:pPr>
                      <a:endParaRPr lang="en-GB" sz="1200" dirty="0">
                        <a:solidFill>
                          <a:schemeClr val="tx1"/>
                        </a:solidFill>
                        <a:latin typeface="+mn-lt"/>
                        <a:ea typeface="Times New Roman"/>
                        <a:cs typeface="Times New Roman"/>
                      </a:endParaRPr>
                    </a:p>
                  </a:txBody>
                  <a:tcPr marR="33231" marT="91440">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12700" cap="flat" cmpd="sng" algn="ctr">
                      <a:solidFill>
                        <a:srgbClr val="96968C">
                          <a:lumMod val="60000"/>
                          <a:lumOff val="40000"/>
                        </a:srgbClr>
                      </a:solidFill>
                      <a:prstDash val="sysDot"/>
                      <a:round/>
                      <a:headEnd type="none" w="med" len="med"/>
                      <a:tailEnd type="none" w="med" len="med"/>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3175" marR="0" indent="-3175" algn="l" defTabSz="914400" rtl="0" eaLnBrk="1" fontAlgn="auto" latinLnBrk="0" hangingPunct="1">
                        <a:lnSpc>
                          <a:spcPct val="100000"/>
                        </a:lnSpc>
                        <a:spcBef>
                          <a:spcPts val="400"/>
                        </a:spcBef>
                        <a:spcAft>
                          <a:spcPts val="0"/>
                        </a:spcAft>
                        <a:buClrTx/>
                        <a:buSzTx/>
                        <a:buFontTx/>
                        <a:buNone/>
                        <a:tabLst/>
                        <a:defRPr/>
                      </a:pPr>
                      <a:r>
                        <a:rPr lang="en-GB" sz="1200" kern="1200" dirty="0">
                          <a:solidFill>
                            <a:schemeClr val="tx1"/>
                          </a:solidFill>
                          <a:latin typeface="+mn-lt"/>
                        </a:rPr>
                        <a:t>Workstream</a:t>
                      </a:r>
                      <a:r>
                        <a:rPr lang="en-GB" sz="1200" kern="1200" baseline="0" dirty="0">
                          <a:solidFill>
                            <a:schemeClr val="tx1"/>
                          </a:solidFill>
                          <a:latin typeface="+mn-lt"/>
                        </a:rPr>
                        <a:t> Lead</a:t>
                      </a:r>
                      <a:r>
                        <a:rPr lang="en-GB" sz="1200" kern="1200" dirty="0">
                          <a:solidFill>
                            <a:schemeClr val="tx1"/>
                          </a:solidFill>
                          <a:latin typeface="+mn-lt"/>
                        </a:rPr>
                        <a:t> </a:t>
                      </a:r>
                      <a:endParaRPr lang="en-GB" sz="1200" kern="1200" dirty="0">
                        <a:solidFill>
                          <a:schemeClr val="tx1"/>
                        </a:solidFill>
                        <a:latin typeface="+mn-lt"/>
                        <a:ea typeface="MS Mincho"/>
                        <a:cs typeface="Times New Roman"/>
                      </a:endParaRPr>
                    </a:p>
                  </a:txBody>
                  <a:tcPr marR="33231" marT="91440">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12700" cap="flat" cmpd="sng" algn="ctr">
                      <a:solidFill>
                        <a:srgbClr val="96968C">
                          <a:lumMod val="60000"/>
                          <a:lumOff val="40000"/>
                        </a:srgbClr>
                      </a:solidFill>
                      <a:prstDash val="sysDot"/>
                      <a:round/>
                      <a:headEnd type="none" w="med" len="med"/>
                      <a:tailEnd type="none" w="med" len="med"/>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9063" indent="-119063" algn="l" defTabSz="914400" rtl="0" eaLnBrk="1" latinLnBrk="0" hangingPunct="1">
                        <a:lnSpc>
                          <a:spcPct val="100000"/>
                        </a:lnSpc>
                        <a:buFont typeface="Arial" pitchFamily="34" charset="0"/>
                        <a:buChar char="•"/>
                      </a:pPr>
                      <a:r>
                        <a:rPr lang="en-AU" sz="1200" kern="1200" dirty="0">
                          <a:solidFill>
                            <a:schemeClr val="tx1"/>
                          </a:solidFill>
                          <a:latin typeface="+mn-lt"/>
                          <a:ea typeface="+mn-ea"/>
                          <a:cs typeface="+mn-cs"/>
                        </a:rPr>
                        <a:t>&lt;In addition to listing relevant experience, highlight outcomes and tangible value delivered to clients&gt;</a:t>
                      </a:r>
                      <a:endParaRPr lang="en-US" sz="1200" kern="1200" dirty="0">
                        <a:solidFill>
                          <a:schemeClr val="tx1"/>
                        </a:solidFill>
                        <a:latin typeface="+mn-lt"/>
                        <a:ea typeface="+mn-ea"/>
                        <a:cs typeface="+mn-cs"/>
                      </a:endParaRPr>
                    </a:p>
                  </a:txBody>
                  <a:tcPr marR="33231" marT="91440" marB="36000">
                    <a:lnL w="12700" cap="flat" cmpd="sng" algn="ctr">
                      <a:solidFill>
                        <a:srgbClr val="96968C">
                          <a:lumMod val="60000"/>
                          <a:lumOff val="40000"/>
                        </a:srgbClr>
                      </a:solidFill>
                      <a:prstDash val="sysDot"/>
                      <a:round/>
                      <a:headEnd type="none" w="med" len="med"/>
                      <a:tailEnd type="none" w="med" len="med"/>
                    </a:lnL>
                    <a:lnR w="12700" cmpd="sng">
                      <a:solidFill>
                        <a:srgbClr val="FFFFFF"/>
                      </a:solidFill>
                    </a:lnR>
                    <a:lnT w="12700" cap="flat" cmpd="sng" algn="ctr">
                      <a:solidFill>
                        <a:srgbClr val="96968C">
                          <a:lumMod val="60000"/>
                          <a:lumOff val="40000"/>
                        </a:srgbClr>
                      </a:solidFill>
                      <a:prstDash val="sysDot"/>
                      <a:round/>
                      <a:headEnd type="none" w="med" len="med"/>
                      <a:tailEnd type="none" w="med" len="med"/>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16007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lang="en-AU" sz="1200" dirty="0">
                          <a:solidFill>
                            <a:schemeClr val="tx1"/>
                          </a:solidFill>
                          <a:latin typeface="+mn-lt"/>
                        </a:rPr>
                        <a:t>Name 4</a:t>
                      </a:r>
                      <a:endParaRPr lang="en-GB" sz="1200" dirty="0">
                        <a:solidFill>
                          <a:schemeClr val="tx1"/>
                        </a:solidFill>
                        <a:latin typeface="+mn-lt"/>
                        <a:ea typeface="Times New Roman"/>
                        <a:cs typeface="Times New Roman"/>
                      </a:endParaRPr>
                    </a:p>
                  </a:txBody>
                  <a:tcPr marR="33231" marT="91440">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12700" cap="flat" cmpd="sng" algn="ctr">
                      <a:solidFill>
                        <a:srgbClr val="96968C">
                          <a:lumMod val="60000"/>
                          <a:lumOff val="40000"/>
                        </a:srgbClr>
                      </a:solidFill>
                      <a:prstDash val="sysDot"/>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3175" marR="0" lvl="0" indent="-3175" algn="l" defTabSz="914400" rtl="0" eaLnBrk="1" fontAlgn="auto" latinLnBrk="0" hangingPunct="1">
                        <a:lnSpc>
                          <a:spcPct val="100000"/>
                        </a:lnSpc>
                        <a:spcBef>
                          <a:spcPts val="400"/>
                        </a:spcBef>
                        <a:spcAft>
                          <a:spcPts val="0"/>
                        </a:spcAft>
                        <a:buClrTx/>
                        <a:buSzTx/>
                        <a:buFontTx/>
                        <a:buNone/>
                        <a:tabLst/>
                        <a:defRPr/>
                      </a:pPr>
                      <a:endParaRPr lang="en-GB" sz="1200" dirty="0">
                        <a:solidFill>
                          <a:schemeClr val="tx1"/>
                        </a:solidFill>
                        <a:latin typeface="+mn-lt"/>
                        <a:ea typeface="Times New Roman"/>
                        <a:cs typeface="Times New Roman"/>
                      </a:endParaRPr>
                    </a:p>
                  </a:txBody>
                  <a:tcPr marR="33231" marT="91440">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12700" cap="flat" cmpd="sng" algn="ctr">
                      <a:solidFill>
                        <a:srgbClr val="96968C">
                          <a:lumMod val="60000"/>
                          <a:lumOff val="40000"/>
                        </a:srgbClr>
                      </a:solidFill>
                      <a:prstDash val="sysDot"/>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3175" marR="0" indent="-3175" algn="l" defTabSz="914400" rtl="0" eaLnBrk="1" fontAlgn="auto" latinLnBrk="0" hangingPunct="1">
                        <a:lnSpc>
                          <a:spcPct val="100000"/>
                        </a:lnSpc>
                        <a:spcBef>
                          <a:spcPts val="400"/>
                        </a:spcBef>
                        <a:spcAft>
                          <a:spcPts val="0"/>
                        </a:spcAft>
                        <a:buClrTx/>
                        <a:buSzTx/>
                        <a:buFontTx/>
                        <a:buNone/>
                        <a:tabLst/>
                        <a:defRPr/>
                      </a:pPr>
                      <a:r>
                        <a:rPr lang="en-GB" sz="1200" dirty="0">
                          <a:solidFill>
                            <a:schemeClr val="tx1"/>
                          </a:solidFill>
                          <a:latin typeface="+mn-lt"/>
                        </a:rPr>
                        <a:t>Consultant</a:t>
                      </a:r>
                    </a:p>
                  </a:txBody>
                  <a:tcPr marR="33231" marT="91440">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12700" cap="flat" cmpd="sng" algn="ctr">
                      <a:solidFill>
                        <a:srgbClr val="96968C">
                          <a:lumMod val="60000"/>
                          <a:lumOff val="40000"/>
                        </a:srgbClr>
                      </a:solidFill>
                      <a:prstDash val="sysDot"/>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9063" indent="-119063" algn="l" defTabSz="914400" rtl="0" eaLnBrk="1" latinLnBrk="0" hangingPunct="1">
                        <a:lnSpc>
                          <a:spcPct val="100000"/>
                        </a:lnSpc>
                        <a:buFont typeface="Arial" pitchFamily="34" charset="0"/>
                        <a:buChar char="•"/>
                      </a:pPr>
                      <a:r>
                        <a:rPr lang="en-AU" sz="1200" kern="1200" dirty="0">
                          <a:solidFill>
                            <a:schemeClr val="tx1"/>
                          </a:solidFill>
                          <a:latin typeface="+mn-lt"/>
                          <a:ea typeface="+mn-ea"/>
                          <a:cs typeface="+mn-cs"/>
                        </a:rPr>
                        <a:t>&lt;In addition to listing relevant experience, highlight outcomes and tangible value delivered to clients&gt;</a:t>
                      </a:r>
                      <a:endParaRPr lang="en-US" sz="1200" kern="1200" dirty="0">
                        <a:solidFill>
                          <a:schemeClr val="tx1"/>
                        </a:solidFill>
                        <a:latin typeface="+mn-lt"/>
                        <a:ea typeface="+mn-ea"/>
                        <a:cs typeface="+mn-cs"/>
                      </a:endParaRPr>
                    </a:p>
                  </a:txBody>
                  <a:tcPr marR="33231" marT="91440" marB="36000">
                    <a:lnL w="12700" cap="flat" cmpd="sng" algn="ctr">
                      <a:solidFill>
                        <a:srgbClr val="96968C">
                          <a:lumMod val="60000"/>
                          <a:lumOff val="40000"/>
                        </a:srgbClr>
                      </a:solidFill>
                      <a:prstDash val="sysDot"/>
                      <a:round/>
                      <a:headEnd type="none" w="med" len="med"/>
                      <a:tailEnd type="none" w="med" len="med"/>
                    </a:lnL>
                    <a:lnR w="12700" cmpd="sng">
                      <a:solidFill>
                        <a:srgbClr val="FFFFFF"/>
                      </a:solidFill>
                    </a:lnR>
                    <a:lnT w="12700" cap="flat" cmpd="sng" algn="ctr">
                      <a:solidFill>
                        <a:srgbClr val="96968C">
                          <a:lumMod val="60000"/>
                          <a:lumOff val="40000"/>
                        </a:srgbClr>
                      </a:solidFill>
                      <a:prstDash val="sysDot"/>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7" name="Rounded Rectangle 4">
            <a:extLst>
              <a:ext uri="{FF2B5EF4-FFF2-40B4-BE49-F238E27FC236}">
                <a16:creationId xmlns:a16="http://schemas.microsoft.com/office/drawing/2014/main" id="{1DCCCC79-272C-4A03-AEC4-BDC1BF0FE270}"/>
              </a:ext>
            </a:extLst>
          </p:cNvPr>
          <p:cNvSpPr/>
          <p:nvPr/>
        </p:nvSpPr>
        <p:spPr bwMode="auto">
          <a:xfrm>
            <a:off x="1837536" y="1717879"/>
            <a:ext cx="974244" cy="790046"/>
          </a:xfrm>
          <a:prstGeom prst="roundRect">
            <a:avLst>
              <a:gd name="adj" fmla="val 0"/>
            </a:avLst>
          </a:prstGeom>
          <a:solidFill>
            <a:srgbClr val="E0E0E0"/>
          </a:solidFill>
          <a:ln w="9525" cap="flat" cmpd="sng" algn="ctr">
            <a:noFill/>
            <a:prstDash val="solid"/>
            <a:round/>
            <a:headEnd type="none" w="med" len="med"/>
            <a:tailEnd type="none" w="med" len="med"/>
          </a:ln>
          <a:effectLst/>
        </p:spPr>
        <p:txBody>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AU" sz="1000" b="0" i="0" u="none" strike="noStrike" kern="0" cap="none" spc="0" normalizeH="0" baseline="0" noProof="0" dirty="0">
                <a:ln>
                  <a:noFill/>
                </a:ln>
                <a:solidFill>
                  <a:srgbClr val="000000"/>
                </a:solidFill>
                <a:effectLst/>
                <a:uLnTx/>
                <a:uFillTx/>
                <a:ea typeface="+mn-ea"/>
                <a:cs typeface="+mn-cs"/>
              </a:rPr>
              <a:t>Insert Photo</a:t>
            </a:r>
          </a:p>
        </p:txBody>
      </p:sp>
      <p:sp>
        <p:nvSpPr>
          <p:cNvPr id="8" name="Rounded Rectangle 5">
            <a:extLst>
              <a:ext uri="{FF2B5EF4-FFF2-40B4-BE49-F238E27FC236}">
                <a16:creationId xmlns:a16="http://schemas.microsoft.com/office/drawing/2014/main" id="{B0E1C110-69E6-4024-8EB7-BB36BDA4A621}"/>
              </a:ext>
            </a:extLst>
          </p:cNvPr>
          <p:cNvSpPr/>
          <p:nvPr/>
        </p:nvSpPr>
        <p:spPr bwMode="auto">
          <a:xfrm>
            <a:off x="1837536" y="2844315"/>
            <a:ext cx="974244" cy="790046"/>
          </a:xfrm>
          <a:prstGeom prst="roundRect">
            <a:avLst>
              <a:gd name="adj" fmla="val 0"/>
            </a:avLst>
          </a:prstGeom>
          <a:solidFill>
            <a:srgbClr val="E0E0E0"/>
          </a:solidFill>
          <a:ln w="9525" cap="flat" cmpd="sng" algn="ctr">
            <a:noFill/>
            <a:prstDash val="solid"/>
            <a:round/>
            <a:headEnd type="none" w="med" len="med"/>
            <a:tailEnd type="none" w="med" len="med"/>
          </a:ln>
          <a:effectLst/>
        </p:spPr>
        <p:txBody>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AU" sz="1000" b="0" i="0" u="none" strike="noStrike" kern="0" cap="none" spc="0" normalizeH="0" baseline="0" noProof="0" dirty="0">
                <a:ln>
                  <a:noFill/>
                </a:ln>
                <a:solidFill>
                  <a:srgbClr val="000000"/>
                </a:solidFill>
                <a:effectLst/>
                <a:uLnTx/>
                <a:uFillTx/>
                <a:ea typeface="+mn-ea"/>
                <a:cs typeface="+mn-cs"/>
              </a:rPr>
              <a:t>Insert Photo</a:t>
            </a:r>
          </a:p>
        </p:txBody>
      </p:sp>
      <p:sp>
        <p:nvSpPr>
          <p:cNvPr id="9" name="Rounded Rectangle 6">
            <a:extLst>
              <a:ext uri="{FF2B5EF4-FFF2-40B4-BE49-F238E27FC236}">
                <a16:creationId xmlns:a16="http://schemas.microsoft.com/office/drawing/2014/main" id="{C4392561-B780-4A5F-AEBE-F60C61BFBC08}"/>
              </a:ext>
            </a:extLst>
          </p:cNvPr>
          <p:cNvSpPr/>
          <p:nvPr/>
        </p:nvSpPr>
        <p:spPr bwMode="auto">
          <a:xfrm>
            <a:off x="1837536" y="3953150"/>
            <a:ext cx="974244" cy="790046"/>
          </a:xfrm>
          <a:prstGeom prst="roundRect">
            <a:avLst>
              <a:gd name="adj" fmla="val 0"/>
            </a:avLst>
          </a:prstGeom>
          <a:solidFill>
            <a:srgbClr val="E0E0E0"/>
          </a:solidFill>
          <a:ln w="9525" cap="flat" cmpd="sng" algn="ctr">
            <a:noFill/>
            <a:prstDash val="solid"/>
            <a:round/>
            <a:headEnd type="none" w="med" len="med"/>
            <a:tailEnd type="none" w="med" len="med"/>
          </a:ln>
          <a:effectLst/>
        </p:spPr>
        <p:txBody>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AU" sz="1000" b="0" i="0" u="none" strike="noStrike" kern="0" cap="none" spc="0" normalizeH="0" baseline="0" noProof="0" dirty="0">
                <a:ln>
                  <a:noFill/>
                </a:ln>
                <a:solidFill>
                  <a:srgbClr val="000000"/>
                </a:solidFill>
                <a:effectLst/>
                <a:uLnTx/>
                <a:uFillTx/>
                <a:ea typeface="+mn-ea"/>
                <a:cs typeface="+mn-cs"/>
              </a:rPr>
              <a:t>Insert Photo</a:t>
            </a:r>
          </a:p>
        </p:txBody>
      </p:sp>
      <p:sp>
        <p:nvSpPr>
          <p:cNvPr id="10" name="Rounded Rectangle 7">
            <a:extLst>
              <a:ext uri="{FF2B5EF4-FFF2-40B4-BE49-F238E27FC236}">
                <a16:creationId xmlns:a16="http://schemas.microsoft.com/office/drawing/2014/main" id="{7936F83D-6F00-4002-96E8-020513D73697}"/>
              </a:ext>
            </a:extLst>
          </p:cNvPr>
          <p:cNvSpPr/>
          <p:nvPr/>
        </p:nvSpPr>
        <p:spPr bwMode="auto">
          <a:xfrm>
            <a:off x="1837536" y="5035817"/>
            <a:ext cx="974244" cy="790046"/>
          </a:xfrm>
          <a:prstGeom prst="roundRect">
            <a:avLst>
              <a:gd name="adj" fmla="val 0"/>
            </a:avLst>
          </a:prstGeom>
          <a:solidFill>
            <a:srgbClr val="E0E0E0"/>
          </a:solidFill>
          <a:ln w="9525" cap="flat" cmpd="sng" algn="ctr">
            <a:noFill/>
            <a:prstDash val="solid"/>
            <a:round/>
            <a:headEnd type="none" w="med" len="med"/>
            <a:tailEnd type="none" w="med" len="med"/>
          </a:ln>
          <a:effectLst/>
        </p:spPr>
        <p:txBody>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AU" sz="1000" b="0" i="0" u="none" strike="noStrike" kern="0" cap="none" spc="0" normalizeH="0" baseline="0" noProof="0" dirty="0">
                <a:ln>
                  <a:noFill/>
                </a:ln>
                <a:solidFill>
                  <a:srgbClr val="000000"/>
                </a:solidFill>
                <a:effectLst/>
                <a:uLnTx/>
                <a:uFillTx/>
                <a:ea typeface="+mn-ea"/>
                <a:cs typeface="+mn-cs"/>
              </a:rPr>
              <a:t>Insert Photo</a:t>
            </a:r>
          </a:p>
        </p:txBody>
      </p:sp>
      <p:sp>
        <p:nvSpPr>
          <p:cNvPr id="3" name="Footer Placeholder 2">
            <a:extLst>
              <a:ext uri="{FF2B5EF4-FFF2-40B4-BE49-F238E27FC236}">
                <a16:creationId xmlns:a16="http://schemas.microsoft.com/office/drawing/2014/main" id="{F12F3FB9-1C44-4308-B341-93F08DB67FDE}"/>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2" name="Slide Number Placeholder 11">
            <a:extLst>
              <a:ext uri="{FF2B5EF4-FFF2-40B4-BE49-F238E27FC236}">
                <a16:creationId xmlns:a16="http://schemas.microsoft.com/office/drawing/2014/main" id="{0878BDA2-C954-4A00-B5C2-F3B84ECDDCB3}"/>
              </a:ext>
            </a:extLst>
          </p:cNvPr>
          <p:cNvSpPr>
            <a:spLocks noGrp="1"/>
          </p:cNvSpPr>
          <p:nvPr>
            <p:ph type="sldNum" sz="quarter" idx="10"/>
          </p:nvPr>
        </p:nvSpPr>
        <p:spPr/>
        <p:txBody>
          <a:bodyPr/>
          <a:lstStyle/>
          <a:p>
            <a:fld id="{1F90F471-3972-4120-B8B3-0237DE626C35}" type="slidenum">
              <a:rPr lang="en-US" smtClean="0"/>
              <a:pPr/>
              <a:t>403</a:t>
            </a:fld>
            <a:endParaRPr lang="en-US" dirty="0"/>
          </a:p>
        </p:txBody>
      </p:sp>
    </p:spTree>
    <p:extLst>
      <p:ext uri="{BB962C8B-B14F-4D97-AF65-F5344CB8AC3E}">
        <p14:creationId xmlns:p14="http://schemas.microsoft.com/office/powerpoint/2010/main" val="918900895"/>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Organization Chart</a:t>
            </a:r>
          </a:p>
        </p:txBody>
      </p:sp>
      <p:sp>
        <p:nvSpPr>
          <p:cNvPr id="6" name="Rectangle 4">
            <a:extLst>
              <a:ext uri="{FF2B5EF4-FFF2-40B4-BE49-F238E27FC236}">
                <a16:creationId xmlns:a16="http://schemas.microsoft.com/office/drawing/2014/main" id="{CCCD202A-AD77-4F13-904F-6B20FCAD8E8C}"/>
              </a:ext>
            </a:extLst>
          </p:cNvPr>
          <p:cNvSpPr>
            <a:spLocks noChangeArrowheads="1"/>
          </p:cNvSpPr>
          <p:nvPr/>
        </p:nvSpPr>
        <p:spPr bwMode="auto">
          <a:xfrm>
            <a:off x="5209148" y="1343444"/>
            <a:ext cx="1828311" cy="488764"/>
          </a:xfrm>
          <a:prstGeom prst="rect">
            <a:avLst/>
          </a:prstGeom>
          <a:solidFill>
            <a:schemeClr val="accent1"/>
          </a:solidFill>
          <a:ln w="6350">
            <a:noFill/>
            <a:miter lim="800000"/>
            <a:headEnd type="none" w="sm" len="sm"/>
            <a:tailEnd type="none" w="sm" len="sm"/>
          </a:ln>
          <a:effectLst/>
        </p:spPr>
        <p:txBody>
          <a:bodyPr wrap="none" lIns="72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CEO Name</a:t>
            </a: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ea typeface="+mn-ea"/>
                <a:cs typeface="+mn-cs"/>
              </a:rPr>
              <a:t>CEO</a:t>
            </a:r>
          </a:p>
        </p:txBody>
      </p:sp>
      <p:cxnSp>
        <p:nvCxnSpPr>
          <p:cNvPr id="9" name="AutoShape 7">
            <a:extLst>
              <a:ext uri="{FF2B5EF4-FFF2-40B4-BE49-F238E27FC236}">
                <a16:creationId xmlns:a16="http://schemas.microsoft.com/office/drawing/2014/main" id="{14834240-AE83-44F3-B3FD-7945A757926E}"/>
              </a:ext>
              <a:ext uri="{C183D7F6-B498-43B3-948B-1728B52AA6E4}">
                <adec:decorative xmlns:adec="http://schemas.microsoft.com/office/drawing/2017/decorative" val="1"/>
              </a:ext>
            </a:extLst>
          </p:cNvPr>
          <p:cNvCxnSpPr>
            <a:cxnSpLocks noChangeShapeType="1"/>
            <a:stCxn id="6" idx="2"/>
            <a:endCxn id="30" idx="0"/>
          </p:cNvCxnSpPr>
          <p:nvPr/>
        </p:nvCxnSpPr>
        <p:spPr bwMode="auto">
          <a:xfrm>
            <a:off x="6123304" y="1832208"/>
            <a:ext cx="0" cy="584059"/>
          </a:xfrm>
          <a:prstGeom prst="straightConnector1">
            <a:avLst/>
          </a:prstGeom>
          <a:noFill/>
          <a:ln w="12700" cap="rnd" cmpd="sng" algn="ctr">
            <a:solidFill>
              <a:srgbClr val="96968C"/>
            </a:solidFill>
            <a:prstDash val="sysDot"/>
            <a:headEnd type="none" w="med" len="med"/>
            <a:tailEnd type="none" w="med" len="med"/>
          </a:ln>
          <a:effectLst/>
        </p:spPr>
      </p:cxnSp>
      <p:grpSp>
        <p:nvGrpSpPr>
          <p:cNvPr id="2" name="Group 1">
            <a:extLst>
              <a:ext uri="{FF2B5EF4-FFF2-40B4-BE49-F238E27FC236}">
                <a16:creationId xmlns:a16="http://schemas.microsoft.com/office/drawing/2014/main" id="{DAC2CD11-C434-46E9-BC37-3A09F2954765}"/>
              </a:ext>
              <a:ext uri="{C183D7F6-B498-43B3-948B-1728B52AA6E4}">
                <adec:decorative xmlns:adec="http://schemas.microsoft.com/office/drawing/2017/decorative" val="1"/>
              </a:ext>
            </a:extLst>
          </p:cNvPr>
          <p:cNvGrpSpPr/>
          <p:nvPr/>
        </p:nvGrpSpPr>
        <p:grpSpPr>
          <a:xfrm>
            <a:off x="1611637" y="1832207"/>
            <a:ext cx="9023338" cy="584060"/>
            <a:chOff x="1611637" y="1832207"/>
            <a:chExt cx="9023338" cy="584060"/>
          </a:xfrm>
        </p:grpSpPr>
        <p:cxnSp>
          <p:nvCxnSpPr>
            <p:cNvPr id="7" name="AutoShape 5">
              <a:extLst>
                <a:ext uri="{FF2B5EF4-FFF2-40B4-BE49-F238E27FC236}">
                  <a16:creationId xmlns:a16="http://schemas.microsoft.com/office/drawing/2014/main" id="{D4A97FE1-809B-4844-9CF5-2B1869D9B623}"/>
                </a:ext>
              </a:extLst>
            </p:cNvPr>
            <p:cNvCxnSpPr>
              <a:cxnSpLocks noChangeShapeType="1"/>
              <a:stCxn id="12" idx="0"/>
              <a:endCxn id="6" idx="2"/>
            </p:cNvCxnSpPr>
            <p:nvPr/>
          </p:nvCxnSpPr>
          <p:spPr bwMode="auto">
            <a:xfrm rot="5400000" flipH="1" flipV="1">
              <a:off x="3575441" y="-131596"/>
              <a:ext cx="584059" cy="4511668"/>
            </a:xfrm>
            <a:prstGeom prst="bentConnector3">
              <a:avLst>
                <a:gd name="adj1" fmla="val 50000"/>
              </a:avLst>
            </a:prstGeom>
            <a:noFill/>
            <a:ln w="12700" cap="rnd" cmpd="sng" algn="ctr">
              <a:solidFill>
                <a:srgbClr val="96968C"/>
              </a:solidFill>
              <a:prstDash val="sysDot"/>
              <a:headEnd type="none" w="med" len="med"/>
              <a:tailEnd type="none" w="med" len="med"/>
            </a:ln>
            <a:effectLst/>
          </p:spPr>
        </p:cxnSp>
        <p:cxnSp>
          <p:nvCxnSpPr>
            <p:cNvPr id="8" name="AutoShape 6">
              <a:extLst>
                <a:ext uri="{FF2B5EF4-FFF2-40B4-BE49-F238E27FC236}">
                  <a16:creationId xmlns:a16="http://schemas.microsoft.com/office/drawing/2014/main" id="{86D6F615-C4FA-4F34-BBE3-03019B3C58E4}"/>
                </a:ext>
              </a:extLst>
            </p:cNvPr>
            <p:cNvCxnSpPr>
              <a:cxnSpLocks noChangeShapeType="1"/>
              <a:stCxn id="21" idx="0"/>
              <a:endCxn id="6" idx="2"/>
            </p:cNvCxnSpPr>
            <p:nvPr/>
          </p:nvCxnSpPr>
          <p:spPr bwMode="auto">
            <a:xfrm rot="5400000" flipH="1" flipV="1">
              <a:off x="4702594" y="995557"/>
              <a:ext cx="584059" cy="2257362"/>
            </a:xfrm>
            <a:prstGeom prst="bentConnector3">
              <a:avLst>
                <a:gd name="adj1" fmla="val 50000"/>
              </a:avLst>
            </a:prstGeom>
            <a:noFill/>
            <a:ln w="12700" cap="rnd" cmpd="sng" algn="ctr">
              <a:solidFill>
                <a:srgbClr val="96968C"/>
              </a:solidFill>
              <a:prstDash val="sysDot"/>
              <a:headEnd type="none" w="med" len="med"/>
              <a:tailEnd type="none" w="med" len="med"/>
            </a:ln>
            <a:effectLst/>
          </p:spPr>
        </p:cxnSp>
        <p:cxnSp>
          <p:nvCxnSpPr>
            <p:cNvPr id="10" name="AutoShape 8">
              <a:extLst>
                <a:ext uri="{FF2B5EF4-FFF2-40B4-BE49-F238E27FC236}">
                  <a16:creationId xmlns:a16="http://schemas.microsoft.com/office/drawing/2014/main" id="{8795058E-8B54-4F01-964A-14DD0732BDE8}"/>
                </a:ext>
              </a:extLst>
            </p:cNvPr>
            <p:cNvCxnSpPr>
              <a:cxnSpLocks noChangeShapeType="1"/>
              <a:stCxn id="6" idx="2"/>
              <a:endCxn id="39" idx="0"/>
            </p:cNvCxnSpPr>
            <p:nvPr/>
          </p:nvCxnSpPr>
          <p:spPr bwMode="auto">
            <a:xfrm rot="16200000" flipH="1">
              <a:off x="6959447" y="996065"/>
              <a:ext cx="584059" cy="2256344"/>
            </a:xfrm>
            <a:prstGeom prst="bentConnector3">
              <a:avLst>
                <a:gd name="adj1" fmla="val 50000"/>
              </a:avLst>
            </a:prstGeom>
            <a:noFill/>
            <a:ln w="12700" cap="rnd" cmpd="sng" algn="ctr">
              <a:solidFill>
                <a:srgbClr val="96968C"/>
              </a:solidFill>
              <a:prstDash val="sysDot"/>
              <a:headEnd type="none" w="med" len="med"/>
              <a:tailEnd type="none" w="med" len="med"/>
            </a:ln>
            <a:effectLst/>
          </p:spPr>
        </p:cxnSp>
        <p:cxnSp>
          <p:nvCxnSpPr>
            <p:cNvPr id="11" name="AutoShape 9">
              <a:extLst>
                <a:ext uri="{FF2B5EF4-FFF2-40B4-BE49-F238E27FC236}">
                  <a16:creationId xmlns:a16="http://schemas.microsoft.com/office/drawing/2014/main" id="{43C3831C-25A1-450A-8BC1-6C0B4D271316}"/>
                </a:ext>
              </a:extLst>
            </p:cNvPr>
            <p:cNvCxnSpPr>
              <a:cxnSpLocks noChangeShapeType="1"/>
              <a:stCxn id="6" idx="2"/>
              <a:endCxn id="48" idx="0"/>
            </p:cNvCxnSpPr>
            <p:nvPr/>
          </p:nvCxnSpPr>
          <p:spPr bwMode="auto">
            <a:xfrm rot="16200000" flipH="1">
              <a:off x="8087110" y="-131598"/>
              <a:ext cx="584059" cy="4511670"/>
            </a:xfrm>
            <a:prstGeom prst="bentConnector3">
              <a:avLst>
                <a:gd name="adj1" fmla="val 50000"/>
              </a:avLst>
            </a:prstGeom>
            <a:noFill/>
            <a:ln w="12700" cap="rnd" cmpd="sng" algn="ctr">
              <a:solidFill>
                <a:srgbClr val="96968C"/>
              </a:solidFill>
              <a:prstDash val="sysDot"/>
              <a:headEnd type="none" w="med" len="med"/>
              <a:tailEnd type="none" w="med" len="med"/>
            </a:ln>
            <a:effectLst/>
          </p:spPr>
        </p:cxnSp>
      </p:grpSp>
      <p:grpSp>
        <p:nvGrpSpPr>
          <p:cNvPr id="63" name="Group 62" descr="Dep 1">
            <a:extLst>
              <a:ext uri="{FF2B5EF4-FFF2-40B4-BE49-F238E27FC236}">
                <a16:creationId xmlns:a16="http://schemas.microsoft.com/office/drawing/2014/main" id="{ACF42F5B-71DF-417B-8474-080AB95CB418}"/>
              </a:ext>
            </a:extLst>
          </p:cNvPr>
          <p:cNvGrpSpPr/>
          <p:nvPr/>
        </p:nvGrpSpPr>
        <p:grpSpPr>
          <a:xfrm>
            <a:off x="698500" y="2416267"/>
            <a:ext cx="1826272" cy="3296920"/>
            <a:chOff x="698500" y="2416267"/>
            <a:chExt cx="1826272" cy="3296920"/>
          </a:xfrm>
        </p:grpSpPr>
        <p:cxnSp>
          <p:nvCxnSpPr>
            <p:cNvPr id="18" name="AutoShape 17">
              <a:extLst>
                <a:ext uri="{FF2B5EF4-FFF2-40B4-BE49-F238E27FC236}">
                  <a16:creationId xmlns:a16="http://schemas.microsoft.com/office/drawing/2014/main" id="{1C01A7AB-C0CD-456F-99D0-36293E1911EC}"/>
                </a:ext>
              </a:extLst>
            </p:cNvPr>
            <p:cNvCxnSpPr>
              <a:cxnSpLocks noChangeShapeType="1"/>
              <a:stCxn id="13" idx="1"/>
              <a:endCxn id="14" idx="1"/>
            </p:cNvCxnSpPr>
            <p:nvPr/>
          </p:nvCxnSpPr>
          <p:spPr bwMode="auto">
            <a:xfrm rot="10800000" flipH="1" flipV="1">
              <a:off x="973663" y="3481475"/>
              <a:ext cx="4077" cy="639389"/>
            </a:xfrm>
            <a:prstGeom prst="bentConnector3">
              <a:avLst>
                <a:gd name="adj1" fmla="val -8000000"/>
              </a:avLst>
            </a:prstGeom>
            <a:noFill/>
            <a:ln w="12700" cap="rnd" cmpd="sng" algn="ctr">
              <a:solidFill>
                <a:srgbClr val="96968C"/>
              </a:solidFill>
              <a:prstDash val="sysDot"/>
              <a:headEnd type="none" w="med" len="med"/>
              <a:tailEnd type="none" w="med" len="med"/>
            </a:ln>
            <a:effectLst/>
          </p:spPr>
        </p:cxnSp>
        <p:grpSp>
          <p:nvGrpSpPr>
            <p:cNvPr id="5" name="Group 4">
              <a:extLst>
                <a:ext uri="{FF2B5EF4-FFF2-40B4-BE49-F238E27FC236}">
                  <a16:creationId xmlns:a16="http://schemas.microsoft.com/office/drawing/2014/main" id="{C15A52BA-9F13-487C-8D79-7F547D218A04}"/>
                </a:ext>
              </a:extLst>
            </p:cNvPr>
            <p:cNvGrpSpPr/>
            <p:nvPr/>
          </p:nvGrpSpPr>
          <p:grpSpPr>
            <a:xfrm>
              <a:off x="698500" y="2416267"/>
              <a:ext cx="1826272" cy="3296920"/>
              <a:chOff x="698500" y="2416267"/>
              <a:chExt cx="1826272" cy="3296920"/>
            </a:xfrm>
          </p:grpSpPr>
          <p:sp>
            <p:nvSpPr>
              <p:cNvPr id="12" name="Rectangle 11">
                <a:extLst>
                  <a:ext uri="{FF2B5EF4-FFF2-40B4-BE49-F238E27FC236}">
                    <a16:creationId xmlns:a16="http://schemas.microsoft.com/office/drawing/2014/main" id="{10D94482-8EFA-4EB9-A5A1-47091282A8D2}"/>
                  </a:ext>
                </a:extLst>
              </p:cNvPr>
              <p:cNvSpPr>
                <a:spLocks noChangeArrowheads="1"/>
              </p:cNvSpPr>
              <p:nvPr/>
            </p:nvSpPr>
            <p:spPr bwMode="auto">
              <a:xfrm>
                <a:off x="698500" y="2416267"/>
                <a:ext cx="1826272" cy="484152"/>
              </a:xfrm>
              <a:prstGeom prst="rect">
                <a:avLst/>
              </a:prstGeom>
              <a:solidFill>
                <a:schemeClr val="accent2"/>
              </a:solidFill>
              <a:ln w="6350">
                <a:noFill/>
                <a:miter lim="800000"/>
                <a:headEnd type="none" w="sm" len="sm"/>
                <a:tailEnd type="none" w="sm" len="sm"/>
              </a:ln>
              <a:effectLst/>
            </p:spPr>
            <p:txBody>
              <a:bodyPr wrap="none" lIns="72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Name Dep. 1</a:t>
                </a: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ea typeface="+mn-ea"/>
                    <a:cs typeface="+mn-cs"/>
                  </a:rPr>
                  <a:t>SVP Department 1</a:t>
                </a:r>
              </a:p>
            </p:txBody>
          </p:sp>
          <p:sp>
            <p:nvSpPr>
              <p:cNvPr id="13" name="Rectangle 12">
                <a:extLst>
                  <a:ext uri="{FF2B5EF4-FFF2-40B4-BE49-F238E27FC236}">
                    <a16:creationId xmlns:a16="http://schemas.microsoft.com/office/drawing/2014/main" id="{8C08A271-9361-4D08-A531-52FFDE631660}"/>
                  </a:ext>
                </a:extLst>
              </p:cNvPr>
              <p:cNvSpPr>
                <a:spLocks noChangeArrowheads="1"/>
              </p:cNvSpPr>
              <p:nvPr/>
            </p:nvSpPr>
            <p:spPr bwMode="auto">
              <a:xfrm>
                <a:off x="973664" y="3238629"/>
                <a:ext cx="1551108" cy="485690"/>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Name</a:t>
                </a:r>
                <a:br>
                  <a:rPr kumimoji="0" lang="en-US" sz="1200" b="1" i="0" u="none" strike="noStrike" kern="0" cap="none" spc="0" normalizeH="0" baseline="0" noProof="0" dirty="0">
                    <a:ln>
                      <a:noFill/>
                    </a:ln>
                    <a:solidFill>
                      <a:srgbClr val="000000"/>
                    </a:solidFill>
                    <a:effectLst/>
                    <a:uLnTx/>
                    <a:uFillTx/>
                    <a:latin typeface="Arial"/>
                    <a:ea typeface="+mn-ea"/>
                    <a:cs typeface="+mn-cs"/>
                  </a:rPr>
                </a:br>
                <a:r>
                  <a:rPr kumimoji="0" lang="en-US" sz="1200" b="0" i="0" u="none" strike="noStrike" kern="0" cap="none" spc="0" normalizeH="0" baseline="0" noProof="0" dirty="0">
                    <a:ln>
                      <a:noFill/>
                    </a:ln>
                    <a:solidFill>
                      <a:srgbClr val="000000"/>
                    </a:solidFill>
                    <a:effectLst/>
                    <a:uLnTx/>
                    <a:uFillTx/>
                    <a:ea typeface="+mn-ea"/>
                    <a:cs typeface="+mn-cs"/>
                  </a:rPr>
                  <a:t>Title</a:t>
                </a:r>
              </a:p>
            </p:txBody>
          </p:sp>
          <p:sp>
            <p:nvSpPr>
              <p:cNvPr id="14" name="Rectangle 13">
                <a:extLst>
                  <a:ext uri="{FF2B5EF4-FFF2-40B4-BE49-F238E27FC236}">
                    <a16:creationId xmlns:a16="http://schemas.microsoft.com/office/drawing/2014/main" id="{4EB51FFC-5CBF-4CA4-841A-811F432D2818}"/>
                  </a:ext>
                </a:extLst>
              </p:cNvPr>
              <p:cNvSpPr>
                <a:spLocks noChangeArrowheads="1"/>
              </p:cNvSpPr>
              <p:nvPr/>
            </p:nvSpPr>
            <p:spPr bwMode="auto">
              <a:xfrm>
                <a:off x="973664" y="3876481"/>
                <a:ext cx="1551108" cy="488764"/>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Name</a:t>
                </a:r>
                <a:br>
                  <a:rPr kumimoji="0" lang="en-US" sz="1200" b="1" i="0" u="none" strike="noStrike" kern="0" cap="none" spc="0" normalizeH="0" baseline="0" noProof="0" dirty="0">
                    <a:ln>
                      <a:noFill/>
                    </a:ln>
                    <a:solidFill>
                      <a:srgbClr val="000000"/>
                    </a:solidFill>
                    <a:effectLst/>
                    <a:uLnTx/>
                    <a:uFillTx/>
                    <a:latin typeface="Arial"/>
                    <a:ea typeface="+mn-ea"/>
                    <a:cs typeface="+mn-cs"/>
                  </a:rPr>
                </a:br>
                <a:r>
                  <a:rPr kumimoji="0" lang="en-US" sz="1200" b="0" i="0" u="none" strike="noStrike" kern="0" cap="none" spc="0" normalizeH="0" baseline="0" noProof="0" dirty="0">
                    <a:ln>
                      <a:noFill/>
                    </a:ln>
                    <a:solidFill>
                      <a:srgbClr val="000000"/>
                    </a:solidFill>
                    <a:effectLst/>
                    <a:uLnTx/>
                    <a:uFillTx/>
                    <a:ea typeface="+mn-ea"/>
                    <a:cs typeface="+mn-cs"/>
                  </a:rPr>
                  <a:t>Title</a:t>
                </a:r>
              </a:p>
            </p:txBody>
          </p:sp>
          <p:sp>
            <p:nvSpPr>
              <p:cNvPr id="15" name="Rectangle 14">
                <a:extLst>
                  <a:ext uri="{FF2B5EF4-FFF2-40B4-BE49-F238E27FC236}">
                    <a16:creationId xmlns:a16="http://schemas.microsoft.com/office/drawing/2014/main" id="{A31D7C07-E667-4168-B4DA-5CA7E14B5E87}"/>
                  </a:ext>
                </a:extLst>
              </p:cNvPr>
              <p:cNvSpPr>
                <a:spLocks noChangeArrowheads="1"/>
              </p:cNvSpPr>
              <p:nvPr/>
            </p:nvSpPr>
            <p:spPr bwMode="auto">
              <a:xfrm>
                <a:off x="973664" y="4551222"/>
                <a:ext cx="1551108" cy="487227"/>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Name</a:t>
                </a:r>
                <a:br>
                  <a:rPr kumimoji="0" lang="en-US" sz="1200" b="1" i="0" u="none" strike="noStrike" kern="0" cap="none" spc="0" normalizeH="0" baseline="0" noProof="0" dirty="0">
                    <a:ln>
                      <a:noFill/>
                    </a:ln>
                    <a:solidFill>
                      <a:srgbClr val="000000"/>
                    </a:solidFill>
                    <a:effectLst/>
                    <a:uLnTx/>
                    <a:uFillTx/>
                    <a:latin typeface="Arial"/>
                    <a:ea typeface="+mn-ea"/>
                    <a:cs typeface="+mn-cs"/>
                  </a:rPr>
                </a:br>
                <a:r>
                  <a:rPr kumimoji="0" lang="en-US" sz="1200" b="0" i="0" u="none" strike="noStrike" kern="0" cap="none" spc="0" normalizeH="0" baseline="0" noProof="0" dirty="0">
                    <a:ln>
                      <a:noFill/>
                    </a:ln>
                    <a:solidFill>
                      <a:srgbClr val="000000"/>
                    </a:solidFill>
                    <a:effectLst/>
                    <a:uLnTx/>
                    <a:uFillTx/>
                    <a:ea typeface="+mn-ea"/>
                    <a:cs typeface="+mn-cs"/>
                  </a:rPr>
                  <a:t>Title</a:t>
                </a:r>
              </a:p>
            </p:txBody>
          </p:sp>
          <p:sp>
            <p:nvSpPr>
              <p:cNvPr id="16" name="Rectangle 15">
                <a:extLst>
                  <a:ext uri="{FF2B5EF4-FFF2-40B4-BE49-F238E27FC236}">
                    <a16:creationId xmlns:a16="http://schemas.microsoft.com/office/drawing/2014/main" id="{D70F815F-4926-4316-811E-092E1BB88627}"/>
                  </a:ext>
                </a:extLst>
              </p:cNvPr>
              <p:cNvSpPr>
                <a:spLocks noChangeArrowheads="1"/>
              </p:cNvSpPr>
              <p:nvPr/>
            </p:nvSpPr>
            <p:spPr bwMode="auto">
              <a:xfrm>
                <a:off x="973664" y="5224423"/>
                <a:ext cx="1551108" cy="488764"/>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Name</a:t>
                </a:r>
                <a:br>
                  <a:rPr kumimoji="0" lang="en-US" sz="1200" b="1" i="0" u="none" strike="noStrike" kern="0" cap="none" spc="0" normalizeH="0" baseline="0" noProof="0" dirty="0">
                    <a:ln>
                      <a:noFill/>
                    </a:ln>
                    <a:solidFill>
                      <a:srgbClr val="000000"/>
                    </a:solidFill>
                    <a:effectLst/>
                    <a:uLnTx/>
                    <a:uFillTx/>
                    <a:latin typeface="Arial"/>
                    <a:ea typeface="+mn-ea"/>
                    <a:cs typeface="+mn-cs"/>
                  </a:rPr>
                </a:br>
                <a:r>
                  <a:rPr kumimoji="0" lang="en-US" sz="1200" b="0" i="0" u="none" strike="noStrike" kern="0" cap="none" spc="0" normalizeH="0" baseline="0" noProof="0" dirty="0">
                    <a:ln>
                      <a:noFill/>
                    </a:ln>
                    <a:solidFill>
                      <a:srgbClr val="000000"/>
                    </a:solidFill>
                    <a:effectLst/>
                    <a:uLnTx/>
                    <a:uFillTx/>
                    <a:ea typeface="+mn-ea"/>
                    <a:cs typeface="+mn-cs"/>
                  </a:rPr>
                  <a:t>Title</a:t>
                </a:r>
              </a:p>
            </p:txBody>
          </p:sp>
          <p:cxnSp>
            <p:nvCxnSpPr>
              <p:cNvPr id="17" name="AutoShape 16">
                <a:extLst>
                  <a:ext uri="{FF2B5EF4-FFF2-40B4-BE49-F238E27FC236}">
                    <a16:creationId xmlns:a16="http://schemas.microsoft.com/office/drawing/2014/main" id="{3C6D1475-B8C4-4239-BAEB-E717A9880B24}"/>
                  </a:ext>
                </a:extLst>
              </p:cNvPr>
              <p:cNvCxnSpPr>
                <a:cxnSpLocks noChangeShapeType="1"/>
                <a:stCxn id="12" idx="2"/>
                <a:endCxn id="13" idx="1"/>
              </p:cNvCxnSpPr>
              <p:nvPr/>
            </p:nvCxnSpPr>
            <p:spPr bwMode="auto">
              <a:xfrm rot="5400000">
                <a:off x="1002123" y="2871960"/>
                <a:ext cx="581055" cy="637972"/>
              </a:xfrm>
              <a:prstGeom prst="bentConnector4">
                <a:avLst>
                  <a:gd name="adj1" fmla="val 29103"/>
                  <a:gd name="adj2" fmla="val 151957"/>
                </a:avLst>
              </a:prstGeom>
              <a:noFill/>
              <a:ln w="12700" cap="rnd" cmpd="sng" algn="ctr">
                <a:solidFill>
                  <a:srgbClr val="96968C"/>
                </a:solidFill>
                <a:prstDash val="sysDot"/>
                <a:headEnd type="none" w="med" len="med"/>
                <a:tailEnd type="none" w="med" len="med"/>
              </a:ln>
              <a:effectLst/>
            </p:spPr>
          </p:cxnSp>
          <p:cxnSp>
            <p:nvCxnSpPr>
              <p:cNvPr id="19" name="AutoShape 18">
                <a:extLst>
                  <a:ext uri="{FF2B5EF4-FFF2-40B4-BE49-F238E27FC236}">
                    <a16:creationId xmlns:a16="http://schemas.microsoft.com/office/drawing/2014/main" id="{F7F75617-56A5-407F-8A9E-61F33C184ED9}"/>
                  </a:ext>
                </a:extLst>
              </p:cNvPr>
              <p:cNvCxnSpPr>
                <a:cxnSpLocks noChangeShapeType="1"/>
                <a:stCxn id="14" idx="1"/>
                <a:endCxn id="15" idx="1"/>
              </p:cNvCxnSpPr>
              <p:nvPr/>
            </p:nvCxnSpPr>
            <p:spPr bwMode="auto">
              <a:xfrm rot="10800000" flipH="1" flipV="1">
                <a:off x="973663" y="4120864"/>
                <a:ext cx="4077" cy="673203"/>
              </a:xfrm>
              <a:prstGeom prst="bentConnector3">
                <a:avLst>
                  <a:gd name="adj1" fmla="val -8000000"/>
                </a:avLst>
              </a:prstGeom>
              <a:noFill/>
              <a:ln w="12700" cap="rnd" cmpd="sng" algn="ctr">
                <a:solidFill>
                  <a:srgbClr val="96968C"/>
                </a:solidFill>
                <a:prstDash val="sysDot"/>
                <a:headEnd type="none" w="med" len="med"/>
                <a:tailEnd type="none" w="med" len="med"/>
              </a:ln>
              <a:effectLst/>
            </p:spPr>
          </p:cxnSp>
          <p:cxnSp>
            <p:nvCxnSpPr>
              <p:cNvPr id="20" name="AutoShape 19">
                <a:extLst>
                  <a:ext uri="{FF2B5EF4-FFF2-40B4-BE49-F238E27FC236}">
                    <a16:creationId xmlns:a16="http://schemas.microsoft.com/office/drawing/2014/main" id="{B20FD6BB-9194-42A6-88FE-1D4A0C5CADEF}"/>
                  </a:ext>
                </a:extLst>
              </p:cNvPr>
              <p:cNvCxnSpPr>
                <a:cxnSpLocks noChangeShapeType="1"/>
                <a:stCxn id="15" idx="1"/>
                <a:endCxn id="16" idx="1"/>
              </p:cNvCxnSpPr>
              <p:nvPr/>
            </p:nvCxnSpPr>
            <p:spPr bwMode="auto">
              <a:xfrm rot="10800000" flipH="1" flipV="1">
                <a:off x="973663" y="4794065"/>
                <a:ext cx="4077" cy="674740"/>
              </a:xfrm>
              <a:prstGeom prst="bentConnector3">
                <a:avLst>
                  <a:gd name="adj1" fmla="val -8000000"/>
                </a:avLst>
              </a:prstGeom>
              <a:noFill/>
              <a:ln w="12700" cap="rnd" cmpd="sng" algn="ctr">
                <a:solidFill>
                  <a:srgbClr val="96968C"/>
                </a:solidFill>
                <a:prstDash val="sysDot"/>
                <a:headEnd type="none" w="med" len="med"/>
                <a:tailEnd type="none" w="med" len="med"/>
              </a:ln>
              <a:effectLst/>
            </p:spPr>
          </p:cxnSp>
        </p:grpSp>
      </p:grpSp>
      <p:grpSp>
        <p:nvGrpSpPr>
          <p:cNvPr id="64" name="Group 63" descr="Dep 2">
            <a:extLst>
              <a:ext uri="{FF2B5EF4-FFF2-40B4-BE49-F238E27FC236}">
                <a16:creationId xmlns:a16="http://schemas.microsoft.com/office/drawing/2014/main" id="{A3C7B8F5-A6AD-4E1D-8D3E-07F019810330}"/>
              </a:ext>
            </a:extLst>
          </p:cNvPr>
          <p:cNvGrpSpPr/>
          <p:nvPr/>
        </p:nvGrpSpPr>
        <p:grpSpPr>
          <a:xfrm>
            <a:off x="2952806" y="2416267"/>
            <a:ext cx="1826272" cy="3296920"/>
            <a:chOff x="2952806" y="2416267"/>
            <a:chExt cx="1826272" cy="3296920"/>
          </a:xfrm>
        </p:grpSpPr>
        <p:cxnSp>
          <p:nvCxnSpPr>
            <p:cNvPr id="27" name="AutoShape 27">
              <a:extLst>
                <a:ext uri="{FF2B5EF4-FFF2-40B4-BE49-F238E27FC236}">
                  <a16:creationId xmlns:a16="http://schemas.microsoft.com/office/drawing/2014/main" id="{5B0AD702-ED6D-429F-B1AF-0F22EDCED052}"/>
                </a:ext>
              </a:extLst>
            </p:cNvPr>
            <p:cNvCxnSpPr>
              <a:cxnSpLocks noChangeShapeType="1"/>
              <a:stCxn id="23" idx="1"/>
              <a:endCxn id="24" idx="1"/>
            </p:cNvCxnSpPr>
            <p:nvPr/>
          </p:nvCxnSpPr>
          <p:spPr bwMode="auto">
            <a:xfrm rot="10800000" flipH="1" flipV="1">
              <a:off x="3230008" y="4120864"/>
              <a:ext cx="2038" cy="673203"/>
            </a:xfrm>
            <a:prstGeom prst="bentConnector3">
              <a:avLst>
                <a:gd name="adj1" fmla="val -14400000"/>
              </a:avLst>
            </a:prstGeom>
            <a:noFill/>
            <a:ln w="12700" cap="rnd" cmpd="sng" algn="ctr">
              <a:solidFill>
                <a:srgbClr val="96968C"/>
              </a:solidFill>
              <a:prstDash val="sysDot"/>
              <a:headEnd type="none" w="med" len="med"/>
              <a:tailEnd type="none" w="med" len="med"/>
            </a:ln>
            <a:effectLst/>
          </p:spPr>
        </p:cxnSp>
        <p:grpSp>
          <p:nvGrpSpPr>
            <p:cNvPr id="59" name="Group 58">
              <a:extLst>
                <a:ext uri="{FF2B5EF4-FFF2-40B4-BE49-F238E27FC236}">
                  <a16:creationId xmlns:a16="http://schemas.microsoft.com/office/drawing/2014/main" id="{8AEFEE79-C834-4E18-AB1E-DD4F383A8368}"/>
                </a:ext>
              </a:extLst>
            </p:cNvPr>
            <p:cNvGrpSpPr/>
            <p:nvPr/>
          </p:nvGrpSpPr>
          <p:grpSpPr>
            <a:xfrm>
              <a:off x="2952806" y="2416267"/>
              <a:ext cx="1826272" cy="3296920"/>
              <a:chOff x="2952806" y="2416267"/>
              <a:chExt cx="1826272" cy="3296920"/>
            </a:xfrm>
          </p:grpSpPr>
          <p:sp>
            <p:nvSpPr>
              <p:cNvPr id="21" name="Rectangle 21">
                <a:extLst>
                  <a:ext uri="{FF2B5EF4-FFF2-40B4-BE49-F238E27FC236}">
                    <a16:creationId xmlns:a16="http://schemas.microsoft.com/office/drawing/2014/main" id="{659FC2C5-F67D-4441-BFA6-97A0528ADF90}"/>
                  </a:ext>
                </a:extLst>
              </p:cNvPr>
              <p:cNvSpPr>
                <a:spLocks noChangeArrowheads="1"/>
              </p:cNvSpPr>
              <p:nvPr/>
            </p:nvSpPr>
            <p:spPr bwMode="auto">
              <a:xfrm>
                <a:off x="2952806" y="2416267"/>
                <a:ext cx="1826272" cy="484152"/>
              </a:xfrm>
              <a:prstGeom prst="rect">
                <a:avLst/>
              </a:prstGeom>
              <a:solidFill>
                <a:schemeClr val="accent2"/>
              </a:solidFill>
              <a:ln w="6350">
                <a:noFill/>
                <a:miter lim="800000"/>
                <a:headEnd type="none" w="sm" len="sm"/>
                <a:tailEnd type="none" w="sm" len="sm"/>
              </a:ln>
              <a:effectLst/>
            </p:spPr>
            <p:txBody>
              <a:bodyPr wrap="none" lIns="72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Name Dep. 2</a:t>
                </a: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ea typeface="+mn-ea"/>
                    <a:cs typeface="+mn-cs"/>
                  </a:rPr>
                  <a:t>SVP Department 2</a:t>
                </a:r>
              </a:p>
            </p:txBody>
          </p:sp>
          <p:sp>
            <p:nvSpPr>
              <p:cNvPr id="22" name="Rectangle 22">
                <a:extLst>
                  <a:ext uri="{FF2B5EF4-FFF2-40B4-BE49-F238E27FC236}">
                    <a16:creationId xmlns:a16="http://schemas.microsoft.com/office/drawing/2014/main" id="{8B440ED4-05C6-444E-B90C-C65D867935FD}"/>
                  </a:ext>
                </a:extLst>
              </p:cNvPr>
              <p:cNvSpPr>
                <a:spLocks noChangeArrowheads="1"/>
              </p:cNvSpPr>
              <p:nvPr/>
            </p:nvSpPr>
            <p:spPr bwMode="auto">
              <a:xfrm>
                <a:off x="3230007" y="3238629"/>
                <a:ext cx="1549070" cy="485690"/>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Name</a:t>
                </a:r>
                <a:br>
                  <a:rPr kumimoji="0" lang="en-US" sz="1200" b="1" i="0" u="none" strike="noStrike" kern="0" cap="none" spc="0" normalizeH="0" baseline="0" noProof="0" dirty="0">
                    <a:ln>
                      <a:noFill/>
                    </a:ln>
                    <a:solidFill>
                      <a:srgbClr val="000000"/>
                    </a:solidFill>
                    <a:effectLst/>
                    <a:uLnTx/>
                    <a:uFillTx/>
                    <a:latin typeface="Arial"/>
                    <a:ea typeface="+mn-ea"/>
                    <a:cs typeface="+mn-cs"/>
                  </a:rPr>
                </a:br>
                <a:r>
                  <a:rPr kumimoji="0" lang="en-US" sz="1200" b="0" i="0" u="none" strike="noStrike" kern="0" cap="none" spc="0" normalizeH="0" baseline="0" noProof="0" dirty="0">
                    <a:ln>
                      <a:noFill/>
                    </a:ln>
                    <a:solidFill>
                      <a:srgbClr val="000000"/>
                    </a:solidFill>
                    <a:effectLst/>
                    <a:uLnTx/>
                    <a:uFillTx/>
                    <a:ea typeface="+mn-ea"/>
                    <a:cs typeface="+mn-cs"/>
                  </a:rPr>
                  <a:t>Title</a:t>
                </a:r>
              </a:p>
            </p:txBody>
          </p:sp>
          <p:sp>
            <p:nvSpPr>
              <p:cNvPr id="23" name="Rectangle 23">
                <a:extLst>
                  <a:ext uri="{FF2B5EF4-FFF2-40B4-BE49-F238E27FC236}">
                    <a16:creationId xmlns:a16="http://schemas.microsoft.com/office/drawing/2014/main" id="{4CEC7CB2-E89E-4F55-95E7-847382E975F5}"/>
                  </a:ext>
                </a:extLst>
              </p:cNvPr>
              <p:cNvSpPr>
                <a:spLocks noChangeArrowheads="1"/>
              </p:cNvSpPr>
              <p:nvPr/>
            </p:nvSpPr>
            <p:spPr bwMode="auto">
              <a:xfrm>
                <a:off x="3230007" y="3876481"/>
                <a:ext cx="1549070" cy="488764"/>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Name</a:t>
                </a:r>
                <a:br>
                  <a:rPr kumimoji="0" lang="en-US" sz="1200" b="1" i="0" u="none" strike="noStrike" kern="0" cap="none" spc="0" normalizeH="0" baseline="0" noProof="0" dirty="0">
                    <a:ln>
                      <a:noFill/>
                    </a:ln>
                    <a:solidFill>
                      <a:srgbClr val="000000"/>
                    </a:solidFill>
                    <a:effectLst/>
                    <a:uLnTx/>
                    <a:uFillTx/>
                    <a:latin typeface="Arial"/>
                    <a:ea typeface="+mn-ea"/>
                    <a:cs typeface="+mn-cs"/>
                  </a:rPr>
                </a:br>
                <a:r>
                  <a:rPr kumimoji="0" lang="en-US" sz="1200" b="0" i="0" u="none" strike="noStrike" kern="0" cap="none" spc="0" normalizeH="0" baseline="0" noProof="0" dirty="0">
                    <a:ln>
                      <a:noFill/>
                    </a:ln>
                    <a:solidFill>
                      <a:srgbClr val="000000"/>
                    </a:solidFill>
                    <a:effectLst/>
                    <a:uLnTx/>
                    <a:uFillTx/>
                    <a:ea typeface="+mn-ea"/>
                    <a:cs typeface="+mn-cs"/>
                  </a:rPr>
                  <a:t>Title</a:t>
                </a:r>
              </a:p>
            </p:txBody>
          </p:sp>
          <p:sp>
            <p:nvSpPr>
              <p:cNvPr id="24" name="Rectangle 24">
                <a:extLst>
                  <a:ext uri="{FF2B5EF4-FFF2-40B4-BE49-F238E27FC236}">
                    <a16:creationId xmlns:a16="http://schemas.microsoft.com/office/drawing/2014/main" id="{0D26D913-32B8-4D71-9D9C-CE8B533E96FF}"/>
                  </a:ext>
                </a:extLst>
              </p:cNvPr>
              <p:cNvSpPr>
                <a:spLocks noChangeArrowheads="1"/>
              </p:cNvSpPr>
              <p:nvPr/>
            </p:nvSpPr>
            <p:spPr bwMode="auto">
              <a:xfrm>
                <a:off x="3230007" y="4551222"/>
                <a:ext cx="1549070" cy="487227"/>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Name</a:t>
                </a:r>
                <a:br>
                  <a:rPr kumimoji="0" lang="en-US" sz="1200" b="1" i="0" u="none" strike="noStrike" kern="0" cap="none" spc="0" normalizeH="0" baseline="0" noProof="0" dirty="0">
                    <a:ln>
                      <a:noFill/>
                    </a:ln>
                    <a:solidFill>
                      <a:srgbClr val="000000"/>
                    </a:solidFill>
                    <a:effectLst/>
                    <a:uLnTx/>
                    <a:uFillTx/>
                    <a:latin typeface="Arial"/>
                    <a:ea typeface="+mn-ea"/>
                    <a:cs typeface="+mn-cs"/>
                  </a:rPr>
                </a:br>
                <a:r>
                  <a:rPr kumimoji="0" lang="en-US" sz="1200" b="0" i="0" u="none" strike="noStrike" kern="0" cap="none" spc="0" normalizeH="0" baseline="0" noProof="0" dirty="0">
                    <a:ln>
                      <a:noFill/>
                    </a:ln>
                    <a:solidFill>
                      <a:srgbClr val="000000"/>
                    </a:solidFill>
                    <a:effectLst/>
                    <a:uLnTx/>
                    <a:uFillTx/>
                    <a:ea typeface="+mn-ea"/>
                    <a:cs typeface="+mn-cs"/>
                  </a:rPr>
                  <a:t>Title</a:t>
                </a:r>
              </a:p>
            </p:txBody>
          </p:sp>
          <p:sp>
            <p:nvSpPr>
              <p:cNvPr id="25" name="Rectangle 25">
                <a:extLst>
                  <a:ext uri="{FF2B5EF4-FFF2-40B4-BE49-F238E27FC236}">
                    <a16:creationId xmlns:a16="http://schemas.microsoft.com/office/drawing/2014/main" id="{FBB4D18A-E60E-4E5D-8A65-A29922D084B8}"/>
                  </a:ext>
                </a:extLst>
              </p:cNvPr>
              <p:cNvSpPr>
                <a:spLocks noChangeArrowheads="1"/>
              </p:cNvSpPr>
              <p:nvPr/>
            </p:nvSpPr>
            <p:spPr bwMode="auto">
              <a:xfrm>
                <a:off x="3230007" y="5224423"/>
                <a:ext cx="1549070" cy="488764"/>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Name</a:t>
                </a:r>
                <a:br>
                  <a:rPr kumimoji="0" lang="en-US" sz="1200" b="1" i="0" u="none" strike="noStrike" kern="0" cap="none" spc="0" normalizeH="0" baseline="0" noProof="0" dirty="0">
                    <a:ln>
                      <a:noFill/>
                    </a:ln>
                    <a:solidFill>
                      <a:srgbClr val="000000"/>
                    </a:solidFill>
                    <a:effectLst/>
                    <a:uLnTx/>
                    <a:uFillTx/>
                    <a:latin typeface="Arial"/>
                    <a:ea typeface="+mn-ea"/>
                    <a:cs typeface="+mn-cs"/>
                  </a:rPr>
                </a:br>
                <a:r>
                  <a:rPr kumimoji="0" lang="en-US" sz="1200" b="0" i="0" u="none" strike="noStrike" kern="0" cap="none" spc="0" normalizeH="0" baseline="0" noProof="0" dirty="0">
                    <a:ln>
                      <a:noFill/>
                    </a:ln>
                    <a:solidFill>
                      <a:srgbClr val="000000"/>
                    </a:solidFill>
                    <a:effectLst/>
                    <a:uLnTx/>
                    <a:uFillTx/>
                    <a:ea typeface="+mn-ea"/>
                    <a:cs typeface="+mn-cs"/>
                  </a:rPr>
                  <a:t>Title</a:t>
                </a:r>
              </a:p>
            </p:txBody>
          </p:sp>
          <p:cxnSp>
            <p:nvCxnSpPr>
              <p:cNvPr id="26" name="AutoShape 26">
                <a:extLst>
                  <a:ext uri="{FF2B5EF4-FFF2-40B4-BE49-F238E27FC236}">
                    <a16:creationId xmlns:a16="http://schemas.microsoft.com/office/drawing/2014/main" id="{5BF5FAF4-55EE-4B81-8708-99C9161B8564}"/>
                  </a:ext>
                </a:extLst>
              </p:cNvPr>
              <p:cNvCxnSpPr>
                <a:cxnSpLocks noChangeShapeType="1"/>
                <a:stCxn id="22" idx="1"/>
                <a:endCxn id="23" idx="1"/>
              </p:cNvCxnSpPr>
              <p:nvPr/>
            </p:nvCxnSpPr>
            <p:spPr bwMode="auto">
              <a:xfrm rot="10800000" flipH="1" flipV="1">
                <a:off x="3230008" y="3481475"/>
                <a:ext cx="2038" cy="639389"/>
              </a:xfrm>
              <a:prstGeom prst="bentConnector3">
                <a:avLst>
                  <a:gd name="adj1" fmla="val -14400000"/>
                </a:avLst>
              </a:prstGeom>
              <a:noFill/>
              <a:ln w="12700" cap="rnd" cmpd="sng" algn="ctr">
                <a:solidFill>
                  <a:srgbClr val="96968C"/>
                </a:solidFill>
                <a:prstDash val="sysDot"/>
                <a:headEnd type="none" w="med" len="med"/>
                <a:tailEnd type="none" w="med" len="med"/>
              </a:ln>
              <a:effectLst/>
            </p:spPr>
          </p:cxnSp>
          <p:cxnSp>
            <p:nvCxnSpPr>
              <p:cNvPr id="28" name="AutoShape 28">
                <a:extLst>
                  <a:ext uri="{FF2B5EF4-FFF2-40B4-BE49-F238E27FC236}">
                    <a16:creationId xmlns:a16="http://schemas.microsoft.com/office/drawing/2014/main" id="{0A8950CF-12BE-4ADE-9CDE-C4A3AF7DCF02}"/>
                  </a:ext>
                </a:extLst>
              </p:cNvPr>
              <p:cNvCxnSpPr>
                <a:cxnSpLocks noChangeShapeType="1"/>
                <a:stCxn id="24" idx="1"/>
                <a:endCxn id="25" idx="1"/>
              </p:cNvCxnSpPr>
              <p:nvPr/>
            </p:nvCxnSpPr>
            <p:spPr bwMode="auto">
              <a:xfrm rot="10800000" flipH="1" flipV="1">
                <a:off x="3230008" y="4794065"/>
                <a:ext cx="2038" cy="674740"/>
              </a:xfrm>
              <a:prstGeom prst="bentConnector3">
                <a:avLst>
                  <a:gd name="adj1" fmla="val -14400000"/>
                </a:avLst>
              </a:prstGeom>
              <a:noFill/>
              <a:ln w="12700" cap="rnd" cmpd="sng" algn="ctr">
                <a:solidFill>
                  <a:srgbClr val="96968C"/>
                </a:solidFill>
                <a:prstDash val="sysDot"/>
                <a:headEnd type="none" w="med" len="med"/>
                <a:tailEnd type="none" w="med" len="med"/>
              </a:ln>
              <a:effectLst/>
            </p:spPr>
          </p:cxnSp>
          <p:cxnSp>
            <p:nvCxnSpPr>
              <p:cNvPr id="29" name="AutoShape 29">
                <a:extLst>
                  <a:ext uri="{FF2B5EF4-FFF2-40B4-BE49-F238E27FC236}">
                    <a16:creationId xmlns:a16="http://schemas.microsoft.com/office/drawing/2014/main" id="{4A342749-2A15-407D-B57C-DE4EFD2BC6F7}"/>
                  </a:ext>
                </a:extLst>
              </p:cNvPr>
              <p:cNvCxnSpPr>
                <a:cxnSpLocks noChangeShapeType="1"/>
                <a:stCxn id="21" idx="2"/>
                <a:endCxn id="22" idx="1"/>
              </p:cNvCxnSpPr>
              <p:nvPr/>
            </p:nvCxnSpPr>
            <p:spPr bwMode="auto">
              <a:xfrm rot="5400000">
                <a:off x="3257448" y="2872979"/>
                <a:ext cx="581055" cy="635935"/>
              </a:xfrm>
              <a:prstGeom prst="bentConnector4">
                <a:avLst>
                  <a:gd name="adj1" fmla="val 29103"/>
                  <a:gd name="adj2" fmla="val 146731"/>
                </a:avLst>
              </a:prstGeom>
              <a:noFill/>
              <a:ln w="12700" cap="rnd" cmpd="sng" algn="ctr">
                <a:solidFill>
                  <a:srgbClr val="96968C"/>
                </a:solidFill>
                <a:prstDash val="sysDot"/>
                <a:headEnd type="none" w="med" len="med"/>
                <a:tailEnd type="none" w="med" len="med"/>
              </a:ln>
              <a:effectLst/>
            </p:spPr>
          </p:cxnSp>
        </p:grpSp>
      </p:grpSp>
      <p:grpSp>
        <p:nvGrpSpPr>
          <p:cNvPr id="65" name="Group 64" descr="Dep 3">
            <a:extLst>
              <a:ext uri="{FF2B5EF4-FFF2-40B4-BE49-F238E27FC236}">
                <a16:creationId xmlns:a16="http://schemas.microsoft.com/office/drawing/2014/main" id="{6D43B745-A115-47CC-9939-FCB8A9ADC8F0}"/>
              </a:ext>
            </a:extLst>
          </p:cNvPr>
          <p:cNvGrpSpPr/>
          <p:nvPr/>
        </p:nvGrpSpPr>
        <p:grpSpPr>
          <a:xfrm>
            <a:off x="5209148" y="2416267"/>
            <a:ext cx="1828311" cy="3296920"/>
            <a:chOff x="5209148" y="2416267"/>
            <a:chExt cx="1828311" cy="3296920"/>
          </a:xfrm>
        </p:grpSpPr>
        <p:cxnSp>
          <p:nvCxnSpPr>
            <p:cNvPr id="35" name="AutoShape 36">
              <a:extLst>
                <a:ext uri="{FF2B5EF4-FFF2-40B4-BE49-F238E27FC236}">
                  <a16:creationId xmlns:a16="http://schemas.microsoft.com/office/drawing/2014/main" id="{635055E8-756A-4834-B2F3-50349B7318AF}"/>
                </a:ext>
              </a:extLst>
            </p:cNvPr>
            <p:cNvCxnSpPr>
              <a:cxnSpLocks noChangeShapeType="1"/>
              <a:stCxn id="31" idx="1"/>
              <a:endCxn id="32" idx="1"/>
            </p:cNvCxnSpPr>
            <p:nvPr/>
          </p:nvCxnSpPr>
          <p:spPr bwMode="auto">
            <a:xfrm rot="10800000" flipH="1" flipV="1">
              <a:off x="5484314" y="3481475"/>
              <a:ext cx="2038" cy="639389"/>
            </a:xfrm>
            <a:prstGeom prst="bentConnector3">
              <a:avLst>
                <a:gd name="adj1" fmla="val -14400000"/>
              </a:avLst>
            </a:prstGeom>
            <a:noFill/>
            <a:ln w="12700" cap="rnd" cmpd="sng" algn="ctr">
              <a:solidFill>
                <a:srgbClr val="96968C"/>
              </a:solidFill>
              <a:prstDash val="sysDot"/>
              <a:headEnd type="none" w="med" len="med"/>
              <a:tailEnd type="none" w="med" len="med"/>
            </a:ln>
            <a:effectLst/>
          </p:spPr>
        </p:cxnSp>
        <p:grpSp>
          <p:nvGrpSpPr>
            <p:cNvPr id="60" name="Group 59">
              <a:extLst>
                <a:ext uri="{FF2B5EF4-FFF2-40B4-BE49-F238E27FC236}">
                  <a16:creationId xmlns:a16="http://schemas.microsoft.com/office/drawing/2014/main" id="{37E4FC22-AADF-446E-8CED-41C1E4413A24}"/>
                </a:ext>
              </a:extLst>
            </p:cNvPr>
            <p:cNvGrpSpPr/>
            <p:nvPr/>
          </p:nvGrpSpPr>
          <p:grpSpPr>
            <a:xfrm>
              <a:off x="5209148" y="2416267"/>
              <a:ext cx="1828311" cy="3296920"/>
              <a:chOff x="5209148" y="2416267"/>
              <a:chExt cx="1828311" cy="3296920"/>
            </a:xfrm>
          </p:grpSpPr>
          <p:sp>
            <p:nvSpPr>
              <p:cNvPr id="30" name="Rectangle 31">
                <a:extLst>
                  <a:ext uri="{FF2B5EF4-FFF2-40B4-BE49-F238E27FC236}">
                    <a16:creationId xmlns:a16="http://schemas.microsoft.com/office/drawing/2014/main" id="{12E11C17-78E2-41CF-84B1-0C0A44E78080}"/>
                  </a:ext>
                </a:extLst>
              </p:cNvPr>
              <p:cNvSpPr>
                <a:spLocks noChangeArrowheads="1"/>
              </p:cNvSpPr>
              <p:nvPr/>
            </p:nvSpPr>
            <p:spPr bwMode="auto">
              <a:xfrm>
                <a:off x="5209148" y="2416267"/>
                <a:ext cx="1828311" cy="484152"/>
              </a:xfrm>
              <a:prstGeom prst="rect">
                <a:avLst/>
              </a:prstGeom>
              <a:solidFill>
                <a:schemeClr val="accent2"/>
              </a:solidFill>
              <a:ln w="6350">
                <a:noFill/>
                <a:miter lim="800000"/>
                <a:headEnd type="none" w="sm" len="sm"/>
                <a:tailEnd type="none" w="sm" len="sm"/>
              </a:ln>
              <a:effectLst/>
            </p:spPr>
            <p:txBody>
              <a:bodyPr wrap="none" lIns="72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Name Dep. 3</a:t>
                </a: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ea typeface="+mn-ea"/>
                    <a:cs typeface="+mn-cs"/>
                  </a:rPr>
                  <a:t>SVP Department 3</a:t>
                </a:r>
              </a:p>
            </p:txBody>
          </p:sp>
          <p:sp>
            <p:nvSpPr>
              <p:cNvPr id="31" name="Rectangle 32">
                <a:extLst>
                  <a:ext uri="{FF2B5EF4-FFF2-40B4-BE49-F238E27FC236}">
                    <a16:creationId xmlns:a16="http://schemas.microsoft.com/office/drawing/2014/main" id="{2870B8A1-994E-4A4A-954E-7D6AC672E3B1}"/>
                  </a:ext>
                </a:extLst>
              </p:cNvPr>
              <p:cNvSpPr>
                <a:spLocks noChangeArrowheads="1"/>
              </p:cNvSpPr>
              <p:nvPr/>
            </p:nvSpPr>
            <p:spPr bwMode="auto">
              <a:xfrm>
                <a:off x="5484312" y="3238629"/>
                <a:ext cx="1553147" cy="485690"/>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Name</a:t>
                </a:r>
                <a:br>
                  <a:rPr kumimoji="0" lang="en-US" sz="1200" b="1" i="0" u="none" strike="noStrike" kern="0" cap="none" spc="0" normalizeH="0" baseline="0" noProof="0" dirty="0">
                    <a:ln>
                      <a:noFill/>
                    </a:ln>
                    <a:solidFill>
                      <a:srgbClr val="000000"/>
                    </a:solidFill>
                    <a:effectLst/>
                    <a:uLnTx/>
                    <a:uFillTx/>
                    <a:latin typeface="Arial"/>
                    <a:ea typeface="+mn-ea"/>
                    <a:cs typeface="+mn-cs"/>
                  </a:rPr>
                </a:br>
                <a:r>
                  <a:rPr kumimoji="0" lang="en-US" sz="1200" b="0" i="0" u="none" strike="noStrike" kern="0" cap="none" spc="0" normalizeH="0" baseline="0" noProof="0" dirty="0">
                    <a:ln>
                      <a:noFill/>
                    </a:ln>
                    <a:solidFill>
                      <a:srgbClr val="000000"/>
                    </a:solidFill>
                    <a:effectLst/>
                    <a:uLnTx/>
                    <a:uFillTx/>
                    <a:ea typeface="+mn-ea"/>
                    <a:cs typeface="+mn-cs"/>
                  </a:rPr>
                  <a:t>Title</a:t>
                </a:r>
              </a:p>
            </p:txBody>
          </p:sp>
          <p:sp>
            <p:nvSpPr>
              <p:cNvPr id="32" name="Rectangle 33">
                <a:extLst>
                  <a:ext uri="{FF2B5EF4-FFF2-40B4-BE49-F238E27FC236}">
                    <a16:creationId xmlns:a16="http://schemas.microsoft.com/office/drawing/2014/main" id="{C1DA7035-832D-4C90-8E23-93DC4587A97E}"/>
                  </a:ext>
                </a:extLst>
              </p:cNvPr>
              <p:cNvSpPr>
                <a:spLocks noChangeArrowheads="1"/>
              </p:cNvSpPr>
              <p:nvPr/>
            </p:nvSpPr>
            <p:spPr bwMode="auto">
              <a:xfrm>
                <a:off x="5484312" y="3876481"/>
                <a:ext cx="1553147" cy="488764"/>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Name</a:t>
                </a:r>
                <a:br>
                  <a:rPr kumimoji="0" lang="en-US" sz="1200" b="1" i="0" u="none" strike="noStrike" kern="0" cap="none" spc="0" normalizeH="0" baseline="0" noProof="0" dirty="0">
                    <a:ln>
                      <a:noFill/>
                    </a:ln>
                    <a:solidFill>
                      <a:srgbClr val="000000"/>
                    </a:solidFill>
                    <a:effectLst/>
                    <a:uLnTx/>
                    <a:uFillTx/>
                    <a:latin typeface="Arial"/>
                    <a:ea typeface="+mn-ea"/>
                    <a:cs typeface="+mn-cs"/>
                  </a:rPr>
                </a:br>
                <a:r>
                  <a:rPr kumimoji="0" lang="en-US" sz="1200" b="0" i="0" u="none" strike="noStrike" kern="0" cap="none" spc="0" normalizeH="0" baseline="0" noProof="0" dirty="0">
                    <a:ln>
                      <a:noFill/>
                    </a:ln>
                    <a:solidFill>
                      <a:srgbClr val="000000"/>
                    </a:solidFill>
                    <a:effectLst/>
                    <a:uLnTx/>
                    <a:uFillTx/>
                    <a:ea typeface="+mn-ea"/>
                    <a:cs typeface="+mn-cs"/>
                  </a:rPr>
                  <a:t>Title</a:t>
                </a:r>
              </a:p>
            </p:txBody>
          </p:sp>
          <p:sp>
            <p:nvSpPr>
              <p:cNvPr id="33" name="Rectangle 34">
                <a:extLst>
                  <a:ext uri="{FF2B5EF4-FFF2-40B4-BE49-F238E27FC236}">
                    <a16:creationId xmlns:a16="http://schemas.microsoft.com/office/drawing/2014/main" id="{276F30CA-5DF4-49BF-A923-EA817624D602}"/>
                  </a:ext>
                </a:extLst>
              </p:cNvPr>
              <p:cNvSpPr>
                <a:spLocks noChangeArrowheads="1"/>
              </p:cNvSpPr>
              <p:nvPr/>
            </p:nvSpPr>
            <p:spPr bwMode="auto">
              <a:xfrm>
                <a:off x="5484312" y="4581961"/>
                <a:ext cx="1553147" cy="487227"/>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Name</a:t>
                </a:r>
                <a:br>
                  <a:rPr kumimoji="0" lang="en-US" sz="1200" b="1" i="0" u="none" strike="noStrike" kern="0" cap="none" spc="0" normalizeH="0" baseline="0" noProof="0" dirty="0">
                    <a:ln>
                      <a:noFill/>
                    </a:ln>
                    <a:solidFill>
                      <a:srgbClr val="000000"/>
                    </a:solidFill>
                    <a:effectLst/>
                    <a:uLnTx/>
                    <a:uFillTx/>
                    <a:latin typeface="Arial"/>
                    <a:ea typeface="+mn-ea"/>
                    <a:cs typeface="+mn-cs"/>
                  </a:rPr>
                </a:br>
                <a:r>
                  <a:rPr kumimoji="0" lang="en-US" sz="1200" b="0" i="0" u="none" strike="noStrike" kern="0" cap="none" spc="0" normalizeH="0" baseline="0" noProof="0" dirty="0">
                    <a:ln>
                      <a:noFill/>
                    </a:ln>
                    <a:solidFill>
                      <a:srgbClr val="000000"/>
                    </a:solidFill>
                    <a:effectLst/>
                    <a:uLnTx/>
                    <a:uFillTx/>
                    <a:ea typeface="+mn-ea"/>
                    <a:cs typeface="+mn-cs"/>
                  </a:rPr>
                  <a:t>Title</a:t>
                </a:r>
              </a:p>
            </p:txBody>
          </p:sp>
          <p:sp>
            <p:nvSpPr>
              <p:cNvPr id="34" name="Rectangle 35">
                <a:extLst>
                  <a:ext uri="{FF2B5EF4-FFF2-40B4-BE49-F238E27FC236}">
                    <a16:creationId xmlns:a16="http://schemas.microsoft.com/office/drawing/2014/main" id="{099DC31F-CCEB-436A-AB65-836302588229}"/>
                  </a:ext>
                </a:extLst>
              </p:cNvPr>
              <p:cNvSpPr>
                <a:spLocks noChangeArrowheads="1"/>
              </p:cNvSpPr>
              <p:nvPr/>
            </p:nvSpPr>
            <p:spPr bwMode="auto">
              <a:xfrm>
                <a:off x="5484312" y="5224423"/>
                <a:ext cx="1553147" cy="488764"/>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Name</a:t>
                </a:r>
                <a:br>
                  <a:rPr kumimoji="0" lang="en-US" sz="1200" b="1" i="0" u="none" strike="noStrike" kern="0" cap="none" spc="0" normalizeH="0" baseline="0" noProof="0" dirty="0">
                    <a:ln>
                      <a:noFill/>
                    </a:ln>
                    <a:solidFill>
                      <a:srgbClr val="000000"/>
                    </a:solidFill>
                    <a:effectLst/>
                    <a:uLnTx/>
                    <a:uFillTx/>
                    <a:latin typeface="Arial"/>
                    <a:ea typeface="+mn-ea"/>
                    <a:cs typeface="+mn-cs"/>
                  </a:rPr>
                </a:br>
                <a:r>
                  <a:rPr kumimoji="0" lang="en-US" sz="1200" b="0" i="0" u="none" strike="noStrike" kern="0" cap="none" spc="0" normalizeH="0" baseline="0" noProof="0" dirty="0">
                    <a:ln>
                      <a:noFill/>
                    </a:ln>
                    <a:solidFill>
                      <a:srgbClr val="000000"/>
                    </a:solidFill>
                    <a:effectLst/>
                    <a:uLnTx/>
                    <a:uFillTx/>
                    <a:ea typeface="+mn-ea"/>
                    <a:cs typeface="+mn-cs"/>
                  </a:rPr>
                  <a:t>Title</a:t>
                </a:r>
              </a:p>
            </p:txBody>
          </p:sp>
          <p:cxnSp>
            <p:nvCxnSpPr>
              <p:cNvPr id="36" name="AutoShape 37">
                <a:extLst>
                  <a:ext uri="{FF2B5EF4-FFF2-40B4-BE49-F238E27FC236}">
                    <a16:creationId xmlns:a16="http://schemas.microsoft.com/office/drawing/2014/main" id="{9B5A9521-E736-4897-85EB-A099B752494A}"/>
                  </a:ext>
                </a:extLst>
              </p:cNvPr>
              <p:cNvCxnSpPr>
                <a:cxnSpLocks noChangeShapeType="1"/>
                <a:stCxn id="32" idx="1"/>
                <a:endCxn id="33" idx="1"/>
              </p:cNvCxnSpPr>
              <p:nvPr/>
            </p:nvCxnSpPr>
            <p:spPr bwMode="auto">
              <a:xfrm rot="10800000" flipH="1" flipV="1">
                <a:off x="5484314" y="4120864"/>
                <a:ext cx="2038" cy="703943"/>
              </a:xfrm>
              <a:prstGeom prst="bentConnector3">
                <a:avLst>
                  <a:gd name="adj1" fmla="val -14400000"/>
                </a:avLst>
              </a:prstGeom>
              <a:noFill/>
              <a:ln w="12700" cap="rnd" cmpd="sng" algn="ctr">
                <a:solidFill>
                  <a:srgbClr val="96968C"/>
                </a:solidFill>
                <a:prstDash val="sysDot"/>
                <a:headEnd type="none" w="med" len="med"/>
                <a:tailEnd type="none" w="med" len="med"/>
              </a:ln>
              <a:effectLst/>
            </p:spPr>
          </p:cxnSp>
          <p:cxnSp>
            <p:nvCxnSpPr>
              <p:cNvPr id="37" name="AutoShape 38">
                <a:extLst>
                  <a:ext uri="{FF2B5EF4-FFF2-40B4-BE49-F238E27FC236}">
                    <a16:creationId xmlns:a16="http://schemas.microsoft.com/office/drawing/2014/main" id="{F6B5A53F-7EEC-44CB-B616-F6F5E631AEEA}"/>
                  </a:ext>
                </a:extLst>
              </p:cNvPr>
              <p:cNvCxnSpPr>
                <a:cxnSpLocks noChangeShapeType="1"/>
                <a:stCxn id="33" idx="1"/>
                <a:endCxn id="34" idx="1"/>
              </p:cNvCxnSpPr>
              <p:nvPr/>
            </p:nvCxnSpPr>
            <p:spPr bwMode="auto">
              <a:xfrm rot="10800000" flipH="1" flipV="1">
                <a:off x="5484314" y="4824805"/>
                <a:ext cx="2038" cy="644000"/>
              </a:xfrm>
              <a:prstGeom prst="bentConnector3">
                <a:avLst>
                  <a:gd name="adj1" fmla="val -14400000"/>
                </a:avLst>
              </a:prstGeom>
              <a:noFill/>
              <a:ln w="12700" cap="rnd" cmpd="sng" algn="ctr">
                <a:solidFill>
                  <a:srgbClr val="96968C"/>
                </a:solidFill>
                <a:prstDash val="sysDot"/>
                <a:headEnd type="none" w="med" len="med"/>
                <a:tailEnd type="none" w="med" len="med"/>
              </a:ln>
              <a:effectLst/>
            </p:spPr>
          </p:cxnSp>
          <p:cxnSp>
            <p:nvCxnSpPr>
              <p:cNvPr id="38" name="AutoShape 39">
                <a:extLst>
                  <a:ext uri="{FF2B5EF4-FFF2-40B4-BE49-F238E27FC236}">
                    <a16:creationId xmlns:a16="http://schemas.microsoft.com/office/drawing/2014/main" id="{68D82BD3-D7AB-4882-8663-A873D70EC825}"/>
                  </a:ext>
                </a:extLst>
              </p:cNvPr>
              <p:cNvCxnSpPr>
                <a:cxnSpLocks noChangeShapeType="1"/>
                <a:stCxn id="30" idx="2"/>
                <a:endCxn id="31" idx="1"/>
              </p:cNvCxnSpPr>
              <p:nvPr/>
            </p:nvCxnSpPr>
            <p:spPr bwMode="auto">
              <a:xfrm rot="5400000">
                <a:off x="5513281" y="2871450"/>
                <a:ext cx="581055" cy="638992"/>
              </a:xfrm>
              <a:prstGeom prst="bentConnector4">
                <a:avLst>
                  <a:gd name="adj1" fmla="val 29103"/>
                  <a:gd name="adj2" fmla="val 146507"/>
                </a:avLst>
              </a:prstGeom>
              <a:noFill/>
              <a:ln w="12700" cap="rnd" cmpd="sng" algn="ctr">
                <a:solidFill>
                  <a:srgbClr val="96968C"/>
                </a:solidFill>
                <a:prstDash val="sysDot"/>
                <a:headEnd type="none" w="med" len="med"/>
                <a:tailEnd type="none" w="med" len="med"/>
              </a:ln>
              <a:effectLst/>
            </p:spPr>
          </p:cxnSp>
        </p:grpSp>
      </p:grpSp>
      <p:grpSp>
        <p:nvGrpSpPr>
          <p:cNvPr id="66" name="Group 65" descr="Dep 4">
            <a:extLst>
              <a:ext uri="{FF2B5EF4-FFF2-40B4-BE49-F238E27FC236}">
                <a16:creationId xmlns:a16="http://schemas.microsoft.com/office/drawing/2014/main" id="{3F679A65-2CE3-4917-8919-B9D6899B2A98}"/>
              </a:ext>
            </a:extLst>
          </p:cNvPr>
          <p:cNvGrpSpPr/>
          <p:nvPr/>
        </p:nvGrpSpPr>
        <p:grpSpPr>
          <a:xfrm>
            <a:off x="7467531" y="2416267"/>
            <a:ext cx="1824235" cy="3327660"/>
            <a:chOff x="7467531" y="2416267"/>
            <a:chExt cx="1824235" cy="3327660"/>
          </a:xfrm>
        </p:grpSpPr>
        <p:cxnSp>
          <p:nvCxnSpPr>
            <p:cNvPr id="44" name="AutoShape 46">
              <a:extLst>
                <a:ext uri="{FF2B5EF4-FFF2-40B4-BE49-F238E27FC236}">
                  <a16:creationId xmlns:a16="http://schemas.microsoft.com/office/drawing/2014/main" id="{84B0402E-5675-4D9E-BCB1-7B0FC20DB7B7}"/>
                </a:ext>
              </a:extLst>
            </p:cNvPr>
            <p:cNvCxnSpPr>
              <a:cxnSpLocks noChangeShapeType="1"/>
              <a:stCxn id="40" idx="1"/>
              <a:endCxn id="41" idx="1"/>
            </p:cNvCxnSpPr>
            <p:nvPr/>
          </p:nvCxnSpPr>
          <p:spPr bwMode="auto">
            <a:xfrm rot="10800000" flipH="1" flipV="1">
              <a:off x="7742695" y="3512215"/>
              <a:ext cx="2038" cy="639389"/>
            </a:xfrm>
            <a:prstGeom prst="bentConnector3">
              <a:avLst>
                <a:gd name="adj1" fmla="val -14400000"/>
              </a:avLst>
            </a:prstGeom>
            <a:noFill/>
            <a:ln w="12700" cap="rnd" cmpd="sng" algn="ctr">
              <a:solidFill>
                <a:srgbClr val="96968C"/>
              </a:solidFill>
              <a:prstDash val="sysDot"/>
              <a:headEnd type="none" w="med" len="med"/>
              <a:tailEnd type="none" w="med" len="med"/>
            </a:ln>
            <a:effectLst/>
          </p:spPr>
        </p:cxnSp>
        <p:grpSp>
          <p:nvGrpSpPr>
            <p:cNvPr id="61" name="Group 60">
              <a:extLst>
                <a:ext uri="{FF2B5EF4-FFF2-40B4-BE49-F238E27FC236}">
                  <a16:creationId xmlns:a16="http://schemas.microsoft.com/office/drawing/2014/main" id="{D8C16F1F-F805-48D3-8B98-76F111063FFA}"/>
                </a:ext>
              </a:extLst>
            </p:cNvPr>
            <p:cNvGrpSpPr/>
            <p:nvPr/>
          </p:nvGrpSpPr>
          <p:grpSpPr>
            <a:xfrm>
              <a:off x="7467531" y="2416267"/>
              <a:ext cx="1824235" cy="3327660"/>
              <a:chOff x="7467531" y="2416267"/>
              <a:chExt cx="1824235" cy="3327660"/>
            </a:xfrm>
          </p:grpSpPr>
          <p:sp>
            <p:nvSpPr>
              <p:cNvPr id="39" name="Rectangle 41">
                <a:extLst>
                  <a:ext uri="{FF2B5EF4-FFF2-40B4-BE49-F238E27FC236}">
                    <a16:creationId xmlns:a16="http://schemas.microsoft.com/office/drawing/2014/main" id="{2E5EE163-81DB-4D8B-A5E6-B160ABABF219}"/>
                  </a:ext>
                </a:extLst>
              </p:cNvPr>
              <p:cNvSpPr>
                <a:spLocks noChangeArrowheads="1"/>
              </p:cNvSpPr>
              <p:nvPr/>
            </p:nvSpPr>
            <p:spPr bwMode="auto">
              <a:xfrm>
                <a:off x="7467531" y="2416267"/>
                <a:ext cx="1824234" cy="485690"/>
              </a:xfrm>
              <a:prstGeom prst="rect">
                <a:avLst/>
              </a:prstGeom>
              <a:solidFill>
                <a:schemeClr val="accent2"/>
              </a:solidFill>
              <a:ln w="6350">
                <a:noFill/>
                <a:miter lim="800000"/>
                <a:headEnd type="none" w="sm" len="sm"/>
                <a:tailEnd type="none" w="sm" len="sm"/>
              </a:ln>
              <a:effectLst/>
            </p:spPr>
            <p:txBody>
              <a:bodyPr wrap="none" lIns="72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Name Dep. 4</a:t>
                </a: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ea typeface="+mn-ea"/>
                    <a:cs typeface="+mn-cs"/>
                  </a:rPr>
                  <a:t>SVP Department 4</a:t>
                </a:r>
              </a:p>
            </p:txBody>
          </p:sp>
          <p:sp>
            <p:nvSpPr>
              <p:cNvPr id="40" name="Rectangle 42">
                <a:extLst>
                  <a:ext uri="{FF2B5EF4-FFF2-40B4-BE49-F238E27FC236}">
                    <a16:creationId xmlns:a16="http://schemas.microsoft.com/office/drawing/2014/main" id="{36978417-9387-4D99-8ADB-07BD9459D61B}"/>
                  </a:ext>
                </a:extLst>
              </p:cNvPr>
              <p:cNvSpPr>
                <a:spLocks noChangeArrowheads="1"/>
              </p:cNvSpPr>
              <p:nvPr/>
            </p:nvSpPr>
            <p:spPr bwMode="auto">
              <a:xfrm>
                <a:off x="7742693" y="3269369"/>
                <a:ext cx="1549070" cy="485690"/>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Name</a:t>
                </a:r>
                <a:br>
                  <a:rPr kumimoji="0" lang="en-US" sz="1200" b="1" i="0" u="none" strike="noStrike" kern="0" cap="none" spc="0" normalizeH="0" baseline="0" noProof="0" dirty="0">
                    <a:ln>
                      <a:noFill/>
                    </a:ln>
                    <a:solidFill>
                      <a:srgbClr val="000000"/>
                    </a:solidFill>
                    <a:effectLst/>
                    <a:uLnTx/>
                    <a:uFillTx/>
                    <a:latin typeface="Arial"/>
                    <a:ea typeface="+mn-ea"/>
                    <a:cs typeface="+mn-cs"/>
                  </a:rPr>
                </a:br>
                <a:r>
                  <a:rPr kumimoji="0" lang="en-US" sz="1200" b="0" i="0" u="none" strike="noStrike" kern="0" cap="none" spc="0" normalizeH="0" baseline="0" noProof="0" dirty="0">
                    <a:ln>
                      <a:noFill/>
                    </a:ln>
                    <a:solidFill>
                      <a:srgbClr val="000000"/>
                    </a:solidFill>
                    <a:effectLst/>
                    <a:uLnTx/>
                    <a:uFillTx/>
                    <a:ea typeface="+mn-ea"/>
                    <a:cs typeface="+mn-cs"/>
                  </a:rPr>
                  <a:t>Title</a:t>
                </a:r>
              </a:p>
            </p:txBody>
          </p:sp>
          <p:sp>
            <p:nvSpPr>
              <p:cNvPr id="41" name="Rectangle 43">
                <a:extLst>
                  <a:ext uri="{FF2B5EF4-FFF2-40B4-BE49-F238E27FC236}">
                    <a16:creationId xmlns:a16="http://schemas.microsoft.com/office/drawing/2014/main" id="{30026B12-D982-4B47-8AAA-2F6CBE658CB0}"/>
                  </a:ext>
                </a:extLst>
              </p:cNvPr>
              <p:cNvSpPr>
                <a:spLocks noChangeArrowheads="1"/>
              </p:cNvSpPr>
              <p:nvPr/>
            </p:nvSpPr>
            <p:spPr bwMode="auto">
              <a:xfrm>
                <a:off x="7742693" y="3907221"/>
                <a:ext cx="1549070" cy="488764"/>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Name</a:t>
                </a:r>
                <a:br>
                  <a:rPr kumimoji="0" lang="en-US" sz="1200" b="1" i="0" u="none" strike="noStrike" kern="0" cap="none" spc="0" normalizeH="0" baseline="0" noProof="0" dirty="0">
                    <a:ln>
                      <a:noFill/>
                    </a:ln>
                    <a:solidFill>
                      <a:srgbClr val="000000"/>
                    </a:solidFill>
                    <a:effectLst/>
                    <a:uLnTx/>
                    <a:uFillTx/>
                    <a:latin typeface="Arial"/>
                    <a:ea typeface="+mn-ea"/>
                    <a:cs typeface="+mn-cs"/>
                  </a:rPr>
                </a:br>
                <a:r>
                  <a:rPr kumimoji="0" lang="en-US" sz="1200" b="0" i="0" u="none" strike="noStrike" kern="0" cap="none" spc="0" normalizeH="0" baseline="0" noProof="0" dirty="0">
                    <a:ln>
                      <a:noFill/>
                    </a:ln>
                    <a:solidFill>
                      <a:srgbClr val="000000"/>
                    </a:solidFill>
                    <a:effectLst/>
                    <a:uLnTx/>
                    <a:uFillTx/>
                    <a:ea typeface="+mn-ea"/>
                    <a:cs typeface="+mn-cs"/>
                  </a:rPr>
                  <a:t>Title</a:t>
                </a:r>
              </a:p>
            </p:txBody>
          </p:sp>
          <p:sp>
            <p:nvSpPr>
              <p:cNvPr id="42" name="Rectangle 44">
                <a:extLst>
                  <a:ext uri="{FF2B5EF4-FFF2-40B4-BE49-F238E27FC236}">
                    <a16:creationId xmlns:a16="http://schemas.microsoft.com/office/drawing/2014/main" id="{695FB49F-D351-435E-90D1-1DB7B194F759}"/>
                  </a:ext>
                </a:extLst>
              </p:cNvPr>
              <p:cNvSpPr>
                <a:spLocks noChangeArrowheads="1"/>
              </p:cNvSpPr>
              <p:nvPr/>
            </p:nvSpPr>
            <p:spPr bwMode="auto">
              <a:xfrm>
                <a:off x="7740658" y="4581961"/>
                <a:ext cx="1551108" cy="487227"/>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Name</a:t>
                </a:r>
                <a:br>
                  <a:rPr kumimoji="0" lang="en-US" sz="1200" b="1" i="0" u="none" strike="noStrike" kern="0" cap="none" spc="0" normalizeH="0" baseline="0" noProof="0" dirty="0">
                    <a:ln>
                      <a:noFill/>
                    </a:ln>
                    <a:solidFill>
                      <a:srgbClr val="000000"/>
                    </a:solidFill>
                    <a:effectLst/>
                    <a:uLnTx/>
                    <a:uFillTx/>
                    <a:latin typeface="Arial"/>
                    <a:ea typeface="+mn-ea"/>
                    <a:cs typeface="+mn-cs"/>
                  </a:rPr>
                </a:br>
                <a:r>
                  <a:rPr kumimoji="0" lang="en-US" sz="1200" b="0" i="0" u="none" strike="noStrike" kern="0" cap="none" spc="0" normalizeH="0" baseline="0" noProof="0" dirty="0">
                    <a:ln>
                      <a:noFill/>
                    </a:ln>
                    <a:solidFill>
                      <a:srgbClr val="000000"/>
                    </a:solidFill>
                    <a:effectLst/>
                    <a:uLnTx/>
                    <a:uFillTx/>
                    <a:ea typeface="+mn-ea"/>
                    <a:cs typeface="+mn-cs"/>
                  </a:rPr>
                  <a:t>Title</a:t>
                </a:r>
              </a:p>
            </p:txBody>
          </p:sp>
          <p:sp>
            <p:nvSpPr>
              <p:cNvPr id="43" name="Rectangle 45">
                <a:extLst>
                  <a:ext uri="{FF2B5EF4-FFF2-40B4-BE49-F238E27FC236}">
                    <a16:creationId xmlns:a16="http://schemas.microsoft.com/office/drawing/2014/main" id="{5145A67D-4AB3-4552-A021-9045906EE04C}"/>
                  </a:ext>
                </a:extLst>
              </p:cNvPr>
              <p:cNvSpPr>
                <a:spLocks noChangeArrowheads="1"/>
              </p:cNvSpPr>
              <p:nvPr/>
            </p:nvSpPr>
            <p:spPr bwMode="auto">
              <a:xfrm>
                <a:off x="7742693" y="5255163"/>
                <a:ext cx="1549070" cy="488764"/>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Name</a:t>
                </a:r>
                <a:br>
                  <a:rPr kumimoji="0" lang="en-US" sz="1200" b="1" i="0" u="none" strike="noStrike" kern="0" cap="none" spc="0" normalizeH="0" baseline="0" noProof="0" dirty="0">
                    <a:ln>
                      <a:noFill/>
                    </a:ln>
                    <a:solidFill>
                      <a:srgbClr val="000000"/>
                    </a:solidFill>
                    <a:effectLst/>
                    <a:uLnTx/>
                    <a:uFillTx/>
                    <a:latin typeface="Arial"/>
                    <a:ea typeface="+mn-ea"/>
                    <a:cs typeface="+mn-cs"/>
                  </a:rPr>
                </a:br>
                <a:r>
                  <a:rPr kumimoji="0" lang="en-US" sz="1200" b="0" i="0" u="none" strike="noStrike" kern="0" cap="none" spc="0" normalizeH="0" baseline="0" noProof="0" dirty="0">
                    <a:ln>
                      <a:noFill/>
                    </a:ln>
                    <a:solidFill>
                      <a:srgbClr val="000000"/>
                    </a:solidFill>
                    <a:effectLst/>
                    <a:uLnTx/>
                    <a:uFillTx/>
                    <a:ea typeface="+mn-ea"/>
                    <a:cs typeface="+mn-cs"/>
                  </a:rPr>
                  <a:t>Title</a:t>
                </a:r>
              </a:p>
            </p:txBody>
          </p:sp>
          <p:cxnSp>
            <p:nvCxnSpPr>
              <p:cNvPr id="45" name="AutoShape 47">
                <a:extLst>
                  <a:ext uri="{FF2B5EF4-FFF2-40B4-BE49-F238E27FC236}">
                    <a16:creationId xmlns:a16="http://schemas.microsoft.com/office/drawing/2014/main" id="{B22B092D-658A-4D31-A81F-56016B3365B2}"/>
                  </a:ext>
                </a:extLst>
              </p:cNvPr>
              <p:cNvCxnSpPr>
                <a:cxnSpLocks noChangeShapeType="1"/>
                <a:stCxn id="41" idx="1"/>
                <a:endCxn id="42" idx="1"/>
              </p:cNvCxnSpPr>
              <p:nvPr/>
            </p:nvCxnSpPr>
            <p:spPr bwMode="auto">
              <a:xfrm rot="10800000" flipV="1">
                <a:off x="7740658" y="4151603"/>
                <a:ext cx="2038" cy="673203"/>
              </a:xfrm>
              <a:prstGeom prst="bentConnector3">
                <a:avLst>
                  <a:gd name="adj1" fmla="val 14500000"/>
                </a:avLst>
              </a:prstGeom>
              <a:noFill/>
              <a:ln w="12700" cap="rnd" cmpd="sng" algn="ctr">
                <a:solidFill>
                  <a:srgbClr val="96968C"/>
                </a:solidFill>
                <a:prstDash val="sysDot"/>
                <a:headEnd type="none" w="med" len="med"/>
                <a:tailEnd type="none" w="med" len="med"/>
              </a:ln>
              <a:effectLst/>
            </p:spPr>
          </p:cxnSp>
          <p:cxnSp>
            <p:nvCxnSpPr>
              <p:cNvPr id="46" name="AutoShape 48">
                <a:extLst>
                  <a:ext uri="{FF2B5EF4-FFF2-40B4-BE49-F238E27FC236}">
                    <a16:creationId xmlns:a16="http://schemas.microsoft.com/office/drawing/2014/main" id="{56167058-0A09-4268-9A99-2F996817AE9A}"/>
                  </a:ext>
                </a:extLst>
              </p:cNvPr>
              <p:cNvCxnSpPr>
                <a:cxnSpLocks noChangeShapeType="1"/>
                <a:stCxn id="42" idx="1"/>
                <a:endCxn id="43" idx="1"/>
              </p:cNvCxnSpPr>
              <p:nvPr/>
            </p:nvCxnSpPr>
            <p:spPr bwMode="auto">
              <a:xfrm rot="10800000" flipH="1" flipV="1">
                <a:off x="7740658" y="4824805"/>
                <a:ext cx="2038" cy="674740"/>
              </a:xfrm>
              <a:prstGeom prst="bentConnector3">
                <a:avLst>
                  <a:gd name="adj1" fmla="val -14400000"/>
                </a:avLst>
              </a:prstGeom>
              <a:noFill/>
              <a:ln w="12700" cap="rnd" cmpd="sng" algn="ctr">
                <a:solidFill>
                  <a:srgbClr val="96968C"/>
                </a:solidFill>
                <a:prstDash val="sysDot"/>
                <a:headEnd type="none" w="med" len="med"/>
                <a:tailEnd type="none" w="med" len="med"/>
              </a:ln>
              <a:effectLst/>
            </p:spPr>
          </p:cxnSp>
          <p:cxnSp>
            <p:nvCxnSpPr>
              <p:cNvPr id="47" name="AutoShape 49">
                <a:extLst>
                  <a:ext uri="{FF2B5EF4-FFF2-40B4-BE49-F238E27FC236}">
                    <a16:creationId xmlns:a16="http://schemas.microsoft.com/office/drawing/2014/main" id="{DB723B1A-0966-4F7F-A693-3B8050A6F9C4}"/>
                  </a:ext>
                </a:extLst>
              </p:cNvPr>
              <p:cNvCxnSpPr>
                <a:cxnSpLocks noChangeShapeType="1"/>
                <a:stCxn id="39" idx="2"/>
                <a:endCxn id="40" idx="1"/>
              </p:cNvCxnSpPr>
              <p:nvPr/>
            </p:nvCxnSpPr>
            <p:spPr bwMode="auto">
              <a:xfrm rot="5400000">
                <a:off x="7756043" y="2888608"/>
                <a:ext cx="610257" cy="636955"/>
              </a:xfrm>
              <a:prstGeom prst="bentConnector4">
                <a:avLst>
                  <a:gd name="adj1" fmla="val 30103"/>
                  <a:gd name="adj2" fmla="val 146657"/>
                </a:avLst>
              </a:prstGeom>
              <a:noFill/>
              <a:ln w="12700" cap="rnd" cmpd="sng" algn="ctr">
                <a:solidFill>
                  <a:srgbClr val="96968C"/>
                </a:solidFill>
                <a:prstDash val="sysDot"/>
                <a:headEnd type="none" w="med" len="med"/>
                <a:tailEnd type="none" w="med" len="med"/>
              </a:ln>
              <a:effectLst/>
            </p:spPr>
          </p:cxnSp>
        </p:grpSp>
      </p:grpSp>
      <p:grpSp>
        <p:nvGrpSpPr>
          <p:cNvPr id="67" name="Group 66" descr="Dep 5">
            <a:extLst>
              <a:ext uri="{FF2B5EF4-FFF2-40B4-BE49-F238E27FC236}">
                <a16:creationId xmlns:a16="http://schemas.microsoft.com/office/drawing/2014/main" id="{6551F586-066F-477C-8C73-465C2EDEEC75}"/>
              </a:ext>
            </a:extLst>
          </p:cNvPr>
          <p:cNvGrpSpPr/>
          <p:nvPr/>
        </p:nvGrpSpPr>
        <p:grpSpPr>
          <a:xfrm>
            <a:off x="9721838" y="2416267"/>
            <a:ext cx="1826272" cy="3296920"/>
            <a:chOff x="9721838" y="2416267"/>
            <a:chExt cx="1826272" cy="3296920"/>
          </a:xfrm>
        </p:grpSpPr>
        <p:cxnSp>
          <p:nvCxnSpPr>
            <p:cNvPr id="53" name="AutoShape 56">
              <a:extLst>
                <a:ext uri="{FF2B5EF4-FFF2-40B4-BE49-F238E27FC236}">
                  <a16:creationId xmlns:a16="http://schemas.microsoft.com/office/drawing/2014/main" id="{89198138-6147-4F86-9ECD-08D0D077D9F3}"/>
                </a:ext>
              </a:extLst>
            </p:cNvPr>
            <p:cNvCxnSpPr>
              <a:cxnSpLocks noChangeShapeType="1"/>
              <a:stCxn id="49" idx="1"/>
              <a:endCxn id="50" idx="1"/>
            </p:cNvCxnSpPr>
            <p:nvPr/>
          </p:nvCxnSpPr>
          <p:spPr bwMode="auto">
            <a:xfrm rot="10800000" flipH="1" flipV="1">
              <a:off x="9994963" y="3481475"/>
              <a:ext cx="2038" cy="639389"/>
            </a:xfrm>
            <a:prstGeom prst="bentConnector3">
              <a:avLst>
                <a:gd name="adj1" fmla="val -14400000"/>
              </a:avLst>
            </a:prstGeom>
            <a:noFill/>
            <a:ln w="12700" cap="rnd" cmpd="sng" algn="ctr">
              <a:solidFill>
                <a:srgbClr val="96968C"/>
              </a:solidFill>
              <a:prstDash val="sysDot"/>
              <a:headEnd type="none" w="med" len="med"/>
              <a:tailEnd type="none" w="med" len="med"/>
            </a:ln>
            <a:effectLst/>
          </p:spPr>
        </p:cxnSp>
        <p:grpSp>
          <p:nvGrpSpPr>
            <p:cNvPr id="62" name="Group 61">
              <a:extLst>
                <a:ext uri="{FF2B5EF4-FFF2-40B4-BE49-F238E27FC236}">
                  <a16:creationId xmlns:a16="http://schemas.microsoft.com/office/drawing/2014/main" id="{8D489245-CF7F-4A30-9146-9470ABAABE6F}"/>
                </a:ext>
              </a:extLst>
            </p:cNvPr>
            <p:cNvGrpSpPr/>
            <p:nvPr/>
          </p:nvGrpSpPr>
          <p:grpSpPr>
            <a:xfrm>
              <a:off x="9721838" y="2416267"/>
              <a:ext cx="1826272" cy="3296920"/>
              <a:chOff x="9721838" y="2416267"/>
              <a:chExt cx="1826272" cy="3296920"/>
            </a:xfrm>
          </p:grpSpPr>
          <p:sp>
            <p:nvSpPr>
              <p:cNvPr id="48" name="Rectangle 51">
                <a:extLst>
                  <a:ext uri="{FF2B5EF4-FFF2-40B4-BE49-F238E27FC236}">
                    <a16:creationId xmlns:a16="http://schemas.microsoft.com/office/drawing/2014/main" id="{52F6B933-9A0A-4D00-922B-B8BB087B8413}"/>
                  </a:ext>
                </a:extLst>
              </p:cNvPr>
              <p:cNvSpPr>
                <a:spLocks noChangeArrowheads="1"/>
              </p:cNvSpPr>
              <p:nvPr/>
            </p:nvSpPr>
            <p:spPr bwMode="auto">
              <a:xfrm>
                <a:off x="9721838" y="2416267"/>
                <a:ext cx="1826272" cy="484152"/>
              </a:xfrm>
              <a:prstGeom prst="rect">
                <a:avLst/>
              </a:prstGeom>
              <a:solidFill>
                <a:schemeClr val="accent2"/>
              </a:solidFill>
              <a:ln w="6350">
                <a:noFill/>
                <a:miter lim="800000"/>
                <a:headEnd type="none" w="sm" len="sm"/>
                <a:tailEnd type="none" w="sm" len="sm"/>
              </a:ln>
              <a:effectLst/>
            </p:spPr>
            <p:txBody>
              <a:bodyPr wrap="none" lIns="72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Name Dep. 5</a:t>
                </a: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ea typeface="+mn-ea"/>
                    <a:cs typeface="+mn-cs"/>
                  </a:rPr>
                  <a:t>SVP Department 5</a:t>
                </a:r>
              </a:p>
            </p:txBody>
          </p:sp>
          <p:sp>
            <p:nvSpPr>
              <p:cNvPr id="49" name="Rectangle 52">
                <a:extLst>
                  <a:ext uri="{FF2B5EF4-FFF2-40B4-BE49-F238E27FC236}">
                    <a16:creationId xmlns:a16="http://schemas.microsoft.com/office/drawing/2014/main" id="{06741147-36B9-4141-B1ED-881111DF8AE7}"/>
                  </a:ext>
                </a:extLst>
              </p:cNvPr>
              <p:cNvSpPr>
                <a:spLocks noChangeArrowheads="1"/>
              </p:cNvSpPr>
              <p:nvPr/>
            </p:nvSpPr>
            <p:spPr bwMode="auto">
              <a:xfrm>
                <a:off x="9994962" y="3238629"/>
                <a:ext cx="1553147" cy="485690"/>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Name</a:t>
                </a:r>
                <a:br>
                  <a:rPr kumimoji="0" lang="en-US" sz="1200" b="1" i="0" u="none" strike="noStrike" kern="0" cap="none" spc="0" normalizeH="0" baseline="0" noProof="0" dirty="0">
                    <a:ln>
                      <a:noFill/>
                    </a:ln>
                    <a:solidFill>
                      <a:srgbClr val="000000"/>
                    </a:solidFill>
                    <a:effectLst/>
                    <a:uLnTx/>
                    <a:uFillTx/>
                    <a:latin typeface="Arial"/>
                    <a:ea typeface="+mn-ea"/>
                    <a:cs typeface="+mn-cs"/>
                  </a:rPr>
                </a:br>
                <a:r>
                  <a:rPr kumimoji="0" lang="en-US" sz="1200" b="0" i="0" u="none" strike="noStrike" kern="0" cap="none" spc="0" normalizeH="0" baseline="0" noProof="0" dirty="0">
                    <a:ln>
                      <a:noFill/>
                    </a:ln>
                    <a:solidFill>
                      <a:srgbClr val="000000"/>
                    </a:solidFill>
                    <a:effectLst/>
                    <a:uLnTx/>
                    <a:uFillTx/>
                    <a:ea typeface="+mn-ea"/>
                    <a:cs typeface="+mn-cs"/>
                  </a:rPr>
                  <a:t>Title</a:t>
                </a:r>
              </a:p>
            </p:txBody>
          </p:sp>
          <p:sp>
            <p:nvSpPr>
              <p:cNvPr id="50" name="Rectangle 53">
                <a:extLst>
                  <a:ext uri="{FF2B5EF4-FFF2-40B4-BE49-F238E27FC236}">
                    <a16:creationId xmlns:a16="http://schemas.microsoft.com/office/drawing/2014/main" id="{3783027E-B786-4B5D-9282-32D2DEF5D715}"/>
                  </a:ext>
                </a:extLst>
              </p:cNvPr>
              <p:cNvSpPr>
                <a:spLocks noChangeArrowheads="1"/>
              </p:cNvSpPr>
              <p:nvPr/>
            </p:nvSpPr>
            <p:spPr bwMode="auto">
              <a:xfrm>
                <a:off x="9994962" y="3876481"/>
                <a:ext cx="1553147" cy="488764"/>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Name</a:t>
                </a:r>
                <a:br>
                  <a:rPr kumimoji="0" lang="en-US" sz="1200" b="1" i="0" u="none" strike="noStrike" kern="0" cap="none" spc="0" normalizeH="0" baseline="0" noProof="0" dirty="0">
                    <a:ln>
                      <a:noFill/>
                    </a:ln>
                    <a:solidFill>
                      <a:srgbClr val="000000"/>
                    </a:solidFill>
                    <a:effectLst/>
                    <a:uLnTx/>
                    <a:uFillTx/>
                    <a:latin typeface="Arial"/>
                    <a:ea typeface="+mn-ea"/>
                    <a:cs typeface="+mn-cs"/>
                  </a:rPr>
                </a:br>
                <a:r>
                  <a:rPr kumimoji="0" lang="en-US" sz="1200" b="0" i="0" u="none" strike="noStrike" kern="0" cap="none" spc="0" normalizeH="0" baseline="0" noProof="0" dirty="0">
                    <a:ln>
                      <a:noFill/>
                    </a:ln>
                    <a:solidFill>
                      <a:srgbClr val="000000"/>
                    </a:solidFill>
                    <a:effectLst/>
                    <a:uLnTx/>
                    <a:uFillTx/>
                    <a:ea typeface="+mn-ea"/>
                    <a:cs typeface="+mn-cs"/>
                  </a:rPr>
                  <a:t>Title</a:t>
                </a:r>
              </a:p>
            </p:txBody>
          </p:sp>
          <p:sp>
            <p:nvSpPr>
              <p:cNvPr id="51" name="Rectangle 54">
                <a:extLst>
                  <a:ext uri="{FF2B5EF4-FFF2-40B4-BE49-F238E27FC236}">
                    <a16:creationId xmlns:a16="http://schemas.microsoft.com/office/drawing/2014/main" id="{BAA06575-BA91-4985-89EC-5D541E255FB6}"/>
                  </a:ext>
                </a:extLst>
              </p:cNvPr>
              <p:cNvSpPr>
                <a:spLocks noChangeArrowheads="1"/>
              </p:cNvSpPr>
              <p:nvPr/>
            </p:nvSpPr>
            <p:spPr bwMode="auto">
              <a:xfrm>
                <a:off x="9994962" y="4581961"/>
                <a:ext cx="1553147" cy="487227"/>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Name</a:t>
                </a:r>
                <a:br>
                  <a:rPr kumimoji="0" lang="en-US" sz="1200" b="1" i="0" u="none" strike="noStrike" kern="0" cap="none" spc="0" normalizeH="0" baseline="0" noProof="0" dirty="0">
                    <a:ln>
                      <a:noFill/>
                    </a:ln>
                    <a:solidFill>
                      <a:srgbClr val="000000"/>
                    </a:solidFill>
                    <a:effectLst/>
                    <a:uLnTx/>
                    <a:uFillTx/>
                    <a:latin typeface="Arial"/>
                    <a:ea typeface="+mn-ea"/>
                    <a:cs typeface="+mn-cs"/>
                  </a:rPr>
                </a:br>
                <a:r>
                  <a:rPr kumimoji="0" lang="en-US" sz="1200" b="0" i="0" u="none" strike="noStrike" kern="0" cap="none" spc="0" normalizeH="0" baseline="0" noProof="0" dirty="0">
                    <a:ln>
                      <a:noFill/>
                    </a:ln>
                    <a:solidFill>
                      <a:srgbClr val="000000"/>
                    </a:solidFill>
                    <a:effectLst/>
                    <a:uLnTx/>
                    <a:uFillTx/>
                    <a:ea typeface="+mn-ea"/>
                    <a:cs typeface="+mn-cs"/>
                  </a:rPr>
                  <a:t>Title</a:t>
                </a:r>
              </a:p>
            </p:txBody>
          </p:sp>
          <p:sp>
            <p:nvSpPr>
              <p:cNvPr id="52" name="Rectangle 55">
                <a:extLst>
                  <a:ext uri="{FF2B5EF4-FFF2-40B4-BE49-F238E27FC236}">
                    <a16:creationId xmlns:a16="http://schemas.microsoft.com/office/drawing/2014/main" id="{B37382AC-C856-452F-A365-FFF8026E26A5}"/>
                  </a:ext>
                </a:extLst>
              </p:cNvPr>
              <p:cNvSpPr>
                <a:spLocks noChangeArrowheads="1"/>
              </p:cNvSpPr>
              <p:nvPr/>
            </p:nvSpPr>
            <p:spPr bwMode="auto">
              <a:xfrm>
                <a:off x="9994962" y="5224423"/>
                <a:ext cx="1553147" cy="488764"/>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Name</a:t>
                </a:r>
                <a:br>
                  <a:rPr kumimoji="0" lang="en-US" sz="1200" b="1" i="0" u="none" strike="noStrike" kern="0" cap="none" spc="0" normalizeH="0" baseline="0" noProof="0" dirty="0">
                    <a:ln>
                      <a:noFill/>
                    </a:ln>
                    <a:solidFill>
                      <a:srgbClr val="000000"/>
                    </a:solidFill>
                    <a:effectLst/>
                    <a:uLnTx/>
                    <a:uFillTx/>
                    <a:latin typeface="Arial"/>
                    <a:ea typeface="+mn-ea"/>
                    <a:cs typeface="+mn-cs"/>
                  </a:rPr>
                </a:br>
                <a:r>
                  <a:rPr kumimoji="0" lang="en-US" sz="1200" b="0" i="0" u="none" strike="noStrike" kern="0" cap="none" spc="0" normalizeH="0" baseline="0" noProof="0" dirty="0">
                    <a:ln>
                      <a:noFill/>
                    </a:ln>
                    <a:solidFill>
                      <a:srgbClr val="000000"/>
                    </a:solidFill>
                    <a:effectLst/>
                    <a:uLnTx/>
                    <a:uFillTx/>
                    <a:ea typeface="+mn-ea"/>
                    <a:cs typeface="+mn-cs"/>
                  </a:rPr>
                  <a:t>Title</a:t>
                </a:r>
              </a:p>
            </p:txBody>
          </p:sp>
          <p:cxnSp>
            <p:nvCxnSpPr>
              <p:cNvPr id="54" name="AutoShape 57">
                <a:extLst>
                  <a:ext uri="{FF2B5EF4-FFF2-40B4-BE49-F238E27FC236}">
                    <a16:creationId xmlns:a16="http://schemas.microsoft.com/office/drawing/2014/main" id="{E5581FA1-2324-45E0-896A-A78B02DECCD6}"/>
                  </a:ext>
                </a:extLst>
              </p:cNvPr>
              <p:cNvCxnSpPr>
                <a:cxnSpLocks noChangeShapeType="1"/>
                <a:stCxn id="50" idx="1"/>
                <a:endCxn id="51" idx="1"/>
              </p:cNvCxnSpPr>
              <p:nvPr/>
            </p:nvCxnSpPr>
            <p:spPr bwMode="auto">
              <a:xfrm rot="10800000" flipH="1" flipV="1">
                <a:off x="9994963" y="4120864"/>
                <a:ext cx="2038" cy="703943"/>
              </a:xfrm>
              <a:prstGeom prst="bentConnector3">
                <a:avLst>
                  <a:gd name="adj1" fmla="val -14400000"/>
                </a:avLst>
              </a:prstGeom>
              <a:noFill/>
              <a:ln w="12700" cap="rnd" cmpd="sng" algn="ctr">
                <a:solidFill>
                  <a:srgbClr val="96968C"/>
                </a:solidFill>
                <a:prstDash val="sysDot"/>
                <a:headEnd type="none" w="med" len="med"/>
                <a:tailEnd type="none" w="med" len="med"/>
              </a:ln>
              <a:effectLst/>
            </p:spPr>
          </p:cxnSp>
          <p:cxnSp>
            <p:nvCxnSpPr>
              <p:cNvPr id="56" name="AutoShape 59">
                <a:extLst>
                  <a:ext uri="{FF2B5EF4-FFF2-40B4-BE49-F238E27FC236}">
                    <a16:creationId xmlns:a16="http://schemas.microsoft.com/office/drawing/2014/main" id="{80FBDAF5-9A1C-4BAA-9CB7-716C2B1AF620}"/>
                  </a:ext>
                </a:extLst>
              </p:cNvPr>
              <p:cNvCxnSpPr>
                <a:cxnSpLocks noChangeShapeType="1"/>
                <a:stCxn id="48" idx="2"/>
                <a:endCxn id="49" idx="1"/>
              </p:cNvCxnSpPr>
              <p:nvPr/>
            </p:nvCxnSpPr>
            <p:spPr bwMode="auto">
              <a:xfrm rot="5400000">
                <a:off x="10024441" y="2870940"/>
                <a:ext cx="581055" cy="640012"/>
              </a:xfrm>
              <a:prstGeom prst="bentConnector4">
                <a:avLst>
                  <a:gd name="adj1" fmla="val 29103"/>
                  <a:gd name="adj2" fmla="val 144647"/>
                </a:avLst>
              </a:prstGeom>
              <a:noFill/>
              <a:ln w="12700" cap="rnd" cmpd="sng" algn="ctr">
                <a:solidFill>
                  <a:srgbClr val="96968C"/>
                </a:solidFill>
                <a:prstDash val="sysDot"/>
                <a:headEnd type="none" w="med" len="med"/>
                <a:tailEnd type="none" w="med" len="med"/>
              </a:ln>
              <a:effectLst/>
            </p:spPr>
          </p:cxnSp>
          <p:cxnSp>
            <p:nvCxnSpPr>
              <p:cNvPr id="55" name="AutoShape 58">
                <a:extLst>
                  <a:ext uri="{FF2B5EF4-FFF2-40B4-BE49-F238E27FC236}">
                    <a16:creationId xmlns:a16="http://schemas.microsoft.com/office/drawing/2014/main" id="{02B52CF7-0DD8-4088-B35C-173C4C75DB83}"/>
                  </a:ext>
                </a:extLst>
              </p:cNvPr>
              <p:cNvCxnSpPr>
                <a:cxnSpLocks noChangeShapeType="1"/>
                <a:stCxn id="51" idx="1"/>
                <a:endCxn id="52" idx="1"/>
              </p:cNvCxnSpPr>
              <p:nvPr/>
            </p:nvCxnSpPr>
            <p:spPr bwMode="auto">
              <a:xfrm rot="10800000" flipH="1" flipV="1">
                <a:off x="9994963" y="4824805"/>
                <a:ext cx="2038" cy="644000"/>
              </a:xfrm>
              <a:prstGeom prst="bentConnector3">
                <a:avLst>
                  <a:gd name="adj1" fmla="val -14400000"/>
                </a:avLst>
              </a:prstGeom>
              <a:noFill/>
              <a:ln w="12700" cap="rnd" cmpd="sng" algn="ctr">
                <a:solidFill>
                  <a:srgbClr val="96968C"/>
                </a:solidFill>
                <a:prstDash val="sysDot"/>
                <a:headEnd type="none" w="med" len="med"/>
                <a:tailEnd type="none" w="med" len="med"/>
              </a:ln>
              <a:effectLst/>
            </p:spPr>
          </p:cxnSp>
        </p:grpSp>
      </p:grpSp>
      <p:sp>
        <p:nvSpPr>
          <p:cNvPr id="3" name="Footer Placeholder 2">
            <a:extLst>
              <a:ext uri="{FF2B5EF4-FFF2-40B4-BE49-F238E27FC236}">
                <a16:creationId xmlns:a16="http://schemas.microsoft.com/office/drawing/2014/main" id="{7CCE53DB-AE75-4A39-8FE8-BC502B14386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8" name="Slide Number Placeholder 57">
            <a:extLst>
              <a:ext uri="{FF2B5EF4-FFF2-40B4-BE49-F238E27FC236}">
                <a16:creationId xmlns:a16="http://schemas.microsoft.com/office/drawing/2014/main" id="{87F92D87-4872-4488-8313-33280FD3833C}"/>
              </a:ext>
            </a:extLst>
          </p:cNvPr>
          <p:cNvSpPr>
            <a:spLocks noGrp="1"/>
          </p:cNvSpPr>
          <p:nvPr>
            <p:ph type="sldNum" sz="quarter" idx="10"/>
          </p:nvPr>
        </p:nvSpPr>
        <p:spPr/>
        <p:txBody>
          <a:bodyPr/>
          <a:lstStyle/>
          <a:p>
            <a:fld id="{1F90F471-3972-4120-B8B3-0237DE626C35}" type="slidenum">
              <a:rPr lang="en-US" smtClean="0"/>
              <a:pPr/>
              <a:t>404</a:t>
            </a:fld>
            <a:endParaRPr lang="en-US" dirty="0"/>
          </a:p>
        </p:txBody>
      </p:sp>
    </p:spTree>
    <p:extLst>
      <p:ext uri="{BB962C8B-B14F-4D97-AF65-F5344CB8AC3E}">
        <p14:creationId xmlns:p14="http://schemas.microsoft.com/office/powerpoint/2010/main" val="1347708515"/>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Parallel Chart</a:t>
            </a:r>
          </a:p>
        </p:txBody>
      </p:sp>
      <p:grpSp>
        <p:nvGrpSpPr>
          <p:cNvPr id="54" name="Group 53" descr="G1">
            <a:extLst>
              <a:ext uri="{FF2B5EF4-FFF2-40B4-BE49-F238E27FC236}">
                <a16:creationId xmlns:a16="http://schemas.microsoft.com/office/drawing/2014/main" id="{5F934FFD-AA6C-4358-BD45-22719C9D1E80}"/>
              </a:ext>
            </a:extLst>
          </p:cNvPr>
          <p:cNvGrpSpPr/>
          <p:nvPr/>
        </p:nvGrpSpPr>
        <p:grpSpPr>
          <a:xfrm>
            <a:off x="2243572" y="1674992"/>
            <a:ext cx="1576212" cy="3290078"/>
            <a:chOff x="2243572" y="1674992"/>
            <a:chExt cx="1576212" cy="3290078"/>
          </a:xfrm>
        </p:grpSpPr>
        <p:cxnSp>
          <p:nvCxnSpPr>
            <p:cNvPr id="44" name="AutoShape 57">
              <a:extLst>
                <a:ext uri="{FF2B5EF4-FFF2-40B4-BE49-F238E27FC236}">
                  <a16:creationId xmlns:a16="http://schemas.microsoft.com/office/drawing/2014/main" id="{257D1C9F-E768-4ED1-98A0-3FEDAAF94025}"/>
                </a:ext>
              </a:extLst>
            </p:cNvPr>
            <p:cNvCxnSpPr>
              <a:cxnSpLocks noChangeShapeType="1"/>
              <a:stCxn id="43" idx="1"/>
              <a:endCxn id="42" idx="1"/>
            </p:cNvCxnSpPr>
            <p:nvPr/>
          </p:nvCxnSpPr>
          <p:spPr bwMode="auto">
            <a:xfrm rot="10800000" flipH="1" flipV="1">
              <a:off x="2243573" y="1855001"/>
              <a:ext cx="246567" cy="520362"/>
            </a:xfrm>
            <a:prstGeom prst="bentConnector3">
              <a:avLst>
                <a:gd name="adj1" fmla="val -88343"/>
              </a:avLst>
            </a:prstGeom>
            <a:noFill/>
            <a:ln w="12700" cap="rnd" cmpd="sng" algn="ctr">
              <a:solidFill>
                <a:srgbClr val="96968C"/>
              </a:solidFill>
              <a:prstDash val="sysDot"/>
              <a:headEnd type="none" w="med" len="med"/>
              <a:tailEnd type="none" w="med" len="med"/>
            </a:ln>
            <a:effectLst/>
          </p:spPr>
        </p:cxnSp>
        <p:cxnSp>
          <p:nvCxnSpPr>
            <p:cNvPr id="47" name="AutoShape 60">
              <a:extLst>
                <a:ext uri="{FF2B5EF4-FFF2-40B4-BE49-F238E27FC236}">
                  <a16:creationId xmlns:a16="http://schemas.microsoft.com/office/drawing/2014/main" id="{E3E08A5B-F4E7-4DBC-9291-E8BE47AA8506}"/>
                </a:ext>
              </a:extLst>
            </p:cNvPr>
            <p:cNvCxnSpPr>
              <a:cxnSpLocks noChangeShapeType="1"/>
              <a:stCxn id="39" idx="1"/>
              <a:endCxn id="40" idx="1"/>
            </p:cNvCxnSpPr>
            <p:nvPr/>
          </p:nvCxnSpPr>
          <p:spPr bwMode="auto">
            <a:xfrm rot="10800000" flipH="1" flipV="1">
              <a:off x="2494678" y="3606685"/>
              <a:ext cx="1513" cy="612635"/>
            </a:xfrm>
            <a:prstGeom prst="bentConnector3">
              <a:avLst>
                <a:gd name="adj1" fmla="val -31300000"/>
              </a:avLst>
            </a:prstGeom>
            <a:noFill/>
            <a:ln w="12700" cap="rnd" cmpd="sng" algn="ctr">
              <a:solidFill>
                <a:srgbClr val="96968C"/>
              </a:solidFill>
              <a:prstDash val="sysDot"/>
              <a:headEnd type="none" w="med" len="med"/>
              <a:tailEnd type="none" w="med" len="med"/>
            </a:ln>
            <a:effectLst/>
          </p:spPr>
        </p:cxnSp>
        <p:sp>
          <p:nvSpPr>
            <p:cNvPr id="38" name="Rectangle 37">
              <a:extLst>
                <a:ext uri="{FF2B5EF4-FFF2-40B4-BE49-F238E27FC236}">
                  <a16:creationId xmlns:a16="http://schemas.microsoft.com/office/drawing/2014/main" id="{00B46202-34A4-4042-B548-2464FCF3B07B}"/>
                </a:ext>
              </a:extLst>
            </p:cNvPr>
            <p:cNvSpPr>
              <a:spLocks noChangeArrowheads="1"/>
            </p:cNvSpPr>
            <p:nvPr/>
          </p:nvSpPr>
          <p:spPr bwMode="auto">
            <a:xfrm>
              <a:off x="2494678" y="2844294"/>
              <a:ext cx="1323595" cy="293460"/>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Text</a:t>
              </a:r>
            </a:p>
          </p:txBody>
        </p:sp>
        <p:sp>
          <p:nvSpPr>
            <p:cNvPr id="39" name="Rectangle 38">
              <a:extLst>
                <a:ext uri="{FF2B5EF4-FFF2-40B4-BE49-F238E27FC236}">
                  <a16:creationId xmlns:a16="http://schemas.microsoft.com/office/drawing/2014/main" id="{CF112E2C-D7A2-40A6-A7A6-DC11C121B265}"/>
                </a:ext>
              </a:extLst>
            </p:cNvPr>
            <p:cNvSpPr>
              <a:spLocks noChangeArrowheads="1"/>
            </p:cNvSpPr>
            <p:nvPr/>
          </p:nvSpPr>
          <p:spPr bwMode="auto">
            <a:xfrm>
              <a:off x="2494678" y="3459954"/>
              <a:ext cx="1323595" cy="291948"/>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Text</a:t>
              </a:r>
            </a:p>
          </p:txBody>
        </p:sp>
        <p:sp>
          <p:nvSpPr>
            <p:cNvPr id="40" name="Rectangle 39">
              <a:extLst>
                <a:ext uri="{FF2B5EF4-FFF2-40B4-BE49-F238E27FC236}">
                  <a16:creationId xmlns:a16="http://schemas.microsoft.com/office/drawing/2014/main" id="{BFD7DBDF-9023-4EB4-B28C-3F9BA85FFA53}"/>
                </a:ext>
              </a:extLst>
            </p:cNvPr>
            <p:cNvSpPr>
              <a:spLocks noChangeArrowheads="1"/>
            </p:cNvSpPr>
            <p:nvPr/>
          </p:nvSpPr>
          <p:spPr bwMode="auto">
            <a:xfrm>
              <a:off x="2494678" y="4072591"/>
              <a:ext cx="1323595" cy="291947"/>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Text</a:t>
              </a:r>
            </a:p>
          </p:txBody>
        </p:sp>
        <p:sp>
          <p:nvSpPr>
            <p:cNvPr id="41" name="Rectangle 40">
              <a:extLst>
                <a:ext uri="{FF2B5EF4-FFF2-40B4-BE49-F238E27FC236}">
                  <a16:creationId xmlns:a16="http://schemas.microsoft.com/office/drawing/2014/main" id="{45625C9A-8A30-4A9A-8F6B-8C9B50C946A9}"/>
                </a:ext>
              </a:extLst>
            </p:cNvPr>
            <p:cNvSpPr>
              <a:spLocks noChangeArrowheads="1"/>
            </p:cNvSpPr>
            <p:nvPr/>
          </p:nvSpPr>
          <p:spPr bwMode="auto">
            <a:xfrm>
              <a:off x="2494678" y="4674636"/>
              <a:ext cx="1323595" cy="290434"/>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Text</a:t>
              </a:r>
            </a:p>
          </p:txBody>
        </p:sp>
        <p:sp>
          <p:nvSpPr>
            <p:cNvPr id="42" name="Rectangle 41">
              <a:extLst>
                <a:ext uri="{FF2B5EF4-FFF2-40B4-BE49-F238E27FC236}">
                  <a16:creationId xmlns:a16="http://schemas.microsoft.com/office/drawing/2014/main" id="{9DB6454F-32D7-4252-A667-71781D7D42AC}"/>
                </a:ext>
              </a:extLst>
            </p:cNvPr>
            <p:cNvSpPr>
              <a:spLocks noChangeArrowheads="1"/>
            </p:cNvSpPr>
            <p:nvPr/>
          </p:nvSpPr>
          <p:spPr bwMode="auto">
            <a:xfrm>
              <a:off x="2490139" y="2230146"/>
              <a:ext cx="1322082" cy="290434"/>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Text</a:t>
              </a:r>
            </a:p>
          </p:txBody>
        </p:sp>
        <p:sp>
          <p:nvSpPr>
            <p:cNvPr id="43" name="Rectangle 42">
              <a:extLst>
                <a:ext uri="{FF2B5EF4-FFF2-40B4-BE49-F238E27FC236}">
                  <a16:creationId xmlns:a16="http://schemas.microsoft.com/office/drawing/2014/main" id="{6CD0385A-7E83-41F8-9674-DEF7C92165F1}"/>
                </a:ext>
              </a:extLst>
            </p:cNvPr>
            <p:cNvSpPr>
              <a:spLocks noChangeArrowheads="1"/>
            </p:cNvSpPr>
            <p:nvPr/>
          </p:nvSpPr>
          <p:spPr bwMode="auto">
            <a:xfrm>
              <a:off x="2243572" y="1674992"/>
              <a:ext cx="1576212" cy="360018"/>
            </a:xfrm>
            <a:prstGeom prst="rect">
              <a:avLst/>
            </a:prstGeom>
            <a:solidFill>
              <a:schemeClr val="accent3"/>
            </a:solidFill>
            <a:ln w="6350">
              <a:noFill/>
              <a:miter lim="800000"/>
              <a:headEnd/>
              <a:tailEnd/>
            </a:ln>
            <a:effectLst/>
          </p:spPr>
          <p:txBody>
            <a:bodyPr lIns="72000" tIns="72000" rIns="72000" bIns="72000" anchor="ctr"/>
            <a:lstStyle/>
            <a:p>
              <a:pPr marL="222250" marR="0" lvl="0" indent="-222250" algn="l" defTabSz="1044575" rtl="0" eaLnBrk="0" fontAlgn="auto" latinLnBrk="0" hangingPunct="0">
                <a:lnSpc>
                  <a:spcPct val="100000"/>
                </a:lnSpc>
                <a:spcBef>
                  <a:spcPct val="10000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mj-lt"/>
                  <a:ea typeface="+mn-ea"/>
                  <a:cs typeface="+mn-cs"/>
                </a:rPr>
                <a:t>Text</a:t>
              </a:r>
            </a:p>
          </p:txBody>
        </p:sp>
        <p:cxnSp>
          <p:nvCxnSpPr>
            <p:cNvPr id="45" name="AutoShape 58">
              <a:extLst>
                <a:ext uri="{FF2B5EF4-FFF2-40B4-BE49-F238E27FC236}">
                  <a16:creationId xmlns:a16="http://schemas.microsoft.com/office/drawing/2014/main" id="{E507EC84-86A0-454A-9B7B-B90751EC6205}"/>
                </a:ext>
              </a:extLst>
            </p:cNvPr>
            <p:cNvCxnSpPr>
              <a:cxnSpLocks noChangeShapeType="1"/>
              <a:stCxn id="42" idx="1"/>
              <a:endCxn id="38" idx="1"/>
            </p:cNvCxnSpPr>
            <p:nvPr/>
          </p:nvCxnSpPr>
          <p:spPr bwMode="auto">
            <a:xfrm rot="10800000" flipH="1" flipV="1">
              <a:off x="2490139" y="2375363"/>
              <a:ext cx="4538" cy="615660"/>
            </a:xfrm>
            <a:prstGeom prst="bentConnector3">
              <a:avLst>
                <a:gd name="adj1" fmla="val -10300000"/>
              </a:avLst>
            </a:prstGeom>
            <a:noFill/>
            <a:ln w="12700" cap="rnd" cmpd="sng" algn="ctr">
              <a:solidFill>
                <a:srgbClr val="96968C"/>
              </a:solidFill>
              <a:prstDash val="sysDot"/>
              <a:headEnd type="none" w="med" len="med"/>
              <a:tailEnd type="none" w="med" len="med"/>
            </a:ln>
            <a:effectLst/>
          </p:spPr>
        </p:cxnSp>
        <p:cxnSp>
          <p:nvCxnSpPr>
            <p:cNvPr id="46" name="AutoShape 59">
              <a:extLst>
                <a:ext uri="{FF2B5EF4-FFF2-40B4-BE49-F238E27FC236}">
                  <a16:creationId xmlns:a16="http://schemas.microsoft.com/office/drawing/2014/main" id="{D7C1C54F-3410-483D-AEF0-D7831E5E4409}"/>
                </a:ext>
              </a:extLst>
            </p:cNvPr>
            <p:cNvCxnSpPr>
              <a:cxnSpLocks noChangeShapeType="1"/>
              <a:stCxn id="38" idx="1"/>
              <a:endCxn id="39" idx="1"/>
            </p:cNvCxnSpPr>
            <p:nvPr/>
          </p:nvCxnSpPr>
          <p:spPr bwMode="auto">
            <a:xfrm rot="10800000" flipH="1" flipV="1">
              <a:off x="2494678" y="2991024"/>
              <a:ext cx="1513" cy="615661"/>
            </a:xfrm>
            <a:prstGeom prst="bentConnector3">
              <a:avLst>
                <a:gd name="adj1" fmla="val -30644547"/>
              </a:avLst>
            </a:prstGeom>
            <a:noFill/>
            <a:ln w="12700" cap="rnd" cmpd="sng" algn="ctr">
              <a:solidFill>
                <a:srgbClr val="96968C"/>
              </a:solidFill>
              <a:prstDash val="sysDot"/>
              <a:headEnd type="none" w="med" len="med"/>
              <a:tailEnd type="none" w="med" len="med"/>
            </a:ln>
            <a:effectLst/>
          </p:spPr>
        </p:cxnSp>
        <p:cxnSp>
          <p:nvCxnSpPr>
            <p:cNvPr id="48" name="AutoShape 61">
              <a:extLst>
                <a:ext uri="{FF2B5EF4-FFF2-40B4-BE49-F238E27FC236}">
                  <a16:creationId xmlns:a16="http://schemas.microsoft.com/office/drawing/2014/main" id="{1938F6E0-E956-4043-8B83-260880746DE6}"/>
                </a:ext>
              </a:extLst>
            </p:cNvPr>
            <p:cNvCxnSpPr>
              <a:cxnSpLocks noChangeShapeType="1"/>
              <a:stCxn id="40" idx="1"/>
              <a:endCxn id="41" idx="1"/>
            </p:cNvCxnSpPr>
            <p:nvPr/>
          </p:nvCxnSpPr>
          <p:spPr bwMode="auto">
            <a:xfrm rot="10800000" flipH="1" flipV="1">
              <a:off x="2494678" y="4219319"/>
              <a:ext cx="1513" cy="600534"/>
            </a:xfrm>
            <a:prstGeom prst="bentConnector3">
              <a:avLst>
                <a:gd name="adj1" fmla="val -31000000"/>
              </a:avLst>
            </a:prstGeom>
            <a:noFill/>
            <a:ln w="12700" cap="rnd" cmpd="sng" algn="ctr">
              <a:solidFill>
                <a:srgbClr val="96968C"/>
              </a:solidFill>
              <a:prstDash val="sysDot"/>
              <a:headEnd type="none" w="med" len="med"/>
              <a:tailEnd type="none" w="med" len="med"/>
            </a:ln>
            <a:effectLst/>
          </p:spPr>
        </p:cxnSp>
      </p:grpSp>
      <p:grpSp>
        <p:nvGrpSpPr>
          <p:cNvPr id="55" name="Group 54" descr="G2">
            <a:extLst>
              <a:ext uri="{FF2B5EF4-FFF2-40B4-BE49-F238E27FC236}">
                <a16:creationId xmlns:a16="http://schemas.microsoft.com/office/drawing/2014/main" id="{164CEDDB-8C16-4A85-8016-0DB46B766944}"/>
              </a:ext>
            </a:extLst>
          </p:cNvPr>
          <p:cNvGrpSpPr/>
          <p:nvPr/>
        </p:nvGrpSpPr>
        <p:grpSpPr>
          <a:xfrm>
            <a:off x="4346196" y="1674992"/>
            <a:ext cx="1601928" cy="3302180"/>
            <a:chOff x="4346196" y="1674992"/>
            <a:chExt cx="1601928" cy="3302180"/>
          </a:xfrm>
        </p:grpSpPr>
        <p:cxnSp>
          <p:nvCxnSpPr>
            <p:cNvPr id="12" name="AutoShape 32">
              <a:extLst>
                <a:ext uri="{FF2B5EF4-FFF2-40B4-BE49-F238E27FC236}">
                  <a16:creationId xmlns:a16="http://schemas.microsoft.com/office/drawing/2014/main" id="{B4EE16D7-426F-4A45-BF27-646454BBDE37}"/>
                </a:ext>
              </a:extLst>
            </p:cNvPr>
            <p:cNvCxnSpPr>
              <a:cxnSpLocks noChangeShapeType="1"/>
              <a:stCxn id="10" idx="1"/>
              <a:endCxn id="6" idx="1"/>
            </p:cNvCxnSpPr>
            <p:nvPr/>
          </p:nvCxnSpPr>
          <p:spPr bwMode="auto">
            <a:xfrm rot="10800000" flipH="1" flipV="1">
              <a:off x="4621505" y="2387465"/>
              <a:ext cx="4539" cy="615660"/>
            </a:xfrm>
            <a:prstGeom prst="bentConnector3">
              <a:avLst>
                <a:gd name="adj1" fmla="val -10266667"/>
              </a:avLst>
            </a:prstGeom>
            <a:noFill/>
            <a:ln w="12700" cap="rnd" cmpd="sng" algn="ctr">
              <a:solidFill>
                <a:srgbClr val="96968C"/>
              </a:solidFill>
              <a:prstDash val="sysDot"/>
              <a:headEnd type="none" w="med" len="med"/>
              <a:tailEnd type="none" w="med" len="med"/>
            </a:ln>
            <a:effectLst/>
          </p:spPr>
        </p:cxnSp>
        <p:sp>
          <p:nvSpPr>
            <p:cNvPr id="6" name="Rectangle 26">
              <a:extLst>
                <a:ext uri="{FF2B5EF4-FFF2-40B4-BE49-F238E27FC236}">
                  <a16:creationId xmlns:a16="http://schemas.microsoft.com/office/drawing/2014/main" id="{D6692F23-6861-443D-9054-2838329BB836}"/>
                </a:ext>
              </a:extLst>
            </p:cNvPr>
            <p:cNvSpPr>
              <a:spLocks noChangeArrowheads="1"/>
            </p:cNvSpPr>
            <p:nvPr/>
          </p:nvSpPr>
          <p:spPr bwMode="auto">
            <a:xfrm>
              <a:off x="4626042" y="2856395"/>
              <a:ext cx="1322082" cy="293460"/>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Text</a:t>
              </a:r>
            </a:p>
          </p:txBody>
        </p:sp>
        <p:sp>
          <p:nvSpPr>
            <p:cNvPr id="7" name="Rectangle 27">
              <a:extLst>
                <a:ext uri="{FF2B5EF4-FFF2-40B4-BE49-F238E27FC236}">
                  <a16:creationId xmlns:a16="http://schemas.microsoft.com/office/drawing/2014/main" id="{E370FD14-C294-4B08-85B2-16108DC1A71D}"/>
                </a:ext>
              </a:extLst>
            </p:cNvPr>
            <p:cNvSpPr>
              <a:spLocks noChangeArrowheads="1"/>
            </p:cNvSpPr>
            <p:nvPr/>
          </p:nvSpPr>
          <p:spPr bwMode="auto">
            <a:xfrm>
              <a:off x="4626042" y="3472055"/>
              <a:ext cx="1322082" cy="291948"/>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Text</a:t>
              </a:r>
            </a:p>
          </p:txBody>
        </p:sp>
        <p:sp>
          <p:nvSpPr>
            <p:cNvPr id="8" name="Rectangle 28">
              <a:extLst>
                <a:ext uri="{FF2B5EF4-FFF2-40B4-BE49-F238E27FC236}">
                  <a16:creationId xmlns:a16="http://schemas.microsoft.com/office/drawing/2014/main" id="{CED734AF-6885-4FAD-9517-47912F96DAEC}"/>
                </a:ext>
              </a:extLst>
            </p:cNvPr>
            <p:cNvSpPr>
              <a:spLocks noChangeArrowheads="1"/>
            </p:cNvSpPr>
            <p:nvPr/>
          </p:nvSpPr>
          <p:spPr bwMode="auto">
            <a:xfrm>
              <a:off x="4626042" y="4084692"/>
              <a:ext cx="1322082" cy="291947"/>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Text</a:t>
              </a:r>
            </a:p>
          </p:txBody>
        </p:sp>
        <p:sp>
          <p:nvSpPr>
            <p:cNvPr id="9" name="Rectangle 29">
              <a:extLst>
                <a:ext uri="{FF2B5EF4-FFF2-40B4-BE49-F238E27FC236}">
                  <a16:creationId xmlns:a16="http://schemas.microsoft.com/office/drawing/2014/main" id="{F98A57FE-2BDB-4CF3-A9E1-32FC41ED95E4}"/>
                </a:ext>
              </a:extLst>
            </p:cNvPr>
            <p:cNvSpPr>
              <a:spLocks noChangeArrowheads="1"/>
            </p:cNvSpPr>
            <p:nvPr/>
          </p:nvSpPr>
          <p:spPr bwMode="auto">
            <a:xfrm>
              <a:off x="4626042" y="4686738"/>
              <a:ext cx="1322082" cy="290434"/>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Text</a:t>
              </a:r>
            </a:p>
          </p:txBody>
        </p:sp>
        <p:sp>
          <p:nvSpPr>
            <p:cNvPr id="10" name="Rectangle 30">
              <a:extLst>
                <a:ext uri="{FF2B5EF4-FFF2-40B4-BE49-F238E27FC236}">
                  <a16:creationId xmlns:a16="http://schemas.microsoft.com/office/drawing/2014/main" id="{F3C0EA48-C396-4877-BFFD-02076CB26033}"/>
                </a:ext>
              </a:extLst>
            </p:cNvPr>
            <p:cNvSpPr>
              <a:spLocks noChangeArrowheads="1"/>
            </p:cNvSpPr>
            <p:nvPr/>
          </p:nvSpPr>
          <p:spPr bwMode="auto">
            <a:xfrm>
              <a:off x="4621504" y="2242247"/>
              <a:ext cx="1320570" cy="290434"/>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Text</a:t>
              </a:r>
            </a:p>
          </p:txBody>
        </p:sp>
        <p:sp>
          <p:nvSpPr>
            <p:cNvPr id="11" name="Rectangle 31">
              <a:extLst>
                <a:ext uri="{FF2B5EF4-FFF2-40B4-BE49-F238E27FC236}">
                  <a16:creationId xmlns:a16="http://schemas.microsoft.com/office/drawing/2014/main" id="{95C6146E-CF3E-47DB-B780-868BC7104981}"/>
                </a:ext>
              </a:extLst>
            </p:cNvPr>
            <p:cNvSpPr>
              <a:spLocks noChangeArrowheads="1"/>
            </p:cNvSpPr>
            <p:nvPr/>
          </p:nvSpPr>
          <p:spPr bwMode="auto">
            <a:xfrm>
              <a:off x="4346196" y="1674992"/>
              <a:ext cx="1576212" cy="360018"/>
            </a:xfrm>
            <a:prstGeom prst="rect">
              <a:avLst/>
            </a:prstGeom>
            <a:solidFill>
              <a:schemeClr val="accent2"/>
            </a:solidFill>
            <a:ln w="6350">
              <a:noFill/>
              <a:miter lim="800000"/>
              <a:headEnd/>
              <a:tailEnd/>
            </a:ln>
            <a:effectLst/>
          </p:spPr>
          <p:txBody>
            <a:bodyPr lIns="72000" tIns="72000" rIns="72000" bIns="72000" anchor="ctr"/>
            <a:lstStyle/>
            <a:p>
              <a:pPr marL="222250" marR="0" lvl="0" indent="-222250" algn="l" defTabSz="1044575" rtl="0" eaLnBrk="0" fontAlgn="auto" latinLnBrk="0" hangingPunct="0">
                <a:lnSpc>
                  <a:spcPct val="100000"/>
                </a:lnSpc>
                <a:spcBef>
                  <a:spcPct val="10000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mj-lt"/>
                  <a:ea typeface="+mn-ea"/>
                  <a:cs typeface="+mn-cs"/>
                </a:rPr>
                <a:t>Text</a:t>
              </a:r>
            </a:p>
          </p:txBody>
        </p:sp>
        <p:cxnSp>
          <p:nvCxnSpPr>
            <p:cNvPr id="13" name="AutoShape 36">
              <a:extLst>
                <a:ext uri="{FF2B5EF4-FFF2-40B4-BE49-F238E27FC236}">
                  <a16:creationId xmlns:a16="http://schemas.microsoft.com/office/drawing/2014/main" id="{3AA5DAA3-365B-446C-BF93-C48F4C540567}"/>
                </a:ext>
              </a:extLst>
            </p:cNvPr>
            <p:cNvCxnSpPr>
              <a:cxnSpLocks noChangeShapeType="1"/>
              <a:stCxn id="11" idx="1"/>
              <a:endCxn id="10" idx="1"/>
            </p:cNvCxnSpPr>
            <p:nvPr/>
          </p:nvCxnSpPr>
          <p:spPr bwMode="auto">
            <a:xfrm rot="10800000" flipH="1" flipV="1">
              <a:off x="4346196" y="1855002"/>
              <a:ext cx="275308" cy="532463"/>
            </a:xfrm>
            <a:prstGeom prst="bentConnector3">
              <a:avLst>
                <a:gd name="adj1" fmla="val -69231"/>
              </a:avLst>
            </a:prstGeom>
            <a:noFill/>
            <a:ln w="12700" cap="rnd" cmpd="sng" algn="ctr">
              <a:solidFill>
                <a:srgbClr val="96968C"/>
              </a:solidFill>
              <a:prstDash val="sysDot"/>
              <a:headEnd type="none" w="med" len="med"/>
              <a:tailEnd type="none" w="med" len="med"/>
            </a:ln>
            <a:effectLst/>
          </p:spPr>
        </p:cxnSp>
        <p:cxnSp>
          <p:nvCxnSpPr>
            <p:cNvPr id="36" name="AutoShape 55">
              <a:extLst>
                <a:ext uri="{FF2B5EF4-FFF2-40B4-BE49-F238E27FC236}">
                  <a16:creationId xmlns:a16="http://schemas.microsoft.com/office/drawing/2014/main" id="{13A253E1-6702-46AC-A2E6-70FC401815CC}"/>
                </a:ext>
              </a:extLst>
            </p:cNvPr>
            <p:cNvCxnSpPr>
              <a:cxnSpLocks noChangeShapeType="1"/>
              <a:stCxn id="6" idx="1"/>
              <a:endCxn id="7" idx="1"/>
            </p:cNvCxnSpPr>
            <p:nvPr/>
          </p:nvCxnSpPr>
          <p:spPr bwMode="auto">
            <a:xfrm rot="10800000" flipH="1" flipV="1">
              <a:off x="4626042" y="3003126"/>
              <a:ext cx="1512" cy="615661"/>
            </a:xfrm>
            <a:prstGeom prst="bentConnector3">
              <a:avLst>
                <a:gd name="adj1" fmla="val -31855952"/>
              </a:avLst>
            </a:prstGeom>
            <a:noFill/>
            <a:ln w="12700" cap="rnd" cmpd="sng" algn="ctr">
              <a:solidFill>
                <a:srgbClr val="96968C"/>
              </a:solidFill>
              <a:prstDash val="sysDot"/>
              <a:headEnd type="none" w="med" len="med"/>
              <a:tailEnd type="none" w="med" len="med"/>
            </a:ln>
            <a:effectLst/>
          </p:spPr>
        </p:cxnSp>
        <p:cxnSp>
          <p:nvCxnSpPr>
            <p:cNvPr id="37" name="AutoShape 56">
              <a:extLst>
                <a:ext uri="{FF2B5EF4-FFF2-40B4-BE49-F238E27FC236}">
                  <a16:creationId xmlns:a16="http://schemas.microsoft.com/office/drawing/2014/main" id="{79A466F6-DA80-41D0-883A-9C8ADB9F81C3}"/>
                </a:ext>
              </a:extLst>
            </p:cNvPr>
            <p:cNvCxnSpPr>
              <a:cxnSpLocks noChangeShapeType="1"/>
              <a:stCxn id="7" idx="1"/>
              <a:endCxn id="8" idx="1"/>
            </p:cNvCxnSpPr>
            <p:nvPr/>
          </p:nvCxnSpPr>
          <p:spPr bwMode="auto">
            <a:xfrm rot="10800000" flipH="1" flipV="1">
              <a:off x="4626042" y="3618787"/>
              <a:ext cx="1512" cy="612635"/>
            </a:xfrm>
            <a:prstGeom prst="bentConnector3">
              <a:avLst>
                <a:gd name="adj1" fmla="val -31855952"/>
              </a:avLst>
            </a:prstGeom>
            <a:noFill/>
            <a:ln w="12700" cap="rnd" cmpd="sng" algn="ctr">
              <a:solidFill>
                <a:srgbClr val="96968C"/>
              </a:solidFill>
              <a:prstDash val="sysDot"/>
              <a:headEnd type="none" w="med" len="med"/>
              <a:tailEnd type="none" w="med" len="med"/>
            </a:ln>
            <a:effectLst/>
          </p:spPr>
        </p:cxnSp>
        <p:cxnSp>
          <p:nvCxnSpPr>
            <p:cNvPr id="49" name="AutoShape 63">
              <a:extLst>
                <a:ext uri="{FF2B5EF4-FFF2-40B4-BE49-F238E27FC236}">
                  <a16:creationId xmlns:a16="http://schemas.microsoft.com/office/drawing/2014/main" id="{786BFD4F-C3CD-4133-AD85-CC05CFBF750C}"/>
                </a:ext>
              </a:extLst>
            </p:cNvPr>
            <p:cNvCxnSpPr>
              <a:cxnSpLocks noChangeShapeType="1"/>
              <a:stCxn id="8" idx="1"/>
              <a:endCxn id="9" idx="1"/>
            </p:cNvCxnSpPr>
            <p:nvPr/>
          </p:nvCxnSpPr>
          <p:spPr bwMode="auto">
            <a:xfrm rot="10800000" flipH="1" flipV="1">
              <a:off x="4626042" y="4231420"/>
              <a:ext cx="1512" cy="600534"/>
            </a:xfrm>
            <a:prstGeom prst="bentConnector3">
              <a:avLst>
                <a:gd name="adj1" fmla="val -31755952"/>
              </a:avLst>
            </a:prstGeom>
            <a:noFill/>
            <a:ln w="12700" cap="rnd" cmpd="sng" algn="ctr">
              <a:solidFill>
                <a:srgbClr val="96968C"/>
              </a:solidFill>
              <a:prstDash val="sysDot"/>
              <a:headEnd type="none" w="med" len="med"/>
              <a:tailEnd type="none" w="med" len="med"/>
            </a:ln>
            <a:effectLst/>
          </p:spPr>
        </p:cxnSp>
      </p:grpSp>
      <p:grpSp>
        <p:nvGrpSpPr>
          <p:cNvPr id="56" name="Group 55" descr="G3">
            <a:extLst>
              <a:ext uri="{FF2B5EF4-FFF2-40B4-BE49-F238E27FC236}">
                <a16:creationId xmlns:a16="http://schemas.microsoft.com/office/drawing/2014/main" id="{9CE3C3E3-08B6-4EFF-BF3C-F5392359EA75}"/>
              </a:ext>
            </a:extLst>
          </p:cNvPr>
          <p:cNvGrpSpPr/>
          <p:nvPr/>
        </p:nvGrpSpPr>
        <p:grpSpPr>
          <a:xfrm>
            <a:off x="6448821" y="1674992"/>
            <a:ext cx="1576212" cy="3290078"/>
            <a:chOff x="6448821" y="1674992"/>
            <a:chExt cx="1576212" cy="3290078"/>
          </a:xfrm>
        </p:grpSpPr>
        <p:cxnSp>
          <p:nvCxnSpPr>
            <p:cNvPr id="20" name="AutoShape 21">
              <a:extLst>
                <a:ext uri="{FF2B5EF4-FFF2-40B4-BE49-F238E27FC236}">
                  <a16:creationId xmlns:a16="http://schemas.microsoft.com/office/drawing/2014/main" id="{F162A8F2-CF3A-4C90-B07E-0BE2206980A1}"/>
                </a:ext>
              </a:extLst>
            </p:cNvPr>
            <p:cNvCxnSpPr>
              <a:cxnSpLocks noChangeShapeType="1"/>
              <a:stCxn id="19" idx="1"/>
              <a:endCxn id="18" idx="1"/>
            </p:cNvCxnSpPr>
            <p:nvPr/>
          </p:nvCxnSpPr>
          <p:spPr bwMode="auto">
            <a:xfrm rot="10800000" flipH="1" flipV="1">
              <a:off x="6448822" y="1855001"/>
              <a:ext cx="246567" cy="520362"/>
            </a:xfrm>
            <a:prstGeom prst="bentConnector3">
              <a:avLst>
                <a:gd name="adj1" fmla="val -88343"/>
              </a:avLst>
            </a:prstGeom>
            <a:noFill/>
            <a:ln w="12700" cap="rnd" cmpd="sng" algn="ctr">
              <a:solidFill>
                <a:srgbClr val="96968C"/>
              </a:solidFill>
              <a:prstDash val="sysDot"/>
              <a:headEnd type="none" w="med" len="med"/>
              <a:tailEnd type="none" w="med" len="med"/>
            </a:ln>
            <a:effectLst/>
          </p:spPr>
        </p:cxnSp>
        <p:cxnSp>
          <p:nvCxnSpPr>
            <p:cNvPr id="21" name="AutoShape 48">
              <a:extLst>
                <a:ext uri="{FF2B5EF4-FFF2-40B4-BE49-F238E27FC236}">
                  <a16:creationId xmlns:a16="http://schemas.microsoft.com/office/drawing/2014/main" id="{7549DF37-B6BD-49AA-84FE-C6D878DBC59D}"/>
                </a:ext>
              </a:extLst>
            </p:cNvPr>
            <p:cNvCxnSpPr>
              <a:cxnSpLocks noChangeShapeType="1"/>
              <a:stCxn id="15" idx="1"/>
              <a:endCxn id="16" idx="1"/>
            </p:cNvCxnSpPr>
            <p:nvPr/>
          </p:nvCxnSpPr>
          <p:spPr bwMode="auto">
            <a:xfrm rot="10800000" flipH="1" flipV="1">
              <a:off x="6699926" y="3606684"/>
              <a:ext cx="1513" cy="612636"/>
            </a:xfrm>
            <a:prstGeom prst="bentConnector3">
              <a:avLst>
                <a:gd name="adj1" fmla="val -31000000"/>
              </a:avLst>
            </a:prstGeom>
            <a:noFill/>
            <a:ln w="12700" cap="rnd" cmpd="sng" algn="ctr">
              <a:solidFill>
                <a:srgbClr val="96968C"/>
              </a:solidFill>
              <a:prstDash val="sysDot"/>
              <a:headEnd type="none" w="med" len="med"/>
              <a:tailEnd type="none" w="med" len="med"/>
            </a:ln>
            <a:effectLst/>
          </p:spPr>
        </p:cxnSp>
        <p:sp>
          <p:nvSpPr>
            <p:cNvPr id="14" name="Rectangle 15">
              <a:extLst>
                <a:ext uri="{FF2B5EF4-FFF2-40B4-BE49-F238E27FC236}">
                  <a16:creationId xmlns:a16="http://schemas.microsoft.com/office/drawing/2014/main" id="{2C8FBDDA-D6E9-428F-9BB9-6F8D0D0B47A0}"/>
                </a:ext>
              </a:extLst>
            </p:cNvPr>
            <p:cNvSpPr>
              <a:spLocks noChangeArrowheads="1"/>
            </p:cNvSpPr>
            <p:nvPr/>
          </p:nvSpPr>
          <p:spPr bwMode="auto">
            <a:xfrm>
              <a:off x="6699926" y="2844294"/>
              <a:ext cx="1323595" cy="293460"/>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Text</a:t>
              </a:r>
            </a:p>
          </p:txBody>
        </p:sp>
        <p:sp>
          <p:nvSpPr>
            <p:cNvPr id="15" name="Rectangle 16">
              <a:extLst>
                <a:ext uri="{FF2B5EF4-FFF2-40B4-BE49-F238E27FC236}">
                  <a16:creationId xmlns:a16="http://schemas.microsoft.com/office/drawing/2014/main" id="{9FC99836-0D42-4807-B879-B547D88C61B2}"/>
                </a:ext>
              </a:extLst>
            </p:cNvPr>
            <p:cNvSpPr>
              <a:spLocks noChangeArrowheads="1"/>
            </p:cNvSpPr>
            <p:nvPr/>
          </p:nvSpPr>
          <p:spPr bwMode="auto">
            <a:xfrm>
              <a:off x="6699926" y="3459954"/>
              <a:ext cx="1323595" cy="291948"/>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Text</a:t>
              </a:r>
            </a:p>
          </p:txBody>
        </p:sp>
        <p:sp>
          <p:nvSpPr>
            <p:cNvPr id="16" name="Rectangle 17">
              <a:extLst>
                <a:ext uri="{FF2B5EF4-FFF2-40B4-BE49-F238E27FC236}">
                  <a16:creationId xmlns:a16="http://schemas.microsoft.com/office/drawing/2014/main" id="{ADB2A4AF-B39D-409C-8971-2A418A3BB757}"/>
                </a:ext>
              </a:extLst>
            </p:cNvPr>
            <p:cNvSpPr>
              <a:spLocks noChangeArrowheads="1"/>
            </p:cNvSpPr>
            <p:nvPr/>
          </p:nvSpPr>
          <p:spPr bwMode="auto">
            <a:xfrm>
              <a:off x="6699926" y="4072590"/>
              <a:ext cx="1323595" cy="291948"/>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Text</a:t>
              </a:r>
            </a:p>
          </p:txBody>
        </p:sp>
        <p:sp>
          <p:nvSpPr>
            <p:cNvPr id="17" name="Rectangle 18">
              <a:extLst>
                <a:ext uri="{FF2B5EF4-FFF2-40B4-BE49-F238E27FC236}">
                  <a16:creationId xmlns:a16="http://schemas.microsoft.com/office/drawing/2014/main" id="{78582087-04D7-4CF6-92E0-6D49BDF1C350}"/>
                </a:ext>
              </a:extLst>
            </p:cNvPr>
            <p:cNvSpPr>
              <a:spLocks noChangeArrowheads="1"/>
            </p:cNvSpPr>
            <p:nvPr/>
          </p:nvSpPr>
          <p:spPr bwMode="auto">
            <a:xfrm>
              <a:off x="6699926" y="4674636"/>
              <a:ext cx="1323595" cy="290434"/>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Text</a:t>
              </a:r>
            </a:p>
          </p:txBody>
        </p:sp>
        <p:sp>
          <p:nvSpPr>
            <p:cNvPr id="18" name="Rectangle 19">
              <a:extLst>
                <a:ext uri="{FF2B5EF4-FFF2-40B4-BE49-F238E27FC236}">
                  <a16:creationId xmlns:a16="http://schemas.microsoft.com/office/drawing/2014/main" id="{6A813FC1-CB46-4F91-9249-5AE023FAF123}"/>
                </a:ext>
              </a:extLst>
            </p:cNvPr>
            <p:cNvSpPr>
              <a:spLocks noChangeArrowheads="1"/>
            </p:cNvSpPr>
            <p:nvPr/>
          </p:nvSpPr>
          <p:spPr bwMode="auto">
            <a:xfrm>
              <a:off x="6695388" y="2230146"/>
              <a:ext cx="1322082" cy="290434"/>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Text</a:t>
              </a:r>
            </a:p>
          </p:txBody>
        </p:sp>
        <p:sp>
          <p:nvSpPr>
            <p:cNvPr id="19" name="Rectangle 20">
              <a:extLst>
                <a:ext uri="{FF2B5EF4-FFF2-40B4-BE49-F238E27FC236}">
                  <a16:creationId xmlns:a16="http://schemas.microsoft.com/office/drawing/2014/main" id="{09B925DB-F24A-4399-8EE2-CA1E020C8D8F}"/>
                </a:ext>
              </a:extLst>
            </p:cNvPr>
            <p:cNvSpPr>
              <a:spLocks noChangeArrowheads="1"/>
            </p:cNvSpPr>
            <p:nvPr/>
          </p:nvSpPr>
          <p:spPr bwMode="auto">
            <a:xfrm>
              <a:off x="6448821" y="1674992"/>
              <a:ext cx="1576212" cy="360018"/>
            </a:xfrm>
            <a:prstGeom prst="rect">
              <a:avLst/>
            </a:prstGeom>
            <a:solidFill>
              <a:schemeClr val="accent1"/>
            </a:solidFill>
            <a:ln w="6350">
              <a:noFill/>
              <a:miter lim="800000"/>
              <a:headEnd/>
              <a:tailEnd/>
            </a:ln>
            <a:effectLst/>
          </p:spPr>
          <p:txBody>
            <a:bodyPr lIns="72000" tIns="72000" rIns="72000" bIns="72000" anchor="ctr"/>
            <a:lstStyle/>
            <a:p>
              <a:pPr marL="222250" marR="0" lvl="0" indent="-222250" algn="l" defTabSz="1044575" rtl="0" eaLnBrk="0" fontAlgn="auto" latinLnBrk="0" hangingPunct="0">
                <a:lnSpc>
                  <a:spcPct val="100000"/>
                </a:lnSpc>
                <a:spcBef>
                  <a:spcPct val="10000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mj-lt"/>
                  <a:ea typeface="+mn-ea"/>
                  <a:cs typeface="+mn-cs"/>
                </a:rPr>
                <a:t>Text</a:t>
              </a:r>
            </a:p>
          </p:txBody>
        </p:sp>
        <p:cxnSp>
          <p:nvCxnSpPr>
            <p:cNvPr id="22" name="AutoShape 49">
              <a:extLst>
                <a:ext uri="{FF2B5EF4-FFF2-40B4-BE49-F238E27FC236}">
                  <a16:creationId xmlns:a16="http://schemas.microsoft.com/office/drawing/2014/main" id="{17CBE2DC-61D7-42DB-9B68-D2E2AECF47C5}"/>
                </a:ext>
              </a:extLst>
            </p:cNvPr>
            <p:cNvCxnSpPr>
              <a:cxnSpLocks noChangeShapeType="1"/>
              <a:stCxn id="18" idx="1"/>
              <a:endCxn id="14" idx="1"/>
            </p:cNvCxnSpPr>
            <p:nvPr/>
          </p:nvCxnSpPr>
          <p:spPr bwMode="auto">
            <a:xfrm rot="10800000" flipH="1" flipV="1">
              <a:off x="6695389" y="2375364"/>
              <a:ext cx="4539" cy="615661"/>
            </a:xfrm>
            <a:prstGeom prst="bentConnector3">
              <a:avLst>
                <a:gd name="adj1" fmla="val -10233333"/>
              </a:avLst>
            </a:prstGeom>
            <a:noFill/>
            <a:ln w="12700" cap="rnd" cmpd="sng" algn="ctr">
              <a:solidFill>
                <a:srgbClr val="96968C"/>
              </a:solidFill>
              <a:prstDash val="sysDot"/>
              <a:headEnd type="none" w="med" len="med"/>
              <a:tailEnd type="none" w="med" len="med"/>
            </a:ln>
            <a:effectLst/>
          </p:spPr>
        </p:cxnSp>
        <p:cxnSp>
          <p:nvCxnSpPr>
            <p:cNvPr id="23" name="AutoShape 50">
              <a:extLst>
                <a:ext uri="{FF2B5EF4-FFF2-40B4-BE49-F238E27FC236}">
                  <a16:creationId xmlns:a16="http://schemas.microsoft.com/office/drawing/2014/main" id="{3FD06EAE-F307-4D00-8B60-0C9AB63CF2D5}"/>
                </a:ext>
              </a:extLst>
            </p:cNvPr>
            <p:cNvCxnSpPr>
              <a:cxnSpLocks noChangeShapeType="1"/>
              <a:stCxn id="14" idx="1"/>
              <a:endCxn id="15" idx="1"/>
            </p:cNvCxnSpPr>
            <p:nvPr/>
          </p:nvCxnSpPr>
          <p:spPr bwMode="auto">
            <a:xfrm rot="10800000" flipH="1" flipV="1">
              <a:off x="6699926" y="2991024"/>
              <a:ext cx="1513" cy="615661"/>
            </a:xfrm>
            <a:prstGeom prst="bentConnector3">
              <a:avLst>
                <a:gd name="adj1" fmla="val -31000000"/>
              </a:avLst>
            </a:prstGeom>
            <a:noFill/>
            <a:ln w="12700" cap="rnd" cmpd="sng" algn="ctr">
              <a:solidFill>
                <a:srgbClr val="96968C"/>
              </a:solidFill>
              <a:prstDash val="sysDot"/>
              <a:headEnd type="none" w="med" len="med"/>
              <a:tailEnd type="none" w="med" len="med"/>
            </a:ln>
            <a:effectLst/>
          </p:spPr>
        </p:cxnSp>
        <p:cxnSp>
          <p:nvCxnSpPr>
            <p:cNvPr id="24" name="AutoShape 51">
              <a:extLst>
                <a:ext uri="{FF2B5EF4-FFF2-40B4-BE49-F238E27FC236}">
                  <a16:creationId xmlns:a16="http://schemas.microsoft.com/office/drawing/2014/main" id="{24EA10DE-481C-4E43-9320-14C1B66888FB}"/>
                </a:ext>
              </a:extLst>
            </p:cNvPr>
            <p:cNvCxnSpPr>
              <a:cxnSpLocks noChangeShapeType="1"/>
              <a:stCxn id="16" idx="1"/>
              <a:endCxn id="17" idx="1"/>
            </p:cNvCxnSpPr>
            <p:nvPr/>
          </p:nvCxnSpPr>
          <p:spPr bwMode="auto">
            <a:xfrm rot="10800000" flipH="1" flipV="1">
              <a:off x="6699926" y="4219319"/>
              <a:ext cx="1513" cy="600534"/>
            </a:xfrm>
            <a:prstGeom prst="bentConnector3">
              <a:avLst>
                <a:gd name="adj1" fmla="val -31000000"/>
              </a:avLst>
            </a:prstGeom>
            <a:noFill/>
            <a:ln w="12700" cap="rnd" cmpd="sng" algn="ctr">
              <a:solidFill>
                <a:srgbClr val="96968C"/>
              </a:solidFill>
              <a:prstDash val="sysDot"/>
              <a:headEnd type="none" w="med" len="med"/>
              <a:tailEnd type="none" w="med" len="med"/>
            </a:ln>
            <a:effectLst/>
          </p:spPr>
        </p:cxnSp>
      </p:grpSp>
      <p:grpSp>
        <p:nvGrpSpPr>
          <p:cNvPr id="57" name="Group 56" descr="G4">
            <a:extLst>
              <a:ext uri="{FF2B5EF4-FFF2-40B4-BE49-F238E27FC236}">
                <a16:creationId xmlns:a16="http://schemas.microsoft.com/office/drawing/2014/main" id="{CDA9D240-0162-419B-9A8F-22275A6BDFB3}"/>
              </a:ext>
            </a:extLst>
          </p:cNvPr>
          <p:cNvGrpSpPr/>
          <p:nvPr/>
        </p:nvGrpSpPr>
        <p:grpSpPr>
          <a:xfrm>
            <a:off x="8552958" y="1674992"/>
            <a:ext cx="1576212" cy="3290078"/>
            <a:chOff x="8552958" y="1674992"/>
            <a:chExt cx="1576212" cy="3290078"/>
          </a:xfrm>
        </p:grpSpPr>
        <p:sp>
          <p:nvSpPr>
            <p:cNvPr id="25" name="Rectangle 4">
              <a:extLst>
                <a:ext uri="{FF2B5EF4-FFF2-40B4-BE49-F238E27FC236}">
                  <a16:creationId xmlns:a16="http://schemas.microsoft.com/office/drawing/2014/main" id="{D39FF0EC-9EE1-45CA-8DE5-806BCEDE6DB7}"/>
                </a:ext>
              </a:extLst>
            </p:cNvPr>
            <p:cNvSpPr>
              <a:spLocks noChangeArrowheads="1"/>
            </p:cNvSpPr>
            <p:nvPr/>
          </p:nvSpPr>
          <p:spPr bwMode="auto">
            <a:xfrm>
              <a:off x="8804064" y="2844294"/>
              <a:ext cx="1323595" cy="293460"/>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Text</a:t>
              </a:r>
            </a:p>
          </p:txBody>
        </p:sp>
        <p:sp>
          <p:nvSpPr>
            <p:cNvPr id="26" name="Rectangle 5">
              <a:extLst>
                <a:ext uri="{FF2B5EF4-FFF2-40B4-BE49-F238E27FC236}">
                  <a16:creationId xmlns:a16="http://schemas.microsoft.com/office/drawing/2014/main" id="{8E078130-FD4C-4E07-9CE6-F50750817792}"/>
                </a:ext>
              </a:extLst>
            </p:cNvPr>
            <p:cNvSpPr>
              <a:spLocks noChangeArrowheads="1"/>
            </p:cNvSpPr>
            <p:nvPr/>
          </p:nvSpPr>
          <p:spPr bwMode="auto">
            <a:xfrm>
              <a:off x="8804064" y="3459954"/>
              <a:ext cx="1323595" cy="291948"/>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Text</a:t>
              </a:r>
            </a:p>
          </p:txBody>
        </p:sp>
        <p:sp>
          <p:nvSpPr>
            <p:cNvPr id="27" name="Rectangle 6">
              <a:extLst>
                <a:ext uri="{FF2B5EF4-FFF2-40B4-BE49-F238E27FC236}">
                  <a16:creationId xmlns:a16="http://schemas.microsoft.com/office/drawing/2014/main" id="{11164158-65EB-41B0-AA98-5CFF40A45F9E}"/>
                </a:ext>
              </a:extLst>
            </p:cNvPr>
            <p:cNvSpPr>
              <a:spLocks noChangeArrowheads="1"/>
            </p:cNvSpPr>
            <p:nvPr/>
          </p:nvSpPr>
          <p:spPr bwMode="auto">
            <a:xfrm>
              <a:off x="8804064" y="4072590"/>
              <a:ext cx="1323595" cy="291948"/>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Text</a:t>
              </a:r>
            </a:p>
          </p:txBody>
        </p:sp>
        <p:sp>
          <p:nvSpPr>
            <p:cNvPr id="28" name="Rectangle 7">
              <a:extLst>
                <a:ext uri="{FF2B5EF4-FFF2-40B4-BE49-F238E27FC236}">
                  <a16:creationId xmlns:a16="http://schemas.microsoft.com/office/drawing/2014/main" id="{93BF4E75-CA8E-4381-BC9D-226DCAE01C17}"/>
                </a:ext>
              </a:extLst>
            </p:cNvPr>
            <p:cNvSpPr>
              <a:spLocks noChangeArrowheads="1"/>
            </p:cNvSpPr>
            <p:nvPr/>
          </p:nvSpPr>
          <p:spPr bwMode="auto">
            <a:xfrm>
              <a:off x="8804064" y="4674636"/>
              <a:ext cx="1323595" cy="290434"/>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Text</a:t>
              </a:r>
            </a:p>
          </p:txBody>
        </p:sp>
        <p:sp>
          <p:nvSpPr>
            <p:cNvPr id="29" name="Rectangle 8">
              <a:extLst>
                <a:ext uri="{FF2B5EF4-FFF2-40B4-BE49-F238E27FC236}">
                  <a16:creationId xmlns:a16="http://schemas.microsoft.com/office/drawing/2014/main" id="{D9173483-2A2F-4C2B-8EE9-41FE894A7785}"/>
                </a:ext>
              </a:extLst>
            </p:cNvPr>
            <p:cNvSpPr>
              <a:spLocks noChangeArrowheads="1"/>
            </p:cNvSpPr>
            <p:nvPr/>
          </p:nvSpPr>
          <p:spPr bwMode="auto">
            <a:xfrm>
              <a:off x="8799525" y="2230146"/>
              <a:ext cx="1322082" cy="290434"/>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Text</a:t>
              </a:r>
            </a:p>
          </p:txBody>
        </p:sp>
        <p:sp>
          <p:nvSpPr>
            <p:cNvPr id="30" name="Rectangle 9">
              <a:extLst>
                <a:ext uri="{FF2B5EF4-FFF2-40B4-BE49-F238E27FC236}">
                  <a16:creationId xmlns:a16="http://schemas.microsoft.com/office/drawing/2014/main" id="{6C95379F-1823-487C-8471-24B782A075DC}"/>
                </a:ext>
              </a:extLst>
            </p:cNvPr>
            <p:cNvSpPr>
              <a:spLocks noChangeArrowheads="1"/>
            </p:cNvSpPr>
            <p:nvPr/>
          </p:nvSpPr>
          <p:spPr bwMode="auto">
            <a:xfrm>
              <a:off x="8552958" y="1674992"/>
              <a:ext cx="1576212" cy="360018"/>
            </a:xfrm>
            <a:prstGeom prst="rect">
              <a:avLst/>
            </a:prstGeom>
            <a:solidFill>
              <a:schemeClr val="accent5"/>
            </a:solidFill>
            <a:ln w="6350">
              <a:noFill/>
              <a:miter lim="800000"/>
              <a:headEnd/>
              <a:tailEnd/>
            </a:ln>
            <a:effectLst/>
          </p:spPr>
          <p:txBody>
            <a:bodyPr lIns="72000" tIns="72000" rIns="72000" bIns="72000" anchor="ctr"/>
            <a:lstStyle/>
            <a:p>
              <a:pPr marL="222250" marR="0" lvl="0" indent="-222250" algn="l" defTabSz="1044575" rtl="0" eaLnBrk="0" fontAlgn="auto" latinLnBrk="0" hangingPunct="0">
                <a:lnSpc>
                  <a:spcPct val="100000"/>
                </a:lnSpc>
                <a:spcBef>
                  <a:spcPct val="100000"/>
                </a:spcBef>
                <a:spcAft>
                  <a:spcPts val="0"/>
                </a:spcAft>
                <a:buClrTx/>
                <a:buSzTx/>
                <a:buFontTx/>
                <a:buNone/>
                <a:tabLst/>
                <a:defRPr/>
              </a:pPr>
              <a:r>
                <a:rPr kumimoji="0" lang="en-US" sz="1400" b="1" i="0" u="none" strike="noStrike" kern="0" cap="none" spc="0" normalizeH="0" baseline="0" noProof="0" dirty="0">
                  <a:ln>
                    <a:noFill/>
                  </a:ln>
                  <a:effectLst/>
                  <a:uLnTx/>
                  <a:uFillTx/>
                  <a:latin typeface="+mj-lt"/>
                  <a:ea typeface="+mn-ea"/>
                  <a:cs typeface="+mn-cs"/>
                </a:rPr>
                <a:t>Text</a:t>
              </a:r>
            </a:p>
          </p:txBody>
        </p:sp>
        <p:cxnSp>
          <p:nvCxnSpPr>
            <p:cNvPr id="31" name="AutoShape 11">
              <a:extLst>
                <a:ext uri="{FF2B5EF4-FFF2-40B4-BE49-F238E27FC236}">
                  <a16:creationId xmlns:a16="http://schemas.microsoft.com/office/drawing/2014/main" id="{AF37A7B7-25BF-441C-88AA-794646EC70FD}"/>
                </a:ext>
              </a:extLst>
            </p:cNvPr>
            <p:cNvCxnSpPr>
              <a:cxnSpLocks noChangeShapeType="1"/>
              <a:stCxn id="30" idx="1"/>
              <a:endCxn id="29" idx="1"/>
            </p:cNvCxnSpPr>
            <p:nvPr/>
          </p:nvCxnSpPr>
          <p:spPr bwMode="auto">
            <a:xfrm rot="10800000" flipH="1" flipV="1">
              <a:off x="8552959" y="1855001"/>
              <a:ext cx="246567" cy="520362"/>
            </a:xfrm>
            <a:prstGeom prst="bentConnector3">
              <a:avLst>
                <a:gd name="adj1" fmla="val -104347"/>
              </a:avLst>
            </a:prstGeom>
            <a:noFill/>
            <a:ln w="12700" cap="rnd" cmpd="sng" algn="ctr">
              <a:solidFill>
                <a:srgbClr val="96968C"/>
              </a:solidFill>
              <a:prstDash val="sysDot"/>
              <a:headEnd type="none" w="med" len="med"/>
              <a:tailEnd type="none" w="med" len="med"/>
            </a:ln>
            <a:effectLst/>
          </p:spPr>
        </p:cxnSp>
        <p:cxnSp>
          <p:nvCxnSpPr>
            <p:cNvPr id="32" name="AutoShape 14">
              <a:extLst>
                <a:ext uri="{FF2B5EF4-FFF2-40B4-BE49-F238E27FC236}">
                  <a16:creationId xmlns:a16="http://schemas.microsoft.com/office/drawing/2014/main" id="{D23FB827-C50B-4917-997E-552EACCFFB35}"/>
                </a:ext>
              </a:extLst>
            </p:cNvPr>
            <p:cNvCxnSpPr>
              <a:cxnSpLocks noChangeShapeType="1"/>
              <a:stCxn id="29" idx="1"/>
              <a:endCxn id="25" idx="1"/>
            </p:cNvCxnSpPr>
            <p:nvPr/>
          </p:nvCxnSpPr>
          <p:spPr bwMode="auto">
            <a:xfrm rot="10800000" flipH="1" flipV="1">
              <a:off x="8799526" y="2375364"/>
              <a:ext cx="4539" cy="615661"/>
            </a:xfrm>
            <a:prstGeom prst="bentConnector3">
              <a:avLst>
                <a:gd name="adj1" fmla="val -11133333"/>
              </a:avLst>
            </a:prstGeom>
            <a:noFill/>
            <a:ln w="12700" cap="rnd" cmpd="sng" algn="ctr">
              <a:solidFill>
                <a:srgbClr val="96968C"/>
              </a:solidFill>
              <a:prstDash val="sysDot"/>
              <a:headEnd type="none" w="med" len="med"/>
              <a:tailEnd type="none" w="med" len="med"/>
            </a:ln>
            <a:effectLst/>
          </p:spPr>
        </p:cxnSp>
        <p:cxnSp>
          <p:nvCxnSpPr>
            <p:cNvPr id="33" name="AutoShape 52">
              <a:extLst>
                <a:ext uri="{FF2B5EF4-FFF2-40B4-BE49-F238E27FC236}">
                  <a16:creationId xmlns:a16="http://schemas.microsoft.com/office/drawing/2014/main" id="{EA8667A6-6E93-4BBF-8756-7958F948BB35}"/>
                </a:ext>
              </a:extLst>
            </p:cNvPr>
            <p:cNvCxnSpPr>
              <a:cxnSpLocks noChangeShapeType="1"/>
              <a:stCxn id="25" idx="1"/>
              <a:endCxn id="26" idx="1"/>
            </p:cNvCxnSpPr>
            <p:nvPr/>
          </p:nvCxnSpPr>
          <p:spPr bwMode="auto">
            <a:xfrm rot="10800000" flipH="1" flipV="1">
              <a:off x="8804064" y="2991024"/>
              <a:ext cx="1513" cy="615661"/>
            </a:xfrm>
            <a:prstGeom prst="bentConnector3">
              <a:avLst>
                <a:gd name="adj1" fmla="val -33800000"/>
              </a:avLst>
            </a:prstGeom>
            <a:noFill/>
            <a:ln w="12700" cap="rnd" cmpd="sng" algn="ctr">
              <a:solidFill>
                <a:srgbClr val="96968C"/>
              </a:solidFill>
              <a:prstDash val="sysDot"/>
              <a:headEnd type="none" w="med" len="med"/>
              <a:tailEnd type="none" w="med" len="med"/>
            </a:ln>
            <a:effectLst/>
          </p:spPr>
        </p:cxnSp>
        <p:cxnSp>
          <p:nvCxnSpPr>
            <p:cNvPr id="34" name="AutoShape 53">
              <a:extLst>
                <a:ext uri="{FF2B5EF4-FFF2-40B4-BE49-F238E27FC236}">
                  <a16:creationId xmlns:a16="http://schemas.microsoft.com/office/drawing/2014/main" id="{3750042B-8F3D-4F47-AD33-5B4932A46911}"/>
                </a:ext>
              </a:extLst>
            </p:cNvPr>
            <p:cNvCxnSpPr>
              <a:cxnSpLocks noChangeShapeType="1"/>
              <a:stCxn id="26" idx="1"/>
              <a:endCxn id="27" idx="1"/>
            </p:cNvCxnSpPr>
            <p:nvPr/>
          </p:nvCxnSpPr>
          <p:spPr bwMode="auto">
            <a:xfrm rot="10800000" flipH="1" flipV="1">
              <a:off x="8804064" y="3606684"/>
              <a:ext cx="1513" cy="612636"/>
            </a:xfrm>
            <a:prstGeom prst="bentConnector3">
              <a:avLst>
                <a:gd name="adj1" fmla="val -33900000"/>
              </a:avLst>
            </a:prstGeom>
            <a:noFill/>
            <a:ln w="12700" cap="rnd" cmpd="sng" algn="ctr">
              <a:solidFill>
                <a:srgbClr val="96968C"/>
              </a:solidFill>
              <a:prstDash val="sysDot"/>
              <a:headEnd type="none" w="med" len="med"/>
              <a:tailEnd type="none" w="med" len="med"/>
            </a:ln>
            <a:effectLst/>
          </p:spPr>
        </p:cxnSp>
        <p:cxnSp>
          <p:nvCxnSpPr>
            <p:cNvPr id="35" name="AutoShape 54">
              <a:extLst>
                <a:ext uri="{FF2B5EF4-FFF2-40B4-BE49-F238E27FC236}">
                  <a16:creationId xmlns:a16="http://schemas.microsoft.com/office/drawing/2014/main" id="{27449FB9-3E9D-40B3-824A-F92AAA8A09A4}"/>
                </a:ext>
              </a:extLst>
            </p:cNvPr>
            <p:cNvCxnSpPr>
              <a:cxnSpLocks noChangeShapeType="1"/>
              <a:stCxn id="27" idx="1"/>
              <a:endCxn id="28" idx="1"/>
            </p:cNvCxnSpPr>
            <p:nvPr/>
          </p:nvCxnSpPr>
          <p:spPr bwMode="auto">
            <a:xfrm rot="10800000" flipH="1" flipV="1">
              <a:off x="8804064" y="4219319"/>
              <a:ext cx="1513" cy="600534"/>
            </a:xfrm>
            <a:prstGeom prst="bentConnector3">
              <a:avLst>
                <a:gd name="adj1" fmla="val -33900000"/>
              </a:avLst>
            </a:prstGeom>
            <a:noFill/>
            <a:ln w="12700" cap="rnd" cmpd="sng" algn="ctr">
              <a:solidFill>
                <a:srgbClr val="96968C"/>
              </a:solidFill>
              <a:prstDash val="sysDot"/>
              <a:headEnd type="none" w="med" len="med"/>
              <a:tailEnd type="none" w="med" len="med"/>
            </a:ln>
            <a:effectLst/>
          </p:spPr>
        </p:cxnSp>
      </p:grpSp>
      <p:sp>
        <p:nvSpPr>
          <p:cNvPr id="3" name="Footer Placeholder 2">
            <a:extLst>
              <a:ext uri="{FF2B5EF4-FFF2-40B4-BE49-F238E27FC236}">
                <a16:creationId xmlns:a16="http://schemas.microsoft.com/office/drawing/2014/main" id="{94B3D163-4066-4108-B21F-97736F963C13}"/>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1" name="Slide Number Placeholder 50">
            <a:extLst>
              <a:ext uri="{FF2B5EF4-FFF2-40B4-BE49-F238E27FC236}">
                <a16:creationId xmlns:a16="http://schemas.microsoft.com/office/drawing/2014/main" id="{460D94CC-2AD8-4C47-B240-92B6181504EE}"/>
              </a:ext>
            </a:extLst>
          </p:cNvPr>
          <p:cNvSpPr>
            <a:spLocks noGrp="1"/>
          </p:cNvSpPr>
          <p:nvPr>
            <p:ph type="sldNum" sz="quarter" idx="10"/>
          </p:nvPr>
        </p:nvSpPr>
        <p:spPr/>
        <p:txBody>
          <a:bodyPr/>
          <a:lstStyle/>
          <a:p>
            <a:fld id="{1F90F471-3972-4120-B8B3-0237DE626C35}" type="slidenum">
              <a:rPr lang="en-US" smtClean="0"/>
              <a:pPr/>
              <a:t>405</a:t>
            </a:fld>
            <a:endParaRPr lang="en-US" dirty="0"/>
          </a:p>
        </p:txBody>
      </p:sp>
    </p:spTree>
    <p:extLst>
      <p:ext uri="{BB962C8B-B14F-4D97-AF65-F5344CB8AC3E}">
        <p14:creationId xmlns:p14="http://schemas.microsoft.com/office/powerpoint/2010/main" val="354367985"/>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Credential Template</a:t>
            </a:r>
          </a:p>
        </p:txBody>
      </p:sp>
      <p:sp>
        <p:nvSpPr>
          <p:cNvPr id="6" name="Text Box 4">
            <a:extLst>
              <a:ext uri="{FF2B5EF4-FFF2-40B4-BE49-F238E27FC236}">
                <a16:creationId xmlns:a16="http://schemas.microsoft.com/office/drawing/2014/main" id="{002B2DB4-B354-4192-A831-293E123FA252}"/>
              </a:ext>
            </a:extLst>
          </p:cNvPr>
          <p:cNvSpPr txBox="1">
            <a:spLocks noChangeArrowheads="1"/>
          </p:cNvSpPr>
          <p:nvPr/>
        </p:nvSpPr>
        <p:spPr bwMode="auto">
          <a:xfrm>
            <a:off x="1992314" y="1168730"/>
            <a:ext cx="3421063" cy="377825"/>
          </a:xfrm>
          <a:prstGeom prst="rect">
            <a:avLst/>
          </a:prstGeom>
          <a:noFill/>
          <a:ln w="9525">
            <a:noFill/>
            <a:miter lim="800000"/>
            <a:headEnd/>
            <a:tailEnd/>
          </a:ln>
          <a:effectLst/>
        </p:spPr>
        <p:txBody>
          <a:bodyPr lIns="0" tIns="0" rIns="0" bIns="36000" anchor="b"/>
          <a:lstStyle/>
          <a:p>
            <a:pPr marL="190500" marR="0" lvl="0" indent="-190500" algn="l"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Client background</a:t>
            </a:r>
          </a:p>
        </p:txBody>
      </p:sp>
      <p:sp>
        <p:nvSpPr>
          <p:cNvPr id="10" name="Text Box 8">
            <a:extLst>
              <a:ext uri="{FF2B5EF4-FFF2-40B4-BE49-F238E27FC236}">
                <a16:creationId xmlns:a16="http://schemas.microsoft.com/office/drawing/2014/main" id="{CCAB545D-0D1C-49F6-BAED-1C28BA90DB93}"/>
              </a:ext>
            </a:extLst>
          </p:cNvPr>
          <p:cNvSpPr txBox="1">
            <a:spLocks noChangeArrowheads="1"/>
          </p:cNvSpPr>
          <p:nvPr/>
        </p:nvSpPr>
        <p:spPr bwMode="auto">
          <a:xfrm>
            <a:off x="1992314" y="1546554"/>
            <a:ext cx="3421063" cy="738664"/>
          </a:xfrm>
          <a:prstGeom prst="rect">
            <a:avLst/>
          </a:prstGeom>
          <a:noFill/>
          <a:ln w="9525">
            <a:noFill/>
            <a:miter lim="800000"/>
            <a:headEnd/>
            <a:tailEnd/>
          </a:ln>
          <a:effectLst/>
        </p:spPr>
        <p:txBody>
          <a:bodyPr lIns="0" tIns="0" rIns="0" bIns="0">
            <a:spAutoFit/>
          </a:bodyPr>
          <a:lstStyle/>
          <a:p>
            <a:pPr marL="179388" marR="0" lvl="0" indent="-179388"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 </a:t>
            </a:r>
          </a:p>
          <a:p>
            <a:pPr marL="179388" marR="0" lvl="0" indent="-179388"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 </a:t>
            </a:r>
          </a:p>
          <a:p>
            <a:pPr marL="179388" marR="0" lvl="0" indent="-179388"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7" name="Text Box 5">
            <a:extLst>
              <a:ext uri="{FF2B5EF4-FFF2-40B4-BE49-F238E27FC236}">
                <a16:creationId xmlns:a16="http://schemas.microsoft.com/office/drawing/2014/main" id="{8A12C0D6-DEC0-4268-8D0F-30E59F7F9734}"/>
              </a:ext>
            </a:extLst>
          </p:cNvPr>
          <p:cNvSpPr txBox="1">
            <a:spLocks noChangeArrowheads="1"/>
          </p:cNvSpPr>
          <p:nvPr/>
        </p:nvSpPr>
        <p:spPr bwMode="auto">
          <a:xfrm>
            <a:off x="6082320" y="1168730"/>
            <a:ext cx="3421062" cy="377825"/>
          </a:xfrm>
          <a:prstGeom prst="rect">
            <a:avLst/>
          </a:prstGeom>
          <a:noFill/>
          <a:ln w="9525">
            <a:noFill/>
            <a:miter lim="800000"/>
            <a:headEnd/>
            <a:tailEnd/>
          </a:ln>
          <a:effectLst/>
        </p:spPr>
        <p:txBody>
          <a:bodyPr lIns="0" tIns="0" rIns="0" bIns="36000" anchor="b"/>
          <a:lstStyle/>
          <a:p>
            <a:pPr marL="190500" marR="0" lvl="0" indent="-190500" algn="l"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mj-lt"/>
                <a:ea typeface="+mn-ea"/>
                <a:cs typeface="+mn-cs"/>
              </a:rPr>
              <a:t>Business challenge</a:t>
            </a:r>
            <a:endParaRPr kumimoji="0" lang="en-US" sz="1600" b="0" i="0" u="none" strike="noStrike" kern="0" cap="none" spc="0" normalizeH="0" baseline="0" noProof="0" dirty="0">
              <a:ln>
                <a:noFill/>
              </a:ln>
              <a:solidFill>
                <a:srgbClr val="000000"/>
              </a:solidFill>
              <a:effectLst/>
              <a:uLnTx/>
              <a:uFillTx/>
              <a:latin typeface="+mj-lt"/>
              <a:ea typeface="+mn-ea"/>
              <a:cs typeface="+mn-cs"/>
            </a:endParaRPr>
          </a:p>
        </p:txBody>
      </p:sp>
      <p:sp>
        <p:nvSpPr>
          <p:cNvPr id="11" name="Text Box 9">
            <a:extLst>
              <a:ext uri="{FF2B5EF4-FFF2-40B4-BE49-F238E27FC236}">
                <a16:creationId xmlns:a16="http://schemas.microsoft.com/office/drawing/2014/main" id="{CF8156BE-82EB-4A47-AB10-E9B79EA545AB}"/>
              </a:ext>
            </a:extLst>
          </p:cNvPr>
          <p:cNvSpPr txBox="1">
            <a:spLocks noChangeArrowheads="1"/>
          </p:cNvSpPr>
          <p:nvPr/>
        </p:nvSpPr>
        <p:spPr bwMode="auto">
          <a:xfrm>
            <a:off x="6082320" y="1546554"/>
            <a:ext cx="3421062" cy="738664"/>
          </a:xfrm>
          <a:prstGeom prst="rect">
            <a:avLst/>
          </a:prstGeom>
          <a:noFill/>
          <a:ln w="9525">
            <a:noFill/>
            <a:miter lim="800000"/>
            <a:headEnd/>
            <a:tailEnd/>
          </a:ln>
          <a:effectLst/>
        </p:spPr>
        <p:txBody>
          <a:bodyPr lIns="0" tIns="0" rIns="0" bIns="0">
            <a:spAutoFit/>
          </a:bodyPr>
          <a:lstStyle/>
          <a:p>
            <a:pPr marL="179388" marR="0" lvl="0" indent="-179388"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 </a:t>
            </a:r>
          </a:p>
          <a:p>
            <a:pPr marL="179388" marR="0" lvl="0" indent="-179388"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 </a:t>
            </a:r>
          </a:p>
          <a:p>
            <a:pPr marL="179388" marR="0" lvl="0" indent="-179388"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600" b="0" i="0" u="none" strike="noStrike" kern="0" cap="none" spc="0" normalizeH="0" baseline="0" noProof="0" dirty="0">
                <a:ln>
                  <a:noFill/>
                </a:ln>
                <a:solidFill>
                  <a:srgbClr val="000000"/>
                </a:solidFill>
                <a:effectLst/>
                <a:uLnTx/>
                <a:uFillTx/>
                <a:ea typeface="+mn-ea"/>
                <a:cs typeface="+mn-cs"/>
              </a:rPr>
              <a:t>Text</a:t>
            </a:r>
          </a:p>
        </p:txBody>
      </p:sp>
      <p:sp>
        <p:nvSpPr>
          <p:cNvPr id="8" name="Text Box 6">
            <a:extLst>
              <a:ext uri="{FF2B5EF4-FFF2-40B4-BE49-F238E27FC236}">
                <a16:creationId xmlns:a16="http://schemas.microsoft.com/office/drawing/2014/main" id="{001942E7-B1B1-45A1-8C7C-3E996492E403}"/>
              </a:ext>
            </a:extLst>
          </p:cNvPr>
          <p:cNvSpPr txBox="1">
            <a:spLocks noChangeArrowheads="1"/>
          </p:cNvSpPr>
          <p:nvPr/>
        </p:nvSpPr>
        <p:spPr bwMode="auto">
          <a:xfrm>
            <a:off x="1992314" y="3716668"/>
            <a:ext cx="3421063" cy="377825"/>
          </a:xfrm>
          <a:prstGeom prst="rect">
            <a:avLst/>
          </a:prstGeom>
          <a:noFill/>
          <a:ln w="9525">
            <a:noFill/>
            <a:miter lim="800000"/>
            <a:headEnd/>
            <a:tailEnd/>
          </a:ln>
          <a:effectLst/>
        </p:spPr>
        <p:txBody>
          <a:bodyPr lIns="0" tIns="0" rIns="0" bIns="36000" anchor="b"/>
          <a:lstStyle/>
          <a:p>
            <a:pPr marL="190500" marR="0" lvl="0" indent="-190500" algn="l"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mj-lt"/>
                <a:ea typeface="+mn-ea"/>
                <a:cs typeface="+mn-cs"/>
              </a:rPr>
              <a:t>How Accenture helped</a:t>
            </a:r>
            <a:endParaRPr kumimoji="0" lang="en-US" sz="1600" b="0" i="0" u="none" strike="noStrike" kern="0" cap="none" spc="0" normalizeH="0" baseline="0" noProof="0">
              <a:ln>
                <a:noFill/>
              </a:ln>
              <a:solidFill>
                <a:srgbClr val="000000"/>
              </a:solidFill>
              <a:effectLst/>
              <a:uLnTx/>
              <a:uFillTx/>
              <a:latin typeface="+mj-lt"/>
              <a:ea typeface="+mn-ea"/>
              <a:cs typeface="+mn-cs"/>
            </a:endParaRPr>
          </a:p>
        </p:txBody>
      </p:sp>
      <p:sp>
        <p:nvSpPr>
          <p:cNvPr id="12" name="Text Box 10">
            <a:extLst>
              <a:ext uri="{FF2B5EF4-FFF2-40B4-BE49-F238E27FC236}">
                <a16:creationId xmlns:a16="http://schemas.microsoft.com/office/drawing/2014/main" id="{C004BA56-F779-476D-9F6F-9CAD6692A639}"/>
              </a:ext>
            </a:extLst>
          </p:cNvPr>
          <p:cNvSpPr txBox="1">
            <a:spLocks noChangeArrowheads="1"/>
          </p:cNvSpPr>
          <p:nvPr/>
        </p:nvSpPr>
        <p:spPr bwMode="auto">
          <a:xfrm>
            <a:off x="1992314" y="4094492"/>
            <a:ext cx="3421063" cy="738664"/>
          </a:xfrm>
          <a:prstGeom prst="rect">
            <a:avLst/>
          </a:prstGeom>
          <a:noFill/>
          <a:ln w="9525">
            <a:noFill/>
            <a:miter lim="800000"/>
            <a:headEnd/>
            <a:tailEnd/>
          </a:ln>
          <a:effectLst/>
        </p:spPr>
        <p:txBody>
          <a:bodyPr lIns="0" tIns="0" rIns="0" bIns="0">
            <a:spAutoFit/>
          </a:bodyPr>
          <a:lstStyle/>
          <a:p>
            <a:pPr marL="179388" marR="0" lvl="0" indent="-179388"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600" b="0" i="0" u="none" strike="noStrike" kern="0" cap="none" spc="0" normalizeH="0" baseline="0" noProof="0">
                <a:ln>
                  <a:noFill/>
                </a:ln>
                <a:solidFill>
                  <a:srgbClr val="000000"/>
                </a:solidFill>
                <a:effectLst/>
                <a:uLnTx/>
                <a:uFillTx/>
                <a:ea typeface="+mn-ea"/>
                <a:cs typeface="+mn-cs"/>
              </a:rPr>
              <a:t>Text </a:t>
            </a:r>
          </a:p>
          <a:p>
            <a:pPr marL="179388" marR="0" lvl="0" indent="-179388"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600" b="0" i="0" u="none" strike="noStrike" kern="0" cap="none" spc="0" normalizeH="0" baseline="0" noProof="0">
                <a:ln>
                  <a:noFill/>
                </a:ln>
                <a:solidFill>
                  <a:srgbClr val="000000"/>
                </a:solidFill>
                <a:effectLst/>
                <a:uLnTx/>
                <a:uFillTx/>
                <a:ea typeface="+mn-ea"/>
                <a:cs typeface="+mn-cs"/>
              </a:rPr>
              <a:t>Text </a:t>
            </a:r>
          </a:p>
          <a:p>
            <a:pPr marL="179388" marR="0" lvl="0" indent="-179388"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600" b="0" i="0" u="none" strike="noStrike" kern="0" cap="none" spc="0" normalizeH="0" baseline="0" noProof="0">
                <a:ln>
                  <a:noFill/>
                </a:ln>
                <a:solidFill>
                  <a:srgbClr val="000000"/>
                </a:solidFill>
                <a:effectLst/>
                <a:uLnTx/>
                <a:uFillTx/>
                <a:ea typeface="+mn-ea"/>
                <a:cs typeface="+mn-cs"/>
              </a:rPr>
              <a:t>Text</a:t>
            </a:r>
          </a:p>
        </p:txBody>
      </p:sp>
      <p:sp>
        <p:nvSpPr>
          <p:cNvPr id="9" name="Text Box 7">
            <a:extLst>
              <a:ext uri="{FF2B5EF4-FFF2-40B4-BE49-F238E27FC236}">
                <a16:creationId xmlns:a16="http://schemas.microsoft.com/office/drawing/2014/main" id="{E0C8AB14-2D96-48EE-A18E-46DDA413D65D}"/>
              </a:ext>
            </a:extLst>
          </p:cNvPr>
          <p:cNvSpPr txBox="1">
            <a:spLocks noChangeArrowheads="1"/>
          </p:cNvSpPr>
          <p:nvPr/>
        </p:nvSpPr>
        <p:spPr bwMode="auto">
          <a:xfrm>
            <a:off x="6082320" y="3716668"/>
            <a:ext cx="3421062" cy="377825"/>
          </a:xfrm>
          <a:prstGeom prst="rect">
            <a:avLst/>
          </a:prstGeom>
          <a:noFill/>
          <a:ln w="9525">
            <a:noFill/>
            <a:miter lim="800000"/>
            <a:headEnd/>
            <a:tailEnd/>
          </a:ln>
          <a:effectLst/>
        </p:spPr>
        <p:txBody>
          <a:bodyPr lIns="0" tIns="0" rIns="0" bIns="36000" anchor="b"/>
          <a:lstStyle/>
          <a:p>
            <a:pPr marL="190500" marR="0" lvl="0" indent="-190500" algn="l"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mj-lt"/>
                <a:ea typeface="+mn-ea"/>
                <a:cs typeface="+mn-cs"/>
              </a:rPr>
              <a:t>Value delivered</a:t>
            </a:r>
            <a:endParaRPr kumimoji="0" lang="en-US" sz="1600" b="0" i="0" u="none" strike="noStrike" kern="0" cap="none" spc="0" normalizeH="0" baseline="0" noProof="0">
              <a:ln>
                <a:noFill/>
              </a:ln>
              <a:solidFill>
                <a:srgbClr val="000000"/>
              </a:solidFill>
              <a:effectLst/>
              <a:uLnTx/>
              <a:uFillTx/>
              <a:latin typeface="+mj-lt"/>
              <a:ea typeface="+mn-ea"/>
              <a:cs typeface="+mn-cs"/>
            </a:endParaRPr>
          </a:p>
        </p:txBody>
      </p:sp>
      <p:sp>
        <p:nvSpPr>
          <p:cNvPr id="13" name="Text Box 11">
            <a:extLst>
              <a:ext uri="{FF2B5EF4-FFF2-40B4-BE49-F238E27FC236}">
                <a16:creationId xmlns:a16="http://schemas.microsoft.com/office/drawing/2014/main" id="{827EACCA-4212-4CD9-B5C9-0D09EABA6E4B}"/>
              </a:ext>
            </a:extLst>
          </p:cNvPr>
          <p:cNvSpPr txBox="1">
            <a:spLocks noChangeArrowheads="1"/>
          </p:cNvSpPr>
          <p:nvPr/>
        </p:nvSpPr>
        <p:spPr bwMode="auto">
          <a:xfrm>
            <a:off x="6082320" y="4094492"/>
            <a:ext cx="3421062" cy="738664"/>
          </a:xfrm>
          <a:prstGeom prst="rect">
            <a:avLst/>
          </a:prstGeom>
          <a:noFill/>
          <a:ln w="9525">
            <a:noFill/>
            <a:miter lim="800000"/>
            <a:headEnd/>
            <a:tailEnd/>
          </a:ln>
          <a:effectLst/>
        </p:spPr>
        <p:txBody>
          <a:bodyPr lIns="0" tIns="0" rIns="0" bIns="0">
            <a:spAutoFit/>
          </a:bodyPr>
          <a:lstStyle/>
          <a:p>
            <a:pPr marL="179388" marR="0" lvl="0" indent="-179388"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600" b="0" i="0" u="none" strike="noStrike" kern="0" cap="none" spc="0" normalizeH="0" baseline="0" noProof="0">
                <a:ln>
                  <a:noFill/>
                </a:ln>
                <a:solidFill>
                  <a:srgbClr val="000000"/>
                </a:solidFill>
                <a:effectLst/>
                <a:uLnTx/>
                <a:uFillTx/>
                <a:ea typeface="+mn-ea"/>
                <a:cs typeface="+mn-cs"/>
              </a:rPr>
              <a:t>Text </a:t>
            </a:r>
          </a:p>
          <a:p>
            <a:pPr marL="179388" marR="0" lvl="0" indent="-179388"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600" b="0" i="0" u="none" strike="noStrike" kern="0" cap="none" spc="0" normalizeH="0" baseline="0" noProof="0">
                <a:ln>
                  <a:noFill/>
                </a:ln>
                <a:solidFill>
                  <a:srgbClr val="000000"/>
                </a:solidFill>
                <a:effectLst/>
                <a:uLnTx/>
                <a:uFillTx/>
                <a:ea typeface="+mn-ea"/>
                <a:cs typeface="+mn-cs"/>
              </a:rPr>
              <a:t>Text </a:t>
            </a:r>
          </a:p>
          <a:p>
            <a:pPr marL="179388" marR="0" lvl="0" indent="-179388"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600" b="0" i="0" u="none" strike="noStrike" kern="0" cap="none" spc="0" normalizeH="0" baseline="0" noProof="0">
                <a:ln>
                  <a:noFill/>
                </a:ln>
                <a:solidFill>
                  <a:srgbClr val="000000"/>
                </a:solidFill>
                <a:effectLst/>
                <a:uLnTx/>
                <a:uFillTx/>
                <a:ea typeface="+mn-ea"/>
                <a:cs typeface="+mn-cs"/>
              </a:rPr>
              <a:t>Text</a:t>
            </a:r>
          </a:p>
        </p:txBody>
      </p:sp>
      <p:sp>
        <p:nvSpPr>
          <p:cNvPr id="3" name="Footer Placeholder 2">
            <a:extLst>
              <a:ext uri="{FF2B5EF4-FFF2-40B4-BE49-F238E27FC236}">
                <a16:creationId xmlns:a16="http://schemas.microsoft.com/office/drawing/2014/main" id="{6EC885BE-2372-4906-9E94-2E5C3EA6D37B}"/>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4" name="Slide Number Placeholder 13">
            <a:extLst>
              <a:ext uri="{FF2B5EF4-FFF2-40B4-BE49-F238E27FC236}">
                <a16:creationId xmlns:a16="http://schemas.microsoft.com/office/drawing/2014/main" id="{94D9EE86-F391-47D0-95D9-55D9FFD144B2}"/>
              </a:ext>
            </a:extLst>
          </p:cNvPr>
          <p:cNvSpPr>
            <a:spLocks noGrp="1"/>
          </p:cNvSpPr>
          <p:nvPr>
            <p:ph type="sldNum" sz="quarter" idx="10"/>
          </p:nvPr>
        </p:nvSpPr>
        <p:spPr/>
        <p:txBody>
          <a:bodyPr/>
          <a:lstStyle/>
          <a:p>
            <a:fld id="{1F90F471-3972-4120-B8B3-0237DE626C35}" type="slidenum">
              <a:rPr lang="en-US" smtClean="0"/>
              <a:pPr/>
              <a:t>406</a:t>
            </a:fld>
            <a:endParaRPr lang="en-US" dirty="0"/>
          </a:p>
        </p:txBody>
      </p:sp>
    </p:spTree>
    <p:extLst>
      <p:ext uri="{BB962C8B-B14F-4D97-AF65-F5344CB8AC3E}">
        <p14:creationId xmlns:p14="http://schemas.microsoft.com/office/powerpoint/2010/main" val="3973847301"/>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ZA" dirty="0"/>
              <a:t>Credentials Template</a:t>
            </a:r>
            <a:endParaRPr lang="en-US" dirty="0"/>
          </a:p>
        </p:txBody>
      </p:sp>
      <p:sp>
        <p:nvSpPr>
          <p:cNvPr id="6" name="Content Placeholder 7">
            <a:extLst>
              <a:ext uri="{FF2B5EF4-FFF2-40B4-BE49-F238E27FC236}">
                <a16:creationId xmlns:a16="http://schemas.microsoft.com/office/drawing/2014/main" id="{0D6E067B-3C50-4291-AE41-8AC930BCB414}"/>
              </a:ext>
            </a:extLst>
          </p:cNvPr>
          <p:cNvSpPr txBox="1">
            <a:spLocks/>
          </p:cNvSpPr>
          <p:nvPr/>
        </p:nvSpPr>
        <p:spPr bwMode="auto">
          <a:xfrm>
            <a:off x="1847850" y="1292836"/>
            <a:ext cx="4365892" cy="362842"/>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marL="176213" marR="0" lvl="0" indent="-176213" algn="l" defTabSz="914400"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Client Profile</a:t>
            </a:r>
          </a:p>
        </p:txBody>
      </p:sp>
      <p:sp>
        <p:nvSpPr>
          <p:cNvPr id="7" name="TextBox 6">
            <a:extLst>
              <a:ext uri="{FF2B5EF4-FFF2-40B4-BE49-F238E27FC236}">
                <a16:creationId xmlns:a16="http://schemas.microsoft.com/office/drawing/2014/main" id="{F910D770-206F-4ADE-87E4-19FA3300893C}"/>
              </a:ext>
            </a:extLst>
          </p:cNvPr>
          <p:cNvSpPr txBox="1"/>
          <p:nvPr/>
        </p:nvSpPr>
        <p:spPr bwMode="auto">
          <a:xfrm>
            <a:off x="1847850" y="1641868"/>
            <a:ext cx="4425950" cy="261610"/>
          </a:xfrm>
          <a:prstGeom prst="rect">
            <a:avLst/>
          </a:prstGeom>
          <a:noFill/>
        </p:spPr>
        <p:txBody>
          <a:bodyPr wrap="square" rtlCol="0">
            <a:spAutoFit/>
          </a:bodyPr>
          <a:lstStyle/>
          <a:p>
            <a:pPr marL="92075" marR="0" lvl="0" indent="-920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ea typeface="+mn-ea"/>
                <a:cs typeface="+mn-cs"/>
              </a:rPr>
              <a:t>Text</a:t>
            </a:r>
          </a:p>
        </p:txBody>
      </p:sp>
      <p:cxnSp>
        <p:nvCxnSpPr>
          <p:cNvPr id="9" name="Straight Connector 8">
            <a:extLst>
              <a:ext uri="{FF2B5EF4-FFF2-40B4-BE49-F238E27FC236}">
                <a16:creationId xmlns:a16="http://schemas.microsoft.com/office/drawing/2014/main" id="{BF5FEB07-0D5C-4EC3-9B78-2747FDD8E39E}"/>
              </a:ext>
              <a:ext uri="{C183D7F6-B498-43B3-948B-1728B52AA6E4}">
                <adec:decorative xmlns:adec="http://schemas.microsoft.com/office/drawing/2017/decorative" val="1"/>
              </a:ext>
            </a:extLst>
          </p:cNvPr>
          <p:cNvCxnSpPr/>
          <p:nvPr/>
        </p:nvCxnSpPr>
        <p:spPr bwMode="auto">
          <a:xfrm>
            <a:off x="1960377" y="2454247"/>
            <a:ext cx="4133536"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8" name="Content Placeholder 7">
            <a:extLst>
              <a:ext uri="{FF2B5EF4-FFF2-40B4-BE49-F238E27FC236}">
                <a16:creationId xmlns:a16="http://schemas.microsoft.com/office/drawing/2014/main" id="{DDC0CC4B-0A42-41C4-89D7-05597C5D74C4}"/>
              </a:ext>
            </a:extLst>
          </p:cNvPr>
          <p:cNvSpPr txBox="1">
            <a:spLocks/>
          </p:cNvSpPr>
          <p:nvPr/>
        </p:nvSpPr>
        <p:spPr bwMode="auto">
          <a:xfrm>
            <a:off x="1854000" y="2480525"/>
            <a:ext cx="2873849" cy="366974"/>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Delivering High Performance from Issue to Outcome</a:t>
            </a:r>
          </a:p>
        </p:txBody>
      </p:sp>
      <p:sp>
        <p:nvSpPr>
          <p:cNvPr id="10" name="TextBox 9">
            <a:extLst>
              <a:ext uri="{FF2B5EF4-FFF2-40B4-BE49-F238E27FC236}">
                <a16:creationId xmlns:a16="http://schemas.microsoft.com/office/drawing/2014/main" id="{769332FF-EDC1-4000-98C5-321D38C281D8}"/>
              </a:ext>
            </a:extLst>
          </p:cNvPr>
          <p:cNvSpPr txBox="1"/>
          <p:nvPr/>
        </p:nvSpPr>
        <p:spPr bwMode="auto">
          <a:xfrm>
            <a:off x="1852612" y="3120003"/>
            <a:ext cx="4425950" cy="261610"/>
          </a:xfrm>
          <a:prstGeom prst="rect">
            <a:avLst/>
          </a:prstGeom>
          <a:noFill/>
        </p:spPr>
        <p:txBody>
          <a:bodyPr wrap="square" rtlCol="0">
            <a:spAutoFit/>
          </a:bodyPr>
          <a:lstStyle/>
          <a:p>
            <a:pPr marL="92075" marR="0" lvl="0" indent="-920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a:ln>
                  <a:noFill/>
                </a:ln>
                <a:solidFill>
                  <a:srgbClr val="000000"/>
                </a:solidFill>
                <a:effectLst/>
                <a:uLnTx/>
                <a:uFillTx/>
                <a:ea typeface="+mn-ea"/>
                <a:cs typeface="+mn-cs"/>
              </a:rPr>
              <a:t>Text</a:t>
            </a:r>
            <a:endParaRPr kumimoji="0" lang="en-US" sz="1100" b="0" i="0" u="none" strike="noStrike" kern="0" cap="none" spc="0" normalizeH="0" baseline="0" noProof="0" dirty="0">
              <a:ln>
                <a:noFill/>
              </a:ln>
              <a:solidFill>
                <a:srgbClr val="000000"/>
              </a:solidFill>
              <a:effectLst/>
              <a:uLnTx/>
              <a:uFillTx/>
              <a:ea typeface="+mn-ea"/>
              <a:cs typeface="+mn-cs"/>
            </a:endParaRPr>
          </a:p>
        </p:txBody>
      </p:sp>
      <p:cxnSp>
        <p:nvCxnSpPr>
          <p:cNvPr id="16" name="Straight Connector 15">
            <a:extLst>
              <a:ext uri="{FF2B5EF4-FFF2-40B4-BE49-F238E27FC236}">
                <a16:creationId xmlns:a16="http://schemas.microsoft.com/office/drawing/2014/main" id="{08022400-272D-4CBC-932C-4C11710C5086}"/>
              </a:ext>
              <a:ext uri="{C183D7F6-B498-43B3-948B-1728B52AA6E4}">
                <adec:decorative xmlns:adec="http://schemas.microsoft.com/office/drawing/2017/decorative" val="1"/>
              </a:ext>
            </a:extLst>
          </p:cNvPr>
          <p:cNvCxnSpPr/>
          <p:nvPr/>
        </p:nvCxnSpPr>
        <p:spPr bwMode="auto">
          <a:xfrm rot="5400000">
            <a:off x="3505422" y="3884342"/>
            <a:ext cx="5179836"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11" name="Content Placeholder 7">
            <a:extLst>
              <a:ext uri="{FF2B5EF4-FFF2-40B4-BE49-F238E27FC236}">
                <a16:creationId xmlns:a16="http://schemas.microsoft.com/office/drawing/2014/main" id="{CAC605D0-D81D-46FA-B0A0-7E3E1AF6F975}"/>
              </a:ext>
            </a:extLst>
          </p:cNvPr>
          <p:cNvSpPr txBox="1">
            <a:spLocks/>
          </p:cNvSpPr>
          <p:nvPr/>
        </p:nvSpPr>
        <p:spPr bwMode="auto">
          <a:xfrm>
            <a:off x="6158816" y="1292836"/>
            <a:ext cx="4365892" cy="362842"/>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marL="176213" marR="0" lvl="0" indent="-176213" algn="l" defTabSz="914400"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Approach</a:t>
            </a:r>
          </a:p>
        </p:txBody>
      </p:sp>
      <p:sp>
        <p:nvSpPr>
          <p:cNvPr id="12" name="TextBox 11">
            <a:extLst>
              <a:ext uri="{FF2B5EF4-FFF2-40B4-BE49-F238E27FC236}">
                <a16:creationId xmlns:a16="http://schemas.microsoft.com/office/drawing/2014/main" id="{8EE7E997-22FF-440F-B359-BF242B2356D7}"/>
              </a:ext>
            </a:extLst>
          </p:cNvPr>
          <p:cNvSpPr txBox="1"/>
          <p:nvPr/>
        </p:nvSpPr>
        <p:spPr bwMode="auto">
          <a:xfrm>
            <a:off x="6158816" y="1641868"/>
            <a:ext cx="4425950" cy="261610"/>
          </a:xfrm>
          <a:prstGeom prst="rect">
            <a:avLst/>
          </a:prstGeom>
          <a:noFill/>
        </p:spPr>
        <p:txBody>
          <a:bodyPr wrap="square" rtlCol="0">
            <a:spAutoFit/>
          </a:bodyPr>
          <a:lstStyle/>
          <a:p>
            <a:pPr marL="92075" marR="0" lvl="0" indent="-920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ea typeface="+mn-ea"/>
                <a:cs typeface="+mn-cs"/>
              </a:rPr>
              <a:t>Text</a:t>
            </a:r>
          </a:p>
        </p:txBody>
      </p:sp>
      <p:cxnSp>
        <p:nvCxnSpPr>
          <p:cNvPr id="15" name="Straight Connector 14">
            <a:extLst>
              <a:ext uri="{FF2B5EF4-FFF2-40B4-BE49-F238E27FC236}">
                <a16:creationId xmlns:a16="http://schemas.microsoft.com/office/drawing/2014/main" id="{B8F2B06B-E1BA-4FD7-BC80-7E2844655AD3}"/>
              </a:ext>
              <a:ext uri="{C183D7F6-B498-43B3-948B-1728B52AA6E4}">
                <adec:decorative xmlns:adec="http://schemas.microsoft.com/office/drawing/2017/decorative" val="1"/>
              </a:ext>
            </a:extLst>
          </p:cNvPr>
          <p:cNvCxnSpPr/>
          <p:nvPr/>
        </p:nvCxnSpPr>
        <p:spPr bwMode="auto">
          <a:xfrm>
            <a:off x="6093913" y="4783748"/>
            <a:ext cx="4158110"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13" name="Content Placeholder 7">
            <a:extLst>
              <a:ext uri="{FF2B5EF4-FFF2-40B4-BE49-F238E27FC236}">
                <a16:creationId xmlns:a16="http://schemas.microsoft.com/office/drawing/2014/main" id="{EFC5E789-594E-48C8-B9EC-7FE364F2B338}"/>
              </a:ext>
            </a:extLst>
          </p:cNvPr>
          <p:cNvSpPr txBox="1">
            <a:spLocks/>
          </p:cNvSpPr>
          <p:nvPr/>
        </p:nvSpPr>
        <p:spPr bwMode="auto">
          <a:xfrm>
            <a:off x="6158816" y="4823490"/>
            <a:ext cx="4365892" cy="362842"/>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marL="176213" marR="0" lvl="0" indent="-176213" algn="l" defTabSz="914400"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The Breakthrough or Key Results</a:t>
            </a:r>
          </a:p>
        </p:txBody>
      </p:sp>
      <p:sp>
        <p:nvSpPr>
          <p:cNvPr id="14" name="TextBox 13">
            <a:extLst>
              <a:ext uri="{FF2B5EF4-FFF2-40B4-BE49-F238E27FC236}">
                <a16:creationId xmlns:a16="http://schemas.microsoft.com/office/drawing/2014/main" id="{85EC159B-6014-4764-B39B-650C71001B1E}"/>
              </a:ext>
            </a:extLst>
          </p:cNvPr>
          <p:cNvSpPr txBox="1"/>
          <p:nvPr/>
        </p:nvSpPr>
        <p:spPr bwMode="auto">
          <a:xfrm>
            <a:off x="6158816" y="5172522"/>
            <a:ext cx="4425950" cy="261610"/>
          </a:xfrm>
          <a:prstGeom prst="rect">
            <a:avLst/>
          </a:prstGeom>
          <a:noFill/>
        </p:spPr>
        <p:txBody>
          <a:bodyPr wrap="square" rtlCol="0">
            <a:spAutoFit/>
          </a:bodyPr>
          <a:lstStyle/>
          <a:p>
            <a:pPr marL="92075" marR="0" lvl="0" indent="-920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a:ln>
                  <a:noFill/>
                </a:ln>
                <a:solidFill>
                  <a:srgbClr val="000000"/>
                </a:solidFill>
                <a:effectLst/>
                <a:uLnTx/>
                <a:uFillTx/>
                <a:ea typeface="+mn-ea"/>
                <a:cs typeface="+mn-cs"/>
              </a:rPr>
              <a:t>Text</a:t>
            </a:r>
            <a:endParaRPr kumimoji="0" lang="en-US" sz="1100" b="0" i="0" u="none" strike="noStrike" kern="0" cap="none" spc="0" normalizeH="0" baseline="0" noProof="0" dirty="0">
              <a:ln>
                <a:noFill/>
              </a:ln>
              <a:solidFill>
                <a:srgbClr val="000000"/>
              </a:solidFill>
              <a:effectLst/>
              <a:uLnTx/>
              <a:uFillTx/>
              <a:ea typeface="+mn-ea"/>
              <a:cs typeface="+mn-cs"/>
            </a:endParaRPr>
          </a:p>
        </p:txBody>
      </p:sp>
      <p:sp>
        <p:nvSpPr>
          <p:cNvPr id="3" name="Footer Placeholder 2">
            <a:extLst>
              <a:ext uri="{FF2B5EF4-FFF2-40B4-BE49-F238E27FC236}">
                <a16:creationId xmlns:a16="http://schemas.microsoft.com/office/drawing/2014/main" id="{EA079170-FA22-4EB1-91EF-70F0DE6759B5}"/>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8" name="Slide Number Placeholder 17">
            <a:extLst>
              <a:ext uri="{FF2B5EF4-FFF2-40B4-BE49-F238E27FC236}">
                <a16:creationId xmlns:a16="http://schemas.microsoft.com/office/drawing/2014/main" id="{0A6FF5ED-4756-477E-B4A8-50039B7723C2}"/>
              </a:ext>
            </a:extLst>
          </p:cNvPr>
          <p:cNvSpPr>
            <a:spLocks noGrp="1"/>
          </p:cNvSpPr>
          <p:nvPr>
            <p:ph type="sldNum" sz="quarter" idx="10"/>
          </p:nvPr>
        </p:nvSpPr>
        <p:spPr/>
        <p:txBody>
          <a:bodyPr/>
          <a:lstStyle/>
          <a:p>
            <a:fld id="{1F90F471-3972-4120-B8B3-0237DE626C35}" type="slidenum">
              <a:rPr lang="en-US" smtClean="0"/>
              <a:pPr/>
              <a:t>407</a:t>
            </a:fld>
            <a:endParaRPr lang="en-US" dirty="0"/>
          </a:p>
        </p:txBody>
      </p:sp>
    </p:spTree>
    <p:extLst>
      <p:ext uri="{BB962C8B-B14F-4D97-AF65-F5344CB8AC3E}">
        <p14:creationId xmlns:p14="http://schemas.microsoft.com/office/powerpoint/2010/main" val="2655722928"/>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E094B8-9807-4600-8781-93C429BF7FF2}"/>
              </a:ext>
            </a:extLst>
          </p:cNvPr>
          <p:cNvSpPr>
            <a:spLocks noGrp="1"/>
          </p:cNvSpPr>
          <p:nvPr>
            <p:ph type="title"/>
          </p:nvPr>
        </p:nvSpPr>
        <p:spPr/>
        <p:txBody>
          <a:bodyPr/>
          <a:lstStyle/>
          <a:p>
            <a:r>
              <a:rPr lang="en-ZA" dirty="0"/>
              <a:t>Governance Model</a:t>
            </a:r>
            <a:endParaRPr lang="en-US" dirty="0"/>
          </a:p>
        </p:txBody>
      </p:sp>
      <p:graphicFrame>
        <p:nvGraphicFramePr>
          <p:cNvPr id="11" name="Content Placeholder 10">
            <a:extLst>
              <a:ext uri="{FF2B5EF4-FFF2-40B4-BE49-F238E27FC236}">
                <a16:creationId xmlns:a16="http://schemas.microsoft.com/office/drawing/2014/main" id="{8AC8ADA1-FA7D-41D5-9D0D-6325DDCF9FA9}"/>
              </a:ext>
            </a:extLst>
          </p:cNvPr>
          <p:cNvGraphicFramePr>
            <a:graphicFrameLocks noGrp="1"/>
          </p:cNvGraphicFramePr>
          <p:nvPr>
            <p:ph sz="quarter" idx="4294967295"/>
            <p:extLst>
              <p:ext uri="{D42A27DB-BD31-4B8C-83A1-F6EECF244321}">
                <p14:modId xmlns:p14="http://schemas.microsoft.com/office/powerpoint/2010/main" val="2447369549"/>
              </p:ext>
            </p:extLst>
          </p:nvPr>
        </p:nvGraphicFramePr>
        <p:xfrm>
          <a:off x="384048" y="1371600"/>
          <a:ext cx="11430000" cy="3396885"/>
        </p:xfrm>
        <a:graphic>
          <a:graphicData uri="http://schemas.openxmlformats.org/drawingml/2006/table">
            <a:tbl>
              <a:tblPr firstRow="1" bandRow="1"/>
              <a:tblGrid>
                <a:gridCol w="3810000">
                  <a:extLst>
                    <a:ext uri="{9D8B030D-6E8A-4147-A177-3AD203B41FA5}">
                      <a16:colId xmlns:a16="http://schemas.microsoft.com/office/drawing/2014/main" val="20000"/>
                    </a:ext>
                  </a:extLst>
                </a:gridCol>
                <a:gridCol w="3810000">
                  <a:extLst>
                    <a:ext uri="{9D8B030D-6E8A-4147-A177-3AD203B41FA5}">
                      <a16:colId xmlns:a16="http://schemas.microsoft.com/office/drawing/2014/main" val="20001"/>
                    </a:ext>
                  </a:extLst>
                </a:gridCol>
                <a:gridCol w="3810000">
                  <a:extLst>
                    <a:ext uri="{9D8B030D-6E8A-4147-A177-3AD203B41FA5}">
                      <a16:colId xmlns:a16="http://schemas.microsoft.com/office/drawing/2014/main" val="20002"/>
                    </a:ext>
                  </a:extLst>
                </a:gridCol>
              </a:tblGrid>
              <a:tr h="350837">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cap="none" baseline="0" dirty="0">
                          <a:solidFill>
                            <a:schemeClr val="bg1"/>
                          </a:solidFill>
                          <a:latin typeface="+mj-lt"/>
                        </a:rPr>
                        <a:t>Item</a:t>
                      </a:r>
                    </a:p>
                  </a:txBody>
                  <a:tcPr anchor="ctr">
                    <a:lnL w="12700" cmpd="sng">
                      <a:solidFill>
                        <a:srgbClr val="FFFFFF"/>
                      </a:solidFill>
                    </a:lnL>
                    <a:lnR w="12700" cap="flat" cmpd="sng" algn="ctr">
                      <a:noFill/>
                      <a:prstDash val="sysDot"/>
                      <a:round/>
                      <a:headEnd type="none" w="med" len="med"/>
                      <a:tailEnd type="none" w="med" len="med"/>
                    </a:lnR>
                    <a:lnT w="12700" cmpd="sng">
                      <a:solidFill>
                        <a:srgbClr val="FFFFFF"/>
                      </a:solid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cap="none" baseline="0" dirty="0">
                          <a:solidFill>
                            <a:schemeClr val="bg1"/>
                          </a:solidFill>
                          <a:latin typeface="+mj-lt"/>
                        </a:rPr>
                        <a:t>Objective</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mpd="sng">
                      <a:solidFill>
                        <a:srgbClr val="FFFFFF"/>
                      </a:solid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cap="none" baseline="0" dirty="0">
                          <a:solidFill>
                            <a:schemeClr val="bg1"/>
                          </a:solidFill>
                          <a:latin typeface="+mj-lt"/>
                        </a:rPr>
                        <a:t>Frequency</a:t>
                      </a:r>
                    </a:p>
                  </a:txBody>
                  <a:tcPr anchor="ctr">
                    <a:lnL w="12700" cap="flat" cmpd="sng" algn="ctr">
                      <a:noFill/>
                      <a:prstDash val="sysDot"/>
                      <a:round/>
                      <a:headEnd type="none" w="med" len="med"/>
                      <a:tailEnd type="none" w="med" len="med"/>
                    </a:lnL>
                    <a:lnR w="6350" cap="flat" cmpd="sng" algn="ctr">
                      <a:noFill/>
                      <a:prstDash val="dash"/>
                      <a:round/>
                      <a:headEnd type="none" w="med" len="med"/>
                      <a:tailEnd type="none" w="med" len="med"/>
                    </a:lnR>
                    <a:lnT w="12700" cmpd="sng">
                      <a:solidFill>
                        <a:srgbClr val="FFFFFF"/>
                      </a:solid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76151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rtl="0" eaLnBrk="0" fontAlgn="base" latinLnBrk="0" hangingPunct="0">
                        <a:spcBef>
                          <a:spcPts val="0"/>
                        </a:spcBef>
                        <a:spcAft>
                          <a:spcPts val="192"/>
                        </a:spcAft>
                        <a:tabLst>
                          <a:tab pos="2400300" algn="l"/>
                        </a:tabLst>
                      </a:pPr>
                      <a:r>
                        <a:rPr lang="en-US" sz="1400" b="0" i="0" u="none" strike="noStrike" kern="1200" baseline="0" dirty="0">
                          <a:solidFill>
                            <a:schemeClr val="tx1"/>
                          </a:solidFill>
                          <a:latin typeface="+mn-lt"/>
                        </a:rPr>
                        <a:t>Steering committee review</a:t>
                      </a:r>
                    </a:p>
                  </a:txBody>
                  <a:tcPr marL="72009" marR="72009" marT="35941" marB="35941" anchor="ctr">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12700" cap="flat" cmpd="sng" algn="ctr">
                      <a:no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91440" marR="0" indent="-91440" algn="l" rtl="0" eaLnBrk="0" fontAlgn="base" latinLnBrk="0" hangingPunct="0">
                        <a:spcBef>
                          <a:spcPts val="0"/>
                        </a:spcBef>
                        <a:spcAft>
                          <a:spcPts val="192"/>
                        </a:spcAft>
                        <a:tabLst>
                          <a:tab pos="2400300" algn="l"/>
                        </a:tabLst>
                      </a:pPr>
                      <a:endParaRPr lang="en-US" sz="1400" b="0" i="0" u="none" strike="noStrike" kern="1200" baseline="0" dirty="0">
                        <a:solidFill>
                          <a:schemeClr val="tx1"/>
                        </a:solidFill>
                        <a:latin typeface="+mn-lt"/>
                      </a:endParaRPr>
                    </a:p>
                  </a:txBody>
                  <a:tcPr marL="180000" marR="72009" marT="35941" marB="35941" anchor="ctr">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12700" cap="flat" cmpd="sng" algn="ctr">
                      <a:no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91440" marR="0" indent="-91440" algn="l" rtl="0" eaLnBrk="0" fontAlgn="base" latinLnBrk="0" hangingPunct="0">
                        <a:spcBef>
                          <a:spcPts val="0"/>
                        </a:spcBef>
                        <a:spcAft>
                          <a:spcPts val="192"/>
                        </a:spcAft>
                        <a:tabLst>
                          <a:tab pos="2400300" algn="l"/>
                        </a:tabLst>
                      </a:pPr>
                      <a:r>
                        <a:rPr lang="en-US" sz="1400" b="0" i="0" u="none" strike="noStrike" kern="1200" baseline="0" dirty="0">
                          <a:solidFill>
                            <a:schemeClr val="tx1"/>
                          </a:solidFill>
                          <a:latin typeface="+mn-lt"/>
                        </a:rPr>
                        <a:t>Quarterly</a:t>
                      </a:r>
                      <a:endParaRPr lang="en-US" sz="1600" b="0" i="0" u="none" strike="noStrike" dirty="0">
                        <a:solidFill>
                          <a:schemeClr val="tx1"/>
                        </a:solidFill>
                        <a:latin typeface="+mn-lt"/>
                      </a:endParaRPr>
                    </a:p>
                  </a:txBody>
                  <a:tcPr marL="180000" marR="72009" marT="35941" marB="35941" anchor="ctr">
                    <a:lnL w="12700" cap="flat" cmpd="sng" algn="ctr">
                      <a:solidFill>
                        <a:srgbClr val="96968C">
                          <a:lumMod val="60000"/>
                          <a:lumOff val="40000"/>
                        </a:srgbClr>
                      </a:solidFill>
                      <a:prstDash val="sysDot"/>
                      <a:round/>
                      <a:headEnd type="none" w="med" len="med"/>
                      <a:tailEnd type="none" w="med" len="med"/>
                    </a:lnL>
                    <a:lnR w="6350" cap="flat" cmpd="sng" algn="ctr">
                      <a:noFill/>
                      <a:prstDash val="dash"/>
                      <a:round/>
                      <a:headEnd type="none" w="med" len="med"/>
                      <a:tailEnd type="none" w="med" len="med"/>
                    </a:lnR>
                    <a:lnT w="12700" cap="flat" cmpd="sng" algn="ctr">
                      <a:noFill/>
                      <a:prstDash val="sysDot"/>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6151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rtl="0" eaLnBrk="0" fontAlgn="base" latinLnBrk="0" hangingPunct="0">
                        <a:spcBef>
                          <a:spcPts val="0"/>
                        </a:spcBef>
                        <a:spcAft>
                          <a:spcPts val="192"/>
                        </a:spcAft>
                        <a:tabLst>
                          <a:tab pos="2400300" algn="l"/>
                        </a:tabLst>
                      </a:pPr>
                      <a:r>
                        <a:rPr lang="en-US" sz="1400" b="0" i="0" u="none" strike="noStrike" kern="1200" baseline="0" dirty="0">
                          <a:solidFill>
                            <a:schemeClr val="tx1"/>
                          </a:solidFill>
                          <a:latin typeface="+mn-lt"/>
                        </a:rPr>
                        <a:t>Workstream sponsor reviews</a:t>
                      </a:r>
                    </a:p>
                  </a:txBody>
                  <a:tcPr marL="72009" marR="72009" marT="35941" marB="35941" anchor="ctr">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91440" marR="0" indent="-91440" algn="l" rtl="0" eaLnBrk="0" fontAlgn="base" latinLnBrk="0" hangingPunct="0">
                        <a:spcBef>
                          <a:spcPts val="0"/>
                        </a:spcBef>
                        <a:spcAft>
                          <a:spcPts val="192"/>
                        </a:spcAft>
                        <a:tabLst>
                          <a:tab pos="2400300" algn="l"/>
                        </a:tabLst>
                      </a:pPr>
                      <a:endParaRPr lang="en-US" sz="1400" b="0" i="0" u="none" strike="noStrike" kern="1200" baseline="0" dirty="0">
                        <a:solidFill>
                          <a:schemeClr val="tx1"/>
                        </a:solidFill>
                        <a:latin typeface="+mn-lt"/>
                      </a:endParaRPr>
                    </a:p>
                  </a:txBody>
                  <a:tcPr marL="180000" marR="72009" marT="35941" marB="35941" anchor="ctr">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91440" marR="0" indent="-91440" algn="l" rtl="0" eaLnBrk="0" fontAlgn="base" latinLnBrk="0" hangingPunct="0">
                        <a:spcBef>
                          <a:spcPts val="0"/>
                        </a:spcBef>
                        <a:spcAft>
                          <a:spcPts val="192"/>
                        </a:spcAft>
                        <a:tabLst>
                          <a:tab pos="2400300" algn="l"/>
                        </a:tabLst>
                      </a:pPr>
                      <a:r>
                        <a:rPr lang="en-US" sz="1400" b="0" i="0" u="none" strike="noStrike" kern="1200" baseline="0" dirty="0">
                          <a:solidFill>
                            <a:schemeClr val="tx1"/>
                          </a:solidFill>
                          <a:latin typeface="+mn-lt"/>
                        </a:rPr>
                        <a:t>Fortnightly</a:t>
                      </a:r>
                      <a:endParaRPr lang="en-US" sz="1600" b="0" i="0" u="none" strike="noStrike" dirty="0">
                        <a:solidFill>
                          <a:schemeClr val="tx1"/>
                        </a:solidFill>
                        <a:latin typeface="+mn-lt"/>
                      </a:endParaRPr>
                    </a:p>
                  </a:txBody>
                  <a:tcPr marL="180000" marR="72009" marT="35941" marB="35941" anchor="ctr">
                    <a:lnL w="12700" cap="flat" cmpd="sng" algn="ctr">
                      <a:solidFill>
                        <a:srgbClr val="96968C">
                          <a:lumMod val="60000"/>
                          <a:lumOff val="40000"/>
                        </a:srgbClr>
                      </a:solidFill>
                      <a:prstDash val="sysDot"/>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6151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rtl="0" eaLnBrk="0" fontAlgn="base" latinLnBrk="0" hangingPunct="0">
                        <a:spcBef>
                          <a:spcPts val="0"/>
                        </a:spcBef>
                        <a:spcAft>
                          <a:spcPts val="192"/>
                        </a:spcAft>
                        <a:tabLst>
                          <a:tab pos="2400300" algn="l"/>
                        </a:tabLst>
                      </a:pPr>
                      <a:r>
                        <a:rPr lang="en-US" sz="1400" b="0" i="0" u="none" strike="noStrike" kern="1200" baseline="0" dirty="0">
                          <a:solidFill>
                            <a:schemeClr val="tx1"/>
                          </a:solidFill>
                          <a:latin typeface="+mn-lt"/>
                        </a:rPr>
                        <a:t>Team meetings</a:t>
                      </a:r>
                    </a:p>
                  </a:txBody>
                  <a:tcPr marL="72009" marR="72009" marT="35941" marB="35941" anchor="ctr">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91440" marR="0" indent="-91440" algn="l" rtl="0" eaLnBrk="0" fontAlgn="base" latinLnBrk="0" hangingPunct="0">
                        <a:spcBef>
                          <a:spcPts val="0"/>
                        </a:spcBef>
                        <a:spcAft>
                          <a:spcPts val="192"/>
                        </a:spcAft>
                      </a:pPr>
                      <a:endParaRPr lang="en-US" sz="1400" b="0" i="0" u="none" strike="noStrike" kern="1200" baseline="0" dirty="0">
                        <a:solidFill>
                          <a:schemeClr val="tx1"/>
                        </a:solidFill>
                        <a:latin typeface="+mn-lt"/>
                      </a:endParaRPr>
                    </a:p>
                  </a:txBody>
                  <a:tcPr marL="180000" marR="72009" marT="35941" marB="35941" anchor="ctr">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91440" marR="0" indent="-91440" algn="l" rtl="0" eaLnBrk="0" fontAlgn="base" latinLnBrk="0" hangingPunct="0">
                        <a:spcBef>
                          <a:spcPts val="0"/>
                        </a:spcBef>
                        <a:spcAft>
                          <a:spcPts val="192"/>
                        </a:spcAft>
                        <a:tabLst>
                          <a:tab pos="2400300" algn="l"/>
                        </a:tabLst>
                      </a:pPr>
                      <a:r>
                        <a:rPr lang="en-US" sz="1400" b="0" i="0" u="none" strike="noStrike" kern="1200" baseline="0" dirty="0">
                          <a:solidFill>
                            <a:schemeClr val="tx1"/>
                          </a:solidFill>
                          <a:latin typeface="+mn-lt"/>
                        </a:rPr>
                        <a:t>Weekly</a:t>
                      </a:r>
                      <a:endParaRPr lang="en-US" sz="1600" b="0" i="0" u="none" strike="noStrike" dirty="0">
                        <a:solidFill>
                          <a:schemeClr val="tx1"/>
                        </a:solidFill>
                        <a:latin typeface="+mn-lt"/>
                      </a:endParaRPr>
                    </a:p>
                  </a:txBody>
                  <a:tcPr marL="180000" marR="72009" marT="35941" marB="35941" anchor="ctr">
                    <a:lnL w="12700" cap="flat" cmpd="sng" algn="ctr">
                      <a:solidFill>
                        <a:srgbClr val="96968C">
                          <a:lumMod val="60000"/>
                          <a:lumOff val="40000"/>
                        </a:srgbClr>
                      </a:solidFill>
                      <a:prstDash val="sysDot"/>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6151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rtl="0" eaLnBrk="0" fontAlgn="base" latinLnBrk="0" hangingPunct="0">
                        <a:spcBef>
                          <a:spcPts val="0"/>
                        </a:spcBef>
                        <a:spcAft>
                          <a:spcPts val="192"/>
                        </a:spcAft>
                        <a:tabLst>
                          <a:tab pos="2400300" algn="l"/>
                        </a:tabLst>
                      </a:pPr>
                      <a:r>
                        <a:rPr lang="en-US" sz="1400" b="0" i="0" u="none" strike="noStrike" kern="1200" baseline="0" dirty="0">
                          <a:solidFill>
                            <a:schemeClr val="tx1"/>
                          </a:solidFill>
                          <a:latin typeface="+mn-lt"/>
                        </a:rPr>
                        <a:t>Status update calls</a:t>
                      </a:r>
                      <a:endParaRPr lang="en-US" sz="1600" b="0" i="0" u="none" strike="noStrike" dirty="0">
                        <a:solidFill>
                          <a:schemeClr val="tx1"/>
                        </a:solidFill>
                        <a:latin typeface="+mn-lt"/>
                      </a:endParaRPr>
                    </a:p>
                  </a:txBody>
                  <a:tcPr marL="72009" marR="72009" marT="35941" marB="35941" anchor="ctr">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91440" marR="0" indent="-91440" algn="l" rtl="0" eaLnBrk="0" fontAlgn="base" latinLnBrk="0" hangingPunct="0">
                        <a:spcBef>
                          <a:spcPts val="0"/>
                        </a:spcBef>
                        <a:spcAft>
                          <a:spcPts val="192"/>
                        </a:spcAft>
                        <a:tabLst>
                          <a:tab pos="2400300" algn="l"/>
                        </a:tabLst>
                      </a:pPr>
                      <a:endParaRPr lang="en-US" sz="1400" b="0" i="0" u="none" strike="noStrike" kern="1200" baseline="0" dirty="0">
                        <a:solidFill>
                          <a:schemeClr val="tx1"/>
                        </a:solidFill>
                        <a:latin typeface="+mn-lt"/>
                      </a:endParaRPr>
                    </a:p>
                  </a:txBody>
                  <a:tcPr marL="180000" marR="72009" marT="35941" marB="35941" anchor="ctr">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91440" marR="0" indent="-91440" algn="l" rtl="0" eaLnBrk="0" fontAlgn="base" latinLnBrk="0" hangingPunct="0">
                        <a:spcBef>
                          <a:spcPts val="0"/>
                        </a:spcBef>
                        <a:spcAft>
                          <a:spcPts val="192"/>
                        </a:spcAft>
                        <a:tabLst>
                          <a:tab pos="2400300" algn="l"/>
                        </a:tabLst>
                      </a:pPr>
                      <a:r>
                        <a:rPr lang="en-US" sz="1400" b="0" i="0" u="none" strike="noStrike" kern="1200" baseline="0" dirty="0">
                          <a:solidFill>
                            <a:schemeClr val="tx1"/>
                          </a:solidFill>
                          <a:latin typeface="+mn-lt"/>
                        </a:rPr>
                        <a:t>Weekly</a:t>
                      </a:r>
                      <a:endParaRPr lang="en-US" sz="1600" b="0" i="0" u="none" strike="noStrike" dirty="0">
                        <a:solidFill>
                          <a:schemeClr val="tx1"/>
                        </a:solidFill>
                        <a:latin typeface="+mn-lt"/>
                      </a:endParaRPr>
                    </a:p>
                  </a:txBody>
                  <a:tcPr marL="180000" marR="72009" marT="35941" marB="35941" anchor="ctr">
                    <a:lnL w="12700" cap="flat" cmpd="sng" algn="ctr">
                      <a:solidFill>
                        <a:srgbClr val="96968C">
                          <a:lumMod val="60000"/>
                          <a:lumOff val="40000"/>
                        </a:srgbClr>
                      </a:solidFill>
                      <a:prstDash val="sysDot"/>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4" name="Footer Placeholder 3">
            <a:extLst>
              <a:ext uri="{FF2B5EF4-FFF2-40B4-BE49-F238E27FC236}">
                <a16:creationId xmlns:a16="http://schemas.microsoft.com/office/drawing/2014/main" id="{FEBE8000-4B30-497B-9CAB-001ED77ACFDA}"/>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7" name="Slide Number Placeholder 6">
            <a:extLst>
              <a:ext uri="{FF2B5EF4-FFF2-40B4-BE49-F238E27FC236}">
                <a16:creationId xmlns:a16="http://schemas.microsoft.com/office/drawing/2014/main" id="{8562A80E-0C09-403F-AE22-5E4759845546}"/>
              </a:ext>
            </a:extLst>
          </p:cNvPr>
          <p:cNvSpPr>
            <a:spLocks noGrp="1"/>
          </p:cNvSpPr>
          <p:nvPr>
            <p:ph type="sldNum" sz="quarter" idx="10"/>
          </p:nvPr>
        </p:nvSpPr>
        <p:spPr/>
        <p:txBody>
          <a:bodyPr/>
          <a:lstStyle/>
          <a:p>
            <a:fld id="{1F90F471-3972-4120-B8B3-0237DE626C35}" type="slidenum">
              <a:rPr lang="en-US" smtClean="0"/>
              <a:pPr/>
              <a:t>408</a:t>
            </a:fld>
            <a:endParaRPr lang="en-US" dirty="0"/>
          </a:p>
        </p:txBody>
      </p:sp>
    </p:spTree>
    <p:extLst>
      <p:ext uri="{BB962C8B-B14F-4D97-AF65-F5344CB8AC3E}">
        <p14:creationId xmlns:p14="http://schemas.microsoft.com/office/powerpoint/2010/main" val="1181620453"/>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ZA" dirty="0"/>
              <a:t>Client Experience:</a:t>
            </a:r>
            <a:br>
              <a:rPr lang="en-ZA" dirty="0"/>
            </a:br>
            <a:r>
              <a:rPr lang="en-ZA" dirty="0"/>
              <a:t>How we will work with you</a:t>
            </a:r>
            <a:endParaRPr lang="en-US" dirty="0"/>
          </a:p>
        </p:txBody>
      </p:sp>
      <p:graphicFrame>
        <p:nvGraphicFramePr>
          <p:cNvPr id="6" name="Table 5">
            <a:extLst>
              <a:ext uri="{FF2B5EF4-FFF2-40B4-BE49-F238E27FC236}">
                <a16:creationId xmlns:a16="http://schemas.microsoft.com/office/drawing/2014/main" id="{C568CB2F-16AE-4ECC-A334-9CFFF5F4C3F5}"/>
              </a:ext>
            </a:extLst>
          </p:cNvPr>
          <p:cNvGraphicFramePr>
            <a:graphicFrameLocks noGrp="1"/>
          </p:cNvGraphicFramePr>
          <p:nvPr>
            <p:extLst>
              <p:ext uri="{D42A27DB-BD31-4B8C-83A1-F6EECF244321}">
                <p14:modId xmlns:p14="http://schemas.microsoft.com/office/powerpoint/2010/main" val="153862906"/>
              </p:ext>
            </p:extLst>
          </p:nvPr>
        </p:nvGraphicFramePr>
        <p:xfrm>
          <a:off x="345019" y="2195355"/>
          <a:ext cx="11512020" cy="3487198"/>
        </p:xfrm>
        <a:graphic>
          <a:graphicData uri="http://schemas.openxmlformats.org/drawingml/2006/table">
            <a:tbl>
              <a:tblPr firstRow="1" bandRow="1"/>
              <a:tblGrid>
                <a:gridCol w="3837340">
                  <a:extLst>
                    <a:ext uri="{9D8B030D-6E8A-4147-A177-3AD203B41FA5}">
                      <a16:colId xmlns:a16="http://schemas.microsoft.com/office/drawing/2014/main" val="20000"/>
                    </a:ext>
                  </a:extLst>
                </a:gridCol>
                <a:gridCol w="3837340">
                  <a:extLst>
                    <a:ext uri="{9D8B030D-6E8A-4147-A177-3AD203B41FA5}">
                      <a16:colId xmlns:a16="http://schemas.microsoft.com/office/drawing/2014/main" val="20001"/>
                    </a:ext>
                  </a:extLst>
                </a:gridCol>
                <a:gridCol w="3837340">
                  <a:extLst>
                    <a:ext uri="{9D8B030D-6E8A-4147-A177-3AD203B41FA5}">
                      <a16:colId xmlns:a16="http://schemas.microsoft.com/office/drawing/2014/main" val="20002"/>
                    </a:ext>
                  </a:extLst>
                </a:gridCol>
              </a:tblGrid>
              <a:tr h="61694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ZA" sz="1600" dirty="0">
                          <a:solidFill>
                            <a:schemeClr val="tx1"/>
                          </a:solidFill>
                          <a:latin typeface="+mj-lt"/>
                        </a:rPr>
                        <a:t>What we heard you say is important to you in how we work together</a:t>
                      </a:r>
                    </a:p>
                  </a:txBody>
                  <a:tcPr marT="0">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12700" cmpd="sng">
                      <a:solidFill>
                        <a:srgbClr val="FFFFFF"/>
                      </a:solidFill>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1600" dirty="0">
                          <a:solidFill>
                            <a:schemeClr val="tx1"/>
                          </a:solidFill>
                          <a:latin typeface="+mj-lt"/>
                        </a:rPr>
                        <a:t>This is the style</a:t>
                      </a:r>
                      <a:r>
                        <a:rPr lang="en-US" sz="1600" baseline="0" dirty="0">
                          <a:solidFill>
                            <a:schemeClr val="tx1"/>
                          </a:solidFill>
                          <a:latin typeface="+mj-lt"/>
                        </a:rPr>
                        <a:t> we will use</a:t>
                      </a:r>
                      <a:endParaRPr lang="en-US" sz="1600" dirty="0">
                        <a:solidFill>
                          <a:schemeClr val="tx1"/>
                        </a:solidFill>
                        <a:latin typeface="+mj-lt"/>
                      </a:endParaRPr>
                    </a:p>
                  </a:txBody>
                  <a:tcPr marT="0">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12700" cmpd="sng">
                      <a:solidFill>
                        <a:srgbClr val="FFFFFF"/>
                      </a:solidFill>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1600" dirty="0">
                          <a:solidFill>
                            <a:schemeClr val="tx1"/>
                          </a:solidFill>
                          <a:latin typeface="+mj-lt"/>
                        </a:rPr>
                        <a:t>These are behaviors we will avoid</a:t>
                      </a:r>
                    </a:p>
                  </a:txBody>
                  <a:tcPr marT="0">
                    <a:lnL w="12700" cap="flat" cmpd="sng" algn="ctr">
                      <a:solidFill>
                        <a:srgbClr val="96968C">
                          <a:lumMod val="60000"/>
                          <a:lumOff val="40000"/>
                        </a:srgbClr>
                      </a:solidFill>
                      <a:prstDash val="sysDot"/>
                      <a:round/>
                      <a:headEnd type="none" w="med" len="med"/>
                      <a:tailEnd type="none" w="med" len="med"/>
                    </a:lnL>
                    <a:lnR w="6350" cap="flat" cmpd="sng" algn="ctr">
                      <a:noFill/>
                      <a:prstDash val="dash"/>
                      <a:round/>
                      <a:headEnd type="none" w="med" len="med"/>
                      <a:tailEnd type="none" w="med" len="med"/>
                    </a:lnR>
                    <a:lnT w="12700" cmpd="sng">
                      <a:solidFill>
                        <a:srgbClr val="FFFFFF"/>
                      </a:solidFill>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7025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80000" indent="-180000">
                        <a:spcAft>
                          <a:spcPts val="1200"/>
                        </a:spcAft>
                        <a:buFont typeface="Arial" panose="020B0604020202020204" pitchFamily="34" charset="0"/>
                        <a:buChar char="•"/>
                      </a:pPr>
                      <a:r>
                        <a:rPr lang="en-US" sz="1400" b="0" i="0" dirty="0">
                          <a:solidFill>
                            <a:schemeClr val="tx1"/>
                          </a:solidFill>
                          <a:latin typeface="+mn-lt"/>
                        </a:rPr>
                        <a:t>Body copy</a:t>
                      </a:r>
                    </a:p>
                  </a:txBody>
                  <a:tcPr>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80000" indent="-180000">
                        <a:spcAft>
                          <a:spcPts val="1200"/>
                        </a:spcAft>
                        <a:buFont typeface="Arial" panose="020B0604020202020204" pitchFamily="34" charset="0"/>
                        <a:buChar char="•"/>
                      </a:pPr>
                      <a:r>
                        <a:rPr lang="en-US" sz="1400" b="0" i="0" dirty="0">
                          <a:solidFill>
                            <a:schemeClr val="tx1"/>
                          </a:solidFill>
                          <a:latin typeface="+mn-lt"/>
                        </a:rPr>
                        <a:t>Body copy</a:t>
                      </a:r>
                    </a:p>
                  </a:txBody>
                  <a:tcPr>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80000" marR="0" lvl="0" indent="-180000" algn="l" defTabSz="1734634"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400" b="0" i="0" dirty="0">
                          <a:solidFill>
                            <a:schemeClr val="tx1"/>
                          </a:solidFill>
                          <a:latin typeface="+mn-lt"/>
                        </a:rPr>
                        <a:t>Body copy</a:t>
                      </a:r>
                    </a:p>
                  </a:txBody>
                  <a:tcPr>
                    <a:lnL w="12700" cap="flat" cmpd="sng" algn="ctr">
                      <a:solidFill>
                        <a:srgbClr val="96968C">
                          <a:lumMod val="60000"/>
                          <a:lumOff val="40000"/>
                        </a:srgbClr>
                      </a:solidFill>
                      <a:prstDash val="sysDot"/>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3" name="Footer Placeholder 2">
            <a:extLst>
              <a:ext uri="{FF2B5EF4-FFF2-40B4-BE49-F238E27FC236}">
                <a16:creationId xmlns:a16="http://schemas.microsoft.com/office/drawing/2014/main" id="{E91B6DC1-5FC8-49CC-91CE-5819A555C9FF}"/>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8" name="Slide Number Placeholder 7">
            <a:extLst>
              <a:ext uri="{FF2B5EF4-FFF2-40B4-BE49-F238E27FC236}">
                <a16:creationId xmlns:a16="http://schemas.microsoft.com/office/drawing/2014/main" id="{3E4DC328-C2CE-48A5-977A-06F838DA88C0}"/>
              </a:ext>
            </a:extLst>
          </p:cNvPr>
          <p:cNvSpPr>
            <a:spLocks noGrp="1"/>
          </p:cNvSpPr>
          <p:nvPr>
            <p:ph type="sldNum" sz="quarter" idx="10"/>
          </p:nvPr>
        </p:nvSpPr>
        <p:spPr/>
        <p:txBody>
          <a:bodyPr/>
          <a:lstStyle/>
          <a:p>
            <a:fld id="{1F90F471-3972-4120-B8B3-0237DE626C35}" type="slidenum">
              <a:rPr lang="en-US" smtClean="0"/>
              <a:pPr/>
              <a:t>409</a:t>
            </a:fld>
            <a:endParaRPr lang="en-US" dirty="0"/>
          </a:p>
        </p:txBody>
      </p:sp>
    </p:spTree>
    <p:extLst>
      <p:ext uri="{BB962C8B-B14F-4D97-AF65-F5344CB8AC3E}">
        <p14:creationId xmlns:p14="http://schemas.microsoft.com/office/powerpoint/2010/main" val="58853211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AD7E46-5FB7-4417-85B2-A2359C7714CD}"/>
              </a:ext>
            </a:extLst>
          </p:cNvPr>
          <p:cNvSpPr>
            <a:spLocks noGrp="1"/>
          </p:cNvSpPr>
          <p:nvPr>
            <p:ph type="title"/>
          </p:nvPr>
        </p:nvSpPr>
        <p:spPr/>
        <p:txBody>
          <a:bodyPr/>
          <a:lstStyle/>
          <a:p>
            <a:r>
              <a:rPr lang="en-GB" dirty="0"/>
              <a:t>Place headline here (36pt, min 30pt)</a:t>
            </a:r>
            <a:endParaRPr lang="en-US" dirty="0"/>
          </a:p>
        </p:txBody>
      </p:sp>
      <p:sp>
        <p:nvSpPr>
          <p:cNvPr id="2" name="Text Placeholder 1">
            <a:extLst>
              <a:ext uri="{FF2B5EF4-FFF2-40B4-BE49-F238E27FC236}">
                <a16:creationId xmlns:a16="http://schemas.microsoft.com/office/drawing/2014/main" id="{9214D608-49FB-4B0A-BBAE-0CEBFE691A7B}"/>
              </a:ext>
            </a:extLst>
          </p:cNvPr>
          <p:cNvSpPr>
            <a:spLocks noGrp="1"/>
          </p:cNvSpPr>
          <p:nvPr>
            <p:ph type="body" sz="quarter" idx="14"/>
          </p:nvPr>
        </p:nvSpPr>
        <p:spPr/>
        <p:txBody>
          <a:bodyPr/>
          <a:lstStyle/>
          <a:p>
            <a:pPr lvl="0"/>
            <a:r>
              <a:rPr lang="en-US" dirty="0"/>
              <a:t>Place sub-headline here in GT Sectra Fine </a:t>
            </a:r>
            <a:r>
              <a:rPr lang="en-US" dirty="0" err="1"/>
              <a:t>Rg</a:t>
            </a:r>
            <a:r>
              <a:rPr lang="en-US" dirty="0"/>
              <a:t>, indent for other levels 24pt</a:t>
            </a:r>
          </a:p>
          <a:p>
            <a:pPr lvl="1"/>
            <a:r>
              <a:rPr lang="en-US" dirty="0"/>
              <a:t>Second level 18pt</a:t>
            </a:r>
          </a:p>
          <a:p>
            <a:pPr lvl="2"/>
            <a:r>
              <a:rPr lang="en-US" dirty="0"/>
              <a:t>Third level bullet 18pt</a:t>
            </a:r>
          </a:p>
          <a:p>
            <a:pPr lvl="3"/>
            <a:r>
              <a:rPr lang="en-US" dirty="0"/>
              <a:t>Fourth level bullet 16pt</a:t>
            </a:r>
          </a:p>
          <a:p>
            <a:pPr lvl="4"/>
            <a:r>
              <a:rPr lang="en-US" dirty="0"/>
              <a:t>Fifth level bullet 16pt</a:t>
            </a:r>
          </a:p>
        </p:txBody>
      </p:sp>
      <p:sp>
        <p:nvSpPr>
          <p:cNvPr id="3" name="Content Placeholder 2">
            <a:extLst>
              <a:ext uri="{FF2B5EF4-FFF2-40B4-BE49-F238E27FC236}">
                <a16:creationId xmlns:a16="http://schemas.microsoft.com/office/drawing/2014/main" id="{6218E95A-AAD0-45F9-ABFC-FE6505B663A5}"/>
              </a:ext>
            </a:extLst>
          </p:cNvPr>
          <p:cNvSpPr>
            <a:spLocks noGrp="1"/>
          </p:cNvSpPr>
          <p:nvPr>
            <p:ph sz="quarter" idx="10"/>
          </p:nvPr>
        </p:nvSpPr>
        <p:spPr/>
        <p:txBody>
          <a:bodyPr/>
          <a:lstStyle/>
          <a:p>
            <a:pPr lvl="0"/>
            <a:r>
              <a:rPr lang="en-US" dirty="0"/>
              <a:t>Place text here 20pt</a:t>
            </a:r>
          </a:p>
          <a:p>
            <a:pPr lvl="1"/>
            <a:r>
              <a:rPr lang="en-US" dirty="0"/>
              <a:t>Second level 20pt</a:t>
            </a:r>
          </a:p>
          <a:p>
            <a:pPr lvl="2"/>
            <a:r>
              <a:rPr lang="en-US" dirty="0"/>
              <a:t>Third level 20pt</a:t>
            </a:r>
          </a:p>
          <a:p>
            <a:pPr lvl="3"/>
            <a:r>
              <a:rPr lang="en-US" dirty="0"/>
              <a:t>Fourth level 18pt</a:t>
            </a:r>
          </a:p>
          <a:p>
            <a:pPr lvl="4"/>
            <a:r>
              <a:rPr lang="en-US" dirty="0"/>
              <a:t>Fifth level 18pt</a:t>
            </a:r>
          </a:p>
          <a:p>
            <a:endParaRPr lang="en-US" dirty="0"/>
          </a:p>
        </p:txBody>
      </p:sp>
      <p:sp>
        <p:nvSpPr>
          <p:cNvPr id="5" name="Footer Placeholder 4">
            <a:extLst>
              <a:ext uri="{FF2B5EF4-FFF2-40B4-BE49-F238E27FC236}">
                <a16:creationId xmlns:a16="http://schemas.microsoft.com/office/drawing/2014/main" id="{F76BA204-36C3-4855-A242-FFB7A072E27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F75DA7A-6ABC-4F32-AE82-23D2F836DDB1}"/>
              </a:ext>
            </a:extLst>
          </p:cNvPr>
          <p:cNvSpPr>
            <a:spLocks noGrp="1"/>
          </p:cNvSpPr>
          <p:nvPr>
            <p:ph type="sldNum" sz="quarter" idx="15"/>
          </p:nvPr>
        </p:nvSpPr>
        <p:spPr/>
        <p:txBody>
          <a:bodyPr/>
          <a:lstStyle/>
          <a:p>
            <a:fld id="{1F90F471-3972-4120-B8B3-0237DE626C35}" type="slidenum">
              <a:rPr lang="en-US" smtClean="0"/>
              <a:pPr/>
              <a:t>41</a:t>
            </a:fld>
            <a:endParaRPr lang="en-US" dirty="0"/>
          </a:p>
        </p:txBody>
      </p:sp>
    </p:spTree>
    <p:extLst>
      <p:ext uri="{BB962C8B-B14F-4D97-AF65-F5344CB8AC3E}">
        <p14:creationId xmlns:p14="http://schemas.microsoft.com/office/powerpoint/2010/main" val="1129085220"/>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ZA" dirty="0"/>
              <a:t>&lt;Outline the statement of intent for the target client experience&gt;</a:t>
            </a:r>
            <a:endParaRPr lang="en-US" dirty="0"/>
          </a:p>
        </p:txBody>
      </p:sp>
      <p:sp>
        <p:nvSpPr>
          <p:cNvPr id="10" name="TextBox 9">
            <a:extLst>
              <a:ext uri="{FF2B5EF4-FFF2-40B4-BE49-F238E27FC236}">
                <a16:creationId xmlns:a16="http://schemas.microsoft.com/office/drawing/2014/main" id="{EB959100-D563-4178-AE04-E1502C240BF0}"/>
              </a:ext>
            </a:extLst>
          </p:cNvPr>
          <p:cNvSpPr txBox="1"/>
          <p:nvPr/>
        </p:nvSpPr>
        <p:spPr>
          <a:xfrm>
            <a:off x="380383" y="1351796"/>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0000"/>
                </a:solidFill>
                <a:effectLst/>
                <a:uLnTx/>
                <a:uFillTx/>
                <a:latin typeface="+mj-lt"/>
                <a:ea typeface="+mn-ea"/>
                <a:cs typeface="+mn-cs"/>
              </a:rPr>
              <a:t>Client Experience Charter</a:t>
            </a:r>
            <a:r>
              <a:rPr kumimoji="0" lang="en-AU" sz="1800" b="1" i="0" u="none" strike="noStrike" kern="1200" cap="none" spc="0" normalizeH="0" baseline="30000" noProof="0" dirty="0">
                <a:ln>
                  <a:noFill/>
                </a:ln>
                <a:solidFill>
                  <a:srgbClr val="000000"/>
                </a:solidFill>
                <a:effectLst/>
                <a:uLnTx/>
                <a:uFillTx/>
                <a:latin typeface="+mj-lt"/>
                <a:ea typeface="+mn-ea"/>
                <a:cs typeface="+mn-cs"/>
              </a:rPr>
              <a:t>1</a:t>
            </a:r>
          </a:p>
        </p:txBody>
      </p:sp>
      <p:graphicFrame>
        <p:nvGraphicFramePr>
          <p:cNvPr id="5" name="Table 4" descr="Insert number or details of the table here">
            <a:extLst>
              <a:ext uri="{FF2B5EF4-FFF2-40B4-BE49-F238E27FC236}">
                <a16:creationId xmlns:a16="http://schemas.microsoft.com/office/drawing/2014/main" id="{9206FBD8-E940-46EA-B556-235AA8490701}"/>
              </a:ext>
            </a:extLst>
          </p:cNvPr>
          <p:cNvGraphicFramePr>
            <a:graphicFrameLocks noGrp="1"/>
          </p:cNvGraphicFramePr>
          <p:nvPr>
            <p:extLst>
              <p:ext uri="{D42A27DB-BD31-4B8C-83A1-F6EECF244321}">
                <p14:modId xmlns:p14="http://schemas.microsoft.com/office/powerpoint/2010/main" val="1498144955"/>
              </p:ext>
            </p:extLst>
          </p:nvPr>
        </p:nvGraphicFramePr>
        <p:xfrm>
          <a:off x="380364" y="2019006"/>
          <a:ext cx="11430000" cy="3487198"/>
        </p:xfrm>
        <a:graphic>
          <a:graphicData uri="http://schemas.openxmlformats.org/drawingml/2006/table">
            <a:tbl>
              <a:tblPr firstRow="1" bandRow="1"/>
              <a:tblGrid>
                <a:gridCol w="3810000">
                  <a:extLst>
                    <a:ext uri="{9D8B030D-6E8A-4147-A177-3AD203B41FA5}">
                      <a16:colId xmlns:a16="http://schemas.microsoft.com/office/drawing/2014/main" val="20000"/>
                    </a:ext>
                  </a:extLst>
                </a:gridCol>
                <a:gridCol w="3810000">
                  <a:extLst>
                    <a:ext uri="{9D8B030D-6E8A-4147-A177-3AD203B41FA5}">
                      <a16:colId xmlns:a16="http://schemas.microsoft.com/office/drawing/2014/main" val="20001"/>
                    </a:ext>
                  </a:extLst>
                </a:gridCol>
                <a:gridCol w="3810000">
                  <a:extLst>
                    <a:ext uri="{9D8B030D-6E8A-4147-A177-3AD203B41FA5}">
                      <a16:colId xmlns:a16="http://schemas.microsoft.com/office/drawing/2014/main" val="20002"/>
                    </a:ext>
                  </a:extLst>
                </a:gridCol>
              </a:tblGrid>
              <a:tr h="61694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ZA" sz="1600" dirty="0">
                          <a:solidFill>
                            <a:schemeClr val="tx1"/>
                          </a:solidFill>
                          <a:latin typeface="+mj-lt"/>
                        </a:rPr>
                        <a:t>What we heard you say is important to you in how we work together</a:t>
                      </a:r>
                    </a:p>
                  </a:txBody>
                  <a:tcPr marT="0">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12700" cmpd="sng">
                      <a:solidFill>
                        <a:srgbClr val="FFFFFF"/>
                      </a:solidFill>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1600" dirty="0">
                          <a:solidFill>
                            <a:schemeClr val="tx1"/>
                          </a:solidFill>
                          <a:latin typeface="+mj-lt"/>
                        </a:rPr>
                        <a:t>This is the style</a:t>
                      </a:r>
                      <a:r>
                        <a:rPr lang="en-US" sz="1600" baseline="0" dirty="0">
                          <a:solidFill>
                            <a:schemeClr val="tx1"/>
                          </a:solidFill>
                          <a:latin typeface="+mj-lt"/>
                        </a:rPr>
                        <a:t> we will use</a:t>
                      </a:r>
                      <a:endParaRPr lang="en-US" sz="1600" dirty="0">
                        <a:solidFill>
                          <a:schemeClr val="tx1"/>
                        </a:solidFill>
                        <a:latin typeface="+mj-lt"/>
                      </a:endParaRPr>
                    </a:p>
                  </a:txBody>
                  <a:tcPr marT="0">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12700" cmpd="sng">
                      <a:solidFill>
                        <a:srgbClr val="FFFFFF"/>
                      </a:solidFill>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1600" dirty="0">
                          <a:solidFill>
                            <a:schemeClr val="tx1"/>
                          </a:solidFill>
                          <a:latin typeface="+mj-lt"/>
                        </a:rPr>
                        <a:t>These are behaviors we will avoid</a:t>
                      </a:r>
                    </a:p>
                  </a:txBody>
                  <a:tcPr marT="0">
                    <a:lnL w="12700" cap="flat" cmpd="sng" algn="ctr">
                      <a:solidFill>
                        <a:srgbClr val="96968C">
                          <a:lumMod val="60000"/>
                          <a:lumOff val="40000"/>
                        </a:srgbClr>
                      </a:solidFill>
                      <a:prstDash val="sysDot"/>
                      <a:round/>
                      <a:headEnd type="none" w="med" len="med"/>
                      <a:tailEnd type="none" w="med" len="med"/>
                    </a:lnL>
                    <a:lnR w="6350" cap="flat" cmpd="sng" algn="ctr">
                      <a:noFill/>
                      <a:prstDash val="dash"/>
                      <a:round/>
                      <a:headEnd type="none" w="med" len="med"/>
                      <a:tailEnd type="none" w="med" len="med"/>
                    </a:lnR>
                    <a:lnT w="12700" cmpd="sng">
                      <a:solidFill>
                        <a:srgbClr val="FFFFFF"/>
                      </a:solidFill>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7025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spcAft>
                          <a:spcPts val="1200"/>
                        </a:spcAft>
                      </a:pPr>
                      <a:r>
                        <a:rPr lang="en-US" sz="1100" b="0" i="1" dirty="0">
                          <a:solidFill>
                            <a:schemeClr val="accent1"/>
                          </a:solidFill>
                          <a:latin typeface="+mn-lt"/>
                        </a:rPr>
                        <a:t>&lt;Refer to the Client Experience Expectations Plan&gt;</a:t>
                      </a:r>
                      <a:endParaRPr lang="en-US" sz="1100" b="0" dirty="0">
                        <a:solidFill>
                          <a:schemeClr val="accent1"/>
                        </a:solidFill>
                        <a:latin typeface="+mn-lt"/>
                      </a:endParaRPr>
                    </a:p>
                    <a:p>
                      <a:pPr marL="88900" indent="-88900">
                        <a:spcAft>
                          <a:spcPts val="600"/>
                        </a:spcAft>
                        <a:buFont typeface="Arial" pitchFamily="34" charset="0"/>
                        <a:buChar char="•"/>
                      </a:pPr>
                      <a:r>
                        <a:rPr lang="en-US" sz="1100" b="0" dirty="0">
                          <a:solidFill>
                            <a:schemeClr val="tx1"/>
                          </a:solidFill>
                          <a:latin typeface="+mn-lt"/>
                        </a:rPr>
                        <a:t>Overall client expectations, pertaining to:</a:t>
                      </a:r>
                    </a:p>
                    <a:p>
                      <a:pPr marL="260350" lvl="2" indent="-171450">
                        <a:spcAft>
                          <a:spcPts val="600"/>
                        </a:spcAft>
                        <a:buFont typeface="Arial" pitchFamily="34" charset="0"/>
                        <a:buChar char="-"/>
                      </a:pPr>
                      <a:r>
                        <a:rPr lang="en-US" sz="1100" b="0" dirty="0">
                          <a:solidFill>
                            <a:schemeClr val="tx1"/>
                          </a:solidFill>
                          <a:latin typeface="+mn-lt"/>
                        </a:rPr>
                        <a:t>Key issues and priorities</a:t>
                      </a:r>
                    </a:p>
                    <a:p>
                      <a:pPr marL="260350" lvl="2" indent="-171450">
                        <a:spcAft>
                          <a:spcPts val="600"/>
                        </a:spcAft>
                        <a:buFont typeface="Arial" pitchFamily="34" charset="0"/>
                        <a:buChar char="-"/>
                      </a:pPr>
                      <a:r>
                        <a:rPr lang="en-US" sz="1100" b="0" dirty="0">
                          <a:solidFill>
                            <a:schemeClr val="tx1"/>
                          </a:solidFill>
                          <a:latin typeface="+mn-lt"/>
                        </a:rPr>
                        <a:t>Value and outcomes</a:t>
                      </a:r>
                    </a:p>
                    <a:p>
                      <a:pPr marL="260350" lvl="2" indent="-171450">
                        <a:spcAft>
                          <a:spcPts val="600"/>
                        </a:spcAft>
                        <a:buFont typeface="Arial" pitchFamily="34" charset="0"/>
                        <a:buChar char="-"/>
                      </a:pPr>
                      <a:r>
                        <a:rPr lang="en-US" sz="1100" b="0" dirty="0">
                          <a:solidFill>
                            <a:schemeClr val="tx1"/>
                          </a:solidFill>
                          <a:latin typeface="+mn-lt"/>
                        </a:rPr>
                        <a:t>Delivery approach</a:t>
                      </a:r>
                    </a:p>
                    <a:p>
                      <a:pPr marL="260350" lvl="2" indent="-171450">
                        <a:spcAft>
                          <a:spcPts val="600"/>
                        </a:spcAft>
                        <a:buFont typeface="Arial" pitchFamily="34" charset="0"/>
                        <a:buChar char="-"/>
                      </a:pPr>
                      <a:r>
                        <a:rPr lang="en-US" sz="1100" b="0" dirty="0">
                          <a:solidFill>
                            <a:schemeClr val="tx1"/>
                          </a:solidFill>
                          <a:latin typeface="+mn-lt"/>
                        </a:rPr>
                        <a:t>Legacy</a:t>
                      </a:r>
                    </a:p>
                    <a:p>
                      <a:pPr marL="260350" lvl="2" indent="-171450">
                        <a:spcAft>
                          <a:spcPts val="600"/>
                        </a:spcAft>
                        <a:buFont typeface="Arial" pitchFamily="34" charset="0"/>
                        <a:buChar char="-"/>
                      </a:pPr>
                      <a:r>
                        <a:rPr lang="en-US" sz="1100" b="0" dirty="0">
                          <a:solidFill>
                            <a:schemeClr val="tx1"/>
                          </a:solidFill>
                          <a:latin typeface="+mn-lt"/>
                        </a:rPr>
                        <a:t>Personal expectations</a:t>
                      </a:r>
                    </a:p>
                  </a:txBody>
                  <a:tcPr>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6350" cap="flat" cmpd="sng" algn="ctr">
                      <a:noFill/>
                      <a:prstDash val="dash"/>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spcAft>
                          <a:spcPts val="1200"/>
                        </a:spcAft>
                      </a:pPr>
                      <a:r>
                        <a:rPr lang="en-US" sz="1100" b="0" i="1" dirty="0">
                          <a:solidFill>
                            <a:schemeClr val="accent1"/>
                          </a:solidFill>
                          <a:latin typeface="+mn-lt"/>
                        </a:rPr>
                        <a:t>&lt;Refer to the Client Experience Expectations Plan&gt;</a:t>
                      </a:r>
                    </a:p>
                    <a:p>
                      <a:pPr marL="88900" indent="-88900">
                        <a:spcAft>
                          <a:spcPts val="600"/>
                        </a:spcAft>
                        <a:buFont typeface="Arial" pitchFamily="34" charset="0"/>
                        <a:buChar char="•"/>
                      </a:pPr>
                      <a:r>
                        <a:rPr lang="en-ZA" sz="1100" b="0" dirty="0">
                          <a:solidFill>
                            <a:schemeClr val="tx1"/>
                          </a:solidFill>
                          <a:latin typeface="+mn-lt"/>
                        </a:rPr>
                        <a:t>E.g., Identify and focus on your key issues and priorities</a:t>
                      </a:r>
                    </a:p>
                    <a:p>
                      <a:pPr marL="88900" indent="-88900">
                        <a:spcAft>
                          <a:spcPts val="600"/>
                        </a:spcAft>
                        <a:buFont typeface="Arial" pitchFamily="34" charset="0"/>
                        <a:buChar char="•"/>
                      </a:pPr>
                      <a:r>
                        <a:rPr lang="en-ZA" sz="1100" b="0" dirty="0">
                          <a:solidFill>
                            <a:schemeClr val="tx1"/>
                          </a:solidFill>
                          <a:latin typeface="+mn-lt"/>
                        </a:rPr>
                        <a:t>Define what outcomes you are looking to achieve</a:t>
                      </a:r>
                    </a:p>
                    <a:p>
                      <a:pPr marL="88900" indent="-88900">
                        <a:spcAft>
                          <a:spcPts val="600"/>
                        </a:spcAft>
                        <a:buFont typeface="Arial" pitchFamily="34" charset="0"/>
                        <a:buChar char="•"/>
                      </a:pPr>
                      <a:r>
                        <a:rPr lang="en-ZA" sz="1100" b="0" dirty="0">
                          <a:solidFill>
                            <a:schemeClr val="tx1"/>
                          </a:solidFill>
                          <a:latin typeface="+mn-lt"/>
                        </a:rPr>
                        <a:t>Focus on adding value over and above the core deliverables </a:t>
                      </a:r>
                    </a:p>
                    <a:p>
                      <a:pPr marL="88900" indent="-88900">
                        <a:spcAft>
                          <a:spcPts val="600"/>
                        </a:spcAft>
                        <a:buFont typeface="Arial" pitchFamily="34" charset="0"/>
                        <a:buChar char="•"/>
                      </a:pPr>
                      <a:r>
                        <a:rPr lang="en-ZA" sz="1100" b="0" dirty="0">
                          <a:solidFill>
                            <a:schemeClr val="tx1"/>
                          </a:solidFill>
                          <a:latin typeface="+mn-lt"/>
                        </a:rPr>
                        <a:t>Clearly define the delivery approach, management and communication style</a:t>
                      </a:r>
                    </a:p>
                    <a:p>
                      <a:pPr marL="88900" indent="-88900">
                        <a:spcAft>
                          <a:spcPts val="600"/>
                        </a:spcAft>
                        <a:buFont typeface="Arial" pitchFamily="34" charset="0"/>
                        <a:buChar char="•"/>
                      </a:pPr>
                      <a:r>
                        <a:rPr lang="en-ZA" sz="1100" b="0" dirty="0">
                          <a:solidFill>
                            <a:schemeClr val="tx1"/>
                          </a:solidFill>
                          <a:latin typeface="+mn-lt"/>
                        </a:rPr>
                        <a:t>Focus on building skill and capability into your organisation</a:t>
                      </a:r>
                    </a:p>
                    <a:p>
                      <a:pPr marL="88900" indent="-88900">
                        <a:spcAft>
                          <a:spcPts val="600"/>
                        </a:spcAft>
                        <a:buFont typeface="Arial" pitchFamily="34" charset="0"/>
                        <a:buChar char="•"/>
                      </a:pPr>
                      <a:r>
                        <a:rPr lang="en-ZA" sz="1100" b="0" dirty="0">
                          <a:solidFill>
                            <a:schemeClr val="tx1"/>
                          </a:solidFill>
                          <a:latin typeface="+mn-lt"/>
                        </a:rPr>
                        <a:t>Focus on outcomes which make you (the client) successful</a:t>
                      </a:r>
                    </a:p>
                  </a:txBody>
                  <a:tcPr>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6350" cap="flat" cmpd="sng" algn="ctr">
                      <a:noFill/>
                      <a:prstDash val="dash"/>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spcAft>
                          <a:spcPts val="1200"/>
                        </a:spcAft>
                      </a:pPr>
                      <a:r>
                        <a:rPr lang="en-US" sz="1100" b="0" i="1" dirty="0">
                          <a:solidFill>
                            <a:schemeClr val="accent1"/>
                          </a:solidFill>
                          <a:latin typeface="+mn-lt"/>
                        </a:rPr>
                        <a:t>&lt;Outline specific “traps” that we need to avoid based on your understanding of the client expectations&gt;</a:t>
                      </a:r>
                    </a:p>
                    <a:p>
                      <a:pPr>
                        <a:spcAft>
                          <a:spcPts val="1200"/>
                        </a:spcAft>
                      </a:pPr>
                      <a:r>
                        <a:rPr lang="en-US" sz="1100" b="0" dirty="0">
                          <a:solidFill>
                            <a:schemeClr val="tx1"/>
                          </a:solidFill>
                          <a:latin typeface="+mn-lt"/>
                        </a:rPr>
                        <a:t>E.g., </a:t>
                      </a:r>
                      <a:r>
                        <a:rPr lang="en-US" sz="1100" dirty="0">
                          <a:solidFill>
                            <a:schemeClr val="tx1"/>
                          </a:solidFill>
                          <a:latin typeface="+mn-lt"/>
                        </a:rPr>
                        <a:t>“w</a:t>
                      </a:r>
                      <a:r>
                        <a:rPr lang="en-AU" sz="1100" dirty="0">
                          <a:solidFill>
                            <a:schemeClr val="tx1"/>
                          </a:solidFill>
                          <a:latin typeface="+mn-lt"/>
                        </a:rPr>
                        <a:t>e will seek first to understand versus presenting an answer without listening</a:t>
                      </a:r>
                      <a:r>
                        <a:rPr lang="en-US" sz="1100" dirty="0">
                          <a:solidFill>
                            <a:schemeClr val="tx1"/>
                          </a:solidFill>
                          <a:latin typeface="+mn-lt"/>
                        </a:rPr>
                        <a:t>” </a:t>
                      </a:r>
                      <a:endParaRPr lang="en-US" sz="1100" b="0" dirty="0">
                        <a:solidFill>
                          <a:schemeClr val="tx1"/>
                        </a:solidFill>
                        <a:latin typeface="+mn-lt"/>
                      </a:endParaRPr>
                    </a:p>
                  </a:txBody>
                  <a:tcPr>
                    <a:lnL w="12700" cap="flat" cmpd="sng" algn="ctr">
                      <a:solidFill>
                        <a:srgbClr val="96968C">
                          <a:lumMod val="60000"/>
                          <a:lumOff val="40000"/>
                        </a:srgbClr>
                      </a:solidFill>
                      <a:prstDash val="sysDot"/>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6" name="TextBox 5">
            <a:extLst>
              <a:ext uri="{FF2B5EF4-FFF2-40B4-BE49-F238E27FC236}">
                <a16:creationId xmlns:a16="http://schemas.microsoft.com/office/drawing/2014/main" id="{AA370E69-3036-4DA3-BE47-C2BF6387F114}"/>
              </a:ext>
            </a:extLst>
          </p:cNvPr>
          <p:cNvSpPr txBox="1"/>
          <p:nvPr/>
        </p:nvSpPr>
        <p:spPr bwMode="auto">
          <a:xfrm>
            <a:off x="381000" y="5764689"/>
            <a:ext cx="7644552" cy="461665"/>
          </a:xfrm>
          <a:prstGeom prst="rect">
            <a:avLst/>
          </a:prstGeom>
          <a:noFill/>
        </p:spPr>
        <p:txBody>
          <a:bodyPr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30000" noProof="0" dirty="0">
                <a:ln>
                  <a:noFill/>
                </a:ln>
                <a:solidFill>
                  <a:srgbClr val="000000"/>
                </a:solidFill>
                <a:effectLst/>
                <a:uLnTx/>
                <a:uFillTx/>
                <a:ea typeface="Calibri"/>
                <a:cs typeface="Times New Roman"/>
              </a:rPr>
              <a:t>1</a:t>
            </a:r>
            <a:r>
              <a:rPr kumimoji="0" lang="en-GB" sz="1000" b="0" i="0" u="none" strike="noStrike" kern="0" cap="none" spc="0" normalizeH="0" baseline="0" noProof="0" dirty="0">
                <a:ln>
                  <a:noFill/>
                </a:ln>
                <a:solidFill>
                  <a:srgbClr val="000000"/>
                </a:solidFill>
                <a:effectLst/>
                <a:uLnTx/>
                <a:uFillTx/>
                <a:ea typeface="Calibri"/>
                <a:cs typeface="Times New Roman"/>
              </a:rPr>
              <a:t>Client experience charter </a:t>
            </a:r>
            <a:r>
              <a:rPr kumimoji="0" lang="en-AU" sz="1000" b="0" i="0" u="none" strike="noStrike" kern="0" cap="none" spc="0" normalizeH="0" baseline="0" noProof="0" dirty="0">
                <a:ln>
                  <a:noFill/>
                </a:ln>
                <a:solidFill>
                  <a:srgbClr val="000000"/>
                </a:solidFill>
                <a:effectLst/>
                <a:uLnTx/>
                <a:uFillTx/>
                <a:ea typeface="Calibri"/>
                <a:cs typeface="Times New Roman"/>
              </a:rPr>
              <a:t>is about how we will work together with the client; it is not a legal document but more of a statement of intent against which we can be judged and which we can be held accountable to in the sense of the client relationship. The client experience charter should be a summary of the “Client Experience Expectations Plan”</a:t>
            </a:r>
            <a:endParaRPr kumimoji="0" lang="en-AU" sz="1000" b="0" i="0" u="none" strike="noStrike" kern="0" cap="none" spc="0" normalizeH="0" baseline="0" noProof="0" dirty="0">
              <a:ln>
                <a:noFill/>
              </a:ln>
              <a:solidFill>
                <a:srgbClr val="000000"/>
              </a:solidFill>
              <a:effectLst/>
              <a:uLnTx/>
              <a:uFillTx/>
              <a:ea typeface="+mn-ea"/>
              <a:cs typeface="+mn-cs"/>
            </a:endParaRPr>
          </a:p>
        </p:txBody>
      </p:sp>
      <p:sp>
        <p:nvSpPr>
          <p:cNvPr id="7" name="Footer Placeholder 6">
            <a:extLst>
              <a:ext uri="{FF2B5EF4-FFF2-40B4-BE49-F238E27FC236}">
                <a16:creationId xmlns:a16="http://schemas.microsoft.com/office/drawing/2014/main" id="{744A841C-FCAD-41C7-AE83-F94B3E5AF7C8}"/>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9" name="Slide Number Placeholder 8">
            <a:extLst>
              <a:ext uri="{FF2B5EF4-FFF2-40B4-BE49-F238E27FC236}">
                <a16:creationId xmlns:a16="http://schemas.microsoft.com/office/drawing/2014/main" id="{9151D7F9-2E3C-428F-8678-A8F4A3B6EF04}"/>
              </a:ext>
            </a:extLst>
          </p:cNvPr>
          <p:cNvSpPr>
            <a:spLocks noGrp="1"/>
          </p:cNvSpPr>
          <p:nvPr>
            <p:ph type="sldNum" sz="quarter" idx="10"/>
          </p:nvPr>
        </p:nvSpPr>
        <p:spPr/>
        <p:txBody>
          <a:bodyPr/>
          <a:lstStyle/>
          <a:p>
            <a:fld id="{1F90F471-3972-4120-B8B3-0237DE626C35}" type="slidenum">
              <a:rPr lang="en-US" smtClean="0"/>
              <a:pPr/>
              <a:t>410</a:t>
            </a:fld>
            <a:endParaRPr lang="en-US" dirty="0"/>
          </a:p>
        </p:txBody>
      </p:sp>
    </p:spTree>
    <p:extLst>
      <p:ext uri="{BB962C8B-B14F-4D97-AF65-F5344CB8AC3E}">
        <p14:creationId xmlns:p14="http://schemas.microsoft.com/office/powerpoint/2010/main" val="4272528809"/>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descr="Add text and order accordingly">
            <a:hlinkClick r:id="rId2" action="ppaction://hlinksldjump" tooltip="Return to Index"/>
            <a:extLst>
              <a:ext uri="{FF2B5EF4-FFF2-40B4-BE49-F238E27FC236}">
                <a16:creationId xmlns:a16="http://schemas.microsoft.com/office/drawing/2014/main" id="{0DE3F75C-CF1B-47BB-A358-FF97AF03C85D}"/>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itle 6">
            <a:extLst>
              <a:ext uri="{FF2B5EF4-FFF2-40B4-BE49-F238E27FC236}">
                <a16:creationId xmlns:a16="http://schemas.microsoft.com/office/drawing/2014/main" id="{F7C4124B-B9D5-4FB9-AA46-3262DD2B40DB}"/>
              </a:ext>
            </a:extLst>
          </p:cNvPr>
          <p:cNvSpPr>
            <a:spLocks noGrp="1"/>
          </p:cNvSpPr>
          <p:nvPr>
            <p:ph type="title"/>
          </p:nvPr>
        </p:nvSpPr>
        <p:spPr/>
        <p:txBody>
          <a:bodyPr/>
          <a:lstStyle/>
          <a:p>
            <a:r>
              <a:rPr lang="en-US" dirty="0"/>
              <a:t>Evaluation</a:t>
            </a:r>
          </a:p>
        </p:txBody>
      </p:sp>
      <p:sp>
        <p:nvSpPr>
          <p:cNvPr id="9" name="Text Placeholder 8">
            <a:extLst>
              <a:ext uri="{FF2B5EF4-FFF2-40B4-BE49-F238E27FC236}">
                <a16:creationId xmlns:a16="http://schemas.microsoft.com/office/drawing/2014/main" id="{1265ADBE-657A-4DC7-A6A6-2F0E697C4723}"/>
              </a:ext>
            </a:extLst>
          </p:cNvPr>
          <p:cNvSpPr>
            <a:spLocks noGrp="1"/>
          </p:cNvSpPr>
          <p:nvPr>
            <p:ph type="body" sz="quarter" idx="15"/>
          </p:nvPr>
        </p:nvSpPr>
        <p:spPr/>
        <p:txBody>
          <a:bodyPr/>
          <a:lstStyle/>
          <a:p>
            <a:r>
              <a:rPr lang="en-US" dirty="0"/>
              <a:t>Part of </a:t>
            </a:r>
            <a:br>
              <a:rPr lang="en-US" dirty="0"/>
            </a:br>
            <a:r>
              <a:rPr lang="en-US" dirty="0">
                <a:hlinkClick r:id="rId3" action="ppaction://hlinksldjump">
                  <a:extLst>
                    <a:ext uri="{A12FA001-AC4F-418D-AE19-62706E023703}">
                      <ahyp:hlinkClr xmlns:ahyp="http://schemas.microsoft.com/office/drawing/2018/hyperlinkcolor" val="tx"/>
                    </a:ext>
                  </a:extLst>
                </a:hlinkClick>
              </a:rPr>
              <a:t>Standard Visuals</a:t>
            </a:r>
            <a:endParaRPr lang="en-US" dirty="0"/>
          </a:p>
        </p:txBody>
      </p:sp>
      <p:sp>
        <p:nvSpPr>
          <p:cNvPr id="5" name="Footer Placeholder 4">
            <a:extLst>
              <a:ext uri="{FF2B5EF4-FFF2-40B4-BE49-F238E27FC236}">
                <a16:creationId xmlns:a16="http://schemas.microsoft.com/office/drawing/2014/main" id="{9DC78945-A645-4563-BCA9-927812C9C4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BEE2891-AE3F-4D8A-B562-5662B242B3DF}"/>
              </a:ext>
            </a:extLst>
          </p:cNvPr>
          <p:cNvSpPr>
            <a:spLocks noGrp="1"/>
          </p:cNvSpPr>
          <p:nvPr>
            <p:ph type="sldNum" sz="quarter" idx="17"/>
          </p:nvPr>
        </p:nvSpPr>
        <p:spPr/>
        <p:txBody>
          <a:bodyPr/>
          <a:lstStyle/>
          <a:p>
            <a:fld id="{1F90F471-3972-4120-B8B3-0237DE626C35}" type="slidenum">
              <a:rPr lang="en-US" smtClean="0"/>
              <a:pPr/>
              <a:t>411</a:t>
            </a:fld>
            <a:endParaRPr lang="en-US" dirty="0"/>
          </a:p>
        </p:txBody>
      </p:sp>
    </p:spTree>
    <p:extLst>
      <p:ext uri="{BB962C8B-B14F-4D97-AF65-F5344CB8AC3E}">
        <p14:creationId xmlns:p14="http://schemas.microsoft.com/office/powerpoint/2010/main" val="3302445452"/>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Scoring 1 – Harvey Balls</a:t>
            </a:r>
          </a:p>
        </p:txBody>
      </p:sp>
      <p:sp>
        <p:nvSpPr>
          <p:cNvPr id="57" name="Rectangle 3">
            <a:extLst>
              <a:ext uri="{FF2B5EF4-FFF2-40B4-BE49-F238E27FC236}">
                <a16:creationId xmlns:a16="http://schemas.microsoft.com/office/drawing/2014/main" id="{85EAFB45-D1A8-4F45-B8B0-8681B9C6BFA2}"/>
              </a:ext>
            </a:extLst>
          </p:cNvPr>
          <p:cNvSpPr>
            <a:spLocks noChangeArrowheads="1"/>
          </p:cNvSpPr>
          <p:nvPr/>
        </p:nvSpPr>
        <p:spPr bwMode="auto">
          <a:xfrm>
            <a:off x="417772" y="5720826"/>
            <a:ext cx="5288235" cy="551534"/>
          </a:xfrm>
          <a:prstGeom prst="rect">
            <a:avLst/>
          </a:prstGeom>
          <a:solidFill>
            <a:srgbClr val="FFFFFF">
              <a:lumMod val="95000"/>
            </a:srgbClr>
          </a:solidFill>
          <a:ln w="3175">
            <a:noFill/>
            <a:miter lim="800000"/>
            <a:headEnd/>
            <a:tailEnd/>
          </a:ln>
          <a:effectLst/>
        </p:spPr>
        <p:txBody>
          <a:bodyPr wrap="square" lIns="108000" tIns="108000" rIns="72000" bIns="108000" anchor="b"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0" cap="none" spc="0" normalizeH="0" baseline="0" noProof="0" dirty="0">
                <a:ln>
                  <a:noFill/>
                </a:ln>
                <a:solidFill>
                  <a:srgbClr val="000000"/>
                </a:solidFill>
                <a:effectLst/>
                <a:uLnTx/>
                <a:uFillTx/>
                <a:latin typeface="+mj-lt"/>
                <a:ea typeface="+mn-ea"/>
                <a:cs typeface="+mn-cs"/>
              </a:rPr>
              <a:t>Tips</a:t>
            </a:r>
          </a:p>
          <a:p>
            <a:pPr marL="0" marR="0" lvl="0" indent="0" algn="l" defTabSz="914400" rtl="0" eaLnBrk="0" fontAlgn="auto" latinLnBrk="0" hangingPunct="0">
              <a:lnSpc>
                <a:spcPct val="100000"/>
              </a:lnSpc>
              <a:spcBef>
                <a:spcPts val="100"/>
              </a:spcBef>
              <a:spcAft>
                <a:spcPts val="100"/>
              </a:spcAft>
              <a:buClrTx/>
              <a:buSzTx/>
              <a:buFontTx/>
              <a:buNone/>
              <a:tabLst>
                <a:tab pos="192088" algn="l"/>
              </a:tabLst>
              <a:defRPr/>
            </a:pPr>
            <a:r>
              <a:rPr kumimoji="0" lang="en-IE" sz="1000" b="0" i="0" u="none" strike="noStrike" kern="0" cap="none" spc="0" normalizeH="0" baseline="0" noProof="0" dirty="0">
                <a:ln>
                  <a:noFill/>
                </a:ln>
                <a:solidFill>
                  <a:srgbClr val="000000"/>
                </a:solidFill>
                <a:effectLst/>
                <a:uLnTx/>
                <a:uFillTx/>
                <a:ea typeface="+mn-ea"/>
                <a:cs typeface="+mn-cs"/>
              </a:rPr>
              <a:t>Use “ </a:t>
            </a:r>
            <a:r>
              <a:rPr lang="en-IE" sz="1000" kern="0" dirty="0">
                <a:solidFill>
                  <a:srgbClr val="000000"/>
                </a:solidFill>
              </a:rPr>
              <a:t>H</a:t>
            </a:r>
            <a:r>
              <a:rPr kumimoji="0" lang="en-IE" sz="1000" b="0" i="0" u="none" strike="noStrike" kern="0" cap="none" spc="0" normalizeH="0" baseline="0" noProof="0" dirty="0" err="1">
                <a:ln>
                  <a:noFill/>
                </a:ln>
                <a:solidFill>
                  <a:srgbClr val="000000"/>
                </a:solidFill>
                <a:effectLst/>
                <a:uLnTx/>
                <a:uFillTx/>
                <a:ea typeface="+mn-ea"/>
                <a:cs typeface="+mn-cs"/>
              </a:rPr>
              <a:t>arvey</a:t>
            </a:r>
            <a:r>
              <a:rPr kumimoji="0" lang="en-IE" sz="1000" b="0" i="0" u="none" strike="noStrike" kern="0" cap="none" spc="0" normalizeH="0" baseline="0" noProof="0" dirty="0">
                <a:ln>
                  <a:noFill/>
                </a:ln>
                <a:solidFill>
                  <a:srgbClr val="000000"/>
                </a:solidFill>
                <a:effectLst/>
                <a:uLnTx/>
                <a:uFillTx/>
                <a:ea typeface="+mn-ea"/>
                <a:cs typeface="+mn-cs"/>
              </a:rPr>
              <a:t> ball” on the MC toolbar to quickly draw and replace these shapes</a:t>
            </a:r>
          </a:p>
        </p:txBody>
      </p:sp>
      <p:grpSp>
        <p:nvGrpSpPr>
          <p:cNvPr id="16" name="Group 15" descr="Options">
            <a:extLst>
              <a:ext uri="{FF2B5EF4-FFF2-40B4-BE49-F238E27FC236}">
                <a16:creationId xmlns:a16="http://schemas.microsoft.com/office/drawing/2014/main" id="{70151B59-A05F-48FE-A53F-840AB7735486}"/>
              </a:ext>
            </a:extLst>
          </p:cNvPr>
          <p:cNvGrpSpPr/>
          <p:nvPr/>
        </p:nvGrpSpPr>
        <p:grpSpPr>
          <a:xfrm>
            <a:off x="389766" y="987113"/>
            <a:ext cx="2214103" cy="1637001"/>
            <a:chOff x="389766" y="1362569"/>
            <a:chExt cx="2304000" cy="1529012"/>
          </a:xfrm>
        </p:grpSpPr>
        <p:sp>
          <p:nvSpPr>
            <p:cNvPr id="132" name="Rectangle 93">
              <a:extLst>
                <a:ext uri="{FF2B5EF4-FFF2-40B4-BE49-F238E27FC236}">
                  <a16:creationId xmlns:a16="http://schemas.microsoft.com/office/drawing/2014/main" id="{FC60E29A-DE9B-48E3-9912-FE0D7B8CB6AC}"/>
                </a:ext>
              </a:extLst>
            </p:cNvPr>
            <p:cNvSpPr>
              <a:spLocks noChangeArrowheads="1"/>
            </p:cNvSpPr>
            <p:nvPr/>
          </p:nvSpPr>
          <p:spPr bwMode="auto">
            <a:xfrm>
              <a:off x="389766" y="2351581"/>
              <a:ext cx="2304000" cy="540000"/>
            </a:xfrm>
            <a:prstGeom prst="rect">
              <a:avLst/>
            </a:prstGeom>
            <a:solidFill>
              <a:srgbClr val="E4E7E7"/>
            </a:solidFill>
            <a:ln w="6350">
              <a:solidFill>
                <a:schemeClr val="bg1"/>
              </a:solidFill>
              <a:miter lim="800000"/>
              <a:headEnd/>
              <a:tailEnd/>
            </a:ln>
            <a:effectLst/>
          </p:spPr>
          <p:txBody>
            <a:bodyPr lIns="144000" tIns="72000" rIns="108000" bIns="72000" anchor="ctr"/>
            <a:lstStyle/>
            <a:p>
              <a:pPr algn="l" eaLnBrk="0" hangingPunct="0">
                <a:spcBef>
                  <a:spcPct val="0"/>
                </a:spcBef>
              </a:pPr>
              <a:r>
                <a:rPr lang="en-US" sz="1200" b="1" dirty="0">
                  <a:solidFill>
                    <a:schemeClr val="tx1"/>
                  </a:solidFill>
                </a:rPr>
                <a:t>Option 2</a:t>
              </a:r>
            </a:p>
          </p:txBody>
        </p:sp>
        <p:sp>
          <p:nvSpPr>
            <p:cNvPr id="130" name="Rectangle 87">
              <a:extLst>
                <a:ext uri="{FF2B5EF4-FFF2-40B4-BE49-F238E27FC236}">
                  <a16:creationId xmlns:a16="http://schemas.microsoft.com/office/drawing/2014/main" id="{7DBAA2FF-59E0-4CD7-A060-B8D3E9D54C6D}"/>
                </a:ext>
              </a:extLst>
            </p:cNvPr>
            <p:cNvSpPr>
              <a:spLocks noChangeArrowheads="1"/>
            </p:cNvSpPr>
            <p:nvPr/>
          </p:nvSpPr>
          <p:spPr bwMode="auto">
            <a:xfrm>
              <a:off x="389766" y="1804009"/>
              <a:ext cx="2304000" cy="540000"/>
            </a:xfrm>
            <a:prstGeom prst="rect">
              <a:avLst/>
            </a:prstGeom>
            <a:solidFill>
              <a:srgbClr val="E4E7E7"/>
            </a:solidFill>
            <a:ln w="6350">
              <a:solidFill>
                <a:schemeClr val="bg1"/>
              </a:solidFill>
              <a:miter lim="800000"/>
              <a:headEnd/>
              <a:tailEnd/>
            </a:ln>
            <a:effectLst/>
          </p:spPr>
          <p:txBody>
            <a:bodyPr lIns="144000" tIns="72000" rIns="108000" bIns="72000" anchor="ctr"/>
            <a:lstStyle/>
            <a:p>
              <a:pPr algn="l" eaLnBrk="0" hangingPunct="0">
                <a:spcBef>
                  <a:spcPct val="0"/>
                </a:spcBef>
              </a:pPr>
              <a:r>
                <a:rPr lang="en-US" sz="1200" b="1" dirty="0">
                  <a:solidFill>
                    <a:schemeClr val="tx1"/>
                  </a:solidFill>
                </a:rPr>
                <a:t>Option 1</a:t>
              </a:r>
            </a:p>
          </p:txBody>
        </p:sp>
        <p:sp>
          <p:nvSpPr>
            <p:cNvPr id="131" name="Rectangle 92">
              <a:extLst>
                <a:ext uri="{FF2B5EF4-FFF2-40B4-BE49-F238E27FC236}">
                  <a16:creationId xmlns:a16="http://schemas.microsoft.com/office/drawing/2014/main" id="{2B248F0E-5076-4F34-991C-E3E4B69A2E88}"/>
                </a:ext>
              </a:extLst>
            </p:cNvPr>
            <p:cNvSpPr>
              <a:spLocks noChangeArrowheads="1"/>
            </p:cNvSpPr>
            <p:nvPr/>
          </p:nvSpPr>
          <p:spPr bwMode="auto">
            <a:xfrm>
              <a:off x="389766" y="1362569"/>
              <a:ext cx="2304000" cy="441441"/>
            </a:xfrm>
            <a:prstGeom prst="rect">
              <a:avLst/>
            </a:prstGeom>
            <a:solidFill>
              <a:schemeClr val="accent3"/>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Options</a:t>
              </a:r>
            </a:p>
          </p:txBody>
        </p:sp>
      </p:grpSp>
      <p:grpSp>
        <p:nvGrpSpPr>
          <p:cNvPr id="17" name="Group 16" descr="Criterion 1">
            <a:extLst>
              <a:ext uri="{FF2B5EF4-FFF2-40B4-BE49-F238E27FC236}">
                <a16:creationId xmlns:a16="http://schemas.microsoft.com/office/drawing/2014/main" id="{4BC17ED4-D388-48EA-81D1-CF157F760989}"/>
              </a:ext>
            </a:extLst>
          </p:cNvPr>
          <p:cNvGrpSpPr/>
          <p:nvPr/>
        </p:nvGrpSpPr>
        <p:grpSpPr>
          <a:xfrm>
            <a:off x="2691390" y="987113"/>
            <a:ext cx="2214103" cy="1637001"/>
            <a:chOff x="2691390" y="1362569"/>
            <a:chExt cx="2304000" cy="1529012"/>
          </a:xfrm>
        </p:grpSpPr>
        <p:sp>
          <p:nvSpPr>
            <p:cNvPr id="124" name="Rectangle 79">
              <a:extLst>
                <a:ext uri="{FF2B5EF4-FFF2-40B4-BE49-F238E27FC236}">
                  <a16:creationId xmlns:a16="http://schemas.microsoft.com/office/drawing/2014/main" id="{637BE6E7-0034-460D-8A39-649CEC68B8A3}"/>
                </a:ext>
              </a:extLst>
            </p:cNvPr>
            <p:cNvSpPr>
              <a:spLocks noChangeArrowheads="1"/>
            </p:cNvSpPr>
            <p:nvPr/>
          </p:nvSpPr>
          <p:spPr bwMode="auto">
            <a:xfrm>
              <a:off x="2691390" y="2351581"/>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25" name="Rectangle 86">
              <a:extLst>
                <a:ext uri="{FF2B5EF4-FFF2-40B4-BE49-F238E27FC236}">
                  <a16:creationId xmlns:a16="http://schemas.microsoft.com/office/drawing/2014/main" id="{D9603747-B123-49A9-93CB-847ADC489A69}"/>
                </a:ext>
              </a:extLst>
            </p:cNvPr>
            <p:cNvSpPr>
              <a:spLocks noChangeArrowheads="1"/>
            </p:cNvSpPr>
            <p:nvPr/>
          </p:nvSpPr>
          <p:spPr bwMode="auto">
            <a:xfrm>
              <a:off x="2691390" y="1804009"/>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26" name="Rectangle 91">
              <a:extLst>
                <a:ext uri="{FF2B5EF4-FFF2-40B4-BE49-F238E27FC236}">
                  <a16:creationId xmlns:a16="http://schemas.microsoft.com/office/drawing/2014/main" id="{250EDA71-C321-45E5-BAAD-DC76C10975B0}"/>
                </a:ext>
              </a:extLst>
            </p:cNvPr>
            <p:cNvSpPr>
              <a:spLocks noChangeArrowheads="1"/>
            </p:cNvSpPr>
            <p:nvPr/>
          </p:nvSpPr>
          <p:spPr bwMode="auto">
            <a:xfrm>
              <a:off x="2691390" y="1362569"/>
              <a:ext cx="2304000" cy="441441"/>
            </a:xfrm>
            <a:prstGeom prst="rect">
              <a:avLst/>
            </a:prstGeom>
            <a:solidFill>
              <a:schemeClr val="accent2"/>
            </a:solidFill>
            <a:ln w="1270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Criterion 1</a:t>
              </a:r>
            </a:p>
          </p:txBody>
        </p:sp>
        <p:sp>
          <p:nvSpPr>
            <p:cNvPr id="159" name="Oval 95">
              <a:extLst>
                <a:ext uri="{FF2B5EF4-FFF2-40B4-BE49-F238E27FC236}">
                  <a16:creationId xmlns:a16="http://schemas.microsoft.com/office/drawing/2014/main" id="{7B5641EA-2716-4304-8CD9-C16FAFBBD59C}"/>
                </a:ext>
              </a:extLst>
            </p:cNvPr>
            <p:cNvSpPr>
              <a:spLocks noChangeArrowheads="1"/>
            </p:cNvSpPr>
            <p:nvPr/>
          </p:nvSpPr>
          <p:spPr bwMode="auto">
            <a:xfrm>
              <a:off x="2949873" y="2497426"/>
              <a:ext cx="252909" cy="247129"/>
            </a:xfrm>
            <a:prstGeom prst="ellipse">
              <a:avLst/>
            </a:prstGeom>
            <a:solidFill>
              <a:srgbClr val="FFFFFF"/>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60" name="Arc 96">
              <a:extLst>
                <a:ext uri="{FF2B5EF4-FFF2-40B4-BE49-F238E27FC236}">
                  <a16:creationId xmlns:a16="http://schemas.microsoft.com/office/drawing/2014/main" id="{CBB0DA26-4C54-4912-8622-DA9D68F67AA6}"/>
                </a:ext>
              </a:extLst>
            </p:cNvPr>
            <p:cNvSpPr>
              <a:spLocks/>
            </p:cNvSpPr>
            <p:nvPr/>
          </p:nvSpPr>
          <p:spPr bwMode="auto">
            <a:xfrm>
              <a:off x="2951083" y="2497426"/>
              <a:ext cx="251699" cy="248311"/>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6"/>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68" name="Oval 104">
              <a:extLst>
                <a:ext uri="{FF2B5EF4-FFF2-40B4-BE49-F238E27FC236}">
                  <a16:creationId xmlns:a16="http://schemas.microsoft.com/office/drawing/2014/main" id="{0BD2C2A4-9722-4ECC-8587-71D18470B57F}"/>
                </a:ext>
              </a:extLst>
            </p:cNvPr>
            <p:cNvSpPr>
              <a:spLocks noChangeArrowheads="1"/>
            </p:cNvSpPr>
            <p:nvPr/>
          </p:nvSpPr>
          <p:spPr bwMode="auto">
            <a:xfrm>
              <a:off x="2949873" y="1949854"/>
              <a:ext cx="252909" cy="247129"/>
            </a:xfrm>
            <a:prstGeom prst="ellipse">
              <a:avLst/>
            </a:prstGeom>
            <a:solidFill>
              <a:srgbClr val="FFFFFF"/>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69" name="Arc 105">
              <a:extLst>
                <a:ext uri="{FF2B5EF4-FFF2-40B4-BE49-F238E27FC236}">
                  <a16:creationId xmlns:a16="http://schemas.microsoft.com/office/drawing/2014/main" id="{10C935C9-A28A-43B2-ABB9-A925EAE25B09}"/>
                </a:ext>
              </a:extLst>
            </p:cNvPr>
            <p:cNvSpPr>
              <a:spLocks/>
            </p:cNvSpPr>
            <p:nvPr/>
          </p:nvSpPr>
          <p:spPr bwMode="auto">
            <a:xfrm>
              <a:off x="3076933" y="1949854"/>
              <a:ext cx="125849" cy="248311"/>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6"/>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grpSp>
      <p:grpSp>
        <p:nvGrpSpPr>
          <p:cNvPr id="18" name="Group 17" descr="Criterion 2">
            <a:extLst>
              <a:ext uri="{FF2B5EF4-FFF2-40B4-BE49-F238E27FC236}">
                <a16:creationId xmlns:a16="http://schemas.microsoft.com/office/drawing/2014/main" id="{84FD507B-05FF-4115-B1D2-5FAE14A15CA1}"/>
              </a:ext>
            </a:extLst>
          </p:cNvPr>
          <p:cNvGrpSpPr/>
          <p:nvPr/>
        </p:nvGrpSpPr>
        <p:grpSpPr>
          <a:xfrm>
            <a:off x="4993014" y="987113"/>
            <a:ext cx="2214103" cy="1637001"/>
            <a:chOff x="4993014" y="1362569"/>
            <a:chExt cx="2304000" cy="1529012"/>
          </a:xfrm>
        </p:grpSpPr>
        <p:sp>
          <p:nvSpPr>
            <p:cNvPr id="118" name="Rectangle 80">
              <a:extLst>
                <a:ext uri="{FF2B5EF4-FFF2-40B4-BE49-F238E27FC236}">
                  <a16:creationId xmlns:a16="http://schemas.microsoft.com/office/drawing/2014/main" id="{BCEA5465-4F4C-4BAE-BED3-B11A9D79DB92}"/>
                </a:ext>
              </a:extLst>
            </p:cNvPr>
            <p:cNvSpPr>
              <a:spLocks noChangeArrowheads="1"/>
            </p:cNvSpPr>
            <p:nvPr/>
          </p:nvSpPr>
          <p:spPr bwMode="auto">
            <a:xfrm>
              <a:off x="4993014" y="1804009"/>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9" name="Rectangle 81">
              <a:extLst>
                <a:ext uri="{FF2B5EF4-FFF2-40B4-BE49-F238E27FC236}">
                  <a16:creationId xmlns:a16="http://schemas.microsoft.com/office/drawing/2014/main" id="{8D3A17AD-6628-493C-B760-B4D09791C0DD}"/>
                </a:ext>
              </a:extLst>
            </p:cNvPr>
            <p:cNvSpPr>
              <a:spLocks noChangeArrowheads="1"/>
            </p:cNvSpPr>
            <p:nvPr/>
          </p:nvSpPr>
          <p:spPr bwMode="auto">
            <a:xfrm>
              <a:off x="4993014" y="2351581"/>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20" name="Rectangle 90">
              <a:extLst>
                <a:ext uri="{FF2B5EF4-FFF2-40B4-BE49-F238E27FC236}">
                  <a16:creationId xmlns:a16="http://schemas.microsoft.com/office/drawing/2014/main" id="{EAF100D6-1017-4FF4-A7D6-A3C373B8E8BE}"/>
                </a:ext>
              </a:extLst>
            </p:cNvPr>
            <p:cNvSpPr>
              <a:spLocks noChangeArrowheads="1"/>
            </p:cNvSpPr>
            <p:nvPr/>
          </p:nvSpPr>
          <p:spPr bwMode="auto">
            <a:xfrm>
              <a:off x="4993014" y="1362569"/>
              <a:ext cx="2304000" cy="441441"/>
            </a:xfrm>
            <a:prstGeom prst="rect">
              <a:avLst/>
            </a:prstGeom>
            <a:solidFill>
              <a:schemeClr val="accent2">
                <a:lumMod val="60000"/>
                <a:lumOff val="40000"/>
              </a:schemeClr>
            </a:solidFill>
            <a:ln w="1270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latin typeface="+mj-lt"/>
                </a:rPr>
                <a:t>Criterion 2</a:t>
              </a:r>
            </a:p>
          </p:txBody>
        </p:sp>
        <p:sp>
          <p:nvSpPr>
            <p:cNvPr id="162" name="Oval 98">
              <a:extLst>
                <a:ext uri="{FF2B5EF4-FFF2-40B4-BE49-F238E27FC236}">
                  <a16:creationId xmlns:a16="http://schemas.microsoft.com/office/drawing/2014/main" id="{792FA480-A7FA-4534-9EB7-6906ECB34251}"/>
                </a:ext>
              </a:extLst>
            </p:cNvPr>
            <p:cNvSpPr>
              <a:spLocks noChangeArrowheads="1"/>
            </p:cNvSpPr>
            <p:nvPr/>
          </p:nvSpPr>
          <p:spPr bwMode="auto">
            <a:xfrm>
              <a:off x="5219342" y="1949854"/>
              <a:ext cx="251376" cy="247129"/>
            </a:xfrm>
            <a:prstGeom prst="ellipse">
              <a:avLst/>
            </a:prstGeom>
            <a:solidFill>
              <a:srgbClr val="FFFFFF"/>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63" name="Arc 99">
              <a:extLst>
                <a:ext uri="{FF2B5EF4-FFF2-40B4-BE49-F238E27FC236}">
                  <a16:creationId xmlns:a16="http://schemas.microsoft.com/office/drawing/2014/main" id="{295F762C-3FEE-4BE5-8F9D-8ED457AE58AB}"/>
                </a:ext>
              </a:extLst>
            </p:cNvPr>
            <p:cNvSpPr>
              <a:spLocks/>
            </p:cNvSpPr>
            <p:nvPr/>
          </p:nvSpPr>
          <p:spPr bwMode="auto">
            <a:xfrm>
              <a:off x="5220545" y="1949854"/>
              <a:ext cx="250173" cy="248311"/>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6"/>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77" name="Oval 113">
              <a:extLst>
                <a:ext uri="{FF2B5EF4-FFF2-40B4-BE49-F238E27FC236}">
                  <a16:creationId xmlns:a16="http://schemas.microsoft.com/office/drawing/2014/main" id="{B55F534A-C3CF-4C1A-AA4A-EEAFA7691DDA}"/>
                </a:ext>
              </a:extLst>
            </p:cNvPr>
            <p:cNvSpPr>
              <a:spLocks noChangeArrowheads="1"/>
            </p:cNvSpPr>
            <p:nvPr/>
          </p:nvSpPr>
          <p:spPr bwMode="auto">
            <a:xfrm>
              <a:off x="5219342" y="2497426"/>
              <a:ext cx="251376" cy="248311"/>
            </a:xfrm>
            <a:prstGeom prst="ellipse">
              <a:avLst/>
            </a:prstGeom>
            <a:solidFill>
              <a:srgbClr val="FFFFFF"/>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78" name="Arc 114">
              <a:extLst>
                <a:ext uri="{FF2B5EF4-FFF2-40B4-BE49-F238E27FC236}">
                  <a16:creationId xmlns:a16="http://schemas.microsoft.com/office/drawing/2014/main" id="{C50FE775-C47C-464B-A63C-A70220FAE967}"/>
                </a:ext>
              </a:extLst>
            </p:cNvPr>
            <p:cNvSpPr>
              <a:spLocks/>
            </p:cNvSpPr>
            <p:nvPr/>
          </p:nvSpPr>
          <p:spPr bwMode="auto">
            <a:xfrm>
              <a:off x="5345631" y="2497426"/>
              <a:ext cx="125087" cy="12475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6"/>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grpSp>
      <p:grpSp>
        <p:nvGrpSpPr>
          <p:cNvPr id="19" name="Group 18" descr="Criterion 3">
            <a:extLst>
              <a:ext uri="{FF2B5EF4-FFF2-40B4-BE49-F238E27FC236}">
                <a16:creationId xmlns:a16="http://schemas.microsoft.com/office/drawing/2014/main" id="{55486715-6839-40FF-A411-4309E5578AA5}"/>
              </a:ext>
            </a:extLst>
          </p:cNvPr>
          <p:cNvGrpSpPr/>
          <p:nvPr/>
        </p:nvGrpSpPr>
        <p:grpSpPr>
          <a:xfrm>
            <a:off x="7294638" y="987113"/>
            <a:ext cx="2214103" cy="1637001"/>
            <a:chOff x="7294638" y="1362569"/>
            <a:chExt cx="2304000" cy="1529012"/>
          </a:xfrm>
        </p:grpSpPr>
        <p:sp>
          <p:nvSpPr>
            <p:cNvPr id="112" name="Rectangle 82">
              <a:extLst>
                <a:ext uri="{FF2B5EF4-FFF2-40B4-BE49-F238E27FC236}">
                  <a16:creationId xmlns:a16="http://schemas.microsoft.com/office/drawing/2014/main" id="{A1E2320C-D657-41B2-A3A5-0D8F2ED21345}"/>
                </a:ext>
              </a:extLst>
            </p:cNvPr>
            <p:cNvSpPr>
              <a:spLocks noChangeArrowheads="1"/>
            </p:cNvSpPr>
            <p:nvPr/>
          </p:nvSpPr>
          <p:spPr bwMode="auto">
            <a:xfrm>
              <a:off x="7294638" y="1804009"/>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3" name="Rectangle 83">
              <a:extLst>
                <a:ext uri="{FF2B5EF4-FFF2-40B4-BE49-F238E27FC236}">
                  <a16:creationId xmlns:a16="http://schemas.microsoft.com/office/drawing/2014/main" id="{37527245-06E5-48E6-BFE5-BBBC09DC5394}"/>
                </a:ext>
              </a:extLst>
            </p:cNvPr>
            <p:cNvSpPr>
              <a:spLocks noChangeArrowheads="1"/>
            </p:cNvSpPr>
            <p:nvPr/>
          </p:nvSpPr>
          <p:spPr bwMode="auto">
            <a:xfrm>
              <a:off x="7294638" y="2351581"/>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4" name="Rectangle 89">
              <a:extLst>
                <a:ext uri="{FF2B5EF4-FFF2-40B4-BE49-F238E27FC236}">
                  <a16:creationId xmlns:a16="http://schemas.microsoft.com/office/drawing/2014/main" id="{12C07D3A-8B63-470F-82E0-C5B1C156E005}"/>
                </a:ext>
              </a:extLst>
            </p:cNvPr>
            <p:cNvSpPr>
              <a:spLocks noChangeArrowheads="1"/>
            </p:cNvSpPr>
            <p:nvPr/>
          </p:nvSpPr>
          <p:spPr bwMode="auto">
            <a:xfrm>
              <a:off x="7294638" y="1362569"/>
              <a:ext cx="2304000" cy="441441"/>
            </a:xfrm>
            <a:prstGeom prst="rect">
              <a:avLst/>
            </a:prstGeom>
            <a:solidFill>
              <a:schemeClr val="accent2">
                <a:lumMod val="40000"/>
                <a:lumOff val="60000"/>
              </a:schemeClr>
            </a:solidFill>
            <a:ln w="1270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latin typeface="+mj-lt"/>
                </a:rPr>
                <a:t>Criterion 3</a:t>
              </a:r>
            </a:p>
          </p:txBody>
        </p:sp>
        <p:sp>
          <p:nvSpPr>
            <p:cNvPr id="171" name="Oval 107">
              <a:extLst>
                <a:ext uri="{FF2B5EF4-FFF2-40B4-BE49-F238E27FC236}">
                  <a16:creationId xmlns:a16="http://schemas.microsoft.com/office/drawing/2014/main" id="{62520134-A1A0-486E-88B6-5D1D38FBC596}"/>
                </a:ext>
              </a:extLst>
            </p:cNvPr>
            <p:cNvSpPr>
              <a:spLocks noChangeArrowheads="1"/>
            </p:cNvSpPr>
            <p:nvPr/>
          </p:nvSpPr>
          <p:spPr bwMode="auto">
            <a:xfrm>
              <a:off x="7520365" y="1949854"/>
              <a:ext cx="251376" cy="247129"/>
            </a:xfrm>
            <a:prstGeom prst="ellipse">
              <a:avLst/>
            </a:prstGeom>
            <a:solidFill>
              <a:srgbClr val="FFFFFF"/>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72" name="Arc 108">
              <a:extLst>
                <a:ext uri="{FF2B5EF4-FFF2-40B4-BE49-F238E27FC236}">
                  <a16:creationId xmlns:a16="http://schemas.microsoft.com/office/drawing/2014/main" id="{5187016E-6E85-4EE3-82B4-9537660CFD68}"/>
                </a:ext>
              </a:extLst>
            </p:cNvPr>
            <p:cNvSpPr>
              <a:spLocks/>
            </p:cNvSpPr>
            <p:nvPr/>
          </p:nvSpPr>
          <p:spPr bwMode="auto">
            <a:xfrm>
              <a:off x="7646654" y="1949854"/>
              <a:ext cx="125087" cy="248311"/>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6"/>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74" name="Oval 110">
              <a:extLst>
                <a:ext uri="{FF2B5EF4-FFF2-40B4-BE49-F238E27FC236}">
                  <a16:creationId xmlns:a16="http://schemas.microsoft.com/office/drawing/2014/main" id="{F2D281B7-AE68-4907-AEAC-CD0D4AF6DBAC}"/>
                </a:ext>
              </a:extLst>
            </p:cNvPr>
            <p:cNvSpPr>
              <a:spLocks noChangeArrowheads="1"/>
            </p:cNvSpPr>
            <p:nvPr/>
          </p:nvSpPr>
          <p:spPr bwMode="auto">
            <a:xfrm>
              <a:off x="7520365" y="2497426"/>
              <a:ext cx="251376" cy="247129"/>
            </a:xfrm>
            <a:prstGeom prst="ellipse">
              <a:avLst/>
            </a:prstGeom>
            <a:solidFill>
              <a:srgbClr val="FFFFFF"/>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75" name="Arc 111">
              <a:extLst>
                <a:ext uri="{FF2B5EF4-FFF2-40B4-BE49-F238E27FC236}">
                  <a16:creationId xmlns:a16="http://schemas.microsoft.com/office/drawing/2014/main" id="{BB848CA4-6D5A-4167-9355-AE85B3945008}"/>
                </a:ext>
              </a:extLst>
            </p:cNvPr>
            <p:cNvSpPr>
              <a:spLocks/>
            </p:cNvSpPr>
            <p:nvPr/>
          </p:nvSpPr>
          <p:spPr bwMode="auto">
            <a:xfrm>
              <a:off x="7521568" y="2497426"/>
              <a:ext cx="250173" cy="248311"/>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rgbClr val="000000"/>
            </a:solidFill>
            <a:ln w="12700">
              <a:solidFill>
                <a:schemeClr val="folHlink"/>
              </a:solidFill>
              <a:round/>
              <a:headEnd type="none" w="sm" len="sm"/>
              <a:tailEnd type="none" w="sm" len="sm"/>
            </a:ln>
            <a:effectLst/>
          </p:spPr>
          <p:txBody>
            <a:bodyPr wrap="none" lIns="72000" tIns="72000" rIns="72000" bIns="72000" anchor="ctr"/>
            <a:lstStyle/>
            <a:p>
              <a:endParaRPr lang="de-DE" dirty="0"/>
            </a:p>
          </p:txBody>
        </p:sp>
      </p:grpSp>
      <p:grpSp>
        <p:nvGrpSpPr>
          <p:cNvPr id="20" name="Group 19" descr="Criterion 4">
            <a:extLst>
              <a:ext uri="{FF2B5EF4-FFF2-40B4-BE49-F238E27FC236}">
                <a16:creationId xmlns:a16="http://schemas.microsoft.com/office/drawing/2014/main" id="{2C59F6AC-3905-4CA7-BF4E-6B4EE3BFE784}"/>
              </a:ext>
            </a:extLst>
          </p:cNvPr>
          <p:cNvGrpSpPr/>
          <p:nvPr/>
        </p:nvGrpSpPr>
        <p:grpSpPr>
          <a:xfrm>
            <a:off x="9596263" y="987113"/>
            <a:ext cx="2214103" cy="1637001"/>
            <a:chOff x="9596263" y="1362569"/>
            <a:chExt cx="2304000" cy="1529012"/>
          </a:xfrm>
        </p:grpSpPr>
        <p:sp>
          <p:nvSpPr>
            <p:cNvPr id="106" name="Rectangle 84">
              <a:extLst>
                <a:ext uri="{FF2B5EF4-FFF2-40B4-BE49-F238E27FC236}">
                  <a16:creationId xmlns:a16="http://schemas.microsoft.com/office/drawing/2014/main" id="{939628A0-FC0B-432B-AA14-6AC77A81FEA2}"/>
                </a:ext>
              </a:extLst>
            </p:cNvPr>
            <p:cNvSpPr>
              <a:spLocks noChangeArrowheads="1"/>
            </p:cNvSpPr>
            <p:nvPr/>
          </p:nvSpPr>
          <p:spPr bwMode="auto">
            <a:xfrm>
              <a:off x="9596263" y="1804009"/>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07" name="Rectangle 85">
              <a:extLst>
                <a:ext uri="{FF2B5EF4-FFF2-40B4-BE49-F238E27FC236}">
                  <a16:creationId xmlns:a16="http://schemas.microsoft.com/office/drawing/2014/main" id="{B11CF8EA-EC22-4361-8D8C-0DFF6780B18C}"/>
                </a:ext>
              </a:extLst>
            </p:cNvPr>
            <p:cNvSpPr>
              <a:spLocks noChangeArrowheads="1"/>
            </p:cNvSpPr>
            <p:nvPr/>
          </p:nvSpPr>
          <p:spPr bwMode="auto">
            <a:xfrm>
              <a:off x="9596263" y="2351581"/>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08" name="Rectangle 88">
              <a:extLst>
                <a:ext uri="{FF2B5EF4-FFF2-40B4-BE49-F238E27FC236}">
                  <a16:creationId xmlns:a16="http://schemas.microsoft.com/office/drawing/2014/main" id="{29C59A0F-3D58-409C-82E9-A5218A8A6294}"/>
                </a:ext>
              </a:extLst>
            </p:cNvPr>
            <p:cNvSpPr>
              <a:spLocks noChangeArrowheads="1"/>
            </p:cNvSpPr>
            <p:nvPr/>
          </p:nvSpPr>
          <p:spPr bwMode="auto">
            <a:xfrm>
              <a:off x="9596263" y="1362569"/>
              <a:ext cx="2304000" cy="441441"/>
            </a:xfrm>
            <a:prstGeom prst="rect">
              <a:avLst/>
            </a:prstGeom>
            <a:solidFill>
              <a:schemeClr val="accent2">
                <a:lumMod val="20000"/>
                <a:lumOff val="80000"/>
              </a:schemeClr>
            </a:solidFill>
            <a:ln w="1270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latin typeface="+mj-lt"/>
                </a:rPr>
                <a:t>Criterion 4</a:t>
              </a:r>
            </a:p>
          </p:txBody>
        </p:sp>
        <p:sp>
          <p:nvSpPr>
            <p:cNvPr id="165" name="Oval 101">
              <a:extLst>
                <a:ext uri="{FF2B5EF4-FFF2-40B4-BE49-F238E27FC236}">
                  <a16:creationId xmlns:a16="http://schemas.microsoft.com/office/drawing/2014/main" id="{623E338B-8668-4695-9C3B-16F39441DBE2}"/>
                </a:ext>
              </a:extLst>
            </p:cNvPr>
            <p:cNvSpPr>
              <a:spLocks noChangeArrowheads="1"/>
            </p:cNvSpPr>
            <p:nvPr/>
          </p:nvSpPr>
          <p:spPr bwMode="auto">
            <a:xfrm>
              <a:off x="9838554" y="1949854"/>
              <a:ext cx="251376" cy="247129"/>
            </a:xfrm>
            <a:prstGeom prst="ellipse">
              <a:avLst/>
            </a:prstGeom>
            <a:solidFill>
              <a:srgbClr val="FFFFFF"/>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66" name="Arc 102">
              <a:extLst>
                <a:ext uri="{FF2B5EF4-FFF2-40B4-BE49-F238E27FC236}">
                  <a16:creationId xmlns:a16="http://schemas.microsoft.com/office/drawing/2014/main" id="{028BD4BF-989D-4836-A65C-AFBFF74DC2A5}"/>
                </a:ext>
              </a:extLst>
            </p:cNvPr>
            <p:cNvSpPr>
              <a:spLocks/>
            </p:cNvSpPr>
            <p:nvPr/>
          </p:nvSpPr>
          <p:spPr bwMode="auto">
            <a:xfrm>
              <a:off x="9839757" y="1949854"/>
              <a:ext cx="250173" cy="248311"/>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6"/>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80" name="Oval 116">
              <a:extLst>
                <a:ext uri="{FF2B5EF4-FFF2-40B4-BE49-F238E27FC236}">
                  <a16:creationId xmlns:a16="http://schemas.microsoft.com/office/drawing/2014/main" id="{74C8503F-A2A6-4511-8346-2F0B155F98B9}"/>
                </a:ext>
              </a:extLst>
            </p:cNvPr>
            <p:cNvSpPr>
              <a:spLocks noChangeArrowheads="1"/>
            </p:cNvSpPr>
            <p:nvPr/>
          </p:nvSpPr>
          <p:spPr bwMode="auto">
            <a:xfrm>
              <a:off x="9838554" y="2497426"/>
              <a:ext cx="251376" cy="248311"/>
            </a:xfrm>
            <a:prstGeom prst="ellipse">
              <a:avLst/>
            </a:prstGeom>
            <a:solidFill>
              <a:srgbClr val="FFFFFF"/>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81" name="Arc 117">
              <a:extLst>
                <a:ext uri="{FF2B5EF4-FFF2-40B4-BE49-F238E27FC236}">
                  <a16:creationId xmlns:a16="http://schemas.microsoft.com/office/drawing/2014/main" id="{619F371B-B068-487C-8B1C-CE10CE8DE71D}"/>
                </a:ext>
              </a:extLst>
            </p:cNvPr>
            <p:cNvSpPr>
              <a:spLocks/>
            </p:cNvSpPr>
            <p:nvPr/>
          </p:nvSpPr>
          <p:spPr bwMode="auto">
            <a:xfrm>
              <a:off x="9964843" y="2497426"/>
              <a:ext cx="125087" cy="12475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6"/>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grpSp>
      <p:grpSp>
        <p:nvGrpSpPr>
          <p:cNvPr id="21" name="Group 20" descr="Criteria">
            <a:extLst>
              <a:ext uri="{FF2B5EF4-FFF2-40B4-BE49-F238E27FC236}">
                <a16:creationId xmlns:a16="http://schemas.microsoft.com/office/drawing/2014/main" id="{9D124D1C-DDC9-4DCF-A102-3003D8911C2E}"/>
              </a:ext>
            </a:extLst>
          </p:cNvPr>
          <p:cNvGrpSpPr/>
          <p:nvPr/>
        </p:nvGrpSpPr>
        <p:grpSpPr>
          <a:xfrm>
            <a:off x="381000" y="2849814"/>
            <a:ext cx="2214737" cy="1656019"/>
            <a:chOff x="389766" y="3164114"/>
            <a:chExt cx="2304000" cy="1529012"/>
          </a:xfrm>
        </p:grpSpPr>
        <p:sp>
          <p:nvSpPr>
            <p:cNvPr id="133" name="Rectangle 129">
              <a:extLst>
                <a:ext uri="{FF2B5EF4-FFF2-40B4-BE49-F238E27FC236}">
                  <a16:creationId xmlns:a16="http://schemas.microsoft.com/office/drawing/2014/main" id="{67D502E3-0509-4724-8124-919975965091}"/>
                </a:ext>
              </a:extLst>
            </p:cNvPr>
            <p:cNvSpPr>
              <a:spLocks noChangeArrowheads="1"/>
            </p:cNvSpPr>
            <p:nvPr/>
          </p:nvSpPr>
          <p:spPr bwMode="auto">
            <a:xfrm>
              <a:off x="389766" y="3605554"/>
              <a:ext cx="2304000" cy="540000"/>
            </a:xfrm>
            <a:prstGeom prst="rect">
              <a:avLst/>
            </a:prstGeom>
            <a:solidFill>
              <a:srgbClr val="E4E7E7"/>
            </a:solidFill>
            <a:ln w="6350">
              <a:solidFill>
                <a:schemeClr val="bg1"/>
              </a:solidFill>
              <a:miter lim="800000"/>
              <a:headEnd/>
              <a:tailEnd/>
            </a:ln>
            <a:effectLst/>
          </p:spPr>
          <p:txBody>
            <a:bodyPr lIns="144000" tIns="72000" rIns="108000" bIns="72000" anchor="ctr"/>
            <a:lstStyle/>
            <a:p>
              <a:pPr algn="l" eaLnBrk="0" hangingPunct="0">
                <a:spcBef>
                  <a:spcPct val="0"/>
                </a:spcBef>
              </a:pPr>
              <a:r>
                <a:rPr lang="en-US" sz="1200" b="1" dirty="0">
                  <a:solidFill>
                    <a:schemeClr val="tx1"/>
                  </a:solidFill>
                </a:rPr>
                <a:t>Criterion 1</a:t>
              </a:r>
            </a:p>
          </p:txBody>
        </p:sp>
        <p:sp>
          <p:nvSpPr>
            <p:cNvPr id="134" name="Rectangle 134">
              <a:extLst>
                <a:ext uri="{FF2B5EF4-FFF2-40B4-BE49-F238E27FC236}">
                  <a16:creationId xmlns:a16="http://schemas.microsoft.com/office/drawing/2014/main" id="{C5FCCFF8-B330-4A32-A2A1-C494038193B4}"/>
                </a:ext>
              </a:extLst>
            </p:cNvPr>
            <p:cNvSpPr>
              <a:spLocks noChangeArrowheads="1"/>
            </p:cNvSpPr>
            <p:nvPr/>
          </p:nvSpPr>
          <p:spPr bwMode="auto">
            <a:xfrm>
              <a:off x="389766" y="3164114"/>
              <a:ext cx="2304000" cy="441441"/>
            </a:xfrm>
            <a:prstGeom prst="rect">
              <a:avLst/>
            </a:prstGeom>
            <a:solidFill>
              <a:schemeClr val="accent3"/>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Criteria</a:t>
              </a:r>
            </a:p>
          </p:txBody>
        </p:sp>
        <p:sp>
          <p:nvSpPr>
            <p:cNvPr id="135" name="Rectangle 135">
              <a:extLst>
                <a:ext uri="{FF2B5EF4-FFF2-40B4-BE49-F238E27FC236}">
                  <a16:creationId xmlns:a16="http://schemas.microsoft.com/office/drawing/2014/main" id="{FF35B9FB-7FA3-4A24-A1F9-0B91636ACDB5}"/>
                </a:ext>
              </a:extLst>
            </p:cNvPr>
            <p:cNvSpPr>
              <a:spLocks noChangeArrowheads="1"/>
            </p:cNvSpPr>
            <p:nvPr/>
          </p:nvSpPr>
          <p:spPr bwMode="auto">
            <a:xfrm>
              <a:off x="389766" y="4153126"/>
              <a:ext cx="2304000" cy="540000"/>
            </a:xfrm>
            <a:prstGeom prst="rect">
              <a:avLst/>
            </a:prstGeom>
            <a:solidFill>
              <a:srgbClr val="E4E7E7"/>
            </a:solidFill>
            <a:ln w="6350">
              <a:solidFill>
                <a:schemeClr val="bg1"/>
              </a:solidFill>
              <a:miter lim="800000"/>
              <a:headEnd/>
              <a:tailEnd/>
            </a:ln>
            <a:effectLst/>
          </p:spPr>
          <p:txBody>
            <a:bodyPr lIns="144000" tIns="72000" rIns="108000" bIns="72000" anchor="ctr"/>
            <a:lstStyle/>
            <a:p>
              <a:pPr algn="l" eaLnBrk="0" hangingPunct="0">
                <a:spcBef>
                  <a:spcPct val="0"/>
                </a:spcBef>
              </a:pPr>
              <a:r>
                <a:rPr lang="en-US" sz="1200" b="1" dirty="0">
                  <a:solidFill>
                    <a:schemeClr val="tx1"/>
                  </a:solidFill>
                </a:rPr>
                <a:t>Criterion 2</a:t>
              </a:r>
            </a:p>
          </p:txBody>
        </p:sp>
      </p:grpSp>
      <p:grpSp>
        <p:nvGrpSpPr>
          <p:cNvPr id="22" name="Group 21" descr="Option 1">
            <a:extLst>
              <a:ext uri="{FF2B5EF4-FFF2-40B4-BE49-F238E27FC236}">
                <a16:creationId xmlns:a16="http://schemas.microsoft.com/office/drawing/2014/main" id="{B7EC8A01-A50A-477F-9865-1A17DB846884}"/>
              </a:ext>
            </a:extLst>
          </p:cNvPr>
          <p:cNvGrpSpPr/>
          <p:nvPr/>
        </p:nvGrpSpPr>
        <p:grpSpPr>
          <a:xfrm>
            <a:off x="2682624" y="2849814"/>
            <a:ext cx="2214737" cy="1656019"/>
            <a:chOff x="2691390" y="3164114"/>
            <a:chExt cx="2304000" cy="1529012"/>
          </a:xfrm>
        </p:grpSpPr>
        <p:sp>
          <p:nvSpPr>
            <p:cNvPr id="127" name="Rectangle 121">
              <a:extLst>
                <a:ext uri="{FF2B5EF4-FFF2-40B4-BE49-F238E27FC236}">
                  <a16:creationId xmlns:a16="http://schemas.microsoft.com/office/drawing/2014/main" id="{F0755349-9BC4-43BB-8084-67338EF9DAC8}"/>
                </a:ext>
              </a:extLst>
            </p:cNvPr>
            <p:cNvSpPr>
              <a:spLocks noChangeArrowheads="1"/>
            </p:cNvSpPr>
            <p:nvPr/>
          </p:nvSpPr>
          <p:spPr bwMode="auto">
            <a:xfrm>
              <a:off x="2691390" y="4153126"/>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28" name="Rectangle 128">
              <a:extLst>
                <a:ext uri="{FF2B5EF4-FFF2-40B4-BE49-F238E27FC236}">
                  <a16:creationId xmlns:a16="http://schemas.microsoft.com/office/drawing/2014/main" id="{A5FC1693-47F7-4F74-9C28-E6EF340A173E}"/>
                </a:ext>
              </a:extLst>
            </p:cNvPr>
            <p:cNvSpPr>
              <a:spLocks noChangeArrowheads="1"/>
            </p:cNvSpPr>
            <p:nvPr/>
          </p:nvSpPr>
          <p:spPr bwMode="auto">
            <a:xfrm>
              <a:off x="2691390" y="3605554"/>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29" name="Rectangle 133">
              <a:extLst>
                <a:ext uri="{FF2B5EF4-FFF2-40B4-BE49-F238E27FC236}">
                  <a16:creationId xmlns:a16="http://schemas.microsoft.com/office/drawing/2014/main" id="{F226D147-6C0D-4E0C-987B-93A920407596}"/>
                </a:ext>
              </a:extLst>
            </p:cNvPr>
            <p:cNvSpPr>
              <a:spLocks noChangeArrowheads="1"/>
            </p:cNvSpPr>
            <p:nvPr/>
          </p:nvSpPr>
          <p:spPr bwMode="auto">
            <a:xfrm>
              <a:off x="2691390" y="3164114"/>
              <a:ext cx="2304000" cy="441441"/>
            </a:xfrm>
            <a:prstGeom prst="rect">
              <a:avLst/>
            </a:prstGeom>
            <a:solidFill>
              <a:schemeClr val="accent1"/>
            </a:solidFill>
            <a:ln w="1270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Option 1</a:t>
              </a:r>
            </a:p>
          </p:txBody>
        </p:sp>
        <p:sp>
          <p:nvSpPr>
            <p:cNvPr id="183" name="Oval 137">
              <a:extLst>
                <a:ext uri="{FF2B5EF4-FFF2-40B4-BE49-F238E27FC236}">
                  <a16:creationId xmlns:a16="http://schemas.microsoft.com/office/drawing/2014/main" id="{702318F9-982F-440C-A616-9EEE329950A7}"/>
                </a:ext>
              </a:extLst>
            </p:cNvPr>
            <p:cNvSpPr>
              <a:spLocks noChangeArrowheads="1"/>
            </p:cNvSpPr>
            <p:nvPr/>
          </p:nvSpPr>
          <p:spPr bwMode="auto">
            <a:xfrm>
              <a:off x="2960986" y="4284880"/>
              <a:ext cx="252909" cy="247129"/>
            </a:xfrm>
            <a:prstGeom prst="ellipse">
              <a:avLst/>
            </a:prstGeom>
            <a:solidFill>
              <a:srgbClr val="FFFFFF"/>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84" name="Arc 138">
              <a:extLst>
                <a:ext uri="{FF2B5EF4-FFF2-40B4-BE49-F238E27FC236}">
                  <a16:creationId xmlns:a16="http://schemas.microsoft.com/office/drawing/2014/main" id="{DD3A2E4A-BE15-4619-8FB7-A6D2B3CD7DB9}"/>
                </a:ext>
              </a:extLst>
            </p:cNvPr>
            <p:cNvSpPr>
              <a:spLocks/>
            </p:cNvSpPr>
            <p:nvPr/>
          </p:nvSpPr>
          <p:spPr bwMode="auto">
            <a:xfrm>
              <a:off x="2962196" y="4284880"/>
              <a:ext cx="251699" cy="248311"/>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6"/>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92" name="Oval 146">
              <a:extLst>
                <a:ext uri="{FF2B5EF4-FFF2-40B4-BE49-F238E27FC236}">
                  <a16:creationId xmlns:a16="http://schemas.microsoft.com/office/drawing/2014/main" id="{D4C909C8-6A97-4D1E-B1F1-D4DF8437E6D8}"/>
                </a:ext>
              </a:extLst>
            </p:cNvPr>
            <p:cNvSpPr>
              <a:spLocks noChangeArrowheads="1"/>
            </p:cNvSpPr>
            <p:nvPr/>
          </p:nvSpPr>
          <p:spPr bwMode="auto">
            <a:xfrm>
              <a:off x="2960986" y="3744961"/>
              <a:ext cx="252909" cy="247129"/>
            </a:xfrm>
            <a:prstGeom prst="ellipse">
              <a:avLst/>
            </a:prstGeom>
            <a:solidFill>
              <a:srgbClr val="FFFFFF"/>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93" name="Arc 147">
              <a:extLst>
                <a:ext uri="{FF2B5EF4-FFF2-40B4-BE49-F238E27FC236}">
                  <a16:creationId xmlns:a16="http://schemas.microsoft.com/office/drawing/2014/main" id="{C84FBE4C-C5E7-43F0-BC01-22ED5184AA2F}"/>
                </a:ext>
              </a:extLst>
            </p:cNvPr>
            <p:cNvSpPr>
              <a:spLocks/>
            </p:cNvSpPr>
            <p:nvPr/>
          </p:nvSpPr>
          <p:spPr bwMode="auto">
            <a:xfrm>
              <a:off x="3088046" y="3744961"/>
              <a:ext cx="125849" cy="248311"/>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6"/>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grpSp>
      <p:grpSp>
        <p:nvGrpSpPr>
          <p:cNvPr id="23" name="Group 22" descr="Option 2">
            <a:extLst>
              <a:ext uri="{FF2B5EF4-FFF2-40B4-BE49-F238E27FC236}">
                <a16:creationId xmlns:a16="http://schemas.microsoft.com/office/drawing/2014/main" id="{C5603B72-ACBE-4791-85EA-F0A55540E984}"/>
              </a:ext>
            </a:extLst>
          </p:cNvPr>
          <p:cNvGrpSpPr/>
          <p:nvPr/>
        </p:nvGrpSpPr>
        <p:grpSpPr>
          <a:xfrm>
            <a:off x="4984248" y="2849814"/>
            <a:ext cx="2214737" cy="1656019"/>
            <a:chOff x="4993014" y="3164114"/>
            <a:chExt cx="2304000" cy="1529012"/>
          </a:xfrm>
        </p:grpSpPr>
        <p:sp>
          <p:nvSpPr>
            <p:cNvPr id="121" name="Rectangle 122">
              <a:extLst>
                <a:ext uri="{FF2B5EF4-FFF2-40B4-BE49-F238E27FC236}">
                  <a16:creationId xmlns:a16="http://schemas.microsoft.com/office/drawing/2014/main" id="{96A2F4A6-D918-4DB2-9091-F92B30B46D65}"/>
                </a:ext>
              </a:extLst>
            </p:cNvPr>
            <p:cNvSpPr>
              <a:spLocks noChangeArrowheads="1"/>
            </p:cNvSpPr>
            <p:nvPr/>
          </p:nvSpPr>
          <p:spPr bwMode="auto">
            <a:xfrm>
              <a:off x="4993014" y="3605554"/>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22" name="Rectangle 123">
              <a:extLst>
                <a:ext uri="{FF2B5EF4-FFF2-40B4-BE49-F238E27FC236}">
                  <a16:creationId xmlns:a16="http://schemas.microsoft.com/office/drawing/2014/main" id="{2E357912-9350-46AE-9991-DADAE3EA0904}"/>
                </a:ext>
              </a:extLst>
            </p:cNvPr>
            <p:cNvSpPr>
              <a:spLocks noChangeArrowheads="1"/>
            </p:cNvSpPr>
            <p:nvPr/>
          </p:nvSpPr>
          <p:spPr bwMode="auto">
            <a:xfrm>
              <a:off x="4993014" y="4153126"/>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23" name="Rectangle 132">
              <a:extLst>
                <a:ext uri="{FF2B5EF4-FFF2-40B4-BE49-F238E27FC236}">
                  <a16:creationId xmlns:a16="http://schemas.microsoft.com/office/drawing/2014/main" id="{A5F8387A-C971-4F28-A39B-1A24465CF91F}"/>
                </a:ext>
              </a:extLst>
            </p:cNvPr>
            <p:cNvSpPr>
              <a:spLocks noChangeArrowheads="1"/>
            </p:cNvSpPr>
            <p:nvPr/>
          </p:nvSpPr>
          <p:spPr bwMode="auto">
            <a:xfrm>
              <a:off x="4993014" y="3164114"/>
              <a:ext cx="2304000" cy="441441"/>
            </a:xfrm>
            <a:prstGeom prst="rect">
              <a:avLst/>
            </a:prstGeom>
            <a:solidFill>
              <a:schemeClr val="accent1">
                <a:lumMod val="60000"/>
                <a:lumOff val="40000"/>
              </a:schemeClr>
            </a:solidFill>
            <a:ln w="1270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latin typeface="+mj-lt"/>
                </a:rPr>
                <a:t>Option 2</a:t>
              </a:r>
            </a:p>
          </p:txBody>
        </p:sp>
        <p:sp>
          <p:nvSpPr>
            <p:cNvPr id="186" name="Oval 140">
              <a:extLst>
                <a:ext uri="{FF2B5EF4-FFF2-40B4-BE49-F238E27FC236}">
                  <a16:creationId xmlns:a16="http://schemas.microsoft.com/office/drawing/2014/main" id="{B9F7E287-B483-4A81-BA29-F34A9386C702}"/>
                </a:ext>
              </a:extLst>
            </p:cNvPr>
            <p:cNvSpPr>
              <a:spLocks noChangeArrowheads="1"/>
            </p:cNvSpPr>
            <p:nvPr/>
          </p:nvSpPr>
          <p:spPr bwMode="auto">
            <a:xfrm>
              <a:off x="5230455" y="3743428"/>
              <a:ext cx="251376" cy="247129"/>
            </a:xfrm>
            <a:prstGeom prst="ellipse">
              <a:avLst/>
            </a:prstGeom>
            <a:solidFill>
              <a:srgbClr val="FFFFFF"/>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87" name="Arc 141">
              <a:extLst>
                <a:ext uri="{FF2B5EF4-FFF2-40B4-BE49-F238E27FC236}">
                  <a16:creationId xmlns:a16="http://schemas.microsoft.com/office/drawing/2014/main" id="{6B27C89F-5307-4EEC-8CFD-205BDD6FD067}"/>
                </a:ext>
              </a:extLst>
            </p:cNvPr>
            <p:cNvSpPr>
              <a:spLocks/>
            </p:cNvSpPr>
            <p:nvPr/>
          </p:nvSpPr>
          <p:spPr bwMode="auto">
            <a:xfrm>
              <a:off x="5231658" y="3743428"/>
              <a:ext cx="250173" cy="248311"/>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6"/>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201" name="Oval 155">
              <a:extLst>
                <a:ext uri="{FF2B5EF4-FFF2-40B4-BE49-F238E27FC236}">
                  <a16:creationId xmlns:a16="http://schemas.microsoft.com/office/drawing/2014/main" id="{CA55CDF1-83AF-44D6-B3DD-3E48AA70572C}"/>
                </a:ext>
              </a:extLst>
            </p:cNvPr>
            <p:cNvSpPr>
              <a:spLocks noChangeArrowheads="1"/>
            </p:cNvSpPr>
            <p:nvPr/>
          </p:nvSpPr>
          <p:spPr bwMode="auto">
            <a:xfrm>
              <a:off x="5230455" y="4281815"/>
              <a:ext cx="251376" cy="248311"/>
            </a:xfrm>
            <a:prstGeom prst="ellipse">
              <a:avLst/>
            </a:prstGeom>
            <a:solidFill>
              <a:srgbClr val="FFFFFF"/>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202" name="Arc 156">
              <a:extLst>
                <a:ext uri="{FF2B5EF4-FFF2-40B4-BE49-F238E27FC236}">
                  <a16:creationId xmlns:a16="http://schemas.microsoft.com/office/drawing/2014/main" id="{F46013A7-6980-483F-81B1-AD0F0C284934}"/>
                </a:ext>
              </a:extLst>
            </p:cNvPr>
            <p:cNvSpPr>
              <a:spLocks/>
            </p:cNvSpPr>
            <p:nvPr/>
          </p:nvSpPr>
          <p:spPr bwMode="auto">
            <a:xfrm>
              <a:off x="5356744" y="4281815"/>
              <a:ext cx="125087" cy="12475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6"/>
            </a:solidFill>
            <a:ln w="12700">
              <a:solidFill>
                <a:schemeClr val="folHlink"/>
              </a:solidFill>
              <a:round/>
              <a:headEnd type="none" w="sm" len="sm"/>
              <a:tailEnd type="none" w="sm" len="sm"/>
            </a:ln>
            <a:effectLst/>
          </p:spPr>
          <p:txBody>
            <a:bodyPr wrap="none" lIns="72000" tIns="72000" rIns="72000" bIns="72000" anchor="ctr"/>
            <a:lstStyle/>
            <a:p>
              <a:endParaRPr lang="de-DE" dirty="0"/>
            </a:p>
          </p:txBody>
        </p:sp>
      </p:grpSp>
      <p:grpSp>
        <p:nvGrpSpPr>
          <p:cNvPr id="24" name="Group 23" descr="Option 3">
            <a:extLst>
              <a:ext uri="{FF2B5EF4-FFF2-40B4-BE49-F238E27FC236}">
                <a16:creationId xmlns:a16="http://schemas.microsoft.com/office/drawing/2014/main" id="{F99581A3-7F41-4EA4-82B3-53CFE185479C}"/>
              </a:ext>
            </a:extLst>
          </p:cNvPr>
          <p:cNvGrpSpPr/>
          <p:nvPr/>
        </p:nvGrpSpPr>
        <p:grpSpPr>
          <a:xfrm>
            <a:off x="7285872" y="2849814"/>
            <a:ext cx="2214737" cy="1656019"/>
            <a:chOff x="7294638" y="3164114"/>
            <a:chExt cx="2304000" cy="1529012"/>
          </a:xfrm>
        </p:grpSpPr>
        <p:sp>
          <p:nvSpPr>
            <p:cNvPr id="115" name="Rectangle 124">
              <a:extLst>
                <a:ext uri="{FF2B5EF4-FFF2-40B4-BE49-F238E27FC236}">
                  <a16:creationId xmlns:a16="http://schemas.microsoft.com/office/drawing/2014/main" id="{EA44A921-A595-4AC8-B8EE-097B764B6F38}"/>
                </a:ext>
              </a:extLst>
            </p:cNvPr>
            <p:cNvSpPr>
              <a:spLocks noChangeArrowheads="1"/>
            </p:cNvSpPr>
            <p:nvPr/>
          </p:nvSpPr>
          <p:spPr bwMode="auto">
            <a:xfrm>
              <a:off x="7294638" y="3605554"/>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6" name="Rectangle 125">
              <a:extLst>
                <a:ext uri="{FF2B5EF4-FFF2-40B4-BE49-F238E27FC236}">
                  <a16:creationId xmlns:a16="http://schemas.microsoft.com/office/drawing/2014/main" id="{1F311E0F-F37E-4A57-9EB9-D88089D01C41}"/>
                </a:ext>
              </a:extLst>
            </p:cNvPr>
            <p:cNvSpPr>
              <a:spLocks noChangeArrowheads="1"/>
            </p:cNvSpPr>
            <p:nvPr/>
          </p:nvSpPr>
          <p:spPr bwMode="auto">
            <a:xfrm>
              <a:off x="7294638" y="4153126"/>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7" name="Rectangle 131">
              <a:extLst>
                <a:ext uri="{FF2B5EF4-FFF2-40B4-BE49-F238E27FC236}">
                  <a16:creationId xmlns:a16="http://schemas.microsoft.com/office/drawing/2014/main" id="{E54896B0-D8FC-4D72-808F-2BAD0DE3ABFE}"/>
                </a:ext>
              </a:extLst>
            </p:cNvPr>
            <p:cNvSpPr>
              <a:spLocks noChangeArrowheads="1"/>
            </p:cNvSpPr>
            <p:nvPr/>
          </p:nvSpPr>
          <p:spPr bwMode="auto">
            <a:xfrm>
              <a:off x="7294638" y="3164114"/>
              <a:ext cx="2304000" cy="441441"/>
            </a:xfrm>
            <a:prstGeom prst="rect">
              <a:avLst/>
            </a:prstGeom>
            <a:solidFill>
              <a:schemeClr val="accent1">
                <a:lumMod val="40000"/>
                <a:lumOff val="60000"/>
              </a:schemeClr>
            </a:solidFill>
            <a:ln w="1270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latin typeface="+mj-lt"/>
                </a:rPr>
                <a:t>Option 3</a:t>
              </a:r>
            </a:p>
          </p:txBody>
        </p:sp>
        <p:grpSp>
          <p:nvGrpSpPr>
            <p:cNvPr id="194" name="Group 148">
              <a:extLst>
                <a:ext uri="{FF2B5EF4-FFF2-40B4-BE49-F238E27FC236}">
                  <a16:creationId xmlns:a16="http://schemas.microsoft.com/office/drawing/2014/main" id="{FE465BB3-3976-4FB8-9F75-C71207ABA277}"/>
                </a:ext>
              </a:extLst>
            </p:cNvPr>
            <p:cNvGrpSpPr>
              <a:grpSpLocks/>
            </p:cNvGrpSpPr>
            <p:nvPr/>
          </p:nvGrpSpPr>
          <p:grpSpPr bwMode="auto">
            <a:xfrm>
              <a:off x="7531478" y="3738830"/>
              <a:ext cx="251376" cy="248311"/>
              <a:chOff x="3500" y="1580"/>
              <a:chExt cx="209" cy="210"/>
            </a:xfrm>
          </p:grpSpPr>
          <p:sp>
            <p:nvSpPr>
              <p:cNvPr id="195" name="Oval 149">
                <a:extLst>
                  <a:ext uri="{FF2B5EF4-FFF2-40B4-BE49-F238E27FC236}">
                    <a16:creationId xmlns:a16="http://schemas.microsoft.com/office/drawing/2014/main" id="{5561C27C-30A8-48BA-8354-A6E99F9184B2}"/>
                  </a:ext>
                </a:extLst>
              </p:cNvPr>
              <p:cNvSpPr>
                <a:spLocks noChangeArrowheads="1"/>
              </p:cNvSpPr>
              <p:nvPr/>
            </p:nvSpPr>
            <p:spPr bwMode="auto">
              <a:xfrm>
                <a:off x="3500" y="1580"/>
                <a:ext cx="209" cy="209"/>
              </a:xfrm>
              <a:prstGeom prst="ellipse">
                <a:avLst/>
              </a:prstGeom>
              <a:solidFill>
                <a:srgbClr val="FFFFFF"/>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96" name="Arc 150">
                <a:extLst>
                  <a:ext uri="{FF2B5EF4-FFF2-40B4-BE49-F238E27FC236}">
                    <a16:creationId xmlns:a16="http://schemas.microsoft.com/office/drawing/2014/main" id="{2053CF27-EE55-4CF4-A78A-8898AF627387}"/>
                  </a:ext>
                </a:extLst>
              </p:cNvPr>
              <p:cNvSpPr>
                <a:spLocks/>
              </p:cNvSpPr>
              <p:nvPr/>
            </p:nvSpPr>
            <p:spPr bwMode="auto">
              <a:xfrm>
                <a:off x="3605" y="1580"/>
                <a:ext cx="104" cy="21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6"/>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grpSp>
        <p:grpSp>
          <p:nvGrpSpPr>
            <p:cNvPr id="197" name="Group 151">
              <a:extLst>
                <a:ext uri="{FF2B5EF4-FFF2-40B4-BE49-F238E27FC236}">
                  <a16:creationId xmlns:a16="http://schemas.microsoft.com/office/drawing/2014/main" id="{CA986233-520C-45C5-9FC9-3544F6C95DDE}"/>
                </a:ext>
              </a:extLst>
            </p:cNvPr>
            <p:cNvGrpSpPr>
              <a:grpSpLocks/>
            </p:cNvGrpSpPr>
            <p:nvPr/>
          </p:nvGrpSpPr>
          <p:grpSpPr bwMode="auto">
            <a:xfrm>
              <a:off x="7531478" y="4278749"/>
              <a:ext cx="251376" cy="248311"/>
              <a:chOff x="3500" y="1868"/>
              <a:chExt cx="209" cy="210"/>
            </a:xfrm>
          </p:grpSpPr>
          <p:sp>
            <p:nvSpPr>
              <p:cNvPr id="198" name="Oval 152">
                <a:extLst>
                  <a:ext uri="{FF2B5EF4-FFF2-40B4-BE49-F238E27FC236}">
                    <a16:creationId xmlns:a16="http://schemas.microsoft.com/office/drawing/2014/main" id="{D4A35A4D-2D67-498F-AFEA-541AF5F14411}"/>
                  </a:ext>
                </a:extLst>
              </p:cNvPr>
              <p:cNvSpPr>
                <a:spLocks noChangeArrowheads="1"/>
              </p:cNvSpPr>
              <p:nvPr/>
            </p:nvSpPr>
            <p:spPr bwMode="auto">
              <a:xfrm>
                <a:off x="3500" y="1868"/>
                <a:ext cx="209" cy="209"/>
              </a:xfrm>
              <a:prstGeom prst="ellipse">
                <a:avLst/>
              </a:prstGeom>
              <a:solidFill>
                <a:srgbClr val="FFFFFF"/>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99" name="Arc 153">
                <a:extLst>
                  <a:ext uri="{FF2B5EF4-FFF2-40B4-BE49-F238E27FC236}">
                    <a16:creationId xmlns:a16="http://schemas.microsoft.com/office/drawing/2014/main" id="{6CE6B81E-FB75-42DF-8D05-10A5F51E8700}"/>
                  </a:ext>
                </a:extLst>
              </p:cNvPr>
              <p:cNvSpPr>
                <a:spLocks/>
              </p:cNvSpPr>
              <p:nvPr/>
            </p:nvSpPr>
            <p:spPr bwMode="auto">
              <a:xfrm>
                <a:off x="3501" y="1868"/>
                <a:ext cx="208" cy="210"/>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rgbClr val="000000"/>
              </a:solidFill>
              <a:ln w="12700">
                <a:solidFill>
                  <a:schemeClr val="folHlink"/>
                </a:solidFill>
                <a:round/>
                <a:headEnd type="none" w="sm" len="sm"/>
                <a:tailEnd type="none" w="sm" len="sm"/>
              </a:ln>
              <a:effectLst/>
            </p:spPr>
            <p:txBody>
              <a:bodyPr wrap="none" lIns="72000" tIns="72000" rIns="72000" bIns="72000" anchor="ctr"/>
              <a:lstStyle/>
              <a:p>
                <a:endParaRPr lang="de-DE" dirty="0"/>
              </a:p>
            </p:txBody>
          </p:sp>
        </p:grpSp>
      </p:grpSp>
      <p:grpSp>
        <p:nvGrpSpPr>
          <p:cNvPr id="25" name="Group 24" descr="Option 4">
            <a:extLst>
              <a:ext uri="{FF2B5EF4-FFF2-40B4-BE49-F238E27FC236}">
                <a16:creationId xmlns:a16="http://schemas.microsoft.com/office/drawing/2014/main" id="{17AE01AA-D0E8-497D-AEB4-BC639DA72DEE}"/>
              </a:ext>
            </a:extLst>
          </p:cNvPr>
          <p:cNvGrpSpPr/>
          <p:nvPr/>
        </p:nvGrpSpPr>
        <p:grpSpPr>
          <a:xfrm>
            <a:off x="9587497" y="2849814"/>
            <a:ext cx="2214737" cy="1656019"/>
            <a:chOff x="9596263" y="3164114"/>
            <a:chExt cx="2304000" cy="1529012"/>
          </a:xfrm>
        </p:grpSpPr>
        <p:sp>
          <p:nvSpPr>
            <p:cNvPr id="109" name="Rectangle 126">
              <a:extLst>
                <a:ext uri="{FF2B5EF4-FFF2-40B4-BE49-F238E27FC236}">
                  <a16:creationId xmlns:a16="http://schemas.microsoft.com/office/drawing/2014/main" id="{1C2F1960-1A16-47B3-B60F-54F29B01F8F0}"/>
                </a:ext>
              </a:extLst>
            </p:cNvPr>
            <p:cNvSpPr>
              <a:spLocks noChangeArrowheads="1"/>
            </p:cNvSpPr>
            <p:nvPr/>
          </p:nvSpPr>
          <p:spPr bwMode="auto">
            <a:xfrm>
              <a:off x="9596263" y="3605554"/>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0" name="Rectangle 127">
              <a:extLst>
                <a:ext uri="{FF2B5EF4-FFF2-40B4-BE49-F238E27FC236}">
                  <a16:creationId xmlns:a16="http://schemas.microsoft.com/office/drawing/2014/main" id="{CBD0AFBE-9758-471C-B31F-27F11F5F23E4}"/>
                </a:ext>
              </a:extLst>
            </p:cNvPr>
            <p:cNvSpPr>
              <a:spLocks noChangeArrowheads="1"/>
            </p:cNvSpPr>
            <p:nvPr/>
          </p:nvSpPr>
          <p:spPr bwMode="auto">
            <a:xfrm>
              <a:off x="9596263" y="4153126"/>
              <a:ext cx="2304000" cy="540000"/>
            </a:xfrm>
            <a:prstGeom prst="rect">
              <a:avLst/>
            </a:prstGeom>
            <a:solidFill>
              <a:srgbClr val="E4E7E7"/>
            </a:solidFill>
            <a:ln w="1270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1" name="Rectangle 130">
              <a:extLst>
                <a:ext uri="{FF2B5EF4-FFF2-40B4-BE49-F238E27FC236}">
                  <a16:creationId xmlns:a16="http://schemas.microsoft.com/office/drawing/2014/main" id="{E719509B-8C28-4217-A14B-6B31DF1C2EC4}"/>
                </a:ext>
              </a:extLst>
            </p:cNvPr>
            <p:cNvSpPr>
              <a:spLocks noChangeArrowheads="1"/>
            </p:cNvSpPr>
            <p:nvPr/>
          </p:nvSpPr>
          <p:spPr bwMode="auto">
            <a:xfrm>
              <a:off x="9596263" y="3164114"/>
              <a:ext cx="2304000" cy="441441"/>
            </a:xfrm>
            <a:prstGeom prst="rect">
              <a:avLst/>
            </a:prstGeom>
            <a:solidFill>
              <a:schemeClr val="accent1">
                <a:lumMod val="20000"/>
                <a:lumOff val="80000"/>
              </a:schemeClr>
            </a:solidFill>
            <a:ln w="1270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latin typeface="+mj-lt"/>
                </a:rPr>
                <a:t>Option 4</a:t>
              </a:r>
            </a:p>
          </p:txBody>
        </p:sp>
        <p:grpSp>
          <p:nvGrpSpPr>
            <p:cNvPr id="188" name="Group 142">
              <a:extLst>
                <a:ext uri="{FF2B5EF4-FFF2-40B4-BE49-F238E27FC236}">
                  <a16:creationId xmlns:a16="http://schemas.microsoft.com/office/drawing/2014/main" id="{64C5C4EF-E413-4323-B754-0A2DE5A78C64}"/>
                </a:ext>
              </a:extLst>
            </p:cNvPr>
            <p:cNvGrpSpPr>
              <a:grpSpLocks/>
            </p:cNvGrpSpPr>
            <p:nvPr/>
          </p:nvGrpSpPr>
          <p:grpSpPr bwMode="auto">
            <a:xfrm>
              <a:off x="9849667" y="3744961"/>
              <a:ext cx="251376" cy="248311"/>
              <a:chOff x="4556" y="1584"/>
              <a:chExt cx="209" cy="210"/>
            </a:xfrm>
          </p:grpSpPr>
          <p:sp>
            <p:nvSpPr>
              <p:cNvPr id="189" name="Oval 143">
                <a:extLst>
                  <a:ext uri="{FF2B5EF4-FFF2-40B4-BE49-F238E27FC236}">
                    <a16:creationId xmlns:a16="http://schemas.microsoft.com/office/drawing/2014/main" id="{757F597F-1A19-4D83-A082-ED14C6905050}"/>
                  </a:ext>
                </a:extLst>
              </p:cNvPr>
              <p:cNvSpPr>
                <a:spLocks noChangeArrowheads="1"/>
              </p:cNvSpPr>
              <p:nvPr/>
            </p:nvSpPr>
            <p:spPr bwMode="auto">
              <a:xfrm>
                <a:off x="4556" y="1584"/>
                <a:ext cx="209" cy="209"/>
              </a:xfrm>
              <a:prstGeom prst="ellipse">
                <a:avLst/>
              </a:prstGeom>
              <a:solidFill>
                <a:srgbClr val="FFFFFF"/>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90" name="Arc 144">
                <a:extLst>
                  <a:ext uri="{FF2B5EF4-FFF2-40B4-BE49-F238E27FC236}">
                    <a16:creationId xmlns:a16="http://schemas.microsoft.com/office/drawing/2014/main" id="{DD1EFF6A-7674-4E18-AA59-FE0CA905F202}"/>
                  </a:ext>
                </a:extLst>
              </p:cNvPr>
              <p:cNvSpPr>
                <a:spLocks/>
              </p:cNvSpPr>
              <p:nvPr/>
            </p:nvSpPr>
            <p:spPr bwMode="auto">
              <a:xfrm>
                <a:off x="4557" y="1584"/>
                <a:ext cx="208" cy="21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6"/>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grpSp>
        <p:grpSp>
          <p:nvGrpSpPr>
            <p:cNvPr id="203" name="Group 157">
              <a:extLst>
                <a:ext uri="{FF2B5EF4-FFF2-40B4-BE49-F238E27FC236}">
                  <a16:creationId xmlns:a16="http://schemas.microsoft.com/office/drawing/2014/main" id="{736861FD-E776-4191-8BE5-D843E2328014}"/>
                </a:ext>
              </a:extLst>
            </p:cNvPr>
            <p:cNvGrpSpPr>
              <a:grpSpLocks/>
            </p:cNvGrpSpPr>
            <p:nvPr/>
          </p:nvGrpSpPr>
          <p:grpSpPr bwMode="auto">
            <a:xfrm>
              <a:off x="9849667" y="4283347"/>
              <a:ext cx="251376" cy="248311"/>
              <a:chOff x="4556" y="1872"/>
              <a:chExt cx="209" cy="209"/>
            </a:xfrm>
          </p:grpSpPr>
          <p:sp>
            <p:nvSpPr>
              <p:cNvPr id="204" name="Oval 158">
                <a:extLst>
                  <a:ext uri="{FF2B5EF4-FFF2-40B4-BE49-F238E27FC236}">
                    <a16:creationId xmlns:a16="http://schemas.microsoft.com/office/drawing/2014/main" id="{9D932998-08A7-4BE1-933B-4CF796C6BF11}"/>
                  </a:ext>
                </a:extLst>
              </p:cNvPr>
              <p:cNvSpPr>
                <a:spLocks noChangeArrowheads="1"/>
              </p:cNvSpPr>
              <p:nvPr/>
            </p:nvSpPr>
            <p:spPr bwMode="auto">
              <a:xfrm>
                <a:off x="4556" y="1872"/>
                <a:ext cx="209" cy="209"/>
              </a:xfrm>
              <a:prstGeom prst="ellipse">
                <a:avLst/>
              </a:prstGeom>
              <a:solidFill>
                <a:srgbClr val="FFFFFF"/>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205" name="Arc 159">
                <a:extLst>
                  <a:ext uri="{FF2B5EF4-FFF2-40B4-BE49-F238E27FC236}">
                    <a16:creationId xmlns:a16="http://schemas.microsoft.com/office/drawing/2014/main" id="{D534997A-82E5-4DDF-B905-3BB7DF1A4E14}"/>
                  </a:ext>
                </a:extLst>
              </p:cNvPr>
              <p:cNvSpPr>
                <a:spLocks/>
              </p:cNvSpPr>
              <p:nvPr/>
            </p:nvSpPr>
            <p:spPr bwMode="auto">
              <a:xfrm>
                <a:off x="4661" y="1872"/>
                <a:ext cx="104" cy="105"/>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6"/>
              </a:solidFill>
              <a:ln w="12700">
                <a:solidFill>
                  <a:schemeClr val="accent6"/>
                </a:solidFill>
                <a:round/>
                <a:headEnd type="none" w="sm" len="sm"/>
                <a:tailEnd type="none" w="sm" len="sm"/>
              </a:ln>
              <a:effectLst/>
            </p:spPr>
            <p:txBody>
              <a:bodyPr wrap="none" lIns="72000" tIns="72000" rIns="72000" bIns="72000" anchor="ctr"/>
              <a:lstStyle/>
              <a:p>
                <a:endParaRPr lang="de-DE" dirty="0"/>
              </a:p>
            </p:txBody>
          </p:sp>
        </p:grpSp>
      </p:grpSp>
      <p:grpSp>
        <p:nvGrpSpPr>
          <p:cNvPr id="26" name="Group 25" descr="Excellent">
            <a:extLst>
              <a:ext uri="{FF2B5EF4-FFF2-40B4-BE49-F238E27FC236}">
                <a16:creationId xmlns:a16="http://schemas.microsoft.com/office/drawing/2014/main" id="{AFBB927F-8620-44D0-B36D-2F3DB2D42E42}"/>
              </a:ext>
            </a:extLst>
          </p:cNvPr>
          <p:cNvGrpSpPr/>
          <p:nvPr/>
        </p:nvGrpSpPr>
        <p:grpSpPr>
          <a:xfrm>
            <a:off x="443582" y="4743263"/>
            <a:ext cx="597207" cy="875592"/>
            <a:chOff x="406810" y="4900080"/>
            <a:chExt cx="597207" cy="875592"/>
          </a:xfrm>
        </p:grpSpPr>
        <p:sp>
          <p:nvSpPr>
            <p:cNvPr id="137" name="Rectangle 6">
              <a:extLst>
                <a:ext uri="{FF2B5EF4-FFF2-40B4-BE49-F238E27FC236}">
                  <a16:creationId xmlns:a16="http://schemas.microsoft.com/office/drawing/2014/main" id="{19CA594C-CE1D-4332-9CFD-4CCFF72AC73C}"/>
                </a:ext>
              </a:extLst>
            </p:cNvPr>
            <p:cNvSpPr>
              <a:spLocks noChangeAspect="1" noChangeArrowheads="1"/>
            </p:cNvSpPr>
            <p:nvPr/>
          </p:nvSpPr>
          <p:spPr bwMode="auto">
            <a:xfrm>
              <a:off x="406810" y="4900080"/>
              <a:ext cx="557845" cy="153888"/>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000" u="sng" dirty="0">
                  <a:solidFill>
                    <a:schemeClr val="tx1"/>
                  </a:solidFill>
                </a:rPr>
                <a:t>Excellent</a:t>
              </a:r>
            </a:p>
          </p:txBody>
        </p:sp>
        <p:sp>
          <p:nvSpPr>
            <p:cNvPr id="139" name="Rectangle 23">
              <a:extLst>
                <a:ext uri="{FF2B5EF4-FFF2-40B4-BE49-F238E27FC236}">
                  <a16:creationId xmlns:a16="http://schemas.microsoft.com/office/drawing/2014/main" id="{EEEF3F4D-5426-47B9-B75D-B7440BCDC2A8}"/>
                </a:ext>
              </a:extLst>
            </p:cNvPr>
            <p:cNvSpPr>
              <a:spLocks noChangeAspect="1" noChangeArrowheads="1"/>
            </p:cNvSpPr>
            <p:nvPr/>
          </p:nvSpPr>
          <p:spPr bwMode="auto">
            <a:xfrm>
              <a:off x="420524" y="5621784"/>
              <a:ext cx="583493" cy="153888"/>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000" u="sng" dirty="0">
                  <a:solidFill>
                    <a:schemeClr val="tx1"/>
                  </a:solidFill>
                </a:rPr>
                <a:t>Very high</a:t>
              </a:r>
            </a:p>
          </p:txBody>
        </p:sp>
        <p:grpSp>
          <p:nvGrpSpPr>
            <p:cNvPr id="209" name="Group 151">
              <a:extLst>
                <a:ext uri="{FF2B5EF4-FFF2-40B4-BE49-F238E27FC236}">
                  <a16:creationId xmlns:a16="http://schemas.microsoft.com/office/drawing/2014/main" id="{C821ECE8-88BD-204D-84BF-B9577284E2F0}"/>
                </a:ext>
              </a:extLst>
            </p:cNvPr>
            <p:cNvGrpSpPr>
              <a:grpSpLocks/>
            </p:cNvGrpSpPr>
            <p:nvPr/>
          </p:nvGrpSpPr>
          <p:grpSpPr bwMode="auto">
            <a:xfrm>
              <a:off x="568336" y="5218914"/>
              <a:ext cx="251376" cy="248311"/>
              <a:chOff x="3500" y="1868"/>
              <a:chExt cx="209" cy="210"/>
            </a:xfrm>
            <a:solidFill>
              <a:schemeClr val="accent6"/>
            </a:solidFill>
          </p:grpSpPr>
          <p:sp>
            <p:nvSpPr>
              <p:cNvPr id="210" name="Oval 152">
                <a:extLst>
                  <a:ext uri="{FF2B5EF4-FFF2-40B4-BE49-F238E27FC236}">
                    <a16:creationId xmlns:a16="http://schemas.microsoft.com/office/drawing/2014/main" id="{F61DDB11-2BA8-3D44-8F39-19B6CDD100F4}"/>
                  </a:ext>
                </a:extLst>
              </p:cNvPr>
              <p:cNvSpPr>
                <a:spLocks noChangeArrowheads="1"/>
              </p:cNvSpPr>
              <p:nvPr/>
            </p:nvSpPr>
            <p:spPr bwMode="auto">
              <a:xfrm>
                <a:off x="3500" y="1868"/>
                <a:ext cx="209" cy="209"/>
              </a:xfrm>
              <a:prstGeom prst="ellipse">
                <a:avLst/>
              </a:prstGeom>
              <a:grpFill/>
              <a:ln w="635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211" name="Arc 153">
                <a:extLst>
                  <a:ext uri="{FF2B5EF4-FFF2-40B4-BE49-F238E27FC236}">
                    <a16:creationId xmlns:a16="http://schemas.microsoft.com/office/drawing/2014/main" id="{2B892D3B-43E3-4743-89A5-0F658AEA28B4}"/>
                  </a:ext>
                </a:extLst>
              </p:cNvPr>
              <p:cNvSpPr>
                <a:spLocks/>
              </p:cNvSpPr>
              <p:nvPr/>
            </p:nvSpPr>
            <p:spPr bwMode="auto">
              <a:xfrm>
                <a:off x="3501" y="1868"/>
                <a:ext cx="208" cy="210"/>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grpFill/>
              <a:ln w="6350">
                <a:solidFill>
                  <a:schemeClr val="folHlink"/>
                </a:solidFill>
                <a:round/>
                <a:headEnd type="none" w="sm" len="sm"/>
                <a:tailEnd type="none" w="sm" len="sm"/>
              </a:ln>
              <a:effectLst/>
            </p:spPr>
            <p:txBody>
              <a:bodyPr wrap="none" lIns="72000" tIns="72000" rIns="72000" bIns="72000" anchor="ctr"/>
              <a:lstStyle/>
              <a:p>
                <a:endParaRPr lang="de-DE" dirty="0"/>
              </a:p>
            </p:txBody>
          </p:sp>
        </p:grpSp>
      </p:grpSp>
      <p:grpSp>
        <p:nvGrpSpPr>
          <p:cNvPr id="27" name="Group 26" descr="Good">
            <a:extLst>
              <a:ext uri="{FF2B5EF4-FFF2-40B4-BE49-F238E27FC236}">
                <a16:creationId xmlns:a16="http://schemas.microsoft.com/office/drawing/2014/main" id="{AE100EDC-DEBF-41BA-BCEC-D18618B9EF92}"/>
              </a:ext>
            </a:extLst>
          </p:cNvPr>
          <p:cNvGrpSpPr/>
          <p:nvPr/>
        </p:nvGrpSpPr>
        <p:grpSpPr>
          <a:xfrm>
            <a:off x="1393400" y="4743263"/>
            <a:ext cx="338234" cy="875592"/>
            <a:chOff x="1356628" y="4900080"/>
            <a:chExt cx="338234" cy="875592"/>
          </a:xfrm>
        </p:grpSpPr>
        <p:sp>
          <p:nvSpPr>
            <p:cNvPr id="140" name="Rectangle 11">
              <a:extLst>
                <a:ext uri="{FF2B5EF4-FFF2-40B4-BE49-F238E27FC236}">
                  <a16:creationId xmlns:a16="http://schemas.microsoft.com/office/drawing/2014/main" id="{3CF7DF2A-6E9A-44C0-AB09-A083C14C0D27}"/>
                </a:ext>
              </a:extLst>
            </p:cNvPr>
            <p:cNvSpPr>
              <a:spLocks noChangeAspect="1" noChangeArrowheads="1"/>
            </p:cNvSpPr>
            <p:nvPr/>
          </p:nvSpPr>
          <p:spPr bwMode="auto">
            <a:xfrm>
              <a:off x="1356628" y="4900080"/>
              <a:ext cx="338234" cy="153888"/>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000" u="sng" dirty="0">
                  <a:solidFill>
                    <a:schemeClr val="tx1"/>
                  </a:solidFill>
                </a:rPr>
                <a:t>Good</a:t>
              </a:r>
            </a:p>
          </p:txBody>
        </p:sp>
        <p:sp>
          <p:nvSpPr>
            <p:cNvPr id="142" name="Rectangle 28">
              <a:extLst>
                <a:ext uri="{FF2B5EF4-FFF2-40B4-BE49-F238E27FC236}">
                  <a16:creationId xmlns:a16="http://schemas.microsoft.com/office/drawing/2014/main" id="{EFA6DA67-1542-43BC-A22A-1862C98C4762}"/>
                </a:ext>
              </a:extLst>
            </p:cNvPr>
            <p:cNvSpPr>
              <a:spLocks noChangeAspect="1" noChangeArrowheads="1"/>
            </p:cNvSpPr>
            <p:nvPr/>
          </p:nvSpPr>
          <p:spPr bwMode="auto">
            <a:xfrm>
              <a:off x="1380673" y="5621784"/>
              <a:ext cx="288541" cy="153888"/>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000" u="sng" dirty="0">
                  <a:solidFill>
                    <a:schemeClr val="tx1"/>
                  </a:solidFill>
                </a:rPr>
                <a:t>High</a:t>
              </a:r>
            </a:p>
          </p:txBody>
        </p:sp>
        <p:grpSp>
          <p:nvGrpSpPr>
            <p:cNvPr id="212" name="Group 136">
              <a:extLst>
                <a:ext uri="{FF2B5EF4-FFF2-40B4-BE49-F238E27FC236}">
                  <a16:creationId xmlns:a16="http://schemas.microsoft.com/office/drawing/2014/main" id="{3B2AB5A7-5D4B-6042-9B83-E5B1272B6E96}"/>
                </a:ext>
              </a:extLst>
            </p:cNvPr>
            <p:cNvGrpSpPr>
              <a:grpSpLocks/>
            </p:cNvGrpSpPr>
            <p:nvPr/>
          </p:nvGrpSpPr>
          <p:grpSpPr bwMode="auto">
            <a:xfrm>
              <a:off x="1386435" y="5218914"/>
              <a:ext cx="252909" cy="248311"/>
              <a:chOff x="1387" y="1872"/>
              <a:chExt cx="209" cy="210"/>
            </a:xfrm>
          </p:grpSpPr>
          <p:sp>
            <p:nvSpPr>
              <p:cNvPr id="213" name="Oval 137">
                <a:extLst>
                  <a:ext uri="{FF2B5EF4-FFF2-40B4-BE49-F238E27FC236}">
                    <a16:creationId xmlns:a16="http://schemas.microsoft.com/office/drawing/2014/main" id="{127E031E-EDB8-354A-81FA-30710A312DE7}"/>
                  </a:ext>
                </a:extLst>
              </p:cNvPr>
              <p:cNvSpPr>
                <a:spLocks noChangeArrowheads="1"/>
              </p:cNvSpPr>
              <p:nvPr/>
            </p:nvSpPr>
            <p:spPr bwMode="auto">
              <a:xfrm>
                <a:off x="1387" y="1872"/>
                <a:ext cx="209" cy="209"/>
              </a:xfrm>
              <a:prstGeom prst="ellipse">
                <a:avLst/>
              </a:prstGeom>
              <a:solidFill>
                <a:srgbClr val="FFFFFF"/>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214" name="Arc 138">
                <a:extLst>
                  <a:ext uri="{FF2B5EF4-FFF2-40B4-BE49-F238E27FC236}">
                    <a16:creationId xmlns:a16="http://schemas.microsoft.com/office/drawing/2014/main" id="{CADEAFBB-4BA9-AB49-8F40-3A4C4E33E7D0}"/>
                  </a:ext>
                </a:extLst>
              </p:cNvPr>
              <p:cNvSpPr>
                <a:spLocks/>
              </p:cNvSpPr>
              <p:nvPr/>
            </p:nvSpPr>
            <p:spPr bwMode="auto">
              <a:xfrm>
                <a:off x="1388" y="1872"/>
                <a:ext cx="208" cy="21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6"/>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grpSp>
      </p:grpSp>
      <p:grpSp>
        <p:nvGrpSpPr>
          <p:cNvPr id="28" name="Group 27" descr="Satisfactory">
            <a:extLst>
              <a:ext uri="{FF2B5EF4-FFF2-40B4-BE49-F238E27FC236}">
                <a16:creationId xmlns:a16="http://schemas.microsoft.com/office/drawing/2014/main" id="{0B6CA3F8-1869-405D-8860-6EAE479BFD46}"/>
              </a:ext>
            </a:extLst>
          </p:cNvPr>
          <p:cNvGrpSpPr/>
          <p:nvPr/>
        </p:nvGrpSpPr>
        <p:grpSpPr>
          <a:xfrm>
            <a:off x="2077476" y="4743263"/>
            <a:ext cx="730969" cy="875592"/>
            <a:chOff x="2040704" y="4900080"/>
            <a:chExt cx="730969" cy="875592"/>
          </a:xfrm>
        </p:grpSpPr>
        <p:sp>
          <p:nvSpPr>
            <p:cNvPr id="146" name="Rectangle 8">
              <a:extLst>
                <a:ext uri="{FF2B5EF4-FFF2-40B4-BE49-F238E27FC236}">
                  <a16:creationId xmlns:a16="http://schemas.microsoft.com/office/drawing/2014/main" id="{674128CB-0F3F-4CDF-B75C-79BCEE9522F8}"/>
                </a:ext>
              </a:extLst>
            </p:cNvPr>
            <p:cNvSpPr>
              <a:spLocks noChangeAspect="1" noChangeArrowheads="1"/>
            </p:cNvSpPr>
            <p:nvPr/>
          </p:nvSpPr>
          <p:spPr bwMode="auto">
            <a:xfrm>
              <a:off x="2040704" y="4900080"/>
              <a:ext cx="730969" cy="153888"/>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000" u="sng" dirty="0">
                  <a:solidFill>
                    <a:schemeClr val="tx1"/>
                  </a:solidFill>
                </a:rPr>
                <a:t>Satisfactory</a:t>
              </a:r>
            </a:p>
          </p:txBody>
        </p:sp>
        <p:sp>
          <p:nvSpPr>
            <p:cNvPr id="148" name="Rectangle 25">
              <a:extLst>
                <a:ext uri="{FF2B5EF4-FFF2-40B4-BE49-F238E27FC236}">
                  <a16:creationId xmlns:a16="http://schemas.microsoft.com/office/drawing/2014/main" id="{EC2F074A-60AE-4325-A8C6-75D690B8B749}"/>
                </a:ext>
              </a:extLst>
            </p:cNvPr>
            <p:cNvSpPr>
              <a:spLocks noChangeAspect="1" noChangeArrowheads="1"/>
            </p:cNvSpPr>
            <p:nvPr/>
          </p:nvSpPr>
          <p:spPr bwMode="auto">
            <a:xfrm>
              <a:off x="2146502" y="5621784"/>
              <a:ext cx="495328" cy="153888"/>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000" u="sng" dirty="0">
                  <a:solidFill>
                    <a:schemeClr val="tx1"/>
                  </a:solidFill>
                </a:rPr>
                <a:t>Medium</a:t>
              </a:r>
            </a:p>
          </p:txBody>
        </p:sp>
        <p:grpSp>
          <p:nvGrpSpPr>
            <p:cNvPr id="215" name="Group 148">
              <a:extLst>
                <a:ext uri="{FF2B5EF4-FFF2-40B4-BE49-F238E27FC236}">
                  <a16:creationId xmlns:a16="http://schemas.microsoft.com/office/drawing/2014/main" id="{AA8C55DE-CAF3-E94A-9EBA-38BDC9CD3AFF}"/>
                </a:ext>
              </a:extLst>
            </p:cNvPr>
            <p:cNvGrpSpPr>
              <a:grpSpLocks/>
            </p:cNvGrpSpPr>
            <p:nvPr/>
          </p:nvGrpSpPr>
          <p:grpSpPr bwMode="auto">
            <a:xfrm>
              <a:off x="2231089" y="5218914"/>
              <a:ext cx="251376" cy="248311"/>
              <a:chOff x="3500" y="1580"/>
              <a:chExt cx="209" cy="210"/>
            </a:xfrm>
          </p:grpSpPr>
          <p:sp>
            <p:nvSpPr>
              <p:cNvPr id="216" name="Oval 149">
                <a:extLst>
                  <a:ext uri="{FF2B5EF4-FFF2-40B4-BE49-F238E27FC236}">
                    <a16:creationId xmlns:a16="http://schemas.microsoft.com/office/drawing/2014/main" id="{BE14195E-F754-6546-B27F-C9F25DCDBCD7}"/>
                  </a:ext>
                </a:extLst>
              </p:cNvPr>
              <p:cNvSpPr>
                <a:spLocks noChangeArrowheads="1"/>
              </p:cNvSpPr>
              <p:nvPr/>
            </p:nvSpPr>
            <p:spPr bwMode="auto">
              <a:xfrm>
                <a:off x="3500" y="1580"/>
                <a:ext cx="209" cy="209"/>
              </a:xfrm>
              <a:prstGeom prst="ellipse">
                <a:avLst/>
              </a:prstGeom>
              <a:solidFill>
                <a:srgbClr val="FFFFFF"/>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217" name="Arc 150">
                <a:extLst>
                  <a:ext uri="{FF2B5EF4-FFF2-40B4-BE49-F238E27FC236}">
                    <a16:creationId xmlns:a16="http://schemas.microsoft.com/office/drawing/2014/main" id="{FE05A54D-584C-D94F-B636-A3E66F712FAA}"/>
                  </a:ext>
                </a:extLst>
              </p:cNvPr>
              <p:cNvSpPr>
                <a:spLocks/>
              </p:cNvSpPr>
              <p:nvPr/>
            </p:nvSpPr>
            <p:spPr bwMode="auto">
              <a:xfrm>
                <a:off x="3605" y="1580"/>
                <a:ext cx="104" cy="21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6"/>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grpSp>
      </p:grpSp>
      <p:grpSp>
        <p:nvGrpSpPr>
          <p:cNvPr id="29" name="Group 28" descr="Poor">
            <a:extLst>
              <a:ext uri="{FF2B5EF4-FFF2-40B4-BE49-F238E27FC236}">
                <a16:creationId xmlns:a16="http://schemas.microsoft.com/office/drawing/2014/main" id="{7D4038B6-5DC1-401A-ADBA-46AD1C633675}"/>
              </a:ext>
            </a:extLst>
          </p:cNvPr>
          <p:cNvGrpSpPr/>
          <p:nvPr/>
        </p:nvGrpSpPr>
        <p:grpSpPr>
          <a:xfrm>
            <a:off x="3119471" y="4743263"/>
            <a:ext cx="284250" cy="875592"/>
            <a:chOff x="3082699" y="4900080"/>
            <a:chExt cx="284250" cy="875592"/>
          </a:xfrm>
        </p:grpSpPr>
        <p:sp>
          <p:nvSpPr>
            <p:cNvPr id="143" name="Rectangle 9">
              <a:extLst>
                <a:ext uri="{FF2B5EF4-FFF2-40B4-BE49-F238E27FC236}">
                  <a16:creationId xmlns:a16="http://schemas.microsoft.com/office/drawing/2014/main" id="{A7EBF1C8-D3FD-40DA-9D4E-4DE3F9D68525}"/>
                </a:ext>
              </a:extLst>
            </p:cNvPr>
            <p:cNvSpPr>
              <a:spLocks noChangeAspect="1" noChangeArrowheads="1"/>
            </p:cNvSpPr>
            <p:nvPr/>
          </p:nvSpPr>
          <p:spPr bwMode="auto">
            <a:xfrm flipH="1">
              <a:off x="3084820" y="4900080"/>
              <a:ext cx="282129" cy="153888"/>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000" u="sng" dirty="0">
                  <a:solidFill>
                    <a:schemeClr val="tx1"/>
                  </a:solidFill>
                </a:rPr>
                <a:t>Poor</a:t>
              </a:r>
            </a:p>
          </p:txBody>
        </p:sp>
        <p:sp>
          <p:nvSpPr>
            <p:cNvPr id="145" name="Rectangle 26">
              <a:extLst>
                <a:ext uri="{FF2B5EF4-FFF2-40B4-BE49-F238E27FC236}">
                  <a16:creationId xmlns:a16="http://schemas.microsoft.com/office/drawing/2014/main" id="{423DF92F-E5FC-45AB-8A3A-AA65CEEA4EA2}"/>
                </a:ext>
              </a:extLst>
            </p:cNvPr>
            <p:cNvSpPr>
              <a:spLocks noChangeAspect="1" noChangeArrowheads="1"/>
            </p:cNvSpPr>
            <p:nvPr/>
          </p:nvSpPr>
          <p:spPr bwMode="auto">
            <a:xfrm flipH="1">
              <a:off x="3102453" y="5621784"/>
              <a:ext cx="251672" cy="153888"/>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000" u="sng" dirty="0">
                  <a:solidFill>
                    <a:schemeClr val="tx1"/>
                  </a:solidFill>
                </a:rPr>
                <a:t>Low</a:t>
              </a:r>
            </a:p>
          </p:txBody>
        </p:sp>
        <p:grpSp>
          <p:nvGrpSpPr>
            <p:cNvPr id="218" name="Group 154">
              <a:extLst>
                <a:ext uri="{FF2B5EF4-FFF2-40B4-BE49-F238E27FC236}">
                  <a16:creationId xmlns:a16="http://schemas.microsoft.com/office/drawing/2014/main" id="{75D69BA7-A2AB-4043-A958-83E0F8694570}"/>
                </a:ext>
              </a:extLst>
            </p:cNvPr>
            <p:cNvGrpSpPr>
              <a:grpSpLocks/>
            </p:cNvGrpSpPr>
            <p:nvPr/>
          </p:nvGrpSpPr>
          <p:grpSpPr bwMode="auto">
            <a:xfrm>
              <a:off x="3082699" y="5218914"/>
              <a:ext cx="251376" cy="248311"/>
              <a:chOff x="2444" y="1871"/>
              <a:chExt cx="209" cy="209"/>
            </a:xfrm>
          </p:grpSpPr>
          <p:sp>
            <p:nvSpPr>
              <p:cNvPr id="219" name="Oval 155">
                <a:extLst>
                  <a:ext uri="{FF2B5EF4-FFF2-40B4-BE49-F238E27FC236}">
                    <a16:creationId xmlns:a16="http://schemas.microsoft.com/office/drawing/2014/main" id="{AE7364AF-22F7-EA47-A382-4A0907353663}"/>
                  </a:ext>
                </a:extLst>
              </p:cNvPr>
              <p:cNvSpPr>
                <a:spLocks noChangeArrowheads="1"/>
              </p:cNvSpPr>
              <p:nvPr/>
            </p:nvSpPr>
            <p:spPr bwMode="auto">
              <a:xfrm>
                <a:off x="2444" y="1871"/>
                <a:ext cx="209" cy="209"/>
              </a:xfrm>
              <a:prstGeom prst="ellipse">
                <a:avLst/>
              </a:prstGeom>
              <a:solidFill>
                <a:srgbClr val="FFFFFF"/>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220" name="Arc 156">
                <a:extLst>
                  <a:ext uri="{FF2B5EF4-FFF2-40B4-BE49-F238E27FC236}">
                    <a16:creationId xmlns:a16="http://schemas.microsoft.com/office/drawing/2014/main" id="{5E4329C7-821C-0544-854F-036B3AB11DAE}"/>
                  </a:ext>
                </a:extLst>
              </p:cNvPr>
              <p:cNvSpPr>
                <a:spLocks/>
              </p:cNvSpPr>
              <p:nvPr/>
            </p:nvSpPr>
            <p:spPr bwMode="auto">
              <a:xfrm>
                <a:off x="2549" y="1871"/>
                <a:ext cx="104" cy="105"/>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6"/>
              </a:solidFill>
              <a:ln w="6350">
                <a:solidFill>
                  <a:schemeClr val="folHlink"/>
                </a:solidFill>
                <a:round/>
                <a:headEnd type="none" w="sm" len="sm"/>
                <a:tailEnd type="none" w="sm" len="sm"/>
              </a:ln>
              <a:effectLst/>
            </p:spPr>
            <p:txBody>
              <a:bodyPr wrap="none" lIns="72000" tIns="72000" rIns="72000" bIns="72000" anchor="ctr"/>
              <a:lstStyle/>
              <a:p>
                <a:endParaRPr lang="de-DE" dirty="0"/>
              </a:p>
            </p:txBody>
          </p:sp>
        </p:grpSp>
      </p:grpSp>
      <p:grpSp>
        <p:nvGrpSpPr>
          <p:cNvPr id="30" name="Group 29" descr="Very Poor">
            <a:extLst>
              <a:ext uri="{FF2B5EF4-FFF2-40B4-BE49-F238E27FC236}">
                <a16:creationId xmlns:a16="http://schemas.microsoft.com/office/drawing/2014/main" id="{151CB131-583B-4531-BC75-2AC1C412A19C}"/>
              </a:ext>
            </a:extLst>
          </p:cNvPr>
          <p:cNvGrpSpPr/>
          <p:nvPr/>
        </p:nvGrpSpPr>
        <p:grpSpPr>
          <a:xfrm>
            <a:off x="3769664" y="4743263"/>
            <a:ext cx="599523" cy="875592"/>
            <a:chOff x="3732892" y="4900080"/>
            <a:chExt cx="599523" cy="875592"/>
          </a:xfrm>
        </p:grpSpPr>
        <p:sp>
          <p:nvSpPr>
            <p:cNvPr id="150" name="Rectangle 10">
              <a:extLst>
                <a:ext uri="{FF2B5EF4-FFF2-40B4-BE49-F238E27FC236}">
                  <a16:creationId xmlns:a16="http://schemas.microsoft.com/office/drawing/2014/main" id="{B3754EE3-791D-4688-AA7D-736F92D2019B}"/>
                </a:ext>
              </a:extLst>
            </p:cNvPr>
            <p:cNvSpPr>
              <a:spLocks noChangeAspect="1" noChangeArrowheads="1"/>
            </p:cNvSpPr>
            <p:nvPr/>
          </p:nvSpPr>
          <p:spPr bwMode="auto">
            <a:xfrm>
              <a:off x="3732892" y="4900080"/>
              <a:ext cx="599523" cy="153888"/>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000" u="sng" dirty="0">
                  <a:solidFill>
                    <a:schemeClr val="tx1"/>
                  </a:solidFill>
                </a:rPr>
                <a:t>Very poor</a:t>
              </a:r>
            </a:p>
          </p:txBody>
        </p:sp>
        <p:sp>
          <p:nvSpPr>
            <p:cNvPr id="151" name="Rectangle 27">
              <a:extLst>
                <a:ext uri="{FF2B5EF4-FFF2-40B4-BE49-F238E27FC236}">
                  <a16:creationId xmlns:a16="http://schemas.microsoft.com/office/drawing/2014/main" id="{A057E81D-9BBC-445E-8C97-EDEA684B2514}"/>
                </a:ext>
              </a:extLst>
            </p:cNvPr>
            <p:cNvSpPr>
              <a:spLocks noChangeAspect="1" noChangeArrowheads="1"/>
            </p:cNvSpPr>
            <p:nvPr/>
          </p:nvSpPr>
          <p:spPr bwMode="auto">
            <a:xfrm>
              <a:off x="3746518" y="5621784"/>
              <a:ext cx="559449" cy="153888"/>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000" u="sng" dirty="0">
                  <a:solidFill>
                    <a:schemeClr val="tx1"/>
                  </a:solidFill>
                </a:rPr>
                <a:t>Very low </a:t>
              </a:r>
            </a:p>
          </p:txBody>
        </p:sp>
        <p:grpSp>
          <p:nvGrpSpPr>
            <p:cNvPr id="206" name="Group 151">
              <a:extLst>
                <a:ext uri="{FF2B5EF4-FFF2-40B4-BE49-F238E27FC236}">
                  <a16:creationId xmlns:a16="http://schemas.microsoft.com/office/drawing/2014/main" id="{C91572F6-0529-D041-9DCE-E8B9AC17C940}"/>
                </a:ext>
              </a:extLst>
            </p:cNvPr>
            <p:cNvGrpSpPr>
              <a:grpSpLocks/>
            </p:cNvGrpSpPr>
            <p:nvPr/>
          </p:nvGrpSpPr>
          <p:grpSpPr bwMode="auto">
            <a:xfrm>
              <a:off x="3896116" y="5218914"/>
              <a:ext cx="251376" cy="248311"/>
              <a:chOff x="3500" y="1868"/>
              <a:chExt cx="209" cy="210"/>
            </a:xfrm>
          </p:grpSpPr>
          <p:sp>
            <p:nvSpPr>
              <p:cNvPr id="207" name="Oval 152">
                <a:extLst>
                  <a:ext uri="{FF2B5EF4-FFF2-40B4-BE49-F238E27FC236}">
                    <a16:creationId xmlns:a16="http://schemas.microsoft.com/office/drawing/2014/main" id="{3D531D3C-925C-644D-93C0-005E1999FA38}"/>
                  </a:ext>
                </a:extLst>
              </p:cNvPr>
              <p:cNvSpPr>
                <a:spLocks noChangeArrowheads="1"/>
              </p:cNvSpPr>
              <p:nvPr/>
            </p:nvSpPr>
            <p:spPr bwMode="auto">
              <a:xfrm>
                <a:off x="3500" y="1868"/>
                <a:ext cx="209" cy="209"/>
              </a:xfrm>
              <a:prstGeom prst="ellipse">
                <a:avLst/>
              </a:prstGeom>
              <a:solidFill>
                <a:srgbClr val="FFFFFF"/>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208" name="Arc 153">
                <a:extLst>
                  <a:ext uri="{FF2B5EF4-FFF2-40B4-BE49-F238E27FC236}">
                    <a16:creationId xmlns:a16="http://schemas.microsoft.com/office/drawing/2014/main" id="{0962826C-9712-864D-A4CA-3A604EFAC769}"/>
                  </a:ext>
                </a:extLst>
              </p:cNvPr>
              <p:cNvSpPr>
                <a:spLocks/>
              </p:cNvSpPr>
              <p:nvPr/>
            </p:nvSpPr>
            <p:spPr bwMode="auto">
              <a:xfrm>
                <a:off x="3501" y="1868"/>
                <a:ext cx="208" cy="210"/>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rgbClr val="000000"/>
              </a:solidFill>
              <a:ln w="6350">
                <a:solidFill>
                  <a:schemeClr val="folHlink"/>
                </a:solidFill>
                <a:round/>
                <a:headEnd type="none" w="sm" len="sm"/>
                <a:tailEnd type="none" w="sm" len="sm"/>
              </a:ln>
              <a:effectLst/>
            </p:spPr>
            <p:txBody>
              <a:bodyPr wrap="none" lIns="72000" tIns="72000" rIns="72000" bIns="72000" anchor="ctr"/>
              <a:lstStyle/>
              <a:p>
                <a:endParaRPr lang="de-DE" dirty="0"/>
              </a:p>
            </p:txBody>
          </p:sp>
        </p:grpSp>
      </p:grpSp>
      <p:sp>
        <p:nvSpPr>
          <p:cNvPr id="3" name="Footer Placeholder 2">
            <a:extLst>
              <a:ext uri="{FF2B5EF4-FFF2-40B4-BE49-F238E27FC236}">
                <a16:creationId xmlns:a16="http://schemas.microsoft.com/office/drawing/2014/main" id="{BD82A2A2-2082-4A91-9D4A-4E3438C8FD6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06430D7A-3AB0-41DE-848A-9A0AB717C306}"/>
              </a:ext>
            </a:extLst>
          </p:cNvPr>
          <p:cNvSpPr>
            <a:spLocks noGrp="1"/>
          </p:cNvSpPr>
          <p:nvPr>
            <p:ph type="sldNum" sz="quarter" idx="10"/>
          </p:nvPr>
        </p:nvSpPr>
        <p:spPr/>
        <p:txBody>
          <a:bodyPr/>
          <a:lstStyle/>
          <a:p>
            <a:fld id="{1F90F471-3972-4120-B8B3-0237DE626C35}" type="slidenum">
              <a:rPr lang="en-US" smtClean="0"/>
              <a:pPr/>
              <a:t>412</a:t>
            </a:fld>
            <a:endParaRPr lang="en-US" dirty="0"/>
          </a:p>
        </p:txBody>
      </p:sp>
    </p:spTree>
    <p:extLst>
      <p:ext uri="{BB962C8B-B14F-4D97-AF65-F5344CB8AC3E}">
        <p14:creationId xmlns:p14="http://schemas.microsoft.com/office/powerpoint/2010/main" val="124685559"/>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Scoring 1 – Arrows</a:t>
            </a:r>
          </a:p>
        </p:txBody>
      </p:sp>
      <p:grpSp>
        <p:nvGrpSpPr>
          <p:cNvPr id="3" name="Group 2" descr="Options">
            <a:extLst>
              <a:ext uri="{FF2B5EF4-FFF2-40B4-BE49-F238E27FC236}">
                <a16:creationId xmlns:a16="http://schemas.microsoft.com/office/drawing/2014/main" id="{902660D5-8C1D-4460-AF5F-7FBCA864679A}"/>
              </a:ext>
            </a:extLst>
          </p:cNvPr>
          <p:cNvGrpSpPr/>
          <p:nvPr/>
        </p:nvGrpSpPr>
        <p:grpSpPr>
          <a:xfrm>
            <a:off x="344775" y="1362569"/>
            <a:ext cx="2304000" cy="1529012"/>
            <a:chOff x="344775" y="1362569"/>
            <a:chExt cx="2304000" cy="1529012"/>
          </a:xfrm>
        </p:grpSpPr>
        <p:sp>
          <p:nvSpPr>
            <p:cNvPr id="129" name="Rectangle 87">
              <a:extLst>
                <a:ext uri="{FF2B5EF4-FFF2-40B4-BE49-F238E27FC236}">
                  <a16:creationId xmlns:a16="http://schemas.microsoft.com/office/drawing/2014/main" id="{6D876566-FE2B-4367-B58D-FF9F3F9C528E}"/>
                </a:ext>
              </a:extLst>
            </p:cNvPr>
            <p:cNvSpPr>
              <a:spLocks noChangeArrowheads="1"/>
            </p:cNvSpPr>
            <p:nvPr/>
          </p:nvSpPr>
          <p:spPr bwMode="auto">
            <a:xfrm>
              <a:off x="344775" y="1804009"/>
              <a:ext cx="2304000" cy="540000"/>
            </a:xfrm>
            <a:prstGeom prst="rect">
              <a:avLst/>
            </a:prstGeom>
            <a:solidFill>
              <a:srgbClr val="E4E7E7"/>
            </a:solidFill>
            <a:ln w="6350">
              <a:solidFill>
                <a:schemeClr val="bg1"/>
              </a:solidFill>
              <a:miter lim="800000"/>
              <a:headEnd/>
              <a:tailEnd/>
            </a:ln>
            <a:effectLst/>
          </p:spPr>
          <p:txBody>
            <a:bodyPr lIns="144000" tIns="72000" rIns="108000" bIns="72000" anchor="ctr"/>
            <a:lstStyle/>
            <a:p>
              <a:pPr algn="l" eaLnBrk="0" hangingPunct="0">
                <a:spcBef>
                  <a:spcPct val="0"/>
                </a:spcBef>
              </a:pPr>
              <a:r>
                <a:rPr lang="en-US" sz="1200" b="1" dirty="0">
                  <a:solidFill>
                    <a:schemeClr val="tx1"/>
                  </a:solidFill>
                </a:rPr>
                <a:t>Option 1</a:t>
              </a:r>
            </a:p>
          </p:txBody>
        </p:sp>
        <p:sp>
          <p:nvSpPr>
            <p:cNvPr id="130" name="Rectangle 92">
              <a:extLst>
                <a:ext uri="{FF2B5EF4-FFF2-40B4-BE49-F238E27FC236}">
                  <a16:creationId xmlns:a16="http://schemas.microsoft.com/office/drawing/2014/main" id="{92897073-DEC5-48D9-9E3F-CC57B66D77C8}"/>
                </a:ext>
              </a:extLst>
            </p:cNvPr>
            <p:cNvSpPr>
              <a:spLocks noChangeArrowheads="1"/>
            </p:cNvSpPr>
            <p:nvPr/>
          </p:nvSpPr>
          <p:spPr bwMode="auto">
            <a:xfrm>
              <a:off x="344775" y="1362569"/>
              <a:ext cx="2304000" cy="441441"/>
            </a:xfrm>
            <a:prstGeom prst="rect">
              <a:avLst/>
            </a:prstGeom>
            <a:solidFill>
              <a:schemeClr val="accent3"/>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Options</a:t>
              </a:r>
            </a:p>
          </p:txBody>
        </p:sp>
        <p:sp>
          <p:nvSpPr>
            <p:cNvPr id="131" name="Rectangle 93">
              <a:extLst>
                <a:ext uri="{FF2B5EF4-FFF2-40B4-BE49-F238E27FC236}">
                  <a16:creationId xmlns:a16="http://schemas.microsoft.com/office/drawing/2014/main" id="{5F8A00AD-9355-4042-8374-BD52373F9C78}"/>
                </a:ext>
              </a:extLst>
            </p:cNvPr>
            <p:cNvSpPr>
              <a:spLocks noChangeArrowheads="1"/>
            </p:cNvSpPr>
            <p:nvPr/>
          </p:nvSpPr>
          <p:spPr bwMode="auto">
            <a:xfrm>
              <a:off x="344775" y="2351581"/>
              <a:ext cx="2304000" cy="540000"/>
            </a:xfrm>
            <a:prstGeom prst="rect">
              <a:avLst/>
            </a:prstGeom>
            <a:solidFill>
              <a:srgbClr val="E4E7E7"/>
            </a:solidFill>
            <a:ln w="6350">
              <a:solidFill>
                <a:schemeClr val="bg1"/>
              </a:solidFill>
              <a:miter lim="800000"/>
              <a:headEnd/>
              <a:tailEnd/>
            </a:ln>
            <a:effectLst/>
          </p:spPr>
          <p:txBody>
            <a:bodyPr lIns="144000" tIns="72000" rIns="108000" bIns="72000" anchor="ctr"/>
            <a:lstStyle/>
            <a:p>
              <a:pPr algn="l" eaLnBrk="0" hangingPunct="0">
                <a:spcBef>
                  <a:spcPct val="0"/>
                </a:spcBef>
              </a:pPr>
              <a:r>
                <a:rPr lang="en-US" sz="1200" b="1" dirty="0">
                  <a:solidFill>
                    <a:schemeClr val="tx1"/>
                  </a:solidFill>
                </a:rPr>
                <a:t>Option 2</a:t>
              </a:r>
            </a:p>
          </p:txBody>
        </p:sp>
      </p:grpSp>
      <p:grpSp>
        <p:nvGrpSpPr>
          <p:cNvPr id="4" name="Group 3" descr="Criterion 1">
            <a:extLst>
              <a:ext uri="{FF2B5EF4-FFF2-40B4-BE49-F238E27FC236}">
                <a16:creationId xmlns:a16="http://schemas.microsoft.com/office/drawing/2014/main" id="{EF116678-561F-4745-9443-E0D38C0BE3F2}"/>
              </a:ext>
            </a:extLst>
          </p:cNvPr>
          <p:cNvGrpSpPr/>
          <p:nvPr/>
        </p:nvGrpSpPr>
        <p:grpSpPr>
          <a:xfrm>
            <a:off x="2646399" y="1362569"/>
            <a:ext cx="2304000" cy="1529012"/>
            <a:chOff x="2646399" y="1362569"/>
            <a:chExt cx="2304000" cy="1529012"/>
          </a:xfrm>
        </p:grpSpPr>
        <p:sp>
          <p:nvSpPr>
            <p:cNvPr id="123" name="Rectangle 79">
              <a:extLst>
                <a:ext uri="{FF2B5EF4-FFF2-40B4-BE49-F238E27FC236}">
                  <a16:creationId xmlns:a16="http://schemas.microsoft.com/office/drawing/2014/main" id="{C0451194-8A00-44CE-9D88-4B6F244B1827}"/>
                </a:ext>
              </a:extLst>
            </p:cNvPr>
            <p:cNvSpPr>
              <a:spLocks noChangeArrowheads="1"/>
            </p:cNvSpPr>
            <p:nvPr/>
          </p:nvSpPr>
          <p:spPr bwMode="auto">
            <a:xfrm>
              <a:off x="2646399" y="2351581"/>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24" name="Rectangle 86">
              <a:extLst>
                <a:ext uri="{FF2B5EF4-FFF2-40B4-BE49-F238E27FC236}">
                  <a16:creationId xmlns:a16="http://schemas.microsoft.com/office/drawing/2014/main" id="{8859E429-E231-4FA3-820C-7BBD93332548}"/>
                </a:ext>
              </a:extLst>
            </p:cNvPr>
            <p:cNvSpPr>
              <a:spLocks noChangeArrowheads="1"/>
            </p:cNvSpPr>
            <p:nvPr/>
          </p:nvSpPr>
          <p:spPr bwMode="auto">
            <a:xfrm>
              <a:off x="2646399" y="1804009"/>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25" name="Rectangle 91">
              <a:extLst>
                <a:ext uri="{FF2B5EF4-FFF2-40B4-BE49-F238E27FC236}">
                  <a16:creationId xmlns:a16="http://schemas.microsoft.com/office/drawing/2014/main" id="{D3612F57-D981-43BB-B7D1-915E4A056B4F}"/>
                </a:ext>
              </a:extLst>
            </p:cNvPr>
            <p:cNvSpPr>
              <a:spLocks noChangeArrowheads="1"/>
            </p:cNvSpPr>
            <p:nvPr/>
          </p:nvSpPr>
          <p:spPr bwMode="auto">
            <a:xfrm>
              <a:off x="2646399" y="1362569"/>
              <a:ext cx="2304000" cy="441441"/>
            </a:xfrm>
            <a:prstGeom prst="rect">
              <a:avLst/>
            </a:prstGeom>
            <a:solidFill>
              <a:schemeClr val="accent2"/>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Criterion 1</a:t>
              </a:r>
            </a:p>
          </p:txBody>
        </p:sp>
        <p:grpSp>
          <p:nvGrpSpPr>
            <p:cNvPr id="135" name="Group 145">
              <a:extLst>
                <a:ext uri="{FF2B5EF4-FFF2-40B4-BE49-F238E27FC236}">
                  <a16:creationId xmlns:a16="http://schemas.microsoft.com/office/drawing/2014/main" id="{52597149-8A52-4592-BCA3-F92A3DCD7B75}"/>
                </a:ext>
              </a:extLst>
            </p:cNvPr>
            <p:cNvGrpSpPr>
              <a:grpSpLocks noChangeAspect="1"/>
            </p:cNvGrpSpPr>
            <p:nvPr>
              <p:custDataLst>
                <p:tags r:id="rId19"/>
              </p:custDataLst>
            </p:nvPr>
          </p:nvGrpSpPr>
          <p:grpSpPr bwMode="auto">
            <a:xfrm>
              <a:off x="2901477" y="1914853"/>
              <a:ext cx="217412" cy="316938"/>
              <a:chOff x="1870" y="1765"/>
              <a:chExt cx="154" cy="230"/>
            </a:xfrm>
            <a:solidFill>
              <a:schemeClr val="tx2">
                <a:lumMod val="50000"/>
              </a:schemeClr>
            </a:solidFill>
          </p:grpSpPr>
          <p:sp>
            <p:nvSpPr>
              <p:cNvPr id="136" name="Arc 146">
                <a:extLst>
                  <a:ext uri="{FF2B5EF4-FFF2-40B4-BE49-F238E27FC236}">
                    <a16:creationId xmlns:a16="http://schemas.microsoft.com/office/drawing/2014/main" id="{9ECDDF12-AB00-4100-B376-745B40161136}"/>
                  </a:ext>
                </a:extLst>
              </p:cNvPr>
              <p:cNvSpPr>
                <a:spLocks/>
              </p:cNvSpPr>
              <p:nvPr/>
            </p:nvSpPr>
            <p:spPr bwMode="auto">
              <a:xfrm flipH="1">
                <a:off x="1870" y="1778"/>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grpFill/>
              <a:ln w="6350">
                <a:noFill/>
                <a:round/>
                <a:headEnd/>
                <a:tailEnd/>
              </a:ln>
              <a:effectLst/>
            </p:spPr>
            <p:txBody>
              <a:bodyPr wrap="none" lIns="0" tIns="0" rIns="0" bIns="0" anchor="ctr">
                <a:spAutoFit/>
              </a:bodyPr>
              <a:lstStyle/>
              <a:p>
                <a:endParaRPr lang="de-DE" dirty="0"/>
              </a:p>
            </p:txBody>
          </p:sp>
          <p:sp>
            <p:nvSpPr>
              <p:cNvPr id="137" name="AutoShape 147">
                <a:extLst>
                  <a:ext uri="{FF2B5EF4-FFF2-40B4-BE49-F238E27FC236}">
                    <a16:creationId xmlns:a16="http://schemas.microsoft.com/office/drawing/2014/main" id="{B265DE02-4DFE-47E7-B03F-663E889EB8BE}"/>
                  </a:ext>
                </a:extLst>
              </p:cNvPr>
              <p:cNvSpPr>
                <a:spLocks noChangeArrowheads="1"/>
              </p:cNvSpPr>
              <p:nvPr/>
            </p:nvSpPr>
            <p:spPr bwMode="auto">
              <a:xfrm>
                <a:off x="1920" y="1765"/>
                <a:ext cx="104" cy="230"/>
              </a:xfrm>
              <a:prstGeom prst="upArrow">
                <a:avLst>
                  <a:gd name="adj1" fmla="val 39398"/>
                  <a:gd name="adj2" fmla="val 72253"/>
                </a:avLst>
              </a:prstGeom>
              <a:grpFill/>
              <a:ln w="6350">
                <a:noFill/>
                <a:miter lim="800000"/>
                <a:headEnd/>
                <a:tailEnd/>
              </a:ln>
              <a:effectLst/>
            </p:spPr>
            <p:txBody>
              <a:bodyPr lIns="0" tIns="0" rIns="0" bIns="0" anchor="ctr">
                <a:spAutoFit/>
              </a:bodyPr>
              <a:lstStyle/>
              <a:p>
                <a:endParaRPr lang="de-DE" dirty="0"/>
              </a:p>
            </p:txBody>
          </p:sp>
        </p:grpSp>
        <p:grpSp>
          <p:nvGrpSpPr>
            <p:cNvPr id="147" name="Group 145">
              <a:extLst>
                <a:ext uri="{FF2B5EF4-FFF2-40B4-BE49-F238E27FC236}">
                  <a16:creationId xmlns:a16="http://schemas.microsoft.com/office/drawing/2014/main" id="{5BC23579-01D3-49EA-A9A4-86A7C97F425B}"/>
                </a:ext>
              </a:extLst>
            </p:cNvPr>
            <p:cNvGrpSpPr>
              <a:grpSpLocks noChangeAspect="1"/>
            </p:cNvGrpSpPr>
            <p:nvPr>
              <p:custDataLst>
                <p:tags r:id="rId20"/>
              </p:custDataLst>
            </p:nvPr>
          </p:nvGrpSpPr>
          <p:grpSpPr bwMode="auto">
            <a:xfrm>
              <a:off x="2901477" y="2475138"/>
              <a:ext cx="217412" cy="316938"/>
              <a:chOff x="1870" y="1765"/>
              <a:chExt cx="154" cy="230"/>
            </a:xfrm>
            <a:solidFill>
              <a:schemeClr val="tx2">
                <a:lumMod val="50000"/>
              </a:schemeClr>
            </a:solidFill>
          </p:grpSpPr>
          <p:sp>
            <p:nvSpPr>
              <p:cNvPr id="148" name="Arc 146">
                <a:extLst>
                  <a:ext uri="{FF2B5EF4-FFF2-40B4-BE49-F238E27FC236}">
                    <a16:creationId xmlns:a16="http://schemas.microsoft.com/office/drawing/2014/main" id="{23BBF481-2D7E-482A-B5A5-019A047EE47D}"/>
                  </a:ext>
                </a:extLst>
              </p:cNvPr>
              <p:cNvSpPr>
                <a:spLocks/>
              </p:cNvSpPr>
              <p:nvPr/>
            </p:nvSpPr>
            <p:spPr bwMode="auto">
              <a:xfrm flipH="1">
                <a:off x="1870" y="1778"/>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grpFill/>
              <a:ln w="6350">
                <a:noFill/>
                <a:round/>
                <a:headEnd/>
                <a:tailEnd/>
              </a:ln>
              <a:effectLst/>
            </p:spPr>
            <p:txBody>
              <a:bodyPr wrap="none" lIns="0" tIns="0" rIns="0" bIns="0" anchor="ctr">
                <a:spAutoFit/>
              </a:bodyPr>
              <a:lstStyle/>
              <a:p>
                <a:endParaRPr lang="de-DE" dirty="0"/>
              </a:p>
            </p:txBody>
          </p:sp>
          <p:sp>
            <p:nvSpPr>
              <p:cNvPr id="149" name="AutoShape 147">
                <a:extLst>
                  <a:ext uri="{FF2B5EF4-FFF2-40B4-BE49-F238E27FC236}">
                    <a16:creationId xmlns:a16="http://schemas.microsoft.com/office/drawing/2014/main" id="{E72EA215-8009-47AB-B0E2-E8D39C0F369F}"/>
                  </a:ext>
                </a:extLst>
              </p:cNvPr>
              <p:cNvSpPr>
                <a:spLocks noChangeArrowheads="1"/>
              </p:cNvSpPr>
              <p:nvPr/>
            </p:nvSpPr>
            <p:spPr bwMode="auto">
              <a:xfrm>
                <a:off x="1920" y="1765"/>
                <a:ext cx="104" cy="230"/>
              </a:xfrm>
              <a:prstGeom prst="upArrow">
                <a:avLst>
                  <a:gd name="adj1" fmla="val 39398"/>
                  <a:gd name="adj2" fmla="val 72253"/>
                </a:avLst>
              </a:prstGeom>
              <a:grpFill/>
              <a:ln w="6350">
                <a:noFill/>
                <a:miter lim="800000"/>
                <a:headEnd/>
                <a:tailEnd/>
              </a:ln>
              <a:effectLst/>
            </p:spPr>
            <p:txBody>
              <a:bodyPr lIns="0" tIns="0" rIns="0" bIns="0" anchor="ctr">
                <a:spAutoFit/>
              </a:bodyPr>
              <a:lstStyle/>
              <a:p>
                <a:endParaRPr lang="de-DE" dirty="0"/>
              </a:p>
            </p:txBody>
          </p:sp>
        </p:grpSp>
      </p:grpSp>
      <p:grpSp>
        <p:nvGrpSpPr>
          <p:cNvPr id="7" name="Group 6" descr="Criterion 2">
            <a:extLst>
              <a:ext uri="{FF2B5EF4-FFF2-40B4-BE49-F238E27FC236}">
                <a16:creationId xmlns:a16="http://schemas.microsoft.com/office/drawing/2014/main" id="{12670FBB-5E0A-436B-A2F7-9816E6C1DDF7}"/>
              </a:ext>
            </a:extLst>
          </p:cNvPr>
          <p:cNvGrpSpPr/>
          <p:nvPr/>
        </p:nvGrpSpPr>
        <p:grpSpPr>
          <a:xfrm>
            <a:off x="4948023" y="1362569"/>
            <a:ext cx="2304000" cy="1529012"/>
            <a:chOff x="4948023" y="1362569"/>
            <a:chExt cx="2304000" cy="1529012"/>
          </a:xfrm>
        </p:grpSpPr>
        <p:sp>
          <p:nvSpPr>
            <p:cNvPr id="117" name="Rectangle 80">
              <a:extLst>
                <a:ext uri="{FF2B5EF4-FFF2-40B4-BE49-F238E27FC236}">
                  <a16:creationId xmlns:a16="http://schemas.microsoft.com/office/drawing/2014/main" id="{7FBDC194-83C9-4886-A824-2BD83B16D18E}"/>
                </a:ext>
              </a:extLst>
            </p:cNvPr>
            <p:cNvSpPr>
              <a:spLocks noChangeArrowheads="1"/>
            </p:cNvSpPr>
            <p:nvPr/>
          </p:nvSpPr>
          <p:spPr bwMode="auto">
            <a:xfrm>
              <a:off x="4948023" y="1804009"/>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8" name="Rectangle 81">
              <a:extLst>
                <a:ext uri="{FF2B5EF4-FFF2-40B4-BE49-F238E27FC236}">
                  <a16:creationId xmlns:a16="http://schemas.microsoft.com/office/drawing/2014/main" id="{B2DBF7AF-B8CB-4E4E-BBBA-06B25F8CBBA3}"/>
                </a:ext>
              </a:extLst>
            </p:cNvPr>
            <p:cNvSpPr>
              <a:spLocks noChangeArrowheads="1"/>
            </p:cNvSpPr>
            <p:nvPr/>
          </p:nvSpPr>
          <p:spPr bwMode="auto">
            <a:xfrm>
              <a:off x="4948023" y="2351581"/>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9" name="Rectangle 90">
              <a:extLst>
                <a:ext uri="{FF2B5EF4-FFF2-40B4-BE49-F238E27FC236}">
                  <a16:creationId xmlns:a16="http://schemas.microsoft.com/office/drawing/2014/main" id="{AEE9C125-5A05-4E4E-BD85-8A602FEF3BA4}"/>
                </a:ext>
              </a:extLst>
            </p:cNvPr>
            <p:cNvSpPr>
              <a:spLocks noChangeArrowheads="1"/>
            </p:cNvSpPr>
            <p:nvPr/>
          </p:nvSpPr>
          <p:spPr bwMode="auto">
            <a:xfrm>
              <a:off x="4948023" y="1362569"/>
              <a:ext cx="2304000" cy="441441"/>
            </a:xfrm>
            <a:prstGeom prst="rect">
              <a:avLst/>
            </a:prstGeom>
            <a:solidFill>
              <a:schemeClr val="accent2">
                <a:lumMod val="60000"/>
                <a:lumOff val="4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latin typeface="+mj-lt"/>
                </a:rPr>
                <a:t>Criterion 2</a:t>
              </a:r>
            </a:p>
          </p:txBody>
        </p:sp>
        <p:grpSp>
          <p:nvGrpSpPr>
            <p:cNvPr id="144" name="Group 198">
              <a:extLst>
                <a:ext uri="{FF2B5EF4-FFF2-40B4-BE49-F238E27FC236}">
                  <a16:creationId xmlns:a16="http://schemas.microsoft.com/office/drawing/2014/main" id="{06047411-7C20-471C-92B2-ACDF12B661F1}"/>
                </a:ext>
              </a:extLst>
            </p:cNvPr>
            <p:cNvGrpSpPr>
              <a:grpSpLocks noChangeAspect="1"/>
            </p:cNvGrpSpPr>
            <p:nvPr>
              <p:custDataLst>
                <p:tags r:id="rId17"/>
              </p:custDataLst>
            </p:nvPr>
          </p:nvGrpSpPr>
          <p:grpSpPr bwMode="auto">
            <a:xfrm>
              <a:off x="5265431" y="1914853"/>
              <a:ext cx="146824" cy="316938"/>
              <a:chOff x="4165" y="1761"/>
              <a:chExt cx="104" cy="230"/>
            </a:xfrm>
            <a:solidFill>
              <a:schemeClr val="tx2">
                <a:lumMod val="50000"/>
              </a:schemeClr>
            </a:solidFill>
          </p:grpSpPr>
          <p:sp>
            <p:nvSpPr>
              <p:cNvPr id="145" name="Arc 199">
                <a:extLst>
                  <a:ext uri="{FF2B5EF4-FFF2-40B4-BE49-F238E27FC236}">
                    <a16:creationId xmlns:a16="http://schemas.microsoft.com/office/drawing/2014/main" id="{F2072CA5-A268-47F8-B28E-6DB27A732ABB}"/>
                  </a:ext>
                </a:extLst>
              </p:cNvPr>
              <p:cNvSpPr>
                <a:spLocks/>
              </p:cNvSpPr>
              <p:nvPr/>
            </p:nvSpPr>
            <p:spPr bwMode="auto">
              <a:xfrm rot="12646288" flipH="1" flipV="1">
                <a:off x="4219" y="1775"/>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grpFill/>
              <a:ln w="6350">
                <a:noFill/>
                <a:round/>
                <a:headEnd/>
                <a:tailEnd/>
              </a:ln>
              <a:effectLst/>
            </p:spPr>
            <p:txBody>
              <a:bodyPr wrap="none" lIns="0" tIns="0" rIns="0" bIns="0" anchor="ctr">
                <a:spAutoFit/>
              </a:bodyPr>
              <a:lstStyle/>
              <a:p>
                <a:endParaRPr lang="de-DE" dirty="0"/>
              </a:p>
            </p:txBody>
          </p:sp>
          <p:sp>
            <p:nvSpPr>
              <p:cNvPr id="146" name="AutoShape 200">
                <a:extLst>
                  <a:ext uri="{FF2B5EF4-FFF2-40B4-BE49-F238E27FC236}">
                    <a16:creationId xmlns:a16="http://schemas.microsoft.com/office/drawing/2014/main" id="{99AA9560-F17F-4060-8B60-49CE71A04703}"/>
                  </a:ext>
                </a:extLst>
              </p:cNvPr>
              <p:cNvSpPr>
                <a:spLocks noChangeArrowheads="1"/>
              </p:cNvSpPr>
              <p:nvPr/>
            </p:nvSpPr>
            <p:spPr bwMode="auto">
              <a:xfrm rot="12646288" flipV="1">
                <a:off x="4165" y="1761"/>
                <a:ext cx="104" cy="230"/>
              </a:xfrm>
              <a:prstGeom prst="upArrow">
                <a:avLst>
                  <a:gd name="adj1" fmla="val 39398"/>
                  <a:gd name="adj2" fmla="val 72253"/>
                </a:avLst>
              </a:prstGeom>
              <a:grpFill/>
              <a:ln w="6350">
                <a:noFill/>
                <a:miter lim="800000"/>
                <a:headEnd/>
                <a:tailEnd/>
              </a:ln>
              <a:effectLst/>
            </p:spPr>
            <p:txBody>
              <a:bodyPr lIns="0" tIns="0" rIns="0" bIns="0" anchor="ctr">
                <a:spAutoFit/>
              </a:bodyPr>
              <a:lstStyle/>
              <a:p>
                <a:endParaRPr lang="de-DE" dirty="0"/>
              </a:p>
            </p:txBody>
          </p:sp>
        </p:grpSp>
        <p:grpSp>
          <p:nvGrpSpPr>
            <p:cNvPr id="156" name="Group 198">
              <a:extLst>
                <a:ext uri="{FF2B5EF4-FFF2-40B4-BE49-F238E27FC236}">
                  <a16:creationId xmlns:a16="http://schemas.microsoft.com/office/drawing/2014/main" id="{7BED7D26-2F6A-42B5-9DE3-490309C9277A}"/>
                </a:ext>
              </a:extLst>
            </p:cNvPr>
            <p:cNvGrpSpPr>
              <a:grpSpLocks noChangeAspect="1"/>
            </p:cNvGrpSpPr>
            <p:nvPr>
              <p:custDataLst>
                <p:tags r:id="rId18"/>
              </p:custDataLst>
            </p:nvPr>
          </p:nvGrpSpPr>
          <p:grpSpPr bwMode="auto">
            <a:xfrm>
              <a:off x="5265431" y="2475138"/>
              <a:ext cx="146824" cy="316938"/>
              <a:chOff x="4165" y="1761"/>
              <a:chExt cx="104" cy="230"/>
            </a:xfrm>
            <a:solidFill>
              <a:schemeClr val="tx2">
                <a:lumMod val="50000"/>
              </a:schemeClr>
            </a:solidFill>
          </p:grpSpPr>
          <p:sp>
            <p:nvSpPr>
              <p:cNvPr id="157" name="Arc 199">
                <a:extLst>
                  <a:ext uri="{FF2B5EF4-FFF2-40B4-BE49-F238E27FC236}">
                    <a16:creationId xmlns:a16="http://schemas.microsoft.com/office/drawing/2014/main" id="{0FB6AAF0-C332-439A-9ADE-2D0071536D15}"/>
                  </a:ext>
                </a:extLst>
              </p:cNvPr>
              <p:cNvSpPr>
                <a:spLocks/>
              </p:cNvSpPr>
              <p:nvPr/>
            </p:nvSpPr>
            <p:spPr bwMode="auto">
              <a:xfrm rot="12646288" flipH="1" flipV="1">
                <a:off x="4219" y="1775"/>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grpFill/>
              <a:ln w="6350">
                <a:noFill/>
                <a:round/>
                <a:headEnd/>
                <a:tailEnd/>
              </a:ln>
              <a:effectLst/>
            </p:spPr>
            <p:txBody>
              <a:bodyPr wrap="none" lIns="0" tIns="0" rIns="0" bIns="0" anchor="ctr">
                <a:spAutoFit/>
              </a:bodyPr>
              <a:lstStyle/>
              <a:p>
                <a:endParaRPr lang="de-DE" dirty="0"/>
              </a:p>
            </p:txBody>
          </p:sp>
          <p:sp>
            <p:nvSpPr>
              <p:cNvPr id="158" name="AutoShape 200">
                <a:extLst>
                  <a:ext uri="{FF2B5EF4-FFF2-40B4-BE49-F238E27FC236}">
                    <a16:creationId xmlns:a16="http://schemas.microsoft.com/office/drawing/2014/main" id="{EBB6BFA5-B03E-485C-AA3C-0E166FFD35D9}"/>
                  </a:ext>
                </a:extLst>
              </p:cNvPr>
              <p:cNvSpPr>
                <a:spLocks noChangeArrowheads="1"/>
              </p:cNvSpPr>
              <p:nvPr/>
            </p:nvSpPr>
            <p:spPr bwMode="auto">
              <a:xfrm rot="12646288" flipV="1">
                <a:off x="4165" y="1761"/>
                <a:ext cx="104" cy="230"/>
              </a:xfrm>
              <a:prstGeom prst="upArrow">
                <a:avLst>
                  <a:gd name="adj1" fmla="val 39398"/>
                  <a:gd name="adj2" fmla="val 72253"/>
                </a:avLst>
              </a:prstGeom>
              <a:grpFill/>
              <a:ln w="6350">
                <a:noFill/>
                <a:miter lim="800000"/>
                <a:headEnd/>
                <a:tailEnd/>
              </a:ln>
              <a:effectLst/>
            </p:spPr>
            <p:txBody>
              <a:bodyPr lIns="0" tIns="0" rIns="0" bIns="0" anchor="ctr">
                <a:spAutoFit/>
              </a:bodyPr>
              <a:lstStyle/>
              <a:p>
                <a:endParaRPr lang="de-DE" dirty="0"/>
              </a:p>
            </p:txBody>
          </p:sp>
        </p:grpSp>
      </p:grpSp>
      <p:grpSp>
        <p:nvGrpSpPr>
          <p:cNvPr id="8" name="Group 7" descr="Criterion 3">
            <a:extLst>
              <a:ext uri="{FF2B5EF4-FFF2-40B4-BE49-F238E27FC236}">
                <a16:creationId xmlns:a16="http://schemas.microsoft.com/office/drawing/2014/main" id="{B2D9E053-8A20-4573-99AB-5A83BFF5AEF3}"/>
              </a:ext>
            </a:extLst>
          </p:cNvPr>
          <p:cNvGrpSpPr/>
          <p:nvPr/>
        </p:nvGrpSpPr>
        <p:grpSpPr>
          <a:xfrm>
            <a:off x="7249647" y="1362569"/>
            <a:ext cx="2304000" cy="1529012"/>
            <a:chOff x="7249647" y="1362569"/>
            <a:chExt cx="2304000" cy="1529012"/>
          </a:xfrm>
        </p:grpSpPr>
        <p:sp>
          <p:nvSpPr>
            <p:cNvPr id="111" name="Rectangle 82">
              <a:extLst>
                <a:ext uri="{FF2B5EF4-FFF2-40B4-BE49-F238E27FC236}">
                  <a16:creationId xmlns:a16="http://schemas.microsoft.com/office/drawing/2014/main" id="{E2F357D2-5D6C-4EA8-A76D-F654D76EA955}"/>
                </a:ext>
              </a:extLst>
            </p:cNvPr>
            <p:cNvSpPr>
              <a:spLocks noChangeArrowheads="1"/>
            </p:cNvSpPr>
            <p:nvPr/>
          </p:nvSpPr>
          <p:spPr bwMode="auto">
            <a:xfrm>
              <a:off x="7249647" y="1804009"/>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2" name="Rectangle 83">
              <a:extLst>
                <a:ext uri="{FF2B5EF4-FFF2-40B4-BE49-F238E27FC236}">
                  <a16:creationId xmlns:a16="http://schemas.microsoft.com/office/drawing/2014/main" id="{AAADEFC9-746E-40CF-A4D1-2529B32F90C7}"/>
                </a:ext>
              </a:extLst>
            </p:cNvPr>
            <p:cNvSpPr>
              <a:spLocks noChangeArrowheads="1"/>
            </p:cNvSpPr>
            <p:nvPr/>
          </p:nvSpPr>
          <p:spPr bwMode="auto">
            <a:xfrm>
              <a:off x="7249647" y="2351581"/>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3" name="Rectangle 89">
              <a:extLst>
                <a:ext uri="{FF2B5EF4-FFF2-40B4-BE49-F238E27FC236}">
                  <a16:creationId xmlns:a16="http://schemas.microsoft.com/office/drawing/2014/main" id="{8DEC5B6D-38E2-4714-8BB4-39B393F172C2}"/>
                </a:ext>
              </a:extLst>
            </p:cNvPr>
            <p:cNvSpPr>
              <a:spLocks noChangeArrowheads="1"/>
            </p:cNvSpPr>
            <p:nvPr/>
          </p:nvSpPr>
          <p:spPr bwMode="auto">
            <a:xfrm>
              <a:off x="7249647" y="1362569"/>
              <a:ext cx="2304000" cy="441441"/>
            </a:xfrm>
            <a:prstGeom prst="rect">
              <a:avLst/>
            </a:prstGeom>
            <a:solidFill>
              <a:schemeClr val="accent2">
                <a:lumMod val="40000"/>
                <a:lumOff val="6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latin typeface="+mj-lt"/>
                </a:rPr>
                <a:t>Criterion 3</a:t>
              </a:r>
            </a:p>
          </p:txBody>
        </p:sp>
        <p:grpSp>
          <p:nvGrpSpPr>
            <p:cNvPr id="141" name="Group 130">
              <a:extLst>
                <a:ext uri="{FF2B5EF4-FFF2-40B4-BE49-F238E27FC236}">
                  <a16:creationId xmlns:a16="http://schemas.microsoft.com/office/drawing/2014/main" id="{CD7966F2-60AA-458A-8D67-16922BB6FD2C}"/>
                </a:ext>
              </a:extLst>
            </p:cNvPr>
            <p:cNvGrpSpPr>
              <a:grpSpLocks noChangeAspect="1"/>
            </p:cNvGrpSpPr>
            <p:nvPr>
              <p:custDataLst>
                <p:tags r:id="rId15"/>
              </p:custDataLst>
            </p:nvPr>
          </p:nvGrpSpPr>
          <p:grpSpPr bwMode="auto">
            <a:xfrm>
              <a:off x="7574032" y="1914853"/>
              <a:ext cx="146824" cy="316938"/>
              <a:chOff x="3043" y="1764"/>
              <a:chExt cx="104" cy="230"/>
            </a:xfrm>
            <a:solidFill>
              <a:schemeClr val="tx2">
                <a:lumMod val="50000"/>
              </a:schemeClr>
            </a:solidFill>
          </p:grpSpPr>
          <p:sp>
            <p:nvSpPr>
              <p:cNvPr id="142" name="Arc 131">
                <a:extLst>
                  <a:ext uri="{FF2B5EF4-FFF2-40B4-BE49-F238E27FC236}">
                    <a16:creationId xmlns:a16="http://schemas.microsoft.com/office/drawing/2014/main" id="{E5929368-485D-4850-BEEC-527E5A31DE3C}"/>
                  </a:ext>
                </a:extLst>
              </p:cNvPr>
              <p:cNvSpPr>
                <a:spLocks/>
              </p:cNvSpPr>
              <p:nvPr/>
            </p:nvSpPr>
            <p:spPr bwMode="auto">
              <a:xfrm rot="8953712" flipH="1">
                <a:off x="3096" y="1780"/>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grpFill/>
              <a:ln w="6350">
                <a:noFill/>
                <a:round/>
                <a:headEnd/>
                <a:tailEnd/>
              </a:ln>
              <a:effectLst/>
            </p:spPr>
            <p:txBody>
              <a:bodyPr wrap="none" lIns="0" tIns="0" rIns="0" bIns="0" anchor="ctr">
                <a:spAutoFit/>
              </a:bodyPr>
              <a:lstStyle/>
              <a:p>
                <a:endParaRPr lang="de-DE" dirty="0"/>
              </a:p>
            </p:txBody>
          </p:sp>
          <p:sp>
            <p:nvSpPr>
              <p:cNvPr id="143" name="AutoShape 132">
                <a:extLst>
                  <a:ext uri="{FF2B5EF4-FFF2-40B4-BE49-F238E27FC236}">
                    <a16:creationId xmlns:a16="http://schemas.microsoft.com/office/drawing/2014/main" id="{0743E79C-B616-4F28-8B73-2A1E505DF121}"/>
                  </a:ext>
                </a:extLst>
              </p:cNvPr>
              <p:cNvSpPr>
                <a:spLocks noChangeArrowheads="1"/>
              </p:cNvSpPr>
              <p:nvPr/>
            </p:nvSpPr>
            <p:spPr bwMode="auto">
              <a:xfrm rot="8953712">
                <a:off x="3043" y="1764"/>
                <a:ext cx="104" cy="230"/>
              </a:xfrm>
              <a:prstGeom prst="upArrow">
                <a:avLst>
                  <a:gd name="adj1" fmla="val 39398"/>
                  <a:gd name="adj2" fmla="val 72253"/>
                </a:avLst>
              </a:prstGeom>
              <a:grpFill/>
              <a:ln w="6350">
                <a:noFill/>
                <a:miter lim="800000"/>
                <a:headEnd/>
                <a:tailEnd/>
              </a:ln>
              <a:effectLst/>
            </p:spPr>
            <p:txBody>
              <a:bodyPr lIns="0" tIns="0" rIns="0" bIns="0" anchor="ctr">
                <a:spAutoFit/>
              </a:bodyPr>
              <a:lstStyle/>
              <a:p>
                <a:endParaRPr lang="de-DE" dirty="0"/>
              </a:p>
            </p:txBody>
          </p:sp>
        </p:grpSp>
        <p:grpSp>
          <p:nvGrpSpPr>
            <p:cNvPr id="153" name="Group 130">
              <a:extLst>
                <a:ext uri="{FF2B5EF4-FFF2-40B4-BE49-F238E27FC236}">
                  <a16:creationId xmlns:a16="http://schemas.microsoft.com/office/drawing/2014/main" id="{269B0770-84F6-4DAE-9995-9144D128B5EF}"/>
                </a:ext>
              </a:extLst>
            </p:cNvPr>
            <p:cNvGrpSpPr>
              <a:grpSpLocks noChangeAspect="1"/>
            </p:cNvGrpSpPr>
            <p:nvPr>
              <p:custDataLst>
                <p:tags r:id="rId16"/>
              </p:custDataLst>
            </p:nvPr>
          </p:nvGrpSpPr>
          <p:grpSpPr bwMode="auto">
            <a:xfrm>
              <a:off x="7574032" y="2475138"/>
              <a:ext cx="146824" cy="316938"/>
              <a:chOff x="3043" y="1764"/>
              <a:chExt cx="104" cy="230"/>
            </a:xfrm>
            <a:solidFill>
              <a:schemeClr val="tx2">
                <a:lumMod val="50000"/>
              </a:schemeClr>
            </a:solidFill>
          </p:grpSpPr>
          <p:sp>
            <p:nvSpPr>
              <p:cNvPr id="154" name="Arc 131">
                <a:extLst>
                  <a:ext uri="{FF2B5EF4-FFF2-40B4-BE49-F238E27FC236}">
                    <a16:creationId xmlns:a16="http://schemas.microsoft.com/office/drawing/2014/main" id="{B958523D-EEA3-46CF-8E88-5401EC3501F4}"/>
                  </a:ext>
                </a:extLst>
              </p:cNvPr>
              <p:cNvSpPr>
                <a:spLocks/>
              </p:cNvSpPr>
              <p:nvPr/>
            </p:nvSpPr>
            <p:spPr bwMode="auto">
              <a:xfrm rot="8953712" flipH="1">
                <a:off x="3096" y="1780"/>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grpFill/>
              <a:ln w="6350">
                <a:noFill/>
                <a:round/>
                <a:headEnd/>
                <a:tailEnd/>
              </a:ln>
              <a:effectLst/>
            </p:spPr>
            <p:txBody>
              <a:bodyPr wrap="none" lIns="0" tIns="0" rIns="0" bIns="0" anchor="ctr">
                <a:spAutoFit/>
              </a:bodyPr>
              <a:lstStyle/>
              <a:p>
                <a:endParaRPr lang="de-DE" dirty="0"/>
              </a:p>
            </p:txBody>
          </p:sp>
          <p:sp>
            <p:nvSpPr>
              <p:cNvPr id="155" name="AutoShape 132">
                <a:extLst>
                  <a:ext uri="{FF2B5EF4-FFF2-40B4-BE49-F238E27FC236}">
                    <a16:creationId xmlns:a16="http://schemas.microsoft.com/office/drawing/2014/main" id="{0EF60012-2322-4757-9DC5-F297D099153D}"/>
                  </a:ext>
                </a:extLst>
              </p:cNvPr>
              <p:cNvSpPr>
                <a:spLocks noChangeArrowheads="1"/>
              </p:cNvSpPr>
              <p:nvPr/>
            </p:nvSpPr>
            <p:spPr bwMode="auto">
              <a:xfrm rot="8953712">
                <a:off x="3043" y="1764"/>
                <a:ext cx="104" cy="230"/>
              </a:xfrm>
              <a:prstGeom prst="upArrow">
                <a:avLst>
                  <a:gd name="adj1" fmla="val 39398"/>
                  <a:gd name="adj2" fmla="val 72253"/>
                </a:avLst>
              </a:prstGeom>
              <a:grpFill/>
              <a:ln w="6350">
                <a:noFill/>
                <a:miter lim="800000"/>
                <a:headEnd/>
                <a:tailEnd/>
              </a:ln>
              <a:effectLst/>
            </p:spPr>
            <p:txBody>
              <a:bodyPr lIns="0" tIns="0" rIns="0" bIns="0" anchor="ctr">
                <a:spAutoFit/>
              </a:bodyPr>
              <a:lstStyle/>
              <a:p>
                <a:endParaRPr lang="de-DE" dirty="0"/>
              </a:p>
            </p:txBody>
          </p:sp>
        </p:grpSp>
      </p:grpSp>
      <p:grpSp>
        <p:nvGrpSpPr>
          <p:cNvPr id="9" name="Group 8" descr="Criterion 4">
            <a:extLst>
              <a:ext uri="{FF2B5EF4-FFF2-40B4-BE49-F238E27FC236}">
                <a16:creationId xmlns:a16="http://schemas.microsoft.com/office/drawing/2014/main" id="{CEBFE632-4D34-497A-8034-2CA93F9C0C5D}"/>
              </a:ext>
            </a:extLst>
          </p:cNvPr>
          <p:cNvGrpSpPr/>
          <p:nvPr/>
        </p:nvGrpSpPr>
        <p:grpSpPr>
          <a:xfrm>
            <a:off x="9551272" y="1362569"/>
            <a:ext cx="2304000" cy="1529012"/>
            <a:chOff x="9551272" y="1362569"/>
            <a:chExt cx="2304000" cy="1529012"/>
          </a:xfrm>
        </p:grpSpPr>
        <p:sp>
          <p:nvSpPr>
            <p:cNvPr id="105" name="Rectangle 84">
              <a:extLst>
                <a:ext uri="{FF2B5EF4-FFF2-40B4-BE49-F238E27FC236}">
                  <a16:creationId xmlns:a16="http://schemas.microsoft.com/office/drawing/2014/main" id="{9720E0F8-25CA-4D02-9F62-C39EC8379D5C}"/>
                </a:ext>
              </a:extLst>
            </p:cNvPr>
            <p:cNvSpPr>
              <a:spLocks noChangeArrowheads="1"/>
            </p:cNvSpPr>
            <p:nvPr/>
          </p:nvSpPr>
          <p:spPr bwMode="auto">
            <a:xfrm>
              <a:off x="9551272" y="1804009"/>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06" name="Rectangle 85">
              <a:extLst>
                <a:ext uri="{FF2B5EF4-FFF2-40B4-BE49-F238E27FC236}">
                  <a16:creationId xmlns:a16="http://schemas.microsoft.com/office/drawing/2014/main" id="{F390D345-8912-42DB-BEAA-BBA239EF456B}"/>
                </a:ext>
              </a:extLst>
            </p:cNvPr>
            <p:cNvSpPr>
              <a:spLocks noChangeArrowheads="1"/>
            </p:cNvSpPr>
            <p:nvPr/>
          </p:nvSpPr>
          <p:spPr bwMode="auto">
            <a:xfrm>
              <a:off x="9551272" y="2351581"/>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07" name="Rectangle 88">
              <a:extLst>
                <a:ext uri="{FF2B5EF4-FFF2-40B4-BE49-F238E27FC236}">
                  <a16:creationId xmlns:a16="http://schemas.microsoft.com/office/drawing/2014/main" id="{13BE22C9-17E5-4E49-A8E3-76B9E723503B}"/>
                </a:ext>
              </a:extLst>
            </p:cNvPr>
            <p:cNvSpPr>
              <a:spLocks noChangeArrowheads="1"/>
            </p:cNvSpPr>
            <p:nvPr/>
          </p:nvSpPr>
          <p:spPr bwMode="auto">
            <a:xfrm>
              <a:off x="9551272" y="1362569"/>
              <a:ext cx="2304000" cy="441441"/>
            </a:xfrm>
            <a:prstGeom prst="rect">
              <a:avLst/>
            </a:prstGeom>
            <a:solidFill>
              <a:schemeClr val="accent2">
                <a:lumMod val="20000"/>
                <a:lumOff val="8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latin typeface="+mj-lt"/>
                </a:rPr>
                <a:t>Criterion 4</a:t>
              </a:r>
            </a:p>
          </p:txBody>
        </p:sp>
        <p:grpSp>
          <p:nvGrpSpPr>
            <p:cNvPr id="138" name="Group 127">
              <a:extLst>
                <a:ext uri="{FF2B5EF4-FFF2-40B4-BE49-F238E27FC236}">
                  <a16:creationId xmlns:a16="http://schemas.microsoft.com/office/drawing/2014/main" id="{D57EDCE2-18DB-4200-A1E9-22E0BEAF6867}"/>
                </a:ext>
              </a:extLst>
            </p:cNvPr>
            <p:cNvGrpSpPr>
              <a:grpSpLocks noChangeAspect="1"/>
            </p:cNvGrpSpPr>
            <p:nvPr>
              <p:custDataLst>
                <p:tags r:id="rId13"/>
              </p:custDataLst>
            </p:nvPr>
          </p:nvGrpSpPr>
          <p:grpSpPr bwMode="auto">
            <a:xfrm>
              <a:off x="9827205" y="1914853"/>
              <a:ext cx="146824" cy="316938"/>
              <a:chOff x="5291" y="1765"/>
              <a:chExt cx="104" cy="230"/>
            </a:xfrm>
            <a:solidFill>
              <a:schemeClr val="tx2">
                <a:lumMod val="50000"/>
              </a:schemeClr>
            </a:solidFill>
          </p:grpSpPr>
          <p:sp>
            <p:nvSpPr>
              <p:cNvPr id="139" name="Arc 128">
                <a:extLst>
                  <a:ext uri="{FF2B5EF4-FFF2-40B4-BE49-F238E27FC236}">
                    <a16:creationId xmlns:a16="http://schemas.microsoft.com/office/drawing/2014/main" id="{A47D28A9-7492-425F-AB69-AC8EFDFFF86D}"/>
                  </a:ext>
                </a:extLst>
              </p:cNvPr>
              <p:cNvSpPr>
                <a:spLocks/>
              </p:cNvSpPr>
              <p:nvPr/>
            </p:nvSpPr>
            <p:spPr bwMode="auto">
              <a:xfrm rot="10800000" flipH="1">
                <a:off x="5342" y="1781"/>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grpFill/>
              <a:ln w="6350">
                <a:noFill/>
                <a:round/>
                <a:headEnd/>
                <a:tailEnd/>
              </a:ln>
              <a:effectLst/>
            </p:spPr>
            <p:txBody>
              <a:bodyPr wrap="none" lIns="0" tIns="0" rIns="0" bIns="0" anchor="ctr">
                <a:spAutoFit/>
              </a:bodyPr>
              <a:lstStyle/>
              <a:p>
                <a:endParaRPr lang="de-DE" dirty="0"/>
              </a:p>
            </p:txBody>
          </p:sp>
          <p:sp>
            <p:nvSpPr>
              <p:cNvPr id="140" name="AutoShape 129">
                <a:extLst>
                  <a:ext uri="{FF2B5EF4-FFF2-40B4-BE49-F238E27FC236}">
                    <a16:creationId xmlns:a16="http://schemas.microsoft.com/office/drawing/2014/main" id="{7B68ED4D-1D2A-4512-84FE-EBD8F4208690}"/>
                  </a:ext>
                </a:extLst>
              </p:cNvPr>
              <p:cNvSpPr>
                <a:spLocks noChangeArrowheads="1"/>
              </p:cNvSpPr>
              <p:nvPr/>
            </p:nvSpPr>
            <p:spPr bwMode="auto">
              <a:xfrm rot="10800000">
                <a:off x="5291" y="1765"/>
                <a:ext cx="104" cy="230"/>
              </a:xfrm>
              <a:prstGeom prst="upArrow">
                <a:avLst>
                  <a:gd name="adj1" fmla="val 39398"/>
                  <a:gd name="adj2" fmla="val 72253"/>
                </a:avLst>
              </a:prstGeom>
              <a:grpFill/>
              <a:ln w="6350">
                <a:noFill/>
                <a:miter lim="800000"/>
                <a:headEnd/>
                <a:tailEnd/>
              </a:ln>
              <a:effectLst/>
            </p:spPr>
            <p:txBody>
              <a:bodyPr lIns="0" tIns="0" rIns="0" bIns="0" anchor="ctr">
                <a:spAutoFit/>
              </a:bodyPr>
              <a:lstStyle/>
              <a:p>
                <a:endParaRPr lang="de-DE" dirty="0"/>
              </a:p>
            </p:txBody>
          </p:sp>
        </p:grpSp>
        <p:grpSp>
          <p:nvGrpSpPr>
            <p:cNvPr id="150" name="Group 127">
              <a:extLst>
                <a:ext uri="{FF2B5EF4-FFF2-40B4-BE49-F238E27FC236}">
                  <a16:creationId xmlns:a16="http://schemas.microsoft.com/office/drawing/2014/main" id="{52AC4679-499F-46FE-B366-416D9F5FC177}"/>
                </a:ext>
              </a:extLst>
            </p:cNvPr>
            <p:cNvGrpSpPr>
              <a:grpSpLocks noChangeAspect="1"/>
            </p:cNvGrpSpPr>
            <p:nvPr>
              <p:custDataLst>
                <p:tags r:id="rId14"/>
              </p:custDataLst>
            </p:nvPr>
          </p:nvGrpSpPr>
          <p:grpSpPr bwMode="auto">
            <a:xfrm>
              <a:off x="9827205" y="2475138"/>
              <a:ext cx="146824" cy="316938"/>
              <a:chOff x="5291" y="1765"/>
              <a:chExt cx="104" cy="230"/>
            </a:xfrm>
            <a:solidFill>
              <a:schemeClr val="tx2">
                <a:lumMod val="50000"/>
              </a:schemeClr>
            </a:solidFill>
          </p:grpSpPr>
          <p:sp>
            <p:nvSpPr>
              <p:cNvPr id="151" name="Arc 128">
                <a:extLst>
                  <a:ext uri="{FF2B5EF4-FFF2-40B4-BE49-F238E27FC236}">
                    <a16:creationId xmlns:a16="http://schemas.microsoft.com/office/drawing/2014/main" id="{A481BBBD-B61C-4239-9ACB-55FCF95E6346}"/>
                  </a:ext>
                </a:extLst>
              </p:cNvPr>
              <p:cNvSpPr>
                <a:spLocks/>
              </p:cNvSpPr>
              <p:nvPr/>
            </p:nvSpPr>
            <p:spPr bwMode="auto">
              <a:xfrm rot="10800000" flipH="1">
                <a:off x="5342" y="1781"/>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grpFill/>
              <a:ln w="6350">
                <a:noFill/>
                <a:round/>
                <a:headEnd/>
                <a:tailEnd/>
              </a:ln>
              <a:effectLst/>
            </p:spPr>
            <p:txBody>
              <a:bodyPr wrap="none" lIns="0" tIns="0" rIns="0" bIns="0" anchor="ctr">
                <a:spAutoFit/>
              </a:bodyPr>
              <a:lstStyle/>
              <a:p>
                <a:endParaRPr lang="de-DE" dirty="0"/>
              </a:p>
            </p:txBody>
          </p:sp>
          <p:sp>
            <p:nvSpPr>
              <p:cNvPr id="152" name="AutoShape 129">
                <a:extLst>
                  <a:ext uri="{FF2B5EF4-FFF2-40B4-BE49-F238E27FC236}">
                    <a16:creationId xmlns:a16="http://schemas.microsoft.com/office/drawing/2014/main" id="{AC559440-3878-4E9A-9536-22F1E626A7DD}"/>
                  </a:ext>
                </a:extLst>
              </p:cNvPr>
              <p:cNvSpPr>
                <a:spLocks noChangeArrowheads="1"/>
              </p:cNvSpPr>
              <p:nvPr/>
            </p:nvSpPr>
            <p:spPr bwMode="auto">
              <a:xfrm rot="10800000">
                <a:off x="5291" y="1765"/>
                <a:ext cx="104" cy="230"/>
              </a:xfrm>
              <a:prstGeom prst="upArrow">
                <a:avLst>
                  <a:gd name="adj1" fmla="val 39398"/>
                  <a:gd name="adj2" fmla="val 72253"/>
                </a:avLst>
              </a:prstGeom>
              <a:grpFill/>
              <a:ln w="6350">
                <a:noFill/>
                <a:miter lim="800000"/>
                <a:headEnd/>
                <a:tailEnd/>
              </a:ln>
              <a:effectLst/>
            </p:spPr>
            <p:txBody>
              <a:bodyPr lIns="0" tIns="0" rIns="0" bIns="0" anchor="ctr">
                <a:spAutoFit/>
              </a:bodyPr>
              <a:lstStyle/>
              <a:p>
                <a:endParaRPr lang="de-DE" dirty="0"/>
              </a:p>
            </p:txBody>
          </p:sp>
        </p:grpSp>
      </p:grpSp>
      <p:grpSp>
        <p:nvGrpSpPr>
          <p:cNvPr id="10" name="Group 9" descr="Criteria">
            <a:extLst>
              <a:ext uri="{FF2B5EF4-FFF2-40B4-BE49-F238E27FC236}">
                <a16:creationId xmlns:a16="http://schemas.microsoft.com/office/drawing/2014/main" id="{4E0907AF-173B-4E2D-A047-C06A2B08C33A}"/>
              </a:ext>
            </a:extLst>
          </p:cNvPr>
          <p:cNvGrpSpPr/>
          <p:nvPr/>
        </p:nvGrpSpPr>
        <p:grpSpPr>
          <a:xfrm>
            <a:off x="340137" y="3248741"/>
            <a:ext cx="2304000" cy="1529012"/>
            <a:chOff x="340137" y="3248741"/>
            <a:chExt cx="2304000" cy="1529012"/>
          </a:xfrm>
        </p:grpSpPr>
        <p:sp>
          <p:nvSpPr>
            <p:cNvPr id="132" name="Rectangle 129">
              <a:extLst>
                <a:ext uri="{FF2B5EF4-FFF2-40B4-BE49-F238E27FC236}">
                  <a16:creationId xmlns:a16="http://schemas.microsoft.com/office/drawing/2014/main" id="{7596CF70-ECCA-4E2A-8563-F9EF5ABB7564}"/>
                </a:ext>
              </a:extLst>
            </p:cNvPr>
            <p:cNvSpPr>
              <a:spLocks noChangeArrowheads="1"/>
            </p:cNvSpPr>
            <p:nvPr/>
          </p:nvSpPr>
          <p:spPr bwMode="auto">
            <a:xfrm>
              <a:off x="340137" y="3690181"/>
              <a:ext cx="2304000" cy="540000"/>
            </a:xfrm>
            <a:prstGeom prst="rect">
              <a:avLst/>
            </a:prstGeom>
            <a:solidFill>
              <a:srgbClr val="E4E7E7"/>
            </a:solidFill>
            <a:ln w="6350">
              <a:solidFill>
                <a:schemeClr val="bg1"/>
              </a:solidFill>
              <a:miter lim="800000"/>
              <a:headEnd/>
              <a:tailEnd/>
            </a:ln>
            <a:effectLst/>
          </p:spPr>
          <p:txBody>
            <a:bodyPr lIns="144000" tIns="72000" rIns="108000" bIns="72000" anchor="ctr"/>
            <a:lstStyle/>
            <a:p>
              <a:pPr algn="l" eaLnBrk="0" hangingPunct="0">
                <a:spcBef>
                  <a:spcPct val="0"/>
                </a:spcBef>
              </a:pPr>
              <a:r>
                <a:rPr lang="en-US" sz="1200" b="1" dirty="0">
                  <a:solidFill>
                    <a:schemeClr val="tx1"/>
                  </a:solidFill>
                </a:rPr>
                <a:t>Criterion 1</a:t>
              </a:r>
            </a:p>
          </p:txBody>
        </p:sp>
        <p:sp>
          <p:nvSpPr>
            <p:cNvPr id="133" name="Rectangle 134">
              <a:extLst>
                <a:ext uri="{FF2B5EF4-FFF2-40B4-BE49-F238E27FC236}">
                  <a16:creationId xmlns:a16="http://schemas.microsoft.com/office/drawing/2014/main" id="{88078CDA-2250-4CF7-9635-97F4095596D6}"/>
                </a:ext>
              </a:extLst>
            </p:cNvPr>
            <p:cNvSpPr>
              <a:spLocks noChangeArrowheads="1"/>
            </p:cNvSpPr>
            <p:nvPr/>
          </p:nvSpPr>
          <p:spPr bwMode="auto">
            <a:xfrm>
              <a:off x="340137" y="3248741"/>
              <a:ext cx="2304000" cy="441441"/>
            </a:xfrm>
            <a:prstGeom prst="rect">
              <a:avLst/>
            </a:prstGeom>
            <a:solidFill>
              <a:schemeClr val="accent3"/>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Criteria</a:t>
              </a:r>
            </a:p>
          </p:txBody>
        </p:sp>
        <p:sp>
          <p:nvSpPr>
            <p:cNvPr id="134" name="Rectangle 135">
              <a:extLst>
                <a:ext uri="{FF2B5EF4-FFF2-40B4-BE49-F238E27FC236}">
                  <a16:creationId xmlns:a16="http://schemas.microsoft.com/office/drawing/2014/main" id="{E710A9A7-2415-437D-9AA4-063CA5CE2345}"/>
                </a:ext>
              </a:extLst>
            </p:cNvPr>
            <p:cNvSpPr>
              <a:spLocks noChangeArrowheads="1"/>
            </p:cNvSpPr>
            <p:nvPr/>
          </p:nvSpPr>
          <p:spPr bwMode="auto">
            <a:xfrm>
              <a:off x="340137" y="4237753"/>
              <a:ext cx="2304000" cy="540000"/>
            </a:xfrm>
            <a:prstGeom prst="rect">
              <a:avLst/>
            </a:prstGeom>
            <a:solidFill>
              <a:srgbClr val="E4E7E7"/>
            </a:solidFill>
            <a:ln w="6350">
              <a:solidFill>
                <a:schemeClr val="bg1"/>
              </a:solidFill>
              <a:miter lim="800000"/>
              <a:headEnd/>
              <a:tailEnd/>
            </a:ln>
            <a:effectLst/>
          </p:spPr>
          <p:txBody>
            <a:bodyPr lIns="144000" tIns="72000" rIns="108000" bIns="72000" anchor="ctr"/>
            <a:lstStyle/>
            <a:p>
              <a:pPr algn="l" eaLnBrk="0" hangingPunct="0">
                <a:spcBef>
                  <a:spcPct val="0"/>
                </a:spcBef>
              </a:pPr>
              <a:r>
                <a:rPr lang="en-US" sz="1200" b="1" dirty="0">
                  <a:solidFill>
                    <a:schemeClr val="tx1"/>
                  </a:solidFill>
                </a:rPr>
                <a:t>Criterion 2</a:t>
              </a:r>
            </a:p>
          </p:txBody>
        </p:sp>
      </p:grpSp>
      <p:grpSp>
        <p:nvGrpSpPr>
          <p:cNvPr id="11" name="Group 10" descr="Option 1">
            <a:extLst>
              <a:ext uri="{FF2B5EF4-FFF2-40B4-BE49-F238E27FC236}">
                <a16:creationId xmlns:a16="http://schemas.microsoft.com/office/drawing/2014/main" id="{163DDAA1-E6E8-4A72-A14D-9D4E484596D1}"/>
              </a:ext>
            </a:extLst>
          </p:cNvPr>
          <p:cNvGrpSpPr/>
          <p:nvPr/>
        </p:nvGrpSpPr>
        <p:grpSpPr>
          <a:xfrm>
            <a:off x="2641761" y="3248741"/>
            <a:ext cx="2304000" cy="1529012"/>
            <a:chOff x="2641761" y="3248741"/>
            <a:chExt cx="2304000" cy="1529012"/>
          </a:xfrm>
        </p:grpSpPr>
        <p:sp>
          <p:nvSpPr>
            <p:cNvPr id="126" name="Rectangle 121">
              <a:extLst>
                <a:ext uri="{FF2B5EF4-FFF2-40B4-BE49-F238E27FC236}">
                  <a16:creationId xmlns:a16="http://schemas.microsoft.com/office/drawing/2014/main" id="{53D31C6C-6185-4068-8CD3-E528BC8CC0DB}"/>
                </a:ext>
              </a:extLst>
            </p:cNvPr>
            <p:cNvSpPr>
              <a:spLocks noChangeArrowheads="1"/>
            </p:cNvSpPr>
            <p:nvPr/>
          </p:nvSpPr>
          <p:spPr bwMode="auto">
            <a:xfrm>
              <a:off x="2641761" y="4237753"/>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27" name="Rectangle 128">
              <a:extLst>
                <a:ext uri="{FF2B5EF4-FFF2-40B4-BE49-F238E27FC236}">
                  <a16:creationId xmlns:a16="http://schemas.microsoft.com/office/drawing/2014/main" id="{3741BD6C-F8FE-4B35-99DA-576DE6E77C1C}"/>
                </a:ext>
              </a:extLst>
            </p:cNvPr>
            <p:cNvSpPr>
              <a:spLocks noChangeArrowheads="1"/>
            </p:cNvSpPr>
            <p:nvPr/>
          </p:nvSpPr>
          <p:spPr bwMode="auto">
            <a:xfrm>
              <a:off x="2641761" y="3690181"/>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28" name="Rectangle 133">
              <a:extLst>
                <a:ext uri="{FF2B5EF4-FFF2-40B4-BE49-F238E27FC236}">
                  <a16:creationId xmlns:a16="http://schemas.microsoft.com/office/drawing/2014/main" id="{3201F509-79E2-45F5-A6E0-3488C88B21E9}"/>
                </a:ext>
              </a:extLst>
            </p:cNvPr>
            <p:cNvSpPr>
              <a:spLocks noChangeArrowheads="1"/>
            </p:cNvSpPr>
            <p:nvPr/>
          </p:nvSpPr>
          <p:spPr bwMode="auto">
            <a:xfrm>
              <a:off x="2641761" y="3248741"/>
              <a:ext cx="2304000" cy="441441"/>
            </a:xfrm>
            <a:prstGeom prst="rect">
              <a:avLst/>
            </a:prstGeom>
            <a:solidFill>
              <a:schemeClr val="accent1"/>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Option 1</a:t>
              </a:r>
            </a:p>
          </p:txBody>
        </p:sp>
        <p:grpSp>
          <p:nvGrpSpPr>
            <p:cNvPr id="159" name="Group 145">
              <a:extLst>
                <a:ext uri="{FF2B5EF4-FFF2-40B4-BE49-F238E27FC236}">
                  <a16:creationId xmlns:a16="http://schemas.microsoft.com/office/drawing/2014/main" id="{D0019CF3-4ED2-496A-A82B-2AE821BE06C6}"/>
                </a:ext>
              </a:extLst>
            </p:cNvPr>
            <p:cNvGrpSpPr>
              <a:grpSpLocks noChangeAspect="1"/>
            </p:cNvGrpSpPr>
            <p:nvPr>
              <p:custDataLst>
                <p:tags r:id="rId11"/>
              </p:custDataLst>
            </p:nvPr>
          </p:nvGrpSpPr>
          <p:grpSpPr bwMode="auto">
            <a:xfrm>
              <a:off x="2896839" y="3806801"/>
              <a:ext cx="217412" cy="316938"/>
              <a:chOff x="1870" y="1765"/>
              <a:chExt cx="154" cy="230"/>
            </a:xfrm>
            <a:solidFill>
              <a:schemeClr val="tx2">
                <a:lumMod val="50000"/>
              </a:schemeClr>
            </a:solidFill>
          </p:grpSpPr>
          <p:sp>
            <p:nvSpPr>
              <p:cNvPr id="160" name="Arc 146">
                <a:extLst>
                  <a:ext uri="{FF2B5EF4-FFF2-40B4-BE49-F238E27FC236}">
                    <a16:creationId xmlns:a16="http://schemas.microsoft.com/office/drawing/2014/main" id="{BA98A119-5616-4CBA-A848-E863D4C19D1B}"/>
                  </a:ext>
                </a:extLst>
              </p:cNvPr>
              <p:cNvSpPr>
                <a:spLocks/>
              </p:cNvSpPr>
              <p:nvPr/>
            </p:nvSpPr>
            <p:spPr bwMode="auto">
              <a:xfrm flipH="1">
                <a:off x="1870" y="1778"/>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grpFill/>
              <a:ln w="6350">
                <a:noFill/>
                <a:round/>
                <a:headEnd/>
                <a:tailEnd/>
              </a:ln>
              <a:effectLst/>
            </p:spPr>
            <p:txBody>
              <a:bodyPr wrap="none" lIns="0" tIns="0" rIns="0" bIns="0" anchor="ctr">
                <a:spAutoFit/>
              </a:bodyPr>
              <a:lstStyle/>
              <a:p>
                <a:endParaRPr lang="de-DE" dirty="0"/>
              </a:p>
            </p:txBody>
          </p:sp>
          <p:sp>
            <p:nvSpPr>
              <p:cNvPr id="161" name="AutoShape 147">
                <a:extLst>
                  <a:ext uri="{FF2B5EF4-FFF2-40B4-BE49-F238E27FC236}">
                    <a16:creationId xmlns:a16="http://schemas.microsoft.com/office/drawing/2014/main" id="{61AA9B47-3FF9-485D-BDC3-0C62FDE168DB}"/>
                  </a:ext>
                </a:extLst>
              </p:cNvPr>
              <p:cNvSpPr>
                <a:spLocks noChangeArrowheads="1"/>
              </p:cNvSpPr>
              <p:nvPr/>
            </p:nvSpPr>
            <p:spPr bwMode="auto">
              <a:xfrm>
                <a:off x="1920" y="1765"/>
                <a:ext cx="104" cy="230"/>
              </a:xfrm>
              <a:prstGeom prst="upArrow">
                <a:avLst>
                  <a:gd name="adj1" fmla="val 39398"/>
                  <a:gd name="adj2" fmla="val 72253"/>
                </a:avLst>
              </a:prstGeom>
              <a:grpFill/>
              <a:ln w="6350">
                <a:noFill/>
                <a:miter lim="800000"/>
                <a:headEnd/>
                <a:tailEnd/>
              </a:ln>
              <a:effectLst/>
            </p:spPr>
            <p:txBody>
              <a:bodyPr lIns="0" tIns="0" rIns="0" bIns="0" anchor="ctr">
                <a:spAutoFit/>
              </a:bodyPr>
              <a:lstStyle/>
              <a:p>
                <a:endParaRPr lang="de-DE" dirty="0"/>
              </a:p>
            </p:txBody>
          </p:sp>
        </p:grpSp>
        <p:grpSp>
          <p:nvGrpSpPr>
            <p:cNvPr id="171" name="Group 145">
              <a:extLst>
                <a:ext uri="{FF2B5EF4-FFF2-40B4-BE49-F238E27FC236}">
                  <a16:creationId xmlns:a16="http://schemas.microsoft.com/office/drawing/2014/main" id="{43EA6314-A909-48F0-8369-5FB38F1B5A7A}"/>
                </a:ext>
              </a:extLst>
            </p:cNvPr>
            <p:cNvGrpSpPr>
              <a:grpSpLocks noChangeAspect="1"/>
            </p:cNvGrpSpPr>
            <p:nvPr>
              <p:custDataLst>
                <p:tags r:id="rId12"/>
              </p:custDataLst>
            </p:nvPr>
          </p:nvGrpSpPr>
          <p:grpSpPr bwMode="auto">
            <a:xfrm>
              <a:off x="2896839" y="4351044"/>
              <a:ext cx="217412" cy="316938"/>
              <a:chOff x="1870" y="1765"/>
              <a:chExt cx="154" cy="230"/>
            </a:xfrm>
            <a:solidFill>
              <a:schemeClr val="tx2">
                <a:lumMod val="50000"/>
              </a:schemeClr>
            </a:solidFill>
          </p:grpSpPr>
          <p:sp>
            <p:nvSpPr>
              <p:cNvPr id="172" name="Arc 146">
                <a:extLst>
                  <a:ext uri="{FF2B5EF4-FFF2-40B4-BE49-F238E27FC236}">
                    <a16:creationId xmlns:a16="http://schemas.microsoft.com/office/drawing/2014/main" id="{FBD24BFA-7575-4558-BBB2-8687638F1EA9}"/>
                  </a:ext>
                </a:extLst>
              </p:cNvPr>
              <p:cNvSpPr>
                <a:spLocks/>
              </p:cNvSpPr>
              <p:nvPr/>
            </p:nvSpPr>
            <p:spPr bwMode="auto">
              <a:xfrm flipH="1">
                <a:off x="1870" y="1778"/>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grpFill/>
              <a:ln w="6350">
                <a:noFill/>
                <a:round/>
                <a:headEnd/>
                <a:tailEnd/>
              </a:ln>
              <a:effectLst/>
            </p:spPr>
            <p:txBody>
              <a:bodyPr wrap="none" lIns="0" tIns="0" rIns="0" bIns="0" anchor="ctr">
                <a:spAutoFit/>
              </a:bodyPr>
              <a:lstStyle/>
              <a:p>
                <a:endParaRPr lang="de-DE" dirty="0"/>
              </a:p>
            </p:txBody>
          </p:sp>
          <p:sp>
            <p:nvSpPr>
              <p:cNvPr id="173" name="AutoShape 147">
                <a:extLst>
                  <a:ext uri="{FF2B5EF4-FFF2-40B4-BE49-F238E27FC236}">
                    <a16:creationId xmlns:a16="http://schemas.microsoft.com/office/drawing/2014/main" id="{B46333C1-140B-45A4-B34C-6333853C1BE8}"/>
                  </a:ext>
                </a:extLst>
              </p:cNvPr>
              <p:cNvSpPr>
                <a:spLocks noChangeArrowheads="1"/>
              </p:cNvSpPr>
              <p:nvPr/>
            </p:nvSpPr>
            <p:spPr bwMode="auto">
              <a:xfrm>
                <a:off x="1920" y="1765"/>
                <a:ext cx="104" cy="230"/>
              </a:xfrm>
              <a:prstGeom prst="upArrow">
                <a:avLst>
                  <a:gd name="adj1" fmla="val 39398"/>
                  <a:gd name="adj2" fmla="val 72253"/>
                </a:avLst>
              </a:prstGeom>
              <a:grpFill/>
              <a:ln w="6350">
                <a:noFill/>
                <a:miter lim="800000"/>
                <a:headEnd/>
                <a:tailEnd/>
              </a:ln>
              <a:effectLst/>
            </p:spPr>
            <p:txBody>
              <a:bodyPr lIns="0" tIns="0" rIns="0" bIns="0" anchor="ctr">
                <a:spAutoFit/>
              </a:bodyPr>
              <a:lstStyle/>
              <a:p>
                <a:endParaRPr lang="de-DE" dirty="0"/>
              </a:p>
            </p:txBody>
          </p:sp>
        </p:grpSp>
      </p:grpSp>
      <p:grpSp>
        <p:nvGrpSpPr>
          <p:cNvPr id="12" name="Group 11" descr="Option 2">
            <a:extLst>
              <a:ext uri="{FF2B5EF4-FFF2-40B4-BE49-F238E27FC236}">
                <a16:creationId xmlns:a16="http://schemas.microsoft.com/office/drawing/2014/main" id="{13B79A4F-467A-4265-9A1F-5F4764882F16}"/>
              </a:ext>
            </a:extLst>
          </p:cNvPr>
          <p:cNvGrpSpPr/>
          <p:nvPr/>
        </p:nvGrpSpPr>
        <p:grpSpPr>
          <a:xfrm>
            <a:off x="4943385" y="3248741"/>
            <a:ext cx="2304000" cy="1529012"/>
            <a:chOff x="4943385" y="3248741"/>
            <a:chExt cx="2304000" cy="1529012"/>
          </a:xfrm>
        </p:grpSpPr>
        <p:sp>
          <p:nvSpPr>
            <p:cNvPr id="120" name="Rectangle 122">
              <a:extLst>
                <a:ext uri="{FF2B5EF4-FFF2-40B4-BE49-F238E27FC236}">
                  <a16:creationId xmlns:a16="http://schemas.microsoft.com/office/drawing/2014/main" id="{3E0CFEB9-BA05-4793-8048-81CAA5FABDED}"/>
                </a:ext>
              </a:extLst>
            </p:cNvPr>
            <p:cNvSpPr>
              <a:spLocks noChangeArrowheads="1"/>
            </p:cNvSpPr>
            <p:nvPr/>
          </p:nvSpPr>
          <p:spPr bwMode="auto">
            <a:xfrm>
              <a:off x="4943385" y="3690181"/>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21" name="Rectangle 123">
              <a:extLst>
                <a:ext uri="{FF2B5EF4-FFF2-40B4-BE49-F238E27FC236}">
                  <a16:creationId xmlns:a16="http://schemas.microsoft.com/office/drawing/2014/main" id="{A45373E8-8F10-4E92-B715-24F10629F521}"/>
                </a:ext>
              </a:extLst>
            </p:cNvPr>
            <p:cNvSpPr>
              <a:spLocks noChangeArrowheads="1"/>
            </p:cNvSpPr>
            <p:nvPr/>
          </p:nvSpPr>
          <p:spPr bwMode="auto">
            <a:xfrm>
              <a:off x="4943385" y="4237753"/>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22" name="Rectangle 132">
              <a:extLst>
                <a:ext uri="{FF2B5EF4-FFF2-40B4-BE49-F238E27FC236}">
                  <a16:creationId xmlns:a16="http://schemas.microsoft.com/office/drawing/2014/main" id="{075C703B-7336-4478-8949-C7271E4072DA}"/>
                </a:ext>
              </a:extLst>
            </p:cNvPr>
            <p:cNvSpPr>
              <a:spLocks noChangeArrowheads="1"/>
            </p:cNvSpPr>
            <p:nvPr/>
          </p:nvSpPr>
          <p:spPr bwMode="auto">
            <a:xfrm>
              <a:off x="4943385" y="3248741"/>
              <a:ext cx="2304000" cy="441441"/>
            </a:xfrm>
            <a:prstGeom prst="rect">
              <a:avLst/>
            </a:prstGeom>
            <a:solidFill>
              <a:schemeClr val="accent1">
                <a:lumMod val="60000"/>
                <a:lumOff val="4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latin typeface="+mj-lt"/>
                </a:rPr>
                <a:t>Option 2</a:t>
              </a:r>
            </a:p>
          </p:txBody>
        </p:sp>
        <p:grpSp>
          <p:nvGrpSpPr>
            <p:cNvPr id="168" name="Group 198">
              <a:extLst>
                <a:ext uri="{FF2B5EF4-FFF2-40B4-BE49-F238E27FC236}">
                  <a16:creationId xmlns:a16="http://schemas.microsoft.com/office/drawing/2014/main" id="{62DD664E-71BB-44B4-AA42-7E0B2F65218C}"/>
                </a:ext>
              </a:extLst>
            </p:cNvPr>
            <p:cNvGrpSpPr>
              <a:grpSpLocks noChangeAspect="1"/>
            </p:cNvGrpSpPr>
            <p:nvPr>
              <p:custDataLst>
                <p:tags r:id="rId9"/>
              </p:custDataLst>
            </p:nvPr>
          </p:nvGrpSpPr>
          <p:grpSpPr bwMode="auto">
            <a:xfrm>
              <a:off x="5260793" y="3806801"/>
              <a:ext cx="146824" cy="316938"/>
              <a:chOff x="4165" y="1761"/>
              <a:chExt cx="104" cy="230"/>
            </a:xfrm>
            <a:solidFill>
              <a:schemeClr val="tx2">
                <a:lumMod val="50000"/>
              </a:schemeClr>
            </a:solidFill>
          </p:grpSpPr>
          <p:sp>
            <p:nvSpPr>
              <p:cNvPr id="169" name="Arc 199">
                <a:extLst>
                  <a:ext uri="{FF2B5EF4-FFF2-40B4-BE49-F238E27FC236}">
                    <a16:creationId xmlns:a16="http://schemas.microsoft.com/office/drawing/2014/main" id="{4D3EF71C-3E90-467F-AFC1-4E3056D925A7}"/>
                  </a:ext>
                </a:extLst>
              </p:cNvPr>
              <p:cNvSpPr>
                <a:spLocks/>
              </p:cNvSpPr>
              <p:nvPr/>
            </p:nvSpPr>
            <p:spPr bwMode="auto">
              <a:xfrm rot="12646288" flipH="1" flipV="1">
                <a:off x="4219" y="1775"/>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grpFill/>
              <a:ln w="6350">
                <a:noFill/>
                <a:round/>
                <a:headEnd/>
                <a:tailEnd/>
              </a:ln>
              <a:effectLst/>
            </p:spPr>
            <p:txBody>
              <a:bodyPr wrap="none" lIns="0" tIns="0" rIns="0" bIns="0" anchor="ctr">
                <a:spAutoFit/>
              </a:bodyPr>
              <a:lstStyle/>
              <a:p>
                <a:endParaRPr lang="de-DE" dirty="0"/>
              </a:p>
            </p:txBody>
          </p:sp>
          <p:sp>
            <p:nvSpPr>
              <p:cNvPr id="170" name="AutoShape 200">
                <a:extLst>
                  <a:ext uri="{FF2B5EF4-FFF2-40B4-BE49-F238E27FC236}">
                    <a16:creationId xmlns:a16="http://schemas.microsoft.com/office/drawing/2014/main" id="{158EEF01-1761-47A5-8635-E553E982EEB6}"/>
                  </a:ext>
                </a:extLst>
              </p:cNvPr>
              <p:cNvSpPr>
                <a:spLocks noChangeArrowheads="1"/>
              </p:cNvSpPr>
              <p:nvPr/>
            </p:nvSpPr>
            <p:spPr bwMode="auto">
              <a:xfrm rot="12646288" flipV="1">
                <a:off x="4165" y="1761"/>
                <a:ext cx="104" cy="230"/>
              </a:xfrm>
              <a:prstGeom prst="upArrow">
                <a:avLst>
                  <a:gd name="adj1" fmla="val 39398"/>
                  <a:gd name="adj2" fmla="val 72253"/>
                </a:avLst>
              </a:prstGeom>
              <a:grpFill/>
              <a:ln w="6350">
                <a:noFill/>
                <a:miter lim="800000"/>
                <a:headEnd/>
                <a:tailEnd/>
              </a:ln>
              <a:effectLst/>
            </p:spPr>
            <p:txBody>
              <a:bodyPr lIns="0" tIns="0" rIns="0" bIns="0" anchor="ctr">
                <a:spAutoFit/>
              </a:bodyPr>
              <a:lstStyle/>
              <a:p>
                <a:endParaRPr lang="de-DE" dirty="0"/>
              </a:p>
            </p:txBody>
          </p:sp>
        </p:grpSp>
        <p:grpSp>
          <p:nvGrpSpPr>
            <p:cNvPr id="180" name="Group 198">
              <a:extLst>
                <a:ext uri="{FF2B5EF4-FFF2-40B4-BE49-F238E27FC236}">
                  <a16:creationId xmlns:a16="http://schemas.microsoft.com/office/drawing/2014/main" id="{29E5E3AB-5A56-4EEB-B34F-AE6F18DF1F6A}"/>
                </a:ext>
              </a:extLst>
            </p:cNvPr>
            <p:cNvGrpSpPr>
              <a:grpSpLocks noChangeAspect="1"/>
            </p:cNvGrpSpPr>
            <p:nvPr>
              <p:custDataLst>
                <p:tags r:id="rId10"/>
              </p:custDataLst>
            </p:nvPr>
          </p:nvGrpSpPr>
          <p:grpSpPr bwMode="auto">
            <a:xfrm>
              <a:off x="5260793" y="4351044"/>
              <a:ext cx="146824" cy="316938"/>
              <a:chOff x="4165" y="1761"/>
              <a:chExt cx="104" cy="230"/>
            </a:xfrm>
            <a:solidFill>
              <a:schemeClr val="tx2">
                <a:lumMod val="50000"/>
              </a:schemeClr>
            </a:solidFill>
          </p:grpSpPr>
          <p:sp>
            <p:nvSpPr>
              <p:cNvPr id="181" name="Arc 199">
                <a:extLst>
                  <a:ext uri="{FF2B5EF4-FFF2-40B4-BE49-F238E27FC236}">
                    <a16:creationId xmlns:a16="http://schemas.microsoft.com/office/drawing/2014/main" id="{EB4019CD-A458-47AD-882B-273F7080D575}"/>
                  </a:ext>
                </a:extLst>
              </p:cNvPr>
              <p:cNvSpPr>
                <a:spLocks/>
              </p:cNvSpPr>
              <p:nvPr/>
            </p:nvSpPr>
            <p:spPr bwMode="auto">
              <a:xfrm rot="12646288" flipH="1" flipV="1">
                <a:off x="4219" y="1775"/>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grpFill/>
              <a:ln w="6350">
                <a:noFill/>
                <a:round/>
                <a:headEnd/>
                <a:tailEnd/>
              </a:ln>
              <a:effectLst/>
            </p:spPr>
            <p:txBody>
              <a:bodyPr wrap="none" lIns="0" tIns="0" rIns="0" bIns="0" anchor="ctr">
                <a:spAutoFit/>
              </a:bodyPr>
              <a:lstStyle/>
              <a:p>
                <a:endParaRPr lang="de-DE" dirty="0"/>
              </a:p>
            </p:txBody>
          </p:sp>
          <p:sp>
            <p:nvSpPr>
              <p:cNvPr id="182" name="AutoShape 200">
                <a:extLst>
                  <a:ext uri="{FF2B5EF4-FFF2-40B4-BE49-F238E27FC236}">
                    <a16:creationId xmlns:a16="http://schemas.microsoft.com/office/drawing/2014/main" id="{062473C2-D712-421F-8CA8-408A07878225}"/>
                  </a:ext>
                </a:extLst>
              </p:cNvPr>
              <p:cNvSpPr>
                <a:spLocks noChangeArrowheads="1"/>
              </p:cNvSpPr>
              <p:nvPr/>
            </p:nvSpPr>
            <p:spPr bwMode="auto">
              <a:xfrm rot="12646288" flipV="1">
                <a:off x="4165" y="1761"/>
                <a:ext cx="104" cy="230"/>
              </a:xfrm>
              <a:prstGeom prst="upArrow">
                <a:avLst>
                  <a:gd name="adj1" fmla="val 39398"/>
                  <a:gd name="adj2" fmla="val 72253"/>
                </a:avLst>
              </a:prstGeom>
              <a:grpFill/>
              <a:ln w="6350">
                <a:noFill/>
                <a:miter lim="800000"/>
                <a:headEnd/>
                <a:tailEnd/>
              </a:ln>
              <a:effectLst/>
            </p:spPr>
            <p:txBody>
              <a:bodyPr lIns="0" tIns="0" rIns="0" bIns="0" anchor="ctr">
                <a:spAutoFit/>
              </a:bodyPr>
              <a:lstStyle/>
              <a:p>
                <a:endParaRPr lang="de-DE" dirty="0"/>
              </a:p>
            </p:txBody>
          </p:sp>
        </p:grpSp>
      </p:grpSp>
      <p:grpSp>
        <p:nvGrpSpPr>
          <p:cNvPr id="13" name="Group 12" descr="Option 3">
            <a:extLst>
              <a:ext uri="{FF2B5EF4-FFF2-40B4-BE49-F238E27FC236}">
                <a16:creationId xmlns:a16="http://schemas.microsoft.com/office/drawing/2014/main" id="{143AEF35-AAD3-4CE6-94C7-D74335B83879}"/>
              </a:ext>
            </a:extLst>
          </p:cNvPr>
          <p:cNvGrpSpPr/>
          <p:nvPr/>
        </p:nvGrpSpPr>
        <p:grpSpPr>
          <a:xfrm>
            <a:off x="7245009" y="3248741"/>
            <a:ext cx="2304000" cy="1529012"/>
            <a:chOff x="7245009" y="3248741"/>
            <a:chExt cx="2304000" cy="1529012"/>
          </a:xfrm>
        </p:grpSpPr>
        <p:sp>
          <p:nvSpPr>
            <p:cNvPr id="114" name="Rectangle 124">
              <a:extLst>
                <a:ext uri="{FF2B5EF4-FFF2-40B4-BE49-F238E27FC236}">
                  <a16:creationId xmlns:a16="http://schemas.microsoft.com/office/drawing/2014/main" id="{9867F281-2A9A-4BF2-B43C-5A58291D3B58}"/>
                </a:ext>
              </a:extLst>
            </p:cNvPr>
            <p:cNvSpPr>
              <a:spLocks noChangeArrowheads="1"/>
            </p:cNvSpPr>
            <p:nvPr/>
          </p:nvSpPr>
          <p:spPr bwMode="auto">
            <a:xfrm>
              <a:off x="7245009" y="3690181"/>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5" name="Rectangle 125">
              <a:extLst>
                <a:ext uri="{FF2B5EF4-FFF2-40B4-BE49-F238E27FC236}">
                  <a16:creationId xmlns:a16="http://schemas.microsoft.com/office/drawing/2014/main" id="{0D722337-4939-4A9C-9851-ED2E486FA1B4}"/>
                </a:ext>
              </a:extLst>
            </p:cNvPr>
            <p:cNvSpPr>
              <a:spLocks noChangeArrowheads="1"/>
            </p:cNvSpPr>
            <p:nvPr/>
          </p:nvSpPr>
          <p:spPr bwMode="auto">
            <a:xfrm>
              <a:off x="7245009" y="4237753"/>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6" name="Rectangle 131">
              <a:extLst>
                <a:ext uri="{FF2B5EF4-FFF2-40B4-BE49-F238E27FC236}">
                  <a16:creationId xmlns:a16="http://schemas.microsoft.com/office/drawing/2014/main" id="{CE7C4568-EA53-43E3-BDAE-A9DC66427BF7}"/>
                </a:ext>
              </a:extLst>
            </p:cNvPr>
            <p:cNvSpPr>
              <a:spLocks noChangeArrowheads="1"/>
            </p:cNvSpPr>
            <p:nvPr/>
          </p:nvSpPr>
          <p:spPr bwMode="auto">
            <a:xfrm>
              <a:off x="7245009" y="3248741"/>
              <a:ext cx="2304000" cy="441441"/>
            </a:xfrm>
            <a:prstGeom prst="rect">
              <a:avLst/>
            </a:prstGeom>
            <a:solidFill>
              <a:schemeClr val="accent1">
                <a:lumMod val="40000"/>
                <a:lumOff val="6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latin typeface="+mj-lt"/>
                </a:rPr>
                <a:t>Option 3</a:t>
              </a:r>
            </a:p>
          </p:txBody>
        </p:sp>
        <p:grpSp>
          <p:nvGrpSpPr>
            <p:cNvPr id="165" name="Group 130">
              <a:extLst>
                <a:ext uri="{FF2B5EF4-FFF2-40B4-BE49-F238E27FC236}">
                  <a16:creationId xmlns:a16="http://schemas.microsoft.com/office/drawing/2014/main" id="{C33A7ABD-7B11-4AF8-AEA1-83B3952FF43B}"/>
                </a:ext>
              </a:extLst>
            </p:cNvPr>
            <p:cNvGrpSpPr>
              <a:grpSpLocks noChangeAspect="1"/>
            </p:cNvGrpSpPr>
            <p:nvPr>
              <p:custDataLst>
                <p:tags r:id="rId7"/>
              </p:custDataLst>
            </p:nvPr>
          </p:nvGrpSpPr>
          <p:grpSpPr bwMode="auto">
            <a:xfrm>
              <a:off x="7569394" y="3806801"/>
              <a:ext cx="146824" cy="316938"/>
              <a:chOff x="3043" y="1764"/>
              <a:chExt cx="104" cy="230"/>
            </a:xfrm>
            <a:solidFill>
              <a:schemeClr val="tx2">
                <a:lumMod val="50000"/>
              </a:schemeClr>
            </a:solidFill>
          </p:grpSpPr>
          <p:sp>
            <p:nvSpPr>
              <p:cNvPr id="166" name="Arc 131">
                <a:extLst>
                  <a:ext uri="{FF2B5EF4-FFF2-40B4-BE49-F238E27FC236}">
                    <a16:creationId xmlns:a16="http://schemas.microsoft.com/office/drawing/2014/main" id="{3F6C0051-8208-46C9-8A40-59D7B15F7940}"/>
                  </a:ext>
                </a:extLst>
              </p:cNvPr>
              <p:cNvSpPr>
                <a:spLocks/>
              </p:cNvSpPr>
              <p:nvPr/>
            </p:nvSpPr>
            <p:spPr bwMode="auto">
              <a:xfrm rot="8953712" flipH="1">
                <a:off x="3096" y="1780"/>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grpFill/>
              <a:ln w="6350">
                <a:noFill/>
                <a:round/>
                <a:headEnd/>
                <a:tailEnd/>
              </a:ln>
              <a:effectLst/>
            </p:spPr>
            <p:txBody>
              <a:bodyPr wrap="none" lIns="0" tIns="0" rIns="0" bIns="0" anchor="ctr">
                <a:spAutoFit/>
              </a:bodyPr>
              <a:lstStyle/>
              <a:p>
                <a:endParaRPr lang="de-DE" dirty="0"/>
              </a:p>
            </p:txBody>
          </p:sp>
          <p:sp>
            <p:nvSpPr>
              <p:cNvPr id="167" name="AutoShape 132">
                <a:extLst>
                  <a:ext uri="{FF2B5EF4-FFF2-40B4-BE49-F238E27FC236}">
                    <a16:creationId xmlns:a16="http://schemas.microsoft.com/office/drawing/2014/main" id="{BD649C04-A6AD-4A75-940E-6E2E04AD1904}"/>
                  </a:ext>
                </a:extLst>
              </p:cNvPr>
              <p:cNvSpPr>
                <a:spLocks noChangeArrowheads="1"/>
              </p:cNvSpPr>
              <p:nvPr/>
            </p:nvSpPr>
            <p:spPr bwMode="auto">
              <a:xfrm rot="8953712">
                <a:off x="3043" y="1764"/>
                <a:ext cx="104" cy="230"/>
              </a:xfrm>
              <a:prstGeom prst="upArrow">
                <a:avLst>
                  <a:gd name="adj1" fmla="val 39398"/>
                  <a:gd name="adj2" fmla="val 72253"/>
                </a:avLst>
              </a:prstGeom>
              <a:grpFill/>
              <a:ln w="6350">
                <a:noFill/>
                <a:miter lim="800000"/>
                <a:headEnd/>
                <a:tailEnd/>
              </a:ln>
              <a:effectLst/>
            </p:spPr>
            <p:txBody>
              <a:bodyPr lIns="0" tIns="0" rIns="0" bIns="0" anchor="ctr">
                <a:spAutoFit/>
              </a:bodyPr>
              <a:lstStyle/>
              <a:p>
                <a:endParaRPr lang="de-DE" dirty="0"/>
              </a:p>
            </p:txBody>
          </p:sp>
        </p:grpSp>
        <p:grpSp>
          <p:nvGrpSpPr>
            <p:cNvPr id="177" name="Group 130">
              <a:extLst>
                <a:ext uri="{FF2B5EF4-FFF2-40B4-BE49-F238E27FC236}">
                  <a16:creationId xmlns:a16="http://schemas.microsoft.com/office/drawing/2014/main" id="{BDDB5DC7-DC09-4F4D-82FD-F73E93015E0D}"/>
                </a:ext>
              </a:extLst>
            </p:cNvPr>
            <p:cNvGrpSpPr>
              <a:grpSpLocks noChangeAspect="1"/>
            </p:cNvGrpSpPr>
            <p:nvPr>
              <p:custDataLst>
                <p:tags r:id="rId8"/>
              </p:custDataLst>
            </p:nvPr>
          </p:nvGrpSpPr>
          <p:grpSpPr bwMode="auto">
            <a:xfrm>
              <a:off x="7569394" y="4351044"/>
              <a:ext cx="146824" cy="316938"/>
              <a:chOff x="3043" y="1764"/>
              <a:chExt cx="104" cy="230"/>
            </a:xfrm>
            <a:solidFill>
              <a:schemeClr val="tx2">
                <a:lumMod val="50000"/>
              </a:schemeClr>
            </a:solidFill>
          </p:grpSpPr>
          <p:sp>
            <p:nvSpPr>
              <p:cNvPr id="178" name="Arc 131">
                <a:extLst>
                  <a:ext uri="{FF2B5EF4-FFF2-40B4-BE49-F238E27FC236}">
                    <a16:creationId xmlns:a16="http://schemas.microsoft.com/office/drawing/2014/main" id="{F07080D3-F6CB-48A5-85EC-DF1B58FAAFC7}"/>
                  </a:ext>
                </a:extLst>
              </p:cNvPr>
              <p:cNvSpPr>
                <a:spLocks/>
              </p:cNvSpPr>
              <p:nvPr/>
            </p:nvSpPr>
            <p:spPr bwMode="auto">
              <a:xfrm rot="8953712" flipH="1">
                <a:off x="3096" y="1780"/>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grpFill/>
              <a:ln w="6350">
                <a:noFill/>
                <a:round/>
                <a:headEnd/>
                <a:tailEnd/>
              </a:ln>
              <a:effectLst/>
            </p:spPr>
            <p:txBody>
              <a:bodyPr wrap="none" lIns="0" tIns="0" rIns="0" bIns="0" anchor="ctr">
                <a:spAutoFit/>
              </a:bodyPr>
              <a:lstStyle/>
              <a:p>
                <a:endParaRPr lang="de-DE" dirty="0"/>
              </a:p>
            </p:txBody>
          </p:sp>
          <p:sp>
            <p:nvSpPr>
              <p:cNvPr id="179" name="AutoShape 132">
                <a:extLst>
                  <a:ext uri="{FF2B5EF4-FFF2-40B4-BE49-F238E27FC236}">
                    <a16:creationId xmlns:a16="http://schemas.microsoft.com/office/drawing/2014/main" id="{205F0134-3642-4FC1-B7FB-89A9E99C62A9}"/>
                  </a:ext>
                </a:extLst>
              </p:cNvPr>
              <p:cNvSpPr>
                <a:spLocks noChangeArrowheads="1"/>
              </p:cNvSpPr>
              <p:nvPr/>
            </p:nvSpPr>
            <p:spPr bwMode="auto">
              <a:xfrm rot="8953712">
                <a:off x="3043" y="1764"/>
                <a:ext cx="104" cy="230"/>
              </a:xfrm>
              <a:prstGeom prst="upArrow">
                <a:avLst>
                  <a:gd name="adj1" fmla="val 39398"/>
                  <a:gd name="adj2" fmla="val 72253"/>
                </a:avLst>
              </a:prstGeom>
              <a:grpFill/>
              <a:ln w="6350">
                <a:noFill/>
                <a:miter lim="800000"/>
                <a:headEnd/>
                <a:tailEnd/>
              </a:ln>
              <a:effectLst/>
            </p:spPr>
            <p:txBody>
              <a:bodyPr lIns="0" tIns="0" rIns="0" bIns="0" anchor="ctr">
                <a:spAutoFit/>
              </a:bodyPr>
              <a:lstStyle/>
              <a:p>
                <a:endParaRPr lang="de-DE" dirty="0"/>
              </a:p>
            </p:txBody>
          </p:sp>
        </p:grpSp>
      </p:grpSp>
      <p:grpSp>
        <p:nvGrpSpPr>
          <p:cNvPr id="14" name="Group 13" descr="Option 4">
            <a:extLst>
              <a:ext uri="{FF2B5EF4-FFF2-40B4-BE49-F238E27FC236}">
                <a16:creationId xmlns:a16="http://schemas.microsoft.com/office/drawing/2014/main" id="{30F8A629-EC1B-4EE8-AE49-F25BDD938652}"/>
              </a:ext>
            </a:extLst>
          </p:cNvPr>
          <p:cNvGrpSpPr/>
          <p:nvPr/>
        </p:nvGrpSpPr>
        <p:grpSpPr>
          <a:xfrm>
            <a:off x="9546634" y="3248741"/>
            <a:ext cx="2304000" cy="1529012"/>
            <a:chOff x="9546634" y="3248741"/>
            <a:chExt cx="2304000" cy="1529012"/>
          </a:xfrm>
        </p:grpSpPr>
        <p:sp>
          <p:nvSpPr>
            <p:cNvPr id="108" name="Rectangle 126">
              <a:extLst>
                <a:ext uri="{FF2B5EF4-FFF2-40B4-BE49-F238E27FC236}">
                  <a16:creationId xmlns:a16="http://schemas.microsoft.com/office/drawing/2014/main" id="{48012EDA-291F-4EF6-90D8-10A31829A887}"/>
                </a:ext>
              </a:extLst>
            </p:cNvPr>
            <p:cNvSpPr>
              <a:spLocks noChangeArrowheads="1"/>
            </p:cNvSpPr>
            <p:nvPr/>
          </p:nvSpPr>
          <p:spPr bwMode="auto">
            <a:xfrm>
              <a:off x="9546634" y="3690181"/>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09" name="Rectangle 127">
              <a:extLst>
                <a:ext uri="{FF2B5EF4-FFF2-40B4-BE49-F238E27FC236}">
                  <a16:creationId xmlns:a16="http://schemas.microsoft.com/office/drawing/2014/main" id="{A18E098F-689A-4F71-8D27-6D2A0E0E1236}"/>
                </a:ext>
              </a:extLst>
            </p:cNvPr>
            <p:cNvSpPr>
              <a:spLocks noChangeArrowheads="1"/>
            </p:cNvSpPr>
            <p:nvPr/>
          </p:nvSpPr>
          <p:spPr bwMode="auto">
            <a:xfrm>
              <a:off x="9546634" y="4237753"/>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0" name="Rectangle 130">
              <a:extLst>
                <a:ext uri="{FF2B5EF4-FFF2-40B4-BE49-F238E27FC236}">
                  <a16:creationId xmlns:a16="http://schemas.microsoft.com/office/drawing/2014/main" id="{9BC3CF96-69D6-4435-AB17-6CAF8D74D79E}"/>
                </a:ext>
              </a:extLst>
            </p:cNvPr>
            <p:cNvSpPr>
              <a:spLocks noChangeArrowheads="1"/>
            </p:cNvSpPr>
            <p:nvPr/>
          </p:nvSpPr>
          <p:spPr bwMode="auto">
            <a:xfrm>
              <a:off x="9546634" y="3248741"/>
              <a:ext cx="2304000" cy="441441"/>
            </a:xfrm>
            <a:prstGeom prst="rect">
              <a:avLst/>
            </a:prstGeom>
            <a:solidFill>
              <a:schemeClr val="accent1">
                <a:lumMod val="20000"/>
                <a:lumOff val="8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latin typeface="+mj-lt"/>
                </a:rPr>
                <a:t>Option 4</a:t>
              </a:r>
            </a:p>
          </p:txBody>
        </p:sp>
        <p:grpSp>
          <p:nvGrpSpPr>
            <p:cNvPr id="162" name="Group 127">
              <a:extLst>
                <a:ext uri="{FF2B5EF4-FFF2-40B4-BE49-F238E27FC236}">
                  <a16:creationId xmlns:a16="http://schemas.microsoft.com/office/drawing/2014/main" id="{DA215C3F-50D7-40BE-9E1F-25D1FD636F07}"/>
                </a:ext>
              </a:extLst>
            </p:cNvPr>
            <p:cNvGrpSpPr>
              <a:grpSpLocks noChangeAspect="1"/>
            </p:cNvGrpSpPr>
            <p:nvPr>
              <p:custDataLst>
                <p:tags r:id="rId5"/>
              </p:custDataLst>
            </p:nvPr>
          </p:nvGrpSpPr>
          <p:grpSpPr bwMode="auto">
            <a:xfrm>
              <a:off x="9822567" y="3806801"/>
              <a:ext cx="146824" cy="316938"/>
              <a:chOff x="5291" y="1765"/>
              <a:chExt cx="104" cy="230"/>
            </a:xfrm>
            <a:solidFill>
              <a:schemeClr val="tx2">
                <a:lumMod val="50000"/>
              </a:schemeClr>
            </a:solidFill>
          </p:grpSpPr>
          <p:sp>
            <p:nvSpPr>
              <p:cNvPr id="163" name="Arc 128">
                <a:extLst>
                  <a:ext uri="{FF2B5EF4-FFF2-40B4-BE49-F238E27FC236}">
                    <a16:creationId xmlns:a16="http://schemas.microsoft.com/office/drawing/2014/main" id="{32452422-2E01-46E7-B734-4F4591F11774}"/>
                  </a:ext>
                </a:extLst>
              </p:cNvPr>
              <p:cNvSpPr>
                <a:spLocks/>
              </p:cNvSpPr>
              <p:nvPr/>
            </p:nvSpPr>
            <p:spPr bwMode="auto">
              <a:xfrm rot="10800000" flipH="1">
                <a:off x="5342" y="1781"/>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grpFill/>
              <a:ln w="6350">
                <a:noFill/>
                <a:round/>
                <a:headEnd/>
                <a:tailEnd/>
              </a:ln>
              <a:effectLst/>
            </p:spPr>
            <p:txBody>
              <a:bodyPr wrap="none" lIns="0" tIns="0" rIns="0" bIns="0" anchor="ctr">
                <a:spAutoFit/>
              </a:bodyPr>
              <a:lstStyle/>
              <a:p>
                <a:endParaRPr lang="de-DE" dirty="0"/>
              </a:p>
            </p:txBody>
          </p:sp>
          <p:sp>
            <p:nvSpPr>
              <p:cNvPr id="164" name="AutoShape 129">
                <a:extLst>
                  <a:ext uri="{FF2B5EF4-FFF2-40B4-BE49-F238E27FC236}">
                    <a16:creationId xmlns:a16="http://schemas.microsoft.com/office/drawing/2014/main" id="{9A2D1D49-EC81-4F8B-B0EC-A2C7911CA1F1}"/>
                  </a:ext>
                </a:extLst>
              </p:cNvPr>
              <p:cNvSpPr>
                <a:spLocks noChangeArrowheads="1"/>
              </p:cNvSpPr>
              <p:nvPr/>
            </p:nvSpPr>
            <p:spPr bwMode="auto">
              <a:xfrm rot="10800000">
                <a:off x="5291" y="1765"/>
                <a:ext cx="104" cy="230"/>
              </a:xfrm>
              <a:prstGeom prst="upArrow">
                <a:avLst>
                  <a:gd name="adj1" fmla="val 39398"/>
                  <a:gd name="adj2" fmla="val 72253"/>
                </a:avLst>
              </a:prstGeom>
              <a:grpFill/>
              <a:ln w="6350">
                <a:noFill/>
                <a:miter lim="800000"/>
                <a:headEnd/>
                <a:tailEnd/>
              </a:ln>
              <a:effectLst/>
            </p:spPr>
            <p:txBody>
              <a:bodyPr lIns="0" tIns="0" rIns="0" bIns="0" anchor="ctr">
                <a:spAutoFit/>
              </a:bodyPr>
              <a:lstStyle/>
              <a:p>
                <a:endParaRPr lang="de-DE" dirty="0"/>
              </a:p>
            </p:txBody>
          </p:sp>
        </p:grpSp>
        <p:grpSp>
          <p:nvGrpSpPr>
            <p:cNvPr id="174" name="Group 127">
              <a:extLst>
                <a:ext uri="{FF2B5EF4-FFF2-40B4-BE49-F238E27FC236}">
                  <a16:creationId xmlns:a16="http://schemas.microsoft.com/office/drawing/2014/main" id="{9208B5C0-502F-486B-803A-E91392510D4C}"/>
                </a:ext>
              </a:extLst>
            </p:cNvPr>
            <p:cNvGrpSpPr>
              <a:grpSpLocks noChangeAspect="1"/>
            </p:cNvGrpSpPr>
            <p:nvPr>
              <p:custDataLst>
                <p:tags r:id="rId6"/>
              </p:custDataLst>
            </p:nvPr>
          </p:nvGrpSpPr>
          <p:grpSpPr bwMode="auto">
            <a:xfrm>
              <a:off x="9822567" y="4351044"/>
              <a:ext cx="146824" cy="316938"/>
              <a:chOff x="5291" y="1765"/>
              <a:chExt cx="104" cy="230"/>
            </a:xfrm>
            <a:solidFill>
              <a:schemeClr val="tx2">
                <a:lumMod val="50000"/>
              </a:schemeClr>
            </a:solidFill>
          </p:grpSpPr>
          <p:sp>
            <p:nvSpPr>
              <p:cNvPr id="175" name="Arc 128">
                <a:extLst>
                  <a:ext uri="{FF2B5EF4-FFF2-40B4-BE49-F238E27FC236}">
                    <a16:creationId xmlns:a16="http://schemas.microsoft.com/office/drawing/2014/main" id="{1CAF3104-B928-470A-BFEE-7618F7DD7A2D}"/>
                  </a:ext>
                </a:extLst>
              </p:cNvPr>
              <p:cNvSpPr>
                <a:spLocks/>
              </p:cNvSpPr>
              <p:nvPr/>
            </p:nvSpPr>
            <p:spPr bwMode="auto">
              <a:xfrm rot="10800000" flipH="1">
                <a:off x="5342" y="1781"/>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grpFill/>
              <a:ln w="6350">
                <a:noFill/>
                <a:round/>
                <a:headEnd/>
                <a:tailEnd/>
              </a:ln>
              <a:effectLst/>
            </p:spPr>
            <p:txBody>
              <a:bodyPr wrap="none" lIns="0" tIns="0" rIns="0" bIns="0" anchor="ctr">
                <a:spAutoFit/>
              </a:bodyPr>
              <a:lstStyle/>
              <a:p>
                <a:endParaRPr lang="de-DE" dirty="0"/>
              </a:p>
            </p:txBody>
          </p:sp>
          <p:sp>
            <p:nvSpPr>
              <p:cNvPr id="176" name="AutoShape 129">
                <a:extLst>
                  <a:ext uri="{FF2B5EF4-FFF2-40B4-BE49-F238E27FC236}">
                    <a16:creationId xmlns:a16="http://schemas.microsoft.com/office/drawing/2014/main" id="{013E2A50-F8A9-4ABD-9D9B-F670C2C5DB8E}"/>
                  </a:ext>
                </a:extLst>
              </p:cNvPr>
              <p:cNvSpPr>
                <a:spLocks noChangeArrowheads="1"/>
              </p:cNvSpPr>
              <p:nvPr/>
            </p:nvSpPr>
            <p:spPr bwMode="auto">
              <a:xfrm rot="10800000">
                <a:off x="5291" y="1765"/>
                <a:ext cx="104" cy="230"/>
              </a:xfrm>
              <a:prstGeom prst="upArrow">
                <a:avLst>
                  <a:gd name="adj1" fmla="val 39398"/>
                  <a:gd name="adj2" fmla="val 72253"/>
                </a:avLst>
              </a:prstGeom>
              <a:grpFill/>
              <a:ln w="6350">
                <a:noFill/>
                <a:miter lim="800000"/>
                <a:headEnd/>
                <a:tailEnd/>
              </a:ln>
              <a:effectLst/>
            </p:spPr>
            <p:txBody>
              <a:bodyPr lIns="0" tIns="0" rIns="0" bIns="0" anchor="ctr">
                <a:spAutoFit/>
              </a:bodyPr>
              <a:lstStyle/>
              <a:p>
                <a:endParaRPr lang="de-DE" dirty="0"/>
              </a:p>
            </p:txBody>
          </p:sp>
        </p:grpSp>
      </p:grpSp>
      <p:grpSp>
        <p:nvGrpSpPr>
          <p:cNvPr id="15" name="Group 14" descr="Excellent">
            <a:extLst>
              <a:ext uri="{FF2B5EF4-FFF2-40B4-BE49-F238E27FC236}">
                <a16:creationId xmlns:a16="http://schemas.microsoft.com/office/drawing/2014/main" id="{EC19250A-EF77-4DF9-80D4-4AE4AED233C1}"/>
              </a:ext>
            </a:extLst>
          </p:cNvPr>
          <p:cNvGrpSpPr/>
          <p:nvPr/>
        </p:nvGrpSpPr>
        <p:grpSpPr>
          <a:xfrm>
            <a:off x="381000" y="5495431"/>
            <a:ext cx="557845" cy="505276"/>
            <a:chOff x="381000" y="5495431"/>
            <a:chExt cx="557845" cy="505276"/>
          </a:xfrm>
        </p:grpSpPr>
        <p:sp>
          <p:nvSpPr>
            <p:cNvPr id="37" name="Rectangle 6">
              <a:extLst>
                <a:ext uri="{FF2B5EF4-FFF2-40B4-BE49-F238E27FC236}">
                  <a16:creationId xmlns:a16="http://schemas.microsoft.com/office/drawing/2014/main" id="{6BDA0C76-3D85-4031-9BB3-2F3E2834F439}"/>
                </a:ext>
              </a:extLst>
            </p:cNvPr>
            <p:cNvSpPr>
              <a:spLocks noChangeAspect="1" noChangeArrowheads="1"/>
            </p:cNvSpPr>
            <p:nvPr/>
          </p:nvSpPr>
          <p:spPr bwMode="auto">
            <a:xfrm>
              <a:off x="381000" y="5495431"/>
              <a:ext cx="557845" cy="153888"/>
            </a:xfrm>
            <a:prstGeom prst="rect">
              <a:avLst/>
            </a:prstGeom>
            <a:noFill/>
            <a:ln w="6350">
              <a:noFill/>
              <a:miter lim="800000"/>
              <a:headEnd/>
              <a:tailEnd/>
            </a:ln>
            <a:effectLst/>
          </p:spPr>
          <p:txBody>
            <a:bodyPr wrap="none" lIns="0" tIns="0" rIns="0" bIns="0" anchor="ctr">
              <a:spAutoFit/>
            </a:bodyP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rial"/>
                  <a:ea typeface="+mn-ea"/>
                  <a:cs typeface="+mn-cs"/>
                </a:rPr>
                <a:t>Excellent</a:t>
              </a:r>
            </a:p>
          </p:txBody>
        </p:sp>
        <p:grpSp>
          <p:nvGrpSpPr>
            <p:cNvPr id="42" name="Group 216">
              <a:extLst>
                <a:ext uri="{FF2B5EF4-FFF2-40B4-BE49-F238E27FC236}">
                  <a16:creationId xmlns:a16="http://schemas.microsoft.com/office/drawing/2014/main" id="{82E46F59-FA93-44C7-ACD1-22ED68594703}"/>
                </a:ext>
              </a:extLst>
            </p:cNvPr>
            <p:cNvGrpSpPr>
              <a:grpSpLocks/>
            </p:cNvGrpSpPr>
            <p:nvPr>
              <p:custDataLst>
                <p:tags r:id="rId4"/>
              </p:custDataLst>
            </p:nvPr>
          </p:nvGrpSpPr>
          <p:grpSpPr bwMode="auto">
            <a:xfrm>
              <a:off x="546467" y="5696748"/>
              <a:ext cx="141050" cy="303959"/>
              <a:chOff x="1870" y="1711"/>
              <a:chExt cx="154" cy="340"/>
            </a:xfrm>
            <a:solidFill>
              <a:schemeClr val="tx2">
                <a:lumMod val="60000"/>
                <a:lumOff val="40000"/>
              </a:schemeClr>
            </a:solidFill>
          </p:grpSpPr>
          <p:sp>
            <p:nvSpPr>
              <p:cNvPr id="55" name="Arc 217">
                <a:extLst>
                  <a:ext uri="{FF2B5EF4-FFF2-40B4-BE49-F238E27FC236}">
                    <a16:creationId xmlns:a16="http://schemas.microsoft.com/office/drawing/2014/main" id="{806E5D95-A251-4177-B50B-C1ED58571183}"/>
                  </a:ext>
                </a:extLst>
              </p:cNvPr>
              <p:cNvSpPr>
                <a:spLocks/>
              </p:cNvSpPr>
              <p:nvPr/>
            </p:nvSpPr>
            <p:spPr bwMode="auto">
              <a:xfrm flipH="1">
                <a:off x="1870" y="1724"/>
                <a:ext cx="0" cy="310"/>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grpFill/>
              <a:ln w="6350">
                <a:no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 name="AutoShape 218">
                <a:extLst>
                  <a:ext uri="{FF2B5EF4-FFF2-40B4-BE49-F238E27FC236}">
                    <a16:creationId xmlns:a16="http://schemas.microsoft.com/office/drawing/2014/main" id="{0E6B32E7-CF79-4630-B94F-D8634904508E}"/>
                  </a:ext>
                </a:extLst>
              </p:cNvPr>
              <p:cNvSpPr>
                <a:spLocks noChangeArrowheads="1"/>
              </p:cNvSpPr>
              <p:nvPr/>
            </p:nvSpPr>
            <p:spPr bwMode="auto">
              <a:xfrm>
                <a:off x="1920" y="1711"/>
                <a:ext cx="104" cy="340"/>
              </a:xfrm>
              <a:prstGeom prst="upArrow">
                <a:avLst>
                  <a:gd name="adj1" fmla="val 39398"/>
                  <a:gd name="adj2" fmla="val 72253"/>
                </a:avLst>
              </a:prstGeom>
              <a:grpFill/>
              <a:ln w="6350">
                <a:noFill/>
                <a:miter lim="800000"/>
                <a:headEnd/>
                <a:tailEnd/>
              </a:ln>
              <a:effectLst/>
            </p:spPr>
            <p:txBody>
              <a:bodyPr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grpSp>
      </p:grpSp>
      <p:grpSp>
        <p:nvGrpSpPr>
          <p:cNvPr id="16" name="Group 15" descr="Good">
            <a:extLst>
              <a:ext uri="{FF2B5EF4-FFF2-40B4-BE49-F238E27FC236}">
                <a16:creationId xmlns:a16="http://schemas.microsoft.com/office/drawing/2014/main" id="{B6651DC8-4B48-47BE-816C-8ED7D7E2CF9F}"/>
              </a:ext>
            </a:extLst>
          </p:cNvPr>
          <p:cNvGrpSpPr/>
          <p:nvPr/>
        </p:nvGrpSpPr>
        <p:grpSpPr>
          <a:xfrm>
            <a:off x="1330818" y="5495431"/>
            <a:ext cx="338234" cy="505276"/>
            <a:chOff x="1330818" y="5495431"/>
            <a:chExt cx="338234" cy="505276"/>
          </a:xfrm>
        </p:grpSpPr>
        <p:sp>
          <p:nvSpPr>
            <p:cNvPr id="38" name="Rectangle 11">
              <a:extLst>
                <a:ext uri="{FF2B5EF4-FFF2-40B4-BE49-F238E27FC236}">
                  <a16:creationId xmlns:a16="http://schemas.microsoft.com/office/drawing/2014/main" id="{241A6279-54A7-4811-9774-6D7F734DAC1B}"/>
                </a:ext>
              </a:extLst>
            </p:cNvPr>
            <p:cNvSpPr>
              <a:spLocks noChangeAspect="1" noChangeArrowheads="1"/>
            </p:cNvSpPr>
            <p:nvPr/>
          </p:nvSpPr>
          <p:spPr bwMode="auto">
            <a:xfrm>
              <a:off x="1330818" y="5495431"/>
              <a:ext cx="338234" cy="153888"/>
            </a:xfrm>
            <a:prstGeom prst="rect">
              <a:avLst/>
            </a:prstGeom>
            <a:noFill/>
            <a:ln w="6350">
              <a:noFill/>
              <a:miter lim="800000"/>
              <a:headEnd/>
              <a:tailEnd/>
            </a:ln>
            <a:effectLst/>
          </p:spPr>
          <p:txBody>
            <a:bodyPr wrap="none" lIns="0" tIns="0" rIns="0" bIns="0" anchor="ctr">
              <a:spAutoFit/>
            </a:bodyP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rial"/>
                  <a:ea typeface="+mn-ea"/>
                  <a:cs typeface="+mn-cs"/>
                </a:rPr>
                <a:t>Good</a:t>
              </a:r>
            </a:p>
          </p:txBody>
        </p:sp>
        <p:grpSp>
          <p:nvGrpSpPr>
            <p:cNvPr id="44" name="Group 222">
              <a:extLst>
                <a:ext uri="{FF2B5EF4-FFF2-40B4-BE49-F238E27FC236}">
                  <a16:creationId xmlns:a16="http://schemas.microsoft.com/office/drawing/2014/main" id="{3B961F22-A19B-4523-A35A-6B94F6F4AE12}"/>
                </a:ext>
              </a:extLst>
            </p:cNvPr>
            <p:cNvGrpSpPr>
              <a:grpSpLocks/>
            </p:cNvGrpSpPr>
            <p:nvPr>
              <p:custDataLst>
                <p:tags r:id="rId3"/>
              </p:custDataLst>
            </p:nvPr>
          </p:nvGrpSpPr>
          <p:grpSpPr bwMode="auto">
            <a:xfrm>
              <a:off x="1436838" y="5696748"/>
              <a:ext cx="95254" cy="303959"/>
              <a:chOff x="4165" y="1707"/>
              <a:chExt cx="104" cy="340"/>
            </a:xfrm>
            <a:solidFill>
              <a:schemeClr val="tx2">
                <a:lumMod val="60000"/>
                <a:lumOff val="40000"/>
              </a:schemeClr>
            </a:solidFill>
          </p:grpSpPr>
          <p:sp>
            <p:nvSpPr>
              <p:cNvPr id="51" name="Arc 223">
                <a:extLst>
                  <a:ext uri="{FF2B5EF4-FFF2-40B4-BE49-F238E27FC236}">
                    <a16:creationId xmlns:a16="http://schemas.microsoft.com/office/drawing/2014/main" id="{FDABE480-076F-4D1C-90CC-54FB1D967448}"/>
                  </a:ext>
                </a:extLst>
              </p:cNvPr>
              <p:cNvSpPr>
                <a:spLocks/>
              </p:cNvSpPr>
              <p:nvPr/>
            </p:nvSpPr>
            <p:spPr bwMode="auto">
              <a:xfrm rot="12646288" flipH="1" flipV="1">
                <a:off x="4219" y="1721"/>
                <a:ext cx="0" cy="310"/>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grpFill/>
              <a:ln w="6350">
                <a:no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2" name="AutoShape 224">
                <a:extLst>
                  <a:ext uri="{FF2B5EF4-FFF2-40B4-BE49-F238E27FC236}">
                    <a16:creationId xmlns:a16="http://schemas.microsoft.com/office/drawing/2014/main" id="{31A15414-E7D2-4C25-B4F9-99242993FB09}"/>
                  </a:ext>
                </a:extLst>
              </p:cNvPr>
              <p:cNvSpPr>
                <a:spLocks noChangeArrowheads="1"/>
              </p:cNvSpPr>
              <p:nvPr/>
            </p:nvSpPr>
            <p:spPr bwMode="auto">
              <a:xfrm rot="12646288" flipV="1">
                <a:off x="4165" y="1707"/>
                <a:ext cx="104" cy="340"/>
              </a:xfrm>
              <a:prstGeom prst="upArrow">
                <a:avLst>
                  <a:gd name="adj1" fmla="val 39398"/>
                  <a:gd name="adj2" fmla="val 72253"/>
                </a:avLst>
              </a:prstGeom>
              <a:grpFill/>
              <a:ln w="6350">
                <a:noFill/>
                <a:miter lim="800000"/>
                <a:headEnd/>
                <a:tailEnd/>
              </a:ln>
              <a:effectLst/>
            </p:spPr>
            <p:txBody>
              <a:bodyPr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grpSp>
      </p:grpSp>
      <p:grpSp>
        <p:nvGrpSpPr>
          <p:cNvPr id="17" name="Group 16" descr="Satisfactory">
            <a:extLst>
              <a:ext uri="{FF2B5EF4-FFF2-40B4-BE49-F238E27FC236}">
                <a16:creationId xmlns:a16="http://schemas.microsoft.com/office/drawing/2014/main" id="{B5EBE6AF-97CB-416F-BF87-F35FCC190819}"/>
              </a:ext>
            </a:extLst>
          </p:cNvPr>
          <p:cNvGrpSpPr/>
          <p:nvPr/>
        </p:nvGrpSpPr>
        <p:grpSpPr>
          <a:xfrm>
            <a:off x="2014894" y="5495431"/>
            <a:ext cx="730969" cy="401499"/>
            <a:chOff x="2014894" y="5495431"/>
            <a:chExt cx="730969" cy="401499"/>
          </a:xfrm>
        </p:grpSpPr>
        <p:sp>
          <p:nvSpPr>
            <p:cNvPr id="40" name="Rectangle 8">
              <a:extLst>
                <a:ext uri="{FF2B5EF4-FFF2-40B4-BE49-F238E27FC236}">
                  <a16:creationId xmlns:a16="http://schemas.microsoft.com/office/drawing/2014/main" id="{41E3C704-31D5-4DC2-89B1-C47D6107AC24}"/>
                </a:ext>
              </a:extLst>
            </p:cNvPr>
            <p:cNvSpPr>
              <a:spLocks noChangeAspect="1" noChangeArrowheads="1"/>
            </p:cNvSpPr>
            <p:nvPr/>
          </p:nvSpPr>
          <p:spPr bwMode="auto">
            <a:xfrm>
              <a:off x="2014894" y="5495431"/>
              <a:ext cx="730969" cy="153888"/>
            </a:xfrm>
            <a:prstGeom prst="rect">
              <a:avLst/>
            </a:prstGeom>
            <a:noFill/>
            <a:ln w="6350">
              <a:noFill/>
              <a:miter lim="800000"/>
              <a:headEnd/>
              <a:tailEnd/>
            </a:ln>
            <a:effectLst/>
          </p:spPr>
          <p:txBody>
            <a:bodyPr wrap="none" lIns="0" tIns="0" rIns="0" bIns="0" anchor="ctr">
              <a:spAutoFit/>
            </a:bodyP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rial"/>
                  <a:ea typeface="+mn-ea"/>
                  <a:cs typeface="+mn-cs"/>
                </a:rPr>
                <a:t>Satisfactory</a:t>
              </a:r>
            </a:p>
          </p:txBody>
        </p:sp>
        <p:grpSp>
          <p:nvGrpSpPr>
            <p:cNvPr id="46" name="Group 232">
              <a:extLst>
                <a:ext uri="{FF2B5EF4-FFF2-40B4-BE49-F238E27FC236}">
                  <a16:creationId xmlns:a16="http://schemas.microsoft.com/office/drawing/2014/main" id="{D5010201-17A6-4C04-BEEE-51F7FF29A521}"/>
                </a:ext>
              </a:extLst>
            </p:cNvPr>
            <p:cNvGrpSpPr>
              <a:grpSpLocks/>
            </p:cNvGrpSpPr>
            <p:nvPr/>
          </p:nvGrpSpPr>
          <p:grpSpPr bwMode="auto">
            <a:xfrm rot="18000000">
              <a:off x="2300619" y="5697323"/>
              <a:ext cx="95254" cy="303959"/>
              <a:chOff x="3043" y="1710"/>
              <a:chExt cx="104" cy="340"/>
            </a:xfrm>
            <a:solidFill>
              <a:schemeClr val="tx2">
                <a:lumMod val="60000"/>
                <a:lumOff val="40000"/>
              </a:schemeClr>
            </a:solidFill>
          </p:grpSpPr>
          <p:sp>
            <p:nvSpPr>
              <p:cNvPr id="47" name="Arc 233">
                <a:extLst>
                  <a:ext uri="{FF2B5EF4-FFF2-40B4-BE49-F238E27FC236}">
                    <a16:creationId xmlns:a16="http://schemas.microsoft.com/office/drawing/2014/main" id="{C99A30E2-A89A-4A1F-8223-41205F2F098F}"/>
                  </a:ext>
                </a:extLst>
              </p:cNvPr>
              <p:cNvSpPr>
                <a:spLocks/>
              </p:cNvSpPr>
              <p:nvPr/>
            </p:nvSpPr>
            <p:spPr bwMode="auto">
              <a:xfrm rot="8953712" flipH="1">
                <a:off x="3096" y="1726"/>
                <a:ext cx="0" cy="310"/>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grpFill/>
              <a:ln w="6350">
                <a:no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48" name="AutoShape 234">
                <a:extLst>
                  <a:ext uri="{FF2B5EF4-FFF2-40B4-BE49-F238E27FC236}">
                    <a16:creationId xmlns:a16="http://schemas.microsoft.com/office/drawing/2014/main" id="{A9922E14-AD87-4FF5-811F-499409E4B2D2}"/>
                  </a:ext>
                </a:extLst>
              </p:cNvPr>
              <p:cNvSpPr>
                <a:spLocks noChangeArrowheads="1"/>
              </p:cNvSpPr>
              <p:nvPr/>
            </p:nvSpPr>
            <p:spPr bwMode="auto">
              <a:xfrm rot="8953712">
                <a:off x="3043" y="1710"/>
                <a:ext cx="104" cy="340"/>
              </a:xfrm>
              <a:prstGeom prst="upArrow">
                <a:avLst>
                  <a:gd name="adj1" fmla="val 39398"/>
                  <a:gd name="adj2" fmla="val 72253"/>
                </a:avLst>
              </a:prstGeom>
              <a:grpFill/>
              <a:ln w="6350">
                <a:noFill/>
                <a:miter lim="800000"/>
                <a:headEnd/>
                <a:tailEnd/>
              </a:ln>
              <a:effectLst/>
            </p:spPr>
            <p:txBody>
              <a:bodyPr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grpSp>
      </p:grpSp>
      <p:grpSp>
        <p:nvGrpSpPr>
          <p:cNvPr id="18" name="Group 17" descr="Poor">
            <a:extLst>
              <a:ext uri="{FF2B5EF4-FFF2-40B4-BE49-F238E27FC236}">
                <a16:creationId xmlns:a16="http://schemas.microsoft.com/office/drawing/2014/main" id="{20BBCEB3-858E-42AB-8F1B-2FA926A7C770}"/>
              </a:ext>
            </a:extLst>
          </p:cNvPr>
          <p:cNvGrpSpPr/>
          <p:nvPr/>
        </p:nvGrpSpPr>
        <p:grpSpPr>
          <a:xfrm>
            <a:off x="3059010" y="5495431"/>
            <a:ext cx="282129" cy="500954"/>
            <a:chOff x="3059010" y="5495431"/>
            <a:chExt cx="282129" cy="500954"/>
          </a:xfrm>
        </p:grpSpPr>
        <p:sp>
          <p:nvSpPr>
            <p:cNvPr id="39" name="Rectangle 9">
              <a:extLst>
                <a:ext uri="{FF2B5EF4-FFF2-40B4-BE49-F238E27FC236}">
                  <a16:creationId xmlns:a16="http://schemas.microsoft.com/office/drawing/2014/main" id="{9E3A3971-5389-40B1-9914-C3BBE1D41B1D}"/>
                </a:ext>
              </a:extLst>
            </p:cNvPr>
            <p:cNvSpPr>
              <a:spLocks noChangeAspect="1" noChangeArrowheads="1"/>
            </p:cNvSpPr>
            <p:nvPr/>
          </p:nvSpPr>
          <p:spPr bwMode="auto">
            <a:xfrm flipH="1">
              <a:off x="3059010" y="5495431"/>
              <a:ext cx="282129" cy="153888"/>
            </a:xfrm>
            <a:prstGeom prst="rect">
              <a:avLst/>
            </a:prstGeom>
            <a:noFill/>
            <a:ln w="6350">
              <a:noFill/>
              <a:miter lim="800000"/>
              <a:headEnd/>
              <a:tailEnd/>
            </a:ln>
            <a:effectLst/>
          </p:spPr>
          <p:txBody>
            <a:bodyPr wrap="none" lIns="0" tIns="0" rIns="0" bIns="0" anchor="ctr">
              <a:spAutoFit/>
            </a:bodyP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rial"/>
                  <a:ea typeface="+mn-ea"/>
                  <a:cs typeface="+mn-cs"/>
                </a:rPr>
                <a:t>Poor</a:t>
              </a:r>
            </a:p>
          </p:txBody>
        </p:sp>
        <p:grpSp>
          <p:nvGrpSpPr>
            <p:cNvPr id="43" name="Group 219">
              <a:extLst>
                <a:ext uri="{FF2B5EF4-FFF2-40B4-BE49-F238E27FC236}">
                  <a16:creationId xmlns:a16="http://schemas.microsoft.com/office/drawing/2014/main" id="{58FA17AD-42BA-44EB-A6F3-64DFDF79FEBE}"/>
                </a:ext>
              </a:extLst>
            </p:cNvPr>
            <p:cNvGrpSpPr>
              <a:grpSpLocks/>
            </p:cNvGrpSpPr>
            <p:nvPr>
              <p:custDataLst>
                <p:tags r:id="rId2"/>
              </p:custDataLst>
            </p:nvPr>
          </p:nvGrpSpPr>
          <p:grpSpPr bwMode="auto">
            <a:xfrm>
              <a:off x="3145110" y="5692426"/>
              <a:ext cx="95254" cy="303959"/>
              <a:chOff x="3043" y="1710"/>
              <a:chExt cx="104" cy="340"/>
            </a:xfrm>
            <a:solidFill>
              <a:schemeClr val="tx2">
                <a:lumMod val="60000"/>
                <a:lumOff val="40000"/>
              </a:schemeClr>
            </a:solidFill>
          </p:grpSpPr>
          <p:sp>
            <p:nvSpPr>
              <p:cNvPr id="53" name="Arc 220">
                <a:extLst>
                  <a:ext uri="{FF2B5EF4-FFF2-40B4-BE49-F238E27FC236}">
                    <a16:creationId xmlns:a16="http://schemas.microsoft.com/office/drawing/2014/main" id="{DB6A8856-9717-486B-8A52-F82FBEBDEE67}"/>
                  </a:ext>
                </a:extLst>
              </p:cNvPr>
              <p:cNvSpPr>
                <a:spLocks/>
              </p:cNvSpPr>
              <p:nvPr/>
            </p:nvSpPr>
            <p:spPr bwMode="auto">
              <a:xfrm rot="8953712" flipH="1">
                <a:off x="3096" y="1726"/>
                <a:ext cx="0" cy="310"/>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grpFill/>
              <a:ln w="6350">
                <a:no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4" name="AutoShape 221">
                <a:extLst>
                  <a:ext uri="{FF2B5EF4-FFF2-40B4-BE49-F238E27FC236}">
                    <a16:creationId xmlns:a16="http://schemas.microsoft.com/office/drawing/2014/main" id="{F4FBA20C-E2B3-410C-B0F3-6DA16C15EA2D}"/>
                  </a:ext>
                </a:extLst>
              </p:cNvPr>
              <p:cNvSpPr>
                <a:spLocks noChangeArrowheads="1"/>
              </p:cNvSpPr>
              <p:nvPr/>
            </p:nvSpPr>
            <p:spPr bwMode="auto">
              <a:xfrm rot="8953712">
                <a:off x="3043" y="1710"/>
                <a:ext cx="104" cy="340"/>
              </a:xfrm>
              <a:prstGeom prst="upArrow">
                <a:avLst>
                  <a:gd name="adj1" fmla="val 39398"/>
                  <a:gd name="adj2" fmla="val 72253"/>
                </a:avLst>
              </a:prstGeom>
              <a:grpFill/>
              <a:ln w="6350">
                <a:noFill/>
                <a:miter lim="800000"/>
                <a:headEnd/>
                <a:tailEnd/>
              </a:ln>
              <a:effectLst/>
            </p:spPr>
            <p:txBody>
              <a:bodyPr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grpSp>
      </p:grpSp>
      <p:grpSp>
        <p:nvGrpSpPr>
          <p:cNvPr id="19" name="Group 18" descr="Very Poor">
            <a:extLst>
              <a:ext uri="{FF2B5EF4-FFF2-40B4-BE49-F238E27FC236}">
                <a16:creationId xmlns:a16="http://schemas.microsoft.com/office/drawing/2014/main" id="{1EAFDBDB-1331-4A7D-B36A-653132AF34FE}"/>
              </a:ext>
            </a:extLst>
          </p:cNvPr>
          <p:cNvGrpSpPr/>
          <p:nvPr/>
        </p:nvGrpSpPr>
        <p:grpSpPr>
          <a:xfrm>
            <a:off x="3707082" y="5495431"/>
            <a:ext cx="599523" cy="505276"/>
            <a:chOff x="3707082" y="5495431"/>
            <a:chExt cx="599523" cy="505276"/>
          </a:xfrm>
        </p:grpSpPr>
        <p:sp>
          <p:nvSpPr>
            <p:cNvPr id="41" name="Rectangle 10">
              <a:extLst>
                <a:ext uri="{FF2B5EF4-FFF2-40B4-BE49-F238E27FC236}">
                  <a16:creationId xmlns:a16="http://schemas.microsoft.com/office/drawing/2014/main" id="{40F3085F-0815-4ACF-9153-719277E21E4E}"/>
                </a:ext>
              </a:extLst>
            </p:cNvPr>
            <p:cNvSpPr>
              <a:spLocks noChangeAspect="1" noChangeArrowheads="1"/>
            </p:cNvSpPr>
            <p:nvPr/>
          </p:nvSpPr>
          <p:spPr bwMode="auto">
            <a:xfrm>
              <a:off x="3707082" y="5495431"/>
              <a:ext cx="599523" cy="153888"/>
            </a:xfrm>
            <a:prstGeom prst="rect">
              <a:avLst/>
            </a:prstGeom>
            <a:noFill/>
            <a:ln w="6350">
              <a:noFill/>
              <a:miter lim="800000"/>
              <a:headEnd/>
              <a:tailEnd/>
            </a:ln>
            <a:effectLst/>
          </p:spPr>
          <p:txBody>
            <a:bodyPr wrap="none" lIns="0" tIns="0" rIns="0" bIns="0" anchor="ctr">
              <a:spAutoFit/>
            </a:bodyP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rial"/>
                  <a:ea typeface="+mn-ea"/>
                  <a:cs typeface="+mn-cs"/>
                </a:rPr>
                <a:t>Very poor</a:t>
              </a:r>
            </a:p>
          </p:txBody>
        </p:sp>
        <p:grpSp>
          <p:nvGrpSpPr>
            <p:cNvPr id="45" name="Group 225">
              <a:extLst>
                <a:ext uri="{FF2B5EF4-FFF2-40B4-BE49-F238E27FC236}">
                  <a16:creationId xmlns:a16="http://schemas.microsoft.com/office/drawing/2014/main" id="{4A7668E5-5FBA-4A80-954F-6667F2BEDE38}"/>
                </a:ext>
              </a:extLst>
            </p:cNvPr>
            <p:cNvGrpSpPr>
              <a:grpSpLocks/>
            </p:cNvGrpSpPr>
            <p:nvPr>
              <p:custDataLst>
                <p:tags r:id="rId1"/>
              </p:custDataLst>
            </p:nvPr>
          </p:nvGrpSpPr>
          <p:grpSpPr bwMode="auto">
            <a:xfrm>
              <a:off x="3936873" y="5696748"/>
              <a:ext cx="95254" cy="303959"/>
              <a:chOff x="5291" y="1711"/>
              <a:chExt cx="104" cy="340"/>
            </a:xfrm>
            <a:solidFill>
              <a:schemeClr val="tx2">
                <a:lumMod val="60000"/>
                <a:lumOff val="40000"/>
              </a:schemeClr>
            </a:solidFill>
          </p:grpSpPr>
          <p:sp>
            <p:nvSpPr>
              <p:cNvPr id="49" name="Arc 226">
                <a:extLst>
                  <a:ext uri="{FF2B5EF4-FFF2-40B4-BE49-F238E27FC236}">
                    <a16:creationId xmlns:a16="http://schemas.microsoft.com/office/drawing/2014/main" id="{B921A5C0-1A35-4735-945C-EB89B880EBC6}"/>
                  </a:ext>
                </a:extLst>
              </p:cNvPr>
              <p:cNvSpPr>
                <a:spLocks/>
              </p:cNvSpPr>
              <p:nvPr/>
            </p:nvSpPr>
            <p:spPr bwMode="auto">
              <a:xfrm rot="10800000" flipH="1">
                <a:off x="5342" y="1727"/>
                <a:ext cx="0" cy="310"/>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grpFill/>
              <a:ln w="6350">
                <a:no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0" name="AutoShape 227">
                <a:extLst>
                  <a:ext uri="{FF2B5EF4-FFF2-40B4-BE49-F238E27FC236}">
                    <a16:creationId xmlns:a16="http://schemas.microsoft.com/office/drawing/2014/main" id="{871DD199-E2D6-475C-82C5-7C5F28C81EE9}"/>
                  </a:ext>
                </a:extLst>
              </p:cNvPr>
              <p:cNvSpPr>
                <a:spLocks noChangeArrowheads="1"/>
              </p:cNvSpPr>
              <p:nvPr/>
            </p:nvSpPr>
            <p:spPr bwMode="auto">
              <a:xfrm rot="10800000">
                <a:off x="5291" y="1711"/>
                <a:ext cx="104" cy="340"/>
              </a:xfrm>
              <a:prstGeom prst="upArrow">
                <a:avLst>
                  <a:gd name="adj1" fmla="val 39398"/>
                  <a:gd name="adj2" fmla="val 72253"/>
                </a:avLst>
              </a:prstGeom>
              <a:grpFill/>
              <a:ln w="6350">
                <a:noFill/>
                <a:miter lim="800000"/>
                <a:headEnd/>
                <a:tailEnd/>
              </a:ln>
              <a:effectLst/>
            </p:spPr>
            <p:txBody>
              <a:bodyPr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5" name="Footer Placeholder 4">
            <a:extLst>
              <a:ext uri="{FF2B5EF4-FFF2-40B4-BE49-F238E27FC236}">
                <a16:creationId xmlns:a16="http://schemas.microsoft.com/office/drawing/2014/main" id="{7D6B3202-C73D-486F-843D-FF7F9BB8FB26}"/>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D1574C0F-DDD8-4149-97E2-BBC317FDD086}"/>
              </a:ext>
            </a:extLst>
          </p:cNvPr>
          <p:cNvSpPr>
            <a:spLocks noGrp="1"/>
          </p:cNvSpPr>
          <p:nvPr>
            <p:ph type="sldNum" sz="quarter" idx="10"/>
          </p:nvPr>
        </p:nvSpPr>
        <p:spPr/>
        <p:txBody>
          <a:bodyPr/>
          <a:lstStyle/>
          <a:p>
            <a:fld id="{1F90F471-3972-4120-B8B3-0237DE626C35}" type="slidenum">
              <a:rPr lang="en-US" smtClean="0"/>
              <a:pPr/>
              <a:t>413</a:t>
            </a:fld>
            <a:endParaRPr lang="en-US" dirty="0"/>
          </a:p>
        </p:txBody>
      </p:sp>
    </p:spTree>
    <p:extLst>
      <p:ext uri="{BB962C8B-B14F-4D97-AF65-F5344CB8AC3E}">
        <p14:creationId xmlns:p14="http://schemas.microsoft.com/office/powerpoint/2010/main" val="715643583"/>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Scoring 1 – Stars</a:t>
            </a:r>
          </a:p>
        </p:txBody>
      </p:sp>
      <p:grpSp>
        <p:nvGrpSpPr>
          <p:cNvPr id="3" name="Group 2" descr="Options">
            <a:extLst>
              <a:ext uri="{FF2B5EF4-FFF2-40B4-BE49-F238E27FC236}">
                <a16:creationId xmlns:a16="http://schemas.microsoft.com/office/drawing/2014/main" id="{BF0F7CF6-BBF7-479B-9C8B-35C05A312EC6}"/>
              </a:ext>
            </a:extLst>
          </p:cNvPr>
          <p:cNvGrpSpPr/>
          <p:nvPr/>
        </p:nvGrpSpPr>
        <p:grpSpPr>
          <a:xfrm>
            <a:off x="344775" y="1362568"/>
            <a:ext cx="2259094" cy="1555729"/>
            <a:chOff x="344775" y="1362569"/>
            <a:chExt cx="2304000" cy="1529012"/>
          </a:xfrm>
        </p:grpSpPr>
        <p:sp>
          <p:nvSpPr>
            <p:cNvPr id="29" name="Rectangle 87">
              <a:extLst>
                <a:ext uri="{FF2B5EF4-FFF2-40B4-BE49-F238E27FC236}">
                  <a16:creationId xmlns:a16="http://schemas.microsoft.com/office/drawing/2014/main" id="{51469D7F-96D9-4C74-B2EA-088BAD65F295}"/>
                </a:ext>
              </a:extLst>
            </p:cNvPr>
            <p:cNvSpPr>
              <a:spLocks noChangeArrowheads="1"/>
            </p:cNvSpPr>
            <p:nvPr/>
          </p:nvSpPr>
          <p:spPr bwMode="auto">
            <a:xfrm>
              <a:off x="344775" y="1804009"/>
              <a:ext cx="2304000" cy="540000"/>
            </a:xfrm>
            <a:prstGeom prst="rect">
              <a:avLst/>
            </a:prstGeom>
            <a:solidFill>
              <a:srgbClr val="E4E7E7"/>
            </a:solidFill>
            <a:ln w="6350">
              <a:solidFill>
                <a:srgbClr val="FFFFFF"/>
              </a:solidFill>
              <a:miter lim="800000"/>
              <a:headEnd/>
              <a:tailEnd/>
            </a:ln>
            <a:effectLst/>
          </p:spPr>
          <p:txBody>
            <a:bodyPr lIns="144000" tIns="72000" rIns="108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ea typeface="+mn-ea"/>
                  <a:cs typeface="+mn-cs"/>
                </a:rPr>
                <a:t>Option 1</a:t>
              </a:r>
            </a:p>
          </p:txBody>
        </p:sp>
        <p:sp>
          <p:nvSpPr>
            <p:cNvPr id="31" name="Rectangle 93">
              <a:extLst>
                <a:ext uri="{FF2B5EF4-FFF2-40B4-BE49-F238E27FC236}">
                  <a16:creationId xmlns:a16="http://schemas.microsoft.com/office/drawing/2014/main" id="{3CD43278-CBF6-4FD4-BBBC-0D6DA8181D0F}"/>
                </a:ext>
              </a:extLst>
            </p:cNvPr>
            <p:cNvSpPr>
              <a:spLocks noChangeArrowheads="1"/>
            </p:cNvSpPr>
            <p:nvPr/>
          </p:nvSpPr>
          <p:spPr bwMode="auto">
            <a:xfrm>
              <a:off x="344775" y="2351581"/>
              <a:ext cx="2304000" cy="540000"/>
            </a:xfrm>
            <a:prstGeom prst="rect">
              <a:avLst/>
            </a:prstGeom>
            <a:solidFill>
              <a:srgbClr val="E4E7E7"/>
            </a:solidFill>
            <a:ln w="6350">
              <a:solidFill>
                <a:srgbClr val="FFFFFF"/>
              </a:solidFill>
              <a:miter lim="800000"/>
              <a:headEnd/>
              <a:tailEnd/>
            </a:ln>
            <a:effectLst/>
          </p:spPr>
          <p:txBody>
            <a:bodyPr lIns="144000" tIns="72000" rIns="108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ea typeface="+mn-ea"/>
                  <a:cs typeface="+mn-cs"/>
                </a:rPr>
                <a:t>Option 2</a:t>
              </a:r>
            </a:p>
          </p:txBody>
        </p:sp>
        <p:sp>
          <p:nvSpPr>
            <p:cNvPr id="183" name="Rectangle 92">
              <a:extLst>
                <a:ext uri="{FF2B5EF4-FFF2-40B4-BE49-F238E27FC236}">
                  <a16:creationId xmlns:a16="http://schemas.microsoft.com/office/drawing/2014/main" id="{056D1FD5-39AC-487C-9C97-0637DBBE732D}"/>
                </a:ext>
              </a:extLst>
            </p:cNvPr>
            <p:cNvSpPr>
              <a:spLocks noChangeArrowheads="1"/>
            </p:cNvSpPr>
            <p:nvPr/>
          </p:nvSpPr>
          <p:spPr bwMode="auto">
            <a:xfrm>
              <a:off x="344775" y="1362569"/>
              <a:ext cx="2304000" cy="441441"/>
            </a:xfrm>
            <a:prstGeom prst="rect">
              <a:avLst/>
            </a:prstGeom>
            <a:solidFill>
              <a:schemeClr val="accent3"/>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Options</a:t>
              </a:r>
            </a:p>
          </p:txBody>
        </p:sp>
      </p:grpSp>
      <p:grpSp>
        <p:nvGrpSpPr>
          <p:cNvPr id="4" name="Group 3" descr="Criterion 1">
            <a:extLst>
              <a:ext uri="{FF2B5EF4-FFF2-40B4-BE49-F238E27FC236}">
                <a16:creationId xmlns:a16="http://schemas.microsoft.com/office/drawing/2014/main" id="{8C32BA34-783A-49E7-A163-94C0E0235CC8}"/>
              </a:ext>
            </a:extLst>
          </p:cNvPr>
          <p:cNvGrpSpPr/>
          <p:nvPr/>
        </p:nvGrpSpPr>
        <p:grpSpPr>
          <a:xfrm>
            <a:off x="2646400" y="1362568"/>
            <a:ext cx="2260721" cy="1555729"/>
            <a:chOff x="2646399" y="1362569"/>
            <a:chExt cx="2305660" cy="1529012"/>
          </a:xfrm>
        </p:grpSpPr>
        <p:sp>
          <p:nvSpPr>
            <p:cNvPr id="23" name="Rectangle 79">
              <a:extLst>
                <a:ext uri="{FF2B5EF4-FFF2-40B4-BE49-F238E27FC236}">
                  <a16:creationId xmlns:a16="http://schemas.microsoft.com/office/drawing/2014/main" id="{1222E0EE-2FD2-4C6A-9326-FDF09A940984}"/>
                </a:ext>
              </a:extLst>
            </p:cNvPr>
            <p:cNvSpPr>
              <a:spLocks noChangeArrowheads="1"/>
            </p:cNvSpPr>
            <p:nvPr/>
          </p:nvSpPr>
          <p:spPr bwMode="auto">
            <a:xfrm>
              <a:off x="2646399" y="2351581"/>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p:txBody>
        </p:sp>
        <p:sp>
          <p:nvSpPr>
            <p:cNvPr id="24" name="Rectangle 86">
              <a:extLst>
                <a:ext uri="{FF2B5EF4-FFF2-40B4-BE49-F238E27FC236}">
                  <a16:creationId xmlns:a16="http://schemas.microsoft.com/office/drawing/2014/main" id="{1C10B9D7-1346-44C0-B198-1A81C3EEA0B9}"/>
                </a:ext>
              </a:extLst>
            </p:cNvPr>
            <p:cNvSpPr>
              <a:spLocks noChangeArrowheads="1"/>
            </p:cNvSpPr>
            <p:nvPr/>
          </p:nvSpPr>
          <p:spPr bwMode="auto">
            <a:xfrm>
              <a:off x="2648059" y="1832589"/>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p:txBody>
        </p:sp>
        <p:grpSp>
          <p:nvGrpSpPr>
            <p:cNvPr id="70" name="Group 211">
              <a:extLst>
                <a:ext uri="{FF2B5EF4-FFF2-40B4-BE49-F238E27FC236}">
                  <a16:creationId xmlns:a16="http://schemas.microsoft.com/office/drawing/2014/main" id="{1D31B081-4B35-4482-84F4-B2F95E6D6573}"/>
                </a:ext>
              </a:extLst>
            </p:cNvPr>
            <p:cNvGrpSpPr>
              <a:grpSpLocks noChangeAspect="1"/>
            </p:cNvGrpSpPr>
            <p:nvPr/>
          </p:nvGrpSpPr>
          <p:grpSpPr bwMode="auto">
            <a:xfrm>
              <a:off x="3087681" y="1946580"/>
              <a:ext cx="1440000" cy="254869"/>
              <a:chOff x="2711" y="3146"/>
              <a:chExt cx="745" cy="121"/>
            </a:xfrm>
          </p:grpSpPr>
          <p:sp>
            <p:nvSpPr>
              <p:cNvPr id="71" name="AutoShape 212">
                <a:extLst>
                  <a:ext uri="{FF2B5EF4-FFF2-40B4-BE49-F238E27FC236}">
                    <a16:creationId xmlns:a16="http://schemas.microsoft.com/office/drawing/2014/main" id="{88911F13-7281-488F-838C-AC38A1B43D23}"/>
                  </a:ext>
                </a:extLst>
              </p:cNvPr>
              <p:cNvSpPr>
                <a:spLocks noChangeArrowheads="1"/>
              </p:cNvSpPr>
              <p:nvPr/>
            </p:nvSpPr>
            <p:spPr bwMode="auto">
              <a:xfrm>
                <a:off x="2711" y="3146"/>
                <a:ext cx="135"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2" name="AutoShape 213">
                <a:extLst>
                  <a:ext uri="{FF2B5EF4-FFF2-40B4-BE49-F238E27FC236}">
                    <a16:creationId xmlns:a16="http://schemas.microsoft.com/office/drawing/2014/main" id="{3BD16CBA-3FC5-4782-878B-9EED7698A561}"/>
                  </a:ext>
                </a:extLst>
              </p:cNvPr>
              <p:cNvSpPr>
                <a:spLocks noChangeArrowheads="1"/>
              </p:cNvSpPr>
              <p:nvPr/>
            </p:nvSpPr>
            <p:spPr bwMode="auto">
              <a:xfrm>
                <a:off x="2863" y="3146"/>
                <a:ext cx="136"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3" name="AutoShape 214">
                <a:extLst>
                  <a:ext uri="{FF2B5EF4-FFF2-40B4-BE49-F238E27FC236}">
                    <a16:creationId xmlns:a16="http://schemas.microsoft.com/office/drawing/2014/main" id="{DC8E5DC5-D647-4A23-B418-91F0824049AE}"/>
                  </a:ext>
                </a:extLst>
              </p:cNvPr>
              <p:cNvSpPr>
                <a:spLocks noChangeArrowheads="1"/>
              </p:cNvSpPr>
              <p:nvPr/>
            </p:nvSpPr>
            <p:spPr bwMode="auto">
              <a:xfrm>
                <a:off x="3016" y="3146"/>
                <a:ext cx="135"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4" name="AutoShape 215">
                <a:extLst>
                  <a:ext uri="{FF2B5EF4-FFF2-40B4-BE49-F238E27FC236}">
                    <a16:creationId xmlns:a16="http://schemas.microsoft.com/office/drawing/2014/main" id="{ED38E6DF-191E-40B3-8121-7A13A578D43F}"/>
                  </a:ext>
                </a:extLst>
              </p:cNvPr>
              <p:cNvSpPr>
                <a:spLocks noChangeArrowheads="1"/>
              </p:cNvSpPr>
              <p:nvPr/>
            </p:nvSpPr>
            <p:spPr bwMode="auto">
              <a:xfrm>
                <a:off x="3168" y="3146"/>
                <a:ext cx="136"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5" name="AutoShape 216">
                <a:extLst>
                  <a:ext uri="{FF2B5EF4-FFF2-40B4-BE49-F238E27FC236}">
                    <a16:creationId xmlns:a16="http://schemas.microsoft.com/office/drawing/2014/main" id="{2A075A53-723C-43FC-8FCD-3CAFE9CA882E}"/>
                  </a:ext>
                </a:extLst>
              </p:cNvPr>
              <p:cNvSpPr>
                <a:spLocks noChangeArrowheads="1"/>
              </p:cNvSpPr>
              <p:nvPr/>
            </p:nvSpPr>
            <p:spPr bwMode="auto">
              <a:xfrm>
                <a:off x="3321" y="3146"/>
                <a:ext cx="135"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4" name="Group 217">
              <a:extLst>
                <a:ext uri="{FF2B5EF4-FFF2-40B4-BE49-F238E27FC236}">
                  <a16:creationId xmlns:a16="http://schemas.microsoft.com/office/drawing/2014/main" id="{DCFC9AF8-C9F2-4B64-BB9E-5E15B4065585}"/>
                </a:ext>
              </a:extLst>
            </p:cNvPr>
            <p:cNvGrpSpPr>
              <a:grpSpLocks noChangeAspect="1"/>
            </p:cNvGrpSpPr>
            <p:nvPr/>
          </p:nvGrpSpPr>
          <p:grpSpPr bwMode="auto">
            <a:xfrm>
              <a:off x="3078399" y="2517532"/>
              <a:ext cx="1440000" cy="254880"/>
              <a:chOff x="2711" y="3146"/>
              <a:chExt cx="745" cy="121"/>
            </a:xfrm>
          </p:grpSpPr>
          <p:sp>
            <p:nvSpPr>
              <p:cNvPr id="95" name="AutoShape 218">
                <a:extLst>
                  <a:ext uri="{FF2B5EF4-FFF2-40B4-BE49-F238E27FC236}">
                    <a16:creationId xmlns:a16="http://schemas.microsoft.com/office/drawing/2014/main" id="{F1C32A82-6358-409C-8780-1D70CF3A0C60}"/>
                  </a:ext>
                </a:extLst>
              </p:cNvPr>
              <p:cNvSpPr>
                <a:spLocks noChangeArrowheads="1"/>
              </p:cNvSpPr>
              <p:nvPr/>
            </p:nvSpPr>
            <p:spPr bwMode="auto">
              <a:xfrm>
                <a:off x="2711" y="3146"/>
                <a:ext cx="135"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6" name="AutoShape 219">
                <a:extLst>
                  <a:ext uri="{FF2B5EF4-FFF2-40B4-BE49-F238E27FC236}">
                    <a16:creationId xmlns:a16="http://schemas.microsoft.com/office/drawing/2014/main" id="{83DCDEFF-A412-4BAB-96FF-7968109D8CBE}"/>
                  </a:ext>
                </a:extLst>
              </p:cNvPr>
              <p:cNvSpPr>
                <a:spLocks noChangeArrowheads="1"/>
              </p:cNvSpPr>
              <p:nvPr/>
            </p:nvSpPr>
            <p:spPr bwMode="auto">
              <a:xfrm>
                <a:off x="2863" y="3146"/>
                <a:ext cx="136"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7" name="AutoShape 220">
                <a:extLst>
                  <a:ext uri="{FF2B5EF4-FFF2-40B4-BE49-F238E27FC236}">
                    <a16:creationId xmlns:a16="http://schemas.microsoft.com/office/drawing/2014/main" id="{A58C5E18-DBAE-4BA9-BA7B-148294BFF24A}"/>
                  </a:ext>
                </a:extLst>
              </p:cNvPr>
              <p:cNvSpPr>
                <a:spLocks noChangeArrowheads="1"/>
              </p:cNvSpPr>
              <p:nvPr/>
            </p:nvSpPr>
            <p:spPr bwMode="auto">
              <a:xfrm>
                <a:off x="3016" y="3146"/>
                <a:ext cx="135"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8" name="AutoShape 221">
                <a:extLst>
                  <a:ext uri="{FF2B5EF4-FFF2-40B4-BE49-F238E27FC236}">
                    <a16:creationId xmlns:a16="http://schemas.microsoft.com/office/drawing/2014/main" id="{3863431B-8CCD-493F-B55A-7EBDB9ECB978}"/>
                  </a:ext>
                </a:extLst>
              </p:cNvPr>
              <p:cNvSpPr>
                <a:spLocks noChangeArrowheads="1"/>
              </p:cNvSpPr>
              <p:nvPr/>
            </p:nvSpPr>
            <p:spPr bwMode="auto">
              <a:xfrm>
                <a:off x="3168" y="3146"/>
                <a:ext cx="136"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 name="AutoShape 222">
                <a:extLst>
                  <a:ext uri="{FF2B5EF4-FFF2-40B4-BE49-F238E27FC236}">
                    <a16:creationId xmlns:a16="http://schemas.microsoft.com/office/drawing/2014/main" id="{BB7E293A-B06D-499A-95E2-641BF5486A95}"/>
                  </a:ext>
                </a:extLst>
              </p:cNvPr>
              <p:cNvSpPr>
                <a:spLocks noChangeArrowheads="1"/>
              </p:cNvSpPr>
              <p:nvPr/>
            </p:nvSpPr>
            <p:spPr bwMode="auto">
              <a:xfrm>
                <a:off x="3321" y="3146"/>
                <a:ext cx="135"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grpSp>
        <p:sp>
          <p:nvSpPr>
            <p:cNvPr id="179" name="Rectangle 91">
              <a:extLst>
                <a:ext uri="{FF2B5EF4-FFF2-40B4-BE49-F238E27FC236}">
                  <a16:creationId xmlns:a16="http://schemas.microsoft.com/office/drawing/2014/main" id="{ACCF39CD-7E62-464A-82FB-3ADAFF4794DE}"/>
                </a:ext>
              </a:extLst>
            </p:cNvPr>
            <p:cNvSpPr>
              <a:spLocks noChangeArrowheads="1"/>
            </p:cNvSpPr>
            <p:nvPr/>
          </p:nvSpPr>
          <p:spPr bwMode="auto">
            <a:xfrm>
              <a:off x="2646399" y="1362569"/>
              <a:ext cx="2304000" cy="441441"/>
            </a:xfrm>
            <a:prstGeom prst="rect">
              <a:avLst/>
            </a:prstGeom>
            <a:solidFill>
              <a:schemeClr val="accent2"/>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Criterion 1</a:t>
              </a:r>
            </a:p>
          </p:txBody>
        </p:sp>
      </p:grpSp>
      <p:grpSp>
        <p:nvGrpSpPr>
          <p:cNvPr id="13" name="Group 12" descr="Criterion 2">
            <a:extLst>
              <a:ext uri="{FF2B5EF4-FFF2-40B4-BE49-F238E27FC236}">
                <a16:creationId xmlns:a16="http://schemas.microsoft.com/office/drawing/2014/main" id="{3D39C817-070D-463C-854A-62C447DD1198}"/>
              </a:ext>
            </a:extLst>
          </p:cNvPr>
          <p:cNvGrpSpPr/>
          <p:nvPr/>
        </p:nvGrpSpPr>
        <p:grpSpPr>
          <a:xfrm>
            <a:off x="4948023" y="1362568"/>
            <a:ext cx="2259094" cy="1555729"/>
            <a:chOff x="4948023" y="1362569"/>
            <a:chExt cx="2304000" cy="1529012"/>
          </a:xfrm>
        </p:grpSpPr>
        <p:sp>
          <p:nvSpPr>
            <p:cNvPr id="17" name="Rectangle 80">
              <a:extLst>
                <a:ext uri="{FF2B5EF4-FFF2-40B4-BE49-F238E27FC236}">
                  <a16:creationId xmlns:a16="http://schemas.microsoft.com/office/drawing/2014/main" id="{BB86CF0E-0711-4E0E-ACBE-7B12935F5B71}"/>
                </a:ext>
              </a:extLst>
            </p:cNvPr>
            <p:cNvSpPr>
              <a:spLocks noChangeArrowheads="1"/>
            </p:cNvSpPr>
            <p:nvPr/>
          </p:nvSpPr>
          <p:spPr bwMode="auto">
            <a:xfrm>
              <a:off x="4948023" y="1804009"/>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p:txBody>
        </p:sp>
        <p:sp>
          <p:nvSpPr>
            <p:cNvPr id="18" name="Rectangle 81">
              <a:extLst>
                <a:ext uri="{FF2B5EF4-FFF2-40B4-BE49-F238E27FC236}">
                  <a16:creationId xmlns:a16="http://schemas.microsoft.com/office/drawing/2014/main" id="{A0A9745E-FCEE-4766-8F43-C13CEB468C99}"/>
                </a:ext>
              </a:extLst>
            </p:cNvPr>
            <p:cNvSpPr>
              <a:spLocks noChangeArrowheads="1"/>
            </p:cNvSpPr>
            <p:nvPr/>
          </p:nvSpPr>
          <p:spPr bwMode="auto">
            <a:xfrm>
              <a:off x="4948023" y="2351581"/>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p:txBody>
        </p:sp>
        <p:grpSp>
          <p:nvGrpSpPr>
            <p:cNvPr id="76" name="Group 205">
              <a:extLst>
                <a:ext uri="{FF2B5EF4-FFF2-40B4-BE49-F238E27FC236}">
                  <a16:creationId xmlns:a16="http://schemas.microsoft.com/office/drawing/2014/main" id="{0C2D844A-3978-4CAA-8565-B92B22C27C36}"/>
                </a:ext>
              </a:extLst>
            </p:cNvPr>
            <p:cNvGrpSpPr>
              <a:grpSpLocks noChangeAspect="1"/>
            </p:cNvGrpSpPr>
            <p:nvPr/>
          </p:nvGrpSpPr>
          <p:grpSpPr bwMode="auto">
            <a:xfrm>
              <a:off x="5380023" y="2548898"/>
              <a:ext cx="1440000" cy="254880"/>
              <a:chOff x="2711" y="3146"/>
              <a:chExt cx="745" cy="121"/>
            </a:xfrm>
          </p:grpSpPr>
          <p:sp>
            <p:nvSpPr>
              <p:cNvPr id="77" name="AutoShape 206">
                <a:extLst>
                  <a:ext uri="{FF2B5EF4-FFF2-40B4-BE49-F238E27FC236}">
                    <a16:creationId xmlns:a16="http://schemas.microsoft.com/office/drawing/2014/main" id="{7A7445B7-17AF-4972-BD86-41ABCCDFF525}"/>
                  </a:ext>
                </a:extLst>
              </p:cNvPr>
              <p:cNvSpPr>
                <a:spLocks noChangeArrowheads="1"/>
              </p:cNvSpPr>
              <p:nvPr/>
            </p:nvSpPr>
            <p:spPr bwMode="auto">
              <a:xfrm>
                <a:off x="2711" y="3146"/>
                <a:ext cx="135"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8" name="AutoShape 207">
                <a:extLst>
                  <a:ext uri="{FF2B5EF4-FFF2-40B4-BE49-F238E27FC236}">
                    <a16:creationId xmlns:a16="http://schemas.microsoft.com/office/drawing/2014/main" id="{58B02209-1706-4F6E-ACFC-38376DB54059}"/>
                  </a:ext>
                </a:extLst>
              </p:cNvPr>
              <p:cNvSpPr>
                <a:spLocks noChangeArrowheads="1"/>
              </p:cNvSpPr>
              <p:nvPr/>
            </p:nvSpPr>
            <p:spPr bwMode="auto">
              <a:xfrm>
                <a:off x="2863" y="3146"/>
                <a:ext cx="136"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9" name="AutoShape 208">
                <a:extLst>
                  <a:ext uri="{FF2B5EF4-FFF2-40B4-BE49-F238E27FC236}">
                    <a16:creationId xmlns:a16="http://schemas.microsoft.com/office/drawing/2014/main" id="{15E907A9-4079-4E8C-B3D7-3B5290387DF9}"/>
                  </a:ext>
                </a:extLst>
              </p:cNvPr>
              <p:cNvSpPr>
                <a:spLocks noChangeArrowheads="1"/>
              </p:cNvSpPr>
              <p:nvPr/>
            </p:nvSpPr>
            <p:spPr bwMode="auto">
              <a:xfrm>
                <a:off x="3016" y="3146"/>
                <a:ext cx="135"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0" name="AutoShape 209">
                <a:extLst>
                  <a:ext uri="{FF2B5EF4-FFF2-40B4-BE49-F238E27FC236}">
                    <a16:creationId xmlns:a16="http://schemas.microsoft.com/office/drawing/2014/main" id="{7B955C72-C0AF-4B65-94AE-673445F996F4}"/>
                  </a:ext>
                </a:extLst>
              </p:cNvPr>
              <p:cNvSpPr>
                <a:spLocks noChangeArrowheads="1"/>
              </p:cNvSpPr>
              <p:nvPr/>
            </p:nvSpPr>
            <p:spPr bwMode="auto">
              <a:xfrm>
                <a:off x="3168" y="3146"/>
                <a:ext cx="136"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1" name="AutoShape 210">
                <a:extLst>
                  <a:ext uri="{FF2B5EF4-FFF2-40B4-BE49-F238E27FC236}">
                    <a16:creationId xmlns:a16="http://schemas.microsoft.com/office/drawing/2014/main" id="{7682E358-9C84-4966-B20D-4913C11FC353}"/>
                  </a:ext>
                </a:extLst>
              </p:cNvPr>
              <p:cNvSpPr>
                <a:spLocks noChangeArrowheads="1"/>
              </p:cNvSpPr>
              <p:nvPr/>
            </p:nvSpPr>
            <p:spPr bwMode="auto">
              <a:xfrm>
                <a:off x="3321" y="3146"/>
                <a:ext cx="135"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82" name="Group 223">
              <a:extLst>
                <a:ext uri="{FF2B5EF4-FFF2-40B4-BE49-F238E27FC236}">
                  <a16:creationId xmlns:a16="http://schemas.microsoft.com/office/drawing/2014/main" id="{9BC714A2-8C99-46C7-88E1-CAF58F776D90}"/>
                </a:ext>
              </a:extLst>
            </p:cNvPr>
            <p:cNvGrpSpPr>
              <a:grpSpLocks noChangeAspect="1"/>
            </p:cNvGrpSpPr>
            <p:nvPr/>
          </p:nvGrpSpPr>
          <p:grpSpPr bwMode="auto">
            <a:xfrm>
              <a:off x="5380023" y="1946569"/>
              <a:ext cx="1440000" cy="254880"/>
              <a:chOff x="2711" y="3146"/>
              <a:chExt cx="745" cy="121"/>
            </a:xfrm>
          </p:grpSpPr>
          <p:sp>
            <p:nvSpPr>
              <p:cNvPr id="83" name="AutoShape 224">
                <a:extLst>
                  <a:ext uri="{FF2B5EF4-FFF2-40B4-BE49-F238E27FC236}">
                    <a16:creationId xmlns:a16="http://schemas.microsoft.com/office/drawing/2014/main" id="{2AAE3AA3-F13F-4293-8D1C-98CF7B7D2581}"/>
                  </a:ext>
                </a:extLst>
              </p:cNvPr>
              <p:cNvSpPr>
                <a:spLocks noChangeArrowheads="1"/>
              </p:cNvSpPr>
              <p:nvPr/>
            </p:nvSpPr>
            <p:spPr bwMode="auto">
              <a:xfrm>
                <a:off x="2711" y="3146"/>
                <a:ext cx="135"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4" name="AutoShape 225">
                <a:extLst>
                  <a:ext uri="{FF2B5EF4-FFF2-40B4-BE49-F238E27FC236}">
                    <a16:creationId xmlns:a16="http://schemas.microsoft.com/office/drawing/2014/main" id="{0AE48D56-C510-4ABA-A2A8-0A64BB5815F9}"/>
                  </a:ext>
                </a:extLst>
              </p:cNvPr>
              <p:cNvSpPr>
                <a:spLocks noChangeArrowheads="1"/>
              </p:cNvSpPr>
              <p:nvPr/>
            </p:nvSpPr>
            <p:spPr bwMode="auto">
              <a:xfrm>
                <a:off x="2863" y="3146"/>
                <a:ext cx="136"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5" name="AutoShape 226">
                <a:extLst>
                  <a:ext uri="{FF2B5EF4-FFF2-40B4-BE49-F238E27FC236}">
                    <a16:creationId xmlns:a16="http://schemas.microsoft.com/office/drawing/2014/main" id="{EFB41C55-1531-49C1-99C2-47B13DCB35C4}"/>
                  </a:ext>
                </a:extLst>
              </p:cNvPr>
              <p:cNvSpPr>
                <a:spLocks noChangeArrowheads="1"/>
              </p:cNvSpPr>
              <p:nvPr/>
            </p:nvSpPr>
            <p:spPr bwMode="auto">
              <a:xfrm>
                <a:off x="3016" y="3146"/>
                <a:ext cx="135"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6" name="AutoShape 227">
                <a:extLst>
                  <a:ext uri="{FF2B5EF4-FFF2-40B4-BE49-F238E27FC236}">
                    <a16:creationId xmlns:a16="http://schemas.microsoft.com/office/drawing/2014/main" id="{A1498E74-3A92-40A7-81C9-08BB1CB83236}"/>
                  </a:ext>
                </a:extLst>
              </p:cNvPr>
              <p:cNvSpPr>
                <a:spLocks noChangeArrowheads="1"/>
              </p:cNvSpPr>
              <p:nvPr/>
            </p:nvSpPr>
            <p:spPr bwMode="auto">
              <a:xfrm>
                <a:off x="3168" y="3146"/>
                <a:ext cx="136"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7" name="AutoShape 228">
                <a:extLst>
                  <a:ext uri="{FF2B5EF4-FFF2-40B4-BE49-F238E27FC236}">
                    <a16:creationId xmlns:a16="http://schemas.microsoft.com/office/drawing/2014/main" id="{39355489-0D3E-4CD3-8A71-603970702023}"/>
                  </a:ext>
                </a:extLst>
              </p:cNvPr>
              <p:cNvSpPr>
                <a:spLocks noChangeArrowheads="1"/>
              </p:cNvSpPr>
              <p:nvPr/>
            </p:nvSpPr>
            <p:spPr bwMode="auto">
              <a:xfrm>
                <a:off x="3321" y="3146"/>
                <a:ext cx="135"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grpSp>
        <p:sp>
          <p:nvSpPr>
            <p:cNvPr id="175" name="Rectangle 90">
              <a:extLst>
                <a:ext uri="{FF2B5EF4-FFF2-40B4-BE49-F238E27FC236}">
                  <a16:creationId xmlns:a16="http://schemas.microsoft.com/office/drawing/2014/main" id="{5C8BE007-ABF7-45BC-8E23-AB3A0542B722}"/>
                </a:ext>
              </a:extLst>
            </p:cNvPr>
            <p:cNvSpPr>
              <a:spLocks noChangeArrowheads="1"/>
            </p:cNvSpPr>
            <p:nvPr/>
          </p:nvSpPr>
          <p:spPr bwMode="auto">
            <a:xfrm>
              <a:off x="4948023" y="1362569"/>
              <a:ext cx="2304000" cy="441441"/>
            </a:xfrm>
            <a:prstGeom prst="rect">
              <a:avLst/>
            </a:prstGeom>
            <a:solidFill>
              <a:schemeClr val="accent2">
                <a:lumMod val="60000"/>
                <a:lumOff val="4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latin typeface="+mj-lt"/>
                </a:rPr>
                <a:t>Criterion 2</a:t>
              </a:r>
            </a:p>
          </p:txBody>
        </p:sp>
      </p:grpSp>
      <p:grpSp>
        <p:nvGrpSpPr>
          <p:cNvPr id="16" name="Group 15" descr="Criterion 3">
            <a:extLst>
              <a:ext uri="{FF2B5EF4-FFF2-40B4-BE49-F238E27FC236}">
                <a16:creationId xmlns:a16="http://schemas.microsoft.com/office/drawing/2014/main" id="{C4644F03-7D2D-4470-A1D4-34BEEE87BAF4}"/>
              </a:ext>
            </a:extLst>
          </p:cNvPr>
          <p:cNvGrpSpPr/>
          <p:nvPr/>
        </p:nvGrpSpPr>
        <p:grpSpPr>
          <a:xfrm>
            <a:off x="7249647" y="1362568"/>
            <a:ext cx="2259094" cy="1555729"/>
            <a:chOff x="7249647" y="1362569"/>
            <a:chExt cx="2304000" cy="1529012"/>
          </a:xfrm>
        </p:grpSpPr>
        <p:sp>
          <p:nvSpPr>
            <p:cNvPr id="11" name="Rectangle 82">
              <a:extLst>
                <a:ext uri="{FF2B5EF4-FFF2-40B4-BE49-F238E27FC236}">
                  <a16:creationId xmlns:a16="http://schemas.microsoft.com/office/drawing/2014/main" id="{446BFC38-EADD-421E-BBBB-982094274538}"/>
                </a:ext>
              </a:extLst>
            </p:cNvPr>
            <p:cNvSpPr>
              <a:spLocks noChangeArrowheads="1"/>
            </p:cNvSpPr>
            <p:nvPr/>
          </p:nvSpPr>
          <p:spPr bwMode="auto">
            <a:xfrm>
              <a:off x="7249647" y="1804009"/>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p:txBody>
        </p:sp>
        <p:sp>
          <p:nvSpPr>
            <p:cNvPr id="12" name="Rectangle 83">
              <a:extLst>
                <a:ext uri="{FF2B5EF4-FFF2-40B4-BE49-F238E27FC236}">
                  <a16:creationId xmlns:a16="http://schemas.microsoft.com/office/drawing/2014/main" id="{C9F293A2-4622-4970-9C0F-91AF88DAFB47}"/>
                </a:ext>
              </a:extLst>
            </p:cNvPr>
            <p:cNvSpPr>
              <a:spLocks noChangeArrowheads="1"/>
            </p:cNvSpPr>
            <p:nvPr/>
          </p:nvSpPr>
          <p:spPr bwMode="auto">
            <a:xfrm>
              <a:off x="7249647" y="2351581"/>
              <a:ext cx="2304000" cy="540000"/>
            </a:xfrm>
            <a:prstGeom prst="rect">
              <a:avLst/>
            </a:prstGeom>
            <a:solidFill>
              <a:srgbClr val="E4E7E7"/>
            </a:solidFill>
            <a:ln w="1270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00" name="Group 211">
              <a:extLst>
                <a:ext uri="{FF2B5EF4-FFF2-40B4-BE49-F238E27FC236}">
                  <a16:creationId xmlns:a16="http://schemas.microsoft.com/office/drawing/2014/main" id="{D8620024-3AB7-4212-92BD-055F376AC82A}"/>
                </a:ext>
              </a:extLst>
            </p:cNvPr>
            <p:cNvGrpSpPr>
              <a:grpSpLocks noChangeAspect="1"/>
            </p:cNvGrpSpPr>
            <p:nvPr/>
          </p:nvGrpSpPr>
          <p:grpSpPr bwMode="auto">
            <a:xfrm>
              <a:off x="7681647" y="2494146"/>
              <a:ext cx="1440000" cy="254869"/>
              <a:chOff x="2711" y="3146"/>
              <a:chExt cx="745" cy="121"/>
            </a:xfrm>
          </p:grpSpPr>
          <p:sp>
            <p:nvSpPr>
              <p:cNvPr id="101" name="AutoShape 212">
                <a:extLst>
                  <a:ext uri="{FF2B5EF4-FFF2-40B4-BE49-F238E27FC236}">
                    <a16:creationId xmlns:a16="http://schemas.microsoft.com/office/drawing/2014/main" id="{75ACDB5C-705D-4B45-8DA1-EB20F29431C4}"/>
                  </a:ext>
                </a:extLst>
              </p:cNvPr>
              <p:cNvSpPr>
                <a:spLocks noChangeArrowheads="1"/>
              </p:cNvSpPr>
              <p:nvPr/>
            </p:nvSpPr>
            <p:spPr bwMode="auto">
              <a:xfrm>
                <a:off x="2711" y="3146"/>
                <a:ext cx="135"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2" name="AutoShape 213">
                <a:extLst>
                  <a:ext uri="{FF2B5EF4-FFF2-40B4-BE49-F238E27FC236}">
                    <a16:creationId xmlns:a16="http://schemas.microsoft.com/office/drawing/2014/main" id="{CE820290-B8C2-4C1E-BBD7-9A5B40ED1C6E}"/>
                  </a:ext>
                </a:extLst>
              </p:cNvPr>
              <p:cNvSpPr>
                <a:spLocks noChangeArrowheads="1"/>
              </p:cNvSpPr>
              <p:nvPr/>
            </p:nvSpPr>
            <p:spPr bwMode="auto">
              <a:xfrm>
                <a:off x="2863" y="3146"/>
                <a:ext cx="136"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 name="AutoShape 214">
                <a:extLst>
                  <a:ext uri="{FF2B5EF4-FFF2-40B4-BE49-F238E27FC236}">
                    <a16:creationId xmlns:a16="http://schemas.microsoft.com/office/drawing/2014/main" id="{998CCE86-2892-4327-B749-CB4FD4025537}"/>
                  </a:ext>
                </a:extLst>
              </p:cNvPr>
              <p:cNvSpPr>
                <a:spLocks noChangeArrowheads="1"/>
              </p:cNvSpPr>
              <p:nvPr/>
            </p:nvSpPr>
            <p:spPr bwMode="auto">
              <a:xfrm>
                <a:off x="3016" y="3146"/>
                <a:ext cx="135"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 name="AutoShape 215">
                <a:extLst>
                  <a:ext uri="{FF2B5EF4-FFF2-40B4-BE49-F238E27FC236}">
                    <a16:creationId xmlns:a16="http://schemas.microsoft.com/office/drawing/2014/main" id="{634438B2-3D7E-4C8D-A98B-10A5AB5C11C7}"/>
                  </a:ext>
                </a:extLst>
              </p:cNvPr>
              <p:cNvSpPr>
                <a:spLocks noChangeArrowheads="1"/>
              </p:cNvSpPr>
              <p:nvPr/>
            </p:nvSpPr>
            <p:spPr bwMode="auto">
              <a:xfrm>
                <a:off x="3168" y="3146"/>
                <a:ext cx="136"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 name="AutoShape 216">
                <a:extLst>
                  <a:ext uri="{FF2B5EF4-FFF2-40B4-BE49-F238E27FC236}">
                    <a16:creationId xmlns:a16="http://schemas.microsoft.com/office/drawing/2014/main" id="{876E94D4-5C45-48CB-9FF6-B04C606DD4AD}"/>
                  </a:ext>
                </a:extLst>
              </p:cNvPr>
              <p:cNvSpPr>
                <a:spLocks noChangeArrowheads="1"/>
              </p:cNvSpPr>
              <p:nvPr/>
            </p:nvSpPr>
            <p:spPr bwMode="auto">
              <a:xfrm>
                <a:off x="3321" y="3146"/>
                <a:ext cx="135"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 name="Group 223">
              <a:extLst>
                <a:ext uri="{FF2B5EF4-FFF2-40B4-BE49-F238E27FC236}">
                  <a16:creationId xmlns:a16="http://schemas.microsoft.com/office/drawing/2014/main" id="{9A27EB39-A269-4E9B-BF5B-87FA1E357250}"/>
                </a:ext>
              </a:extLst>
            </p:cNvPr>
            <p:cNvGrpSpPr>
              <a:grpSpLocks noChangeAspect="1"/>
            </p:cNvGrpSpPr>
            <p:nvPr/>
          </p:nvGrpSpPr>
          <p:grpSpPr bwMode="auto">
            <a:xfrm>
              <a:off x="7681647" y="1946569"/>
              <a:ext cx="1440000" cy="254880"/>
              <a:chOff x="2711" y="3146"/>
              <a:chExt cx="745" cy="121"/>
            </a:xfrm>
          </p:grpSpPr>
          <p:sp>
            <p:nvSpPr>
              <p:cNvPr id="107" name="AutoShape 224">
                <a:extLst>
                  <a:ext uri="{FF2B5EF4-FFF2-40B4-BE49-F238E27FC236}">
                    <a16:creationId xmlns:a16="http://schemas.microsoft.com/office/drawing/2014/main" id="{E665A882-94C7-4E5D-B82E-4A999CA4CFC6}"/>
                  </a:ext>
                </a:extLst>
              </p:cNvPr>
              <p:cNvSpPr>
                <a:spLocks noChangeArrowheads="1"/>
              </p:cNvSpPr>
              <p:nvPr/>
            </p:nvSpPr>
            <p:spPr bwMode="auto">
              <a:xfrm>
                <a:off x="2711" y="3146"/>
                <a:ext cx="135"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8" name="AutoShape 225">
                <a:extLst>
                  <a:ext uri="{FF2B5EF4-FFF2-40B4-BE49-F238E27FC236}">
                    <a16:creationId xmlns:a16="http://schemas.microsoft.com/office/drawing/2014/main" id="{5F468306-B20D-48C1-A673-CE320F9724B2}"/>
                  </a:ext>
                </a:extLst>
              </p:cNvPr>
              <p:cNvSpPr>
                <a:spLocks noChangeArrowheads="1"/>
              </p:cNvSpPr>
              <p:nvPr/>
            </p:nvSpPr>
            <p:spPr bwMode="auto">
              <a:xfrm>
                <a:off x="2863" y="3146"/>
                <a:ext cx="136"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9" name="AutoShape 226">
                <a:extLst>
                  <a:ext uri="{FF2B5EF4-FFF2-40B4-BE49-F238E27FC236}">
                    <a16:creationId xmlns:a16="http://schemas.microsoft.com/office/drawing/2014/main" id="{D7B8BF7E-F95E-4AF0-A52F-9AEF1FBAA9EA}"/>
                  </a:ext>
                </a:extLst>
              </p:cNvPr>
              <p:cNvSpPr>
                <a:spLocks noChangeArrowheads="1"/>
              </p:cNvSpPr>
              <p:nvPr/>
            </p:nvSpPr>
            <p:spPr bwMode="auto">
              <a:xfrm>
                <a:off x="3016" y="3146"/>
                <a:ext cx="135"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0" name="AutoShape 227">
                <a:extLst>
                  <a:ext uri="{FF2B5EF4-FFF2-40B4-BE49-F238E27FC236}">
                    <a16:creationId xmlns:a16="http://schemas.microsoft.com/office/drawing/2014/main" id="{421F1277-12B6-48A8-BBC9-E10DD0E5655A}"/>
                  </a:ext>
                </a:extLst>
              </p:cNvPr>
              <p:cNvSpPr>
                <a:spLocks noChangeArrowheads="1"/>
              </p:cNvSpPr>
              <p:nvPr/>
            </p:nvSpPr>
            <p:spPr bwMode="auto">
              <a:xfrm>
                <a:off x="3168" y="3146"/>
                <a:ext cx="136"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1" name="AutoShape 228">
                <a:extLst>
                  <a:ext uri="{FF2B5EF4-FFF2-40B4-BE49-F238E27FC236}">
                    <a16:creationId xmlns:a16="http://schemas.microsoft.com/office/drawing/2014/main" id="{EFA39718-7A0B-4CE0-BD57-D60C4583C32C}"/>
                  </a:ext>
                </a:extLst>
              </p:cNvPr>
              <p:cNvSpPr>
                <a:spLocks noChangeArrowheads="1"/>
              </p:cNvSpPr>
              <p:nvPr/>
            </p:nvSpPr>
            <p:spPr bwMode="auto">
              <a:xfrm>
                <a:off x="3321" y="3146"/>
                <a:ext cx="135"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grpSp>
        <p:sp>
          <p:nvSpPr>
            <p:cNvPr id="171" name="Rectangle 89">
              <a:extLst>
                <a:ext uri="{FF2B5EF4-FFF2-40B4-BE49-F238E27FC236}">
                  <a16:creationId xmlns:a16="http://schemas.microsoft.com/office/drawing/2014/main" id="{DD67D942-B7DE-4E0E-8CEF-913465DC680F}"/>
                </a:ext>
              </a:extLst>
            </p:cNvPr>
            <p:cNvSpPr>
              <a:spLocks noChangeArrowheads="1"/>
            </p:cNvSpPr>
            <p:nvPr/>
          </p:nvSpPr>
          <p:spPr bwMode="auto">
            <a:xfrm>
              <a:off x="7249647" y="1362569"/>
              <a:ext cx="2304000" cy="441441"/>
            </a:xfrm>
            <a:prstGeom prst="rect">
              <a:avLst/>
            </a:prstGeom>
            <a:solidFill>
              <a:schemeClr val="accent2">
                <a:lumMod val="40000"/>
                <a:lumOff val="6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latin typeface="+mj-lt"/>
                </a:rPr>
                <a:t>Criterion 3</a:t>
              </a:r>
            </a:p>
          </p:txBody>
        </p:sp>
      </p:grpSp>
      <p:grpSp>
        <p:nvGrpSpPr>
          <p:cNvPr id="19" name="Group 18" descr="Criterion 4">
            <a:extLst>
              <a:ext uri="{FF2B5EF4-FFF2-40B4-BE49-F238E27FC236}">
                <a16:creationId xmlns:a16="http://schemas.microsoft.com/office/drawing/2014/main" id="{FCC38B1B-66F0-42EA-AE54-2C369F312F74}"/>
              </a:ext>
            </a:extLst>
          </p:cNvPr>
          <p:cNvGrpSpPr/>
          <p:nvPr/>
        </p:nvGrpSpPr>
        <p:grpSpPr>
          <a:xfrm>
            <a:off x="9551272" y="1362568"/>
            <a:ext cx="2259094" cy="1555729"/>
            <a:chOff x="9551272" y="1362569"/>
            <a:chExt cx="2304000" cy="1529012"/>
          </a:xfrm>
        </p:grpSpPr>
        <p:sp>
          <p:nvSpPr>
            <p:cNvPr id="5" name="Rectangle 84">
              <a:extLst>
                <a:ext uri="{FF2B5EF4-FFF2-40B4-BE49-F238E27FC236}">
                  <a16:creationId xmlns:a16="http://schemas.microsoft.com/office/drawing/2014/main" id="{5E1ADCD3-41D8-4570-84D7-E188D42273B2}"/>
                </a:ext>
              </a:extLst>
            </p:cNvPr>
            <p:cNvSpPr>
              <a:spLocks noChangeArrowheads="1"/>
            </p:cNvSpPr>
            <p:nvPr/>
          </p:nvSpPr>
          <p:spPr bwMode="auto">
            <a:xfrm>
              <a:off x="9551272" y="1804009"/>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p:txBody>
        </p:sp>
        <p:sp>
          <p:nvSpPr>
            <p:cNvPr id="6" name="Rectangle 85">
              <a:extLst>
                <a:ext uri="{FF2B5EF4-FFF2-40B4-BE49-F238E27FC236}">
                  <a16:creationId xmlns:a16="http://schemas.microsoft.com/office/drawing/2014/main" id="{F509ED7C-E2F8-4BE5-99EE-42BE07599347}"/>
                </a:ext>
              </a:extLst>
            </p:cNvPr>
            <p:cNvSpPr>
              <a:spLocks noChangeArrowheads="1"/>
            </p:cNvSpPr>
            <p:nvPr/>
          </p:nvSpPr>
          <p:spPr bwMode="auto">
            <a:xfrm>
              <a:off x="9551272" y="2351581"/>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p:txBody>
        </p:sp>
        <p:grpSp>
          <p:nvGrpSpPr>
            <p:cNvPr id="88" name="Group 199">
              <a:extLst>
                <a:ext uri="{FF2B5EF4-FFF2-40B4-BE49-F238E27FC236}">
                  <a16:creationId xmlns:a16="http://schemas.microsoft.com/office/drawing/2014/main" id="{588A4764-5A2F-4792-9675-9772B3FAF8DB}"/>
                </a:ext>
              </a:extLst>
            </p:cNvPr>
            <p:cNvGrpSpPr>
              <a:grpSpLocks noChangeAspect="1"/>
            </p:cNvGrpSpPr>
            <p:nvPr/>
          </p:nvGrpSpPr>
          <p:grpSpPr bwMode="auto">
            <a:xfrm>
              <a:off x="9983272" y="1946569"/>
              <a:ext cx="1440000" cy="254880"/>
              <a:chOff x="2711" y="3146"/>
              <a:chExt cx="745" cy="121"/>
            </a:xfrm>
            <a:solidFill>
              <a:srgbClr val="DCAFFF"/>
            </a:solidFill>
          </p:grpSpPr>
          <p:sp>
            <p:nvSpPr>
              <p:cNvPr id="89" name="AutoShape 200">
                <a:extLst>
                  <a:ext uri="{FF2B5EF4-FFF2-40B4-BE49-F238E27FC236}">
                    <a16:creationId xmlns:a16="http://schemas.microsoft.com/office/drawing/2014/main" id="{3C2C6A62-46DA-4A9A-967F-085041A857F8}"/>
                  </a:ext>
                </a:extLst>
              </p:cNvPr>
              <p:cNvSpPr>
                <a:spLocks noChangeArrowheads="1"/>
              </p:cNvSpPr>
              <p:nvPr/>
            </p:nvSpPr>
            <p:spPr bwMode="auto">
              <a:xfrm>
                <a:off x="2711" y="3146"/>
                <a:ext cx="135" cy="121"/>
              </a:xfrm>
              <a:prstGeom prst="star5">
                <a:avLst/>
              </a:prstGeom>
              <a:grp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0" name="AutoShape 201">
                <a:extLst>
                  <a:ext uri="{FF2B5EF4-FFF2-40B4-BE49-F238E27FC236}">
                    <a16:creationId xmlns:a16="http://schemas.microsoft.com/office/drawing/2014/main" id="{7EE7D523-4F24-4FD6-B2E1-0205FD6FC9BA}"/>
                  </a:ext>
                </a:extLst>
              </p:cNvPr>
              <p:cNvSpPr>
                <a:spLocks noChangeArrowheads="1"/>
              </p:cNvSpPr>
              <p:nvPr/>
            </p:nvSpPr>
            <p:spPr bwMode="auto">
              <a:xfrm>
                <a:off x="2863" y="3146"/>
                <a:ext cx="136" cy="121"/>
              </a:xfrm>
              <a:prstGeom prst="star5">
                <a:avLst/>
              </a:prstGeom>
              <a:grp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1" name="AutoShape 202">
                <a:extLst>
                  <a:ext uri="{FF2B5EF4-FFF2-40B4-BE49-F238E27FC236}">
                    <a16:creationId xmlns:a16="http://schemas.microsoft.com/office/drawing/2014/main" id="{BE239B8C-6AFE-4F88-98BF-45DE507D2D9D}"/>
                  </a:ext>
                </a:extLst>
              </p:cNvPr>
              <p:cNvSpPr>
                <a:spLocks noChangeArrowheads="1"/>
              </p:cNvSpPr>
              <p:nvPr/>
            </p:nvSpPr>
            <p:spPr bwMode="auto">
              <a:xfrm>
                <a:off x="3016" y="3146"/>
                <a:ext cx="135" cy="121"/>
              </a:xfrm>
              <a:prstGeom prst="star5">
                <a:avLst/>
              </a:prstGeom>
              <a:grp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2" name="AutoShape 203">
                <a:extLst>
                  <a:ext uri="{FF2B5EF4-FFF2-40B4-BE49-F238E27FC236}">
                    <a16:creationId xmlns:a16="http://schemas.microsoft.com/office/drawing/2014/main" id="{2A4C450A-7435-4A9A-BA4C-8EACA616C501}"/>
                  </a:ext>
                </a:extLst>
              </p:cNvPr>
              <p:cNvSpPr>
                <a:spLocks noChangeArrowheads="1"/>
              </p:cNvSpPr>
              <p:nvPr/>
            </p:nvSpPr>
            <p:spPr bwMode="auto">
              <a:xfrm>
                <a:off x="3168" y="3146"/>
                <a:ext cx="136" cy="121"/>
              </a:xfrm>
              <a:prstGeom prst="star5">
                <a:avLst/>
              </a:prstGeom>
              <a:grp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3" name="AutoShape 204">
                <a:extLst>
                  <a:ext uri="{FF2B5EF4-FFF2-40B4-BE49-F238E27FC236}">
                    <a16:creationId xmlns:a16="http://schemas.microsoft.com/office/drawing/2014/main" id="{E4E15104-061A-4C3D-9FD0-75A39C2F356D}"/>
                  </a:ext>
                </a:extLst>
              </p:cNvPr>
              <p:cNvSpPr>
                <a:spLocks noChangeArrowheads="1"/>
              </p:cNvSpPr>
              <p:nvPr/>
            </p:nvSpPr>
            <p:spPr bwMode="auto">
              <a:xfrm>
                <a:off x="3321" y="3146"/>
                <a:ext cx="135" cy="121"/>
              </a:xfrm>
              <a:prstGeom prst="star5">
                <a:avLst/>
              </a:prstGeom>
              <a:grp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12" name="Group 217">
              <a:extLst>
                <a:ext uri="{FF2B5EF4-FFF2-40B4-BE49-F238E27FC236}">
                  <a16:creationId xmlns:a16="http://schemas.microsoft.com/office/drawing/2014/main" id="{9409CC46-A906-40D3-999A-D78F16D5E3BB}"/>
                </a:ext>
              </a:extLst>
            </p:cNvPr>
            <p:cNvGrpSpPr>
              <a:grpSpLocks noChangeAspect="1"/>
            </p:cNvGrpSpPr>
            <p:nvPr/>
          </p:nvGrpSpPr>
          <p:grpSpPr bwMode="auto">
            <a:xfrm>
              <a:off x="9983272" y="2517532"/>
              <a:ext cx="1440000" cy="254880"/>
              <a:chOff x="2711" y="3146"/>
              <a:chExt cx="745" cy="121"/>
            </a:xfrm>
          </p:grpSpPr>
          <p:sp>
            <p:nvSpPr>
              <p:cNvPr id="113" name="AutoShape 218">
                <a:extLst>
                  <a:ext uri="{FF2B5EF4-FFF2-40B4-BE49-F238E27FC236}">
                    <a16:creationId xmlns:a16="http://schemas.microsoft.com/office/drawing/2014/main" id="{80FF1CF5-8CF4-4304-AD75-37C559BCD8D7}"/>
                  </a:ext>
                </a:extLst>
              </p:cNvPr>
              <p:cNvSpPr>
                <a:spLocks noChangeArrowheads="1"/>
              </p:cNvSpPr>
              <p:nvPr/>
            </p:nvSpPr>
            <p:spPr bwMode="auto">
              <a:xfrm>
                <a:off x="2711" y="3146"/>
                <a:ext cx="135"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4" name="AutoShape 219">
                <a:extLst>
                  <a:ext uri="{FF2B5EF4-FFF2-40B4-BE49-F238E27FC236}">
                    <a16:creationId xmlns:a16="http://schemas.microsoft.com/office/drawing/2014/main" id="{7FBF2A04-B28C-4277-B34B-BABA4D098789}"/>
                  </a:ext>
                </a:extLst>
              </p:cNvPr>
              <p:cNvSpPr>
                <a:spLocks noChangeArrowheads="1"/>
              </p:cNvSpPr>
              <p:nvPr/>
            </p:nvSpPr>
            <p:spPr bwMode="auto">
              <a:xfrm>
                <a:off x="2863" y="3146"/>
                <a:ext cx="136"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5" name="AutoShape 220">
                <a:extLst>
                  <a:ext uri="{FF2B5EF4-FFF2-40B4-BE49-F238E27FC236}">
                    <a16:creationId xmlns:a16="http://schemas.microsoft.com/office/drawing/2014/main" id="{D12F1A01-632C-4FD1-A093-8F73AE157996}"/>
                  </a:ext>
                </a:extLst>
              </p:cNvPr>
              <p:cNvSpPr>
                <a:spLocks noChangeArrowheads="1"/>
              </p:cNvSpPr>
              <p:nvPr/>
            </p:nvSpPr>
            <p:spPr bwMode="auto">
              <a:xfrm>
                <a:off x="3016" y="3146"/>
                <a:ext cx="135"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6" name="AutoShape 221">
                <a:extLst>
                  <a:ext uri="{FF2B5EF4-FFF2-40B4-BE49-F238E27FC236}">
                    <a16:creationId xmlns:a16="http://schemas.microsoft.com/office/drawing/2014/main" id="{1719BCF3-1B00-40AF-BFAE-F9616B62069F}"/>
                  </a:ext>
                </a:extLst>
              </p:cNvPr>
              <p:cNvSpPr>
                <a:spLocks noChangeArrowheads="1"/>
              </p:cNvSpPr>
              <p:nvPr/>
            </p:nvSpPr>
            <p:spPr bwMode="auto">
              <a:xfrm>
                <a:off x="3168" y="3146"/>
                <a:ext cx="136"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17" name="AutoShape 222">
                <a:extLst>
                  <a:ext uri="{FF2B5EF4-FFF2-40B4-BE49-F238E27FC236}">
                    <a16:creationId xmlns:a16="http://schemas.microsoft.com/office/drawing/2014/main" id="{68FB2532-0D5A-4B06-8712-CE1F8A847E16}"/>
                  </a:ext>
                </a:extLst>
              </p:cNvPr>
              <p:cNvSpPr>
                <a:spLocks noChangeArrowheads="1"/>
              </p:cNvSpPr>
              <p:nvPr/>
            </p:nvSpPr>
            <p:spPr bwMode="auto">
              <a:xfrm>
                <a:off x="3321" y="3146"/>
                <a:ext cx="135"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grpSp>
        <p:sp>
          <p:nvSpPr>
            <p:cNvPr id="167" name="Rectangle 88">
              <a:extLst>
                <a:ext uri="{FF2B5EF4-FFF2-40B4-BE49-F238E27FC236}">
                  <a16:creationId xmlns:a16="http://schemas.microsoft.com/office/drawing/2014/main" id="{834EE302-F301-472D-A760-A805F4D13D9B}"/>
                </a:ext>
              </a:extLst>
            </p:cNvPr>
            <p:cNvSpPr>
              <a:spLocks noChangeArrowheads="1"/>
            </p:cNvSpPr>
            <p:nvPr/>
          </p:nvSpPr>
          <p:spPr bwMode="auto">
            <a:xfrm>
              <a:off x="9551272" y="1362569"/>
              <a:ext cx="2304000" cy="441441"/>
            </a:xfrm>
            <a:prstGeom prst="rect">
              <a:avLst/>
            </a:prstGeom>
            <a:solidFill>
              <a:schemeClr val="accent2">
                <a:lumMod val="20000"/>
                <a:lumOff val="8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latin typeface="+mj-lt"/>
                </a:rPr>
                <a:t>Criterion 4</a:t>
              </a:r>
            </a:p>
          </p:txBody>
        </p:sp>
      </p:grpSp>
      <p:grpSp>
        <p:nvGrpSpPr>
          <p:cNvPr id="22" name="Group 21" descr="Criteria">
            <a:extLst>
              <a:ext uri="{FF2B5EF4-FFF2-40B4-BE49-F238E27FC236}">
                <a16:creationId xmlns:a16="http://schemas.microsoft.com/office/drawing/2014/main" id="{B543D393-6A5F-4DE5-B1CD-589A2DEBAE88}"/>
              </a:ext>
            </a:extLst>
          </p:cNvPr>
          <p:cNvGrpSpPr/>
          <p:nvPr/>
        </p:nvGrpSpPr>
        <p:grpSpPr>
          <a:xfrm>
            <a:off x="344775" y="3302060"/>
            <a:ext cx="2259094" cy="1620135"/>
            <a:chOff x="342399" y="3966420"/>
            <a:chExt cx="2304000" cy="1529012"/>
          </a:xfrm>
        </p:grpSpPr>
        <p:sp>
          <p:nvSpPr>
            <p:cNvPr id="32" name="Rectangle 129">
              <a:extLst>
                <a:ext uri="{FF2B5EF4-FFF2-40B4-BE49-F238E27FC236}">
                  <a16:creationId xmlns:a16="http://schemas.microsoft.com/office/drawing/2014/main" id="{42D02B0E-04AE-4CB3-8763-3CAF88BD3E22}"/>
                </a:ext>
              </a:extLst>
            </p:cNvPr>
            <p:cNvSpPr>
              <a:spLocks noChangeArrowheads="1"/>
            </p:cNvSpPr>
            <p:nvPr/>
          </p:nvSpPr>
          <p:spPr bwMode="auto">
            <a:xfrm>
              <a:off x="342399" y="4407860"/>
              <a:ext cx="2304000" cy="540000"/>
            </a:xfrm>
            <a:prstGeom prst="rect">
              <a:avLst/>
            </a:prstGeom>
            <a:solidFill>
              <a:srgbClr val="E4E7E7"/>
            </a:solidFill>
            <a:ln w="6350">
              <a:solidFill>
                <a:srgbClr val="FFFFFF"/>
              </a:solidFill>
              <a:miter lim="800000"/>
              <a:headEnd/>
              <a:tailEnd/>
            </a:ln>
            <a:effectLst/>
          </p:spPr>
          <p:txBody>
            <a:bodyPr lIns="144000" tIns="72000" rIns="108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ea typeface="+mn-ea"/>
                  <a:cs typeface="+mn-cs"/>
                </a:rPr>
                <a:t>Criterion 1</a:t>
              </a:r>
            </a:p>
          </p:txBody>
        </p:sp>
        <p:sp>
          <p:nvSpPr>
            <p:cNvPr id="34" name="Rectangle 135">
              <a:extLst>
                <a:ext uri="{FF2B5EF4-FFF2-40B4-BE49-F238E27FC236}">
                  <a16:creationId xmlns:a16="http://schemas.microsoft.com/office/drawing/2014/main" id="{06C81705-028D-43FA-A160-8CDB57B2596E}"/>
                </a:ext>
              </a:extLst>
            </p:cNvPr>
            <p:cNvSpPr>
              <a:spLocks noChangeArrowheads="1"/>
            </p:cNvSpPr>
            <p:nvPr/>
          </p:nvSpPr>
          <p:spPr bwMode="auto">
            <a:xfrm>
              <a:off x="342399" y="4955432"/>
              <a:ext cx="2304000" cy="540000"/>
            </a:xfrm>
            <a:prstGeom prst="rect">
              <a:avLst/>
            </a:prstGeom>
            <a:solidFill>
              <a:srgbClr val="E4E7E7"/>
            </a:solidFill>
            <a:ln w="6350">
              <a:solidFill>
                <a:srgbClr val="FFFFFF"/>
              </a:solidFill>
              <a:miter lim="800000"/>
              <a:headEnd/>
              <a:tailEnd/>
            </a:ln>
            <a:effectLst/>
          </p:spPr>
          <p:txBody>
            <a:bodyPr lIns="144000" tIns="72000" rIns="108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ea typeface="+mn-ea"/>
                  <a:cs typeface="+mn-cs"/>
                </a:rPr>
                <a:t>Criterion 2</a:t>
              </a:r>
            </a:p>
          </p:txBody>
        </p:sp>
        <p:sp>
          <p:nvSpPr>
            <p:cNvPr id="185" name="Rectangle 134">
              <a:extLst>
                <a:ext uri="{FF2B5EF4-FFF2-40B4-BE49-F238E27FC236}">
                  <a16:creationId xmlns:a16="http://schemas.microsoft.com/office/drawing/2014/main" id="{DBC87270-3B4D-4973-987D-F0A8492C2199}"/>
                </a:ext>
              </a:extLst>
            </p:cNvPr>
            <p:cNvSpPr>
              <a:spLocks noChangeArrowheads="1"/>
            </p:cNvSpPr>
            <p:nvPr/>
          </p:nvSpPr>
          <p:spPr bwMode="auto">
            <a:xfrm>
              <a:off x="342399" y="3966420"/>
              <a:ext cx="2304000" cy="441441"/>
            </a:xfrm>
            <a:prstGeom prst="rect">
              <a:avLst/>
            </a:prstGeom>
            <a:solidFill>
              <a:schemeClr val="accent3"/>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Criteria</a:t>
              </a:r>
            </a:p>
          </p:txBody>
        </p:sp>
      </p:grpSp>
      <p:grpSp>
        <p:nvGrpSpPr>
          <p:cNvPr id="25" name="Group 24" descr="Option 1">
            <a:extLst>
              <a:ext uri="{FF2B5EF4-FFF2-40B4-BE49-F238E27FC236}">
                <a16:creationId xmlns:a16="http://schemas.microsoft.com/office/drawing/2014/main" id="{07A1C4DA-263D-44AA-9EE5-6763356B11D9}"/>
              </a:ext>
            </a:extLst>
          </p:cNvPr>
          <p:cNvGrpSpPr/>
          <p:nvPr/>
        </p:nvGrpSpPr>
        <p:grpSpPr>
          <a:xfrm>
            <a:off x="2646399" y="3302060"/>
            <a:ext cx="2259094" cy="1620135"/>
            <a:chOff x="2644023" y="3966420"/>
            <a:chExt cx="2304000" cy="1529012"/>
          </a:xfrm>
        </p:grpSpPr>
        <p:sp>
          <p:nvSpPr>
            <p:cNvPr id="26" name="Rectangle 121">
              <a:extLst>
                <a:ext uri="{FF2B5EF4-FFF2-40B4-BE49-F238E27FC236}">
                  <a16:creationId xmlns:a16="http://schemas.microsoft.com/office/drawing/2014/main" id="{A99EDEF2-5924-493D-97B3-8B7BCB7660B2}"/>
                </a:ext>
              </a:extLst>
            </p:cNvPr>
            <p:cNvSpPr>
              <a:spLocks noChangeArrowheads="1"/>
            </p:cNvSpPr>
            <p:nvPr/>
          </p:nvSpPr>
          <p:spPr bwMode="auto">
            <a:xfrm>
              <a:off x="2644023" y="4955432"/>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p:txBody>
        </p:sp>
        <p:sp>
          <p:nvSpPr>
            <p:cNvPr id="27" name="Rectangle 128">
              <a:extLst>
                <a:ext uri="{FF2B5EF4-FFF2-40B4-BE49-F238E27FC236}">
                  <a16:creationId xmlns:a16="http://schemas.microsoft.com/office/drawing/2014/main" id="{B468771C-4D9B-49DB-B0F7-4CA39EF3B8AB}"/>
                </a:ext>
              </a:extLst>
            </p:cNvPr>
            <p:cNvSpPr>
              <a:spLocks noChangeArrowheads="1"/>
            </p:cNvSpPr>
            <p:nvPr/>
          </p:nvSpPr>
          <p:spPr bwMode="auto">
            <a:xfrm>
              <a:off x="2644023" y="4407860"/>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18" name="Group 211">
              <a:extLst>
                <a:ext uri="{FF2B5EF4-FFF2-40B4-BE49-F238E27FC236}">
                  <a16:creationId xmlns:a16="http://schemas.microsoft.com/office/drawing/2014/main" id="{BB8447AE-5833-49D1-B4E8-008DEFAC5B91}"/>
                </a:ext>
              </a:extLst>
            </p:cNvPr>
            <p:cNvGrpSpPr>
              <a:grpSpLocks noChangeAspect="1"/>
            </p:cNvGrpSpPr>
            <p:nvPr/>
          </p:nvGrpSpPr>
          <p:grpSpPr bwMode="auto">
            <a:xfrm>
              <a:off x="3076023" y="4509206"/>
              <a:ext cx="1440000" cy="254869"/>
              <a:chOff x="2711" y="3146"/>
              <a:chExt cx="745" cy="121"/>
            </a:xfrm>
          </p:grpSpPr>
          <p:sp>
            <p:nvSpPr>
              <p:cNvPr id="119" name="AutoShape 212">
                <a:extLst>
                  <a:ext uri="{FF2B5EF4-FFF2-40B4-BE49-F238E27FC236}">
                    <a16:creationId xmlns:a16="http://schemas.microsoft.com/office/drawing/2014/main" id="{900FC672-946B-469B-A4CC-C66C3D4F2688}"/>
                  </a:ext>
                </a:extLst>
              </p:cNvPr>
              <p:cNvSpPr>
                <a:spLocks noChangeArrowheads="1"/>
              </p:cNvSpPr>
              <p:nvPr/>
            </p:nvSpPr>
            <p:spPr bwMode="auto">
              <a:xfrm>
                <a:off x="2711" y="3146"/>
                <a:ext cx="135"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0" name="AutoShape 213">
                <a:extLst>
                  <a:ext uri="{FF2B5EF4-FFF2-40B4-BE49-F238E27FC236}">
                    <a16:creationId xmlns:a16="http://schemas.microsoft.com/office/drawing/2014/main" id="{64F6307B-D1ED-4F45-9E83-B39E74A68D69}"/>
                  </a:ext>
                </a:extLst>
              </p:cNvPr>
              <p:cNvSpPr>
                <a:spLocks noChangeArrowheads="1"/>
              </p:cNvSpPr>
              <p:nvPr/>
            </p:nvSpPr>
            <p:spPr bwMode="auto">
              <a:xfrm>
                <a:off x="2863" y="3146"/>
                <a:ext cx="136"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1" name="AutoShape 214">
                <a:extLst>
                  <a:ext uri="{FF2B5EF4-FFF2-40B4-BE49-F238E27FC236}">
                    <a16:creationId xmlns:a16="http://schemas.microsoft.com/office/drawing/2014/main" id="{8486AA4E-68D1-4515-BC43-76EA67957D9E}"/>
                  </a:ext>
                </a:extLst>
              </p:cNvPr>
              <p:cNvSpPr>
                <a:spLocks noChangeArrowheads="1"/>
              </p:cNvSpPr>
              <p:nvPr/>
            </p:nvSpPr>
            <p:spPr bwMode="auto">
              <a:xfrm>
                <a:off x="3016" y="3146"/>
                <a:ext cx="135"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2" name="AutoShape 215">
                <a:extLst>
                  <a:ext uri="{FF2B5EF4-FFF2-40B4-BE49-F238E27FC236}">
                    <a16:creationId xmlns:a16="http://schemas.microsoft.com/office/drawing/2014/main" id="{7418F68C-2BB3-4B7B-BBE6-A6FC1E889456}"/>
                  </a:ext>
                </a:extLst>
              </p:cNvPr>
              <p:cNvSpPr>
                <a:spLocks noChangeArrowheads="1"/>
              </p:cNvSpPr>
              <p:nvPr/>
            </p:nvSpPr>
            <p:spPr bwMode="auto">
              <a:xfrm>
                <a:off x="3168" y="3146"/>
                <a:ext cx="136"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3" name="AutoShape 216">
                <a:extLst>
                  <a:ext uri="{FF2B5EF4-FFF2-40B4-BE49-F238E27FC236}">
                    <a16:creationId xmlns:a16="http://schemas.microsoft.com/office/drawing/2014/main" id="{66D45AEC-1317-4E96-95C6-599C234CD96A}"/>
                  </a:ext>
                </a:extLst>
              </p:cNvPr>
              <p:cNvSpPr>
                <a:spLocks noChangeArrowheads="1"/>
              </p:cNvSpPr>
              <p:nvPr/>
            </p:nvSpPr>
            <p:spPr bwMode="auto">
              <a:xfrm>
                <a:off x="3321" y="3146"/>
                <a:ext cx="135"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42" name="Group 217">
              <a:extLst>
                <a:ext uri="{FF2B5EF4-FFF2-40B4-BE49-F238E27FC236}">
                  <a16:creationId xmlns:a16="http://schemas.microsoft.com/office/drawing/2014/main" id="{0B0578EF-9746-4DA8-BAA1-31FCF10A6F92}"/>
                </a:ext>
              </a:extLst>
            </p:cNvPr>
            <p:cNvGrpSpPr>
              <a:grpSpLocks noChangeAspect="1"/>
            </p:cNvGrpSpPr>
            <p:nvPr/>
          </p:nvGrpSpPr>
          <p:grpSpPr bwMode="auto">
            <a:xfrm>
              <a:off x="3076023" y="5080163"/>
              <a:ext cx="1440000" cy="254880"/>
              <a:chOff x="2711" y="3146"/>
              <a:chExt cx="745" cy="121"/>
            </a:xfrm>
          </p:grpSpPr>
          <p:sp>
            <p:nvSpPr>
              <p:cNvPr id="143" name="AutoShape 218">
                <a:extLst>
                  <a:ext uri="{FF2B5EF4-FFF2-40B4-BE49-F238E27FC236}">
                    <a16:creationId xmlns:a16="http://schemas.microsoft.com/office/drawing/2014/main" id="{A18222D9-88D7-4D43-BF3A-3DA25B8A3DBE}"/>
                  </a:ext>
                </a:extLst>
              </p:cNvPr>
              <p:cNvSpPr>
                <a:spLocks noChangeArrowheads="1"/>
              </p:cNvSpPr>
              <p:nvPr/>
            </p:nvSpPr>
            <p:spPr bwMode="auto">
              <a:xfrm>
                <a:off x="2711" y="3146"/>
                <a:ext cx="135"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4" name="AutoShape 219">
                <a:extLst>
                  <a:ext uri="{FF2B5EF4-FFF2-40B4-BE49-F238E27FC236}">
                    <a16:creationId xmlns:a16="http://schemas.microsoft.com/office/drawing/2014/main" id="{EA1F508F-0664-42C4-A43B-88F0A302CF13}"/>
                  </a:ext>
                </a:extLst>
              </p:cNvPr>
              <p:cNvSpPr>
                <a:spLocks noChangeArrowheads="1"/>
              </p:cNvSpPr>
              <p:nvPr/>
            </p:nvSpPr>
            <p:spPr bwMode="auto">
              <a:xfrm>
                <a:off x="2863" y="3146"/>
                <a:ext cx="136"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5" name="AutoShape 220">
                <a:extLst>
                  <a:ext uri="{FF2B5EF4-FFF2-40B4-BE49-F238E27FC236}">
                    <a16:creationId xmlns:a16="http://schemas.microsoft.com/office/drawing/2014/main" id="{725EA0F7-5CA3-48C0-A6D1-B5CAE1E3CC27}"/>
                  </a:ext>
                </a:extLst>
              </p:cNvPr>
              <p:cNvSpPr>
                <a:spLocks noChangeArrowheads="1"/>
              </p:cNvSpPr>
              <p:nvPr/>
            </p:nvSpPr>
            <p:spPr bwMode="auto">
              <a:xfrm>
                <a:off x="3016" y="3146"/>
                <a:ext cx="135"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6" name="AutoShape 221">
                <a:extLst>
                  <a:ext uri="{FF2B5EF4-FFF2-40B4-BE49-F238E27FC236}">
                    <a16:creationId xmlns:a16="http://schemas.microsoft.com/office/drawing/2014/main" id="{231F85B5-0EEF-47BC-9609-9F1B75A57FFA}"/>
                  </a:ext>
                </a:extLst>
              </p:cNvPr>
              <p:cNvSpPr>
                <a:spLocks noChangeArrowheads="1"/>
              </p:cNvSpPr>
              <p:nvPr/>
            </p:nvSpPr>
            <p:spPr bwMode="auto">
              <a:xfrm>
                <a:off x="3168" y="3146"/>
                <a:ext cx="136"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7" name="AutoShape 222">
                <a:extLst>
                  <a:ext uri="{FF2B5EF4-FFF2-40B4-BE49-F238E27FC236}">
                    <a16:creationId xmlns:a16="http://schemas.microsoft.com/office/drawing/2014/main" id="{DD1782A1-58E0-41FE-9D8C-49FD90D7C655}"/>
                  </a:ext>
                </a:extLst>
              </p:cNvPr>
              <p:cNvSpPr>
                <a:spLocks noChangeArrowheads="1"/>
              </p:cNvSpPr>
              <p:nvPr/>
            </p:nvSpPr>
            <p:spPr bwMode="auto">
              <a:xfrm>
                <a:off x="3321" y="3146"/>
                <a:ext cx="135"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grpSp>
        <p:sp>
          <p:nvSpPr>
            <p:cNvPr id="181" name="Rectangle 133">
              <a:extLst>
                <a:ext uri="{FF2B5EF4-FFF2-40B4-BE49-F238E27FC236}">
                  <a16:creationId xmlns:a16="http://schemas.microsoft.com/office/drawing/2014/main" id="{CA4E285A-DBF7-4B98-A089-019CA899DC6C}"/>
                </a:ext>
              </a:extLst>
            </p:cNvPr>
            <p:cNvSpPr>
              <a:spLocks noChangeArrowheads="1"/>
            </p:cNvSpPr>
            <p:nvPr/>
          </p:nvSpPr>
          <p:spPr bwMode="auto">
            <a:xfrm>
              <a:off x="2644023" y="3966420"/>
              <a:ext cx="2304000" cy="441441"/>
            </a:xfrm>
            <a:prstGeom prst="rect">
              <a:avLst/>
            </a:prstGeom>
            <a:solidFill>
              <a:schemeClr val="accent1"/>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Option 1</a:t>
              </a:r>
            </a:p>
          </p:txBody>
        </p:sp>
      </p:grpSp>
      <p:grpSp>
        <p:nvGrpSpPr>
          <p:cNvPr id="28" name="Group 27" descr="Option 2">
            <a:extLst>
              <a:ext uri="{FF2B5EF4-FFF2-40B4-BE49-F238E27FC236}">
                <a16:creationId xmlns:a16="http://schemas.microsoft.com/office/drawing/2014/main" id="{4EF8AB05-09A8-4F2E-A846-086CF2E980AF}"/>
              </a:ext>
            </a:extLst>
          </p:cNvPr>
          <p:cNvGrpSpPr/>
          <p:nvPr/>
        </p:nvGrpSpPr>
        <p:grpSpPr>
          <a:xfrm>
            <a:off x="4948023" y="3302060"/>
            <a:ext cx="2259094" cy="1620135"/>
            <a:chOff x="4945647" y="3966420"/>
            <a:chExt cx="2304000" cy="1529012"/>
          </a:xfrm>
        </p:grpSpPr>
        <p:sp>
          <p:nvSpPr>
            <p:cNvPr id="20" name="Rectangle 122">
              <a:extLst>
                <a:ext uri="{FF2B5EF4-FFF2-40B4-BE49-F238E27FC236}">
                  <a16:creationId xmlns:a16="http://schemas.microsoft.com/office/drawing/2014/main" id="{BC62A930-C249-4B3F-A3CC-3FBD9FAF0DB7}"/>
                </a:ext>
              </a:extLst>
            </p:cNvPr>
            <p:cNvSpPr>
              <a:spLocks noChangeArrowheads="1"/>
            </p:cNvSpPr>
            <p:nvPr/>
          </p:nvSpPr>
          <p:spPr bwMode="auto">
            <a:xfrm>
              <a:off x="4945647" y="4407860"/>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p:txBody>
        </p:sp>
        <p:sp>
          <p:nvSpPr>
            <p:cNvPr id="21" name="Rectangle 123">
              <a:extLst>
                <a:ext uri="{FF2B5EF4-FFF2-40B4-BE49-F238E27FC236}">
                  <a16:creationId xmlns:a16="http://schemas.microsoft.com/office/drawing/2014/main" id="{4C49012F-8054-414F-9888-2A2DFCFD714C}"/>
                </a:ext>
              </a:extLst>
            </p:cNvPr>
            <p:cNvSpPr>
              <a:spLocks noChangeArrowheads="1"/>
            </p:cNvSpPr>
            <p:nvPr/>
          </p:nvSpPr>
          <p:spPr bwMode="auto">
            <a:xfrm>
              <a:off x="4945647" y="4955432"/>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24" name="Group 205">
              <a:extLst>
                <a:ext uri="{FF2B5EF4-FFF2-40B4-BE49-F238E27FC236}">
                  <a16:creationId xmlns:a16="http://schemas.microsoft.com/office/drawing/2014/main" id="{8BFD1E9E-194E-4ED4-9913-A6BE1816F994}"/>
                </a:ext>
              </a:extLst>
            </p:cNvPr>
            <p:cNvGrpSpPr>
              <a:grpSpLocks noChangeAspect="1"/>
            </p:cNvGrpSpPr>
            <p:nvPr/>
          </p:nvGrpSpPr>
          <p:grpSpPr bwMode="auto">
            <a:xfrm>
              <a:off x="5377647" y="5111529"/>
              <a:ext cx="1440000" cy="254880"/>
              <a:chOff x="2711" y="3146"/>
              <a:chExt cx="745" cy="121"/>
            </a:xfrm>
          </p:grpSpPr>
          <p:sp>
            <p:nvSpPr>
              <p:cNvPr id="125" name="AutoShape 206">
                <a:extLst>
                  <a:ext uri="{FF2B5EF4-FFF2-40B4-BE49-F238E27FC236}">
                    <a16:creationId xmlns:a16="http://schemas.microsoft.com/office/drawing/2014/main" id="{7770A580-83EF-4FCD-BB23-88F2E17BADD3}"/>
                  </a:ext>
                </a:extLst>
              </p:cNvPr>
              <p:cNvSpPr>
                <a:spLocks noChangeArrowheads="1"/>
              </p:cNvSpPr>
              <p:nvPr/>
            </p:nvSpPr>
            <p:spPr bwMode="auto">
              <a:xfrm>
                <a:off x="2711" y="3146"/>
                <a:ext cx="135"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6" name="AutoShape 207">
                <a:extLst>
                  <a:ext uri="{FF2B5EF4-FFF2-40B4-BE49-F238E27FC236}">
                    <a16:creationId xmlns:a16="http://schemas.microsoft.com/office/drawing/2014/main" id="{0F62552B-6B00-4BCE-8718-F95BCB0CBE79}"/>
                  </a:ext>
                </a:extLst>
              </p:cNvPr>
              <p:cNvSpPr>
                <a:spLocks noChangeArrowheads="1"/>
              </p:cNvSpPr>
              <p:nvPr/>
            </p:nvSpPr>
            <p:spPr bwMode="auto">
              <a:xfrm>
                <a:off x="2863" y="3146"/>
                <a:ext cx="136"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7" name="AutoShape 208">
                <a:extLst>
                  <a:ext uri="{FF2B5EF4-FFF2-40B4-BE49-F238E27FC236}">
                    <a16:creationId xmlns:a16="http://schemas.microsoft.com/office/drawing/2014/main" id="{3C6D5FAF-2FF2-4728-AAF1-593A1F4C9CDF}"/>
                  </a:ext>
                </a:extLst>
              </p:cNvPr>
              <p:cNvSpPr>
                <a:spLocks noChangeArrowheads="1"/>
              </p:cNvSpPr>
              <p:nvPr/>
            </p:nvSpPr>
            <p:spPr bwMode="auto">
              <a:xfrm>
                <a:off x="3016" y="3146"/>
                <a:ext cx="135"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8" name="AutoShape 209">
                <a:extLst>
                  <a:ext uri="{FF2B5EF4-FFF2-40B4-BE49-F238E27FC236}">
                    <a16:creationId xmlns:a16="http://schemas.microsoft.com/office/drawing/2014/main" id="{4A691FC4-332A-4DA2-A17C-37228E570DF8}"/>
                  </a:ext>
                </a:extLst>
              </p:cNvPr>
              <p:cNvSpPr>
                <a:spLocks noChangeArrowheads="1"/>
              </p:cNvSpPr>
              <p:nvPr/>
            </p:nvSpPr>
            <p:spPr bwMode="auto">
              <a:xfrm>
                <a:off x="3168" y="3146"/>
                <a:ext cx="136"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29" name="AutoShape 210">
                <a:extLst>
                  <a:ext uri="{FF2B5EF4-FFF2-40B4-BE49-F238E27FC236}">
                    <a16:creationId xmlns:a16="http://schemas.microsoft.com/office/drawing/2014/main" id="{771E233B-0263-41F3-99AF-8ADE7E50D4FE}"/>
                  </a:ext>
                </a:extLst>
              </p:cNvPr>
              <p:cNvSpPr>
                <a:spLocks noChangeArrowheads="1"/>
              </p:cNvSpPr>
              <p:nvPr/>
            </p:nvSpPr>
            <p:spPr bwMode="auto">
              <a:xfrm>
                <a:off x="3321" y="3146"/>
                <a:ext cx="135"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0" name="Group 223">
              <a:extLst>
                <a:ext uri="{FF2B5EF4-FFF2-40B4-BE49-F238E27FC236}">
                  <a16:creationId xmlns:a16="http://schemas.microsoft.com/office/drawing/2014/main" id="{1A91A53F-3042-400F-B566-78B1C9D027BE}"/>
                </a:ext>
              </a:extLst>
            </p:cNvPr>
            <p:cNvGrpSpPr>
              <a:grpSpLocks noChangeAspect="1"/>
            </p:cNvGrpSpPr>
            <p:nvPr/>
          </p:nvGrpSpPr>
          <p:grpSpPr bwMode="auto">
            <a:xfrm>
              <a:off x="5377648" y="4509200"/>
              <a:ext cx="850470" cy="254880"/>
              <a:chOff x="2711" y="3146"/>
              <a:chExt cx="440" cy="121"/>
            </a:xfrm>
          </p:grpSpPr>
          <p:sp>
            <p:nvSpPr>
              <p:cNvPr id="131" name="AutoShape 224">
                <a:extLst>
                  <a:ext uri="{FF2B5EF4-FFF2-40B4-BE49-F238E27FC236}">
                    <a16:creationId xmlns:a16="http://schemas.microsoft.com/office/drawing/2014/main" id="{727D2526-403A-4F33-B191-0D37EFFC1899}"/>
                  </a:ext>
                </a:extLst>
              </p:cNvPr>
              <p:cNvSpPr>
                <a:spLocks noChangeArrowheads="1"/>
              </p:cNvSpPr>
              <p:nvPr/>
            </p:nvSpPr>
            <p:spPr bwMode="auto">
              <a:xfrm>
                <a:off x="2711" y="3146"/>
                <a:ext cx="135"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2" name="AutoShape 225">
                <a:extLst>
                  <a:ext uri="{FF2B5EF4-FFF2-40B4-BE49-F238E27FC236}">
                    <a16:creationId xmlns:a16="http://schemas.microsoft.com/office/drawing/2014/main" id="{DAB93122-5964-4CC8-8373-B63E1505F429}"/>
                  </a:ext>
                </a:extLst>
              </p:cNvPr>
              <p:cNvSpPr>
                <a:spLocks noChangeArrowheads="1"/>
              </p:cNvSpPr>
              <p:nvPr/>
            </p:nvSpPr>
            <p:spPr bwMode="auto">
              <a:xfrm>
                <a:off x="2863" y="3146"/>
                <a:ext cx="136"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3" name="AutoShape 226">
                <a:extLst>
                  <a:ext uri="{FF2B5EF4-FFF2-40B4-BE49-F238E27FC236}">
                    <a16:creationId xmlns:a16="http://schemas.microsoft.com/office/drawing/2014/main" id="{7536E15A-9E72-495C-8A50-0103042F02DC}"/>
                  </a:ext>
                </a:extLst>
              </p:cNvPr>
              <p:cNvSpPr>
                <a:spLocks noChangeArrowheads="1"/>
              </p:cNvSpPr>
              <p:nvPr/>
            </p:nvSpPr>
            <p:spPr bwMode="auto">
              <a:xfrm>
                <a:off x="3016" y="3146"/>
                <a:ext cx="135"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grpSp>
        <p:sp>
          <p:nvSpPr>
            <p:cNvPr id="177" name="Rectangle 132">
              <a:extLst>
                <a:ext uri="{FF2B5EF4-FFF2-40B4-BE49-F238E27FC236}">
                  <a16:creationId xmlns:a16="http://schemas.microsoft.com/office/drawing/2014/main" id="{E80F4484-4A44-40EA-AA87-EFCD2E5CA733}"/>
                </a:ext>
              </a:extLst>
            </p:cNvPr>
            <p:cNvSpPr>
              <a:spLocks noChangeArrowheads="1"/>
            </p:cNvSpPr>
            <p:nvPr/>
          </p:nvSpPr>
          <p:spPr bwMode="auto">
            <a:xfrm>
              <a:off x="4945647" y="3966420"/>
              <a:ext cx="2304000" cy="441441"/>
            </a:xfrm>
            <a:prstGeom prst="rect">
              <a:avLst/>
            </a:prstGeom>
            <a:solidFill>
              <a:schemeClr val="accent1">
                <a:lumMod val="60000"/>
                <a:lumOff val="4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latin typeface="+mj-lt"/>
                </a:rPr>
                <a:t>Option 2</a:t>
              </a:r>
            </a:p>
          </p:txBody>
        </p:sp>
        <p:grpSp>
          <p:nvGrpSpPr>
            <p:cNvPr id="180" name="Group 223">
              <a:extLst>
                <a:ext uri="{FF2B5EF4-FFF2-40B4-BE49-F238E27FC236}">
                  <a16:creationId xmlns:a16="http://schemas.microsoft.com/office/drawing/2014/main" id="{B16479B7-41A9-4C5B-A7CD-A026D0327BA8}"/>
                </a:ext>
              </a:extLst>
            </p:cNvPr>
            <p:cNvGrpSpPr>
              <a:grpSpLocks noChangeAspect="1"/>
            </p:cNvGrpSpPr>
            <p:nvPr/>
          </p:nvGrpSpPr>
          <p:grpSpPr bwMode="auto">
            <a:xfrm>
              <a:off x="6260975" y="4542695"/>
              <a:ext cx="556671" cy="254880"/>
              <a:chOff x="3168" y="3146"/>
              <a:chExt cx="288" cy="121"/>
            </a:xfrm>
          </p:grpSpPr>
          <p:sp>
            <p:nvSpPr>
              <p:cNvPr id="187" name="AutoShape 227">
                <a:extLst>
                  <a:ext uri="{FF2B5EF4-FFF2-40B4-BE49-F238E27FC236}">
                    <a16:creationId xmlns:a16="http://schemas.microsoft.com/office/drawing/2014/main" id="{A6C749F8-9A51-4EB8-AEC7-B2FBBA3ACA12}"/>
                  </a:ext>
                </a:extLst>
              </p:cNvPr>
              <p:cNvSpPr>
                <a:spLocks noChangeArrowheads="1"/>
              </p:cNvSpPr>
              <p:nvPr/>
            </p:nvSpPr>
            <p:spPr bwMode="auto">
              <a:xfrm>
                <a:off x="3168" y="3146"/>
                <a:ext cx="136"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88" name="AutoShape 228">
                <a:extLst>
                  <a:ext uri="{FF2B5EF4-FFF2-40B4-BE49-F238E27FC236}">
                    <a16:creationId xmlns:a16="http://schemas.microsoft.com/office/drawing/2014/main" id="{BB2B6A05-26CC-4A65-80DD-5DE056486C6E}"/>
                  </a:ext>
                </a:extLst>
              </p:cNvPr>
              <p:cNvSpPr>
                <a:spLocks noChangeArrowheads="1"/>
              </p:cNvSpPr>
              <p:nvPr/>
            </p:nvSpPr>
            <p:spPr bwMode="auto">
              <a:xfrm>
                <a:off x="3321" y="3146"/>
                <a:ext cx="135"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grpSp>
      </p:grpSp>
      <p:grpSp>
        <p:nvGrpSpPr>
          <p:cNvPr id="30" name="Group 29" descr="Option 3">
            <a:extLst>
              <a:ext uri="{FF2B5EF4-FFF2-40B4-BE49-F238E27FC236}">
                <a16:creationId xmlns:a16="http://schemas.microsoft.com/office/drawing/2014/main" id="{957F27FC-ACB8-4F0B-9A40-C597CE20CCE6}"/>
              </a:ext>
            </a:extLst>
          </p:cNvPr>
          <p:cNvGrpSpPr/>
          <p:nvPr/>
        </p:nvGrpSpPr>
        <p:grpSpPr>
          <a:xfrm>
            <a:off x="7249647" y="3302060"/>
            <a:ext cx="2259094" cy="1620135"/>
            <a:chOff x="7247271" y="3966420"/>
            <a:chExt cx="2304000" cy="1529012"/>
          </a:xfrm>
        </p:grpSpPr>
        <p:sp>
          <p:nvSpPr>
            <p:cNvPr id="14" name="Rectangle 124">
              <a:extLst>
                <a:ext uri="{FF2B5EF4-FFF2-40B4-BE49-F238E27FC236}">
                  <a16:creationId xmlns:a16="http://schemas.microsoft.com/office/drawing/2014/main" id="{2CDE9B77-768E-4CAD-BB7A-8EBB44823021}"/>
                </a:ext>
              </a:extLst>
            </p:cNvPr>
            <p:cNvSpPr>
              <a:spLocks noChangeArrowheads="1"/>
            </p:cNvSpPr>
            <p:nvPr/>
          </p:nvSpPr>
          <p:spPr bwMode="auto">
            <a:xfrm>
              <a:off x="7247271" y="4407860"/>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p:txBody>
        </p:sp>
        <p:sp>
          <p:nvSpPr>
            <p:cNvPr id="15" name="Rectangle 125">
              <a:extLst>
                <a:ext uri="{FF2B5EF4-FFF2-40B4-BE49-F238E27FC236}">
                  <a16:creationId xmlns:a16="http://schemas.microsoft.com/office/drawing/2014/main" id="{B4470BE9-8FE2-4384-AA9E-D36EBBCABDB4}"/>
                </a:ext>
              </a:extLst>
            </p:cNvPr>
            <p:cNvSpPr>
              <a:spLocks noChangeArrowheads="1"/>
            </p:cNvSpPr>
            <p:nvPr/>
          </p:nvSpPr>
          <p:spPr bwMode="auto">
            <a:xfrm>
              <a:off x="7247271" y="4955432"/>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48" name="Group 211">
              <a:extLst>
                <a:ext uri="{FF2B5EF4-FFF2-40B4-BE49-F238E27FC236}">
                  <a16:creationId xmlns:a16="http://schemas.microsoft.com/office/drawing/2014/main" id="{56979BE9-EA54-4B0A-A398-3527F57ED5FE}"/>
                </a:ext>
              </a:extLst>
            </p:cNvPr>
            <p:cNvGrpSpPr>
              <a:grpSpLocks noChangeAspect="1"/>
            </p:cNvGrpSpPr>
            <p:nvPr/>
          </p:nvGrpSpPr>
          <p:grpSpPr bwMode="auto">
            <a:xfrm>
              <a:off x="7679271" y="5056777"/>
              <a:ext cx="1440000" cy="254869"/>
              <a:chOff x="2711" y="3146"/>
              <a:chExt cx="745" cy="121"/>
            </a:xfrm>
          </p:grpSpPr>
          <p:sp>
            <p:nvSpPr>
              <p:cNvPr id="149" name="AutoShape 212">
                <a:extLst>
                  <a:ext uri="{FF2B5EF4-FFF2-40B4-BE49-F238E27FC236}">
                    <a16:creationId xmlns:a16="http://schemas.microsoft.com/office/drawing/2014/main" id="{5DAA56AB-006C-4701-8B24-A882B2E1CAFD}"/>
                  </a:ext>
                </a:extLst>
              </p:cNvPr>
              <p:cNvSpPr>
                <a:spLocks noChangeArrowheads="1"/>
              </p:cNvSpPr>
              <p:nvPr/>
            </p:nvSpPr>
            <p:spPr bwMode="auto">
              <a:xfrm>
                <a:off x="2711" y="3146"/>
                <a:ext cx="135"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0" name="AutoShape 213">
                <a:extLst>
                  <a:ext uri="{FF2B5EF4-FFF2-40B4-BE49-F238E27FC236}">
                    <a16:creationId xmlns:a16="http://schemas.microsoft.com/office/drawing/2014/main" id="{971D3652-23C4-4481-B18F-0AFD97505293}"/>
                  </a:ext>
                </a:extLst>
              </p:cNvPr>
              <p:cNvSpPr>
                <a:spLocks noChangeArrowheads="1"/>
              </p:cNvSpPr>
              <p:nvPr/>
            </p:nvSpPr>
            <p:spPr bwMode="auto">
              <a:xfrm>
                <a:off x="2863" y="3146"/>
                <a:ext cx="136"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1" name="AutoShape 214">
                <a:extLst>
                  <a:ext uri="{FF2B5EF4-FFF2-40B4-BE49-F238E27FC236}">
                    <a16:creationId xmlns:a16="http://schemas.microsoft.com/office/drawing/2014/main" id="{7E29C959-EE9A-4F11-8541-7AD1D754B6E6}"/>
                  </a:ext>
                </a:extLst>
              </p:cNvPr>
              <p:cNvSpPr>
                <a:spLocks noChangeArrowheads="1"/>
              </p:cNvSpPr>
              <p:nvPr/>
            </p:nvSpPr>
            <p:spPr bwMode="auto">
              <a:xfrm>
                <a:off x="3016" y="3146"/>
                <a:ext cx="135"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2" name="AutoShape 215">
                <a:extLst>
                  <a:ext uri="{FF2B5EF4-FFF2-40B4-BE49-F238E27FC236}">
                    <a16:creationId xmlns:a16="http://schemas.microsoft.com/office/drawing/2014/main" id="{C208FA36-384C-4C10-990E-3FCA80974BF0}"/>
                  </a:ext>
                </a:extLst>
              </p:cNvPr>
              <p:cNvSpPr>
                <a:spLocks noChangeArrowheads="1"/>
              </p:cNvSpPr>
              <p:nvPr/>
            </p:nvSpPr>
            <p:spPr bwMode="auto">
              <a:xfrm>
                <a:off x="3168" y="3146"/>
                <a:ext cx="136"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3" name="AutoShape 216">
                <a:extLst>
                  <a:ext uri="{FF2B5EF4-FFF2-40B4-BE49-F238E27FC236}">
                    <a16:creationId xmlns:a16="http://schemas.microsoft.com/office/drawing/2014/main" id="{26AF11BC-14D8-4FEC-AA64-5C85072CAB57}"/>
                  </a:ext>
                </a:extLst>
              </p:cNvPr>
              <p:cNvSpPr>
                <a:spLocks noChangeArrowheads="1"/>
              </p:cNvSpPr>
              <p:nvPr/>
            </p:nvSpPr>
            <p:spPr bwMode="auto">
              <a:xfrm>
                <a:off x="3321" y="3146"/>
                <a:ext cx="135"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54" name="Group 223">
              <a:extLst>
                <a:ext uri="{FF2B5EF4-FFF2-40B4-BE49-F238E27FC236}">
                  <a16:creationId xmlns:a16="http://schemas.microsoft.com/office/drawing/2014/main" id="{D39496F1-F03B-44B1-ACD4-9302C332B1FA}"/>
                </a:ext>
              </a:extLst>
            </p:cNvPr>
            <p:cNvGrpSpPr>
              <a:grpSpLocks noChangeAspect="1"/>
            </p:cNvGrpSpPr>
            <p:nvPr/>
          </p:nvGrpSpPr>
          <p:grpSpPr bwMode="auto">
            <a:xfrm>
              <a:off x="7679271" y="4509200"/>
              <a:ext cx="1440000" cy="254880"/>
              <a:chOff x="2711" y="3146"/>
              <a:chExt cx="745" cy="121"/>
            </a:xfrm>
          </p:grpSpPr>
          <p:sp>
            <p:nvSpPr>
              <p:cNvPr id="155" name="AutoShape 224">
                <a:extLst>
                  <a:ext uri="{FF2B5EF4-FFF2-40B4-BE49-F238E27FC236}">
                    <a16:creationId xmlns:a16="http://schemas.microsoft.com/office/drawing/2014/main" id="{5D2E60A4-DA76-4905-A412-F1E5C13B1011}"/>
                  </a:ext>
                </a:extLst>
              </p:cNvPr>
              <p:cNvSpPr>
                <a:spLocks noChangeArrowheads="1"/>
              </p:cNvSpPr>
              <p:nvPr/>
            </p:nvSpPr>
            <p:spPr bwMode="auto">
              <a:xfrm>
                <a:off x="2711" y="3146"/>
                <a:ext cx="135"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6" name="AutoShape 225">
                <a:extLst>
                  <a:ext uri="{FF2B5EF4-FFF2-40B4-BE49-F238E27FC236}">
                    <a16:creationId xmlns:a16="http://schemas.microsoft.com/office/drawing/2014/main" id="{5630AC40-1225-46B2-A600-F6484FEDB6F4}"/>
                  </a:ext>
                </a:extLst>
              </p:cNvPr>
              <p:cNvSpPr>
                <a:spLocks noChangeArrowheads="1"/>
              </p:cNvSpPr>
              <p:nvPr/>
            </p:nvSpPr>
            <p:spPr bwMode="auto">
              <a:xfrm>
                <a:off x="2863" y="3146"/>
                <a:ext cx="136"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7" name="AutoShape 226">
                <a:extLst>
                  <a:ext uri="{FF2B5EF4-FFF2-40B4-BE49-F238E27FC236}">
                    <a16:creationId xmlns:a16="http://schemas.microsoft.com/office/drawing/2014/main" id="{D487BD9E-D0BE-4937-ADB8-F3ED8C6F41F9}"/>
                  </a:ext>
                </a:extLst>
              </p:cNvPr>
              <p:cNvSpPr>
                <a:spLocks noChangeArrowheads="1"/>
              </p:cNvSpPr>
              <p:nvPr/>
            </p:nvSpPr>
            <p:spPr bwMode="auto">
              <a:xfrm>
                <a:off x="3016" y="3146"/>
                <a:ext cx="135"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8" name="AutoShape 227">
                <a:extLst>
                  <a:ext uri="{FF2B5EF4-FFF2-40B4-BE49-F238E27FC236}">
                    <a16:creationId xmlns:a16="http://schemas.microsoft.com/office/drawing/2014/main" id="{1FD9787C-CA2E-4D6D-AFF8-1AAE934757C1}"/>
                  </a:ext>
                </a:extLst>
              </p:cNvPr>
              <p:cNvSpPr>
                <a:spLocks noChangeArrowheads="1"/>
              </p:cNvSpPr>
              <p:nvPr/>
            </p:nvSpPr>
            <p:spPr bwMode="auto">
              <a:xfrm>
                <a:off x="3168" y="3146"/>
                <a:ext cx="136"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59" name="AutoShape 228">
                <a:extLst>
                  <a:ext uri="{FF2B5EF4-FFF2-40B4-BE49-F238E27FC236}">
                    <a16:creationId xmlns:a16="http://schemas.microsoft.com/office/drawing/2014/main" id="{7CD0C498-5F8D-4378-B992-518AEE5F86F6}"/>
                  </a:ext>
                </a:extLst>
              </p:cNvPr>
              <p:cNvSpPr>
                <a:spLocks noChangeArrowheads="1"/>
              </p:cNvSpPr>
              <p:nvPr/>
            </p:nvSpPr>
            <p:spPr bwMode="auto">
              <a:xfrm>
                <a:off x="3321" y="3146"/>
                <a:ext cx="135"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grpSp>
        <p:sp>
          <p:nvSpPr>
            <p:cNvPr id="173" name="Rectangle 131">
              <a:extLst>
                <a:ext uri="{FF2B5EF4-FFF2-40B4-BE49-F238E27FC236}">
                  <a16:creationId xmlns:a16="http://schemas.microsoft.com/office/drawing/2014/main" id="{D39653E9-5554-4406-B3FB-A5C411B09597}"/>
                </a:ext>
              </a:extLst>
            </p:cNvPr>
            <p:cNvSpPr>
              <a:spLocks noChangeArrowheads="1"/>
            </p:cNvSpPr>
            <p:nvPr/>
          </p:nvSpPr>
          <p:spPr bwMode="auto">
            <a:xfrm>
              <a:off x="7247271" y="3966420"/>
              <a:ext cx="2304000" cy="441441"/>
            </a:xfrm>
            <a:prstGeom prst="rect">
              <a:avLst/>
            </a:prstGeom>
            <a:solidFill>
              <a:schemeClr val="accent1">
                <a:lumMod val="40000"/>
                <a:lumOff val="6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latin typeface="+mj-lt"/>
                </a:rPr>
                <a:t>Option 3</a:t>
              </a:r>
            </a:p>
          </p:txBody>
        </p:sp>
      </p:grpSp>
      <p:grpSp>
        <p:nvGrpSpPr>
          <p:cNvPr id="33" name="Group 32" descr="Option 4">
            <a:extLst>
              <a:ext uri="{FF2B5EF4-FFF2-40B4-BE49-F238E27FC236}">
                <a16:creationId xmlns:a16="http://schemas.microsoft.com/office/drawing/2014/main" id="{AE07CCE1-36BD-45BA-A865-675CA874624E}"/>
              </a:ext>
            </a:extLst>
          </p:cNvPr>
          <p:cNvGrpSpPr/>
          <p:nvPr/>
        </p:nvGrpSpPr>
        <p:grpSpPr>
          <a:xfrm>
            <a:off x="9551272" y="3302060"/>
            <a:ext cx="2259094" cy="1620135"/>
            <a:chOff x="9548896" y="3966420"/>
            <a:chExt cx="2304000" cy="1529012"/>
          </a:xfrm>
        </p:grpSpPr>
        <p:sp>
          <p:nvSpPr>
            <p:cNvPr id="8" name="Rectangle 126">
              <a:extLst>
                <a:ext uri="{FF2B5EF4-FFF2-40B4-BE49-F238E27FC236}">
                  <a16:creationId xmlns:a16="http://schemas.microsoft.com/office/drawing/2014/main" id="{A81C6A4E-82D4-496A-B3AB-C81F8C5644C0}"/>
                </a:ext>
              </a:extLst>
            </p:cNvPr>
            <p:cNvSpPr>
              <a:spLocks noChangeArrowheads="1"/>
            </p:cNvSpPr>
            <p:nvPr/>
          </p:nvSpPr>
          <p:spPr bwMode="auto">
            <a:xfrm>
              <a:off x="9548896" y="4407860"/>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p:txBody>
        </p:sp>
        <p:sp>
          <p:nvSpPr>
            <p:cNvPr id="9" name="Rectangle 127">
              <a:extLst>
                <a:ext uri="{FF2B5EF4-FFF2-40B4-BE49-F238E27FC236}">
                  <a16:creationId xmlns:a16="http://schemas.microsoft.com/office/drawing/2014/main" id="{51EA9E0E-959E-4FFD-8B94-4AE4EF1B0CE6}"/>
                </a:ext>
              </a:extLst>
            </p:cNvPr>
            <p:cNvSpPr>
              <a:spLocks noChangeArrowheads="1"/>
            </p:cNvSpPr>
            <p:nvPr/>
          </p:nvSpPr>
          <p:spPr bwMode="auto">
            <a:xfrm>
              <a:off x="9548896" y="4955432"/>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36" name="Group 199">
              <a:extLst>
                <a:ext uri="{FF2B5EF4-FFF2-40B4-BE49-F238E27FC236}">
                  <a16:creationId xmlns:a16="http://schemas.microsoft.com/office/drawing/2014/main" id="{E9E86D30-366A-414C-B6F3-57E64A72871F}"/>
                </a:ext>
              </a:extLst>
            </p:cNvPr>
            <p:cNvGrpSpPr>
              <a:grpSpLocks noChangeAspect="1"/>
            </p:cNvGrpSpPr>
            <p:nvPr/>
          </p:nvGrpSpPr>
          <p:grpSpPr bwMode="auto">
            <a:xfrm>
              <a:off x="9980896" y="4509200"/>
              <a:ext cx="1440000" cy="254880"/>
              <a:chOff x="2711" y="3146"/>
              <a:chExt cx="745" cy="121"/>
            </a:xfrm>
            <a:solidFill>
              <a:srgbClr val="DCAFFF"/>
            </a:solidFill>
          </p:grpSpPr>
          <p:sp>
            <p:nvSpPr>
              <p:cNvPr id="137" name="AutoShape 200">
                <a:extLst>
                  <a:ext uri="{FF2B5EF4-FFF2-40B4-BE49-F238E27FC236}">
                    <a16:creationId xmlns:a16="http://schemas.microsoft.com/office/drawing/2014/main" id="{62607573-6D2A-4EBA-8C69-D9FD91E932D1}"/>
                  </a:ext>
                </a:extLst>
              </p:cNvPr>
              <p:cNvSpPr>
                <a:spLocks noChangeArrowheads="1"/>
              </p:cNvSpPr>
              <p:nvPr/>
            </p:nvSpPr>
            <p:spPr bwMode="auto">
              <a:xfrm>
                <a:off x="2711" y="3146"/>
                <a:ext cx="135" cy="121"/>
              </a:xfrm>
              <a:prstGeom prst="star5">
                <a:avLst/>
              </a:prstGeom>
              <a:grp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8" name="AutoShape 201">
                <a:extLst>
                  <a:ext uri="{FF2B5EF4-FFF2-40B4-BE49-F238E27FC236}">
                    <a16:creationId xmlns:a16="http://schemas.microsoft.com/office/drawing/2014/main" id="{CA91904C-613F-4905-96A9-B10091057DCE}"/>
                  </a:ext>
                </a:extLst>
              </p:cNvPr>
              <p:cNvSpPr>
                <a:spLocks noChangeArrowheads="1"/>
              </p:cNvSpPr>
              <p:nvPr/>
            </p:nvSpPr>
            <p:spPr bwMode="auto">
              <a:xfrm>
                <a:off x="2863" y="3146"/>
                <a:ext cx="136" cy="121"/>
              </a:xfrm>
              <a:prstGeom prst="star5">
                <a:avLst/>
              </a:prstGeom>
              <a:grp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39" name="AutoShape 202">
                <a:extLst>
                  <a:ext uri="{FF2B5EF4-FFF2-40B4-BE49-F238E27FC236}">
                    <a16:creationId xmlns:a16="http://schemas.microsoft.com/office/drawing/2014/main" id="{81DF9AEF-E7B0-414B-BB46-41EDDB4B4035}"/>
                  </a:ext>
                </a:extLst>
              </p:cNvPr>
              <p:cNvSpPr>
                <a:spLocks noChangeArrowheads="1"/>
              </p:cNvSpPr>
              <p:nvPr/>
            </p:nvSpPr>
            <p:spPr bwMode="auto">
              <a:xfrm>
                <a:off x="3016" y="3146"/>
                <a:ext cx="135" cy="121"/>
              </a:xfrm>
              <a:prstGeom prst="star5">
                <a:avLst/>
              </a:prstGeom>
              <a:grp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0" name="AutoShape 203">
                <a:extLst>
                  <a:ext uri="{FF2B5EF4-FFF2-40B4-BE49-F238E27FC236}">
                    <a16:creationId xmlns:a16="http://schemas.microsoft.com/office/drawing/2014/main" id="{7FA61E4E-945F-4AFC-84CA-119E75EC95D0}"/>
                  </a:ext>
                </a:extLst>
              </p:cNvPr>
              <p:cNvSpPr>
                <a:spLocks noChangeArrowheads="1"/>
              </p:cNvSpPr>
              <p:nvPr/>
            </p:nvSpPr>
            <p:spPr bwMode="auto">
              <a:xfrm>
                <a:off x="3168" y="3146"/>
                <a:ext cx="136" cy="121"/>
              </a:xfrm>
              <a:prstGeom prst="star5">
                <a:avLst/>
              </a:prstGeom>
              <a:grp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1" name="AutoShape 204">
                <a:extLst>
                  <a:ext uri="{FF2B5EF4-FFF2-40B4-BE49-F238E27FC236}">
                    <a16:creationId xmlns:a16="http://schemas.microsoft.com/office/drawing/2014/main" id="{D55A5D7E-06AC-4617-8134-8653DC40C67B}"/>
                  </a:ext>
                </a:extLst>
              </p:cNvPr>
              <p:cNvSpPr>
                <a:spLocks noChangeArrowheads="1"/>
              </p:cNvSpPr>
              <p:nvPr/>
            </p:nvSpPr>
            <p:spPr bwMode="auto">
              <a:xfrm>
                <a:off x="3321" y="3146"/>
                <a:ext cx="135" cy="121"/>
              </a:xfrm>
              <a:prstGeom prst="star5">
                <a:avLst/>
              </a:prstGeom>
              <a:grp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60" name="Group 217">
              <a:extLst>
                <a:ext uri="{FF2B5EF4-FFF2-40B4-BE49-F238E27FC236}">
                  <a16:creationId xmlns:a16="http://schemas.microsoft.com/office/drawing/2014/main" id="{A0097EF5-389D-481D-B172-C7A719BF2681}"/>
                </a:ext>
              </a:extLst>
            </p:cNvPr>
            <p:cNvGrpSpPr>
              <a:grpSpLocks noChangeAspect="1"/>
            </p:cNvGrpSpPr>
            <p:nvPr/>
          </p:nvGrpSpPr>
          <p:grpSpPr bwMode="auto">
            <a:xfrm>
              <a:off x="9980896" y="5080163"/>
              <a:ext cx="1440000" cy="254880"/>
              <a:chOff x="2711" y="3146"/>
              <a:chExt cx="745" cy="121"/>
            </a:xfrm>
          </p:grpSpPr>
          <p:sp>
            <p:nvSpPr>
              <p:cNvPr id="161" name="AutoShape 218">
                <a:extLst>
                  <a:ext uri="{FF2B5EF4-FFF2-40B4-BE49-F238E27FC236}">
                    <a16:creationId xmlns:a16="http://schemas.microsoft.com/office/drawing/2014/main" id="{92E00E90-E95C-45C5-ACB4-4D84E4211F47}"/>
                  </a:ext>
                </a:extLst>
              </p:cNvPr>
              <p:cNvSpPr>
                <a:spLocks noChangeArrowheads="1"/>
              </p:cNvSpPr>
              <p:nvPr/>
            </p:nvSpPr>
            <p:spPr bwMode="auto">
              <a:xfrm>
                <a:off x="2711" y="3146"/>
                <a:ext cx="135"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2" name="AutoShape 219">
                <a:extLst>
                  <a:ext uri="{FF2B5EF4-FFF2-40B4-BE49-F238E27FC236}">
                    <a16:creationId xmlns:a16="http://schemas.microsoft.com/office/drawing/2014/main" id="{91FADC3D-BE56-4A4C-A43A-226123F17AF2}"/>
                  </a:ext>
                </a:extLst>
              </p:cNvPr>
              <p:cNvSpPr>
                <a:spLocks noChangeArrowheads="1"/>
              </p:cNvSpPr>
              <p:nvPr/>
            </p:nvSpPr>
            <p:spPr bwMode="auto">
              <a:xfrm>
                <a:off x="2863" y="3146"/>
                <a:ext cx="136"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3" name="AutoShape 220">
                <a:extLst>
                  <a:ext uri="{FF2B5EF4-FFF2-40B4-BE49-F238E27FC236}">
                    <a16:creationId xmlns:a16="http://schemas.microsoft.com/office/drawing/2014/main" id="{9C89EAE9-19C1-49D4-8D3D-EEDD249D47AA}"/>
                  </a:ext>
                </a:extLst>
              </p:cNvPr>
              <p:cNvSpPr>
                <a:spLocks noChangeArrowheads="1"/>
              </p:cNvSpPr>
              <p:nvPr/>
            </p:nvSpPr>
            <p:spPr bwMode="auto">
              <a:xfrm>
                <a:off x="3016" y="3146"/>
                <a:ext cx="135" cy="121"/>
              </a:xfrm>
              <a:prstGeom prst="star5">
                <a:avLst/>
              </a:prstGeom>
              <a:solidFill>
                <a:srgbClr val="DCAFFF"/>
              </a:solidFill>
              <a:ln w="1270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4" name="AutoShape 221">
                <a:extLst>
                  <a:ext uri="{FF2B5EF4-FFF2-40B4-BE49-F238E27FC236}">
                    <a16:creationId xmlns:a16="http://schemas.microsoft.com/office/drawing/2014/main" id="{4B0967B3-62B0-49CA-88BF-1988B5744EDD}"/>
                  </a:ext>
                </a:extLst>
              </p:cNvPr>
              <p:cNvSpPr>
                <a:spLocks noChangeArrowheads="1"/>
              </p:cNvSpPr>
              <p:nvPr/>
            </p:nvSpPr>
            <p:spPr bwMode="auto">
              <a:xfrm>
                <a:off x="3168" y="3146"/>
                <a:ext cx="136"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65" name="AutoShape 222">
                <a:extLst>
                  <a:ext uri="{FF2B5EF4-FFF2-40B4-BE49-F238E27FC236}">
                    <a16:creationId xmlns:a16="http://schemas.microsoft.com/office/drawing/2014/main" id="{6D939935-CAD8-471F-9F63-5DDBB48A09C3}"/>
                  </a:ext>
                </a:extLst>
              </p:cNvPr>
              <p:cNvSpPr>
                <a:spLocks noChangeArrowheads="1"/>
              </p:cNvSpPr>
              <p:nvPr/>
            </p:nvSpPr>
            <p:spPr bwMode="auto">
              <a:xfrm>
                <a:off x="3321" y="3146"/>
                <a:ext cx="135" cy="121"/>
              </a:xfrm>
              <a:prstGeom prst="star5">
                <a:avLst/>
              </a:prstGeom>
              <a:noFill/>
              <a:ln w="1270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grpSp>
        <p:sp>
          <p:nvSpPr>
            <p:cNvPr id="169" name="Rectangle 130">
              <a:extLst>
                <a:ext uri="{FF2B5EF4-FFF2-40B4-BE49-F238E27FC236}">
                  <a16:creationId xmlns:a16="http://schemas.microsoft.com/office/drawing/2014/main" id="{B4EE9576-4018-43E2-9301-D2BB0961C790}"/>
                </a:ext>
              </a:extLst>
            </p:cNvPr>
            <p:cNvSpPr>
              <a:spLocks noChangeArrowheads="1"/>
            </p:cNvSpPr>
            <p:nvPr/>
          </p:nvSpPr>
          <p:spPr bwMode="auto">
            <a:xfrm>
              <a:off x="9548896" y="3966420"/>
              <a:ext cx="2304000" cy="441441"/>
            </a:xfrm>
            <a:prstGeom prst="rect">
              <a:avLst/>
            </a:prstGeom>
            <a:solidFill>
              <a:schemeClr val="accent1">
                <a:lumMod val="20000"/>
                <a:lumOff val="8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latin typeface="+mj-lt"/>
                </a:rPr>
                <a:t>Option 4</a:t>
              </a:r>
            </a:p>
          </p:txBody>
        </p:sp>
      </p:grpSp>
      <p:grpSp>
        <p:nvGrpSpPr>
          <p:cNvPr id="195" name="Group 194" descr="Excellent">
            <a:extLst>
              <a:ext uri="{FF2B5EF4-FFF2-40B4-BE49-F238E27FC236}">
                <a16:creationId xmlns:a16="http://schemas.microsoft.com/office/drawing/2014/main" id="{8632B923-E1F8-4A55-99F9-3B149C5AF808}"/>
              </a:ext>
            </a:extLst>
          </p:cNvPr>
          <p:cNvGrpSpPr/>
          <p:nvPr/>
        </p:nvGrpSpPr>
        <p:grpSpPr>
          <a:xfrm>
            <a:off x="435017" y="5559479"/>
            <a:ext cx="566069" cy="366622"/>
            <a:chOff x="331256" y="5993982"/>
            <a:chExt cx="566069" cy="366622"/>
          </a:xfrm>
        </p:grpSpPr>
        <p:sp>
          <p:nvSpPr>
            <p:cNvPr id="35" name="Rectangle 6">
              <a:extLst>
                <a:ext uri="{FF2B5EF4-FFF2-40B4-BE49-F238E27FC236}">
                  <a16:creationId xmlns:a16="http://schemas.microsoft.com/office/drawing/2014/main" id="{ABD8BECE-9867-451E-88BB-A0EF8740F98B}"/>
                </a:ext>
              </a:extLst>
            </p:cNvPr>
            <p:cNvSpPr>
              <a:spLocks noChangeAspect="1" noChangeArrowheads="1"/>
            </p:cNvSpPr>
            <p:nvPr/>
          </p:nvSpPr>
          <p:spPr bwMode="auto">
            <a:xfrm>
              <a:off x="339480" y="5993982"/>
              <a:ext cx="557845" cy="153888"/>
            </a:xfrm>
            <a:prstGeom prst="rect">
              <a:avLst/>
            </a:prstGeom>
            <a:noFill/>
            <a:ln w="6350">
              <a:noFill/>
              <a:miter lim="800000"/>
              <a:headEnd/>
              <a:tailEnd/>
            </a:ln>
            <a:effectLst/>
          </p:spPr>
          <p:txBody>
            <a:bodyPr wrap="none" lIns="0" tIns="0" rIns="0" bIns="0" anchor="ctr">
              <a:spAutoFit/>
            </a:bodyP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Excellent</a:t>
              </a:r>
            </a:p>
          </p:txBody>
        </p:sp>
        <p:grpSp>
          <p:nvGrpSpPr>
            <p:cNvPr id="40" name="Group 199">
              <a:extLst>
                <a:ext uri="{FF2B5EF4-FFF2-40B4-BE49-F238E27FC236}">
                  <a16:creationId xmlns:a16="http://schemas.microsoft.com/office/drawing/2014/main" id="{275E024E-E427-47AE-97DF-E413CB2D7689}"/>
                </a:ext>
              </a:extLst>
            </p:cNvPr>
            <p:cNvGrpSpPr>
              <a:grpSpLocks noChangeAspect="1"/>
            </p:cNvGrpSpPr>
            <p:nvPr/>
          </p:nvGrpSpPr>
          <p:grpSpPr bwMode="auto">
            <a:xfrm>
              <a:off x="331256" y="6268705"/>
              <a:ext cx="519232" cy="91899"/>
              <a:chOff x="2711" y="3146"/>
              <a:chExt cx="745" cy="121"/>
            </a:xfrm>
            <a:solidFill>
              <a:srgbClr val="DCAFFF"/>
            </a:solidFill>
          </p:grpSpPr>
          <p:sp>
            <p:nvSpPr>
              <p:cNvPr id="41" name="AutoShape 200">
                <a:extLst>
                  <a:ext uri="{FF2B5EF4-FFF2-40B4-BE49-F238E27FC236}">
                    <a16:creationId xmlns:a16="http://schemas.microsoft.com/office/drawing/2014/main" id="{D0625773-16BC-4EE5-9B6D-E69CC4851862}"/>
                  </a:ext>
                </a:extLst>
              </p:cNvPr>
              <p:cNvSpPr>
                <a:spLocks noChangeArrowheads="1"/>
              </p:cNvSpPr>
              <p:nvPr/>
            </p:nvSpPr>
            <p:spPr bwMode="auto">
              <a:xfrm>
                <a:off x="2711" y="3146"/>
                <a:ext cx="135" cy="121"/>
              </a:xfrm>
              <a:prstGeom prst="star5">
                <a:avLst/>
              </a:prstGeom>
              <a:grp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42" name="AutoShape 201">
                <a:extLst>
                  <a:ext uri="{FF2B5EF4-FFF2-40B4-BE49-F238E27FC236}">
                    <a16:creationId xmlns:a16="http://schemas.microsoft.com/office/drawing/2014/main" id="{0803AB35-92EB-4C37-AC04-7EA68E370299}"/>
                  </a:ext>
                </a:extLst>
              </p:cNvPr>
              <p:cNvSpPr>
                <a:spLocks noChangeArrowheads="1"/>
              </p:cNvSpPr>
              <p:nvPr/>
            </p:nvSpPr>
            <p:spPr bwMode="auto">
              <a:xfrm>
                <a:off x="2863" y="3146"/>
                <a:ext cx="136" cy="121"/>
              </a:xfrm>
              <a:prstGeom prst="star5">
                <a:avLst/>
              </a:prstGeom>
              <a:grp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43" name="AutoShape 202">
                <a:extLst>
                  <a:ext uri="{FF2B5EF4-FFF2-40B4-BE49-F238E27FC236}">
                    <a16:creationId xmlns:a16="http://schemas.microsoft.com/office/drawing/2014/main" id="{73791BDB-7F26-4FFA-A793-4192143C5742}"/>
                  </a:ext>
                </a:extLst>
              </p:cNvPr>
              <p:cNvSpPr>
                <a:spLocks noChangeArrowheads="1"/>
              </p:cNvSpPr>
              <p:nvPr/>
            </p:nvSpPr>
            <p:spPr bwMode="auto">
              <a:xfrm>
                <a:off x="3016" y="3146"/>
                <a:ext cx="135" cy="121"/>
              </a:xfrm>
              <a:prstGeom prst="star5">
                <a:avLst/>
              </a:prstGeom>
              <a:grp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44" name="AutoShape 203">
                <a:extLst>
                  <a:ext uri="{FF2B5EF4-FFF2-40B4-BE49-F238E27FC236}">
                    <a16:creationId xmlns:a16="http://schemas.microsoft.com/office/drawing/2014/main" id="{A930B3ED-4B54-4A4F-B99E-911F9E34DE48}"/>
                  </a:ext>
                </a:extLst>
              </p:cNvPr>
              <p:cNvSpPr>
                <a:spLocks noChangeArrowheads="1"/>
              </p:cNvSpPr>
              <p:nvPr/>
            </p:nvSpPr>
            <p:spPr bwMode="auto">
              <a:xfrm>
                <a:off x="3168" y="3146"/>
                <a:ext cx="136" cy="121"/>
              </a:xfrm>
              <a:prstGeom prst="star5">
                <a:avLst/>
              </a:prstGeom>
              <a:grp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45" name="AutoShape 204">
                <a:extLst>
                  <a:ext uri="{FF2B5EF4-FFF2-40B4-BE49-F238E27FC236}">
                    <a16:creationId xmlns:a16="http://schemas.microsoft.com/office/drawing/2014/main" id="{60F4C23F-76C5-4C07-8B65-314A38C29681}"/>
                  </a:ext>
                </a:extLst>
              </p:cNvPr>
              <p:cNvSpPr>
                <a:spLocks noChangeArrowheads="1"/>
              </p:cNvSpPr>
              <p:nvPr/>
            </p:nvSpPr>
            <p:spPr bwMode="auto">
              <a:xfrm>
                <a:off x="3321" y="3146"/>
                <a:ext cx="135" cy="121"/>
              </a:xfrm>
              <a:prstGeom prst="star5">
                <a:avLst/>
              </a:prstGeom>
              <a:grp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grpSp>
      </p:grpSp>
      <p:grpSp>
        <p:nvGrpSpPr>
          <p:cNvPr id="196" name="Group 195" descr="Good">
            <a:extLst>
              <a:ext uri="{FF2B5EF4-FFF2-40B4-BE49-F238E27FC236}">
                <a16:creationId xmlns:a16="http://schemas.microsoft.com/office/drawing/2014/main" id="{16C04A1C-0108-4BC1-8BB4-50C8D2CE60F7}"/>
              </a:ext>
            </a:extLst>
          </p:cNvPr>
          <p:cNvGrpSpPr/>
          <p:nvPr/>
        </p:nvGrpSpPr>
        <p:grpSpPr>
          <a:xfrm>
            <a:off x="1277046" y="5559479"/>
            <a:ext cx="519231" cy="366622"/>
            <a:chOff x="1173285" y="5993982"/>
            <a:chExt cx="519231" cy="366622"/>
          </a:xfrm>
        </p:grpSpPr>
        <p:sp>
          <p:nvSpPr>
            <p:cNvPr id="36" name="Rectangle 11">
              <a:extLst>
                <a:ext uri="{FF2B5EF4-FFF2-40B4-BE49-F238E27FC236}">
                  <a16:creationId xmlns:a16="http://schemas.microsoft.com/office/drawing/2014/main" id="{A32466E9-B7CB-4879-9BB8-CB8E8F4577EF}"/>
                </a:ext>
              </a:extLst>
            </p:cNvPr>
            <p:cNvSpPr>
              <a:spLocks noChangeAspect="1" noChangeArrowheads="1"/>
            </p:cNvSpPr>
            <p:nvPr/>
          </p:nvSpPr>
          <p:spPr bwMode="auto">
            <a:xfrm>
              <a:off x="1289298" y="5993982"/>
              <a:ext cx="338234" cy="153888"/>
            </a:xfrm>
            <a:prstGeom prst="rect">
              <a:avLst/>
            </a:prstGeom>
            <a:noFill/>
            <a:ln w="6350">
              <a:noFill/>
              <a:miter lim="800000"/>
              <a:headEnd/>
              <a:tailEnd/>
            </a:ln>
            <a:effectLst/>
          </p:spPr>
          <p:txBody>
            <a:bodyPr wrap="none" lIns="0" tIns="0" rIns="0" bIns="0" anchor="ctr">
              <a:spAutoFit/>
            </a:bodyP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Good</a:t>
              </a:r>
            </a:p>
          </p:txBody>
        </p:sp>
        <p:grpSp>
          <p:nvGrpSpPr>
            <p:cNvPr id="64" name="Group 223">
              <a:extLst>
                <a:ext uri="{FF2B5EF4-FFF2-40B4-BE49-F238E27FC236}">
                  <a16:creationId xmlns:a16="http://schemas.microsoft.com/office/drawing/2014/main" id="{07F83AB8-249D-46BB-A07D-E3B27583D06F}"/>
                </a:ext>
              </a:extLst>
            </p:cNvPr>
            <p:cNvGrpSpPr>
              <a:grpSpLocks noChangeAspect="1"/>
            </p:cNvGrpSpPr>
            <p:nvPr/>
          </p:nvGrpSpPr>
          <p:grpSpPr bwMode="auto">
            <a:xfrm>
              <a:off x="1173285" y="6268705"/>
              <a:ext cx="519231" cy="91899"/>
              <a:chOff x="2711" y="3146"/>
              <a:chExt cx="745" cy="121"/>
            </a:xfrm>
          </p:grpSpPr>
          <p:sp>
            <p:nvSpPr>
              <p:cNvPr id="65" name="AutoShape 224">
                <a:extLst>
                  <a:ext uri="{FF2B5EF4-FFF2-40B4-BE49-F238E27FC236}">
                    <a16:creationId xmlns:a16="http://schemas.microsoft.com/office/drawing/2014/main" id="{2FD1ABD6-1905-4BD2-B122-6A99271B2DFF}"/>
                  </a:ext>
                </a:extLst>
              </p:cNvPr>
              <p:cNvSpPr>
                <a:spLocks noChangeArrowheads="1"/>
              </p:cNvSpPr>
              <p:nvPr/>
            </p:nvSpPr>
            <p:spPr bwMode="auto">
              <a:xfrm>
                <a:off x="2711"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6" name="AutoShape 225">
                <a:extLst>
                  <a:ext uri="{FF2B5EF4-FFF2-40B4-BE49-F238E27FC236}">
                    <a16:creationId xmlns:a16="http://schemas.microsoft.com/office/drawing/2014/main" id="{1571D76C-79AD-4C02-9EDE-E3DF41BF7B4B}"/>
                  </a:ext>
                </a:extLst>
              </p:cNvPr>
              <p:cNvSpPr>
                <a:spLocks noChangeArrowheads="1"/>
              </p:cNvSpPr>
              <p:nvPr/>
            </p:nvSpPr>
            <p:spPr bwMode="auto">
              <a:xfrm>
                <a:off x="2863" y="3146"/>
                <a:ext cx="136"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7" name="AutoShape 226">
                <a:extLst>
                  <a:ext uri="{FF2B5EF4-FFF2-40B4-BE49-F238E27FC236}">
                    <a16:creationId xmlns:a16="http://schemas.microsoft.com/office/drawing/2014/main" id="{D6F424B0-F58D-427C-AAF9-0BC20C60B264}"/>
                  </a:ext>
                </a:extLst>
              </p:cNvPr>
              <p:cNvSpPr>
                <a:spLocks noChangeArrowheads="1"/>
              </p:cNvSpPr>
              <p:nvPr/>
            </p:nvSpPr>
            <p:spPr bwMode="auto">
              <a:xfrm>
                <a:off x="3016"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8" name="AutoShape 227">
                <a:extLst>
                  <a:ext uri="{FF2B5EF4-FFF2-40B4-BE49-F238E27FC236}">
                    <a16:creationId xmlns:a16="http://schemas.microsoft.com/office/drawing/2014/main" id="{0990BD36-F168-4640-B01B-BD14DF9EC800}"/>
                  </a:ext>
                </a:extLst>
              </p:cNvPr>
              <p:cNvSpPr>
                <a:spLocks noChangeArrowheads="1"/>
              </p:cNvSpPr>
              <p:nvPr/>
            </p:nvSpPr>
            <p:spPr bwMode="auto">
              <a:xfrm>
                <a:off x="3168" y="3146"/>
                <a:ext cx="136"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9" name="AutoShape 228">
                <a:extLst>
                  <a:ext uri="{FF2B5EF4-FFF2-40B4-BE49-F238E27FC236}">
                    <a16:creationId xmlns:a16="http://schemas.microsoft.com/office/drawing/2014/main" id="{17EBDFEB-8C9A-4ECD-AA83-28AB41353207}"/>
                  </a:ext>
                </a:extLst>
              </p:cNvPr>
              <p:cNvSpPr>
                <a:spLocks noChangeArrowheads="1"/>
              </p:cNvSpPr>
              <p:nvPr/>
            </p:nvSpPr>
            <p:spPr bwMode="auto">
              <a:xfrm>
                <a:off x="3321"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grpSp>
      </p:grpSp>
      <p:grpSp>
        <p:nvGrpSpPr>
          <p:cNvPr id="197" name="Group 196" descr="Satisfactory">
            <a:extLst>
              <a:ext uri="{FF2B5EF4-FFF2-40B4-BE49-F238E27FC236}">
                <a16:creationId xmlns:a16="http://schemas.microsoft.com/office/drawing/2014/main" id="{D7D9E6C3-0E78-42B0-9C17-DA019B19E800}"/>
              </a:ext>
            </a:extLst>
          </p:cNvPr>
          <p:cNvGrpSpPr/>
          <p:nvPr/>
        </p:nvGrpSpPr>
        <p:grpSpPr>
          <a:xfrm>
            <a:off x="2077135" y="5559479"/>
            <a:ext cx="730969" cy="366622"/>
            <a:chOff x="1973374" y="5993982"/>
            <a:chExt cx="730969" cy="366622"/>
          </a:xfrm>
        </p:grpSpPr>
        <p:sp>
          <p:nvSpPr>
            <p:cNvPr id="38" name="Rectangle 8">
              <a:extLst>
                <a:ext uri="{FF2B5EF4-FFF2-40B4-BE49-F238E27FC236}">
                  <a16:creationId xmlns:a16="http://schemas.microsoft.com/office/drawing/2014/main" id="{AA5CAD1F-0159-4273-925A-DA4E45054F0D}"/>
                </a:ext>
              </a:extLst>
            </p:cNvPr>
            <p:cNvSpPr>
              <a:spLocks noChangeAspect="1" noChangeArrowheads="1"/>
            </p:cNvSpPr>
            <p:nvPr/>
          </p:nvSpPr>
          <p:spPr bwMode="auto">
            <a:xfrm>
              <a:off x="1973374" y="5993982"/>
              <a:ext cx="730969" cy="153888"/>
            </a:xfrm>
            <a:prstGeom prst="rect">
              <a:avLst/>
            </a:prstGeom>
            <a:noFill/>
            <a:ln w="6350">
              <a:noFill/>
              <a:miter lim="800000"/>
              <a:headEnd/>
              <a:tailEnd/>
            </a:ln>
            <a:effectLst/>
          </p:spPr>
          <p:txBody>
            <a:bodyPr wrap="none" lIns="0" tIns="0" rIns="0" bIns="0" anchor="ctr">
              <a:spAutoFit/>
            </a:bodyP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Satisfactory</a:t>
              </a:r>
            </a:p>
          </p:txBody>
        </p:sp>
        <p:grpSp>
          <p:nvGrpSpPr>
            <p:cNvPr id="58" name="Group 217">
              <a:extLst>
                <a:ext uri="{FF2B5EF4-FFF2-40B4-BE49-F238E27FC236}">
                  <a16:creationId xmlns:a16="http://schemas.microsoft.com/office/drawing/2014/main" id="{F0DBE5EC-4B38-4A48-AC4F-5399B91BEE0C}"/>
                </a:ext>
              </a:extLst>
            </p:cNvPr>
            <p:cNvGrpSpPr>
              <a:grpSpLocks noChangeAspect="1"/>
            </p:cNvGrpSpPr>
            <p:nvPr/>
          </p:nvGrpSpPr>
          <p:grpSpPr bwMode="auto">
            <a:xfrm>
              <a:off x="2018113" y="6268705"/>
              <a:ext cx="519232" cy="91899"/>
              <a:chOff x="2711" y="3146"/>
              <a:chExt cx="745" cy="121"/>
            </a:xfrm>
          </p:grpSpPr>
          <p:sp>
            <p:nvSpPr>
              <p:cNvPr id="59" name="AutoShape 218">
                <a:extLst>
                  <a:ext uri="{FF2B5EF4-FFF2-40B4-BE49-F238E27FC236}">
                    <a16:creationId xmlns:a16="http://schemas.microsoft.com/office/drawing/2014/main" id="{C207360F-1EAB-4E19-9E31-19ABC83E0175}"/>
                  </a:ext>
                </a:extLst>
              </p:cNvPr>
              <p:cNvSpPr>
                <a:spLocks noChangeArrowheads="1"/>
              </p:cNvSpPr>
              <p:nvPr/>
            </p:nvSpPr>
            <p:spPr bwMode="auto">
              <a:xfrm>
                <a:off x="2711"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0" name="AutoShape 219">
                <a:extLst>
                  <a:ext uri="{FF2B5EF4-FFF2-40B4-BE49-F238E27FC236}">
                    <a16:creationId xmlns:a16="http://schemas.microsoft.com/office/drawing/2014/main" id="{BBA6321C-BDDB-43CB-B425-94BCCB95A372}"/>
                  </a:ext>
                </a:extLst>
              </p:cNvPr>
              <p:cNvSpPr>
                <a:spLocks noChangeArrowheads="1"/>
              </p:cNvSpPr>
              <p:nvPr/>
            </p:nvSpPr>
            <p:spPr bwMode="auto">
              <a:xfrm>
                <a:off x="2863" y="3146"/>
                <a:ext cx="136"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1" name="AutoShape 220">
                <a:extLst>
                  <a:ext uri="{FF2B5EF4-FFF2-40B4-BE49-F238E27FC236}">
                    <a16:creationId xmlns:a16="http://schemas.microsoft.com/office/drawing/2014/main" id="{2A869865-5533-428E-8223-3BF4A1AABB70}"/>
                  </a:ext>
                </a:extLst>
              </p:cNvPr>
              <p:cNvSpPr>
                <a:spLocks noChangeArrowheads="1"/>
              </p:cNvSpPr>
              <p:nvPr/>
            </p:nvSpPr>
            <p:spPr bwMode="auto">
              <a:xfrm>
                <a:off x="3016"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2" name="AutoShape 221">
                <a:extLst>
                  <a:ext uri="{FF2B5EF4-FFF2-40B4-BE49-F238E27FC236}">
                    <a16:creationId xmlns:a16="http://schemas.microsoft.com/office/drawing/2014/main" id="{3212DBA3-02D6-4CD3-BDF3-9B1C2BC6D96C}"/>
                  </a:ext>
                </a:extLst>
              </p:cNvPr>
              <p:cNvSpPr>
                <a:spLocks noChangeArrowheads="1"/>
              </p:cNvSpPr>
              <p:nvPr/>
            </p:nvSpPr>
            <p:spPr bwMode="auto">
              <a:xfrm>
                <a:off x="3168" y="3146"/>
                <a:ext cx="136"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63" name="AutoShape 222">
                <a:extLst>
                  <a:ext uri="{FF2B5EF4-FFF2-40B4-BE49-F238E27FC236}">
                    <a16:creationId xmlns:a16="http://schemas.microsoft.com/office/drawing/2014/main" id="{B74D0E4E-C115-4748-8851-404ACDA844D6}"/>
                  </a:ext>
                </a:extLst>
              </p:cNvPr>
              <p:cNvSpPr>
                <a:spLocks noChangeArrowheads="1"/>
              </p:cNvSpPr>
              <p:nvPr/>
            </p:nvSpPr>
            <p:spPr bwMode="auto">
              <a:xfrm>
                <a:off x="3321"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grpSp>
      </p:grpSp>
      <p:grpSp>
        <p:nvGrpSpPr>
          <p:cNvPr id="198" name="Group 197" descr="Poor">
            <a:extLst>
              <a:ext uri="{FF2B5EF4-FFF2-40B4-BE49-F238E27FC236}">
                <a16:creationId xmlns:a16="http://schemas.microsoft.com/office/drawing/2014/main" id="{FFB3CC58-413A-4EB8-BA01-4CA7123C95B4}"/>
              </a:ext>
            </a:extLst>
          </p:cNvPr>
          <p:cNvGrpSpPr/>
          <p:nvPr/>
        </p:nvGrpSpPr>
        <p:grpSpPr>
          <a:xfrm>
            <a:off x="2961103" y="5559479"/>
            <a:ext cx="519231" cy="366622"/>
            <a:chOff x="2857342" y="5993982"/>
            <a:chExt cx="519231" cy="366622"/>
          </a:xfrm>
        </p:grpSpPr>
        <p:sp>
          <p:nvSpPr>
            <p:cNvPr id="37" name="Rectangle 9">
              <a:extLst>
                <a:ext uri="{FF2B5EF4-FFF2-40B4-BE49-F238E27FC236}">
                  <a16:creationId xmlns:a16="http://schemas.microsoft.com/office/drawing/2014/main" id="{CAACDCA2-5779-4C5C-A5BE-CE4D59010DCF}"/>
                </a:ext>
              </a:extLst>
            </p:cNvPr>
            <p:cNvSpPr>
              <a:spLocks noChangeAspect="1" noChangeArrowheads="1"/>
            </p:cNvSpPr>
            <p:nvPr/>
          </p:nvSpPr>
          <p:spPr bwMode="auto">
            <a:xfrm flipH="1">
              <a:off x="3017490" y="5993982"/>
              <a:ext cx="282129" cy="153888"/>
            </a:xfrm>
            <a:prstGeom prst="rect">
              <a:avLst/>
            </a:prstGeom>
            <a:noFill/>
            <a:ln w="6350">
              <a:noFill/>
              <a:miter lim="800000"/>
              <a:headEnd/>
              <a:tailEnd/>
            </a:ln>
            <a:effectLst/>
          </p:spPr>
          <p:txBody>
            <a:bodyPr wrap="none" lIns="0" tIns="0" rIns="0" bIns="0" anchor="ctr">
              <a:spAutoFit/>
            </a:bodyP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Poor</a:t>
              </a:r>
            </a:p>
          </p:txBody>
        </p:sp>
        <p:grpSp>
          <p:nvGrpSpPr>
            <p:cNvPr id="52" name="Group 211">
              <a:extLst>
                <a:ext uri="{FF2B5EF4-FFF2-40B4-BE49-F238E27FC236}">
                  <a16:creationId xmlns:a16="http://schemas.microsoft.com/office/drawing/2014/main" id="{8F740192-93E3-45FD-9D96-4282120C6930}"/>
                </a:ext>
              </a:extLst>
            </p:cNvPr>
            <p:cNvGrpSpPr>
              <a:grpSpLocks noChangeAspect="1"/>
            </p:cNvGrpSpPr>
            <p:nvPr/>
          </p:nvGrpSpPr>
          <p:grpSpPr bwMode="auto">
            <a:xfrm>
              <a:off x="2857342" y="6268705"/>
              <a:ext cx="519231" cy="91899"/>
              <a:chOff x="2711" y="3146"/>
              <a:chExt cx="745" cy="121"/>
            </a:xfrm>
          </p:grpSpPr>
          <p:sp>
            <p:nvSpPr>
              <p:cNvPr id="53" name="AutoShape 212">
                <a:extLst>
                  <a:ext uri="{FF2B5EF4-FFF2-40B4-BE49-F238E27FC236}">
                    <a16:creationId xmlns:a16="http://schemas.microsoft.com/office/drawing/2014/main" id="{47E30018-671F-4564-B748-2C2F3CFB153F}"/>
                  </a:ext>
                </a:extLst>
              </p:cNvPr>
              <p:cNvSpPr>
                <a:spLocks noChangeArrowheads="1"/>
              </p:cNvSpPr>
              <p:nvPr/>
            </p:nvSpPr>
            <p:spPr bwMode="auto">
              <a:xfrm>
                <a:off x="2711"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4" name="AutoShape 213">
                <a:extLst>
                  <a:ext uri="{FF2B5EF4-FFF2-40B4-BE49-F238E27FC236}">
                    <a16:creationId xmlns:a16="http://schemas.microsoft.com/office/drawing/2014/main" id="{CB8A08D3-93D7-4158-B81E-B1F916D580BC}"/>
                  </a:ext>
                </a:extLst>
              </p:cNvPr>
              <p:cNvSpPr>
                <a:spLocks noChangeArrowheads="1"/>
              </p:cNvSpPr>
              <p:nvPr/>
            </p:nvSpPr>
            <p:spPr bwMode="auto">
              <a:xfrm>
                <a:off x="2863" y="3146"/>
                <a:ext cx="136"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5" name="AutoShape 214">
                <a:extLst>
                  <a:ext uri="{FF2B5EF4-FFF2-40B4-BE49-F238E27FC236}">
                    <a16:creationId xmlns:a16="http://schemas.microsoft.com/office/drawing/2014/main" id="{88858D8D-FDCF-4D7C-A9EB-78A03C88AA42}"/>
                  </a:ext>
                </a:extLst>
              </p:cNvPr>
              <p:cNvSpPr>
                <a:spLocks noChangeArrowheads="1"/>
              </p:cNvSpPr>
              <p:nvPr/>
            </p:nvSpPr>
            <p:spPr bwMode="auto">
              <a:xfrm>
                <a:off x="3016"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6" name="AutoShape 215">
                <a:extLst>
                  <a:ext uri="{FF2B5EF4-FFF2-40B4-BE49-F238E27FC236}">
                    <a16:creationId xmlns:a16="http://schemas.microsoft.com/office/drawing/2014/main" id="{01CB50B3-5B97-4627-8720-0CFFDBF65255}"/>
                  </a:ext>
                </a:extLst>
              </p:cNvPr>
              <p:cNvSpPr>
                <a:spLocks noChangeArrowheads="1"/>
              </p:cNvSpPr>
              <p:nvPr/>
            </p:nvSpPr>
            <p:spPr bwMode="auto">
              <a:xfrm>
                <a:off x="3168" y="3146"/>
                <a:ext cx="136"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7" name="AutoShape 216">
                <a:extLst>
                  <a:ext uri="{FF2B5EF4-FFF2-40B4-BE49-F238E27FC236}">
                    <a16:creationId xmlns:a16="http://schemas.microsoft.com/office/drawing/2014/main" id="{810CDA4A-DB2C-423A-A278-083E3B1A89C7}"/>
                  </a:ext>
                </a:extLst>
              </p:cNvPr>
              <p:cNvSpPr>
                <a:spLocks noChangeArrowheads="1"/>
              </p:cNvSpPr>
              <p:nvPr/>
            </p:nvSpPr>
            <p:spPr bwMode="auto">
              <a:xfrm>
                <a:off x="3321"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grpSp>
      </p:grpSp>
      <p:grpSp>
        <p:nvGrpSpPr>
          <p:cNvPr id="199" name="Group 198" descr="Very Poor">
            <a:extLst>
              <a:ext uri="{FF2B5EF4-FFF2-40B4-BE49-F238E27FC236}">
                <a16:creationId xmlns:a16="http://schemas.microsoft.com/office/drawing/2014/main" id="{98B79AEF-5E68-49E5-A11E-0E20FF871941}"/>
              </a:ext>
            </a:extLst>
          </p:cNvPr>
          <p:cNvGrpSpPr/>
          <p:nvPr/>
        </p:nvGrpSpPr>
        <p:grpSpPr>
          <a:xfrm>
            <a:off x="3769323" y="5559479"/>
            <a:ext cx="599523" cy="366622"/>
            <a:chOff x="3665562" y="5993982"/>
            <a:chExt cx="599523" cy="366622"/>
          </a:xfrm>
        </p:grpSpPr>
        <p:sp>
          <p:nvSpPr>
            <p:cNvPr id="39" name="Rectangle 10">
              <a:extLst>
                <a:ext uri="{FF2B5EF4-FFF2-40B4-BE49-F238E27FC236}">
                  <a16:creationId xmlns:a16="http://schemas.microsoft.com/office/drawing/2014/main" id="{A6E88832-0F90-43F9-A8CA-E3C9108CADAF}"/>
                </a:ext>
              </a:extLst>
            </p:cNvPr>
            <p:cNvSpPr>
              <a:spLocks noChangeAspect="1" noChangeArrowheads="1"/>
            </p:cNvSpPr>
            <p:nvPr/>
          </p:nvSpPr>
          <p:spPr bwMode="auto">
            <a:xfrm>
              <a:off x="3665562" y="5993982"/>
              <a:ext cx="599523" cy="153888"/>
            </a:xfrm>
            <a:prstGeom prst="rect">
              <a:avLst/>
            </a:prstGeom>
            <a:noFill/>
            <a:ln w="6350">
              <a:noFill/>
              <a:miter lim="800000"/>
              <a:headEnd/>
              <a:tailEnd/>
            </a:ln>
            <a:effectLst/>
          </p:spPr>
          <p:txBody>
            <a:bodyPr wrap="none" lIns="0" tIns="0" rIns="0" bIns="0" anchor="ctr">
              <a:spAutoFit/>
            </a:bodyP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mn-ea"/>
                  <a:cs typeface="+mn-cs"/>
                </a:rPr>
                <a:t>Very poor</a:t>
              </a:r>
            </a:p>
          </p:txBody>
        </p:sp>
        <p:grpSp>
          <p:nvGrpSpPr>
            <p:cNvPr id="46" name="Group 205">
              <a:extLst>
                <a:ext uri="{FF2B5EF4-FFF2-40B4-BE49-F238E27FC236}">
                  <a16:creationId xmlns:a16="http://schemas.microsoft.com/office/drawing/2014/main" id="{07B0C887-4DE1-469D-A998-9D2515BD0256}"/>
                </a:ext>
              </a:extLst>
            </p:cNvPr>
            <p:cNvGrpSpPr>
              <a:grpSpLocks noChangeAspect="1"/>
            </p:cNvGrpSpPr>
            <p:nvPr/>
          </p:nvGrpSpPr>
          <p:grpSpPr bwMode="auto">
            <a:xfrm>
              <a:off x="3699368" y="6268705"/>
              <a:ext cx="519231" cy="91899"/>
              <a:chOff x="2711" y="3146"/>
              <a:chExt cx="745" cy="121"/>
            </a:xfrm>
          </p:grpSpPr>
          <p:sp>
            <p:nvSpPr>
              <p:cNvPr id="47" name="AutoShape 206">
                <a:extLst>
                  <a:ext uri="{FF2B5EF4-FFF2-40B4-BE49-F238E27FC236}">
                    <a16:creationId xmlns:a16="http://schemas.microsoft.com/office/drawing/2014/main" id="{F8F7A6E6-6FCF-4ABC-8113-BA93F9BBC3DC}"/>
                  </a:ext>
                </a:extLst>
              </p:cNvPr>
              <p:cNvSpPr>
                <a:spLocks noChangeArrowheads="1"/>
              </p:cNvSpPr>
              <p:nvPr/>
            </p:nvSpPr>
            <p:spPr bwMode="auto">
              <a:xfrm>
                <a:off x="2711"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48" name="AutoShape 207">
                <a:extLst>
                  <a:ext uri="{FF2B5EF4-FFF2-40B4-BE49-F238E27FC236}">
                    <a16:creationId xmlns:a16="http://schemas.microsoft.com/office/drawing/2014/main" id="{9F2FA7AD-E5C0-4D21-95C6-BDCD8A21A251}"/>
                  </a:ext>
                </a:extLst>
              </p:cNvPr>
              <p:cNvSpPr>
                <a:spLocks noChangeArrowheads="1"/>
              </p:cNvSpPr>
              <p:nvPr/>
            </p:nvSpPr>
            <p:spPr bwMode="auto">
              <a:xfrm>
                <a:off x="2863" y="3146"/>
                <a:ext cx="136"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49" name="AutoShape 208">
                <a:extLst>
                  <a:ext uri="{FF2B5EF4-FFF2-40B4-BE49-F238E27FC236}">
                    <a16:creationId xmlns:a16="http://schemas.microsoft.com/office/drawing/2014/main" id="{0250CF3A-B500-4544-81D6-96A7304F2070}"/>
                  </a:ext>
                </a:extLst>
              </p:cNvPr>
              <p:cNvSpPr>
                <a:spLocks noChangeArrowheads="1"/>
              </p:cNvSpPr>
              <p:nvPr/>
            </p:nvSpPr>
            <p:spPr bwMode="auto">
              <a:xfrm>
                <a:off x="3016"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0" name="AutoShape 209">
                <a:extLst>
                  <a:ext uri="{FF2B5EF4-FFF2-40B4-BE49-F238E27FC236}">
                    <a16:creationId xmlns:a16="http://schemas.microsoft.com/office/drawing/2014/main" id="{223C4823-83E6-43E3-9ED2-31E23A8198F2}"/>
                  </a:ext>
                </a:extLst>
              </p:cNvPr>
              <p:cNvSpPr>
                <a:spLocks noChangeArrowheads="1"/>
              </p:cNvSpPr>
              <p:nvPr/>
            </p:nvSpPr>
            <p:spPr bwMode="auto">
              <a:xfrm>
                <a:off x="3168" y="3146"/>
                <a:ext cx="136"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sp>
            <p:nvSpPr>
              <p:cNvPr id="51" name="AutoShape 210">
                <a:extLst>
                  <a:ext uri="{FF2B5EF4-FFF2-40B4-BE49-F238E27FC236}">
                    <a16:creationId xmlns:a16="http://schemas.microsoft.com/office/drawing/2014/main" id="{03494D85-DEFD-43D3-B782-F2419A8A1C04}"/>
                  </a:ext>
                </a:extLst>
              </p:cNvPr>
              <p:cNvSpPr>
                <a:spLocks noChangeArrowheads="1"/>
              </p:cNvSpPr>
              <p:nvPr/>
            </p:nvSpPr>
            <p:spPr bwMode="auto">
              <a:xfrm>
                <a:off x="3321"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7" name="Footer Placeholder 6">
            <a:extLst>
              <a:ext uri="{FF2B5EF4-FFF2-40B4-BE49-F238E27FC236}">
                <a16:creationId xmlns:a16="http://schemas.microsoft.com/office/drawing/2014/main" id="{C5B149DE-33A8-4C11-B11A-10661D2CC7CD}"/>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0" name="Slide Number Placeholder 9">
            <a:extLst>
              <a:ext uri="{FF2B5EF4-FFF2-40B4-BE49-F238E27FC236}">
                <a16:creationId xmlns:a16="http://schemas.microsoft.com/office/drawing/2014/main" id="{5480B1B4-8914-4E56-9F28-005650F25F38}"/>
              </a:ext>
            </a:extLst>
          </p:cNvPr>
          <p:cNvSpPr>
            <a:spLocks noGrp="1"/>
          </p:cNvSpPr>
          <p:nvPr>
            <p:ph type="sldNum" sz="quarter" idx="10"/>
          </p:nvPr>
        </p:nvSpPr>
        <p:spPr/>
        <p:txBody>
          <a:bodyPr/>
          <a:lstStyle/>
          <a:p>
            <a:fld id="{1F90F471-3972-4120-B8B3-0237DE626C35}" type="slidenum">
              <a:rPr lang="en-US" smtClean="0"/>
              <a:pPr/>
              <a:t>414</a:t>
            </a:fld>
            <a:endParaRPr lang="en-US" dirty="0"/>
          </a:p>
        </p:txBody>
      </p:sp>
    </p:spTree>
    <p:extLst>
      <p:ext uri="{BB962C8B-B14F-4D97-AF65-F5344CB8AC3E}">
        <p14:creationId xmlns:p14="http://schemas.microsoft.com/office/powerpoint/2010/main" val="1708557232"/>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Opportunities/Risks 1</a:t>
            </a:r>
          </a:p>
        </p:txBody>
      </p:sp>
      <p:grpSp>
        <p:nvGrpSpPr>
          <p:cNvPr id="11" name="Group 10" descr="Opportunities">
            <a:extLst>
              <a:ext uri="{FF2B5EF4-FFF2-40B4-BE49-F238E27FC236}">
                <a16:creationId xmlns:a16="http://schemas.microsoft.com/office/drawing/2014/main" id="{66CFB802-781C-457F-BF37-82E7EC43B2B4}"/>
              </a:ext>
            </a:extLst>
          </p:cNvPr>
          <p:cNvGrpSpPr/>
          <p:nvPr/>
        </p:nvGrpSpPr>
        <p:grpSpPr>
          <a:xfrm>
            <a:off x="1822451" y="1763713"/>
            <a:ext cx="4097337" cy="3991425"/>
            <a:chOff x="1822450" y="1793280"/>
            <a:chExt cx="2795267" cy="4264620"/>
          </a:xfrm>
        </p:grpSpPr>
        <p:sp>
          <p:nvSpPr>
            <p:cNvPr id="12" name="Freeform: Shape 11">
              <a:extLst>
                <a:ext uri="{FF2B5EF4-FFF2-40B4-BE49-F238E27FC236}">
                  <a16:creationId xmlns:a16="http://schemas.microsoft.com/office/drawing/2014/main" id="{2A33C2C9-6257-4C42-AC2A-BB000CA75FF9}"/>
                </a:ext>
              </a:extLst>
            </p:cNvPr>
            <p:cNvSpPr/>
            <p:nvPr/>
          </p:nvSpPr>
          <p:spPr>
            <a:xfrm>
              <a:off x="1822450" y="1923344"/>
              <a:ext cx="2795263" cy="4134556"/>
            </a:xfrm>
            <a:custGeom>
              <a:avLst/>
              <a:gdLst>
                <a:gd name="connsiteX0" fmla="*/ 0 w 2795263"/>
                <a:gd name="connsiteY0" fmla="*/ 0 h 4134556"/>
                <a:gd name="connsiteX1" fmla="*/ 2795263 w 2795263"/>
                <a:gd name="connsiteY1" fmla="*/ 0 h 4134556"/>
                <a:gd name="connsiteX2" fmla="*/ 2795263 w 2795263"/>
                <a:gd name="connsiteY2" fmla="*/ 1 h 4134556"/>
                <a:gd name="connsiteX3" fmla="*/ 2 w 2795263"/>
                <a:gd name="connsiteY3" fmla="*/ 1 h 4134556"/>
                <a:gd name="connsiteX4" fmla="*/ 2 w 2795263"/>
                <a:gd name="connsiteY4" fmla="*/ 504601 h 4134556"/>
                <a:gd name="connsiteX5" fmla="*/ 1397635 w 2795263"/>
                <a:gd name="connsiteY5" fmla="*/ 759038 h 4134556"/>
                <a:gd name="connsiteX6" fmla="*/ 2795263 w 2795263"/>
                <a:gd name="connsiteY6" fmla="*/ 504602 h 4134556"/>
                <a:gd name="connsiteX7" fmla="*/ 2795263 w 2795263"/>
                <a:gd name="connsiteY7" fmla="*/ 4134556 h 4134556"/>
                <a:gd name="connsiteX8" fmla="*/ 0 w 2795263"/>
                <a:gd name="connsiteY8" fmla="*/ 4134556 h 4134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5263" h="4134556">
                  <a:moveTo>
                    <a:pt x="0" y="0"/>
                  </a:moveTo>
                  <a:lnTo>
                    <a:pt x="2795263" y="0"/>
                  </a:lnTo>
                  <a:lnTo>
                    <a:pt x="2795263" y="1"/>
                  </a:lnTo>
                  <a:lnTo>
                    <a:pt x="2" y="1"/>
                  </a:lnTo>
                  <a:lnTo>
                    <a:pt x="2" y="504601"/>
                  </a:lnTo>
                  <a:lnTo>
                    <a:pt x="1397635" y="759038"/>
                  </a:lnTo>
                  <a:lnTo>
                    <a:pt x="2795263" y="504602"/>
                  </a:lnTo>
                  <a:lnTo>
                    <a:pt x="2795263" y="4134556"/>
                  </a:lnTo>
                  <a:lnTo>
                    <a:pt x="0" y="4134556"/>
                  </a:lnTo>
                  <a:close/>
                </a:path>
              </a:pathLst>
            </a:cu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wrap="square" lIns="180000" tIns="864000" rtlCol="0" anchor="t" anchorCtr="0">
              <a:noAutofit/>
            </a:bodyPr>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13" name="AutoShape 9">
              <a:extLst>
                <a:ext uri="{FF2B5EF4-FFF2-40B4-BE49-F238E27FC236}">
                  <a16:creationId xmlns:a16="http://schemas.microsoft.com/office/drawing/2014/main" id="{56E5953F-FFD3-4D4F-A65C-2AC5566A5AA5}"/>
                </a:ext>
              </a:extLst>
            </p:cNvPr>
            <p:cNvSpPr>
              <a:spLocks noChangeArrowheads="1"/>
            </p:cNvSpPr>
            <p:nvPr/>
          </p:nvSpPr>
          <p:spPr bwMode="auto">
            <a:xfrm rot="16200000" flipH="1">
              <a:off x="2840566" y="775166"/>
              <a:ext cx="759037" cy="2795265"/>
            </a:xfrm>
            <a:prstGeom prst="homePlate">
              <a:avLst>
                <a:gd name="adj" fmla="val 33521"/>
              </a:avLst>
            </a:prstGeom>
            <a:solidFill>
              <a:schemeClr val="accent1"/>
            </a:solidFill>
            <a:ln w="6350">
              <a:noFill/>
              <a:miter lim="800000"/>
              <a:headEnd/>
              <a:tailEnd/>
            </a:ln>
            <a:effectLst/>
          </p:spPr>
          <p:txBody>
            <a:bodyPr vert="eaVert" wrap="none" lIns="45720" rIns="45720" anchor="ctr"/>
            <a:lstStyle/>
            <a:p>
              <a:pPr algn="ctr" eaLnBrk="0" hangingPunct="0">
                <a:lnSpc>
                  <a:spcPct val="85000"/>
                </a:lnSpc>
                <a:spcBef>
                  <a:spcPts val="100"/>
                </a:spcBef>
                <a:spcAft>
                  <a:spcPts val="300"/>
                </a:spcAft>
                <a:buClr>
                  <a:schemeClr val="bg1"/>
                </a:buClr>
              </a:pPr>
              <a:r>
                <a:rPr lang="en-AU" sz="1600" b="1" dirty="0">
                  <a:solidFill>
                    <a:schemeClr val="bg1"/>
                  </a:solidFill>
                  <a:latin typeface="+mj-lt"/>
                </a:rPr>
                <a:t>Opportunities</a:t>
              </a:r>
              <a:endParaRPr lang="en-GB" sz="1600" b="1" cap="all" dirty="0">
                <a:solidFill>
                  <a:schemeClr val="bg1"/>
                </a:solidFill>
                <a:latin typeface="+mj-lt"/>
              </a:endParaRPr>
            </a:p>
          </p:txBody>
        </p:sp>
      </p:grpSp>
      <p:grpSp>
        <p:nvGrpSpPr>
          <p:cNvPr id="14" name="Group 13" descr="Risks">
            <a:extLst>
              <a:ext uri="{FF2B5EF4-FFF2-40B4-BE49-F238E27FC236}">
                <a16:creationId xmlns:a16="http://schemas.microsoft.com/office/drawing/2014/main" id="{6943EB00-3A27-4C04-A78E-BC16AEAF27A3}"/>
              </a:ext>
            </a:extLst>
          </p:cNvPr>
          <p:cNvGrpSpPr/>
          <p:nvPr/>
        </p:nvGrpSpPr>
        <p:grpSpPr>
          <a:xfrm>
            <a:off x="6272213" y="1763713"/>
            <a:ext cx="4100512" cy="3991425"/>
            <a:chOff x="1822450" y="1793280"/>
            <a:chExt cx="2795267" cy="4264620"/>
          </a:xfrm>
        </p:grpSpPr>
        <p:sp>
          <p:nvSpPr>
            <p:cNvPr id="15" name="Freeform: Shape 14">
              <a:extLst>
                <a:ext uri="{FF2B5EF4-FFF2-40B4-BE49-F238E27FC236}">
                  <a16:creationId xmlns:a16="http://schemas.microsoft.com/office/drawing/2014/main" id="{55C34505-C105-4C99-9A10-824A64530D54}"/>
                </a:ext>
              </a:extLst>
            </p:cNvPr>
            <p:cNvSpPr/>
            <p:nvPr/>
          </p:nvSpPr>
          <p:spPr>
            <a:xfrm>
              <a:off x="1822450" y="1923344"/>
              <a:ext cx="2795263" cy="4134556"/>
            </a:xfrm>
            <a:custGeom>
              <a:avLst/>
              <a:gdLst>
                <a:gd name="connsiteX0" fmla="*/ 0 w 2795263"/>
                <a:gd name="connsiteY0" fmla="*/ 0 h 4134556"/>
                <a:gd name="connsiteX1" fmla="*/ 2795263 w 2795263"/>
                <a:gd name="connsiteY1" fmla="*/ 0 h 4134556"/>
                <a:gd name="connsiteX2" fmla="*/ 2795263 w 2795263"/>
                <a:gd name="connsiteY2" fmla="*/ 1 h 4134556"/>
                <a:gd name="connsiteX3" fmla="*/ 2 w 2795263"/>
                <a:gd name="connsiteY3" fmla="*/ 1 h 4134556"/>
                <a:gd name="connsiteX4" fmla="*/ 2 w 2795263"/>
                <a:gd name="connsiteY4" fmla="*/ 504601 h 4134556"/>
                <a:gd name="connsiteX5" fmla="*/ 1397635 w 2795263"/>
                <a:gd name="connsiteY5" fmla="*/ 759038 h 4134556"/>
                <a:gd name="connsiteX6" fmla="*/ 2795263 w 2795263"/>
                <a:gd name="connsiteY6" fmla="*/ 504602 h 4134556"/>
                <a:gd name="connsiteX7" fmla="*/ 2795263 w 2795263"/>
                <a:gd name="connsiteY7" fmla="*/ 4134556 h 4134556"/>
                <a:gd name="connsiteX8" fmla="*/ 0 w 2795263"/>
                <a:gd name="connsiteY8" fmla="*/ 4134556 h 4134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5263" h="4134556">
                  <a:moveTo>
                    <a:pt x="0" y="0"/>
                  </a:moveTo>
                  <a:lnTo>
                    <a:pt x="2795263" y="0"/>
                  </a:lnTo>
                  <a:lnTo>
                    <a:pt x="2795263" y="1"/>
                  </a:lnTo>
                  <a:lnTo>
                    <a:pt x="2" y="1"/>
                  </a:lnTo>
                  <a:lnTo>
                    <a:pt x="2" y="504601"/>
                  </a:lnTo>
                  <a:lnTo>
                    <a:pt x="1397635" y="759038"/>
                  </a:lnTo>
                  <a:lnTo>
                    <a:pt x="2795263" y="504602"/>
                  </a:lnTo>
                  <a:lnTo>
                    <a:pt x="2795263" y="4134556"/>
                  </a:lnTo>
                  <a:lnTo>
                    <a:pt x="0" y="4134556"/>
                  </a:lnTo>
                  <a:close/>
                </a:path>
              </a:pathLst>
            </a:cu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wrap="square" lIns="180000" tIns="864000" rtlCol="0" anchor="t" anchorCtr="0">
              <a:noAutofit/>
            </a:bodyPr>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16" name="AutoShape 9">
              <a:extLst>
                <a:ext uri="{FF2B5EF4-FFF2-40B4-BE49-F238E27FC236}">
                  <a16:creationId xmlns:a16="http://schemas.microsoft.com/office/drawing/2014/main" id="{6164DC6B-D343-4A37-AF1D-C06422B95F4D}"/>
                </a:ext>
              </a:extLst>
            </p:cNvPr>
            <p:cNvSpPr>
              <a:spLocks noChangeArrowheads="1"/>
            </p:cNvSpPr>
            <p:nvPr/>
          </p:nvSpPr>
          <p:spPr bwMode="auto">
            <a:xfrm rot="16200000" flipH="1">
              <a:off x="2840566" y="775166"/>
              <a:ext cx="759037" cy="2795265"/>
            </a:xfrm>
            <a:prstGeom prst="homePlate">
              <a:avLst>
                <a:gd name="adj" fmla="val 33521"/>
              </a:avLst>
            </a:prstGeom>
            <a:solidFill>
              <a:schemeClr val="accent3"/>
            </a:solidFill>
            <a:ln w="6350">
              <a:noFill/>
              <a:miter lim="800000"/>
              <a:headEnd/>
              <a:tailEnd/>
            </a:ln>
            <a:effectLst/>
          </p:spPr>
          <p:txBody>
            <a:bodyPr vert="eaVert" wrap="none" lIns="45720" rIns="45720" anchor="ctr"/>
            <a:lstStyle/>
            <a:p>
              <a:pPr algn="ctr" eaLnBrk="0" hangingPunct="0">
                <a:lnSpc>
                  <a:spcPct val="85000"/>
                </a:lnSpc>
                <a:spcBef>
                  <a:spcPts val="100"/>
                </a:spcBef>
                <a:spcAft>
                  <a:spcPts val="300"/>
                </a:spcAft>
                <a:buClr>
                  <a:schemeClr val="bg1"/>
                </a:buClr>
              </a:pPr>
              <a:r>
                <a:rPr lang="en-GB" sz="1600" b="1" dirty="0">
                  <a:solidFill>
                    <a:schemeClr val="bg1"/>
                  </a:solidFill>
                  <a:latin typeface="+mj-lt"/>
                </a:rPr>
                <a:t>Risks</a:t>
              </a:r>
              <a:endParaRPr lang="en-GB" sz="1600" b="1" cap="all" dirty="0">
                <a:solidFill>
                  <a:schemeClr val="bg1"/>
                </a:solidFill>
                <a:latin typeface="+mj-lt"/>
              </a:endParaRPr>
            </a:p>
          </p:txBody>
        </p:sp>
      </p:grpSp>
      <p:sp>
        <p:nvSpPr>
          <p:cNvPr id="3" name="Footer Placeholder 2">
            <a:extLst>
              <a:ext uri="{FF2B5EF4-FFF2-40B4-BE49-F238E27FC236}">
                <a16:creationId xmlns:a16="http://schemas.microsoft.com/office/drawing/2014/main" id="{245EDEA9-F2EE-4903-8CE6-FEA13E82017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65605689-6315-4E44-8DF5-9B6F654BEA8C}"/>
              </a:ext>
            </a:extLst>
          </p:cNvPr>
          <p:cNvSpPr>
            <a:spLocks noGrp="1"/>
          </p:cNvSpPr>
          <p:nvPr>
            <p:ph type="sldNum" sz="quarter" idx="10"/>
          </p:nvPr>
        </p:nvSpPr>
        <p:spPr/>
        <p:txBody>
          <a:bodyPr/>
          <a:lstStyle/>
          <a:p>
            <a:fld id="{1F90F471-3972-4120-B8B3-0237DE626C35}" type="slidenum">
              <a:rPr lang="en-US" smtClean="0"/>
              <a:pPr/>
              <a:t>415</a:t>
            </a:fld>
            <a:endParaRPr lang="en-US" dirty="0"/>
          </a:p>
        </p:txBody>
      </p:sp>
    </p:spTree>
    <p:extLst>
      <p:ext uri="{BB962C8B-B14F-4D97-AF65-F5344CB8AC3E}">
        <p14:creationId xmlns:p14="http://schemas.microsoft.com/office/powerpoint/2010/main" val="2366979495"/>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Opportunities/Risks 2</a:t>
            </a:r>
          </a:p>
        </p:txBody>
      </p:sp>
      <p:sp>
        <p:nvSpPr>
          <p:cNvPr id="8" name="AutoShape 6">
            <a:extLst>
              <a:ext uri="{FF2B5EF4-FFF2-40B4-BE49-F238E27FC236}">
                <a16:creationId xmlns:a16="http://schemas.microsoft.com/office/drawing/2014/main" id="{F543F49E-68F7-404C-B927-D15F84C45892}"/>
              </a:ext>
            </a:extLst>
          </p:cNvPr>
          <p:cNvSpPr>
            <a:spLocks noChangeArrowheads="1"/>
          </p:cNvSpPr>
          <p:nvPr/>
        </p:nvSpPr>
        <p:spPr bwMode="auto">
          <a:xfrm rot="5400000" flipH="1">
            <a:off x="2108505" y="1092873"/>
            <a:ext cx="4060236" cy="3719641"/>
          </a:xfrm>
          <a:prstGeom prst="homePlate">
            <a:avLst>
              <a:gd name="adj" fmla="val 32103"/>
            </a:avLst>
          </a:prstGeom>
          <a:solidFill>
            <a:schemeClr val="accent3"/>
          </a:solidFill>
          <a:ln w="6350">
            <a:noFill/>
            <a:miter lim="800000"/>
            <a:headEnd/>
            <a:tailEnd/>
          </a:ln>
          <a:effectLst/>
        </p:spPr>
        <p:txBody>
          <a:bodyPr vert="vert270" lIns="684000" tIns="180000" rIns="180000" bIns="180000" anchor="t"/>
          <a:lstStyle/>
          <a:p>
            <a:pPr marL="0" lvl="1" eaLnBrk="0" hangingPunct="0">
              <a:lnSpc>
                <a:spcPct val="85000"/>
              </a:lnSpc>
              <a:spcBef>
                <a:spcPts val="100"/>
              </a:spcBef>
              <a:spcAft>
                <a:spcPts val="300"/>
              </a:spcAft>
              <a:buClr>
                <a:schemeClr val="folHlink"/>
              </a:buClr>
            </a:pPr>
            <a:r>
              <a:rPr lang="en-US" b="1" dirty="0">
                <a:solidFill>
                  <a:schemeClr val="bg1"/>
                </a:solidFill>
                <a:latin typeface="+mj-lt"/>
              </a:rPr>
              <a:t>Text</a:t>
            </a:r>
            <a:endParaRPr lang="en-US" b="1" cap="all" dirty="0">
              <a:solidFill>
                <a:schemeClr val="bg1"/>
              </a:solidFill>
              <a:latin typeface="+mj-lt"/>
            </a:endParaRPr>
          </a:p>
          <a:p>
            <a:pPr marL="177800" indent="-177800" algn="l" eaLnBrk="0" hangingPunct="0">
              <a:spcBef>
                <a:spcPts val="100"/>
              </a:spcBef>
              <a:spcAft>
                <a:spcPts val="100"/>
              </a:spcAft>
              <a:buFontTx/>
              <a:buChar char="•"/>
            </a:pPr>
            <a:r>
              <a:rPr lang="en-US" dirty="0">
                <a:solidFill>
                  <a:schemeClr val="bg1"/>
                </a:solidFill>
              </a:rPr>
              <a:t>Text</a:t>
            </a:r>
          </a:p>
          <a:p>
            <a:pPr marL="177800" indent="-177800" algn="l" eaLnBrk="0" hangingPunct="0">
              <a:spcBef>
                <a:spcPts val="100"/>
              </a:spcBef>
              <a:spcAft>
                <a:spcPts val="100"/>
              </a:spcAft>
              <a:buFontTx/>
              <a:buChar char="•"/>
            </a:pPr>
            <a:r>
              <a:rPr lang="en-US" dirty="0">
                <a:solidFill>
                  <a:schemeClr val="bg1"/>
                </a:solidFill>
              </a:rPr>
              <a:t>Text</a:t>
            </a:r>
          </a:p>
          <a:p>
            <a:pPr marL="177800" indent="-177800" algn="l" eaLnBrk="0" hangingPunct="0">
              <a:spcBef>
                <a:spcPts val="100"/>
              </a:spcBef>
              <a:spcAft>
                <a:spcPts val="100"/>
              </a:spcAft>
              <a:buFontTx/>
              <a:buChar char="•"/>
            </a:pPr>
            <a:r>
              <a:rPr lang="en-US" dirty="0">
                <a:solidFill>
                  <a:schemeClr val="bg1"/>
                </a:solidFill>
              </a:rPr>
              <a:t>Text</a:t>
            </a:r>
          </a:p>
        </p:txBody>
      </p:sp>
      <p:sp>
        <p:nvSpPr>
          <p:cNvPr id="10" name="AutoShape 7">
            <a:extLst>
              <a:ext uri="{FF2B5EF4-FFF2-40B4-BE49-F238E27FC236}">
                <a16:creationId xmlns:a16="http://schemas.microsoft.com/office/drawing/2014/main" id="{CEAD6545-3B41-4599-88D7-6CF7C1651E95}"/>
              </a:ext>
            </a:extLst>
          </p:cNvPr>
          <p:cNvSpPr>
            <a:spLocks noChangeArrowheads="1"/>
          </p:cNvSpPr>
          <p:nvPr/>
        </p:nvSpPr>
        <p:spPr bwMode="auto">
          <a:xfrm rot="5400000">
            <a:off x="5997142" y="2291493"/>
            <a:ext cx="4060236" cy="3719641"/>
          </a:xfrm>
          <a:prstGeom prst="homePlate">
            <a:avLst>
              <a:gd name="adj" fmla="val 32103"/>
            </a:avLst>
          </a:prstGeom>
          <a:solidFill>
            <a:schemeClr val="accent1"/>
          </a:solidFill>
          <a:ln w="6350">
            <a:noFill/>
            <a:miter lim="800000"/>
            <a:headEnd/>
            <a:tailEnd/>
          </a:ln>
          <a:effectLst/>
        </p:spPr>
        <p:txBody>
          <a:bodyPr vert="vert270" lIns="216000" tIns="36000" rIns="180000" bIns="180000" anchor="t"/>
          <a:lstStyle/>
          <a:p>
            <a:pPr marL="0" lvl="1" algn="l" eaLnBrk="0" hangingPunct="0">
              <a:lnSpc>
                <a:spcPct val="85000"/>
              </a:lnSpc>
              <a:spcBef>
                <a:spcPts val="100"/>
              </a:spcBef>
              <a:spcAft>
                <a:spcPts val="300"/>
              </a:spcAft>
              <a:buClr>
                <a:schemeClr val="folHlink"/>
              </a:buClr>
            </a:pPr>
            <a:r>
              <a:rPr lang="en-US" b="1" dirty="0">
                <a:solidFill>
                  <a:schemeClr val="bg1"/>
                </a:solidFill>
                <a:latin typeface="+mj-lt"/>
              </a:rPr>
              <a:t>Text</a:t>
            </a:r>
            <a:endParaRPr lang="en-US" b="1" cap="all" dirty="0">
              <a:solidFill>
                <a:schemeClr val="bg1"/>
              </a:solidFill>
              <a:latin typeface="+mj-lt"/>
            </a:endParaRPr>
          </a:p>
          <a:p>
            <a:pPr marL="177800" lvl="1" indent="-177800" algn="l" eaLnBrk="0" hangingPunct="0">
              <a:spcBef>
                <a:spcPts val="100"/>
              </a:spcBef>
              <a:spcAft>
                <a:spcPts val="100"/>
              </a:spcAft>
              <a:buFontTx/>
              <a:buChar char="•"/>
            </a:pPr>
            <a:r>
              <a:rPr lang="en-US" dirty="0">
                <a:solidFill>
                  <a:schemeClr val="bg1"/>
                </a:solidFill>
              </a:rPr>
              <a:t>Text</a:t>
            </a:r>
          </a:p>
          <a:p>
            <a:pPr marL="177800" lvl="1" indent="-177800" algn="l" eaLnBrk="0" hangingPunct="0">
              <a:spcBef>
                <a:spcPts val="100"/>
              </a:spcBef>
              <a:spcAft>
                <a:spcPts val="100"/>
              </a:spcAft>
              <a:buFontTx/>
              <a:buChar char="•"/>
            </a:pPr>
            <a:r>
              <a:rPr lang="en-US" dirty="0">
                <a:solidFill>
                  <a:schemeClr val="bg1"/>
                </a:solidFill>
              </a:rPr>
              <a:t>Text</a:t>
            </a:r>
          </a:p>
          <a:p>
            <a:pPr marL="177800" lvl="1" indent="-177800" algn="l" eaLnBrk="0" hangingPunct="0">
              <a:spcBef>
                <a:spcPts val="100"/>
              </a:spcBef>
              <a:spcAft>
                <a:spcPts val="100"/>
              </a:spcAft>
              <a:buFontTx/>
              <a:buChar char="•"/>
            </a:pPr>
            <a:r>
              <a:rPr lang="en-US" dirty="0">
                <a:solidFill>
                  <a:schemeClr val="bg1"/>
                </a:solidFill>
              </a:rPr>
              <a:t>Text</a:t>
            </a:r>
          </a:p>
        </p:txBody>
      </p:sp>
      <p:sp>
        <p:nvSpPr>
          <p:cNvPr id="5" name="Footer Placeholder 4">
            <a:extLst>
              <a:ext uri="{FF2B5EF4-FFF2-40B4-BE49-F238E27FC236}">
                <a16:creationId xmlns:a16="http://schemas.microsoft.com/office/drawing/2014/main" id="{C1BB51F4-E4EF-45A5-8611-C51375B99E8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ED1702F1-FA5A-4E09-89A7-A547CC561E59}"/>
              </a:ext>
            </a:extLst>
          </p:cNvPr>
          <p:cNvSpPr>
            <a:spLocks noGrp="1"/>
          </p:cNvSpPr>
          <p:nvPr>
            <p:ph type="sldNum" sz="quarter" idx="10"/>
          </p:nvPr>
        </p:nvSpPr>
        <p:spPr/>
        <p:txBody>
          <a:bodyPr/>
          <a:lstStyle/>
          <a:p>
            <a:fld id="{1F90F471-3972-4120-B8B3-0237DE626C35}" type="slidenum">
              <a:rPr lang="en-US" smtClean="0"/>
              <a:pPr/>
              <a:t>416</a:t>
            </a:fld>
            <a:endParaRPr lang="en-US" dirty="0"/>
          </a:p>
        </p:txBody>
      </p:sp>
    </p:spTree>
    <p:extLst>
      <p:ext uri="{BB962C8B-B14F-4D97-AF65-F5344CB8AC3E}">
        <p14:creationId xmlns:p14="http://schemas.microsoft.com/office/powerpoint/2010/main" val="2724634887"/>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de-DE" dirty="0"/>
              <a:t>As-is/to-be Comparison</a:t>
            </a:r>
            <a:endParaRPr lang="en-US" dirty="0"/>
          </a:p>
        </p:txBody>
      </p:sp>
      <p:sp>
        <p:nvSpPr>
          <p:cNvPr id="26" name="TextBox 25">
            <a:extLst>
              <a:ext uri="{FF2B5EF4-FFF2-40B4-BE49-F238E27FC236}">
                <a16:creationId xmlns:a16="http://schemas.microsoft.com/office/drawing/2014/main" id="{3EA38C6F-FBB7-485D-99DE-12B009E31053}"/>
              </a:ext>
            </a:extLst>
          </p:cNvPr>
          <p:cNvSpPr txBox="1"/>
          <p:nvPr/>
        </p:nvSpPr>
        <p:spPr>
          <a:xfrm>
            <a:off x="2951163" y="1366838"/>
            <a:ext cx="4244324" cy="396191"/>
          </a:xfrm>
          <a:prstGeom prst="rect">
            <a:avLst/>
          </a:prstGeom>
          <a:solidFill>
            <a:schemeClr val="accent2"/>
          </a:solidFill>
          <a:ln w="19050">
            <a:noFill/>
          </a:ln>
        </p:spPr>
        <p:txBody>
          <a:bodyPr vert="horz" wrap="square" lIns="0" tIns="36000" rIns="0" bIns="0" rtlCol="0" anchor="ctr">
            <a:noAutofit/>
          </a:bodyPr>
          <a:lstStyle/>
          <a:p>
            <a:pPr algn="ctr">
              <a:lnSpc>
                <a:spcPct val="85000"/>
              </a:lnSpc>
            </a:pPr>
            <a:r>
              <a:rPr lang="en-AU" sz="1400" b="1" dirty="0">
                <a:solidFill>
                  <a:schemeClr val="bg1"/>
                </a:solidFill>
                <a:latin typeface="+mj-lt"/>
              </a:rPr>
              <a:t>As-is</a:t>
            </a:r>
          </a:p>
        </p:txBody>
      </p:sp>
      <p:sp>
        <p:nvSpPr>
          <p:cNvPr id="27" name="TextBox 26">
            <a:extLst>
              <a:ext uri="{FF2B5EF4-FFF2-40B4-BE49-F238E27FC236}">
                <a16:creationId xmlns:a16="http://schemas.microsoft.com/office/drawing/2014/main" id="{4945625E-4408-4B7B-8AF2-E476B9C92D19}"/>
              </a:ext>
            </a:extLst>
          </p:cNvPr>
          <p:cNvSpPr txBox="1"/>
          <p:nvPr/>
        </p:nvSpPr>
        <p:spPr>
          <a:xfrm>
            <a:off x="7395124" y="1366838"/>
            <a:ext cx="4244324" cy="396191"/>
          </a:xfrm>
          <a:prstGeom prst="rect">
            <a:avLst/>
          </a:prstGeom>
          <a:solidFill>
            <a:schemeClr val="accent5"/>
          </a:solidFill>
          <a:ln w="19050">
            <a:noFill/>
          </a:ln>
        </p:spPr>
        <p:txBody>
          <a:bodyPr vert="horz" wrap="square" lIns="0" tIns="36000" rIns="0" bIns="0" rtlCol="0" anchor="ctr">
            <a:noAutofit/>
          </a:bodyPr>
          <a:lstStyle/>
          <a:p>
            <a:pPr algn="ctr">
              <a:lnSpc>
                <a:spcPct val="85000"/>
              </a:lnSpc>
            </a:pPr>
            <a:r>
              <a:rPr lang="en-AU" sz="1400" b="1" dirty="0">
                <a:latin typeface="+mj-lt"/>
              </a:rPr>
              <a:t>To-be</a:t>
            </a:r>
          </a:p>
        </p:txBody>
      </p:sp>
      <p:sp>
        <p:nvSpPr>
          <p:cNvPr id="23" name="Rectangle 22">
            <a:extLst>
              <a:ext uri="{FF2B5EF4-FFF2-40B4-BE49-F238E27FC236}">
                <a16:creationId xmlns:a16="http://schemas.microsoft.com/office/drawing/2014/main" id="{3AC3366D-43DF-4E8E-847D-A832409ED0A5}"/>
              </a:ext>
              <a:ext uri="{C183D7F6-B498-43B3-948B-1728B52AA6E4}">
                <adec:decorative xmlns:adec="http://schemas.microsoft.com/office/drawing/2017/decorative" val="1"/>
              </a:ext>
            </a:extLst>
          </p:cNvPr>
          <p:cNvSpPr/>
          <p:nvPr/>
        </p:nvSpPr>
        <p:spPr>
          <a:xfrm>
            <a:off x="2720148" y="1907460"/>
            <a:ext cx="9135302" cy="1799132"/>
          </a:xfrm>
          <a:prstGeom prst="rect">
            <a:avLst/>
          </a:prstGeom>
          <a:pattFill prst="dkUpDiag">
            <a:fgClr>
              <a:schemeClr val="accent1"/>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4" name="Rectangle 23">
            <a:extLst>
              <a:ext uri="{FF2B5EF4-FFF2-40B4-BE49-F238E27FC236}">
                <a16:creationId xmlns:a16="http://schemas.microsoft.com/office/drawing/2014/main" id="{49175677-3C59-4186-8643-72E7A487C3F3}"/>
              </a:ext>
              <a:ext uri="{C183D7F6-B498-43B3-948B-1728B52AA6E4}">
                <adec:decorative xmlns:adec="http://schemas.microsoft.com/office/drawing/2017/decorative" val="1"/>
              </a:ext>
            </a:extLst>
          </p:cNvPr>
          <p:cNvSpPr/>
          <p:nvPr/>
        </p:nvSpPr>
        <p:spPr>
          <a:xfrm>
            <a:off x="2720148" y="4114334"/>
            <a:ext cx="9135302" cy="1799132"/>
          </a:xfrm>
          <a:prstGeom prst="rect">
            <a:avLst/>
          </a:prstGeom>
          <a:pattFill prst="dkUpDiag">
            <a:fgClr>
              <a:schemeClr val="accent1"/>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5" name="Arrow: Chevron 24">
            <a:extLst>
              <a:ext uri="{FF2B5EF4-FFF2-40B4-BE49-F238E27FC236}">
                <a16:creationId xmlns:a16="http://schemas.microsoft.com/office/drawing/2014/main" id="{AFA9E792-530A-4629-A194-8A4F1B8BBF57}"/>
              </a:ext>
              <a:ext uri="{C183D7F6-B498-43B3-948B-1728B52AA6E4}">
                <adec:decorative xmlns:adec="http://schemas.microsoft.com/office/drawing/2017/decorative" val="1"/>
              </a:ext>
            </a:extLst>
          </p:cNvPr>
          <p:cNvSpPr/>
          <p:nvPr/>
        </p:nvSpPr>
        <p:spPr>
          <a:xfrm>
            <a:off x="2276921" y="2627972"/>
            <a:ext cx="260576" cy="358108"/>
          </a:xfrm>
          <a:prstGeom prst="chevron">
            <a:avLst/>
          </a:prstGeom>
          <a:pattFill prst="dkUpDiag">
            <a:fgClr>
              <a:schemeClr val="accent1"/>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600" dirty="0">
              <a:solidFill>
                <a:schemeClr val="tx1"/>
              </a:solidFill>
            </a:endParaRPr>
          </a:p>
        </p:txBody>
      </p:sp>
      <p:grpSp>
        <p:nvGrpSpPr>
          <p:cNvPr id="28" name="Group 27" descr="Situation 1">
            <a:extLst>
              <a:ext uri="{FF2B5EF4-FFF2-40B4-BE49-F238E27FC236}">
                <a16:creationId xmlns:a16="http://schemas.microsoft.com/office/drawing/2014/main" id="{7FC6441F-F6F7-467E-9E1B-09792C5AF981}"/>
              </a:ext>
            </a:extLst>
          </p:cNvPr>
          <p:cNvGrpSpPr/>
          <p:nvPr/>
        </p:nvGrpSpPr>
        <p:grpSpPr>
          <a:xfrm>
            <a:off x="334963" y="1763026"/>
            <a:ext cx="11304487" cy="2088000"/>
            <a:chOff x="334963" y="1763027"/>
            <a:chExt cx="11304487" cy="1825747"/>
          </a:xfrm>
        </p:grpSpPr>
        <p:sp>
          <p:nvSpPr>
            <p:cNvPr id="29" name="TextBox 28">
              <a:extLst>
                <a:ext uri="{FF2B5EF4-FFF2-40B4-BE49-F238E27FC236}">
                  <a16:creationId xmlns:a16="http://schemas.microsoft.com/office/drawing/2014/main" id="{07497223-4EBF-4B7F-85FA-F1D907F99400}"/>
                </a:ext>
              </a:extLst>
            </p:cNvPr>
            <p:cNvSpPr txBox="1"/>
            <p:nvPr/>
          </p:nvSpPr>
          <p:spPr>
            <a:xfrm>
              <a:off x="334963" y="1889320"/>
              <a:ext cx="1759308" cy="1573161"/>
            </a:xfrm>
            <a:prstGeom prst="rect">
              <a:avLst/>
            </a:prstGeom>
            <a:solidFill>
              <a:schemeClr val="accent1"/>
            </a:solidFill>
            <a:ln w="19050">
              <a:noFill/>
            </a:ln>
          </p:spPr>
          <p:txBody>
            <a:bodyPr vert="horz" wrap="square" lIns="72000" tIns="36000" rIns="72000" bIns="0" rtlCol="0" anchor="ctr">
              <a:noAutofit/>
            </a:bodyPr>
            <a:lstStyle/>
            <a:p>
              <a:pPr algn="ctr">
                <a:lnSpc>
                  <a:spcPct val="85000"/>
                </a:lnSpc>
              </a:pPr>
              <a:r>
                <a:rPr lang="en-AU" sz="1400" dirty="0">
                  <a:solidFill>
                    <a:schemeClr val="bg1"/>
                  </a:solidFill>
                  <a:latin typeface="+mj-lt"/>
                </a:rPr>
                <a:t>Text</a:t>
              </a:r>
            </a:p>
          </p:txBody>
        </p:sp>
        <p:sp>
          <p:nvSpPr>
            <p:cNvPr id="30" name="Rectangle 29">
              <a:extLst>
                <a:ext uri="{FF2B5EF4-FFF2-40B4-BE49-F238E27FC236}">
                  <a16:creationId xmlns:a16="http://schemas.microsoft.com/office/drawing/2014/main" id="{28333B93-9CD2-461D-AB1C-BE7948983176}"/>
                </a:ext>
              </a:extLst>
            </p:cNvPr>
            <p:cNvSpPr/>
            <p:nvPr/>
          </p:nvSpPr>
          <p:spPr>
            <a:xfrm>
              <a:off x="2951165" y="1763027"/>
              <a:ext cx="4244324" cy="1825747"/>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sz="1400" dirty="0">
                  <a:solidFill>
                    <a:schemeClr val="tx1"/>
                  </a:solidFill>
                </a:rPr>
                <a:t>As-is situation</a:t>
              </a:r>
            </a:p>
          </p:txBody>
        </p:sp>
        <p:sp>
          <p:nvSpPr>
            <p:cNvPr id="31" name="Rectangle 30">
              <a:extLst>
                <a:ext uri="{FF2B5EF4-FFF2-40B4-BE49-F238E27FC236}">
                  <a16:creationId xmlns:a16="http://schemas.microsoft.com/office/drawing/2014/main" id="{9652392A-3CDE-462C-A240-7C8630880B52}"/>
                </a:ext>
              </a:extLst>
            </p:cNvPr>
            <p:cNvSpPr/>
            <p:nvPr/>
          </p:nvSpPr>
          <p:spPr>
            <a:xfrm>
              <a:off x="7395126" y="1763027"/>
              <a:ext cx="4244324" cy="1825747"/>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sz="1400" dirty="0">
                  <a:solidFill>
                    <a:schemeClr val="tx1"/>
                  </a:solidFill>
                </a:rPr>
                <a:t>To-be situation</a:t>
              </a:r>
            </a:p>
          </p:txBody>
        </p:sp>
      </p:grpSp>
      <p:sp>
        <p:nvSpPr>
          <p:cNvPr id="32" name="Arrow: Chevron 31">
            <a:extLst>
              <a:ext uri="{FF2B5EF4-FFF2-40B4-BE49-F238E27FC236}">
                <a16:creationId xmlns:a16="http://schemas.microsoft.com/office/drawing/2014/main" id="{27604A5E-44A6-40A5-916C-0FFD97C11D7A}"/>
              </a:ext>
              <a:ext uri="{C183D7F6-B498-43B3-948B-1728B52AA6E4}">
                <adec:decorative xmlns:adec="http://schemas.microsoft.com/office/drawing/2017/decorative" val="1"/>
              </a:ext>
            </a:extLst>
          </p:cNvPr>
          <p:cNvSpPr/>
          <p:nvPr/>
        </p:nvSpPr>
        <p:spPr>
          <a:xfrm>
            <a:off x="2276921" y="4834846"/>
            <a:ext cx="260576" cy="358108"/>
          </a:xfrm>
          <a:prstGeom prst="chevron">
            <a:avLst/>
          </a:prstGeom>
          <a:pattFill prst="dkUpDiag">
            <a:fgClr>
              <a:schemeClr val="accent1"/>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600" dirty="0">
              <a:solidFill>
                <a:schemeClr val="tx1"/>
              </a:solidFill>
            </a:endParaRPr>
          </a:p>
        </p:txBody>
      </p:sp>
      <p:grpSp>
        <p:nvGrpSpPr>
          <p:cNvPr id="33" name="Group 32" descr="Situation 2">
            <a:extLst>
              <a:ext uri="{FF2B5EF4-FFF2-40B4-BE49-F238E27FC236}">
                <a16:creationId xmlns:a16="http://schemas.microsoft.com/office/drawing/2014/main" id="{F47BBD30-83B2-46E3-B87B-91F9EAE1EE9E}"/>
              </a:ext>
            </a:extLst>
          </p:cNvPr>
          <p:cNvGrpSpPr/>
          <p:nvPr/>
        </p:nvGrpSpPr>
        <p:grpSpPr>
          <a:xfrm>
            <a:off x="334963" y="3969900"/>
            <a:ext cx="11304487" cy="2088000"/>
            <a:chOff x="334963" y="3715065"/>
            <a:chExt cx="11304487" cy="1825747"/>
          </a:xfrm>
        </p:grpSpPr>
        <p:sp>
          <p:nvSpPr>
            <p:cNvPr id="34" name="TextBox 33">
              <a:extLst>
                <a:ext uri="{FF2B5EF4-FFF2-40B4-BE49-F238E27FC236}">
                  <a16:creationId xmlns:a16="http://schemas.microsoft.com/office/drawing/2014/main" id="{DC0D0CD6-E778-479F-B457-8465102DE55B}"/>
                </a:ext>
              </a:extLst>
            </p:cNvPr>
            <p:cNvSpPr txBox="1"/>
            <p:nvPr/>
          </p:nvSpPr>
          <p:spPr>
            <a:xfrm>
              <a:off x="334963" y="3841358"/>
              <a:ext cx="1759308" cy="1573161"/>
            </a:xfrm>
            <a:prstGeom prst="rect">
              <a:avLst/>
            </a:prstGeom>
            <a:solidFill>
              <a:schemeClr val="accent3"/>
            </a:solidFill>
            <a:ln w="19050">
              <a:noFill/>
            </a:ln>
          </p:spPr>
          <p:txBody>
            <a:bodyPr vert="horz" wrap="square" lIns="72000" tIns="36000" rIns="72000" bIns="0" rtlCol="0" anchor="ctr">
              <a:noAutofit/>
            </a:bodyPr>
            <a:lstStyle>
              <a:defPPr>
                <a:defRPr lang="en-US"/>
              </a:defPPr>
              <a:lvl1pPr algn="ctr">
                <a:lnSpc>
                  <a:spcPct val="85000"/>
                </a:lnSpc>
                <a:defRPr sz="1400">
                  <a:solidFill>
                    <a:schemeClr val="bg1"/>
                  </a:solidFill>
                  <a:latin typeface="+mj-lt"/>
                </a:defRPr>
              </a:lvl1pPr>
            </a:lstStyle>
            <a:p>
              <a:r>
                <a:rPr lang="en-AU" b="1" dirty="0"/>
                <a:t>Text</a:t>
              </a:r>
            </a:p>
          </p:txBody>
        </p:sp>
        <p:sp>
          <p:nvSpPr>
            <p:cNvPr id="35" name="Rectangle 34">
              <a:extLst>
                <a:ext uri="{FF2B5EF4-FFF2-40B4-BE49-F238E27FC236}">
                  <a16:creationId xmlns:a16="http://schemas.microsoft.com/office/drawing/2014/main" id="{A0FC0231-FD82-47AF-BF2C-78A3242198B5}"/>
                </a:ext>
              </a:extLst>
            </p:cNvPr>
            <p:cNvSpPr/>
            <p:nvPr/>
          </p:nvSpPr>
          <p:spPr>
            <a:xfrm>
              <a:off x="2951165" y="3715065"/>
              <a:ext cx="4244324" cy="1825747"/>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sz="1400" dirty="0">
                  <a:solidFill>
                    <a:schemeClr val="tx1"/>
                  </a:solidFill>
                </a:rPr>
                <a:t>As-is situation</a:t>
              </a:r>
            </a:p>
          </p:txBody>
        </p:sp>
        <p:sp>
          <p:nvSpPr>
            <p:cNvPr id="36" name="Rectangle 35">
              <a:extLst>
                <a:ext uri="{FF2B5EF4-FFF2-40B4-BE49-F238E27FC236}">
                  <a16:creationId xmlns:a16="http://schemas.microsoft.com/office/drawing/2014/main" id="{EE8D8440-1FDF-4619-9F1B-066767631734}"/>
                </a:ext>
              </a:extLst>
            </p:cNvPr>
            <p:cNvSpPr/>
            <p:nvPr/>
          </p:nvSpPr>
          <p:spPr>
            <a:xfrm>
              <a:off x="7395126" y="3715065"/>
              <a:ext cx="4244324" cy="1825747"/>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sz="1400" dirty="0">
                  <a:solidFill>
                    <a:schemeClr val="tx1"/>
                  </a:solidFill>
                </a:rPr>
                <a:t>To-be situation</a:t>
              </a:r>
            </a:p>
          </p:txBody>
        </p:sp>
      </p:grpSp>
      <p:grpSp>
        <p:nvGrpSpPr>
          <p:cNvPr id="37" name="Group 36">
            <a:extLst>
              <a:ext uri="{FF2B5EF4-FFF2-40B4-BE49-F238E27FC236}">
                <a16:creationId xmlns:a16="http://schemas.microsoft.com/office/drawing/2014/main" id="{215DD090-59F4-4175-9091-098C81D39E5C}"/>
              </a:ext>
              <a:ext uri="{C183D7F6-B498-43B3-948B-1728B52AA6E4}">
                <adec:decorative xmlns:adec="http://schemas.microsoft.com/office/drawing/2017/decorative" val="1"/>
              </a:ext>
            </a:extLst>
          </p:cNvPr>
          <p:cNvGrpSpPr/>
          <p:nvPr/>
        </p:nvGrpSpPr>
        <p:grpSpPr>
          <a:xfrm>
            <a:off x="334963" y="1763029"/>
            <a:ext cx="11304487" cy="2088000"/>
            <a:chOff x="334963" y="1763027"/>
            <a:chExt cx="11304487" cy="1825747"/>
          </a:xfrm>
        </p:grpSpPr>
        <p:sp>
          <p:nvSpPr>
            <p:cNvPr id="38" name="TextBox 37">
              <a:extLst>
                <a:ext uri="{FF2B5EF4-FFF2-40B4-BE49-F238E27FC236}">
                  <a16:creationId xmlns:a16="http://schemas.microsoft.com/office/drawing/2014/main" id="{EAFAB634-CBDA-4B4D-BAEB-9EA1BEBDF140}"/>
                </a:ext>
              </a:extLst>
            </p:cNvPr>
            <p:cNvSpPr txBox="1"/>
            <p:nvPr/>
          </p:nvSpPr>
          <p:spPr>
            <a:xfrm>
              <a:off x="334963" y="1889320"/>
              <a:ext cx="1759308" cy="1573161"/>
            </a:xfrm>
            <a:prstGeom prst="rect">
              <a:avLst/>
            </a:prstGeom>
            <a:solidFill>
              <a:schemeClr val="accent3"/>
            </a:solidFill>
            <a:ln w="19050">
              <a:noFill/>
            </a:ln>
          </p:spPr>
          <p:txBody>
            <a:bodyPr vert="horz" wrap="square" lIns="72000" tIns="36000" rIns="72000" bIns="0" rtlCol="0" anchor="ctr">
              <a:noAutofit/>
            </a:bodyPr>
            <a:lstStyle/>
            <a:p>
              <a:pPr algn="ctr">
                <a:lnSpc>
                  <a:spcPct val="85000"/>
                </a:lnSpc>
              </a:pPr>
              <a:r>
                <a:rPr lang="en-AU" sz="1400" b="1" dirty="0">
                  <a:solidFill>
                    <a:schemeClr val="bg1"/>
                  </a:solidFill>
                  <a:latin typeface="+mj-lt"/>
                </a:rPr>
                <a:t>Text</a:t>
              </a:r>
            </a:p>
          </p:txBody>
        </p:sp>
        <p:sp>
          <p:nvSpPr>
            <p:cNvPr id="39" name="Rectangle 38">
              <a:extLst>
                <a:ext uri="{FF2B5EF4-FFF2-40B4-BE49-F238E27FC236}">
                  <a16:creationId xmlns:a16="http://schemas.microsoft.com/office/drawing/2014/main" id="{A3C6930F-C72D-4DE3-98DB-529752E49419}"/>
                </a:ext>
              </a:extLst>
            </p:cNvPr>
            <p:cNvSpPr/>
            <p:nvPr/>
          </p:nvSpPr>
          <p:spPr>
            <a:xfrm>
              <a:off x="2951165" y="1763027"/>
              <a:ext cx="4244324" cy="1825747"/>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sz="1400" dirty="0">
                  <a:solidFill>
                    <a:schemeClr val="tx1"/>
                  </a:solidFill>
                </a:rPr>
                <a:t>As-is situation</a:t>
              </a:r>
            </a:p>
          </p:txBody>
        </p:sp>
        <p:sp>
          <p:nvSpPr>
            <p:cNvPr id="40" name="Rectangle 39">
              <a:extLst>
                <a:ext uri="{FF2B5EF4-FFF2-40B4-BE49-F238E27FC236}">
                  <a16:creationId xmlns:a16="http://schemas.microsoft.com/office/drawing/2014/main" id="{D2816F9C-7CD9-4B3B-BC8E-8A282BDD2730}"/>
                </a:ext>
              </a:extLst>
            </p:cNvPr>
            <p:cNvSpPr/>
            <p:nvPr/>
          </p:nvSpPr>
          <p:spPr>
            <a:xfrm>
              <a:off x="7395126" y="1763027"/>
              <a:ext cx="4244324" cy="1825747"/>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sz="1400" dirty="0">
                  <a:solidFill>
                    <a:schemeClr val="tx1"/>
                  </a:solidFill>
                </a:rPr>
                <a:t>To-be situation</a:t>
              </a:r>
            </a:p>
          </p:txBody>
        </p:sp>
      </p:grpSp>
      <p:sp>
        <p:nvSpPr>
          <p:cNvPr id="5" name="Footer Placeholder 4">
            <a:extLst>
              <a:ext uri="{FF2B5EF4-FFF2-40B4-BE49-F238E27FC236}">
                <a16:creationId xmlns:a16="http://schemas.microsoft.com/office/drawing/2014/main" id="{C85DF0D3-1006-40F6-A254-61FF5A0FDC1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A6D60AA2-89AB-4BE4-9C41-CD1BF739B2DE}"/>
              </a:ext>
            </a:extLst>
          </p:cNvPr>
          <p:cNvSpPr>
            <a:spLocks noGrp="1"/>
          </p:cNvSpPr>
          <p:nvPr>
            <p:ph type="sldNum" sz="quarter" idx="10"/>
          </p:nvPr>
        </p:nvSpPr>
        <p:spPr/>
        <p:txBody>
          <a:bodyPr/>
          <a:lstStyle/>
          <a:p>
            <a:fld id="{1F90F471-3972-4120-B8B3-0237DE626C35}" type="slidenum">
              <a:rPr lang="en-US" smtClean="0"/>
              <a:pPr/>
              <a:t>417</a:t>
            </a:fld>
            <a:endParaRPr lang="en-US" dirty="0"/>
          </a:p>
        </p:txBody>
      </p:sp>
    </p:spTree>
    <p:extLst>
      <p:ext uri="{BB962C8B-B14F-4D97-AF65-F5344CB8AC3E}">
        <p14:creationId xmlns:p14="http://schemas.microsoft.com/office/powerpoint/2010/main" val="62974543"/>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Advantages/Disadvantages</a:t>
            </a:r>
          </a:p>
        </p:txBody>
      </p:sp>
      <p:grpSp>
        <p:nvGrpSpPr>
          <p:cNvPr id="12" name="Group 11" descr="Advantages">
            <a:extLst>
              <a:ext uri="{FF2B5EF4-FFF2-40B4-BE49-F238E27FC236}">
                <a16:creationId xmlns:a16="http://schemas.microsoft.com/office/drawing/2014/main" id="{E673ACC9-5CC0-48C8-864B-CE0F41FF1464}"/>
              </a:ext>
            </a:extLst>
          </p:cNvPr>
          <p:cNvGrpSpPr/>
          <p:nvPr/>
        </p:nvGrpSpPr>
        <p:grpSpPr>
          <a:xfrm>
            <a:off x="381000" y="1612109"/>
            <a:ext cx="5053547" cy="3725066"/>
            <a:chOff x="1100738" y="1576600"/>
            <a:chExt cx="3600000" cy="4225110"/>
          </a:xfrm>
        </p:grpSpPr>
        <p:sp>
          <p:nvSpPr>
            <p:cNvPr id="13" name="Rectangle 12">
              <a:extLst>
                <a:ext uri="{FF2B5EF4-FFF2-40B4-BE49-F238E27FC236}">
                  <a16:creationId xmlns:a16="http://schemas.microsoft.com/office/drawing/2014/main" id="{7D6E8750-BC21-476D-936D-4B49AC87F027}"/>
                </a:ext>
              </a:extLst>
            </p:cNvPr>
            <p:cNvSpPr>
              <a:spLocks noChangeArrowheads="1"/>
            </p:cNvSpPr>
            <p:nvPr>
              <p:custDataLst>
                <p:tags r:id="rId3"/>
              </p:custDataLst>
            </p:nvPr>
          </p:nvSpPr>
          <p:spPr bwMode="auto">
            <a:xfrm>
              <a:off x="1100738" y="1576600"/>
              <a:ext cx="3600000" cy="367218"/>
            </a:xfrm>
            <a:prstGeom prst="rect">
              <a:avLst/>
            </a:prstGeom>
            <a:solidFill>
              <a:schemeClr val="accent3"/>
            </a:solidFill>
            <a:ln w="6350">
              <a:noFill/>
              <a:miter lim="800000"/>
              <a:headEnd/>
              <a:tailEnd/>
            </a:ln>
            <a:effectLst/>
          </p:spPr>
          <p:txBody>
            <a:bodyPr wrap="none" lIns="72000" tIns="108000" rIns="72000" bIns="72000" anchor="ctr"/>
            <a:lstStyle/>
            <a:p>
              <a:pPr algn="ctr" eaLnBrk="0" hangingPunct="0">
                <a:lnSpc>
                  <a:spcPct val="85000"/>
                </a:lnSpc>
                <a:spcBef>
                  <a:spcPts val="100"/>
                </a:spcBef>
                <a:spcAft>
                  <a:spcPts val="300"/>
                </a:spcAft>
              </a:pPr>
              <a:r>
                <a:rPr lang="en-US" sz="1600" b="1" dirty="0">
                  <a:solidFill>
                    <a:schemeClr val="bg1"/>
                  </a:solidFill>
                  <a:latin typeface="+mj-lt"/>
                </a:rPr>
                <a:t>Advantages</a:t>
              </a:r>
            </a:p>
          </p:txBody>
        </p:sp>
        <p:sp>
          <p:nvSpPr>
            <p:cNvPr id="14" name="Rectangle 13">
              <a:extLst>
                <a:ext uri="{FF2B5EF4-FFF2-40B4-BE49-F238E27FC236}">
                  <a16:creationId xmlns:a16="http://schemas.microsoft.com/office/drawing/2014/main" id="{44039324-AA3E-4140-B3B1-ACC208FC7E85}"/>
                </a:ext>
              </a:extLst>
            </p:cNvPr>
            <p:cNvSpPr>
              <a:spLocks noChangeArrowheads="1"/>
            </p:cNvSpPr>
            <p:nvPr>
              <p:custDataLst>
                <p:tags r:id="rId4"/>
              </p:custDataLst>
            </p:nvPr>
          </p:nvSpPr>
          <p:spPr bwMode="auto">
            <a:xfrm>
              <a:off x="1100738" y="1943818"/>
              <a:ext cx="3600000" cy="3857892"/>
            </a:xfrm>
            <a:prstGeom prst="rect">
              <a:avLst/>
            </a:prstGeom>
            <a:solidFill>
              <a:schemeClr val="tx2">
                <a:lumMod val="20000"/>
                <a:lumOff val="80000"/>
              </a:schemeClr>
            </a:solidFill>
            <a:ln w="6350">
              <a:noFill/>
              <a:miter lim="800000"/>
              <a:headEnd/>
              <a:tailEnd/>
            </a:ln>
          </p:spPr>
          <p:txBody>
            <a:bodyPr lIns="180000" tIns="144000" rIns="144000" bIns="72000"/>
            <a:lstStyle/>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grpSp>
      <p:sp>
        <p:nvSpPr>
          <p:cNvPr id="18" name="Oval 25">
            <a:extLst>
              <a:ext uri="{FF2B5EF4-FFF2-40B4-BE49-F238E27FC236}">
                <a16:creationId xmlns:a16="http://schemas.microsoft.com/office/drawing/2014/main" id="{02DF2664-8857-4997-9BF0-0B184E9A2A81}"/>
              </a:ext>
            </a:extLst>
          </p:cNvPr>
          <p:cNvSpPr>
            <a:spLocks noChangeArrowheads="1"/>
          </p:cNvSpPr>
          <p:nvPr/>
        </p:nvSpPr>
        <p:spPr bwMode="auto">
          <a:xfrm>
            <a:off x="5667277" y="3068457"/>
            <a:ext cx="858390" cy="858391"/>
          </a:xfrm>
          <a:prstGeom prst="ellipse">
            <a:avLst/>
          </a:prstGeom>
          <a:pattFill prst="dkUpDiag">
            <a:fgClr>
              <a:schemeClr val="tx2">
                <a:lumMod val="40000"/>
                <a:lumOff val="60000"/>
              </a:schemeClr>
            </a:fgClr>
            <a:bgClr>
              <a:schemeClr val="bg1"/>
            </a:bgClr>
          </a:pattFill>
          <a:ln w="101600">
            <a:solidFill>
              <a:schemeClr val="bg1"/>
            </a:solidFill>
            <a:miter lim="800000"/>
            <a:headEnd/>
            <a:tailEnd/>
          </a:ln>
        </p:spPr>
        <p:txBody>
          <a:bodyPr lIns="0" tIns="72000" rIns="0" bIns="0" anchor="ctr" anchorCtr="0"/>
          <a:lstStyle/>
          <a:p>
            <a:pPr algn="ctr" eaLnBrk="0" hangingPunct="0">
              <a:lnSpc>
                <a:spcPct val="85000"/>
              </a:lnSpc>
              <a:spcBef>
                <a:spcPts val="100"/>
              </a:spcBef>
              <a:spcAft>
                <a:spcPts val="300"/>
              </a:spcAft>
            </a:pPr>
            <a:r>
              <a:rPr lang="en-US" b="1" dirty="0">
                <a:solidFill>
                  <a:schemeClr val="tx2"/>
                </a:solidFill>
                <a:latin typeface="+mj-lt"/>
              </a:rPr>
              <a:t>Vs</a:t>
            </a:r>
          </a:p>
        </p:txBody>
      </p:sp>
      <p:grpSp>
        <p:nvGrpSpPr>
          <p:cNvPr id="15" name="Group 14" descr="Disadvantages">
            <a:extLst>
              <a:ext uri="{FF2B5EF4-FFF2-40B4-BE49-F238E27FC236}">
                <a16:creationId xmlns:a16="http://schemas.microsoft.com/office/drawing/2014/main" id="{98BD6DAC-0CAA-4465-9A27-68B0E0DD5A2D}"/>
              </a:ext>
            </a:extLst>
          </p:cNvPr>
          <p:cNvGrpSpPr/>
          <p:nvPr/>
        </p:nvGrpSpPr>
        <p:grpSpPr>
          <a:xfrm>
            <a:off x="6758393" y="1612109"/>
            <a:ext cx="5051973" cy="3725066"/>
            <a:chOff x="7144573" y="1582411"/>
            <a:chExt cx="3600000" cy="3754764"/>
          </a:xfrm>
        </p:grpSpPr>
        <p:sp>
          <p:nvSpPr>
            <p:cNvPr id="16" name="Rectangle 14">
              <a:extLst>
                <a:ext uri="{FF2B5EF4-FFF2-40B4-BE49-F238E27FC236}">
                  <a16:creationId xmlns:a16="http://schemas.microsoft.com/office/drawing/2014/main" id="{B500A0D1-E138-4720-81D0-B24B265F8261}"/>
                </a:ext>
              </a:extLst>
            </p:cNvPr>
            <p:cNvSpPr>
              <a:spLocks noChangeArrowheads="1"/>
            </p:cNvSpPr>
            <p:nvPr>
              <p:custDataLst>
                <p:tags r:id="rId1"/>
              </p:custDataLst>
            </p:nvPr>
          </p:nvSpPr>
          <p:spPr bwMode="auto">
            <a:xfrm>
              <a:off x="7144573" y="1582411"/>
              <a:ext cx="3600000" cy="326339"/>
            </a:xfrm>
            <a:prstGeom prst="rect">
              <a:avLst/>
            </a:prstGeom>
            <a:solidFill>
              <a:schemeClr val="accent5"/>
            </a:solidFill>
            <a:ln w="6350">
              <a:noFill/>
              <a:miter lim="800000"/>
              <a:headEnd/>
              <a:tailEnd/>
            </a:ln>
            <a:effectLst/>
          </p:spPr>
          <p:txBody>
            <a:bodyPr wrap="none" lIns="72000" tIns="108000" rIns="72000" bIns="72000" anchor="ctr"/>
            <a:lstStyle/>
            <a:p>
              <a:pPr algn="ctr" eaLnBrk="0" hangingPunct="0">
                <a:lnSpc>
                  <a:spcPct val="85000"/>
                </a:lnSpc>
                <a:spcBef>
                  <a:spcPts val="100"/>
                </a:spcBef>
                <a:spcAft>
                  <a:spcPts val="300"/>
                </a:spcAft>
              </a:pPr>
              <a:r>
                <a:rPr lang="en-US" sz="1600" b="1" dirty="0">
                  <a:latin typeface="+mj-lt"/>
                </a:rPr>
                <a:t>Disadvantages</a:t>
              </a:r>
            </a:p>
          </p:txBody>
        </p:sp>
        <p:sp>
          <p:nvSpPr>
            <p:cNvPr id="17" name="Rectangle 15">
              <a:extLst>
                <a:ext uri="{FF2B5EF4-FFF2-40B4-BE49-F238E27FC236}">
                  <a16:creationId xmlns:a16="http://schemas.microsoft.com/office/drawing/2014/main" id="{A1B14A67-D899-4A44-829C-A6DBC6CA727A}"/>
                </a:ext>
              </a:extLst>
            </p:cNvPr>
            <p:cNvSpPr>
              <a:spLocks noChangeArrowheads="1"/>
            </p:cNvSpPr>
            <p:nvPr>
              <p:custDataLst>
                <p:tags r:id="rId2"/>
              </p:custDataLst>
            </p:nvPr>
          </p:nvSpPr>
          <p:spPr bwMode="auto">
            <a:xfrm>
              <a:off x="7144573" y="1908751"/>
              <a:ext cx="3600000" cy="3428424"/>
            </a:xfrm>
            <a:prstGeom prst="rect">
              <a:avLst/>
            </a:prstGeom>
            <a:solidFill>
              <a:schemeClr val="tx2">
                <a:lumMod val="20000"/>
                <a:lumOff val="80000"/>
              </a:schemeClr>
            </a:solidFill>
            <a:ln w="6350">
              <a:noFill/>
              <a:miter lim="800000"/>
              <a:headEnd/>
              <a:tailEnd/>
            </a:ln>
          </p:spPr>
          <p:txBody>
            <a:bodyPr lIns="360000" tIns="144000" rIns="144000" bIns="72000"/>
            <a:lstStyle/>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grpSp>
      <p:sp>
        <p:nvSpPr>
          <p:cNvPr id="5" name="Footer Placeholder 4">
            <a:extLst>
              <a:ext uri="{FF2B5EF4-FFF2-40B4-BE49-F238E27FC236}">
                <a16:creationId xmlns:a16="http://schemas.microsoft.com/office/drawing/2014/main" id="{2B243899-ECDF-40A0-8420-8C61FA43060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B7EF091E-AF4D-48C6-A897-0A48CCA632F6}"/>
              </a:ext>
            </a:extLst>
          </p:cNvPr>
          <p:cNvSpPr>
            <a:spLocks noGrp="1"/>
          </p:cNvSpPr>
          <p:nvPr>
            <p:ph type="sldNum" sz="quarter" idx="10"/>
          </p:nvPr>
        </p:nvSpPr>
        <p:spPr/>
        <p:txBody>
          <a:bodyPr/>
          <a:lstStyle/>
          <a:p>
            <a:fld id="{1F90F471-3972-4120-B8B3-0237DE626C35}" type="slidenum">
              <a:rPr lang="en-US" smtClean="0"/>
              <a:pPr/>
              <a:t>418</a:t>
            </a:fld>
            <a:endParaRPr lang="en-US" dirty="0"/>
          </a:p>
        </p:txBody>
      </p:sp>
    </p:spTree>
    <p:extLst>
      <p:ext uri="{BB962C8B-B14F-4D97-AF65-F5344CB8AC3E}">
        <p14:creationId xmlns:p14="http://schemas.microsoft.com/office/powerpoint/2010/main" val="2465209346"/>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Evaluation Chart</a:t>
            </a:r>
          </a:p>
        </p:txBody>
      </p:sp>
      <p:grpSp>
        <p:nvGrpSpPr>
          <p:cNvPr id="18" name="Group 17" descr="Evaluation chart">
            <a:extLst>
              <a:ext uri="{FF2B5EF4-FFF2-40B4-BE49-F238E27FC236}">
                <a16:creationId xmlns:a16="http://schemas.microsoft.com/office/drawing/2014/main" id="{804D896F-B3A3-4CA6-BE6E-BFB11A0A7003}"/>
              </a:ext>
            </a:extLst>
          </p:cNvPr>
          <p:cNvGrpSpPr/>
          <p:nvPr/>
        </p:nvGrpSpPr>
        <p:grpSpPr>
          <a:xfrm>
            <a:off x="427038" y="1013317"/>
            <a:ext cx="11356903" cy="3624574"/>
            <a:chOff x="334963" y="1287541"/>
            <a:chExt cx="11495328" cy="3166622"/>
          </a:xfrm>
        </p:grpSpPr>
        <p:grpSp>
          <p:nvGrpSpPr>
            <p:cNvPr id="19" name="Group 18">
              <a:extLst>
                <a:ext uri="{FF2B5EF4-FFF2-40B4-BE49-F238E27FC236}">
                  <a16:creationId xmlns:a16="http://schemas.microsoft.com/office/drawing/2014/main" id="{51764A5A-C6A3-4190-A950-BB03ECA20DAE}"/>
                </a:ext>
              </a:extLst>
            </p:cNvPr>
            <p:cNvGrpSpPr>
              <a:grpSpLocks/>
            </p:cNvGrpSpPr>
            <p:nvPr/>
          </p:nvGrpSpPr>
          <p:grpSpPr bwMode="auto">
            <a:xfrm>
              <a:off x="2264226" y="1742094"/>
              <a:ext cx="9566065" cy="225737"/>
              <a:chOff x="2172" y="1718"/>
              <a:chExt cx="2160" cy="144"/>
            </a:xfrm>
          </p:grpSpPr>
          <p:sp>
            <p:nvSpPr>
              <p:cNvPr id="68" name="Rectangle 67">
                <a:extLst>
                  <a:ext uri="{FF2B5EF4-FFF2-40B4-BE49-F238E27FC236}">
                    <a16:creationId xmlns:a16="http://schemas.microsoft.com/office/drawing/2014/main" id="{6DFE9966-D64C-4475-A06B-B456256C833C}"/>
                  </a:ext>
                </a:extLst>
              </p:cNvPr>
              <p:cNvSpPr>
                <a:spLocks noChangeArrowheads="1"/>
              </p:cNvSpPr>
              <p:nvPr/>
            </p:nvSpPr>
            <p:spPr bwMode="auto">
              <a:xfrm>
                <a:off x="2172" y="1718"/>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69" name="Rectangle 68">
                <a:extLst>
                  <a:ext uri="{FF2B5EF4-FFF2-40B4-BE49-F238E27FC236}">
                    <a16:creationId xmlns:a16="http://schemas.microsoft.com/office/drawing/2014/main" id="{86B74553-5F66-4F82-8035-D0000E3DDC87}"/>
                  </a:ext>
                </a:extLst>
              </p:cNvPr>
              <p:cNvSpPr>
                <a:spLocks noChangeArrowheads="1"/>
              </p:cNvSpPr>
              <p:nvPr/>
            </p:nvSpPr>
            <p:spPr bwMode="auto">
              <a:xfrm>
                <a:off x="2604" y="1718"/>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70" name="Rectangle 69">
                <a:extLst>
                  <a:ext uri="{FF2B5EF4-FFF2-40B4-BE49-F238E27FC236}">
                    <a16:creationId xmlns:a16="http://schemas.microsoft.com/office/drawing/2014/main" id="{A3606A6B-58CC-45B0-94A8-A1C0B9B17A18}"/>
                  </a:ext>
                </a:extLst>
              </p:cNvPr>
              <p:cNvSpPr>
                <a:spLocks noChangeArrowheads="1"/>
              </p:cNvSpPr>
              <p:nvPr/>
            </p:nvSpPr>
            <p:spPr bwMode="auto">
              <a:xfrm>
                <a:off x="3036" y="1718"/>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71" name="Rectangle 70">
                <a:extLst>
                  <a:ext uri="{FF2B5EF4-FFF2-40B4-BE49-F238E27FC236}">
                    <a16:creationId xmlns:a16="http://schemas.microsoft.com/office/drawing/2014/main" id="{D800A7E8-9D1B-45C1-967A-AD74F909A3A8}"/>
                  </a:ext>
                </a:extLst>
              </p:cNvPr>
              <p:cNvSpPr>
                <a:spLocks noChangeArrowheads="1"/>
              </p:cNvSpPr>
              <p:nvPr/>
            </p:nvSpPr>
            <p:spPr bwMode="auto">
              <a:xfrm>
                <a:off x="3468" y="1718"/>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72" name="Rectangle 71">
                <a:extLst>
                  <a:ext uri="{FF2B5EF4-FFF2-40B4-BE49-F238E27FC236}">
                    <a16:creationId xmlns:a16="http://schemas.microsoft.com/office/drawing/2014/main" id="{17C5BE3F-CDC4-421D-8ECF-C612BCD36DF8}"/>
                  </a:ext>
                </a:extLst>
              </p:cNvPr>
              <p:cNvSpPr>
                <a:spLocks noChangeArrowheads="1"/>
              </p:cNvSpPr>
              <p:nvPr/>
            </p:nvSpPr>
            <p:spPr bwMode="auto">
              <a:xfrm>
                <a:off x="3900" y="1718"/>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20" name="Group 19">
              <a:extLst>
                <a:ext uri="{FF2B5EF4-FFF2-40B4-BE49-F238E27FC236}">
                  <a16:creationId xmlns:a16="http://schemas.microsoft.com/office/drawing/2014/main" id="{749DD831-E0D6-4934-B4E9-8A3C44CB29D1}"/>
                </a:ext>
              </a:extLst>
            </p:cNvPr>
            <p:cNvGrpSpPr>
              <a:grpSpLocks/>
            </p:cNvGrpSpPr>
            <p:nvPr/>
          </p:nvGrpSpPr>
          <p:grpSpPr bwMode="auto">
            <a:xfrm>
              <a:off x="2264226" y="2209692"/>
              <a:ext cx="9566065" cy="224125"/>
              <a:chOff x="2172" y="2016"/>
              <a:chExt cx="2160" cy="144"/>
            </a:xfrm>
          </p:grpSpPr>
          <p:sp>
            <p:nvSpPr>
              <p:cNvPr id="63" name="Rectangle 62">
                <a:extLst>
                  <a:ext uri="{FF2B5EF4-FFF2-40B4-BE49-F238E27FC236}">
                    <a16:creationId xmlns:a16="http://schemas.microsoft.com/office/drawing/2014/main" id="{A7E142EB-8967-4C37-9786-96913A0EEEAB}"/>
                  </a:ext>
                </a:extLst>
              </p:cNvPr>
              <p:cNvSpPr>
                <a:spLocks noChangeArrowheads="1"/>
              </p:cNvSpPr>
              <p:nvPr/>
            </p:nvSpPr>
            <p:spPr bwMode="auto">
              <a:xfrm>
                <a:off x="2172" y="2016"/>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64" name="Rectangle 63">
                <a:extLst>
                  <a:ext uri="{FF2B5EF4-FFF2-40B4-BE49-F238E27FC236}">
                    <a16:creationId xmlns:a16="http://schemas.microsoft.com/office/drawing/2014/main" id="{B8453CD4-C5E9-46B6-8A21-8C59C9FF8359}"/>
                  </a:ext>
                </a:extLst>
              </p:cNvPr>
              <p:cNvSpPr>
                <a:spLocks noChangeArrowheads="1"/>
              </p:cNvSpPr>
              <p:nvPr/>
            </p:nvSpPr>
            <p:spPr bwMode="auto">
              <a:xfrm>
                <a:off x="2604" y="2016"/>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65" name="Rectangle 64">
                <a:extLst>
                  <a:ext uri="{FF2B5EF4-FFF2-40B4-BE49-F238E27FC236}">
                    <a16:creationId xmlns:a16="http://schemas.microsoft.com/office/drawing/2014/main" id="{B03E1FB2-DF19-4AEA-88EE-7905632A9947}"/>
                  </a:ext>
                </a:extLst>
              </p:cNvPr>
              <p:cNvSpPr>
                <a:spLocks noChangeArrowheads="1"/>
              </p:cNvSpPr>
              <p:nvPr/>
            </p:nvSpPr>
            <p:spPr bwMode="auto">
              <a:xfrm>
                <a:off x="3036" y="2016"/>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66" name="Rectangle 65">
                <a:extLst>
                  <a:ext uri="{FF2B5EF4-FFF2-40B4-BE49-F238E27FC236}">
                    <a16:creationId xmlns:a16="http://schemas.microsoft.com/office/drawing/2014/main" id="{51358556-2A3A-4BFD-8673-BAE9F059D2B3}"/>
                  </a:ext>
                </a:extLst>
              </p:cNvPr>
              <p:cNvSpPr>
                <a:spLocks noChangeArrowheads="1"/>
              </p:cNvSpPr>
              <p:nvPr/>
            </p:nvSpPr>
            <p:spPr bwMode="auto">
              <a:xfrm>
                <a:off x="3468" y="2016"/>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67" name="Rectangle 66">
                <a:extLst>
                  <a:ext uri="{FF2B5EF4-FFF2-40B4-BE49-F238E27FC236}">
                    <a16:creationId xmlns:a16="http://schemas.microsoft.com/office/drawing/2014/main" id="{1DF869C1-6D5C-4650-9BC5-90F9CBC688C1}"/>
                  </a:ext>
                </a:extLst>
              </p:cNvPr>
              <p:cNvSpPr>
                <a:spLocks noChangeArrowheads="1"/>
              </p:cNvSpPr>
              <p:nvPr/>
            </p:nvSpPr>
            <p:spPr bwMode="auto">
              <a:xfrm>
                <a:off x="3900" y="2016"/>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21" name="Group 20">
              <a:extLst>
                <a:ext uri="{FF2B5EF4-FFF2-40B4-BE49-F238E27FC236}">
                  <a16:creationId xmlns:a16="http://schemas.microsoft.com/office/drawing/2014/main" id="{169ACBB1-15A9-4325-9FF8-9716193B367F}"/>
                </a:ext>
              </a:extLst>
            </p:cNvPr>
            <p:cNvGrpSpPr>
              <a:grpSpLocks/>
            </p:cNvGrpSpPr>
            <p:nvPr/>
          </p:nvGrpSpPr>
          <p:grpSpPr bwMode="auto">
            <a:xfrm>
              <a:off x="2264226" y="2672453"/>
              <a:ext cx="9566065" cy="225737"/>
              <a:chOff x="2172" y="2312"/>
              <a:chExt cx="2160" cy="144"/>
            </a:xfrm>
          </p:grpSpPr>
          <p:sp>
            <p:nvSpPr>
              <p:cNvPr id="58" name="Rectangle 57">
                <a:extLst>
                  <a:ext uri="{FF2B5EF4-FFF2-40B4-BE49-F238E27FC236}">
                    <a16:creationId xmlns:a16="http://schemas.microsoft.com/office/drawing/2014/main" id="{BB7852B4-BF17-44FB-822E-713052DD6950}"/>
                  </a:ext>
                </a:extLst>
              </p:cNvPr>
              <p:cNvSpPr>
                <a:spLocks noChangeArrowheads="1"/>
              </p:cNvSpPr>
              <p:nvPr/>
            </p:nvSpPr>
            <p:spPr bwMode="auto">
              <a:xfrm>
                <a:off x="2172" y="2312"/>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2DF9B852-679E-4BF1-A198-430F094AD2BE}"/>
                  </a:ext>
                </a:extLst>
              </p:cNvPr>
              <p:cNvSpPr>
                <a:spLocks noChangeArrowheads="1"/>
              </p:cNvSpPr>
              <p:nvPr/>
            </p:nvSpPr>
            <p:spPr bwMode="auto">
              <a:xfrm>
                <a:off x="2604" y="2312"/>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5A61CB82-6E3A-45AE-8236-574EE0DFB788}"/>
                  </a:ext>
                </a:extLst>
              </p:cNvPr>
              <p:cNvSpPr>
                <a:spLocks noChangeArrowheads="1"/>
              </p:cNvSpPr>
              <p:nvPr/>
            </p:nvSpPr>
            <p:spPr bwMode="auto">
              <a:xfrm>
                <a:off x="3036" y="2312"/>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A7BE71FD-7D87-4637-9C7A-42D217F78D89}"/>
                  </a:ext>
                </a:extLst>
              </p:cNvPr>
              <p:cNvSpPr>
                <a:spLocks noChangeArrowheads="1"/>
              </p:cNvSpPr>
              <p:nvPr/>
            </p:nvSpPr>
            <p:spPr bwMode="auto">
              <a:xfrm>
                <a:off x="3468" y="2312"/>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62" name="Rectangle 61">
                <a:extLst>
                  <a:ext uri="{FF2B5EF4-FFF2-40B4-BE49-F238E27FC236}">
                    <a16:creationId xmlns:a16="http://schemas.microsoft.com/office/drawing/2014/main" id="{15C2ECC5-77DF-4A2E-AB05-2536F5BD688E}"/>
                  </a:ext>
                </a:extLst>
              </p:cNvPr>
              <p:cNvSpPr>
                <a:spLocks noChangeArrowheads="1"/>
              </p:cNvSpPr>
              <p:nvPr/>
            </p:nvSpPr>
            <p:spPr bwMode="auto">
              <a:xfrm>
                <a:off x="3900" y="2312"/>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22" name="Group 21">
              <a:extLst>
                <a:ext uri="{FF2B5EF4-FFF2-40B4-BE49-F238E27FC236}">
                  <a16:creationId xmlns:a16="http://schemas.microsoft.com/office/drawing/2014/main" id="{53B1059D-71A7-4ACB-BD70-C707682B34BD}"/>
                </a:ext>
              </a:extLst>
            </p:cNvPr>
            <p:cNvGrpSpPr>
              <a:grpSpLocks/>
            </p:cNvGrpSpPr>
            <p:nvPr/>
          </p:nvGrpSpPr>
          <p:grpSpPr bwMode="auto">
            <a:xfrm>
              <a:off x="2264226" y="3136826"/>
              <a:ext cx="9566065" cy="225737"/>
              <a:chOff x="2172" y="2608"/>
              <a:chExt cx="2160" cy="144"/>
            </a:xfrm>
          </p:grpSpPr>
          <p:sp>
            <p:nvSpPr>
              <p:cNvPr id="53" name="Rectangle 52">
                <a:extLst>
                  <a:ext uri="{FF2B5EF4-FFF2-40B4-BE49-F238E27FC236}">
                    <a16:creationId xmlns:a16="http://schemas.microsoft.com/office/drawing/2014/main" id="{811C4D29-0CA3-4185-84EC-0DA88BB85CAE}"/>
                  </a:ext>
                </a:extLst>
              </p:cNvPr>
              <p:cNvSpPr>
                <a:spLocks noChangeArrowheads="1"/>
              </p:cNvSpPr>
              <p:nvPr/>
            </p:nvSpPr>
            <p:spPr bwMode="auto">
              <a:xfrm>
                <a:off x="2172" y="2608"/>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B8A35581-CD86-4601-AE33-69F5AF0F5D7C}"/>
                  </a:ext>
                </a:extLst>
              </p:cNvPr>
              <p:cNvSpPr>
                <a:spLocks noChangeArrowheads="1"/>
              </p:cNvSpPr>
              <p:nvPr/>
            </p:nvSpPr>
            <p:spPr bwMode="auto">
              <a:xfrm>
                <a:off x="2604" y="2608"/>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1119D1E3-EF9D-47C6-B197-EBF3ED5C72D3}"/>
                  </a:ext>
                </a:extLst>
              </p:cNvPr>
              <p:cNvSpPr>
                <a:spLocks noChangeArrowheads="1"/>
              </p:cNvSpPr>
              <p:nvPr/>
            </p:nvSpPr>
            <p:spPr bwMode="auto">
              <a:xfrm>
                <a:off x="3036" y="2608"/>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98906006-8B75-4C5D-82F3-BBA6A342A693}"/>
                  </a:ext>
                </a:extLst>
              </p:cNvPr>
              <p:cNvSpPr>
                <a:spLocks noChangeArrowheads="1"/>
              </p:cNvSpPr>
              <p:nvPr/>
            </p:nvSpPr>
            <p:spPr bwMode="auto">
              <a:xfrm>
                <a:off x="3468" y="2608"/>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78DF04DD-AE24-412C-9FFC-CF159841562E}"/>
                  </a:ext>
                </a:extLst>
              </p:cNvPr>
              <p:cNvSpPr>
                <a:spLocks noChangeArrowheads="1"/>
              </p:cNvSpPr>
              <p:nvPr/>
            </p:nvSpPr>
            <p:spPr bwMode="auto">
              <a:xfrm>
                <a:off x="3900" y="2608"/>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23" name="Group 22">
              <a:extLst>
                <a:ext uri="{FF2B5EF4-FFF2-40B4-BE49-F238E27FC236}">
                  <a16:creationId xmlns:a16="http://schemas.microsoft.com/office/drawing/2014/main" id="{A99ED22B-D489-4C72-8DD8-5AA66EDEC05B}"/>
                </a:ext>
              </a:extLst>
            </p:cNvPr>
            <p:cNvGrpSpPr>
              <a:grpSpLocks/>
            </p:cNvGrpSpPr>
            <p:nvPr/>
          </p:nvGrpSpPr>
          <p:grpSpPr bwMode="auto">
            <a:xfrm>
              <a:off x="2264226" y="3601200"/>
              <a:ext cx="9566065" cy="225737"/>
              <a:chOff x="2172" y="2904"/>
              <a:chExt cx="2160" cy="144"/>
            </a:xfrm>
          </p:grpSpPr>
          <p:sp>
            <p:nvSpPr>
              <p:cNvPr id="48" name="Rectangle 47">
                <a:extLst>
                  <a:ext uri="{FF2B5EF4-FFF2-40B4-BE49-F238E27FC236}">
                    <a16:creationId xmlns:a16="http://schemas.microsoft.com/office/drawing/2014/main" id="{7BCA7FEE-7748-4782-925F-F8755745F673}"/>
                  </a:ext>
                </a:extLst>
              </p:cNvPr>
              <p:cNvSpPr>
                <a:spLocks noChangeArrowheads="1"/>
              </p:cNvSpPr>
              <p:nvPr/>
            </p:nvSpPr>
            <p:spPr bwMode="auto">
              <a:xfrm>
                <a:off x="2172" y="2904"/>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0141375A-1F3D-42FA-9779-620E4F3E794F}"/>
                  </a:ext>
                </a:extLst>
              </p:cNvPr>
              <p:cNvSpPr>
                <a:spLocks noChangeArrowheads="1"/>
              </p:cNvSpPr>
              <p:nvPr/>
            </p:nvSpPr>
            <p:spPr bwMode="auto">
              <a:xfrm>
                <a:off x="2604" y="2904"/>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700E8D22-405A-4FE2-89D4-05023A77F39D}"/>
                  </a:ext>
                </a:extLst>
              </p:cNvPr>
              <p:cNvSpPr>
                <a:spLocks noChangeArrowheads="1"/>
              </p:cNvSpPr>
              <p:nvPr/>
            </p:nvSpPr>
            <p:spPr bwMode="auto">
              <a:xfrm>
                <a:off x="3036" y="2904"/>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10BDDFCD-E796-4500-AC39-E2BBF194B86A}"/>
                  </a:ext>
                </a:extLst>
              </p:cNvPr>
              <p:cNvSpPr>
                <a:spLocks noChangeArrowheads="1"/>
              </p:cNvSpPr>
              <p:nvPr/>
            </p:nvSpPr>
            <p:spPr bwMode="auto">
              <a:xfrm>
                <a:off x="3468" y="2904"/>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52" name="Rectangle 51">
                <a:extLst>
                  <a:ext uri="{FF2B5EF4-FFF2-40B4-BE49-F238E27FC236}">
                    <a16:creationId xmlns:a16="http://schemas.microsoft.com/office/drawing/2014/main" id="{203002FE-78A6-426D-905D-23712D212256}"/>
                  </a:ext>
                </a:extLst>
              </p:cNvPr>
              <p:cNvSpPr>
                <a:spLocks noChangeArrowheads="1"/>
              </p:cNvSpPr>
              <p:nvPr/>
            </p:nvSpPr>
            <p:spPr bwMode="auto">
              <a:xfrm>
                <a:off x="3900" y="2904"/>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grpSp>
        <p:sp>
          <p:nvSpPr>
            <p:cNvPr id="24" name="Text Box 43">
              <a:extLst>
                <a:ext uri="{FF2B5EF4-FFF2-40B4-BE49-F238E27FC236}">
                  <a16:creationId xmlns:a16="http://schemas.microsoft.com/office/drawing/2014/main" id="{A754F9FB-DFA4-40CE-BB0D-B332F7825FA1}"/>
                </a:ext>
              </a:extLst>
            </p:cNvPr>
            <p:cNvSpPr txBox="1">
              <a:spLocks noChangeArrowheads="1"/>
            </p:cNvSpPr>
            <p:nvPr/>
          </p:nvSpPr>
          <p:spPr bwMode="auto">
            <a:xfrm>
              <a:off x="334963" y="4225201"/>
              <a:ext cx="1879108" cy="228962"/>
            </a:xfrm>
            <a:prstGeom prst="rect">
              <a:avLst/>
            </a:prstGeom>
            <a:noFill/>
            <a:ln w="3175">
              <a:noFill/>
              <a:miter lim="800000"/>
              <a:headEnd/>
              <a:tailEnd/>
            </a:ln>
            <a:effectLst/>
          </p:spPr>
          <p:txBody>
            <a:bodyPr wrap="none" lIns="0" tIns="0" rIns="0" bIns="0" anchor="ctr"/>
            <a:lstStyle/>
            <a:p>
              <a:pPr marL="457200" marR="0" lvl="0" indent="-45720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Average</a:t>
              </a:r>
            </a:p>
          </p:txBody>
        </p:sp>
        <p:sp>
          <p:nvSpPr>
            <p:cNvPr id="25" name="Text Box 44">
              <a:extLst>
                <a:ext uri="{FF2B5EF4-FFF2-40B4-BE49-F238E27FC236}">
                  <a16:creationId xmlns:a16="http://schemas.microsoft.com/office/drawing/2014/main" id="{5EC06773-867B-4D9D-89D8-7C8F848228F0}"/>
                </a:ext>
              </a:extLst>
            </p:cNvPr>
            <p:cNvSpPr txBox="1">
              <a:spLocks noChangeArrowheads="1"/>
            </p:cNvSpPr>
            <p:nvPr/>
          </p:nvSpPr>
          <p:spPr bwMode="auto">
            <a:xfrm>
              <a:off x="334963" y="1740482"/>
              <a:ext cx="1879108" cy="227350"/>
            </a:xfrm>
            <a:prstGeom prst="rect">
              <a:avLst/>
            </a:prstGeom>
            <a:noFill/>
            <a:ln w="3175">
              <a:noFill/>
              <a:miter lim="800000"/>
              <a:headEnd/>
              <a:tailEnd/>
            </a:ln>
            <a:effectLst/>
          </p:spPr>
          <p:txBody>
            <a:bodyPr wrap="none" lIns="0" tIns="0" rIns="0" bIns="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Attribute 1</a:t>
              </a:r>
            </a:p>
          </p:txBody>
        </p:sp>
        <p:sp>
          <p:nvSpPr>
            <p:cNvPr id="26" name="Text Box 45">
              <a:extLst>
                <a:ext uri="{FF2B5EF4-FFF2-40B4-BE49-F238E27FC236}">
                  <a16:creationId xmlns:a16="http://schemas.microsoft.com/office/drawing/2014/main" id="{26D0D59E-5949-4EE2-9D09-3424D3906329}"/>
                </a:ext>
              </a:extLst>
            </p:cNvPr>
            <p:cNvSpPr txBox="1">
              <a:spLocks noChangeArrowheads="1"/>
            </p:cNvSpPr>
            <p:nvPr/>
          </p:nvSpPr>
          <p:spPr bwMode="auto">
            <a:xfrm>
              <a:off x="334963" y="2208080"/>
              <a:ext cx="1879108" cy="225737"/>
            </a:xfrm>
            <a:prstGeom prst="rect">
              <a:avLst/>
            </a:prstGeom>
            <a:noFill/>
            <a:ln w="3175">
              <a:noFill/>
              <a:miter lim="800000"/>
              <a:headEnd/>
              <a:tailEnd/>
            </a:ln>
            <a:effectLst/>
          </p:spPr>
          <p:txBody>
            <a:bodyPr wrap="none" lIns="0" tIns="0" rIns="0" bIns="0" anchor="ctr"/>
            <a:lstStyle/>
            <a:p>
              <a:pPr marL="457200" marR="0" lvl="0" indent="-45720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Attribute 2</a:t>
              </a:r>
            </a:p>
          </p:txBody>
        </p:sp>
        <p:sp>
          <p:nvSpPr>
            <p:cNvPr id="27" name="Text Box 46">
              <a:extLst>
                <a:ext uri="{FF2B5EF4-FFF2-40B4-BE49-F238E27FC236}">
                  <a16:creationId xmlns:a16="http://schemas.microsoft.com/office/drawing/2014/main" id="{DD2D2014-B6A6-466D-8835-49385998C052}"/>
                </a:ext>
              </a:extLst>
            </p:cNvPr>
            <p:cNvSpPr txBox="1">
              <a:spLocks noChangeArrowheads="1"/>
            </p:cNvSpPr>
            <p:nvPr/>
          </p:nvSpPr>
          <p:spPr bwMode="auto">
            <a:xfrm>
              <a:off x="334963" y="2667615"/>
              <a:ext cx="1879108" cy="230575"/>
            </a:xfrm>
            <a:prstGeom prst="rect">
              <a:avLst/>
            </a:prstGeom>
            <a:noFill/>
            <a:ln w="3175">
              <a:noFill/>
              <a:miter lim="800000"/>
              <a:headEnd/>
              <a:tailEnd/>
            </a:ln>
            <a:effectLst/>
          </p:spPr>
          <p:txBody>
            <a:bodyPr wrap="none" lIns="0" tIns="0" rIns="0" bIns="0" anchor="ctr"/>
            <a:lstStyle/>
            <a:p>
              <a:pPr marL="457200" marR="0" lvl="0" indent="-45720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Attribute 3</a:t>
              </a:r>
            </a:p>
          </p:txBody>
        </p:sp>
        <p:sp>
          <p:nvSpPr>
            <p:cNvPr id="28" name="Text Box 47">
              <a:extLst>
                <a:ext uri="{FF2B5EF4-FFF2-40B4-BE49-F238E27FC236}">
                  <a16:creationId xmlns:a16="http://schemas.microsoft.com/office/drawing/2014/main" id="{03A7F41E-0E13-4FE4-91C7-495A6749A7E9}"/>
                </a:ext>
              </a:extLst>
            </p:cNvPr>
            <p:cNvSpPr txBox="1">
              <a:spLocks noChangeArrowheads="1"/>
            </p:cNvSpPr>
            <p:nvPr/>
          </p:nvSpPr>
          <p:spPr bwMode="auto">
            <a:xfrm>
              <a:off x="334963" y="3136826"/>
              <a:ext cx="1879108" cy="225737"/>
            </a:xfrm>
            <a:prstGeom prst="rect">
              <a:avLst/>
            </a:prstGeom>
            <a:noFill/>
            <a:ln w="3175">
              <a:noFill/>
              <a:miter lim="800000"/>
              <a:headEnd/>
              <a:tailEnd/>
            </a:ln>
            <a:effectLst/>
          </p:spPr>
          <p:txBody>
            <a:bodyPr wrap="none" lIns="0" tIns="0" rIns="0" bIns="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Attribute 4</a:t>
              </a:r>
            </a:p>
          </p:txBody>
        </p:sp>
        <p:sp>
          <p:nvSpPr>
            <p:cNvPr id="29" name="Text Box 48">
              <a:extLst>
                <a:ext uri="{FF2B5EF4-FFF2-40B4-BE49-F238E27FC236}">
                  <a16:creationId xmlns:a16="http://schemas.microsoft.com/office/drawing/2014/main" id="{E9455139-32ED-4AB1-88FC-53857642B079}"/>
                </a:ext>
              </a:extLst>
            </p:cNvPr>
            <p:cNvSpPr txBox="1">
              <a:spLocks noChangeArrowheads="1"/>
            </p:cNvSpPr>
            <p:nvPr/>
          </p:nvSpPr>
          <p:spPr bwMode="auto">
            <a:xfrm>
              <a:off x="334963" y="3601200"/>
              <a:ext cx="1879108" cy="225737"/>
            </a:xfrm>
            <a:prstGeom prst="rect">
              <a:avLst/>
            </a:prstGeom>
            <a:noFill/>
            <a:ln w="3175">
              <a:noFill/>
              <a:miter lim="800000"/>
              <a:headEnd/>
              <a:tailEnd/>
            </a:ln>
            <a:effectLst/>
          </p:spPr>
          <p:txBody>
            <a:bodyPr wrap="none" lIns="0" tIns="0" rIns="0" bIns="0" anchor="ctr"/>
            <a:lstStyle/>
            <a:p>
              <a:pPr marL="457200" marR="0" lvl="0" indent="-45720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Attribute 5</a:t>
              </a:r>
            </a:p>
          </p:txBody>
        </p:sp>
        <p:grpSp>
          <p:nvGrpSpPr>
            <p:cNvPr id="30" name="Group 29">
              <a:extLst>
                <a:ext uri="{FF2B5EF4-FFF2-40B4-BE49-F238E27FC236}">
                  <a16:creationId xmlns:a16="http://schemas.microsoft.com/office/drawing/2014/main" id="{6AFAF35D-9C9A-4E76-8B6A-461EB058DDBE}"/>
                </a:ext>
              </a:extLst>
            </p:cNvPr>
            <p:cNvGrpSpPr>
              <a:grpSpLocks/>
            </p:cNvGrpSpPr>
            <p:nvPr/>
          </p:nvGrpSpPr>
          <p:grpSpPr bwMode="auto">
            <a:xfrm>
              <a:off x="2264226" y="4228426"/>
              <a:ext cx="9566065" cy="225737"/>
              <a:chOff x="362" y="3424"/>
              <a:chExt cx="2160" cy="144"/>
            </a:xfrm>
          </p:grpSpPr>
          <p:sp>
            <p:nvSpPr>
              <p:cNvPr id="43" name="Rectangle 42">
                <a:extLst>
                  <a:ext uri="{FF2B5EF4-FFF2-40B4-BE49-F238E27FC236}">
                    <a16:creationId xmlns:a16="http://schemas.microsoft.com/office/drawing/2014/main" id="{7EB1E35B-44AC-46D5-8975-278A96E54F92}"/>
                  </a:ext>
                </a:extLst>
              </p:cNvPr>
              <p:cNvSpPr>
                <a:spLocks noChangeArrowheads="1"/>
              </p:cNvSpPr>
              <p:nvPr/>
            </p:nvSpPr>
            <p:spPr bwMode="auto">
              <a:xfrm>
                <a:off x="362" y="3424"/>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3C8E6C07-C780-4998-8DAD-C20EC7919E92}"/>
                  </a:ext>
                </a:extLst>
              </p:cNvPr>
              <p:cNvSpPr>
                <a:spLocks noChangeArrowheads="1"/>
              </p:cNvSpPr>
              <p:nvPr/>
            </p:nvSpPr>
            <p:spPr bwMode="auto">
              <a:xfrm>
                <a:off x="794" y="3424"/>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C672CA0C-6FA5-4995-A989-3DB17481AE73}"/>
                  </a:ext>
                </a:extLst>
              </p:cNvPr>
              <p:cNvSpPr>
                <a:spLocks noChangeArrowheads="1"/>
              </p:cNvSpPr>
              <p:nvPr/>
            </p:nvSpPr>
            <p:spPr bwMode="auto">
              <a:xfrm>
                <a:off x="1226" y="3424"/>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6D017037-EB0E-4280-9AF7-28D760EA1D02}"/>
                  </a:ext>
                </a:extLst>
              </p:cNvPr>
              <p:cNvSpPr>
                <a:spLocks noChangeArrowheads="1"/>
              </p:cNvSpPr>
              <p:nvPr/>
            </p:nvSpPr>
            <p:spPr bwMode="auto">
              <a:xfrm>
                <a:off x="1658" y="3424"/>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105EF0F3-B80E-4F4B-A095-910EA21CA02D}"/>
                  </a:ext>
                </a:extLst>
              </p:cNvPr>
              <p:cNvSpPr>
                <a:spLocks noChangeArrowheads="1"/>
              </p:cNvSpPr>
              <p:nvPr/>
            </p:nvSpPr>
            <p:spPr bwMode="auto">
              <a:xfrm>
                <a:off x="2090" y="3424"/>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grpSp>
        <p:sp>
          <p:nvSpPr>
            <p:cNvPr id="31" name="Freeform 55">
              <a:extLst>
                <a:ext uri="{FF2B5EF4-FFF2-40B4-BE49-F238E27FC236}">
                  <a16:creationId xmlns:a16="http://schemas.microsoft.com/office/drawing/2014/main" id="{24B78B47-8A67-469B-A8C3-20C35BC0AE1B}"/>
                </a:ext>
              </a:extLst>
            </p:cNvPr>
            <p:cNvSpPr>
              <a:spLocks/>
            </p:cNvSpPr>
            <p:nvPr/>
          </p:nvSpPr>
          <p:spPr bwMode="auto">
            <a:xfrm>
              <a:off x="7216108" y="1835613"/>
              <a:ext cx="4430281" cy="2528255"/>
            </a:xfrm>
            <a:custGeom>
              <a:avLst/>
              <a:gdLst/>
              <a:ahLst/>
              <a:cxnLst>
                <a:cxn ang="0">
                  <a:pos x="510" y="1568"/>
                </a:cxn>
                <a:cxn ang="0">
                  <a:pos x="15" y="1171"/>
                </a:cxn>
                <a:cxn ang="0">
                  <a:pos x="15" y="883"/>
                </a:cxn>
                <a:cxn ang="0">
                  <a:pos x="0" y="576"/>
                </a:cxn>
                <a:cxn ang="0">
                  <a:pos x="199" y="308"/>
                </a:cxn>
                <a:cxn ang="0">
                  <a:pos x="1325" y="0"/>
                </a:cxn>
              </a:cxnLst>
              <a:rect l="0" t="0" r="r" b="b"/>
              <a:pathLst>
                <a:path w="1325" h="1568">
                  <a:moveTo>
                    <a:pt x="510" y="1568"/>
                  </a:moveTo>
                  <a:lnTo>
                    <a:pt x="15" y="1171"/>
                  </a:lnTo>
                  <a:lnTo>
                    <a:pt x="15" y="883"/>
                  </a:lnTo>
                  <a:lnTo>
                    <a:pt x="0" y="576"/>
                  </a:lnTo>
                  <a:lnTo>
                    <a:pt x="199" y="308"/>
                  </a:lnTo>
                  <a:lnTo>
                    <a:pt x="1325" y="0"/>
                  </a:lnTo>
                </a:path>
              </a:pathLst>
            </a:custGeom>
            <a:noFill/>
            <a:ln w="38100" cap="flat" cmpd="sng">
              <a:solidFill>
                <a:schemeClr val="accent3"/>
              </a:solidFill>
              <a:prstDash val="dash"/>
              <a:round/>
              <a:headEnd/>
              <a:tailEnd/>
            </a:ln>
            <a:effectLst/>
          </p:spPr>
          <p:txBody>
            <a:bodyPr lIns="36000" tIns="36000" rIns="36000" bIns="36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2" name="Freeform 56">
              <a:extLst>
                <a:ext uri="{FF2B5EF4-FFF2-40B4-BE49-F238E27FC236}">
                  <a16:creationId xmlns:a16="http://schemas.microsoft.com/office/drawing/2014/main" id="{8865C0AA-A4D3-4139-BDCA-BC81E44EDFA0}"/>
                </a:ext>
              </a:extLst>
            </p:cNvPr>
            <p:cNvSpPr>
              <a:spLocks/>
            </p:cNvSpPr>
            <p:nvPr/>
          </p:nvSpPr>
          <p:spPr bwMode="auto">
            <a:xfrm>
              <a:off x="6731285" y="1825939"/>
              <a:ext cx="3032653" cy="2550828"/>
            </a:xfrm>
            <a:custGeom>
              <a:avLst/>
              <a:gdLst/>
              <a:ahLst/>
              <a:cxnLst>
                <a:cxn ang="0">
                  <a:pos x="383" y="1582"/>
                </a:cxn>
                <a:cxn ang="0">
                  <a:pos x="64" y="1155"/>
                </a:cxn>
                <a:cxn ang="0">
                  <a:pos x="0" y="844"/>
                </a:cxn>
                <a:cxn ang="0">
                  <a:pos x="132" y="569"/>
                </a:cxn>
                <a:cxn ang="0">
                  <a:pos x="542" y="276"/>
                </a:cxn>
                <a:cxn ang="0">
                  <a:pos x="907" y="0"/>
                </a:cxn>
              </a:cxnLst>
              <a:rect l="0" t="0" r="r" b="b"/>
              <a:pathLst>
                <a:path w="907" h="1582">
                  <a:moveTo>
                    <a:pt x="383" y="1582"/>
                  </a:moveTo>
                  <a:lnTo>
                    <a:pt x="64" y="1155"/>
                  </a:lnTo>
                  <a:lnTo>
                    <a:pt x="0" y="844"/>
                  </a:lnTo>
                  <a:lnTo>
                    <a:pt x="132" y="569"/>
                  </a:lnTo>
                  <a:lnTo>
                    <a:pt x="542" y="276"/>
                  </a:lnTo>
                  <a:lnTo>
                    <a:pt x="907" y="0"/>
                  </a:lnTo>
                </a:path>
              </a:pathLst>
            </a:custGeom>
            <a:noFill/>
            <a:ln w="38100" cap="flat" cmpd="sng">
              <a:solidFill>
                <a:srgbClr val="B455AA"/>
              </a:solidFill>
              <a:prstDash val="solid"/>
              <a:round/>
              <a:headEnd/>
              <a:tailEnd/>
            </a:ln>
            <a:effectLst/>
          </p:spPr>
          <p:txBody>
            <a:bodyPr lIns="36000" tIns="36000" rIns="36000" bIns="36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33" name="Freeform 57">
              <a:extLst>
                <a:ext uri="{FF2B5EF4-FFF2-40B4-BE49-F238E27FC236}">
                  <a16:creationId xmlns:a16="http://schemas.microsoft.com/office/drawing/2014/main" id="{70863AF5-2036-42E1-81BD-6AD2F3F1138C}"/>
                </a:ext>
              </a:extLst>
            </p:cNvPr>
            <p:cNvSpPr>
              <a:spLocks/>
            </p:cNvSpPr>
            <p:nvPr/>
          </p:nvSpPr>
          <p:spPr bwMode="auto">
            <a:xfrm>
              <a:off x="8841104" y="1809815"/>
              <a:ext cx="2882191" cy="2554053"/>
            </a:xfrm>
            <a:custGeom>
              <a:avLst/>
              <a:gdLst/>
              <a:ahLst/>
              <a:cxnLst>
                <a:cxn ang="0">
                  <a:pos x="584" y="1584"/>
                </a:cxn>
                <a:cxn ang="0">
                  <a:pos x="291" y="1155"/>
                </a:cxn>
                <a:cxn ang="0">
                  <a:pos x="0" y="868"/>
                </a:cxn>
                <a:cxn ang="0">
                  <a:pos x="287" y="584"/>
                </a:cxn>
                <a:cxn ang="0">
                  <a:pos x="575" y="300"/>
                </a:cxn>
                <a:cxn ang="0">
                  <a:pos x="862" y="0"/>
                </a:cxn>
              </a:cxnLst>
              <a:rect l="0" t="0" r="r" b="b"/>
              <a:pathLst>
                <a:path w="862" h="1584">
                  <a:moveTo>
                    <a:pt x="584" y="1584"/>
                  </a:moveTo>
                  <a:lnTo>
                    <a:pt x="291" y="1155"/>
                  </a:lnTo>
                  <a:lnTo>
                    <a:pt x="0" y="868"/>
                  </a:lnTo>
                  <a:lnTo>
                    <a:pt x="287" y="584"/>
                  </a:lnTo>
                  <a:lnTo>
                    <a:pt x="575" y="300"/>
                  </a:lnTo>
                  <a:lnTo>
                    <a:pt x="862" y="0"/>
                  </a:lnTo>
                </a:path>
              </a:pathLst>
            </a:custGeom>
            <a:noFill/>
            <a:ln w="38100" cap="flat" cmpd="sng">
              <a:solidFill>
                <a:srgbClr val="A055F5"/>
              </a:solidFill>
              <a:prstDash val="lgDashDot"/>
              <a:round/>
              <a:headEnd/>
              <a:tailEnd/>
            </a:ln>
            <a:effectLst/>
          </p:spPr>
          <p:txBody>
            <a:bodyPr lIns="36000" tIns="36000" rIns="36000" bIns="36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34" name="Freeform 58">
              <a:extLst>
                <a:ext uri="{FF2B5EF4-FFF2-40B4-BE49-F238E27FC236}">
                  <a16:creationId xmlns:a16="http://schemas.microsoft.com/office/drawing/2014/main" id="{7C9B9452-BE8A-4CD5-A56C-8A48D3502089}"/>
                </a:ext>
              </a:extLst>
            </p:cNvPr>
            <p:cNvSpPr>
              <a:spLocks/>
            </p:cNvSpPr>
            <p:nvPr/>
          </p:nvSpPr>
          <p:spPr bwMode="auto">
            <a:xfrm>
              <a:off x="2260882" y="1835613"/>
              <a:ext cx="6282641" cy="2541154"/>
            </a:xfrm>
            <a:custGeom>
              <a:avLst/>
              <a:gdLst/>
              <a:ahLst/>
              <a:cxnLst>
                <a:cxn ang="0">
                  <a:pos x="872" y="1576"/>
                </a:cxn>
                <a:cxn ang="0">
                  <a:pos x="215" y="1163"/>
                </a:cxn>
                <a:cxn ang="0">
                  <a:pos x="674" y="869"/>
                </a:cxn>
                <a:cxn ang="0">
                  <a:pos x="851" y="577"/>
                </a:cxn>
                <a:cxn ang="0">
                  <a:pos x="1879" y="284"/>
                </a:cxn>
                <a:cxn ang="0">
                  <a:pos x="0" y="0"/>
                </a:cxn>
              </a:cxnLst>
              <a:rect l="0" t="0" r="r" b="b"/>
              <a:pathLst>
                <a:path w="1879" h="1576">
                  <a:moveTo>
                    <a:pt x="872" y="1576"/>
                  </a:moveTo>
                  <a:lnTo>
                    <a:pt x="215" y="1163"/>
                  </a:lnTo>
                  <a:lnTo>
                    <a:pt x="674" y="869"/>
                  </a:lnTo>
                  <a:lnTo>
                    <a:pt x="851" y="577"/>
                  </a:lnTo>
                  <a:lnTo>
                    <a:pt x="1879" y="284"/>
                  </a:lnTo>
                  <a:lnTo>
                    <a:pt x="0" y="0"/>
                  </a:lnTo>
                </a:path>
              </a:pathLst>
            </a:custGeom>
            <a:noFill/>
            <a:ln w="38100" cap="flat" cmpd="sng">
              <a:solidFill>
                <a:srgbClr val="A100FF"/>
              </a:solidFill>
              <a:prstDash val="sysDot"/>
              <a:round/>
              <a:headEnd/>
              <a:tailEnd/>
            </a:ln>
            <a:effectLst/>
          </p:spPr>
          <p:txBody>
            <a:bodyPr lIns="36000" tIns="36000" rIns="36000" bIns="36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35" name="Text Box 59">
              <a:extLst>
                <a:ext uri="{FF2B5EF4-FFF2-40B4-BE49-F238E27FC236}">
                  <a16:creationId xmlns:a16="http://schemas.microsoft.com/office/drawing/2014/main" id="{1934D0BB-5170-4045-80CE-7E75BEF69D5A}"/>
                </a:ext>
              </a:extLst>
            </p:cNvPr>
            <p:cNvSpPr txBox="1">
              <a:spLocks noChangeArrowheads="1"/>
            </p:cNvSpPr>
            <p:nvPr/>
          </p:nvSpPr>
          <p:spPr bwMode="auto">
            <a:xfrm>
              <a:off x="341856" y="1287541"/>
              <a:ext cx="3065333" cy="188223"/>
            </a:xfrm>
            <a:prstGeom prst="rect">
              <a:avLst/>
            </a:prstGeom>
            <a:solidFill>
              <a:srgbClr val="FFFFFF"/>
            </a:solidFill>
            <a:ln w="3175">
              <a:noFill/>
              <a:miter lim="800000"/>
              <a:headEnd/>
              <a:tailEnd/>
            </a:ln>
            <a:effectLst/>
          </p:spPr>
          <p:txBody>
            <a:bodyPr wrap="square" lIns="0" tIns="0" rIns="0" bIns="0" anchor="ctr">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all" spc="0" normalizeH="0" baseline="0" noProof="0" dirty="0">
                  <a:ln>
                    <a:noFill/>
                  </a:ln>
                  <a:solidFill>
                    <a:srgbClr val="000000"/>
                  </a:solidFill>
                  <a:effectLst/>
                  <a:uLnTx/>
                  <a:uFillTx/>
                  <a:latin typeface="+mj-lt"/>
                  <a:ea typeface="+mn-ea"/>
                  <a:cs typeface="+mn-cs"/>
                </a:rPr>
                <a:t>Grade</a:t>
              </a:r>
            </a:p>
          </p:txBody>
        </p:sp>
        <p:grpSp>
          <p:nvGrpSpPr>
            <p:cNvPr id="36" name="Group 35">
              <a:extLst>
                <a:ext uri="{FF2B5EF4-FFF2-40B4-BE49-F238E27FC236}">
                  <a16:creationId xmlns:a16="http://schemas.microsoft.com/office/drawing/2014/main" id="{E88A216D-95DF-48FF-A5A8-666E936C1F63}"/>
                </a:ext>
              </a:extLst>
            </p:cNvPr>
            <p:cNvGrpSpPr>
              <a:grpSpLocks/>
            </p:cNvGrpSpPr>
            <p:nvPr/>
          </p:nvGrpSpPr>
          <p:grpSpPr bwMode="auto">
            <a:xfrm>
              <a:off x="2254195" y="1471138"/>
              <a:ext cx="9452453" cy="192279"/>
              <a:chOff x="351" y="1155"/>
              <a:chExt cx="2137" cy="159"/>
            </a:xfrm>
          </p:grpSpPr>
          <p:sp>
            <p:nvSpPr>
              <p:cNvPr id="37" name="Text Box 61">
                <a:extLst>
                  <a:ext uri="{FF2B5EF4-FFF2-40B4-BE49-F238E27FC236}">
                    <a16:creationId xmlns:a16="http://schemas.microsoft.com/office/drawing/2014/main" id="{5D513C43-AC8C-423A-83CC-14DAB6378663}"/>
                  </a:ext>
                </a:extLst>
              </p:cNvPr>
              <p:cNvSpPr txBox="1">
                <a:spLocks noChangeArrowheads="1"/>
              </p:cNvSpPr>
              <p:nvPr/>
            </p:nvSpPr>
            <p:spPr bwMode="auto">
              <a:xfrm>
                <a:off x="351" y="1158"/>
                <a:ext cx="26" cy="156"/>
              </a:xfrm>
              <a:prstGeom prst="rect">
                <a:avLst/>
              </a:prstGeom>
              <a:noFill/>
              <a:ln w="3175">
                <a:noFill/>
                <a:miter lim="800000"/>
                <a:headEnd/>
                <a:tailEnd/>
              </a:ln>
              <a:effectLst/>
            </p:spPr>
            <p:txBody>
              <a:bodyPr wrap="none" lIns="0" tIns="0" rIns="0" bIns="0" anchor="ctr">
                <a:spAutoFit/>
              </a:bodyPr>
              <a:lstStyle/>
              <a:p>
                <a:pPr marL="457200" marR="0" lvl="0" indent="-45720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6</a:t>
                </a:r>
              </a:p>
            </p:txBody>
          </p:sp>
          <p:sp>
            <p:nvSpPr>
              <p:cNvPr id="38" name="Text Box 62">
                <a:extLst>
                  <a:ext uri="{FF2B5EF4-FFF2-40B4-BE49-F238E27FC236}">
                    <a16:creationId xmlns:a16="http://schemas.microsoft.com/office/drawing/2014/main" id="{E4FCBA53-5373-446F-83A4-4D096B411285}"/>
                  </a:ext>
                </a:extLst>
              </p:cNvPr>
              <p:cNvSpPr txBox="1">
                <a:spLocks noChangeArrowheads="1"/>
              </p:cNvSpPr>
              <p:nvPr/>
            </p:nvSpPr>
            <p:spPr bwMode="auto">
              <a:xfrm>
                <a:off x="2471" y="1158"/>
                <a:ext cx="17" cy="156"/>
              </a:xfrm>
              <a:prstGeom prst="rect">
                <a:avLst/>
              </a:prstGeom>
              <a:noFill/>
              <a:ln w="3175">
                <a:noFill/>
                <a:miter lim="800000"/>
                <a:headEnd/>
                <a:tailEnd/>
              </a:ln>
              <a:effectLst/>
            </p:spPr>
            <p:txBody>
              <a:bodyPr wrap="none" lIns="0" tIns="0" rIns="0" bIns="0" anchor="ctr">
                <a:spAutoFit/>
              </a:bodyPr>
              <a:lstStyle/>
              <a:p>
                <a:pPr marL="457200" marR="0" lvl="0" indent="-45720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1</a:t>
                </a:r>
              </a:p>
            </p:txBody>
          </p:sp>
          <p:sp>
            <p:nvSpPr>
              <p:cNvPr id="39" name="Text Box 63">
                <a:extLst>
                  <a:ext uri="{FF2B5EF4-FFF2-40B4-BE49-F238E27FC236}">
                    <a16:creationId xmlns:a16="http://schemas.microsoft.com/office/drawing/2014/main" id="{B41E395A-67EA-4764-8E99-186182FC9CF3}"/>
                  </a:ext>
                </a:extLst>
              </p:cNvPr>
              <p:cNvSpPr txBox="1">
                <a:spLocks noChangeArrowheads="1"/>
              </p:cNvSpPr>
              <p:nvPr/>
            </p:nvSpPr>
            <p:spPr bwMode="auto">
              <a:xfrm>
                <a:off x="769" y="1158"/>
                <a:ext cx="25" cy="156"/>
              </a:xfrm>
              <a:prstGeom prst="rect">
                <a:avLst/>
              </a:prstGeom>
              <a:noFill/>
              <a:ln w="3175">
                <a:noFill/>
                <a:miter lim="800000"/>
                <a:headEnd/>
                <a:tailEnd/>
              </a:ln>
              <a:effectLst/>
            </p:spPr>
            <p:txBody>
              <a:bodyPr wrap="none" lIns="0" tIns="0" rIns="0" bIns="0" anchor="ctr">
                <a:spAutoFit/>
              </a:bodyPr>
              <a:lstStyle/>
              <a:p>
                <a:pPr marL="457200" marR="0" lvl="0" indent="-45720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5</a:t>
                </a:r>
              </a:p>
            </p:txBody>
          </p:sp>
          <p:sp>
            <p:nvSpPr>
              <p:cNvPr id="40" name="Text Box 64">
                <a:extLst>
                  <a:ext uri="{FF2B5EF4-FFF2-40B4-BE49-F238E27FC236}">
                    <a16:creationId xmlns:a16="http://schemas.microsoft.com/office/drawing/2014/main" id="{11FB0182-D22D-4FFC-ADE0-5ED6346B905C}"/>
                  </a:ext>
                </a:extLst>
              </p:cNvPr>
              <p:cNvSpPr txBox="1">
                <a:spLocks noChangeArrowheads="1"/>
              </p:cNvSpPr>
              <p:nvPr/>
            </p:nvSpPr>
            <p:spPr bwMode="auto">
              <a:xfrm>
                <a:off x="1201" y="1158"/>
                <a:ext cx="26" cy="156"/>
              </a:xfrm>
              <a:prstGeom prst="rect">
                <a:avLst/>
              </a:prstGeom>
              <a:noFill/>
              <a:ln w="3175">
                <a:noFill/>
                <a:miter lim="800000"/>
                <a:headEnd/>
                <a:tailEnd/>
              </a:ln>
              <a:effectLst/>
            </p:spPr>
            <p:txBody>
              <a:bodyPr wrap="none" lIns="0" tIns="0" rIns="0" bIns="0" anchor="ctr">
                <a:spAutoFit/>
              </a:bodyPr>
              <a:lstStyle/>
              <a:p>
                <a:pPr marL="457200" marR="0" lvl="0" indent="-45720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4</a:t>
                </a:r>
              </a:p>
            </p:txBody>
          </p:sp>
          <p:sp>
            <p:nvSpPr>
              <p:cNvPr id="41" name="Text Box 65">
                <a:extLst>
                  <a:ext uri="{FF2B5EF4-FFF2-40B4-BE49-F238E27FC236}">
                    <a16:creationId xmlns:a16="http://schemas.microsoft.com/office/drawing/2014/main" id="{FF4A73AC-E03D-4618-8F6F-D828BAD57F95}"/>
                  </a:ext>
                </a:extLst>
              </p:cNvPr>
              <p:cNvSpPr txBox="1">
                <a:spLocks noChangeArrowheads="1"/>
              </p:cNvSpPr>
              <p:nvPr/>
            </p:nvSpPr>
            <p:spPr bwMode="auto">
              <a:xfrm>
                <a:off x="1634" y="1155"/>
                <a:ext cx="25" cy="156"/>
              </a:xfrm>
              <a:prstGeom prst="rect">
                <a:avLst/>
              </a:prstGeom>
              <a:noFill/>
              <a:ln w="3175">
                <a:noFill/>
                <a:miter lim="800000"/>
                <a:headEnd/>
                <a:tailEnd/>
              </a:ln>
              <a:effectLst/>
            </p:spPr>
            <p:txBody>
              <a:bodyPr wrap="none" lIns="0" tIns="0" rIns="0" bIns="0" anchor="ctr">
                <a:spAutoFit/>
              </a:bodyPr>
              <a:lstStyle/>
              <a:p>
                <a:pPr marL="457200" marR="0" lvl="0" indent="-45720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3</a:t>
                </a:r>
              </a:p>
            </p:txBody>
          </p:sp>
          <p:sp>
            <p:nvSpPr>
              <p:cNvPr id="42" name="Text Box 66">
                <a:extLst>
                  <a:ext uri="{FF2B5EF4-FFF2-40B4-BE49-F238E27FC236}">
                    <a16:creationId xmlns:a16="http://schemas.microsoft.com/office/drawing/2014/main" id="{2DA3E2DA-E423-4B0C-A96F-970FFBF1E786}"/>
                  </a:ext>
                </a:extLst>
              </p:cNvPr>
              <p:cNvSpPr txBox="1">
                <a:spLocks noChangeArrowheads="1"/>
              </p:cNvSpPr>
              <p:nvPr/>
            </p:nvSpPr>
            <p:spPr bwMode="auto">
              <a:xfrm>
                <a:off x="2066" y="1158"/>
                <a:ext cx="23" cy="156"/>
              </a:xfrm>
              <a:prstGeom prst="rect">
                <a:avLst/>
              </a:prstGeom>
              <a:noFill/>
              <a:ln w="3175">
                <a:noFill/>
                <a:miter lim="800000"/>
                <a:headEnd/>
                <a:tailEnd/>
              </a:ln>
              <a:effectLst/>
            </p:spPr>
            <p:txBody>
              <a:bodyPr wrap="none" lIns="0" tIns="0" rIns="0" bIns="0" anchor="ctr">
                <a:spAutoFit/>
              </a:bodyPr>
              <a:lstStyle/>
              <a:p>
                <a:pPr marL="457200" marR="0" lvl="0" indent="-45720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2</a:t>
                </a:r>
              </a:p>
            </p:txBody>
          </p:sp>
        </p:grpSp>
      </p:grpSp>
      <p:grpSp>
        <p:nvGrpSpPr>
          <p:cNvPr id="6" name="Group 5" descr="Company 1">
            <a:extLst>
              <a:ext uri="{FF2B5EF4-FFF2-40B4-BE49-F238E27FC236}">
                <a16:creationId xmlns:a16="http://schemas.microsoft.com/office/drawing/2014/main" id="{1655A998-DA91-4565-93E9-43728215B940}"/>
              </a:ext>
            </a:extLst>
          </p:cNvPr>
          <p:cNvGrpSpPr/>
          <p:nvPr/>
        </p:nvGrpSpPr>
        <p:grpSpPr>
          <a:xfrm>
            <a:off x="2339076" y="4768606"/>
            <a:ext cx="2885262" cy="333769"/>
            <a:chOff x="2558463" y="4597667"/>
            <a:chExt cx="2920430" cy="333769"/>
          </a:xfrm>
        </p:grpSpPr>
        <p:sp>
          <p:nvSpPr>
            <p:cNvPr id="7" name="Text Box 35">
              <a:extLst>
                <a:ext uri="{FF2B5EF4-FFF2-40B4-BE49-F238E27FC236}">
                  <a16:creationId xmlns:a16="http://schemas.microsoft.com/office/drawing/2014/main" id="{EBA344ED-119B-456E-80A1-F73D26A97D11}"/>
                </a:ext>
              </a:extLst>
            </p:cNvPr>
            <p:cNvSpPr txBox="1">
              <a:spLocks noChangeArrowheads="1"/>
            </p:cNvSpPr>
            <p:nvPr/>
          </p:nvSpPr>
          <p:spPr bwMode="auto">
            <a:xfrm>
              <a:off x="3178490" y="4597667"/>
              <a:ext cx="2300403" cy="333769"/>
            </a:xfrm>
            <a:prstGeom prst="rect">
              <a:avLst/>
            </a:prstGeom>
            <a:noFill/>
            <a:ln w="3175">
              <a:noFill/>
              <a:miter lim="800000"/>
              <a:headEnd/>
              <a:tailEnd/>
            </a:ln>
            <a:effectLst/>
          </p:spPr>
          <p:txBody>
            <a:bodyPr wrap="none" lIns="45720" rIns="4572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Company 1</a:t>
              </a:r>
            </a:p>
          </p:txBody>
        </p:sp>
        <p:sp>
          <p:nvSpPr>
            <p:cNvPr id="8" name="Freeform 39">
              <a:extLst>
                <a:ext uri="{FF2B5EF4-FFF2-40B4-BE49-F238E27FC236}">
                  <a16:creationId xmlns:a16="http://schemas.microsoft.com/office/drawing/2014/main" id="{DBF3B09D-A0C5-460E-8EBD-5B76546C7952}"/>
                </a:ext>
              </a:extLst>
            </p:cNvPr>
            <p:cNvSpPr>
              <a:spLocks/>
            </p:cNvSpPr>
            <p:nvPr/>
          </p:nvSpPr>
          <p:spPr bwMode="auto">
            <a:xfrm>
              <a:off x="2558463" y="4754070"/>
              <a:ext cx="540000" cy="1613"/>
            </a:xfrm>
            <a:custGeom>
              <a:avLst/>
              <a:gdLst/>
              <a:ahLst/>
              <a:cxnLst>
                <a:cxn ang="0">
                  <a:pos x="0" y="0"/>
                </a:cxn>
                <a:cxn ang="0">
                  <a:pos x="301" y="0"/>
                </a:cxn>
              </a:cxnLst>
              <a:rect l="0" t="0" r="r" b="b"/>
              <a:pathLst>
                <a:path w="301" h="1">
                  <a:moveTo>
                    <a:pt x="0" y="0"/>
                  </a:moveTo>
                  <a:lnTo>
                    <a:pt x="301" y="0"/>
                  </a:lnTo>
                </a:path>
              </a:pathLst>
            </a:custGeom>
            <a:noFill/>
            <a:ln w="38100" cap="flat" cmpd="sng">
              <a:solidFill>
                <a:srgbClr val="A100FF"/>
              </a:solidFill>
              <a:prstDash val="sysDot"/>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ea typeface="+mn-ea"/>
                <a:cs typeface="+mn-cs"/>
              </a:endParaRPr>
            </a:p>
          </p:txBody>
        </p:sp>
      </p:grpSp>
      <p:grpSp>
        <p:nvGrpSpPr>
          <p:cNvPr id="9" name="Group 8" descr="Company 2">
            <a:extLst>
              <a:ext uri="{FF2B5EF4-FFF2-40B4-BE49-F238E27FC236}">
                <a16:creationId xmlns:a16="http://schemas.microsoft.com/office/drawing/2014/main" id="{CD3BA845-007F-4A7A-9AE3-556730CCA5FD}"/>
              </a:ext>
            </a:extLst>
          </p:cNvPr>
          <p:cNvGrpSpPr/>
          <p:nvPr/>
        </p:nvGrpSpPr>
        <p:grpSpPr>
          <a:xfrm>
            <a:off x="4527821" y="4768606"/>
            <a:ext cx="2885262" cy="333769"/>
            <a:chOff x="2558463" y="4931435"/>
            <a:chExt cx="2920430" cy="333769"/>
          </a:xfrm>
        </p:grpSpPr>
        <p:sp>
          <p:nvSpPr>
            <p:cNvPr id="10" name="Text Box 37">
              <a:extLst>
                <a:ext uri="{FF2B5EF4-FFF2-40B4-BE49-F238E27FC236}">
                  <a16:creationId xmlns:a16="http://schemas.microsoft.com/office/drawing/2014/main" id="{C5C6C7A6-F49B-43AE-96F4-142DD29970AD}"/>
                </a:ext>
              </a:extLst>
            </p:cNvPr>
            <p:cNvSpPr txBox="1">
              <a:spLocks noChangeArrowheads="1"/>
            </p:cNvSpPr>
            <p:nvPr/>
          </p:nvSpPr>
          <p:spPr bwMode="auto">
            <a:xfrm>
              <a:off x="3178490" y="4931435"/>
              <a:ext cx="2300403" cy="333769"/>
            </a:xfrm>
            <a:prstGeom prst="rect">
              <a:avLst/>
            </a:prstGeom>
            <a:noFill/>
            <a:ln w="3175">
              <a:noFill/>
              <a:miter lim="800000"/>
              <a:headEnd/>
              <a:tailEnd/>
            </a:ln>
            <a:effectLst/>
          </p:spPr>
          <p:txBody>
            <a:bodyPr wrap="none" lIns="45720" rIns="4572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Company 2</a:t>
              </a:r>
            </a:p>
          </p:txBody>
        </p:sp>
        <p:sp>
          <p:nvSpPr>
            <p:cNvPr id="11" name="Freeform 40">
              <a:extLst>
                <a:ext uri="{FF2B5EF4-FFF2-40B4-BE49-F238E27FC236}">
                  <a16:creationId xmlns:a16="http://schemas.microsoft.com/office/drawing/2014/main" id="{566E97E4-5AAA-417F-903A-4C798E33E293}"/>
                </a:ext>
              </a:extLst>
            </p:cNvPr>
            <p:cNvSpPr>
              <a:spLocks/>
            </p:cNvSpPr>
            <p:nvPr/>
          </p:nvSpPr>
          <p:spPr bwMode="auto">
            <a:xfrm>
              <a:off x="2558463" y="5087839"/>
              <a:ext cx="540000" cy="1613"/>
            </a:xfrm>
            <a:custGeom>
              <a:avLst/>
              <a:gdLst/>
              <a:ahLst/>
              <a:cxnLst>
                <a:cxn ang="0">
                  <a:pos x="0" y="0"/>
                </a:cxn>
                <a:cxn ang="0">
                  <a:pos x="301" y="0"/>
                </a:cxn>
              </a:cxnLst>
              <a:rect l="0" t="0" r="r" b="b"/>
              <a:pathLst>
                <a:path w="301" h="1">
                  <a:moveTo>
                    <a:pt x="0" y="0"/>
                  </a:moveTo>
                  <a:lnTo>
                    <a:pt x="301" y="0"/>
                  </a:lnTo>
                </a:path>
              </a:pathLst>
            </a:custGeom>
            <a:noFill/>
            <a:ln w="38100" cap="flat" cmpd="sng">
              <a:solidFill>
                <a:schemeClr val="accent3"/>
              </a:solidFill>
              <a:prstDash val="dash"/>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ea typeface="+mn-ea"/>
                <a:cs typeface="+mn-cs"/>
              </a:endParaRPr>
            </a:p>
          </p:txBody>
        </p:sp>
      </p:grpSp>
      <p:grpSp>
        <p:nvGrpSpPr>
          <p:cNvPr id="12" name="Group 11" descr="Company 3">
            <a:extLst>
              <a:ext uri="{FF2B5EF4-FFF2-40B4-BE49-F238E27FC236}">
                <a16:creationId xmlns:a16="http://schemas.microsoft.com/office/drawing/2014/main" id="{C4649875-34AA-478D-A448-46394480DBC2}"/>
              </a:ext>
            </a:extLst>
          </p:cNvPr>
          <p:cNvGrpSpPr/>
          <p:nvPr/>
        </p:nvGrpSpPr>
        <p:grpSpPr>
          <a:xfrm>
            <a:off x="6716539" y="4766993"/>
            <a:ext cx="2881980" cy="336994"/>
            <a:chOff x="6249806" y="4594443"/>
            <a:chExt cx="2917107" cy="336994"/>
          </a:xfrm>
        </p:grpSpPr>
        <p:sp>
          <p:nvSpPr>
            <p:cNvPr id="13" name="Text Box 36">
              <a:extLst>
                <a:ext uri="{FF2B5EF4-FFF2-40B4-BE49-F238E27FC236}">
                  <a16:creationId xmlns:a16="http://schemas.microsoft.com/office/drawing/2014/main" id="{685A0962-A62E-40B4-A723-EEF1D00A9A76}"/>
                </a:ext>
              </a:extLst>
            </p:cNvPr>
            <p:cNvSpPr txBox="1">
              <a:spLocks noChangeArrowheads="1"/>
            </p:cNvSpPr>
            <p:nvPr/>
          </p:nvSpPr>
          <p:spPr bwMode="auto">
            <a:xfrm>
              <a:off x="6866510" y="4594443"/>
              <a:ext cx="2300403" cy="336994"/>
            </a:xfrm>
            <a:prstGeom prst="rect">
              <a:avLst/>
            </a:prstGeom>
            <a:noFill/>
            <a:ln w="3175">
              <a:noFill/>
              <a:miter lim="800000"/>
              <a:headEnd/>
              <a:tailEnd/>
            </a:ln>
            <a:effectLst/>
          </p:spPr>
          <p:txBody>
            <a:bodyPr wrap="none" lIns="45720" rIns="4572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Company 3</a:t>
              </a:r>
            </a:p>
          </p:txBody>
        </p:sp>
        <p:sp>
          <p:nvSpPr>
            <p:cNvPr id="14" name="Freeform 41">
              <a:extLst>
                <a:ext uri="{FF2B5EF4-FFF2-40B4-BE49-F238E27FC236}">
                  <a16:creationId xmlns:a16="http://schemas.microsoft.com/office/drawing/2014/main" id="{93FC392B-A9D8-4761-8358-974B79CD771C}"/>
                </a:ext>
              </a:extLst>
            </p:cNvPr>
            <p:cNvSpPr>
              <a:spLocks/>
            </p:cNvSpPr>
            <p:nvPr/>
          </p:nvSpPr>
          <p:spPr bwMode="auto">
            <a:xfrm>
              <a:off x="6249806" y="4762133"/>
              <a:ext cx="540000" cy="1613"/>
            </a:xfrm>
            <a:custGeom>
              <a:avLst/>
              <a:gdLst/>
              <a:ahLst/>
              <a:cxnLst>
                <a:cxn ang="0">
                  <a:pos x="0" y="0"/>
                </a:cxn>
                <a:cxn ang="0">
                  <a:pos x="301" y="0"/>
                </a:cxn>
              </a:cxnLst>
              <a:rect l="0" t="0" r="r" b="b"/>
              <a:pathLst>
                <a:path w="301" h="1">
                  <a:moveTo>
                    <a:pt x="0" y="0"/>
                  </a:moveTo>
                  <a:lnTo>
                    <a:pt x="301" y="0"/>
                  </a:lnTo>
                </a:path>
              </a:pathLst>
            </a:custGeom>
            <a:noFill/>
            <a:ln w="38100" cap="flat" cmpd="sng">
              <a:solidFill>
                <a:srgbClr val="A055F5"/>
              </a:solidFill>
              <a:prstDash val="lgDashDot"/>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ea typeface="+mn-ea"/>
                <a:cs typeface="+mn-cs"/>
              </a:endParaRPr>
            </a:p>
          </p:txBody>
        </p:sp>
      </p:grpSp>
      <p:grpSp>
        <p:nvGrpSpPr>
          <p:cNvPr id="15" name="Group 14" descr="Average">
            <a:extLst>
              <a:ext uri="{FF2B5EF4-FFF2-40B4-BE49-F238E27FC236}">
                <a16:creationId xmlns:a16="http://schemas.microsoft.com/office/drawing/2014/main" id="{CB6593BA-A7A7-432C-82D0-89E19E5C5128}"/>
              </a:ext>
            </a:extLst>
          </p:cNvPr>
          <p:cNvGrpSpPr/>
          <p:nvPr/>
        </p:nvGrpSpPr>
        <p:grpSpPr>
          <a:xfrm>
            <a:off x="8901961" y="4768606"/>
            <a:ext cx="2881979" cy="333769"/>
            <a:chOff x="6249806" y="4931435"/>
            <a:chExt cx="2917106" cy="333769"/>
          </a:xfrm>
        </p:grpSpPr>
        <p:sp>
          <p:nvSpPr>
            <p:cNvPr id="16" name="Text Box 38">
              <a:extLst>
                <a:ext uri="{FF2B5EF4-FFF2-40B4-BE49-F238E27FC236}">
                  <a16:creationId xmlns:a16="http://schemas.microsoft.com/office/drawing/2014/main" id="{186788C4-A19F-4046-8E20-5E45F1631CC5}"/>
                </a:ext>
              </a:extLst>
            </p:cNvPr>
            <p:cNvSpPr txBox="1">
              <a:spLocks noChangeArrowheads="1"/>
            </p:cNvSpPr>
            <p:nvPr/>
          </p:nvSpPr>
          <p:spPr bwMode="auto">
            <a:xfrm>
              <a:off x="6866510" y="4931435"/>
              <a:ext cx="2300402" cy="333769"/>
            </a:xfrm>
            <a:prstGeom prst="rect">
              <a:avLst/>
            </a:prstGeom>
            <a:noFill/>
            <a:ln w="3175">
              <a:noFill/>
              <a:miter lim="800000"/>
              <a:headEnd/>
              <a:tailEnd/>
            </a:ln>
            <a:effectLst/>
          </p:spPr>
          <p:txBody>
            <a:bodyPr wrap="none" lIns="45720" rIns="4572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Average</a:t>
              </a:r>
            </a:p>
          </p:txBody>
        </p:sp>
        <p:sp>
          <p:nvSpPr>
            <p:cNvPr id="17" name="Freeform 42">
              <a:extLst>
                <a:ext uri="{FF2B5EF4-FFF2-40B4-BE49-F238E27FC236}">
                  <a16:creationId xmlns:a16="http://schemas.microsoft.com/office/drawing/2014/main" id="{4237061A-4CFE-4F5D-8CB9-6483E8A7E42D}"/>
                </a:ext>
              </a:extLst>
            </p:cNvPr>
            <p:cNvSpPr>
              <a:spLocks/>
            </p:cNvSpPr>
            <p:nvPr/>
          </p:nvSpPr>
          <p:spPr bwMode="auto">
            <a:xfrm>
              <a:off x="6249806" y="5097514"/>
              <a:ext cx="540000" cy="1613"/>
            </a:xfrm>
            <a:custGeom>
              <a:avLst/>
              <a:gdLst/>
              <a:ahLst/>
              <a:cxnLst>
                <a:cxn ang="0">
                  <a:pos x="0" y="0"/>
                </a:cxn>
                <a:cxn ang="0">
                  <a:pos x="301" y="0"/>
                </a:cxn>
              </a:cxnLst>
              <a:rect l="0" t="0" r="r" b="b"/>
              <a:pathLst>
                <a:path w="301" h="1">
                  <a:moveTo>
                    <a:pt x="0" y="0"/>
                  </a:moveTo>
                  <a:lnTo>
                    <a:pt x="301" y="0"/>
                  </a:lnTo>
                </a:path>
              </a:pathLst>
            </a:custGeom>
            <a:noFill/>
            <a:ln w="38100" cap="flat" cmpd="sng">
              <a:solidFill>
                <a:srgbClr val="B455AA"/>
              </a:solidFill>
              <a:prstDash val="solid"/>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ea typeface="+mn-ea"/>
                <a:cs typeface="+mn-cs"/>
              </a:endParaRPr>
            </a:p>
          </p:txBody>
        </p:sp>
      </p:grpSp>
      <p:sp>
        <p:nvSpPr>
          <p:cNvPr id="5" name="Rectangle 3">
            <a:extLst>
              <a:ext uri="{FF2B5EF4-FFF2-40B4-BE49-F238E27FC236}">
                <a16:creationId xmlns:a16="http://schemas.microsoft.com/office/drawing/2014/main" id="{33D6B874-6753-43C8-BC1E-2C30A2B0A889}"/>
              </a:ext>
            </a:extLst>
          </p:cNvPr>
          <p:cNvSpPr>
            <a:spLocks noChangeArrowheads="1"/>
          </p:cNvSpPr>
          <p:nvPr/>
        </p:nvSpPr>
        <p:spPr bwMode="auto">
          <a:xfrm>
            <a:off x="341856" y="5299497"/>
            <a:ext cx="4721757" cy="1090143"/>
          </a:xfrm>
          <a:prstGeom prst="rect">
            <a:avLst/>
          </a:prstGeom>
          <a:solidFill>
            <a:srgbClr val="FFFFFF">
              <a:lumMod val="95000"/>
            </a:srgbClr>
          </a:solidFill>
          <a:ln w="3175">
            <a:noFill/>
            <a:miter lim="800000"/>
            <a:headEnd/>
            <a:tailEnd/>
          </a:ln>
          <a:effectLst/>
        </p:spPr>
        <p:txBody>
          <a:bodyPr wrap="square" lIns="108000" tIns="108000" rIns="72000" bIns="108000" anchor="b"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IE" sz="1000" b="0" i="0" u="none" strike="noStrike" kern="0" cap="none" spc="0" normalizeH="0" baseline="0" noProof="0" dirty="0">
                <a:ln>
                  <a:noFill/>
                </a:ln>
                <a:solidFill>
                  <a:srgbClr val="000000"/>
                </a:solidFill>
                <a:effectLst/>
                <a:uLnTx/>
                <a:uFillTx/>
                <a:ea typeface="+mn-ea"/>
                <a:cs typeface="+mn-cs"/>
              </a:rPr>
              <a:t>1	Right-click onto the </a:t>
            </a:r>
            <a:r>
              <a:rPr kumimoji="0" lang="en-IE" sz="1000" b="0" i="0" u="none" strike="noStrike" kern="0" cap="none" spc="0" normalizeH="0" baseline="0" noProof="0" dirty="0" err="1">
                <a:ln>
                  <a:noFill/>
                </a:ln>
                <a:solidFill>
                  <a:srgbClr val="000000"/>
                </a:solidFill>
                <a:effectLst/>
                <a:uLnTx/>
                <a:uFillTx/>
                <a:ea typeface="+mn-ea"/>
                <a:cs typeface="+mn-cs"/>
              </a:rPr>
              <a:t>colored</a:t>
            </a:r>
            <a:r>
              <a:rPr kumimoji="0" lang="en-IE" sz="1000" b="0" i="0" u="none" strike="noStrike" kern="0" cap="none" spc="0" normalizeH="0" baseline="0" noProof="0" dirty="0">
                <a:ln>
                  <a:noFill/>
                </a:ln>
                <a:solidFill>
                  <a:srgbClr val="000000"/>
                </a:solidFill>
                <a:effectLst/>
                <a:uLnTx/>
                <a:uFillTx/>
                <a:ea typeface="+mn-ea"/>
                <a:cs typeface="+mn-cs"/>
              </a:rPr>
              <a:t> lines and select “edit points“</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IE" sz="1000" b="0" i="0" u="none" strike="noStrike" kern="0" cap="none" spc="0" normalizeH="0" baseline="0" noProof="0" dirty="0">
                <a:ln>
                  <a:noFill/>
                </a:ln>
                <a:solidFill>
                  <a:srgbClr val="000000"/>
                </a:solidFill>
                <a:effectLst/>
                <a:uLnTx/>
                <a:uFillTx/>
                <a:ea typeface="+mn-ea"/>
                <a:cs typeface="+mn-cs"/>
              </a:rPr>
              <a:t>2	Click onto appearing black points and move them to desired position</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IE" sz="1000" b="0" i="0" u="none" strike="noStrike" kern="0" cap="none" spc="0" normalizeH="0" baseline="0" noProof="0" dirty="0">
                <a:ln>
                  <a:noFill/>
                </a:ln>
                <a:solidFill>
                  <a:srgbClr val="000000"/>
                </a:solidFill>
                <a:effectLst/>
                <a:uLnTx/>
                <a:uFillTx/>
                <a:ea typeface="+mn-ea"/>
                <a:cs typeface="+mn-cs"/>
              </a:rPr>
              <a:t>3	Edit company names manually </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IE" sz="1000" b="0" i="0" u="none" strike="noStrike" kern="0" cap="none" spc="0" normalizeH="0" baseline="0" noProof="0" dirty="0">
                <a:ln>
                  <a:noFill/>
                </a:ln>
                <a:solidFill>
                  <a:srgbClr val="000000"/>
                </a:solidFill>
                <a:effectLst/>
                <a:uLnTx/>
                <a:uFillTx/>
                <a:ea typeface="+mn-ea"/>
                <a:cs typeface="+mn-cs"/>
              </a:rPr>
              <a:t>4	Edit attributes manually </a:t>
            </a:r>
          </a:p>
        </p:txBody>
      </p:sp>
      <p:sp>
        <p:nvSpPr>
          <p:cNvPr id="74" name="Footer Placeholder 73">
            <a:extLst>
              <a:ext uri="{FF2B5EF4-FFF2-40B4-BE49-F238E27FC236}">
                <a16:creationId xmlns:a16="http://schemas.microsoft.com/office/drawing/2014/main" id="{54DDC004-6152-42A1-9485-063DF11058A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75" name="Slide Number Placeholder 74">
            <a:extLst>
              <a:ext uri="{FF2B5EF4-FFF2-40B4-BE49-F238E27FC236}">
                <a16:creationId xmlns:a16="http://schemas.microsoft.com/office/drawing/2014/main" id="{A2A78749-4466-491B-B30F-2395C7BDC5D4}"/>
              </a:ext>
            </a:extLst>
          </p:cNvPr>
          <p:cNvSpPr>
            <a:spLocks noGrp="1"/>
          </p:cNvSpPr>
          <p:nvPr>
            <p:ph type="sldNum" sz="quarter" idx="10"/>
          </p:nvPr>
        </p:nvSpPr>
        <p:spPr/>
        <p:txBody>
          <a:bodyPr/>
          <a:lstStyle/>
          <a:p>
            <a:fld id="{1F90F471-3972-4120-B8B3-0237DE626C35}" type="slidenum">
              <a:rPr lang="en-US" smtClean="0"/>
              <a:pPr/>
              <a:t>419</a:t>
            </a:fld>
            <a:endParaRPr lang="en-US" dirty="0"/>
          </a:p>
        </p:txBody>
      </p:sp>
    </p:spTree>
    <p:extLst>
      <p:ext uri="{BB962C8B-B14F-4D97-AF65-F5344CB8AC3E}">
        <p14:creationId xmlns:p14="http://schemas.microsoft.com/office/powerpoint/2010/main" val="9666758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F9A018-0BC3-4F96-914A-D23A62083551}"/>
              </a:ext>
            </a:extLst>
          </p:cNvPr>
          <p:cNvSpPr>
            <a:spLocks noGrp="1"/>
          </p:cNvSpPr>
          <p:nvPr>
            <p:ph type="title"/>
          </p:nvPr>
        </p:nvSpPr>
        <p:spPr/>
        <p:txBody>
          <a:bodyPr/>
          <a:lstStyle/>
          <a:p>
            <a:r>
              <a:rPr lang="en-GB" dirty="0"/>
              <a:t>Place headline here (36pt, min 30pt)</a:t>
            </a:r>
            <a:endParaRPr lang="en-US" dirty="0"/>
          </a:p>
        </p:txBody>
      </p:sp>
      <p:sp>
        <p:nvSpPr>
          <p:cNvPr id="3" name="Content Placeholder 2">
            <a:extLst>
              <a:ext uri="{FF2B5EF4-FFF2-40B4-BE49-F238E27FC236}">
                <a16:creationId xmlns:a16="http://schemas.microsoft.com/office/drawing/2014/main" id="{D6E9F938-87A0-4C51-B5EB-C97E99FC2612}"/>
              </a:ext>
            </a:extLst>
          </p:cNvPr>
          <p:cNvSpPr>
            <a:spLocks noGrp="1"/>
          </p:cNvSpPr>
          <p:nvPr>
            <p:ph sz="half" idx="2"/>
          </p:nvPr>
        </p:nvSpPr>
        <p:spPr/>
        <p:txBody>
          <a:body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4" name="Content Placeholder 3">
            <a:extLst>
              <a:ext uri="{FF2B5EF4-FFF2-40B4-BE49-F238E27FC236}">
                <a16:creationId xmlns:a16="http://schemas.microsoft.com/office/drawing/2014/main" id="{A082F333-383B-452D-B2A2-55355FADE777}"/>
              </a:ext>
            </a:extLst>
          </p:cNvPr>
          <p:cNvSpPr>
            <a:spLocks noGrp="1"/>
          </p:cNvSpPr>
          <p:nvPr>
            <p:ph sz="half" idx="18"/>
          </p:nvPr>
        </p:nvSpPr>
        <p:spPr/>
        <p:txBody>
          <a:body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5" name="Footer Placeholder 4">
            <a:extLst>
              <a:ext uri="{FF2B5EF4-FFF2-40B4-BE49-F238E27FC236}">
                <a16:creationId xmlns:a16="http://schemas.microsoft.com/office/drawing/2014/main" id="{C09B2E00-BABD-4FDF-A7D0-9CE41BD3238F}"/>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69968806-7B7E-42FB-8D00-B76F34108AF5}"/>
              </a:ext>
            </a:extLst>
          </p:cNvPr>
          <p:cNvSpPr>
            <a:spLocks noGrp="1"/>
          </p:cNvSpPr>
          <p:nvPr>
            <p:ph type="sldNum" sz="quarter" idx="20"/>
          </p:nvPr>
        </p:nvSpPr>
        <p:spPr/>
        <p:txBody>
          <a:bodyPr/>
          <a:lstStyle/>
          <a:p>
            <a:fld id="{1F90F471-3972-4120-B8B3-0237DE626C35}" type="slidenum">
              <a:rPr lang="en-US" smtClean="0"/>
              <a:pPr/>
              <a:t>42</a:t>
            </a:fld>
            <a:endParaRPr lang="en-US" dirty="0"/>
          </a:p>
        </p:txBody>
      </p:sp>
    </p:spTree>
    <p:extLst>
      <p:ext uri="{BB962C8B-B14F-4D97-AF65-F5344CB8AC3E}">
        <p14:creationId xmlns:p14="http://schemas.microsoft.com/office/powerpoint/2010/main" val="1577179490"/>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descr="Add text and order accordingly">
            <a:hlinkClick r:id="rId2" action="ppaction://hlinksldjump" tooltip="Return to Index"/>
            <a:extLst>
              <a:ext uri="{FF2B5EF4-FFF2-40B4-BE49-F238E27FC236}">
                <a16:creationId xmlns:a16="http://schemas.microsoft.com/office/drawing/2014/main" id="{0DE3F75C-CF1B-47BB-A358-FF97AF03C85D}"/>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itle 6">
            <a:extLst>
              <a:ext uri="{FF2B5EF4-FFF2-40B4-BE49-F238E27FC236}">
                <a16:creationId xmlns:a16="http://schemas.microsoft.com/office/drawing/2014/main" id="{F7C4124B-B9D5-4FB9-AA46-3262DD2B40DB}"/>
              </a:ext>
            </a:extLst>
          </p:cNvPr>
          <p:cNvSpPr>
            <a:spLocks noGrp="1"/>
          </p:cNvSpPr>
          <p:nvPr>
            <p:ph type="title"/>
          </p:nvPr>
        </p:nvSpPr>
        <p:spPr/>
        <p:txBody>
          <a:bodyPr/>
          <a:lstStyle/>
          <a:p>
            <a:r>
              <a:rPr lang="en-US" dirty="0"/>
              <a:t>Illustrative Graphs and Frameworks</a:t>
            </a:r>
          </a:p>
        </p:txBody>
      </p:sp>
      <p:sp>
        <p:nvSpPr>
          <p:cNvPr id="9" name="Text Placeholder 8">
            <a:extLst>
              <a:ext uri="{FF2B5EF4-FFF2-40B4-BE49-F238E27FC236}">
                <a16:creationId xmlns:a16="http://schemas.microsoft.com/office/drawing/2014/main" id="{1265ADBE-657A-4DC7-A6A6-2F0E697C4723}"/>
              </a:ext>
            </a:extLst>
          </p:cNvPr>
          <p:cNvSpPr>
            <a:spLocks noGrp="1"/>
          </p:cNvSpPr>
          <p:nvPr>
            <p:ph type="body" sz="quarter" idx="15"/>
          </p:nvPr>
        </p:nvSpPr>
        <p:spPr/>
        <p:txBody>
          <a:bodyPr/>
          <a:lstStyle/>
          <a:p>
            <a:r>
              <a:rPr lang="en-US" dirty="0"/>
              <a:t>Part of </a:t>
            </a:r>
            <a:br>
              <a:rPr lang="en-US" dirty="0"/>
            </a:br>
            <a:r>
              <a:rPr lang="en-US" dirty="0">
                <a:hlinkClick r:id="rId3" action="ppaction://hlinksldjump">
                  <a:extLst>
                    <a:ext uri="{A12FA001-AC4F-418D-AE19-62706E023703}">
                      <ahyp:hlinkClr xmlns:ahyp="http://schemas.microsoft.com/office/drawing/2018/hyperlinkcolor" val="tx"/>
                    </a:ext>
                  </a:extLst>
                </a:hlinkClick>
              </a:rPr>
              <a:t>Standard Visuals</a:t>
            </a:r>
            <a:endParaRPr lang="en-US" dirty="0"/>
          </a:p>
        </p:txBody>
      </p:sp>
      <p:sp>
        <p:nvSpPr>
          <p:cNvPr id="5" name="Footer Placeholder 4">
            <a:extLst>
              <a:ext uri="{FF2B5EF4-FFF2-40B4-BE49-F238E27FC236}">
                <a16:creationId xmlns:a16="http://schemas.microsoft.com/office/drawing/2014/main" id="{9DC78945-A645-4563-BCA9-927812C9C4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BEE2891-AE3F-4D8A-B562-5662B242B3DF}"/>
              </a:ext>
            </a:extLst>
          </p:cNvPr>
          <p:cNvSpPr>
            <a:spLocks noGrp="1"/>
          </p:cNvSpPr>
          <p:nvPr>
            <p:ph type="sldNum" sz="quarter" idx="17"/>
          </p:nvPr>
        </p:nvSpPr>
        <p:spPr/>
        <p:txBody>
          <a:bodyPr/>
          <a:lstStyle/>
          <a:p>
            <a:fld id="{1F90F471-3972-4120-B8B3-0237DE626C35}" type="slidenum">
              <a:rPr lang="en-US" smtClean="0"/>
              <a:pPr/>
              <a:t>420</a:t>
            </a:fld>
            <a:endParaRPr lang="en-US" dirty="0"/>
          </a:p>
        </p:txBody>
      </p:sp>
    </p:spTree>
    <p:extLst>
      <p:ext uri="{BB962C8B-B14F-4D97-AF65-F5344CB8AC3E}">
        <p14:creationId xmlns:p14="http://schemas.microsoft.com/office/powerpoint/2010/main" val="253360225"/>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2x2 Matrix</a:t>
            </a:r>
          </a:p>
        </p:txBody>
      </p:sp>
      <p:sp>
        <p:nvSpPr>
          <p:cNvPr id="9" name="Text Box 8">
            <a:extLst>
              <a:ext uri="{FF2B5EF4-FFF2-40B4-BE49-F238E27FC236}">
                <a16:creationId xmlns:a16="http://schemas.microsoft.com/office/drawing/2014/main" id="{2A7E0094-B1DB-4670-BCD4-88924722FA46}"/>
              </a:ext>
            </a:extLst>
          </p:cNvPr>
          <p:cNvSpPr txBox="1">
            <a:spLocks noChangeAspect="1" noChangeArrowheads="1"/>
          </p:cNvSpPr>
          <p:nvPr/>
        </p:nvSpPr>
        <p:spPr bwMode="auto">
          <a:xfrm>
            <a:off x="3287487" y="1618580"/>
            <a:ext cx="595313" cy="333375"/>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High</a:t>
            </a:r>
            <a:endParaRPr kumimoji="0" lang="en-US" sz="1400" b="1" i="0" u="none" strike="noStrike" kern="0" cap="none" spc="0" normalizeH="0" baseline="0" noProof="0" dirty="0">
              <a:ln>
                <a:noFill/>
              </a:ln>
              <a:solidFill>
                <a:srgbClr val="000000"/>
              </a:solidFill>
              <a:effectLst/>
              <a:uLnTx/>
              <a:uFillTx/>
              <a:ea typeface="+mn-ea"/>
              <a:cs typeface="+mn-cs"/>
            </a:endParaRPr>
          </a:p>
        </p:txBody>
      </p:sp>
      <p:sp>
        <p:nvSpPr>
          <p:cNvPr id="8" name="Rectangle 7">
            <a:extLst>
              <a:ext uri="{FF2B5EF4-FFF2-40B4-BE49-F238E27FC236}">
                <a16:creationId xmlns:a16="http://schemas.microsoft.com/office/drawing/2014/main" id="{17BE1C35-0413-4C9B-AF1F-8C385C2E0946}"/>
              </a:ext>
              <a:ext uri="{C183D7F6-B498-43B3-948B-1728B52AA6E4}">
                <adec:decorative xmlns:adec="http://schemas.microsoft.com/office/drawing/2017/decorative" val="1"/>
              </a:ext>
            </a:extLst>
          </p:cNvPr>
          <p:cNvSpPr>
            <a:spLocks noChangeAspect="1" noChangeArrowheads="1"/>
          </p:cNvSpPr>
          <p:nvPr/>
        </p:nvSpPr>
        <p:spPr bwMode="auto">
          <a:xfrm>
            <a:off x="3882800" y="1618580"/>
            <a:ext cx="1979613" cy="1998663"/>
          </a:xfrm>
          <a:prstGeom prst="rect">
            <a:avLst/>
          </a:prstGeom>
          <a:solidFill>
            <a:srgbClr val="E4E7E7"/>
          </a:solidFill>
          <a:ln w="6350">
            <a:solidFill>
              <a:srgbClr val="FFFFFF"/>
            </a:solidFill>
            <a:miter lim="800000"/>
            <a:headEnd/>
            <a:tailEnd/>
          </a:ln>
          <a:effectLst/>
        </p:spPr>
        <p:txBody>
          <a:bodyPr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7" name="Rectangle 6">
            <a:extLst>
              <a:ext uri="{FF2B5EF4-FFF2-40B4-BE49-F238E27FC236}">
                <a16:creationId xmlns:a16="http://schemas.microsoft.com/office/drawing/2014/main" id="{151D0CA0-AEC4-499D-B515-1A88D509F20D}"/>
              </a:ext>
              <a:ext uri="{C183D7F6-B498-43B3-948B-1728B52AA6E4}">
                <adec:decorative xmlns:adec="http://schemas.microsoft.com/office/drawing/2017/decorative" val="1"/>
              </a:ext>
            </a:extLst>
          </p:cNvPr>
          <p:cNvSpPr>
            <a:spLocks noChangeAspect="1" noChangeArrowheads="1"/>
          </p:cNvSpPr>
          <p:nvPr/>
        </p:nvSpPr>
        <p:spPr bwMode="auto">
          <a:xfrm>
            <a:off x="5862412" y="1618580"/>
            <a:ext cx="1979613" cy="1998663"/>
          </a:xfrm>
          <a:prstGeom prst="rect">
            <a:avLst/>
          </a:prstGeom>
          <a:solidFill>
            <a:srgbClr val="B455AA">
              <a:lumMod val="40000"/>
              <a:lumOff val="60000"/>
            </a:srgbClr>
          </a:solidFill>
          <a:ln w="6350">
            <a:solidFill>
              <a:srgbClr val="FFFFFF"/>
            </a:solidFill>
            <a:miter lim="800000"/>
            <a:headEnd/>
            <a:tailEnd/>
          </a:ln>
          <a:effectLst/>
        </p:spPr>
        <p:txBody>
          <a:bodyPr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6" name="Rectangle 5">
            <a:extLst>
              <a:ext uri="{FF2B5EF4-FFF2-40B4-BE49-F238E27FC236}">
                <a16:creationId xmlns:a16="http://schemas.microsoft.com/office/drawing/2014/main" id="{4281B7D2-8B9E-4395-8546-9561EC80FB70}"/>
              </a:ext>
              <a:ext uri="{C183D7F6-B498-43B3-948B-1728B52AA6E4}">
                <adec:decorative xmlns:adec="http://schemas.microsoft.com/office/drawing/2017/decorative" val="1"/>
              </a:ext>
            </a:extLst>
          </p:cNvPr>
          <p:cNvSpPr>
            <a:spLocks noChangeAspect="1" noChangeArrowheads="1"/>
          </p:cNvSpPr>
          <p:nvPr/>
        </p:nvSpPr>
        <p:spPr bwMode="auto">
          <a:xfrm>
            <a:off x="3882800" y="3617243"/>
            <a:ext cx="1979613" cy="1998663"/>
          </a:xfrm>
          <a:prstGeom prst="rect">
            <a:avLst/>
          </a:prstGeom>
          <a:solidFill>
            <a:srgbClr val="E4E7E7"/>
          </a:solidFill>
          <a:ln w="6350">
            <a:solidFill>
              <a:srgbClr val="FFFFFF"/>
            </a:solidFill>
            <a:miter lim="800000"/>
            <a:headEnd/>
            <a:tailEnd/>
          </a:ln>
          <a:effectLst/>
        </p:spPr>
        <p:txBody>
          <a:bodyPr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5" name="Rectangle 4">
            <a:extLst>
              <a:ext uri="{FF2B5EF4-FFF2-40B4-BE49-F238E27FC236}">
                <a16:creationId xmlns:a16="http://schemas.microsoft.com/office/drawing/2014/main" id="{F6B166F0-FE5C-43E3-B857-941CA180F996}"/>
              </a:ext>
              <a:ext uri="{C183D7F6-B498-43B3-948B-1728B52AA6E4}">
                <adec:decorative xmlns:adec="http://schemas.microsoft.com/office/drawing/2017/decorative" val="1"/>
              </a:ext>
            </a:extLst>
          </p:cNvPr>
          <p:cNvSpPr>
            <a:spLocks noChangeAspect="1" noChangeArrowheads="1"/>
          </p:cNvSpPr>
          <p:nvPr/>
        </p:nvSpPr>
        <p:spPr bwMode="auto">
          <a:xfrm>
            <a:off x="5862412" y="3617243"/>
            <a:ext cx="1979613" cy="1998663"/>
          </a:xfrm>
          <a:prstGeom prst="rect">
            <a:avLst/>
          </a:prstGeom>
          <a:solidFill>
            <a:srgbClr val="E4E7E7"/>
          </a:solidFill>
          <a:ln w="6350">
            <a:solidFill>
              <a:srgbClr val="FFFFFF"/>
            </a:solidFill>
            <a:miter lim="800000"/>
            <a:headEnd/>
            <a:tailEnd/>
          </a:ln>
          <a:effectLst/>
        </p:spPr>
        <p:txBody>
          <a:bodyPr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22" name="Text Box 21">
            <a:extLst>
              <a:ext uri="{FF2B5EF4-FFF2-40B4-BE49-F238E27FC236}">
                <a16:creationId xmlns:a16="http://schemas.microsoft.com/office/drawing/2014/main" id="{56146CBA-88EF-4C19-9079-B522F3DBEE5E}"/>
              </a:ext>
            </a:extLst>
          </p:cNvPr>
          <p:cNvSpPr txBox="1">
            <a:spLocks noChangeArrowheads="1"/>
          </p:cNvSpPr>
          <p:nvPr/>
        </p:nvSpPr>
        <p:spPr bwMode="auto">
          <a:xfrm>
            <a:off x="4108225" y="2456780"/>
            <a:ext cx="1014413" cy="319088"/>
          </a:xfrm>
          <a:prstGeom prst="rect">
            <a:avLst/>
          </a:prstGeom>
          <a:noFill/>
          <a:ln w="6350">
            <a:noFill/>
            <a:miter lim="800000"/>
            <a:headEnd type="none" w="sm" len="sm"/>
            <a:tailEnd type="none" w="sm" len="sm"/>
          </a:ln>
          <a:effectLst/>
        </p:spPr>
        <p:txBody>
          <a:bodyPr wrap="none" lIns="45720" rIns="45720"/>
          <a:lstStyle/>
          <a:p>
            <a:pPr marL="117475" marR="0" lvl="0" indent="-117475" algn="l" defTabSz="914400" rtl="0" eaLnBrk="0" fontAlgn="auto" latinLnBrk="0" hangingPunct="0">
              <a:lnSpc>
                <a:spcPct val="100000"/>
              </a:lnSpc>
              <a:spcBef>
                <a:spcPct val="0"/>
              </a:spcBef>
              <a:spcAft>
                <a:spcPts val="0"/>
              </a:spcAft>
              <a:buClr>
                <a:srgbClr val="DCAFFF"/>
              </a:buClr>
              <a:buSzTx/>
              <a:buFont typeface="Wingdings" pitchFamily="2" charset="2"/>
              <a:buChar char="w"/>
              <a:tabLst/>
              <a:defRPr/>
            </a:pPr>
            <a:r>
              <a:rPr kumimoji="0" lang="en-US" sz="1400" b="0" i="0" u="none" strike="noStrike" kern="0" cap="none" spc="0" normalizeH="0" baseline="0" noProof="0" dirty="0">
                <a:ln>
                  <a:noFill/>
                </a:ln>
                <a:solidFill>
                  <a:srgbClr val="000000"/>
                </a:solidFill>
                <a:effectLst/>
                <a:uLnTx/>
                <a:uFillTx/>
                <a:ea typeface="+mn-ea"/>
                <a:cs typeface="+mn-cs"/>
              </a:rPr>
              <a:t>Product 1</a:t>
            </a:r>
          </a:p>
        </p:txBody>
      </p:sp>
      <p:sp>
        <p:nvSpPr>
          <p:cNvPr id="15" name="Text Box 14">
            <a:extLst>
              <a:ext uri="{FF2B5EF4-FFF2-40B4-BE49-F238E27FC236}">
                <a16:creationId xmlns:a16="http://schemas.microsoft.com/office/drawing/2014/main" id="{8FDA90BE-9014-4D47-93C2-C3AD050DED7B}"/>
              </a:ext>
            </a:extLst>
          </p:cNvPr>
          <p:cNvSpPr txBox="1">
            <a:spLocks noChangeArrowheads="1"/>
          </p:cNvSpPr>
          <p:nvPr/>
        </p:nvSpPr>
        <p:spPr bwMode="auto">
          <a:xfrm>
            <a:off x="4681312" y="3372768"/>
            <a:ext cx="1014413" cy="319088"/>
          </a:xfrm>
          <a:prstGeom prst="rect">
            <a:avLst/>
          </a:prstGeom>
          <a:noFill/>
          <a:ln w="6350">
            <a:noFill/>
            <a:miter lim="800000"/>
            <a:headEnd type="none" w="sm" len="sm"/>
            <a:tailEnd type="none" w="sm" len="sm"/>
          </a:ln>
          <a:effectLst/>
        </p:spPr>
        <p:txBody>
          <a:bodyPr wrap="none" lIns="45720" rIns="45720"/>
          <a:lstStyle/>
          <a:p>
            <a:pPr marL="117475" marR="0" lvl="0" indent="-117475" algn="l" defTabSz="914400" rtl="0" eaLnBrk="0" fontAlgn="auto" latinLnBrk="0" hangingPunct="0">
              <a:lnSpc>
                <a:spcPct val="100000"/>
              </a:lnSpc>
              <a:spcBef>
                <a:spcPct val="0"/>
              </a:spcBef>
              <a:spcAft>
                <a:spcPts val="0"/>
              </a:spcAft>
              <a:buClr>
                <a:srgbClr val="DCAFFF"/>
              </a:buClr>
              <a:buSzTx/>
              <a:buFont typeface="Wingdings" pitchFamily="2" charset="2"/>
              <a:buChar char="w"/>
              <a:tabLst/>
              <a:defRPr/>
            </a:pPr>
            <a:r>
              <a:rPr kumimoji="0" lang="en-US" sz="1400" b="0" i="0" u="none" strike="noStrike" kern="0" cap="none" spc="0" normalizeH="0" baseline="0" noProof="0" dirty="0">
                <a:ln>
                  <a:noFill/>
                </a:ln>
                <a:solidFill>
                  <a:srgbClr val="000000"/>
                </a:solidFill>
                <a:effectLst/>
                <a:uLnTx/>
                <a:uFillTx/>
                <a:ea typeface="+mn-ea"/>
                <a:cs typeface="+mn-cs"/>
              </a:rPr>
              <a:t>Product 2</a:t>
            </a:r>
          </a:p>
        </p:txBody>
      </p:sp>
      <p:sp>
        <p:nvSpPr>
          <p:cNvPr id="23" name="Text Box 22">
            <a:extLst>
              <a:ext uri="{FF2B5EF4-FFF2-40B4-BE49-F238E27FC236}">
                <a16:creationId xmlns:a16="http://schemas.microsoft.com/office/drawing/2014/main" id="{9FBA87D9-B4F7-4900-9D31-74B56BAD92E0}"/>
              </a:ext>
            </a:extLst>
          </p:cNvPr>
          <p:cNvSpPr txBox="1">
            <a:spLocks noChangeArrowheads="1"/>
          </p:cNvSpPr>
          <p:nvPr/>
        </p:nvSpPr>
        <p:spPr bwMode="auto">
          <a:xfrm>
            <a:off x="5136925" y="3937918"/>
            <a:ext cx="1014413" cy="319088"/>
          </a:xfrm>
          <a:prstGeom prst="rect">
            <a:avLst/>
          </a:prstGeom>
          <a:noFill/>
          <a:ln w="6350">
            <a:noFill/>
            <a:miter lim="800000"/>
            <a:headEnd type="none" w="sm" len="sm"/>
            <a:tailEnd type="none" w="sm" len="sm"/>
          </a:ln>
          <a:effectLst/>
        </p:spPr>
        <p:txBody>
          <a:bodyPr wrap="none" lIns="45720" rIns="45720"/>
          <a:lstStyle/>
          <a:p>
            <a:pPr marL="117475" marR="0" lvl="0" indent="-117475" algn="l" defTabSz="914400" rtl="0" eaLnBrk="0" fontAlgn="auto" latinLnBrk="0" hangingPunct="0">
              <a:lnSpc>
                <a:spcPct val="100000"/>
              </a:lnSpc>
              <a:spcBef>
                <a:spcPct val="0"/>
              </a:spcBef>
              <a:spcAft>
                <a:spcPts val="0"/>
              </a:spcAft>
              <a:buClr>
                <a:srgbClr val="DCAFFF"/>
              </a:buClr>
              <a:buSzTx/>
              <a:buFont typeface="Wingdings" pitchFamily="2" charset="2"/>
              <a:buChar char="w"/>
              <a:tabLst/>
              <a:defRPr/>
            </a:pPr>
            <a:r>
              <a:rPr kumimoji="0" lang="en-US" sz="1400" b="0" i="0" u="none" strike="noStrike" kern="0" cap="none" spc="0" normalizeH="0" baseline="0" noProof="0">
                <a:ln>
                  <a:noFill/>
                </a:ln>
                <a:solidFill>
                  <a:srgbClr val="000000"/>
                </a:solidFill>
                <a:effectLst/>
                <a:uLnTx/>
                <a:uFillTx/>
                <a:ea typeface="+mn-ea"/>
                <a:cs typeface="+mn-cs"/>
              </a:rPr>
              <a:t>Product 3</a:t>
            </a:r>
          </a:p>
        </p:txBody>
      </p:sp>
      <p:sp>
        <p:nvSpPr>
          <p:cNvPr id="24" name="Text Box 23">
            <a:extLst>
              <a:ext uri="{FF2B5EF4-FFF2-40B4-BE49-F238E27FC236}">
                <a16:creationId xmlns:a16="http://schemas.microsoft.com/office/drawing/2014/main" id="{63585BF0-8C28-45E7-A502-71F596703B27}"/>
              </a:ext>
            </a:extLst>
          </p:cNvPr>
          <p:cNvSpPr txBox="1">
            <a:spLocks noChangeArrowheads="1"/>
          </p:cNvSpPr>
          <p:nvPr/>
        </p:nvSpPr>
        <p:spPr bwMode="auto">
          <a:xfrm>
            <a:off x="5694137" y="3290218"/>
            <a:ext cx="1014413" cy="319088"/>
          </a:xfrm>
          <a:prstGeom prst="rect">
            <a:avLst/>
          </a:prstGeom>
          <a:noFill/>
          <a:ln w="6350">
            <a:noFill/>
            <a:miter lim="800000"/>
            <a:headEnd type="none" w="sm" len="sm"/>
            <a:tailEnd type="none" w="sm" len="sm"/>
          </a:ln>
          <a:effectLst/>
        </p:spPr>
        <p:txBody>
          <a:bodyPr wrap="none" lIns="45720" rIns="45720"/>
          <a:lstStyle/>
          <a:p>
            <a:pPr marL="117475" marR="0" lvl="0" indent="-117475" algn="l" defTabSz="914400" rtl="0" eaLnBrk="0" fontAlgn="auto" latinLnBrk="0" hangingPunct="0">
              <a:lnSpc>
                <a:spcPct val="100000"/>
              </a:lnSpc>
              <a:spcBef>
                <a:spcPct val="0"/>
              </a:spcBef>
              <a:spcAft>
                <a:spcPts val="0"/>
              </a:spcAft>
              <a:buClr>
                <a:srgbClr val="DCAFFF"/>
              </a:buClr>
              <a:buSzTx/>
              <a:buFont typeface="Wingdings" pitchFamily="2" charset="2"/>
              <a:buChar char="w"/>
              <a:tabLst/>
              <a:defRPr/>
            </a:pPr>
            <a:r>
              <a:rPr kumimoji="0" lang="en-US" sz="1400" b="0" i="0" u="none" strike="noStrike" kern="0" cap="none" spc="0" normalizeH="0" baseline="0" noProof="0">
                <a:ln>
                  <a:noFill/>
                </a:ln>
                <a:solidFill>
                  <a:srgbClr val="000000"/>
                </a:solidFill>
                <a:effectLst/>
                <a:uLnTx/>
                <a:uFillTx/>
                <a:ea typeface="+mn-ea"/>
                <a:cs typeface="+mn-cs"/>
              </a:rPr>
              <a:t>Product 4</a:t>
            </a:r>
          </a:p>
        </p:txBody>
      </p:sp>
      <p:sp>
        <p:nvSpPr>
          <p:cNvPr id="13" name="Text Box 12">
            <a:extLst>
              <a:ext uri="{FF2B5EF4-FFF2-40B4-BE49-F238E27FC236}">
                <a16:creationId xmlns:a16="http://schemas.microsoft.com/office/drawing/2014/main" id="{3183FA6C-8B84-4258-B459-5A6CA9BE38BA}"/>
              </a:ext>
            </a:extLst>
          </p:cNvPr>
          <p:cNvSpPr txBox="1">
            <a:spLocks noChangeAspect="1" noChangeArrowheads="1"/>
          </p:cNvSpPr>
          <p:nvPr/>
        </p:nvSpPr>
        <p:spPr bwMode="auto">
          <a:xfrm>
            <a:off x="2999842" y="3461668"/>
            <a:ext cx="668338" cy="333375"/>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Label</a:t>
            </a:r>
            <a:endParaRPr kumimoji="0" lang="en-US" sz="1400" b="0" i="0" u="none" strike="noStrike" kern="0" cap="none" spc="0" normalizeH="0" baseline="0" noProof="0" dirty="0">
              <a:ln>
                <a:noFill/>
              </a:ln>
              <a:solidFill>
                <a:srgbClr val="000000"/>
              </a:solidFill>
              <a:effectLst/>
              <a:uLnTx/>
              <a:uFillTx/>
              <a:latin typeface="+mj-lt"/>
              <a:ea typeface="+mn-ea"/>
              <a:cs typeface="+mn-cs"/>
            </a:endParaRPr>
          </a:p>
        </p:txBody>
      </p:sp>
      <p:sp>
        <p:nvSpPr>
          <p:cNvPr id="21" name="Text Box 20">
            <a:extLst>
              <a:ext uri="{FF2B5EF4-FFF2-40B4-BE49-F238E27FC236}">
                <a16:creationId xmlns:a16="http://schemas.microsoft.com/office/drawing/2014/main" id="{3B73BFFF-0531-469A-9708-A42BE88BF45D}"/>
              </a:ext>
            </a:extLst>
          </p:cNvPr>
          <p:cNvSpPr txBox="1">
            <a:spLocks noChangeArrowheads="1"/>
          </p:cNvSpPr>
          <p:nvPr/>
        </p:nvSpPr>
        <p:spPr bwMode="auto">
          <a:xfrm>
            <a:off x="5852887" y="2210718"/>
            <a:ext cx="1014413" cy="320675"/>
          </a:xfrm>
          <a:prstGeom prst="rect">
            <a:avLst/>
          </a:prstGeom>
          <a:noFill/>
          <a:ln w="6350">
            <a:noFill/>
            <a:miter lim="800000"/>
            <a:headEnd type="none" w="sm" len="sm"/>
            <a:tailEnd type="none" w="sm" len="sm"/>
          </a:ln>
          <a:effectLst/>
        </p:spPr>
        <p:txBody>
          <a:bodyPr wrap="none" lIns="45720" rIns="45720"/>
          <a:lstStyle/>
          <a:p>
            <a:pPr marL="117475" marR="0" lvl="0" indent="-117475" algn="l" defTabSz="914400" rtl="0" eaLnBrk="0" fontAlgn="auto" latinLnBrk="0" hangingPunct="0">
              <a:lnSpc>
                <a:spcPct val="100000"/>
              </a:lnSpc>
              <a:spcBef>
                <a:spcPct val="0"/>
              </a:spcBef>
              <a:spcAft>
                <a:spcPts val="0"/>
              </a:spcAft>
              <a:buClr>
                <a:srgbClr val="DCAFFF"/>
              </a:buClr>
              <a:buSzTx/>
              <a:buFont typeface="Wingdings" pitchFamily="2" charset="2"/>
              <a:buChar char="w"/>
              <a:tabLst/>
              <a:defRPr/>
            </a:pPr>
            <a:r>
              <a:rPr kumimoji="0" lang="en-US" sz="1400" b="0" i="0" u="none" strike="noStrike" kern="0" cap="none" spc="0" normalizeH="0" baseline="0" noProof="0" dirty="0">
                <a:ln>
                  <a:noFill/>
                </a:ln>
                <a:solidFill>
                  <a:srgbClr val="000000"/>
                </a:solidFill>
                <a:effectLst/>
                <a:uLnTx/>
                <a:uFillTx/>
                <a:ea typeface="+mn-ea"/>
                <a:cs typeface="+mn-cs"/>
              </a:rPr>
              <a:t>Product 5</a:t>
            </a:r>
          </a:p>
        </p:txBody>
      </p:sp>
      <p:sp>
        <p:nvSpPr>
          <p:cNvPr id="19" name="Text Box 18">
            <a:extLst>
              <a:ext uri="{FF2B5EF4-FFF2-40B4-BE49-F238E27FC236}">
                <a16:creationId xmlns:a16="http://schemas.microsoft.com/office/drawing/2014/main" id="{863A0CE0-7B6B-47B4-A0A6-9C283A303552}"/>
              </a:ext>
            </a:extLst>
          </p:cNvPr>
          <p:cNvSpPr txBox="1">
            <a:spLocks noChangeArrowheads="1"/>
          </p:cNvSpPr>
          <p:nvPr/>
        </p:nvSpPr>
        <p:spPr bwMode="auto">
          <a:xfrm>
            <a:off x="6468837" y="2382168"/>
            <a:ext cx="1014413" cy="319088"/>
          </a:xfrm>
          <a:prstGeom prst="rect">
            <a:avLst/>
          </a:prstGeom>
          <a:noFill/>
          <a:ln w="6350">
            <a:noFill/>
            <a:miter lim="800000"/>
            <a:headEnd type="none" w="sm" len="sm"/>
            <a:tailEnd type="none" w="sm" len="sm"/>
          </a:ln>
          <a:effectLst/>
        </p:spPr>
        <p:txBody>
          <a:bodyPr wrap="none" lIns="45720" rIns="45720"/>
          <a:lstStyle/>
          <a:p>
            <a:pPr marL="117475" marR="0" lvl="0" indent="-117475" algn="l" defTabSz="914400" rtl="0" eaLnBrk="0" fontAlgn="auto" latinLnBrk="0" hangingPunct="0">
              <a:lnSpc>
                <a:spcPct val="100000"/>
              </a:lnSpc>
              <a:spcBef>
                <a:spcPct val="0"/>
              </a:spcBef>
              <a:spcAft>
                <a:spcPts val="0"/>
              </a:spcAft>
              <a:buClr>
                <a:srgbClr val="DCAFFF"/>
              </a:buClr>
              <a:buSzTx/>
              <a:buFont typeface="Wingdings" pitchFamily="2" charset="2"/>
              <a:buChar char="w"/>
              <a:tabLst/>
              <a:defRPr/>
            </a:pPr>
            <a:r>
              <a:rPr kumimoji="0" lang="en-US" sz="1400" b="0" i="0" u="none" strike="noStrike" kern="0" cap="none" spc="0" normalizeH="0" baseline="0" noProof="0" dirty="0">
                <a:ln>
                  <a:noFill/>
                </a:ln>
                <a:solidFill>
                  <a:srgbClr val="000000"/>
                </a:solidFill>
                <a:effectLst/>
                <a:uLnTx/>
                <a:uFillTx/>
                <a:ea typeface="+mn-ea"/>
                <a:cs typeface="+mn-cs"/>
              </a:rPr>
              <a:t>Product 6</a:t>
            </a:r>
          </a:p>
        </p:txBody>
      </p:sp>
      <p:sp>
        <p:nvSpPr>
          <p:cNvPr id="18" name="Text Box 17">
            <a:extLst>
              <a:ext uri="{FF2B5EF4-FFF2-40B4-BE49-F238E27FC236}">
                <a16:creationId xmlns:a16="http://schemas.microsoft.com/office/drawing/2014/main" id="{2D022BFE-B78C-42EE-B8B6-65041D92CABA}"/>
              </a:ext>
            </a:extLst>
          </p:cNvPr>
          <p:cNvSpPr txBox="1">
            <a:spLocks noChangeArrowheads="1"/>
          </p:cNvSpPr>
          <p:nvPr/>
        </p:nvSpPr>
        <p:spPr bwMode="auto">
          <a:xfrm>
            <a:off x="6235475" y="2728243"/>
            <a:ext cx="1014413" cy="319088"/>
          </a:xfrm>
          <a:prstGeom prst="rect">
            <a:avLst/>
          </a:prstGeom>
          <a:noFill/>
          <a:ln w="6350">
            <a:noFill/>
            <a:miter lim="800000"/>
            <a:headEnd type="none" w="sm" len="sm"/>
            <a:tailEnd type="none" w="sm" len="sm"/>
          </a:ln>
          <a:effectLst/>
        </p:spPr>
        <p:txBody>
          <a:bodyPr wrap="none" lIns="45720" rIns="45720"/>
          <a:lstStyle/>
          <a:p>
            <a:pPr marL="117475" marR="0" lvl="0" indent="-117475" algn="l" defTabSz="914400" rtl="0" eaLnBrk="0" fontAlgn="auto" latinLnBrk="0" hangingPunct="0">
              <a:lnSpc>
                <a:spcPct val="100000"/>
              </a:lnSpc>
              <a:spcBef>
                <a:spcPct val="0"/>
              </a:spcBef>
              <a:spcAft>
                <a:spcPts val="0"/>
              </a:spcAft>
              <a:buClr>
                <a:srgbClr val="DCAFFF"/>
              </a:buClr>
              <a:buSzTx/>
              <a:buFont typeface="Wingdings" pitchFamily="2" charset="2"/>
              <a:buChar char="w"/>
              <a:tabLst/>
              <a:defRPr/>
            </a:pPr>
            <a:r>
              <a:rPr kumimoji="0" lang="en-US" sz="1400" b="0" i="0" u="none" strike="noStrike" kern="0" cap="none" spc="0" normalizeH="0" baseline="0" noProof="0">
                <a:ln>
                  <a:noFill/>
                </a:ln>
                <a:solidFill>
                  <a:srgbClr val="000000"/>
                </a:solidFill>
                <a:effectLst/>
                <a:uLnTx/>
                <a:uFillTx/>
                <a:ea typeface="+mn-ea"/>
                <a:cs typeface="+mn-cs"/>
              </a:rPr>
              <a:t>Product 7</a:t>
            </a:r>
          </a:p>
        </p:txBody>
      </p:sp>
      <p:sp>
        <p:nvSpPr>
          <p:cNvPr id="17" name="Text Box 16">
            <a:extLst>
              <a:ext uri="{FF2B5EF4-FFF2-40B4-BE49-F238E27FC236}">
                <a16:creationId xmlns:a16="http://schemas.microsoft.com/office/drawing/2014/main" id="{D74352A4-0393-46AD-AFFF-3E12C3DE0531}"/>
              </a:ext>
            </a:extLst>
          </p:cNvPr>
          <p:cNvSpPr txBox="1">
            <a:spLocks noChangeArrowheads="1"/>
          </p:cNvSpPr>
          <p:nvPr/>
        </p:nvSpPr>
        <p:spPr bwMode="auto">
          <a:xfrm>
            <a:off x="6532337" y="3044155"/>
            <a:ext cx="1014413" cy="320675"/>
          </a:xfrm>
          <a:prstGeom prst="rect">
            <a:avLst/>
          </a:prstGeom>
          <a:noFill/>
          <a:ln w="6350">
            <a:noFill/>
            <a:miter lim="800000"/>
            <a:headEnd type="none" w="sm" len="sm"/>
            <a:tailEnd type="none" w="sm" len="sm"/>
          </a:ln>
          <a:effectLst/>
        </p:spPr>
        <p:txBody>
          <a:bodyPr wrap="none" lIns="45720" rIns="45720"/>
          <a:lstStyle/>
          <a:p>
            <a:pPr marL="117475" marR="0" lvl="0" indent="-117475" algn="l" defTabSz="914400" rtl="0" eaLnBrk="0" fontAlgn="auto" latinLnBrk="0" hangingPunct="0">
              <a:lnSpc>
                <a:spcPct val="100000"/>
              </a:lnSpc>
              <a:spcBef>
                <a:spcPct val="0"/>
              </a:spcBef>
              <a:spcAft>
                <a:spcPts val="0"/>
              </a:spcAft>
              <a:buClr>
                <a:srgbClr val="DCAFFF"/>
              </a:buClr>
              <a:buSzTx/>
              <a:buFont typeface="Wingdings" pitchFamily="2" charset="2"/>
              <a:buChar char="w"/>
              <a:tabLst/>
              <a:defRPr/>
            </a:pPr>
            <a:r>
              <a:rPr kumimoji="0" lang="en-US" sz="1400" b="0" i="0" u="none" strike="noStrike" kern="0" cap="none" spc="0" normalizeH="0" baseline="0" noProof="0">
                <a:ln>
                  <a:noFill/>
                </a:ln>
                <a:solidFill>
                  <a:srgbClr val="000000"/>
                </a:solidFill>
                <a:effectLst/>
                <a:uLnTx/>
                <a:uFillTx/>
                <a:ea typeface="+mn-ea"/>
                <a:cs typeface="+mn-cs"/>
              </a:rPr>
              <a:t>Product 8</a:t>
            </a:r>
          </a:p>
        </p:txBody>
      </p:sp>
      <p:sp>
        <p:nvSpPr>
          <p:cNvPr id="16" name="Text Box 15">
            <a:extLst>
              <a:ext uri="{FF2B5EF4-FFF2-40B4-BE49-F238E27FC236}">
                <a16:creationId xmlns:a16="http://schemas.microsoft.com/office/drawing/2014/main" id="{02534A76-E437-48F5-B434-5662C0B675DD}"/>
              </a:ext>
            </a:extLst>
          </p:cNvPr>
          <p:cNvSpPr txBox="1">
            <a:spLocks noChangeArrowheads="1"/>
          </p:cNvSpPr>
          <p:nvPr/>
        </p:nvSpPr>
        <p:spPr bwMode="auto">
          <a:xfrm>
            <a:off x="6224362" y="3937918"/>
            <a:ext cx="1014413" cy="319088"/>
          </a:xfrm>
          <a:prstGeom prst="rect">
            <a:avLst/>
          </a:prstGeom>
          <a:noFill/>
          <a:ln w="6350">
            <a:noFill/>
            <a:miter lim="800000"/>
            <a:headEnd type="none" w="sm" len="sm"/>
            <a:tailEnd type="none" w="sm" len="sm"/>
          </a:ln>
          <a:effectLst/>
        </p:spPr>
        <p:txBody>
          <a:bodyPr wrap="none" lIns="45720" rIns="45720"/>
          <a:lstStyle/>
          <a:p>
            <a:pPr marL="117475" marR="0" lvl="0" indent="-117475" algn="l" defTabSz="914400" rtl="0" eaLnBrk="0" fontAlgn="auto" latinLnBrk="0" hangingPunct="0">
              <a:lnSpc>
                <a:spcPct val="100000"/>
              </a:lnSpc>
              <a:spcBef>
                <a:spcPct val="0"/>
              </a:spcBef>
              <a:spcAft>
                <a:spcPts val="0"/>
              </a:spcAft>
              <a:buClr>
                <a:srgbClr val="DCAFFF"/>
              </a:buClr>
              <a:buSzTx/>
              <a:buFont typeface="Wingdings" pitchFamily="2" charset="2"/>
              <a:buChar char="w"/>
              <a:tabLst/>
              <a:defRPr/>
            </a:pPr>
            <a:r>
              <a:rPr kumimoji="0" lang="en-US" sz="1400" b="0" i="0" u="none" strike="noStrike" kern="0" cap="none" spc="0" normalizeH="0" baseline="0" noProof="0" dirty="0">
                <a:ln>
                  <a:noFill/>
                </a:ln>
                <a:solidFill>
                  <a:srgbClr val="000000"/>
                </a:solidFill>
                <a:effectLst/>
                <a:uLnTx/>
                <a:uFillTx/>
                <a:ea typeface="+mn-ea"/>
                <a:cs typeface="+mn-cs"/>
              </a:rPr>
              <a:t>Product 9</a:t>
            </a:r>
          </a:p>
        </p:txBody>
      </p:sp>
      <p:sp>
        <p:nvSpPr>
          <p:cNvPr id="20" name="Text Box 19">
            <a:extLst>
              <a:ext uri="{FF2B5EF4-FFF2-40B4-BE49-F238E27FC236}">
                <a16:creationId xmlns:a16="http://schemas.microsoft.com/office/drawing/2014/main" id="{3B07090C-7840-44CD-BA45-EE9EB3BB609C}"/>
              </a:ext>
            </a:extLst>
          </p:cNvPr>
          <p:cNvSpPr txBox="1">
            <a:spLocks noChangeArrowheads="1"/>
          </p:cNvSpPr>
          <p:nvPr/>
        </p:nvSpPr>
        <p:spPr bwMode="auto">
          <a:xfrm>
            <a:off x="6826025" y="3617243"/>
            <a:ext cx="1100138" cy="319088"/>
          </a:xfrm>
          <a:prstGeom prst="rect">
            <a:avLst/>
          </a:prstGeom>
          <a:noFill/>
          <a:ln w="6350">
            <a:noFill/>
            <a:miter lim="800000"/>
            <a:headEnd type="none" w="sm" len="sm"/>
            <a:tailEnd type="none" w="sm" len="sm"/>
          </a:ln>
          <a:effectLst/>
        </p:spPr>
        <p:txBody>
          <a:bodyPr wrap="none" lIns="45720" rIns="45720"/>
          <a:lstStyle/>
          <a:p>
            <a:pPr marL="117475" marR="0" lvl="0" indent="-117475" algn="l" defTabSz="914400" rtl="0" eaLnBrk="0" fontAlgn="auto" latinLnBrk="0" hangingPunct="0">
              <a:lnSpc>
                <a:spcPct val="100000"/>
              </a:lnSpc>
              <a:spcBef>
                <a:spcPct val="0"/>
              </a:spcBef>
              <a:spcAft>
                <a:spcPts val="0"/>
              </a:spcAft>
              <a:buClr>
                <a:srgbClr val="DCAFFF"/>
              </a:buClr>
              <a:buSzTx/>
              <a:buFont typeface="Wingdings" pitchFamily="2" charset="2"/>
              <a:buChar char="w"/>
              <a:tabLst/>
              <a:defRPr/>
            </a:pPr>
            <a:r>
              <a:rPr kumimoji="0" lang="en-US" sz="1400" b="0" i="0" u="none" strike="noStrike" kern="0" cap="none" spc="0" normalizeH="0" baseline="0" noProof="0">
                <a:ln>
                  <a:noFill/>
                </a:ln>
                <a:solidFill>
                  <a:srgbClr val="000000"/>
                </a:solidFill>
                <a:effectLst/>
                <a:uLnTx/>
                <a:uFillTx/>
                <a:ea typeface="+mn-ea"/>
                <a:cs typeface="+mn-cs"/>
              </a:rPr>
              <a:t>Product 10</a:t>
            </a:r>
          </a:p>
        </p:txBody>
      </p:sp>
      <p:sp>
        <p:nvSpPr>
          <p:cNvPr id="10" name="Text Box 9">
            <a:extLst>
              <a:ext uri="{FF2B5EF4-FFF2-40B4-BE49-F238E27FC236}">
                <a16:creationId xmlns:a16="http://schemas.microsoft.com/office/drawing/2014/main" id="{7D6E3C62-9037-40D6-A6DA-547CCBF31C8C}"/>
              </a:ext>
            </a:extLst>
          </p:cNvPr>
          <p:cNvSpPr txBox="1">
            <a:spLocks noChangeAspect="1" noChangeArrowheads="1"/>
          </p:cNvSpPr>
          <p:nvPr/>
        </p:nvSpPr>
        <p:spPr bwMode="auto">
          <a:xfrm>
            <a:off x="3327175" y="5282530"/>
            <a:ext cx="555625" cy="333375"/>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Low</a:t>
            </a:r>
            <a:endParaRPr kumimoji="0" lang="en-US" sz="1400" b="1" i="0" u="none" strike="noStrike" kern="0" cap="none" spc="0" normalizeH="0" baseline="0" noProof="0">
              <a:ln>
                <a:noFill/>
              </a:ln>
              <a:solidFill>
                <a:srgbClr val="000000"/>
              </a:solidFill>
              <a:effectLst/>
              <a:uLnTx/>
              <a:uFillTx/>
              <a:ea typeface="+mn-ea"/>
              <a:cs typeface="+mn-cs"/>
            </a:endParaRPr>
          </a:p>
        </p:txBody>
      </p:sp>
      <p:sp>
        <p:nvSpPr>
          <p:cNvPr id="11" name="Text Box 10">
            <a:extLst>
              <a:ext uri="{FF2B5EF4-FFF2-40B4-BE49-F238E27FC236}">
                <a16:creationId xmlns:a16="http://schemas.microsoft.com/office/drawing/2014/main" id="{6B1406ED-69E9-40D2-A1F7-92E32B3D4E4B}"/>
              </a:ext>
            </a:extLst>
          </p:cNvPr>
          <p:cNvSpPr txBox="1">
            <a:spLocks noChangeAspect="1" noChangeArrowheads="1"/>
          </p:cNvSpPr>
          <p:nvPr/>
        </p:nvSpPr>
        <p:spPr bwMode="auto">
          <a:xfrm>
            <a:off x="3882800" y="5615905"/>
            <a:ext cx="547688" cy="333375"/>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Low</a:t>
            </a:r>
            <a:endParaRPr kumimoji="0" lang="en-US" sz="1400" b="1" i="0" u="none" strike="noStrike" kern="0" cap="none" spc="0" normalizeH="0" baseline="0" noProof="0">
              <a:ln>
                <a:noFill/>
              </a:ln>
              <a:solidFill>
                <a:srgbClr val="000000"/>
              </a:solidFill>
              <a:effectLst/>
              <a:uLnTx/>
              <a:uFillTx/>
              <a:ea typeface="+mn-ea"/>
              <a:cs typeface="+mn-cs"/>
            </a:endParaRPr>
          </a:p>
        </p:txBody>
      </p:sp>
      <p:sp>
        <p:nvSpPr>
          <p:cNvPr id="12" name="Text Box 11">
            <a:extLst>
              <a:ext uri="{FF2B5EF4-FFF2-40B4-BE49-F238E27FC236}">
                <a16:creationId xmlns:a16="http://schemas.microsoft.com/office/drawing/2014/main" id="{FE1214C4-9426-4AFC-B15F-3172743719AA}"/>
              </a:ext>
            </a:extLst>
          </p:cNvPr>
          <p:cNvSpPr txBox="1">
            <a:spLocks noChangeAspect="1" noChangeArrowheads="1"/>
          </p:cNvSpPr>
          <p:nvPr/>
        </p:nvSpPr>
        <p:spPr bwMode="auto">
          <a:xfrm>
            <a:off x="7343550" y="5615905"/>
            <a:ext cx="595313" cy="333375"/>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High</a:t>
            </a:r>
            <a:endParaRPr kumimoji="0" lang="en-US" sz="1400" b="1" i="0" u="none" strike="noStrike" kern="0" cap="none" spc="0" normalizeH="0" baseline="0" noProof="0">
              <a:ln>
                <a:noFill/>
              </a:ln>
              <a:solidFill>
                <a:srgbClr val="000000"/>
              </a:solidFill>
              <a:effectLst/>
              <a:uLnTx/>
              <a:uFillTx/>
              <a:ea typeface="+mn-ea"/>
              <a:cs typeface="+mn-cs"/>
            </a:endParaRPr>
          </a:p>
        </p:txBody>
      </p:sp>
      <p:sp>
        <p:nvSpPr>
          <p:cNvPr id="14" name="Text Box 13">
            <a:extLst>
              <a:ext uri="{FF2B5EF4-FFF2-40B4-BE49-F238E27FC236}">
                <a16:creationId xmlns:a16="http://schemas.microsoft.com/office/drawing/2014/main" id="{E3DE4870-1383-4119-A719-4D69046B1CEE}"/>
              </a:ext>
            </a:extLst>
          </p:cNvPr>
          <p:cNvSpPr txBox="1">
            <a:spLocks noChangeAspect="1" noChangeArrowheads="1"/>
          </p:cNvSpPr>
          <p:nvPr/>
        </p:nvSpPr>
        <p:spPr bwMode="auto">
          <a:xfrm>
            <a:off x="5556126" y="5795925"/>
            <a:ext cx="669925" cy="333375"/>
          </a:xfrm>
          <a:prstGeom prst="rect">
            <a:avLst/>
          </a:prstGeom>
          <a:noFill/>
          <a:ln w="6350">
            <a:noFill/>
            <a:miter lim="800000"/>
            <a:headEnd/>
            <a:tailEnd/>
          </a:ln>
          <a:effectLst/>
        </p:spPr>
        <p:txBody>
          <a:bodyPr wrap="none" lIns="45720" rIns="45720"/>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Label</a:t>
            </a:r>
            <a:endParaRPr kumimoji="0" lang="en-US" sz="1400" b="0" i="0" u="none" strike="noStrike" kern="0" cap="none" spc="0" normalizeH="0" baseline="0" noProof="0" dirty="0">
              <a:ln>
                <a:noFill/>
              </a:ln>
              <a:solidFill>
                <a:srgbClr val="000000"/>
              </a:solidFill>
              <a:effectLst/>
              <a:uLnTx/>
              <a:uFillTx/>
              <a:latin typeface="+mj-lt"/>
              <a:ea typeface="+mn-ea"/>
              <a:cs typeface="+mn-cs"/>
            </a:endParaRPr>
          </a:p>
        </p:txBody>
      </p:sp>
      <p:sp>
        <p:nvSpPr>
          <p:cNvPr id="25" name="Footer Placeholder 24">
            <a:extLst>
              <a:ext uri="{FF2B5EF4-FFF2-40B4-BE49-F238E27FC236}">
                <a16:creationId xmlns:a16="http://schemas.microsoft.com/office/drawing/2014/main" id="{AF2D85D6-C01A-4E06-80B7-7086DA66DDAF}"/>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6" name="Slide Number Placeholder 25">
            <a:extLst>
              <a:ext uri="{FF2B5EF4-FFF2-40B4-BE49-F238E27FC236}">
                <a16:creationId xmlns:a16="http://schemas.microsoft.com/office/drawing/2014/main" id="{BB20DA79-EAB7-49FE-AE58-CF8A78558B34}"/>
              </a:ext>
            </a:extLst>
          </p:cNvPr>
          <p:cNvSpPr>
            <a:spLocks noGrp="1"/>
          </p:cNvSpPr>
          <p:nvPr>
            <p:ph type="sldNum" sz="quarter" idx="10"/>
          </p:nvPr>
        </p:nvSpPr>
        <p:spPr/>
        <p:txBody>
          <a:bodyPr/>
          <a:lstStyle/>
          <a:p>
            <a:fld id="{1F90F471-3972-4120-B8B3-0237DE626C35}" type="slidenum">
              <a:rPr lang="en-US" smtClean="0"/>
              <a:pPr/>
              <a:t>421</a:t>
            </a:fld>
            <a:endParaRPr lang="en-US" dirty="0"/>
          </a:p>
        </p:txBody>
      </p:sp>
    </p:spTree>
    <p:extLst>
      <p:ext uri="{BB962C8B-B14F-4D97-AF65-F5344CB8AC3E}">
        <p14:creationId xmlns:p14="http://schemas.microsoft.com/office/powerpoint/2010/main" val="1312604006"/>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Shaded Areas 1</a:t>
            </a:r>
          </a:p>
        </p:txBody>
      </p:sp>
      <p:grpSp>
        <p:nvGrpSpPr>
          <p:cNvPr id="14" name="Group 3" descr="Shaded area">
            <a:extLst>
              <a:ext uri="{FF2B5EF4-FFF2-40B4-BE49-F238E27FC236}">
                <a16:creationId xmlns:a16="http://schemas.microsoft.com/office/drawing/2014/main" id="{0096CE95-385D-4531-96E5-862F56E455D4}"/>
              </a:ext>
            </a:extLst>
          </p:cNvPr>
          <p:cNvGrpSpPr>
            <a:grpSpLocks/>
          </p:cNvGrpSpPr>
          <p:nvPr/>
        </p:nvGrpSpPr>
        <p:grpSpPr bwMode="auto">
          <a:xfrm>
            <a:off x="3967163" y="1628775"/>
            <a:ext cx="4379912" cy="4116387"/>
            <a:chOff x="2011" y="1392"/>
            <a:chExt cx="2213" cy="1920"/>
          </a:xfrm>
        </p:grpSpPr>
        <p:sp>
          <p:nvSpPr>
            <p:cNvPr id="15" name="Rectangle 4">
              <a:extLst>
                <a:ext uri="{FF2B5EF4-FFF2-40B4-BE49-F238E27FC236}">
                  <a16:creationId xmlns:a16="http://schemas.microsoft.com/office/drawing/2014/main" id="{68959917-82C6-4AEA-9704-42CBAFC00697}"/>
                </a:ext>
              </a:extLst>
            </p:cNvPr>
            <p:cNvSpPr>
              <a:spLocks noChangeArrowheads="1"/>
            </p:cNvSpPr>
            <p:nvPr/>
          </p:nvSpPr>
          <p:spPr bwMode="auto">
            <a:xfrm>
              <a:off x="2011" y="1392"/>
              <a:ext cx="2213" cy="1920"/>
            </a:xfrm>
            <a:prstGeom prst="rect">
              <a:avLst/>
            </a:prstGeom>
            <a:solidFill>
              <a:schemeClr val="tx2">
                <a:lumMod val="20000"/>
                <a:lumOff val="80000"/>
              </a:schemeClr>
            </a:solidFill>
            <a:ln w="6350">
              <a:noFill/>
              <a:miter lim="800000"/>
              <a:headEnd/>
              <a:tailEnd/>
            </a:ln>
            <a:effectLst/>
          </p:spPr>
          <p:txBody>
            <a:bodyPr lIns="45720" rIns="45720"/>
            <a:lstStyle/>
            <a:p>
              <a:endParaRPr lang="de-DE" sz="1400" b="1"/>
            </a:p>
          </p:txBody>
        </p:sp>
        <p:sp>
          <p:nvSpPr>
            <p:cNvPr id="16" name="Freeform 5">
              <a:extLst>
                <a:ext uri="{FF2B5EF4-FFF2-40B4-BE49-F238E27FC236}">
                  <a16:creationId xmlns:a16="http://schemas.microsoft.com/office/drawing/2014/main" id="{3B4E12E4-0E52-43F6-A8F3-C6E0B7EA5128}"/>
                </a:ext>
              </a:extLst>
            </p:cNvPr>
            <p:cNvSpPr>
              <a:spLocks/>
            </p:cNvSpPr>
            <p:nvPr/>
          </p:nvSpPr>
          <p:spPr bwMode="auto">
            <a:xfrm>
              <a:off x="2011" y="1392"/>
              <a:ext cx="2213" cy="1920"/>
            </a:xfrm>
            <a:custGeom>
              <a:avLst/>
              <a:gdLst/>
              <a:ahLst/>
              <a:cxnLst>
                <a:cxn ang="0">
                  <a:pos x="0" y="0"/>
                </a:cxn>
                <a:cxn ang="0">
                  <a:pos x="864" y="0"/>
                </a:cxn>
                <a:cxn ang="0">
                  <a:pos x="864" y="816"/>
                </a:cxn>
                <a:cxn ang="0">
                  <a:pos x="0" y="0"/>
                </a:cxn>
              </a:cxnLst>
              <a:rect l="0" t="0" r="r" b="b"/>
              <a:pathLst>
                <a:path w="864" h="822">
                  <a:moveTo>
                    <a:pt x="0" y="0"/>
                  </a:moveTo>
                  <a:cubicBezTo>
                    <a:pt x="432" y="0"/>
                    <a:pt x="864" y="0"/>
                    <a:pt x="864" y="0"/>
                  </a:cubicBezTo>
                  <a:cubicBezTo>
                    <a:pt x="864" y="0"/>
                    <a:pt x="864" y="408"/>
                    <a:pt x="864" y="816"/>
                  </a:cubicBezTo>
                  <a:cubicBezTo>
                    <a:pt x="864" y="816"/>
                    <a:pt x="0" y="822"/>
                    <a:pt x="0" y="0"/>
                  </a:cubicBezTo>
                  <a:close/>
                </a:path>
              </a:pathLst>
            </a:custGeom>
            <a:solidFill>
              <a:schemeClr val="tx2">
                <a:lumMod val="40000"/>
                <a:lumOff val="60000"/>
              </a:schemeClr>
            </a:solidFill>
            <a:ln w="6350" cap="flat" cmpd="sng">
              <a:noFill/>
              <a:prstDash val="solid"/>
              <a:round/>
              <a:headEnd type="none" w="med" len="med"/>
              <a:tailEnd type="none" w="med" len="med"/>
            </a:ln>
            <a:effectLst/>
          </p:spPr>
          <p:txBody>
            <a:bodyPr lIns="45720" rIns="45720"/>
            <a:lstStyle/>
            <a:p>
              <a:endParaRPr lang="de-DE" sz="1400" b="1"/>
            </a:p>
          </p:txBody>
        </p:sp>
        <p:sp>
          <p:nvSpPr>
            <p:cNvPr id="17" name="Freeform 6">
              <a:extLst>
                <a:ext uri="{FF2B5EF4-FFF2-40B4-BE49-F238E27FC236}">
                  <a16:creationId xmlns:a16="http://schemas.microsoft.com/office/drawing/2014/main" id="{A6869126-968B-4D98-96FB-78C998141E17}"/>
                </a:ext>
              </a:extLst>
            </p:cNvPr>
            <p:cNvSpPr>
              <a:spLocks/>
            </p:cNvSpPr>
            <p:nvPr/>
          </p:nvSpPr>
          <p:spPr bwMode="auto">
            <a:xfrm>
              <a:off x="2747" y="1392"/>
              <a:ext cx="1477" cy="1269"/>
            </a:xfrm>
            <a:custGeom>
              <a:avLst/>
              <a:gdLst/>
              <a:ahLst/>
              <a:cxnLst>
                <a:cxn ang="0">
                  <a:pos x="0" y="0"/>
                </a:cxn>
                <a:cxn ang="0">
                  <a:pos x="864" y="0"/>
                </a:cxn>
                <a:cxn ang="0">
                  <a:pos x="864" y="816"/>
                </a:cxn>
                <a:cxn ang="0">
                  <a:pos x="0" y="0"/>
                </a:cxn>
              </a:cxnLst>
              <a:rect l="0" t="0" r="r" b="b"/>
              <a:pathLst>
                <a:path w="864" h="822">
                  <a:moveTo>
                    <a:pt x="0" y="0"/>
                  </a:moveTo>
                  <a:cubicBezTo>
                    <a:pt x="432" y="0"/>
                    <a:pt x="864" y="0"/>
                    <a:pt x="864" y="0"/>
                  </a:cubicBezTo>
                  <a:cubicBezTo>
                    <a:pt x="864" y="0"/>
                    <a:pt x="864" y="408"/>
                    <a:pt x="864" y="816"/>
                  </a:cubicBezTo>
                  <a:cubicBezTo>
                    <a:pt x="864" y="816"/>
                    <a:pt x="0" y="822"/>
                    <a:pt x="0" y="0"/>
                  </a:cubicBezTo>
                  <a:close/>
                </a:path>
              </a:pathLst>
            </a:custGeom>
            <a:solidFill>
              <a:schemeClr val="accent1"/>
            </a:solidFill>
            <a:ln w="6350" cap="flat" cmpd="sng">
              <a:noFill/>
              <a:prstDash val="solid"/>
              <a:round/>
              <a:headEnd type="none" w="med" len="med"/>
              <a:tailEnd type="none" w="med" len="med"/>
            </a:ln>
            <a:effectLst/>
          </p:spPr>
          <p:txBody>
            <a:bodyPr lIns="45720" rIns="45720"/>
            <a:lstStyle/>
            <a:p>
              <a:endParaRPr lang="de-DE" sz="1400" b="1"/>
            </a:p>
          </p:txBody>
        </p:sp>
        <p:sp>
          <p:nvSpPr>
            <p:cNvPr id="18" name="Freeform 7">
              <a:extLst>
                <a:ext uri="{FF2B5EF4-FFF2-40B4-BE49-F238E27FC236}">
                  <a16:creationId xmlns:a16="http://schemas.microsoft.com/office/drawing/2014/main" id="{EDCAA288-FA0F-4251-9A42-D491D702F124}"/>
                </a:ext>
              </a:extLst>
            </p:cNvPr>
            <p:cNvSpPr>
              <a:spLocks/>
            </p:cNvSpPr>
            <p:nvPr/>
          </p:nvSpPr>
          <p:spPr bwMode="auto">
            <a:xfrm>
              <a:off x="3488" y="1392"/>
              <a:ext cx="736" cy="645"/>
            </a:xfrm>
            <a:custGeom>
              <a:avLst/>
              <a:gdLst/>
              <a:ahLst/>
              <a:cxnLst>
                <a:cxn ang="0">
                  <a:pos x="0" y="0"/>
                </a:cxn>
                <a:cxn ang="0">
                  <a:pos x="864" y="0"/>
                </a:cxn>
                <a:cxn ang="0">
                  <a:pos x="864" y="816"/>
                </a:cxn>
                <a:cxn ang="0">
                  <a:pos x="0" y="0"/>
                </a:cxn>
              </a:cxnLst>
              <a:rect l="0" t="0" r="r" b="b"/>
              <a:pathLst>
                <a:path w="864" h="822">
                  <a:moveTo>
                    <a:pt x="0" y="0"/>
                  </a:moveTo>
                  <a:cubicBezTo>
                    <a:pt x="432" y="0"/>
                    <a:pt x="864" y="0"/>
                    <a:pt x="864" y="0"/>
                  </a:cubicBezTo>
                  <a:cubicBezTo>
                    <a:pt x="864" y="0"/>
                    <a:pt x="864" y="408"/>
                    <a:pt x="864" y="816"/>
                  </a:cubicBezTo>
                  <a:cubicBezTo>
                    <a:pt x="864" y="816"/>
                    <a:pt x="0" y="822"/>
                    <a:pt x="0" y="0"/>
                  </a:cubicBezTo>
                  <a:close/>
                </a:path>
              </a:pathLst>
            </a:custGeom>
            <a:solidFill>
              <a:schemeClr val="accent3"/>
            </a:solidFill>
            <a:ln w="6350" cap="flat" cmpd="sng">
              <a:noFill/>
              <a:prstDash val="solid"/>
              <a:round/>
              <a:headEnd type="none" w="med" len="med"/>
              <a:tailEnd type="none" w="med" len="med"/>
            </a:ln>
            <a:effectLst/>
          </p:spPr>
          <p:txBody>
            <a:bodyPr lIns="45720" rIns="45720"/>
            <a:lstStyle/>
            <a:p>
              <a:endParaRPr lang="de-DE" sz="1400" b="1"/>
            </a:p>
          </p:txBody>
        </p:sp>
        <p:sp>
          <p:nvSpPr>
            <p:cNvPr id="19" name="Text Box 8">
              <a:extLst>
                <a:ext uri="{FF2B5EF4-FFF2-40B4-BE49-F238E27FC236}">
                  <a16:creationId xmlns:a16="http://schemas.microsoft.com/office/drawing/2014/main" id="{17E77356-58DB-45AD-9E80-E2A05EE13C4D}"/>
                </a:ext>
              </a:extLst>
            </p:cNvPr>
            <p:cNvSpPr txBox="1">
              <a:spLocks noChangeArrowheads="1"/>
            </p:cNvSpPr>
            <p:nvPr/>
          </p:nvSpPr>
          <p:spPr bwMode="auto">
            <a:xfrm>
              <a:off x="3796" y="1575"/>
              <a:ext cx="282" cy="198"/>
            </a:xfrm>
            <a:prstGeom prst="rect">
              <a:avLst/>
            </a:prstGeom>
            <a:noFill/>
            <a:ln w="6350">
              <a:noFill/>
              <a:miter lim="800000"/>
              <a:headEnd/>
              <a:tailEnd/>
            </a:ln>
            <a:effectLst/>
          </p:spPr>
          <p:txBody>
            <a:bodyPr wrap="none" lIns="45720" rIns="45720"/>
            <a:lstStyle/>
            <a:p>
              <a:pPr eaLnBrk="0" hangingPunct="0">
                <a:spcBef>
                  <a:spcPct val="0"/>
                </a:spcBef>
              </a:pPr>
              <a:r>
                <a:rPr lang="en-US" sz="1400" b="1" dirty="0">
                  <a:solidFill>
                    <a:schemeClr val="bg1"/>
                  </a:solidFill>
                </a:rPr>
                <a:t>Area 1</a:t>
              </a:r>
            </a:p>
          </p:txBody>
        </p:sp>
        <p:sp>
          <p:nvSpPr>
            <p:cNvPr id="20" name="Text Box 9">
              <a:extLst>
                <a:ext uri="{FF2B5EF4-FFF2-40B4-BE49-F238E27FC236}">
                  <a16:creationId xmlns:a16="http://schemas.microsoft.com/office/drawing/2014/main" id="{21D75F71-F484-46C2-814F-DAB0A95AC856}"/>
                </a:ext>
              </a:extLst>
            </p:cNvPr>
            <p:cNvSpPr txBox="1">
              <a:spLocks noChangeArrowheads="1"/>
            </p:cNvSpPr>
            <p:nvPr/>
          </p:nvSpPr>
          <p:spPr bwMode="auto">
            <a:xfrm>
              <a:off x="3265" y="2051"/>
              <a:ext cx="282" cy="198"/>
            </a:xfrm>
            <a:prstGeom prst="rect">
              <a:avLst/>
            </a:prstGeom>
            <a:noFill/>
            <a:ln w="6350">
              <a:noFill/>
              <a:miter lim="800000"/>
              <a:headEnd/>
              <a:tailEnd/>
            </a:ln>
            <a:effectLst/>
          </p:spPr>
          <p:txBody>
            <a:bodyPr wrap="none" lIns="45720" rIns="45720"/>
            <a:lstStyle/>
            <a:p>
              <a:pPr eaLnBrk="0" hangingPunct="0">
                <a:spcBef>
                  <a:spcPct val="0"/>
                </a:spcBef>
              </a:pPr>
              <a:r>
                <a:rPr lang="en-US" sz="1400" b="1">
                  <a:solidFill>
                    <a:schemeClr val="bg1"/>
                  </a:solidFill>
                </a:rPr>
                <a:t>Area 2</a:t>
              </a:r>
            </a:p>
          </p:txBody>
        </p:sp>
        <p:sp>
          <p:nvSpPr>
            <p:cNvPr id="21" name="Text Box 10">
              <a:extLst>
                <a:ext uri="{FF2B5EF4-FFF2-40B4-BE49-F238E27FC236}">
                  <a16:creationId xmlns:a16="http://schemas.microsoft.com/office/drawing/2014/main" id="{46E0886D-6FA4-402C-A444-4085579A03A9}"/>
                </a:ext>
              </a:extLst>
            </p:cNvPr>
            <p:cNvSpPr txBox="1">
              <a:spLocks noChangeArrowheads="1"/>
            </p:cNvSpPr>
            <p:nvPr/>
          </p:nvSpPr>
          <p:spPr bwMode="auto">
            <a:xfrm>
              <a:off x="2734" y="2527"/>
              <a:ext cx="282" cy="198"/>
            </a:xfrm>
            <a:prstGeom prst="rect">
              <a:avLst/>
            </a:prstGeom>
            <a:noFill/>
            <a:ln w="6350">
              <a:noFill/>
              <a:miter lim="800000"/>
              <a:headEnd/>
              <a:tailEnd/>
            </a:ln>
            <a:effectLst/>
          </p:spPr>
          <p:txBody>
            <a:bodyPr wrap="none" lIns="45720" rIns="45720"/>
            <a:lstStyle/>
            <a:p>
              <a:pPr eaLnBrk="0" hangingPunct="0">
                <a:spcBef>
                  <a:spcPct val="0"/>
                </a:spcBef>
              </a:pPr>
              <a:r>
                <a:rPr lang="en-US" sz="1400" b="1" dirty="0">
                  <a:solidFill>
                    <a:schemeClr val="accent1"/>
                  </a:solidFill>
                </a:rPr>
                <a:t>Area 3</a:t>
              </a:r>
            </a:p>
          </p:txBody>
        </p:sp>
        <p:sp>
          <p:nvSpPr>
            <p:cNvPr id="22" name="Text Box 11">
              <a:extLst>
                <a:ext uri="{FF2B5EF4-FFF2-40B4-BE49-F238E27FC236}">
                  <a16:creationId xmlns:a16="http://schemas.microsoft.com/office/drawing/2014/main" id="{8C7264FC-B355-423A-9EF2-E643B05345A6}"/>
                </a:ext>
              </a:extLst>
            </p:cNvPr>
            <p:cNvSpPr txBox="1">
              <a:spLocks noChangeArrowheads="1"/>
            </p:cNvSpPr>
            <p:nvPr/>
          </p:nvSpPr>
          <p:spPr bwMode="auto">
            <a:xfrm>
              <a:off x="2203" y="3005"/>
              <a:ext cx="282" cy="198"/>
            </a:xfrm>
            <a:prstGeom prst="rect">
              <a:avLst/>
            </a:prstGeom>
            <a:noFill/>
            <a:ln w="6350">
              <a:noFill/>
              <a:miter lim="800000"/>
              <a:headEnd/>
              <a:tailEnd/>
            </a:ln>
            <a:effectLst/>
          </p:spPr>
          <p:txBody>
            <a:bodyPr wrap="none" lIns="45720" rIns="45720"/>
            <a:lstStyle/>
            <a:p>
              <a:pPr eaLnBrk="0" hangingPunct="0">
                <a:spcBef>
                  <a:spcPct val="0"/>
                </a:spcBef>
              </a:pPr>
              <a:r>
                <a:rPr lang="en-US" sz="1400" b="1">
                  <a:solidFill>
                    <a:schemeClr val="accent1"/>
                  </a:solidFill>
                </a:rPr>
                <a:t>Area 4</a:t>
              </a:r>
            </a:p>
          </p:txBody>
        </p:sp>
      </p:grpSp>
      <p:sp>
        <p:nvSpPr>
          <p:cNvPr id="5" name="Footer Placeholder 4">
            <a:extLst>
              <a:ext uri="{FF2B5EF4-FFF2-40B4-BE49-F238E27FC236}">
                <a16:creationId xmlns:a16="http://schemas.microsoft.com/office/drawing/2014/main" id="{6BBBBBCB-74BF-42CC-A291-0C245414FD0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62F41B25-D11B-4779-80DF-002C77A7BA0B}"/>
              </a:ext>
            </a:extLst>
          </p:cNvPr>
          <p:cNvSpPr>
            <a:spLocks noGrp="1"/>
          </p:cNvSpPr>
          <p:nvPr>
            <p:ph type="sldNum" sz="quarter" idx="10"/>
          </p:nvPr>
        </p:nvSpPr>
        <p:spPr/>
        <p:txBody>
          <a:bodyPr/>
          <a:lstStyle/>
          <a:p>
            <a:fld id="{1F90F471-3972-4120-B8B3-0237DE626C35}" type="slidenum">
              <a:rPr lang="en-US" smtClean="0"/>
              <a:pPr/>
              <a:t>422</a:t>
            </a:fld>
            <a:endParaRPr lang="en-US" dirty="0"/>
          </a:p>
        </p:txBody>
      </p:sp>
    </p:spTree>
    <p:extLst>
      <p:ext uri="{BB962C8B-B14F-4D97-AF65-F5344CB8AC3E}">
        <p14:creationId xmlns:p14="http://schemas.microsoft.com/office/powerpoint/2010/main" val="1742323085"/>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Shaded Areas 2</a:t>
            </a:r>
          </a:p>
        </p:txBody>
      </p:sp>
      <p:grpSp>
        <p:nvGrpSpPr>
          <p:cNvPr id="5" name="Group 4" descr="Shaded area">
            <a:extLst>
              <a:ext uri="{FF2B5EF4-FFF2-40B4-BE49-F238E27FC236}">
                <a16:creationId xmlns:a16="http://schemas.microsoft.com/office/drawing/2014/main" id="{3D0499BA-19E9-4BFB-9B43-025E10EDC015}"/>
              </a:ext>
            </a:extLst>
          </p:cNvPr>
          <p:cNvGrpSpPr/>
          <p:nvPr/>
        </p:nvGrpSpPr>
        <p:grpSpPr>
          <a:xfrm>
            <a:off x="3289299" y="1610067"/>
            <a:ext cx="4619626" cy="4117976"/>
            <a:chOff x="1860549" y="1610067"/>
            <a:chExt cx="4619626" cy="4117976"/>
          </a:xfrm>
        </p:grpSpPr>
        <p:sp>
          <p:nvSpPr>
            <p:cNvPr id="6" name="Text Box 4">
              <a:extLst>
                <a:ext uri="{FF2B5EF4-FFF2-40B4-BE49-F238E27FC236}">
                  <a16:creationId xmlns:a16="http://schemas.microsoft.com/office/drawing/2014/main" id="{5955AAF4-E36D-455F-A4F5-9A9C15B6904B}"/>
                </a:ext>
              </a:extLst>
            </p:cNvPr>
            <p:cNvSpPr txBox="1">
              <a:spLocks noChangeArrowheads="1"/>
            </p:cNvSpPr>
            <p:nvPr>
              <p:custDataLst>
                <p:tags r:id="rId1"/>
              </p:custDataLst>
            </p:nvPr>
          </p:nvSpPr>
          <p:spPr bwMode="auto">
            <a:xfrm>
              <a:off x="1860549" y="3205505"/>
              <a:ext cx="811213" cy="255588"/>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Y-Criteria</a:t>
              </a:r>
            </a:p>
          </p:txBody>
        </p:sp>
        <p:sp>
          <p:nvSpPr>
            <p:cNvPr id="7" name="Rectangle 15">
              <a:extLst>
                <a:ext uri="{FF2B5EF4-FFF2-40B4-BE49-F238E27FC236}">
                  <a16:creationId xmlns:a16="http://schemas.microsoft.com/office/drawing/2014/main" id="{E63F2A20-3A17-48E6-97AF-20CACA12A1E4}"/>
                </a:ext>
              </a:extLst>
            </p:cNvPr>
            <p:cNvSpPr>
              <a:spLocks noChangeArrowheads="1"/>
            </p:cNvSpPr>
            <p:nvPr>
              <p:custDataLst>
                <p:tags r:id="rId2"/>
              </p:custDataLst>
            </p:nvPr>
          </p:nvSpPr>
          <p:spPr bwMode="auto">
            <a:xfrm>
              <a:off x="2776538" y="1722780"/>
              <a:ext cx="3598862" cy="3598863"/>
            </a:xfrm>
            <a:prstGeom prst="rect">
              <a:avLst/>
            </a:prstGeom>
            <a:solidFill>
              <a:srgbClr val="96968C">
                <a:lumMod val="20000"/>
                <a:lumOff val="80000"/>
              </a:srgbClr>
            </a:solidFill>
            <a:ln w="6350" algn="ctr">
              <a:solidFill>
                <a:srgbClr val="E4E7E7"/>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8" name="Freeform 5">
              <a:extLst>
                <a:ext uri="{FF2B5EF4-FFF2-40B4-BE49-F238E27FC236}">
                  <a16:creationId xmlns:a16="http://schemas.microsoft.com/office/drawing/2014/main" id="{F6DD8A3B-BA63-49AF-B11F-9DD2D1D91373}"/>
                </a:ext>
              </a:extLst>
            </p:cNvPr>
            <p:cNvSpPr>
              <a:spLocks/>
            </p:cNvSpPr>
            <p:nvPr>
              <p:custDataLst>
                <p:tags r:id="rId3"/>
              </p:custDataLst>
            </p:nvPr>
          </p:nvSpPr>
          <p:spPr bwMode="auto">
            <a:xfrm flipH="1" flipV="1">
              <a:off x="2776538" y="1964080"/>
              <a:ext cx="3597275" cy="3357563"/>
            </a:xfrm>
            <a:custGeom>
              <a:avLst/>
              <a:gdLst/>
              <a:ahLst/>
              <a:cxnLst>
                <a:cxn ang="0">
                  <a:pos x="0" y="0"/>
                </a:cxn>
                <a:cxn ang="0">
                  <a:pos x="864" y="0"/>
                </a:cxn>
                <a:cxn ang="0">
                  <a:pos x="864" y="816"/>
                </a:cxn>
                <a:cxn ang="0">
                  <a:pos x="0" y="0"/>
                </a:cxn>
              </a:cxnLst>
              <a:rect l="0" t="0" r="r" b="b"/>
              <a:pathLst>
                <a:path w="864" h="822">
                  <a:moveTo>
                    <a:pt x="0" y="0"/>
                  </a:moveTo>
                  <a:cubicBezTo>
                    <a:pt x="432" y="0"/>
                    <a:pt x="864" y="0"/>
                    <a:pt x="864" y="0"/>
                  </a:cubicBezTo>
                  <a:cubicBezTo>
                    <a:pt x="864" y="0"/>
                    <a:pt x="864" y="408"/>
                    <a:pt x="864" y="816"/>
                  </a:cubicBezTo>
                  <a:cubicBezTo>
                    <a:pt x="864" y="816"/>
                    <a:pt x="0" y="822"/>
                    <a:pt x="0" y="0"/>
                  </a:cubicBezTo>
                  <a:close/>
                </a:path>
              </a:pathLst>
            </a:custGeom>
            <a:solidFill>
              <a:srgbClr val="96968C">
                <a:lumMod val="40000"/>
                <a:lumOff val="60000"/>
              </a:srgbClr>
            </a:solidFill>
            <a:ln w="6350" cap="flat" cmpd="sng">
              <a:no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9" name="Freeform 6">
              <a:extLst>
                <a:ext uri="{FF2B5EF4-FFF2-40B4-BE49-F238E27FC236}">
                  <a16:creationId xmlns:a16="http://schemas.microsoft.com/office/drawing/2014/main" id="{710F5698-9851-46EB-B59A-BEB99AFD0561}"/>
                </a:ext>
              </a:extLst>
            </p:cNvPr>
            <p:cNvSpPr>
              <a:spLocks/>
            </p:cNvSpPr>
            <p:nvPr>
              <p:custDataLst>
                <p:tags r:id="rId4"/>
              </p:custDataLst>
            </p:nvPr>
          </p:nvSpPr>
          <p:spPr bwMode="auto">
            <a:xfrm flipH="1" flipV="1">
              <a:off x="2776538" y="3103905"/>
              <a:ext cx="2400300" cy="2217738"/>
            </a:xfrm>
            <a:custGeom>
              <a:avLst/>
              <a:gdLst/>
              <a:ahLst/>
              <a:cxnLst>
                <a:cxn ang="0">
                  <a:pos x="0" y="0"/>
                </a:cxn>
                <a:cxn ang="0">
                  <a:pos x="864" y="0"/>
                </a:cxn>
                <a:cxn ang="0">
                  <a:pos x="864" y="816"/>
                </a:cxn>
                <a:cxn ang="0">
                  <a:pos x="0" y="0"/>
                </a:cxn>
              </a:cxnLst>
              <a:rect l="0" t="0" r="r" b="b"/>
              <a:pathLst>
                <a:path w="864" h="822">
                  <a:moveTo>
                    <a:pt x="0" y="0"/>
                  </a:moveTo>
                  <a:cubicBezTo>
                    <a:pt x="432" y="0"/>
                    <a:pt x="864" y="0"/>
                    <a:pt x="864" y="0"/>
                  </a:cubicBezTo>
                  <a:cubicBezTo>
                    <a:pt x="864" y="0"/>
                    <a:pt x="864" y="408"/>
                    <a:pt x="864" y="816"/>
                  </a:cubicBezTo>
                  <a:cubicBezTo>
                    <a:pt x="864" y="816"/>
                    <a:pt x="0" y="822"/>
                    <a:pt x="0" y="0"/>
                  </a:cubicBezTo>
                  <a:close/>
                </a:path>
              </a:pathLst>
            </a:custGeom>
            <a:solidFill>
              <a:srgbClr val="A100FF"/>
            </a:solidFill>
            <a:ln w="6350" cap="flat" cmpd="sng">
              <a:no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10" name="Freeform 7">
              <a:extLst>
                <a:ext uri="{FF2B5EF4-FFF2-40B4-BE49-F238E27FC236}">
                  <a16:creationId xmlns:a16="http://schemas.microsoft.com/office/drawing/2014/main" id="{BC2C9CD3-D11C-43E5-A18D-FBEE6CF7A155}"/>
                </a:ext>
              </a:extLst>
            </p:cNvPr>
            <p:cNvSpPr>
              <a:spLocks/>
            </p:cNvSpPr>
            <p:nvPr>
              <p:custDataLst>
                <p:tags r:id="rId5"/>
              </p:custDataLst>
            </p:nvPr>
          </p:nvSpPr>
          <p:spPr bwMode="auto">
            <a:xfrm flipH="1" flipV="1">
              <a:off x="2776538" y="4194518"/>
              <a:ext cx="1195387" cy="1127125"/>
            </a:xfrm>
            <a:custGeom>
              <a:avLst/>
              <a:gdLst/>
              <a:ahLst/>
              <a:cxnLst>
                <a:cxn ang="0">
                  <a:pos x="0" y="0"/>
                </a:cxn>
                <a:cxn ang="0">
                  <a:pos x="864" y="0"/>
                </a:cxn>
                <a:cxn ang="0">
                  <a:pos x="864" y="816"/>
                </a:cxn>
                <a:cxn ang="0">
                  <a:pos x="0" y="0"/>
                </a:cxn>
              </a:cxnLst>
              <a:rect l="0" t="0" r="r" b="b"/>
              <a:pathLst>
                <a:path w="864" h="822">
                  <a:moveTo>
                    <a:pt x="0" y="0"/>
                  </a:moveTo>
                  <a:cubicBezTo>
                    <a:pt x="432" y="0"/>
                    <a:pt x="864" y="0"/>
                    <a:pt x="864" y="0"/>
                  </a:cubicBezTo>
                  <a:cubicBezTo>
                    <a:pt x="864" y="0"/>
                    <a:pt x="864" y="408"/>
                    <a:pt x="864" y="816"/>
                  </a:cubicBezTo>
                  <a:cubicBezTo>
                    <a:pt x="864" y="816"/>
                    <a:pt x="0" y="822"/>
                    <a:pt x="0" y="0"/>
                  </a:cubicBezTo>
                  <a:close/>
                </a:path>
              </a:pathLst>
            </a:custGeom>
            <a:solidFill>
              <a:schemeClr val="accent3"/>
            </a:solidFill>
            <a:ln w="6350" cap="flat" cmpd="sng">
              <a:no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11" name="Text Box 8">
              <a:extLst>
                <a:ext uri="{FF2B5EF4-FFF2-40B4-BE49-F238E27FC236}">
                  <a16:creationId xmlns:a16="http://schemas.microsoft.com/office/drawing/2014/main" id="{0C344A6A-E5AD-4769-A4DD-C15E12CCFB75}"/>
                </a:ext>
              </a:extLst>
            </p:cNvPr>
            <p:cNvSpPr txBox="1">
              <a:spLocks noChangeArrowheads="1"/>
            </p:cNvSpPr>
            <p:nvPr>
              <p:custDataLst>
                <p:tags r:id="rId6"/>
              </p:custDataLst>
            </p:nvPr>
          </p:nvSpPr>
          <p:spPr bwMode="auto">
            <a:xfrm>
              <a:off x="5381625" y="2213318"/>
              <a:ext cx="565150" cy="276225"/>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A100FF"/>
                  </a:solidFill>
                  <a:effectLst/>
                  <a:uLnTx/>
                  <a:uFillTx/>
                  <a:ea typeface="+mn-ea"/>
                  <a:cs typeface="+mn-cs"/>
                </a:rPr>
                <a:t>Area 1</a:t>
              </a:r>
            </a:p>
          </p:txBody>
        </p:sp>
        <p:sp>
          <p:nvSpPr>
            <p:cNvPr id="12" name="Text Box 9">
              <a:extLst>
                <a:ext uri="{FF2B5EF4-FFF2-40B4-BE49-F238E27FC236}">
                  <a16:creationId xmlns:a16="http://schemas.microsoft.com/office/drawing/2014/main" id="{967EDC11-2412-42F9-B4CF-E14C4333D4C2}"/>
                </a:ext>
              </a:extLst>
            </p:cNvPr>
            <p:cNvSpPr txBox="1">
              <a:spLocks noChangeArrowheads="1"/>
            </p:cNvSpPr>
            <p:nvPr>
              <p:custDataLst>
                <p:tags r:id="rId7"/>
              </p:custDataLst>
            </p:nvPr>
          </p:nvSpPr>
          <p:spPr bwMode="auto">
            <a:xfrm>
              <a:off x="4575175" y="3056280"/>
              <a:ext cx="565150" cy="277813"/>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A100FF"/>
                  </a:solidFill>
                  <a:effectLst/>
                  <a:uLnTx/>
                  <a:uFillTx/>
                  <a:ea typeface="+mn-ea"/>
                  <a:cs typeface="+mn-cs"/>
                </a:rPr>
                <a:t>Area 2</a:t>
              </a:r>
            </a:p>
          </p:txBody>
        </p:sp>
        <p:sp>
          <p:nvSpPr>
            <p:cNvPr id="13" name="Text Box 10">
              <a:extLst>
                <a:ext uri="{FF2B5EF4-FFF2-40B4-BE49-F238E27FC236}">
                  <a16:creationId xmlns:a16="http://schemas.microsoft.com/office/drawing/2014/main" id="{FCCCB310-227C-43AA-99B5-38E70F852EFE}"/>
                </a:ext>
              </a:extLst>
            </p:cNvPr>
            <p:cNvSpPr txBox="1">
              <a:spLocks noChangeArrowheads="1"/>
            </p:cNvSpPr>
            <p:nvPr>
              <p:custDataLst>
                <p:tags r:id="rId8"/>
              </p:custDataLst>
            </p:nvPr>
          </p:nvSpPr>
          <p:spPr bwMode="auto">
            <a:xfrm>
              <a:off x="3768725" y="3900830"/>
              <a:ext cx="565150" cy="277813"/>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ea typeface="+mn-ea"/>
                  <a:cs typeface="+mn-cs"/>
                </a:rPr>
                <a:t>Area 3</a:t>
              </a:r>
            </a:p>
          </p:txBody>
        </p:sp>
        <p:sp>
          <p:nvSpPr>
            <p:cNvPr id="14" name="Text Box 11">
              <a:extLst>
                <a:ext uri="{FF2B5EF4-FFF2-40B4-BE49-F238E27FC236}">
                  <a16:creationId xmlns:a16="http://schemas.microsoft.com/office/drawing/2014/main" id="{7A79A8FD-A6BF-405B-89C3-498F01317B34}"/>
                </a:ext>
              </a:extLst>
            </p:cNvPr>
            <p:cNvSpPr txBox="1">
              <a:spLocks noChangeArrowheads="1"/>
            </p:cNvSpPr>
            <p:nvPr>
              <p:custDataLst>
                <p:tags r:id="rId9"/>
              </p:custDataLst>
            </p:nvPr>
          </p:nvSpPr>
          <p:spPr bwMode="auto">
            <a:xfrm>
              <a:off x="2963863" y="4745380"/>
              <a:ext cx="565150" cy="277813"/>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ea typeface="+mn-ea"/>
                  <a:cs typeface="+mn-cs"/>
                </a:rPr>
                <a:t>Area 4</a:t>
              </a:r>
            </a:p>
          </p:txBody>
        </p:sp>
        <p:sp>
          <p:nvSpPr>
            <p:cNvPr id="15" name="Line 12">
              <a:extLst>
                <a:ext uri="{FF2B5EF4-FFF2-40B4-BE49-F238E27FC236}">
                  <a16:creationId xmlns:a16="http://schemas.microsoft.com/office/drawing/2014/main" id="{5EDA36B9-C5AD-4FC4-A8EC-B09722CC5141}"/>
                </a:ext>
              </a:extLst>
            </p:cNvPr>
            <p:cNvSpPr>
              <a:spLocks noChangeShapeType="1"/>
            </p:cNvSpPr>
            <p:nvPr>
              <p:custDataLst>
                <p:tags r:id="rId10"/>
              </p:custDataLst>
            </p:nvPr>
          </p:nvSpPr>
          <p:spPr bwMode="auto">
            <a:xfrm flipV="1">
              <a:off x="2776538" y="1610067"/>
              <a:ext cx="0" cy="3711574"/>
            </a:xfrm>
            <a:prstGeom prst="line">
              <a:avLst/>
            </a:prstGeom>
            <a:noFill/>
            <a:ln w="6350">
              <a:solidFill>
                <a:srgbClr val="000000"/>
              </a:solidFill>
              <a:round/>
              <a:headEnd/>
              <a:tailEnd type="triangle" w="med" len="me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16" name="Line 13">
              <a:extLst>
                <a:ext uri="{FF2B5EF4-FFF2-40B4-BE49-F238E27FC236}">
                  <a16:creationId xmlns:a16="http://schemas.microsoft.com/office/drawing/2014/main" id="{924990D8-C802-48D3-B2C9-9AF6232C880F}"/>
                </a:ext>
              </a:extLst>
            </p:cNvPr>
            <p:cNvSpPr>
              <a:spLocks noChangeShapeType="1"/>
            </p:cNvSpPr>
            <p:nvPr>
              <p:custDataLst>
                <p:tags r:id="rId11"/>
              </p:custDataLst>
            </p:nvPr>
          </p:nvSpPr>
          <p:spPr bwMode="auto">
            <a:xfrm rot="5400000" flipV="1">
              <a:off x="4628357" y="3469824"/>
              <a:ext cx="0" cy="3703637"/>
            </a:xfrm>
            <a:prstGeom prst="line">
              <a:avLst/>
            </a:prstGeom>
            <a:noFill/>
            <a:ln w="6350">
              <a:solidFill>
                <a:srgbClr val="000000"/>
              </a:solidFill>
              <a:round/>
              <a:headEnd/>
              <a:tailEnd type="triangle" w="med" len="me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17" name="Text Box 14">
              <a:extLst>
                <a:ext uri="{FF2B5EF4-FFF2-40B4-BE49-F238E27FC236}">
                  <a16:creationId xmlns:a16="http://schemas.microsoft.com/office/drawing/2014/main" id="{07CDB06C-CAFE-4F49-8730-2526CB5B35A0}"/>
                </a:ext>
              </a:extLst>
            </p:cNvPr>
            <p:cNvSpPr txBox="1">
              <a:spLocks noChangeArrowheads="1"/>
            </p:cNvSpPr>
            <p:nvPr>
              <p:custDataLst>
                <p:tags r:id="rId12"/>
              </p:custDataLst>
            </p:nvPr>
          </p:nvSpPr>
          <p:spPr bwMode="auto">
            <a:xfrm>
              <a:off x="2790825" y="5321643"/>
              <a:ext cx="3608388" cy="406400"/>
            </a:xfrm>
            <a:prstGeom prst="rect">
              <a:avLst/>
            </a:prstGeom>
            <a:noFill/>
            <a:ln w="6350">
              <a:noFill/>
              <a:miter lim="800000"/>
              <a:headEnd/>
              <a:tailEnd/>
            </a:ln>
            <a:effectLst/>
          </p:spPr>
          <p:txBody>
            <a:bodyPr wrap="none" lIns="45720" rIns="45720"/>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X-Criteria</a:t>
              </a:r>
            </a:p>
          </p:txBody>
        </p:sp>
      </p:grpSp>
      <p:sp>
        <p:nvSpPr>
          <p:cNvPr id="19" name="Footer Placeholder 18">
            <a:extLst>
              <a:ext uri="{FF2B5EF4-FFF2-40B4-BE49-F238E27FC236}">
                <a16:creationId xmlns:a16="http://schemas.microsoft.com/office/drawing/2014/main" id="{5DFFF6B3-C9C2-4FBA-A911-D5DD55BF4CA3}"/>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0" name="Slide Number Placeholder 19">
            <a:extLst>
              <a:ext uri="{FF2B5EF4-FFF2-40B4-BE49-F238E27FC236}">
                <a16:creationId xmlns:a16="http://schemas.microsoft.com/office/drawing/2014/main" id="{1D681EC7-0DA0-4827-A46B-FB244C22957D}"/>
              </a:ext>
            </a:extLst>
          </p:cNvPr>
          <p:cNvSpPr>
            <a:spLocks noGrp="1"/>
          </p:cNvSpPr>
          <p:nvPr>
            <p:ph type="sldNum" sz="quarter" idx="10"/>
          </p:nvPr>
        </p:nvSpPr>
        <p:spPr/>
        <p:txBody>
          <a:bodyPr/>
          <a:lstStyle/>
          <a:p>
            <a:fld id="{1F90F471-3972-4120-B8B3-0237DE626C35}" type="slidenum">
              <a:rPr lang="en-US" smtClean="0"/>
              <a:pPr/>
              <a:t>423</a:t>
            </a:fld>
            <a:endParaRPr lang="en-US" dirty="0"/>
          </a:p>
        </p:txBody>
      </p:sp>
    </p:spTree>
    <p:extLst>
      <p:ext uri="{BB962C8B-B14F-4D97-AF65-F5344CB8AC3E}">
        <p14:creationId xmlns:p14="http://schemas.microsoft.com/office/powerpoint/2010/main" val="1893131996"/>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Cost Map </a:t>
            </a:r>
            <a:br>
              <a:rPr lang="en-US" dirty="0"/>
            </a:br>
            <a:r>
              <a:rPr lang="en-US" dirty="0"/>
              <a:t>(Total Cost Structure of Company)</a:t>
            </a:r>
          </a:p>
        </p:txBody>
      </p:sp>
      <p:grpSp>
        <p:nvGrpSpPr>
          <p:cNvPr id="3" name="Group 2" descr="Cost Map">
            <a:extLst>
              <a:ext uri="{FF2B5EF4-FFF2-40B4-BE49-F238E27FC236}">
                <a16:creationId xmlns:a16="http://schemas.microsoft.com/office/drawing/2014/main" id="{158AEAA0-E82F-4C4B-AE0A-8F630DBF968C}"/>
              </a:ext>
            </a:extLst>
          </p:cNvPr>
          <p:cNvGrpSpPr/>
          <p:nvPr/>
        </p:nvGrpSpPr>
        <p:grpSpPr>
          <a:xfrm>
            <a:off x="381000" y="1808814"/>
            <a:ext cx="5807075" cy="3692259"/>
            <a:chOff x="381000" y="1808814"/>
            <a:chExt cx="5807075" cy="3692259"/>
          </a:xfrm>
        </p:grpSpPr>
        <p:sp>
          <p:nvSpPr>
            <p:cNvPr id="7" name="Textplatzhalter 15">
              <a:extLst>
                <a:ext uri="{FF2B5EF4-FFF2-40B4-BE49-F238E27FC236}">
                  <a16:creationId xmlns:a16="http://schemas.microsoft.com/office/drawing/2014/main" id="{BDF390A3-1BF5-4EB9-BCEE-31311340CDEE}"/>
                </a:ext>
              </a:extLst>
            </p:cNvPr>
            <p:cNvSpPr txBox="1">
              <a:spLocks/>
            </p:cNvSpPr>
            <p:nvPr/>
          </p:nvSpPr>
          <p:spPr bwMode="auto">
            <a:xfrm>
              <a:off x="381000" y="1808814"/>
              <a:ext cx="5807075" cy="307777"/>
            </a:xfrm>
            <a:prstGeom prst="rect">
              <a:avLst/>
            </a:prstGeom>
          </p:spPr>
          <p:txBody>
            <a:bodyPr lIns="0" tIns="0" rIns="0" bIns="0"/>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2"/>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2"/>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1800" b="0" i="0" kern="1200" cap="none" baseline="0">
                  <a:solidFill>
                    <a:schemeClr val="tx2"/>
                  </a:solidFill>
                  <a:latin typeface="+mn-lt"/>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marL="0" marR="0" lvl="0" indent="0" algn="l" defTabSz="1734634" rtl="0" eaLnBrk="1" fontAlgn="auto" latinLnBrk="0" hangingPunct="1">
                <a:lnSpc>
                  <a:spcPct val="90000"/>
                </a:lnSpc>
                <a:spcBef>
                  <a:spcPts val="800"/>
                </a:spcBef>
                <a:spcAft>
                  <a:spcPts val="0"/>
                </a:spcAft>
                <a:buClrTx/>
                <a:buSzTx/>
                <a:buFont typeface="Arial" charset="0"/>
                <a:buNone/>
                <a:tabLst/>
                <a:defRPr/>
              </a:pPr>
              <a:r>
                <a:rPr kumimoji="0" lang="de-DE" sz="1800" b="1" i="0" u="none" strike="noStrike" kern="1200" cap="none" spc="0" normalizeH="0" baseline="0" noProof="0" dirty="0">
                  <a:ln>
                    <a:noFill/>
                  </a:ln>
                  <a:solidFill>
                    <a:srgbClr val="000000"/>
                  </a:solidFill>
                  <a:effectLst/>
                  <a:uLnTx/>
                  <a:uFillTx/>
                  <a:latin typeface="+mj-lt"/>
                </a:rPr>
                <a:t>Total costs: $xym</a:t>
              </a:r>
            </a:p>
          </p:txBody>
        </p:sp>
        <p:cxnSp>
          <p:nvCxnSpPr>
            <p:cNvPr id="9" name="Straight Connector 8">
              <a:extLst>
                <a:ext uri="{FF2B5EF4-FFF2-40B4-BE49-F238E27FC236}">
                  <a16:creationId xmlns:a16="http://schemas.microsoft.com/office/drawing/2014/main" id="{8974BCE3-C021-4857-8F4B-B5045AFF6C18}"/>
                </a:ext>
                <a:ext uri="{C183D7F6-B498-43B3-948B-1728B52AA6E4}">
                  <adec:decorative xmlns:adec="http://schemas.microsoft.com/office/drawing/2017/decorative" val="1"/>
                </a:ext>
              </a:extLst>
            </p:cNvPr>
            <p:cNvCxnSpPr/>
            <p:nvPr/>
          </p:nvCxnSpPr>
          <p:spPr>
            <a:xfrm>
              <a:off x="381000" y="2084772"/>
              <a:ext cx="5807075" cy="0"/>
            </a:xfrm>
            <a:prstGeom prst="line">
              <a:avLst/>
            </a:prstGeom>
            <a:noFill/>
            <a:ln w="25400" cap="flat" cmpd="sng" algn="ctr">
              <a:solidFill>
                <a:srgbClr val="A100FF">
                  <a:shade val="95000"/>
                  <a:satMod val="105000"/>
                </a:srgbClr>
              </a:solidFill>
              <a:prstDash val="solid"/>
            </a:ln>
            <a:effectLst/>
          </p:spPr>
        </p:cxnSp>
        <p:sp>
          <p:nvSpPr>
            <p:cNvPr id="13" name="Rectangle 7">
              <a:extLst>
                <a:ext uri="{FF2B5EF4-FFF2-40B4-BE49-F238E27FC236}">
                  <a16:creationId xmlns:a16="http://schemas.microsoft.com/office/drawing/2014/main" id="{1B57C0D5-7D5D-4312-BAE3-288F4098E46F}"/>
                </a:ext>
              </a:extLst>
            </p:cNvPr>
            <p:cNvSpPr>
              <a:spLocks noChangeArrowheads="1"/>
            </p:cNvSpPr>
            <p:nvPr/>
          </p:nvSpPr>
          <p:spPr bwMode="auto">
            <a:xfrm>
              <a:off x="381000" y="2170497"/>
              <a:ext cx="5807075" cy="415885"/>
            </a:xfrm>
            <a:prstGeom prst="rect">
              <a:avLst/>
            </a:prstGeom>
            <a:solidFill>
              <a:srgbClr val="E4E7E7"/>
            </a:solidFill>
            <a:ln w="6350">
              <a:solidFill>
                <a:srgbClr val="FFFFFF"/>
              </a:solidFill>
              <a:miter lim="800000"/>
              <a:headEnd/>
              <a:tailEnd/>
            </a:ln>
            <a:effectLst/>
          </p:spPr>
          <p:txBody>
            <a:bodyPr wrap="none"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R&amp;D $</a:t>
              </a:r>
              <a:r>
                <a:rPr kumimoji="0" lang="en-US" sz="1400" b="0" i="0" u="none" strike="noStrike" kern="0" cap="none" spc="0" normalizeH="0" baseline="0" noProof="0" dirty="0" err="1">
                  <a:ln>
                    <a:noFill/>
                  </a:ln>
                  <a:solidFill>
                    <a:srgbClr val="000000"/>
                  </a:solidFill>
                  <a:effectLst/>
                  <a:uLnTx/>
                  <a:uFillTx/>
                  <a:ea typeface="+mn-ea"/>
                  <a:cs typeface="+mn-cs"/>
                </a:rPr>
                <a:t>Xm</a:t>
              </a:r>
              <a:endParaRPr kumimoji="0" lang="en-US" sz="1400" b="0" i="0" u="none" strike="noStrike" kern="0" cap="none" spc="0" normalizeH="0" baseline="0" noProof="0" dirty="0">
                <a:ln>
                  <a:noFill/>
                </a:ln>
                <a:solidFill>
                  <a:srgbClr val="000000"/>
                </a:solidFill>
                <a:effectLst/>
                <a:uLnTx/>
                <a:uFillTx/>
                <a:ea typeface="+mn-ea"/>
                <a:cs typeface="+mn-cs"/>
              </a:endParaRPr>
            </a:p>
          </p:txBody>
        </p:sp>
        <p:sp>
          <p:nvSpPr>
            <p:cNvPr id="10" name="Rectangle 4">
              <a:extLst>
                <a:ext uri="{FF2B5EF4-FFF2-40B4-BE49-F238E27FC236}">
                  <a16:creationId xmlns:a16="http://schemas.microsoft.com/office/drawing/2014/main" id="{DFFA874B-6BC0-4973-AD37-25DCE343B181}"/>
                </a:ext>
              </a:extLst>
            </p:cNvPr>
            <p:cNvSpPr>
              <a:spLocks noChangeArrowheads="1"/>
            </p:cNvSpPr>
            <p:nvPr/>
          </p:nvSpPr>
          <p:spPr bwMode="auto">
            <a:xfrm>
              <a:off x="381000" y="2586382"/>
              <a:ext cx="5807075" cy="415885"/>
            </a:xfrm>
            <a:prstGeom prst="rect">
              <a:avLst/>
            </a:prstGeom>
            <a:solidFill>
              <a:srgbClr val="E4E7E7"/>
            </a:solidFill>
            <a:ln w="6350">
              <a:solidFill>
                <a:srgbClr val="FFFFFF"/>
              </a:solidFill>
              <a:miter lim="800000"/>
              <a:headEnd/>
              <a:tailEnd/>
            </a:ln>
            <a:effectLst/>
          </p:spPr>
          <p:txBody>
            <a:bodyPr wrap="none" lIns="72000" tIns="72000" rIns="72000" bIns="72000" anchor="ctr"/>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Finance &amp; Strategy $</a:t>
              </a:r>
              <a:r>
                <a:rPr kumimoji="0" lang="en-US" sz="1400" b="0" i="0" u="none" strike="noStrike" kern="0" cap="none" spc="0" normalizeH="0" baseline="0" noProof="0" dirty="0" err="1">
                  <a:ln>
                    <a:noFill/>
                  </a:ln>
                  <a:solidFill>
                    <a:srgbClr val="000000"/>
                  </a:solidFill>
                  <a:effectLst/>
                  <a:uLnTx/>
                  <a:uFillTx/>
                  <a:ea typeface="+mn-ea"/>
                  <a:cs typeface="+mn-cs"/>
                </a:rPr>
                <a:t>Xm</a:t>
              </a:r>
              <a:endParaRPr kumimoji="0" lang="en-US" sz="1400" b="0" i="0" u="none" strike="noStrike" kern="0" cap="none" spc="0" normalizeH="0" baseline="0" noProof="0" dirty="0">
                <a:ln>
                  <a:noFill/>
                </a:ln>
                <a:solidFill>
                  <a:srgbClr val="000000"/>
                </a:solidFill>
                <a:effectLst/>
                <a:uLnTx/>
                <a:uFillTx/>
                <a:ea typeface="+mn-ea"/>
                <a:cs typeface="+mn-cs"/>
              </a:endParaRPr>
            </a:p>
          </p:txBody>
        </p:sp>
        <p:sp>
          <p:nvSpPr>
            <p:cNvPr id="11" name="Rectangle 5">
              <a:extLst>
                <a:ext uri="{FF2B5EF4-FFF2-40B4-BE49-F238E27FC236}">
                  <a16:creationId xmlns:a16="http://schemas.microsoft.com/office/drawing/2014/main" id="{CF9EDA42-8E28-411D-8B55-45DB4013B223}"/>
                </a:ext>
              </a:extLst>
            </p:cNvPr>
            <p:cNvSpPr>
              <a:spLocks noChangeArrowheads="1"/>
            </p:cNvSpPr>
            <p:nvPr/>
          </p:nvSpPr>
          <p:spPr bwMode="auto">
            <a:xfrm>
              <a:off x="381000" y="3002267"/>
              <a:ext cx="5807075" cy="415885"/>
            </a:xfrm>
            <a:prstGeom prst="rect">
              <a:avLst/>
            </a:prstGeom>
            <a:solidFill>
              <a:srgbClr val="E4E7E7"/>
            </a:solidFill>
            <a:ln w="6350">
              <a:solidFill>
                <a:srgbClr val="FFFFFF"/>
              </a:solidFill>
              <a:miter lim="800000"/>
              <a:headEnd/>
              <a:tailEnd/>
            </a:ln>
            <a:effectLst/>
          </p:spPr>
          <p:txBody>
            <a:bodyPr wrap="none" lIns="72000" tIns="72000" rIns="72000" bIns="72000" anchor="ctr"/>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HR $Xm</a:t>
              </a:r>
            </a:p>
          </p:txBody>
        </p:sp>
        <p:sp>
          <p:nvSpPr>
            <p:cNvPr id="12" name="Rectangle 6">
              <a:extLst>
                <a:ext uri="{FF2B5EF4-FFF2-40B4-BE49-F238E27FC236}">
                  <a16:creationId xmlns:a16="http://schemas.microsoft.com/office/drawing/2014/main" id="{3DC221CF-3AF5-4421-9745-B5AC7046E277}"/>
                </a:ext>
              </a:extLst>
            </p:cNvPr>
            <p:cNvSpPr>
              <a:spLocks noChangeArrowheads="1"/>
            </p:cNvSpPr>
            <p:nvPr/>
          </p:nvSpPr>
          <p:spPr bwMode="auto">
            <a:xfrm>
              <a:off x="381000" y="3418152"/>
              <a:ext cx="5807075" cy="417632"/>
            </a:xfrm>
            <a:prstGeom prst="rect">
              <a:avLst/>
            </a:prstGeom>
            <a:solidFill>
              <a:srgbClr val="E4E7E7"/>
            </a:solidFill>
            <a:ln w="6350">
              <a:solidFill>
                <a:srgbClr val="FFFFFF"/>
              </a:solidFill>
              <a:miter lim="800000"/>
              <a:headEnd/>
              <a:tailEnd/>
            </a:ln>
            <a:effectLst/>
          </p:spPr>
          <p:txBody>
            <a:bodyPr wrap="none" lIns="72000" tIns="72000" rIns="72000" bIns="72000" anchor="ctr"/>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Administration $Xm</a:t>
              </a:r>
            </a:p>
          </p:txBody>
        </p:sp>
        <p:sp>
          <p:nvSpPr>
            <p:cNvPr id="14" name="Rectangle 8">
              <a:extLst>
                <a:ext uri="{FF2B5EF4-FFF2-40B4-BE49-F238E27FC236}">
                  <a16:creationId xmlns:a16="http://schemas.microsoft.com/office/drawing/2014/main" id="{6E781E23-54C3-4ED4-906A-E26AF98CE410}"/>
                </a:ext>
              </a:extLst>
            </p:cNvPr>
            <p:cNvSpPr>
              <a:spLocks noChangeArrowheads="1"/>
            </p:cNvSpPr>
            <p:nvPr/>
          </p:nvSpPr>
          <p:spPr bwMode="auto">
            <a:xfrm>
              <a:off x="381000" y="3835785"/>
              <a:ext cx="1450458" cy="1665288"/>
            </a:xfrm>
            <a:prstGeom prst="rect">
              <a:avLst/>
            </a:prstGeom>
            <a:solidFill>
              <a:srgbClr val="E4E7E7"/>
            </a:solidFill>
            <a:ln w="6350">
              <a:solidFill>
                <a:srgbClr val="FFFFFF"/>
              </a:solidFill>
              <a:miter lim="800000"/>
              <a:headEnd/>
              <a:tailEnd/>
            </a:ln>
          </p:spPr>
          <p:txBody>
            <a:bodyPr lIns="72000" tIns="72000" rIns="72000" bIns="7200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Procurement</a:t>
              </a:r>
            </a:p>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a:t>
              </a:r>
              <a:r>
                <a:rPr kumimoji="0" lang="en-US" sz="1400" b="0" i="0" u="none" strike="noStrike" kern="0" cap="none" spc="0" normalizeH="0" baseline="0" noProof="0" dirty="0" err="1">
                  <a:ln>
                    <a:noFill/>
                  </a:ln>
                  <a:solidFill>
                    <a:srgbClr val="000000"/>
                  </a:solidFill>
                  <a:effectLst/>
                  <a:uLnTx/>
                  <a:uFillTx/>
                  <a:ea typeface="+mn-ea"/>
                  <a:cs typeface="+mn-cs"/>
                </a:rPr>
                <a:t>Xm</a:t>
              </a:r>
              <a:endParaRPr kumimoji="0" lang="en-US" sz="1400" b="0" i="0" u="none" strike="noStrike" kern="0" cap="none" spc="0" normalizeH="0" baseline="0" noProof="0" dirty="0">
                <a:ln>
                  <a:noFill/>
                </a:ln>
                <a:solidFill>
                  <a:srgbClr val="000000"/>
                </a:solidFill>
                <a:effectLst/>
                <a:uLnTx/>
                <a:uFillTx/>
                <a:ea typeface="+mn-ea"/>
                <a:cs typeface="+mn-cs"/>
              </a:endParaRPr>
            </a:p>
          </p:txBody>
        </p:sp>
        <p:sp>
          <p:nvSpPr>
            <p:cNvPr id="15" name="Rectangle 9">
              <a:extLst>
                <a:ext uri="{FF2B5EF4-FFF2-40B4-BE49-F238E27FC236}">
                  <a16:creationId xmlns:a16="http://schemas.microsoft.com/office/drawing/2014/main" id="{EC1F6F8E-7A68-4339-85D8-BE674C353EF9}"/>
                </a:ext>
              </a:extLst>
            </p:cNvPr>
            <p:cNvSpPr>
              <a:spLocks noChangeArrowheads="1"/>
            </p:cNvSpPr>
            <p:nvPr/>
          </p:nvSpPr>
          <p:spPr bwMode="auto">
            <a:xfrm>
              <a:off x="1831458" y="3835785"/>
              <a:ext cx="1452206" cy="1665288"/>
            </a:xfrm>
            <a:prstGeom prst="rect">
              <a:avLst/>
            </a:prstGeom>
            <a:solidFill>
              <a:srgbClr val="E4E7E7"/>
            </a:solidFill>
            <a:ln w="6350">
              <a:solidFill>
                <a:srgbClr val="FFFFFF"/>
              </a:solidFill>
              <a:miter lim="800000"/>
              <a:headEnd/>
              <a:tailEnd/>
            </a:ln>
          </p:spPr>
          <p:txBody>
            <a:bodyPr lIns="72000" tIns="72000" rIns="72000" bIns="7200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Manufacturing</a:t>
              </a:r>
            </a:p>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Xm</a:t>
              </a:r>
            </a:p>
          </p:txBody>
        </p:sp>
        <p:sp>
          <p:nvSpPr>
            <p:cNvPr id="16" name="Rectangle 10">
              <a:extLst>
                <a:ext uri="{FF2B5EF4-FFF2-40B4-BE49-F238E27FC236}">
                  <a16:creationId xmlns:a16="http://schemas.microsoft.com/office/drawing/2014/main" id="{5D2E757B-08CF-49E2-877B-B31BDE5BB1C9}"/>
                </a:ext>
              </a:extLst>
            </p:cNvPr>
            <p:cNvSpPr>
              <a:spLocks noChangeArrowheads="1"/>
            </p:cNvSpPr>
            <p:nvPr/>
          </p:nvSpPr>
          <p:spPr bwMode="auto">
            <a:xfrm>
              <a:off x="3283664" y="3835785"/>
              <a:ext cx="1450458" cy="1665288"/>
            </a:xfrm>
            <a:prstGeom prst="rect">
              <a:avLst/>
            </a:prstGeom>
            <a:solidFill>
              <a:srgbClr val="E4E7E7"/>
            </a:solidFill>
            <a:ln w="6350">
              <a:solidFill>
                <a:srgbClr val="FFFFFF"/>
              </a:solidFill>
              <a:miter lim="800000"/>
              <a:headEnd/>
              <a:tailEnd/>
            </a:ln>
          </p:spPr>
          <p:txBody>
            <a:bodyPr lIns="72000" tIns="72000" rIns="72000" bIns="7200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Sales</a:t>
              </a:r>
            </a:p>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Xm</a:t>
              </a:r>
            </a:p>
          </p:txBody>
        </p:sp>
        <p:sp>
          <p:nvSpPr>
            <p:cNvPr id="17" name="Rectangle 11">
              <a:extLst>
                <a:ext uri="{FF2B5EF4-FFF2-40B4-BE49-F238E27FC236}">
                  <a16:creationId xmlns:a16="http://schemas.microsoft.com/office/drawing/2014/main" id="{8353AEAB-FD28-42BA-8C3C-3D017308699E}"/>
                </a:ext>
              </a:extLst>
            </p:cNvPr>
            <p:cNvSpPr>
              <a:spLocks noChangeArrowheads="1"/>
            </p:cNvSpPr>
            <p:nvPr/>
          </p:nvSpPr>
          <p:spPr bwMode="auto">
            <a:xfrm>
              <a:off x="4728879" y="3835785"/>
              <a:ext cx="1457448" cy="1665288"/>
            </a:xfrm>
            <a:prstGeom prst="rect">
              <a:avLst/>
            </a:prstGeom>
            <a:solidFill>
              <a:srgbClr val="E4E7E7"/>
            </a:solidFill>
            <a:ln w="6350">
              <a:solidFill>
                <a:srgbClr val="FFFFFF"/>
              </a:solidFill>
              <a:miter lim="800000"/>
              <a:headEnd/>
              <a:tailEnd/>
            </a:ln>
          </p:spPr>
          <p:txBody>
            <a:bodyPr lIns="72000" tIns="72000" rIns="72000" bIns="72000"/>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Customer</a:t>
              </a:r>
              <a:br>
                <a:rPr kumimoji="0" lang="en-US" sz="1400" b="0" i="0" u="none" strike="noStrike" kern="0" cap="none" spc="0" normalizeH="0" baseline="0" noProof="0">
                  <a:ln>
                    <a:noFill/>
                  </a:ln>
                  <a:solidFill>
                    <a:srgbClr val="000000"/>
                  </a:solidFill>
                  <a:effectLst/>
                  <a:uLnTx/>
                  <a:uFillTx/>
                  <a:ea typeface="+mn-ea"/>
                  <a:cs typeface="+mn-cs"/>
                </a:rPr>
              </a:br>
              <a:r>
                <a:rPr kumimoji="0" lang="en-US" sz="1400" b="0" i="0" u="none" strike="noStrike" kern="0" cap="none" spc="0" normalizeH="0" baseline="0" noProof="0">
                  <a:ln>
                    <a:noFill/>
                  </a:ln>
                  <a:solidFill>
                    <a:srgbClr val="000000"/>
                  </a:solidFill>
                  <a:effectLst/>
                  <a:uLnTx/>
                  <a:uFillTx/>
                  <a:ea typeface="+mn-ea"/>
                  <a:cs typeface="+mn-cs"/>
                </a:rPr>
                <a:t>Service</a:t>
              </a:r>
              <a:br>
                <a:rPr kumimoji="0" lang="en-US" sz="1400" b="0" i="0" u="none" strike="noStrike" kern="0" cap="none" spc="0" normalizeH="0" baseline="0" noProof="0">
                  <a:ln>
                    <a:noFill/>
                  </a:ln>
                  <a:solidFill>
                    <a:srgbClr val="000000"/>
                  </a:solidFill>
                  <a:effectLst/>
                  <a:uLnTx/>
                  <a:uFillTx/>
                  <a:ea typeface="+mn-ea"/>
                  <a:cs typeface="+mn-cs"/>
                </a:rPr>
              </a:br>
              <a:r>
                <a:rPr kumimoji="0" lang="en-US" sz="1400" b="0" i="0" u="none" strike="noStrike" kern="0" cap="none" spc="0" normalizeH="0" baseline="0" noProof="0">
                  <a:ln>
                    <a:noFill/>
                  </a:ln>
                  <a:solidFill>
                    <a:srgbClr val="000000"/>
                  </a:solidFill>
                  <a:effectLst/>
                  <a:uLnTx/>
                  <a:uFillTx/>
                  <a:ea typeface="+mn-ea"/>
                  <a:cs typeface="+mn-cs"/>
                </a:rPr>
                <a:t>$Xm</a:t>
              </a:r>
            </a:p>
          </p:txBody>
        </p:sp>
      </p:grpSp>
      <p:sp>
        <p:nvSpPr>
          <p:cNvPr id="5" name="Footer Placeholder 4">
            <a:extLst>
              <a:ext uri="{FF2B5EF4-FFF2-40B4-BE49-F238E27FC236}">
                <a16:creationId xmlns:a16="http://schemas.microsoft.com/office/drawing/2014/main" id="{434D7D0B-88E5-49C6-AA53-6113755491D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9" name="Slide Number Placeholder 18">
            <a:extLst>
              <a:ext uri="{FF2B5EF4-FFF2-40B4-BE49-F238E27FC236}">
                <a16:creationId xmlns:a16="http://schemas.microsoft.com/office/drawing/2014/main" id="{DF527A1D-8A80-4C12-BC3D-266A4DA39DBA}"/>
              </a:ext>
            </a:extLst>
          </p:cNvPr>
          <p:cNvSpPr>
            <a:spLocks noGrp="1"/>
          </p:cNvSpPr>
          <p:nvPr>
            <p:ph type="sldNum" sz="quarter" idx="10"/>
          </p:nvPr>
        </p:nvSpPr>
        <p:spPr/>
        <p:txBody>
          <a:bodyPr/>
          <a:lstStyle/>
          <a:p>
            <a:fld id="{1F90F471-3972-4120-B8B3-0237DE626C35}" type="slidenum">
              <a:rPr lang="en-US" smtClean="0"/>
              <a:pPr/>
              <a:t>424</a:t>
            </a:fld>
            <a:endParaRPr lang="en-US" dirty="0"/>
          </a:p>
        </p:txBody>
      </p:sp>
    </p:spTree>
    <p:extLst>
      <p:ext uri="{BB962C8B-B14F-4D97-AF65-F5344CB8AC3E}">
        <p14:creationId xmlns:p14="http://schemas.microsoft.com/office/powerpoint/2010/main" val="2525147181"/>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Target Market Comparison</a:t>
            </a:r>
          </a:p>
        </p:txBody>
      </p:sp>
      <p:grpSp>
        <p:nvGrpSpPr>
          <p:cNvPr id="3" name="Group 2" descr="Target Market">
            <a:extLst>
              <a:ext uri="{FF2B5EF4-FFF2-40B4-BE49-F238E27FC236}">
                <a16:creationId xmlns:a16="http://schemas.microsoft.com/office/drawing/2014/main" id="{52002F2A-6040-452B-B57A-BA1C15EE186E}"/>
              </a:ext>
            </a:extLst>
          </p:cNvPr>
          <p:cNvGrpSpPr/>
          <p:nvPr/>
        </p:nvGrpSpPr>
        <p:grpSpPr>
          <a:xfrm>
            <a:off x="3411538" y="1990328"/>
            <a:ext cx="4899025" cy="2962275"/>
            <a:chOff x="3411538" y="1990328"/>
            <a:chExt cx="4899025" cy="2962275"/>
          </a:xfrm>
        </p:grpSpPr>
        <p:sp>
          <p:nvSpPr>
            <p:cNvPr id="6" name="AutoShape 4">
              <a:extLst>
                <a:ext uri="{FF2B5EF4-FFF2-40B4-BE49-F238E27FC236}">
                  <a16:creationId xmlns:a16="http://schemas.microsoft.com/office/drawing/2014/main" id="{F96F2C94-4F98-49C6-8829-E96B50B667E5}"/>
                </a:ext>
                <a:ext uri="{C183D7F6-B498-43B3-948B-1728B52AA6E4}">
                  <adec:decorative xmlns:adec="http://schemas.microsoft.com/office/drawing/2017/decorative" val="1"/>
                </a:ext>
              </a:extLst>
            </p:cNvPr>
            <p:cNvSpPr>
              <a:spLocks noChangeArrowheads="1"/>
            </p:cNvSpPr>
            <p:nvPr/>
          </p:nvSpPr>
          <p:spPr bwMode="auto">
            <a:xfrm>
              <a:off x="6257457" y="2622153"/>
              <a:ext cx="1154781" cy="1416050"/>
            </a:xfrm>
            <a:prstGeom prst="triangle">
              <a:avLst>
                <a:gd name="adj" fmla="val 50000"/>
              </a:avLst>
            </a:prstGeom>
            <a:solidFill>
              <a:srgbClr val="E4E7E7"/>
            </a:solidFill>
            <a:ln w="6350">
              <a:noFill/>
              <a:miter lim="800000"/>
              <a:headEnd/>
              <a:tailEnd/>
            </a:ln>
            <a:effectLst/>
          </p:spPr>
          <p:txBody>
            <a:bodyPr wrap="none" lIns="45720" rIns="4572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7" name="AutoShape 5">
              <a:extLst>
                <a:ext uri="{FF2B5EF4-FFF2-40B4-BE49-F238E27FC236}">
                  <a16:creationId xmlns:a16="http://schemas.microsoft.com/office/drawing/2014/main" id="{26710E41-8CD5-4805-993C-DC5818DA647C}"/>
                </a:ext>
                <a:ext uri="{C183D7F6-B498-43B3-948B-1728B52AA6E4}">
                  <adec:decorative xmlns:adec="http://schemas.microsoft.com/office/drawing/2017/decorative" val="1"/>
                </a:ext>
              </a:extLst>
            </p:cNvPr>
            <p:cNvSpPr>
              <a:spLocks noChangeArrowheads="1"/>
            </p:cNvSpPr>
            <p:nvPr/>
          </p:nvSpPr>
          <p:spPr bwMode="auto">
            <a:xfrm>
              <a:off x="3411538" y="2622153"/>
              <a:ext cx="1883113" cy="2330450"/>
            </a:xfrm>
            <a:prstGeom prst="triangle">
              <a:avLst>
                <a:gd name="adj" fmla="val 50000"/>
              </a:avLst>
            </a:prstGeom>
            <a:solidFill>
              <a:srgbClr val="E4E7E7"/>
            </a:solidFill>
            <a:ln w="6350">
              <a:noFill/>
              <a:miter lim="800000"/>
              <a:headEnd/>
              <a:tailEnd/>
            </a:ln>
            <a:effectLst/>
          </p:spPr>
          <p:txBody>
            <a:bodyPr wrap="none" lIns="45720" rIns="4572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8" name="Freeform 6">
              <a:extLst>
                <a:ext uri="{FF2B5EF4-FFF2-40B4-BE49-F238E27FC236}">
                  <a16:creationId xmlns:a16="http://schemas.microsoft.com/office/drawing/2014/main" id="{0560BF26-B850-41C9-B059-8F63F4544138}"/>
                </a:ext>
                <a:ext uri="{C183D7F6-B498-43B3-948B-1728B52AA6E4}">
                  <adec:decorative xmlns:adec="http://schemas.microsoft.com/office/drawing/2017/decorative" val="1"/>
                </a:ext>
              </a:extLst>
            </p:cNvPr>
            <p:cNvSpPr>
              <a:spLocks/>
            </p:cNvSpPr>
            <p:nvPr/>
          </p:nvSpPr>
          <p:spPr bwMode="auto">
            <a:xfrm>
              <a:off x="3962550" y="2622153"/>
              <a:ext cx="779623" cy="949325"/>
            </a:xfrm>
            <a:custGeom>
              <a:avLst/>
              <a:gdLst/>
              <a:ahLst/>
              <a:cxnLst>
                <a:cxn ang="0">
                  <a:pos x="358" y="0"/>
                </a:cxn>
                <a:cxn ang="0">
                  <a:pos x="0" y="620"/>
                </a:cxn>
                <a:cxn ang="0">
                  <a:pos x="717" y="620"/>
                </a:cxn>
                <a:cxn ang="0">
                  <a:pos x="358" y="0"/>
                </a:cxn>
              </a:cxnLst>
              <a:rect l="0" t="0" r="r" b="b"/>
              <a:pathLst>
                <a:path w="717" h="620">
                  <a:moveTo>
                    <a:pt x="358" y="0"/>
                  </a:moveTo>
                  <a:lnTo>
                    <a:pt x="0" y="620"/>
                  </a:lnTo>
                  <a:lnTo>
                    <a:pt x="717" y="620"/>
                  </a:lnTo>
                  <a:lnTo>
                    <a:pt x="358" y="0"/>
                  </a:lnTo>
                  <a:close/>
                </a:path>
              </a:pathLst>
            </a:custGeom>
            <a:solidFill>
              <a:srgbClr val="A100FF"/>
            </a:solidFill>
            <a:ln w="6350" cmpd="sng">
              <a:noFill/>
              <a:round/>
              <a:headEnd/>
              <a:tailEnd/>
            </a:ln>
            <a:effectLst/>
          </p:spPr>
          <p:txBody>
            <a:bodyPr lIns="45720" rIns="4572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9" name="Freeform 7">
              <a:extLst>
                <a:ext uri="{FF2B5EF4-FFF2-40B4-BE49-F238E27FC236}">
                  <a16:creationId xmlns:a16="http://schemas.microsoft.com/office/drawing/2014/main" id="{84462BB7-9EA5-4ED6-8298-44C7F6916EFF}"/>
                </a:ext>
                <a:ext uri="{C183D7F6-B498-43B3-948B-1728B52AA6E4}">
                  <adec:decorative xmlns:adec="http://schemas.microsoft.com/office/drawing/2017/decorative" val="1"/>
                </a:ext>
              </a:extLst>
            </p:cNvPr>
            <p:cNvSpPr>
              <a:spLocks/>
            </p:cNvSpPr>
            <p:nvPr/>
          </p:nvSpPr>
          <p:spPr bwMode="auto">
            <a:xfrm>
              <a:off x="6445035" y="2622153"/>
              <a:ext cx="779623" cy="949325"/>
            </a:xfrm>
            <a:custGeom>
              <a:avLst/>
              <a:gdLst/>
              <a:ahLst/>
              <a:cxnLst>
                <a:cxn ang="0">
                  <a:pos x="358" y="0"/>
                </a:cxn>
                <a:cxn ang="0">
                  <a:pos x="0" y="620"/>
                </a:cxn>
                <a:cxn ang="0">
                  <a:pos x="717" y="620"/>
                </a:cxn>
                <a:cxn ang="0">
                  <a:pos x="358" y="0"/>
                </a:cxn>
              </a:cxnLst>
              <a:rect l="0" t="0" r="r" b="b"/>
              <a:pathLst>
                <a:path w="717" h="620">
                  <a:moveTo>
                    <a:pt x="358" y="0"/>
                  </a:moveTo>
                  <a:lnTo>
                    <a:pt x="0" y="620"/>
                  </a:lnTo>
                  <a:lnTo>
                    <a:pt x="717" y="620"/>
                  </a:lnTo>
                  <a:lnTo>
                    <a:pt x="358" y="0"/>
                  </a:lnTo>
                  <a:close/>
                </a:path>
              </a:pathLst>
            </a:custGeom>
            <a:solidFill>
              <a:srgbClr val="A100FF"/>
            </a:solidFill>
            <a:ln w="6350" cmpd="sng">
              <a:noFill/>
              <a:round/>
              <a:headEnd/>
              <a:tailEnd/>
            </a:ln>
            <a:effectLst/>
          </p:spPr>
          <p:txBody>
            <a:bodyPr lIns="45720" rIns="4572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11" name="Text Box 9">
              <a:extLst>
                <a:ext uri="{FF2B5EF4-FFF2-40B4-BE49-F238E27FC236}">
                  <a16:creationId xmlns:a16="http://schemas.microsoft.com/office/drawing/2014/main" id="{45428AE5-0084-48EF-94A9-45024AD11898}"/>
                </a:ext>
              </a:extLst>
            </p:cNvPr>
            <p:cNvSpPr txBox="1">
              <a:spLocks noChangeArrowheads="1"/>
            </p:cNvSpPr>
            <p:nvPr/>
          </p:nvSpPr>
          <p:spPr bwMode="auto">
            <a:xfrm>
              <a:off x="3584462" y="1990328"/>
              <a:ext cx="1535800" cy="523875"/>
            </a:xfrm>
            <a:prstGeom prst="rect">
              <a:avLst/>
            </a:prstGeom>
            <a:noFill/>
            <a:ln w="6350">
              <a:noFill/>
              <a:miter lim="800000"/>
              <a:headEnd/>
              <a:tailEnd/>
            </a:ln>
            <a:effectLst/>
          </p:spPr>
          <p:txBody>
            <a:bodyPr lIns="45720" rIns="45720">
              <a:spAutoFit/>
            </a:body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Market a</a:t>
              </a:r>
            </a:p>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Total size: $</a:t>
              </a:r>
              <a:r>
                <a:rPr kumimoji="0" lang="en-US" sz="1400" b="1" i="0" u="none" strike="noStrike" kern="0" cap="none" spc="0" normalizeH="0" baseline="0" noProof="0" dirty="0" err="1">
                  <a:ln>
                    <a:noFill/>
                  </a:ln>
                  <a:solidFill>
                    <a:srgbClr val="000000"/>
                  </a:solidFill>
                  <a:effectLst/>
                  <a:uLnTx/>
                  <a:uFillTx/>
                  <a:latin typeface="+mj-lt"/>
                  <a:ea typeface="+mn-ea"/>
                  <a:cs typeface="+mn-cs"/>
                </a:rPr>
                <a:t>xm</a:t>
              </a:r>
              <a:endParaRPr kumimoji="0" lang="en-US" sz="1400" b="1" i="0" u="none" strike="noStrike" kern="0" cap="none" spc="0" normalizeH="0" baseline="0" noProof="0" dirty="0">
                <a:ln>
                  <a:noFill/>
                </a:ln>
                <a:solidFill>
                  <a:srgbClr val="000000"/>
                </a:solidFill>
                <a:effectLst/>
                <a:uLnTx/>
                <a:uFillTx/>
                <a:latin typeface="+mj-lt"/>
                <a:ea typeface="+mn-ea"/>
                <a:cs typeface="+mn-cs"/>
              </a:endParaRPr>
            </a:p>
          </p:txBody>
        </p:sp>
        <p:sp>
          <p:nvSpPr>
            <p:cNvPr id="10" name="Text Box 8">
              <a:extLst>
                <a:ext uri="{FF2B5EF4-FFF2-40B4-BE49-F238E27FC236}">
                  <a16:creationId xmlns:a16="http://schemas.microsoft.com/office/drawing/2014/main" id="{EC3C8C29-CCEC-45CF-9A36-9B9CBB8E442C}"/>
                </a:ext>
              </a:extLst>
            </p:cNvPr>
            <p:cNvSpPr txBox="1">
              <a:spLocks noChangeArrowheads="1"/>
            </p:cNvSpPr>
            <p:nvPr/>
          </p:nvSpPr>
          <p:spPr bwMode="auto">
            <a:xfrm>
              <a:off x="4742174" y="2971403"/>
              <a:ext cx="1085904" cy="720725"/>
            </a:xfrm>
            <a:prstGeom prst="rect">
              <a:avLst/>
            </a:prstGeom>
            <a:noFill/>
            <a:ln w="6350">
              <a:noFill/>
              <a:miter lim="800000"/>
              <a:headEnd/>
              <a:tailEnd/>
            </a:ln>
            <a:effectLst/>
          </p:spPr>
          <p:txBody>
            <a:bodyPr lIns="45720" rIns="45720"/>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Target segment</a:t>
              </a:r>
            </a:p>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a:t>
              </a:r>
              <a:r>
                <a:rPr kumimoji="0" lang="en-US" sz="1400" b="0" i="0" u="none" strike="noStrike" kern="0" cap="none" spc="0" normalizeH="0" baseline="0" noProof="0" dirty="0" err="1">
                  <a:ln>
                    <a:noFill/>
                  </a:ln>
                  <a:solidFill>
                    <a:srgbClr val="000000"/>
                  </a:solidFill>
                  <a:effectLst/>
                  <a:uLnTx/>
                  <a:uFillTx/>
                  <a:ea typeface="+mn-ea"/>
                  <a:cs typeface="+mn-cs"/>
                </a:rPr>
                <a:t>Xm</a:t>
              </a:r>
              <a:r>
                <a:rPr kumimoji="0" lang="en-US" sz="1400" b="0" i="0" u="none" strike="noStrike" kern="0" cap="none" spc="0" normalizeH="0" baseline="0" noProof="0" dirty="0">
                  <a:ln>
                    <a:noFill/>
                  </a:ln>
                  <a:solidFill>
                    <a:srgbClr val="000000"/>
                  </a:solidFill>
                  <a:effectLst/>
                  <a:uLnTx/>
                  <a:uFillTx/>
                  <a:ea typeface="+mn-ea"/>
                  <a:cs typeface="+mn-cs"/>
                </a:rPr>
                <a:t> (x%)</a:t>
              </a:r>
            </a:p>
          </p:txBody>
        </p:sp>
        <p:sp>
          <p:nvSpPr>
            <p:cNvPr id="13" name="Text Box 11">
              <a:extLst>
                <a:ext uri="{FF2B5EF4-FFF2-40B4-BE49-F238E27FC236}">
                  <a16:creationId xmlns:a16="http://schemas.microsoft.com/office/drawing/2014/main" id="{54C59067-FAE3-41D8-A131-77E9BC4830B4}"/>
                </a:ext>
              </a:extLst>
            </p:cNvPr>
            <p:cNvSpPr txBox="1">
              <a:spLocks noChangeArrowheads="1"/>
            </p:cNvSpPr>
            <p:nvPr/>
          </p:nvSpPr>
          <p:spPr bwMode="auto">
            <a:xfrm>
              <a:off x="6075740" y="1990328"/>
              <a:ext cx="1535800" cy="523875"/>
            </a:xfrm>
            <a:prstGeom prst="rect">
              <a:avLst/>
            </a:prstGeom>
            <a:noFill/>
            <a:ln w="6350">
              <a:noFill/>
              <a:miter lim="800000"/>
              <a:headEnd/>
              <a:tailEnd/>
            </a:ln>
            <a:effectLst/>
          </p:spPr>
          <p:txBody>
            <a:bodyPr lIns="45720" rIns="45720">
              <a:spAutoFit/>
            </a:body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Market b</a:t>
              </a:r>
            </a:p>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Total size: $</a:t>
              </a:r>
              <a:r>
                <a:rPr kumimoji="0" lang="en-US" sz="1400" b="1" i="0" u="none" strike="noStrike" kern="0" cap="none" spc="0" normalizeH="0" baseline="0" noProof="0" dirty="0" err="1">
                  <a:ln>
                    <a:noFill/>
                  </a:ln>
                  <a:solidFill>
                    <a:srgbClr val="000000"/>
                  </a:solidFill>
                  <a:effectLst/>
                  <a:uLnTx/>
                  <a:uFillTx/>
                  <a:latin typeface="+mj-lt"/>
                  <a:ea typeface="+mn-ea"/>
                  <a:cs typeface="+mn-cs"/>
                </a:rPr>
                <a:t>Xm</a:t>
              </a:r>
              <a:endParaRPr kumimoji="0" lang="en-US" sz="1400" b="1" i="0" u="none" strike="noStrike" kern="0" cap="none" spc="0" normalizeH="0" baseline="0" noProof="0" dirty="0">
                <a:ln>
                  <a:noFill/>
                </a:ln>
                <a:solidFill>
                  <a:srgbClr val="000000"/>
                </a:solidFill>
                <a:effectLst/>
                <a:uLnTx/>
                <a:uFillTx/>
                <a:latin typeface="+mj-lt"/>
                <a:ea typeface="+mn-ea"/>
                <a:cs typeface="+mn-cs"/>
              </a:endParaRPr>
            </a:p>
          </p:txBody>
        </p:sp>
        <p:sp>
          <p:nvSpPr>
            <p:cNvPr id="12" name="Text Box 10">
              <a:extLst>
                <a:ext uri="{FF2B5EF4-FFF2-40B4-BE49-F238E27FC236}">
                  <a16:creationId xmlns:a16="http://schemas.microsoft.com/office/drawing/2014/main" id="{15EA5620-18C0-46F1-A7B9-0B74B423A631}"/>
                </a:ext>
              </a:extLst>
            </p:cNvPr>
            <p:cNvSpPr txBox="1">
              <a:spLocks noChangeArrowheads="1"/>
            </p:cNvSpPr>
            <p:nvPr/>
          </p:nvSpPr>
          <p:spPr bwMode="auto">
            <a:xfrm>
              <a:off x="7224659" y="2971403"/>
              <a:ext cx="1085904" cy="720725"/>
            </a:xfrm>
            <a:prstGeom prst="rect">
              <a:avLst/>
            </a:prstGeom>
            <a:noFill/>
            <a:ln w="6350">
              <a:noFill/>
              <a:miter lim="800000"/>
              <a:headEnd/>
              <a:tailEnd/>
            </a:ln>
            <a:effectLst/>
          </p:spPr>
          <p:txBody>
            <a:bodyPr lIns="45720" rIns="45720"/>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Target segment</a:t>
              </a:r>
            </a:p>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a:t>
              </a:r>
              <a:r>
                <a:rPr kumimoji="0" lang="en-US" sz="1400" b="0" i="0" u="none" strike="noStrike" kern="0" cap="none" spc="0" normalizeH="0" baseline="0" noProof="0" dirty="0" err="1">
                  <a:ln>
                    <a:noFill/>
                  </a:ln>
                  <a:solidFill>
                    <a:srgbClr val="000000"/>
                  </a:solidFill>
                  <a:effectLst/>
                  <a:uLnTx/>
                  <a:uFillTx/>
                  <a:ea typeface="+mn-ea"/>
                  <a:cs typeface="+mn-cs"/>
                </a:rPr>
                <a:t>Xm</a:t>
              </a:r>
              <a:r>
                <a:rPr kumimoji="0" lang="en-US" sz="1400" b="0" i="0" u="none" strike="noStrike" kern="0" cap="none" spc="0" normalizeH="0" baseline="0" noProof="0" dirty="0">
                  <a:ln>
                    <a:noFill/>
                  </a:ln>
                  <a:solidFill>
                    <a:srgbClr val="000000"/>
                  </a:solidFill>
                  <a:effectLst/>
                  <a:uLnTx/>
                  <a:uFillTx/>
                  <a:ea typeface="+mn-ea"/>
                  <a:cs typeface="+mn-cs"/>
                </a:rPr>
                <a:t> (x%)</a:t>
              </a:r>
            </a:p>
          </p:txBody>
        </p:sp>
      </p:grpSp>
      <p:sp>
        <p:nvSpPr>
          <p:cNvPr id="15" name="Footer Placeholder 14">
            <a:extLst>
              <a:ext uri="{FF2B5EF4-FFF2-40B4-BE49-F238E27FC236}">
                <a16:creationId xmlns:a16="http://schemas.microsoft.com/office/drawing/2014/main" id="{10AC6A56-2616-44DF-8F38-A9DD0DEE7A65}"/>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6" name="Slide Number Placeholder 15">
            <a:extLst>
              <a:ext uri="{FF2B5EF4-FFF2-40B4-BE49-F238E27FC236}">
                <a16:creationId xmlns:a16="http://schemas.microsoft.com/office/drawing/2014/main" id="{BBB8492A-18AC-4C05-A2A9-C6CFACC67BF2}"/>
              </a:ext>
            </a:extLst>
          </p:cNvPr>
          <p:cNvSpPr>
            <a:spLocks noGrp="1"/>
          </p:cNvSpPr>
          <p:nvPr>
            <p:ph type="sldNum" sz="quarter" idx="10"/>
          </p:nvPr>
        </p:nvSpPr>
        <p:spPr/>
        <p:txBody>
          <a:bodyPr/>
          <a:lstStyle/>
          <a:p>
            <a:fld id="{1F90F471-3972-4120-B8B3-0237DE626C35}" type="slidenum">
              <a:rPr lang="en-US" smtClean="0"/>
              <a:pPr/>
              <a:t>425</a:t>
            </a:fld>
            <a:endParaRPr lang="en-US" dirty="0"/>
          </a:p>
        </p:txBody>
      </p:sp>
    </p:spTree>
    <p:extLst>
      <p:ext uri="{BB962C8B-B14F-4D97-AF65-F5344CB8AC3E}">
        <p14:creationId xmlns:p14="http://schemas.microsoft.com/office/powerpoint/2010/main" val="3075043767"/>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Exponential Curve</a:t>
            </a:r>
          </a:p>
        </p:txBody>
      </p:sp>
      <p:grpSp>
        <p:nvGrpSpPr>
          <p:cNvPr id="5" name="Group 4" descr="Exponential">
            <a:extLst>
              <a:ext uri="{FF2B5EF4-FFF2-40B4-BE49-F238E27FC236}">
                <a16:creationId xmlns:a16="http://schemas.microsoft.com/office/drawing/2014/main" id="{A2CE02B1-DEA6-4D8F-8D15-37730D22F54B}"/>
              </a:ext>
            </a:extLst>
          </p:cNvPr>
          <p:cNvGrpSpPr/>
          <p:nvPr/>
        </p:nvGrpSpPr>
        <p:grpSpPr>
          <a:xfrm>
            <a:off x="3738563" y="1649161"/>
            <a:ext cx="4104544" cy="3779109"/>
            <a:chOff x="2519363" y="1630111"/>
            <a:chExt cx="4104544" cy="3779109"/>
          </a:xfrm>
        </p:grpSpPr>
        <p:sp>
          <p:nvSpPr>
            <p:cNvPr id="6" name="Line 4">
              <a:extLst>
                <a:ext uri="{FF2B5EF4-FFF2-40B4-BE49-F238E27FC236}">
                  <a16:creationId xmlns:a16="http://schemas.microsoft.com/office/drawing/2014/main" id="{F5FFE7EE-1E9D-4C35-9C6E-E56C8E76B8EE}"/>
                </a:ext>
              </a:extLst>
            </p:cNvPr>
            <p:cNvSpPr>
              <a:spLocks noChangeShapeType="1"/>
            </p:cNvSpPr>
            <p:nvPr/>
          </p:nvSpPr>
          <p:spPr bwMode="auto">
            <a:xfrm flipV="1">
              <a:off x="3265020" y="1630111"/>
              <a:ext cx="0" cy="3316871"/>
            </a:xfrm>
            <a:prstGeom prst="line">
              <a:avLst/>
            </a:prstGeom>
            <a:noFill/>
            <a:ln w="6350">
              <a:solidFill>
                <a:srgbClr val="000000"/>
              </a:solidFill>
              <a:round/>
              <a:headEnd/>
              <a:tailEnd type="triangle" w="med" len="me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7" name="Line 5">
              <a:extLst>
                <a:ext uri="{FF2B5EF4-FFF2-40B4-BE49-F238E27FC236}">
                  <a16:creationId xmlns:a16="http://schemas.microsoft.com/office/drawing/2014/main" id="{8EBAAE24-4C6C-4F86-9DE4-207E963B84D1}"/>
                </a:ext>
              </a:extLst>
            </p:cNvPr>
            <p:cNvSpPr>
              <a:spLocks noChangeShapeType="1"/>
            </p:cNvSpPr>
            <p:nvPr/>
          </p:nvSpPr>
          <p:spPr bwMode="auto">
            <a:xfrm rot="5400000" flipV="1">
              <a:off x="4944892" y="3267039"/>
              <a:ext cx="0" cy="3358030"/>
            </a:xfrm>
            <a:prstGeom prst="line">
              <a:avLst/>
            </a:prstGeom>
            <a:noFill/>
            <a:ln w="6350">
              <a:solidFill>
                <a:srgbClr val="000000"/>
              </a:solidFill>
              <a:round/>
              <a:headEnd/>
              <a:tailEnd type="triangle" w="med" len="me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8" name="Text Box 6">
              <a:extLst>
                <a:ext uri="{FF2B5EF4-FFF2-40B4-BE49-F238E27FC236}">
                  <a16:creationId xmlns:a16="http://schemas.microsoft.com/office/drawing/2014/main" id="{F2A413C0-DEE3-4ED2-8ECE-0FA3006CDF12}"/>
                </a:ext>
              </a:extLst>
            </p:cNvPr>
            <p:cNvSpPr txBox="1">
              <a:spLocks noChangeArrowheads="1"/>
            </p:cNvSpPr>
            <p:nvPr/>
          </p:nvSpPr>
          <p:spPr bwMode="auto">
            <a:xfrm>
              <a:off x="2519363" y="3102832"/>
              <a:ext cx="745657" cy="371430"/>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Y-Axis</a:t>
              </a:r>
            </a:p>
          </p:txBody>
        </p:sp>
        <p:sp>
          <p:nvSpPr>
            <p:cNvPr id="9" name="Text Box 7">
              <a:extLst>
                <a:ext uri="{FF2B5EF4-FFF2-40B4-BE49-F238E27FC236}">
                  <a16:creationId xmlns:a16="http://schemas.microsoft.com/office/drawing/2014/main" id="{22D27AAA-19D4-4E8A-9327-7FB40DDFF073}"/>
                </a:ext>
              </a:extLst>
            </p:cNvPr>
            <p:cNvSpPr txBox="1">
              <a:spLocks noChangeArrowheads="1"/>
            </p:cNvSpPr>
            <p:nvPr/>
          </p:nvSpPr>
          <p:spPr bwMode="auto">
            <a:xfrm>
              <a:off x="3265020" y="5037790"/>
              <a:ext cx="3231182" cy="371430"/>
            </a:xfrm>
            <a:prstGeom prst="rect">
              <a:avLst/>
            </a:prstGeom>
            <a:noFill/>
            <a:ln w="6350">
              <a:noFill/>
              <a:miter lim="800000"/>
              <a:headEnd/>
              <a:tailEnd/>
            </a:ln>
            <a:effectLst/>
          </p:spPr>
          <p:txBody>
            <a:bodyPr wrap="none" lIns="45720" rIns="45720"/>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X-Axis</a:t>
              </a:r>
            </a:p>
          </p:txBody>
        </p:sp>
        <p:sp>
          <p:nvSpPr>
            <p:cNvPr id="10" name="Freeform 10">
              <a:extLst>
                <a:ext uri="{FF2B5EF4-FFF2-40B4-BE49-F238E27FC236}">
                  <a16:creationId xmlns:a16="http://schemas.microsoft.com/office/drawing/2014/main" id="{8B598B36-5EC8-4D0D-A18F-F87D384BC660}"/>
                </a:ext>
              </a:extLst>
            </p:cNvPr>
            <p:cNvSpPr/>
            <p:nvPr/>
          </p:nvSpPr>
          <p:spPr bwMode="auto">
            <a:xfrm>
              <a:off x="3263900" y="1703302"/>
              <a:ext cx="3035300" cy="3170489"/>
            </a:xfrm>
            <a:custGeom>
              <a:avLst/>
              <a:gdLst>
                <a:gd name="connsiteX0" fmla="*/ 0 w 3035300"/>
                <a:gd name="connsiteY0" fmla="*/ 2857500 h 2857500"/>
                <a:gd name="connsiteX1" fmla="*/ 2387600 w 3035300"/>
                <a:gd name="connsiteY1" fmla="*/ 2298700 h 2857500"/>
                <a:gd name="connsiteX2" fmla="*/ 3035300 w 3035300"/>
                <a:gd name="connsiteY2" fmla="*/ 0 h 2857500"/>
              </a:gdLst>
              <a:ahLst/>
              <a:cxnLst>
                <a:cxn ang="0">
                  <a:pos x="connsiteX0" y="connsiteY0"/>
                </a:cxn>
                <a:cxn ang="0">
                  <a:pos x="connsiteX1" y="connsiteY1"/>
                </a:cxn>
                <a:cxn ang="0">
                  <a:pos x="connsiteX2" y="connsiteY2"/>
                </a:cxn>
              </a:cxnLst>
              <a:rect l="l" t="t" r="r" b="b"/>
              <a:pathLst>
                <a:path w="3035300" h="2857500">
                  <a:moveTo>
                    <a:pt x="0" y="2857500"/>
                  </a:moveTo>
                  <a:cubicBezTo>
                    <a:pt x="940858" y="2816225"/>
                    <a:pt x="1881717" y="2774950"/>
                    <a:pt x="2387600" y="2298700"/>
                  </a:cubicBezTo>
                  <a:cubicBezTo>
                    <a:pt x="2893483" y="1822450"/>
                    <a:pt x="2964391" y="911225"/>
                    <a:pt x="3035300" y="0"/>
                  </a:cubicBezTo>
                </a:path>
              </a:pathLst>
            </a:custGeom>
            <a:noFill/>
            <a:ln w="25400" cap="flat" cmpd="sng">
              <a:solidFill>
                <a:srgbClr val="A100FF"/>
              </a:solidFill>
              <a:prstDash val="solid"/>
              <a:round/>
              <a:headEnd/>
              <a:tailEnd/>
            </a:ln>
            <a:effectLst/>
          </p:spPr>
          <p:txBody>
            <a:bodyPr wrap="none" lIns="36000" tIns="36000" rIns="36000" bIns="36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charset="0"/>
                <a:ea typeface="+mn-ea"/>
                <a:cs typeface="Arial" charset="0"/>
              </a:endParaRPr>
            </a:p>
          </p:txBody>
        </p:sp>
      </p:grpSp>
      <p:sp>
        <p:nvSpPr>
          <p:cNvPr id="12" name="Footer Placeholder 11">
            <a:extLst>
              <a:ext uri="{FF2B5EF4-FFF2-40B4-BE49-F238E27FC236}">
                <a16:creationId xmlns:a16="http://schemas.microsoft.com/office/drawing/2014/main" id="{E135CD82-A73D-43FD-B2B0-A6593E472DDF}"/>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3" name="Slide Number Placeholder 12">
            <a:extLst>
              <a:ext uri="{FF2B5EF4-FFF2-40B4-BE49-F238E27FC236}">
                <a16:creationId xmlns:a16="http://schemas.microsoft.com/office/drawing/2014/main" id="{3ECED2F6-9285-4C8B-B90B-FDEEA817FD07}"/>
              </a:ext>
            </a:extLst>
          </p:cNvPr>
          <p:cNvSpPr>
            <a:spLocks noGrp="1"/>
          </p:cNvSpPr>
          <p:nvPr>
            <p:ph type="sldNum" sz="quarter" idx="10"/>
          </p:nvPr>
        </p:nvSpPr>
        <p:spPr/>
        <p:txBody>
          <a:bodyPr/>
          <a:lstStyle/>
          <a:p>
            <a:fld id="{1F90F471-3972-4120-B8B3-0237DE626C35}" type="slidenum">
              <a:rPr lang="en-US" smtClean="0"/>
              <a:pPr/>
              <a:t>426</a:t>
            </a:fld>
            <a:endParaRPr lang="en-US" dirty="0"/>
          </a:p>
        </p:txBody>
      </p:sp>
    </p:spTree>
    <p:extLst>
      <p:ext uri="{BB962C8B-B14F-4D97-AF65-F5344CB8AC3E}">
        <p14:creationId xmlns:p14="http://schemas.microsoft.com/office/powerpoint/2010/main" val="2969881017"/>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s Curve</a:t>
            </a:r>
          </a:p>
        </p:txBody>
      </p:sp>
      <p:grpSp>
        <p:nvGrpSpPr>
          <p:cNvPr id="5" name="Group 4" descr="S Curve">
            <a:extLst>
              <a:ext uri="{FF2B5EF4-FFF2-40B4-BE49-F238E27FC236}">
                <a16:creationId xmlns:a16="http://schemas.microsoft.com/office/drawing/2014/main" id="{29713E72-F155-4D99-BE1B-77D35D7EE00E}"/>
              </a:ext>
            </a:extLst>
          </p:cNvPr>
          <p:cNvGrpSpPr/>
          <p:nvPr/>
        </p:nvGrpSpPr>
        <p:grpSpPr>
          <a:xfrm>
            <a:off x="3738563" y="1645154"/>
            <a:ext cx="4139135" cy="3775456"/>
            <a:chOff x="2519363" y="1645154"/>
            <a:chExt cx="4139135" cy="3775456"/>
          </a:xfrm>
        </p:grpSpPr>
        <p:sp>
          <p:nvSpPr>
            <p:cNvPr id="6" name="Freeform 4">
              <a:extLst>
                <a:ext uri="{FF2B5EF4-FFF2-40B4-BE49-F238E27FC236}">
                  <a16:creationId xmlns:a16="http://schemas.microsoft.com/office/drawing/2014/main" id="{21768B51-53DC-4CC4-9D5E-6C6772C4FD6E}"/>
                </a:ext>
              </a:extLst>
            </p:cNvPr>
            <p:cNvSpPr>
              <a:spLocks/>
            </p:cNvSpPr>
            <p:nvPr/>
          </p:nvSpPr>
          <p:spPr bwMode="auto">
            <a:xfrm>
              <a:off x="3341294" y="2592138"/>
              <a:ext cx="3317204" cy="2095214"/>
            </a:xfrm>
            <a:custGeom>
              <a:avLst/>
              <a:gdLst/>
              <a:ahLst/>
              <a:cxnLst>
                <a:cxn ang="0">
                  <a:pos x="0" y="1808"/>
                </a:cxn>
                <a:cxn ang="0">
                  <a:pos x="1160" y="1472"/>
                </a:cxn>
                <a:cxn ang="0">
                  <a:pos x="1496" y="232"/>
                </a:cxn>
                <a:cxn ang="0">
                  <a:pos x="3048" y="80"/>
                </a:cxn>
              </a:cxnLst>
              <a:rect l="0" t="0" r="r" b="b"/>
              <a:pathLst>
                <a:path w="3048" h="1808">
                  <a:moveTo>
                    <a:pt x="0" y="1808"/>
                  </a:moveTo>
                  <a:cubicBezTo>
                    <a:pt x="193" y="1752"/>
                    <a:pt x="911" y="1735"/>
                    <a:pt x="1160" y="1472"/>
                  </a:cubicBezTo>
                  <a:cubicBezTo>
                    <a:pt x="1409" y="1209"/>
                    <a:pt x="1181" y="464"/>
                    <a:pt x="1496" y="232"/>
                  </a:cubicBezTo>
                  <a:cubicBezTo>
                    <a:pt x="1811" y="0"/>
                    <a:pt x="2725" y="112"/>
                    <a:pt x="3048" y="80"/>
                  </a:cubicBezTo>
                </a:path>
              </a:pathLst>
            </a:custGeom>
            <a:noFill/>
            <a:ln w="25400" cap="flat" cmpd="sng">
              <a:solidFill>
                <a:srgbClr val="A100FF"/>
              </a:solidFill>
              <a:prstDash val="solid"/>
              <a:round/>
              <a:headEnd/>
              <a:tailEnd/>
            </a:ln>
            <a:effectLst/>
          </p:spPr>
          <p:txBody>
            <a:bodyPr wrap="none" lIns="36000" tIns="36000" rIns="36000" bIns="36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7" name="Line 4">
              <a:extLst>
                <a:ext uri="{FF2B5EF4-FFF2-40B4-BE49-F238E27FC236}">
                  <a16:creationId xmlns:a16="http://schemas.microsoft.com/office/drawing/2014/main" id="{BB4737CD-A5CA-4143-AF1B-7D324C914510}"/>
                </a:ext>
              </a:extLst>
            </p:cNvPr>
            <p:cNvSpPr>
              <a:spLocks noChangeShapeType="1"/>
            </p:cNvSpPr>
            <p:nvPr/>
          </p:nvSpPr>
          <p:spPr bwMode="auto">
            <a:xfrm flipV="1">
              <a:off x="3265020" y="1645154"/>
              <a:ext cx="0" cy="3316871"/>
            </a:xfrm>
            <a:prstGeom prst="line">
              <a:avLst/>
            </a:prstGeom>
            <a:noFill/>
            <a:ln w="6350">
              <a:solidFill>
                <a:srgbClr val="000000"/>
              </a:solidFill>
              <a:round/>
              <a:headEnd/>
              <a:tailEnd type="triangle" w="med" len="me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8" name="Line 5">
              <a:extLst>
                <a:ext uri="{FF2B5EF4-FFF2-40B4-BE49-F238E27FC236}">
                  <a16:creationId xmlns:a16="http://schemas.microsoft.com/office/drawing/2014/main" id="{77BCB952-CC31-4618-A3B7-679CE6F35F83}"/>
                </a:ext>
              </a:extLst>
            </p:cNvPr>
            <p:cNvSpPr>
              <a:spLocks noChangeShapeType="1"/>
            </p:cNvSpPr>
            <p:nvPr/>
          </p:nvSpPr>
          <p:spPr bwMode="auto">
            <a:xfrm rot="5400000" flipV="1">
              <a:off x="4944892" y="3282082"/>
              <a:ext cx="0" cy="3358030"/>
            </a:xfrm>
            <a:prstGeom prst="line">
              <a:avLst/>
            </a:prstGeom>
            <a:noFill/>
            <a:ln w="6350">
              <a:solidFill>
                <a:srgbClr val="000000"/>
              </a:solidFill>
              <a:round/>
              <a:headEnd/>
              <a:tailEnd type="triangle" w="med" len="me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9" name="Text Box 6">
              <a:extLst>
                <a:ext uri="{FF2B5EF4-FFF2-40B4-BE49-F238E27FC236}">
                  <a16:creationId xmlns:a16="http://schemas.microsoft.com/office/drawing/2014/main" id="{96B36557-FFBF-4F6D-A950-A0C7F6FB6E8A}"/>
                </a:ext>
              </a:extLst>
            </p:cNvPr>
            <p:cNvSpPr txBox="1">
              <a:spLocks noChangeArrowheads="1"/>
            </p:cNvSpPr>
            <p:nvPr/>
          </p:nvSpPr>
          <p:spPr bwMode="auto">
            <a:xfrm>
              <a:off x="2519363" y="3117875"/>
              <a:ext cx="745657" cy="371430"/>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Y-Axis</a:t>
              </a:r>
            </a:p>
          </p:txBody>
        </p:sp>
        <p:sp>
          <p:nvSpPr>
            <p:cNvPr id="10" name="Text Box 7">
              <a:extLst>
                <a:ext uri="{FF2B5EF4-FFF2-40B4-BE49-F238E27FC236}">
                  <a16:creationId xmlns:a16="http://schemas.microsoft.com/office/drawing/2014/main" id="{61F512E4-D818-4246-A35A-A77CE5A2588A}"/>
                </a:ext>
              </a:extLst>
            </p:cNvPr>
            <p:cNvSpPr txBox="1">
              <a:spLocks noChangeArrowheads="1"/>
            </p:cNvSpPr>
            <p:nvPr/>
          </p:nvSpPr>
          <p:spPr bwMode="auto">
            <a:xfrm>
              <a:off x="3265020" y="5049180"/>
              <a:ext cx="3231182" cy="371430"/>
            </a:xfrm>
            <a:prstGeom prst="rect">
              <a:avLst/>
            </a:prstGeom>
            <a:noFill/>
            <a:ln w="6350">
              <a:noFill/>
              <a:miter lim="800000"/>
              <a:headEnd/>
              <a:tailEnd/>
            </a:ln>
            <a:effectLst/>
          </p:spPr>
          <p:txBody>
            <a:bodyPr wrap="none" lIns="45720" rIns="45720"/>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X-Axis</a:t>
              </a:r>
            </a:p>
          </p:txBody>
        </p:sp>
      </p:grpSp>
      <p:sp>
        <p:nvSpPr>
          <p:cNvPr id="12" name="Footer Placeholder 11">
            <a:extLst>
              <a:ext uri="{FF2B5EF4-FFF2-40B4-BE49-F238E27FC236}">
                <a16:creationId xmlns:a16="http://schemas.microsoft.com/office/drawing/2014/main" id="{EFFB18EF-8325-458C-A8A2-87E1D734E8B8}"/>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3" name="Slide Number Placeholder 12">
            <a:extLst>
              <a:ext uri="{FF2B5EF4-FFF2-40B4-BE49-F238E27FC236}">
                <a16:creationId xmlns:a16="http://schemas.microsoft.com/office/drawing/2014/main" id="{37C314CB-C177-4E5B-BD84-6B76957994DA}"/>
              </a:ext>
            </a:extLst>
          </p:cNvPr>
          <p:cNvSpPr>
            <a:spLocks noGrp="1"/>
          </p:cNvSpPr>
          <p:nvPr>
            <p:ph type="sldNum" sz="quarter" idx="10"/>
          </p:nvPr>
        </p:nvSpPr>
        <p:spPr/>
        <p:txBody>
          <a:bodyPr/>
          <a:lstStyle/>
          <a:p>
            <a:fld id="{1F90F471-3972-4120-B8B3-0237DE626C35}" type="slidenum">
              <a:rPr lang="en-US" smtClean="0"/>
              <a:pPr/>
              <a:t>427</a:t>
            </a:fld>
            <a:endParaRPr lang="en-US" dirty="0"/>
          </a:p>
        </p:txBody>
      </p:sp>
    </p:spTree>
    <p:extLst>
      <p:ext uri="{BB962C8B-B14F-4D97-AF65-F5344CB8AC3E}">
        <p14:creationId xmlns:p14="http://schemas.microsoft.com/office/powerpoint/2010/main" val="3062795047"/>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Asymptotic Curve</a:t>
            </a:r>
          </a:p>
        </p:txBody>
      </p:sp>
      <p:grpSp>
        <p:nvGrpSpPr>
          <p:cNvPr id="5" name="Group 4" descr="Asymptotic">
            <a:extLst>
              <a:ext uri="{FF2B5EF4-FFF2-40B4-BE49-F238E27FC236}">
                <a16:creationId xmlns:a16="http://schemas.microsoft.com/office/drawing/2014/main" id="{ADBDF328-8041-4173-A15D-45F8E70B9356}"/>
              </a:ext>
            </a:extLst>
          </p:cNvPr>
          <p:cNvGrpSpPr/>
          <p:nvPr/>
        </p:nvGrpSpPr>
        <p:grpSpPr>
          <a:xfrm>
            <a:off x="3738563" y="1655279"/>
            <a:ext cx="4104544" cy="3744416"/>
            <a:chOff x="2519363" y="1664804"/>
            <a:chExt cx="4104544" cy="3744416"/>
          </a:xfrm>
        </p:grpSpPr>
        <p:sp>
          <p:nvSpPr>
            <p:cNvPr id="6" name="Arc 4">
              <a:extLst>
                <a:ext uri="{FF2B5EF4-FFF2-40B4-BE49-F238E27FC236}">
                  <a16:creationId xmlns:a16="http://schemas.microsoft.com/office/drawing/2014/main" id="{521C3B8B-ACBE-4522-AFE1-837D24729909}"/>
                </a:ext>
              </a:extLst>
            </p:cNvPr>
            <p:cNvSpPr>
              <a:spLocks/>
            </p:cNvSpPr>
            <p:nvPr/>
          </p:nvSpPr>
          <p:spPr bwMode="auto">
            <a:xfrm rot="10800000">
              <a:off x="3440098" y="1781891"/>
              <a:ext cx="3071740" cy="3049996"/>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5400">
              <a:solidFill>
                <a:srgbClr val="A100FF"/>
              </a:solidFill>
              <a:round/>
              <a:headEnd/>
              <a:tailEnd/>
            </a:ln>
            <a:effectLst/>
          </p:spPr>
          <p:txBody>
            <a:bodyPr wrap="none" lIns="36000" tIns="36000" rIns="36000" bIns="36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7" name="Line 4">
              <a:extLst>
                <a:ext uri="{FF2B5EF4-FFF2-40B4-BE49-F238E27FC236}">
                  <a16:creationId xmlns:a16="http://schemas.microsoft.com/office/drawing/2014/main" id="{CBEED42B-D36C-4949-B805-557EC82C252C}"/>
                </a:ext>
              </a:extLst>
            </p:cNvPr>
            <p:cNvSpPr>
              <a:spLocks noChangeShapeType="1"/>
            </p:cNvSpPr>
            <p:nvPr/>
          </p:nvSpPr>
          <p:spPr bwMode="auto">
            <a:xfrm flipV="1">
              <a:off x="3265020" y="1664804"/>
              <a:ext cx="0" cy="3316871"/>
            </a:xfrm>
            <a:prstGeom prst="line">
              <a:avLst/>
            </a:prstGeom>
            <a:noFill/>
            <a:ln w="6350">
              <a:solidFill>
                <a:srgbClr val="000000"/>
              </a:solidFill>
              <a:round/>
              <a:headEnd/>
              <a:tailEnd type="triangle" w="med" len="me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8" name="Line 5">
              <a:extLst>
                <a:ext uri="{FF2B5EF4-FFF2-40B4-BE49-F238E27FC236}">
                  <a16:creationId xmlns:a16="http://schemas.microsoft.com/office/drawing/2014/main" id="{ED160C47-2B82-4DD3-8BF6-E2B09F16D7DF}"/>
                </a:ext>
              </a:extLst>
            </p:cNvPr>
            <p:cNvSpPr>
              <a:spLocks noChangeShapeType="1"/>
            </p:cNvSpPr>
            <p:nvPr/>
          </p:nvSpPr>
          <p:spPr bwMode="auto">
            <a:xfrm rot="5400000" flipV="1">
              <a:off x="4944892" y="3301732"/>
              <a:ext cx="0" cy="3358030"/>
            </a:xfrm>
            <a:prstGeom prst="line">
              <a:avLst/>
            </a:prstGeom>
            <a:noFill/>
            <a:ln w="6350">
              <a:solidFill>
                <a:srgbClr val="000000"/>
              </a:solidFill>
              <a:round/>
              <a:headEnd/>
              <a:tailEnd type="triangle" w="med" len="me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9" name="Text Box 6">
              <a:extLst>
                <a:ext uri="{FF2B5EF4-FFF2-40B4-BE49-F238E27FC236}">
                  <a16:creationId xmlns:a16="http://schemas.microsoft.com/office/drawing/2014/main" id="{AB43D773-ABD1-4268-8F94-336AA31035FB}"/>
                </a:ext>
              </a:extLst>
            </p:cNvPr>
            <p:cNvSpPr txBox="1">
              <a:spLocks noChangeArrowheads="1"/>
            </p:cNvSpPr>
            <p:nvPr/>
          </p:nvSpPr>
          <p:spPr bwMode="auto">
            <a:xfrm>
              <a:off x="2519363" y="3137525"/>
              <a:ext cx="745657" cy="371430"/>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Y-Axis</a:t>
              </a:r>
            </a:p>
          </p:txBody>
        </p:sp>
        <p:sp>
          <p:nvSpPr>
            <p:cNvPr id="10" name="Text Box 7">
              <a:extLst>
                <a:ext uri="{FF2B5EF4-FFF2-40B4-BE49-F238E27FC236}">
                  <a16:creationId xmlns:a16="http://schemas.microsoft.com/office/drawing/2014/main" id="{8CA97C4D-90F6-4A90-A517-AC956C08C607}"/>
                </a:ext>
              </a:extLst>
            </p:cNvPr>
            <p:cNvSpPr txBox="1">
              <a:spLocks noChangeArrowheads="1"/>
            </p:cNvSpPr>
            <p:nvPr/>
          </p:nvSpPr>
          <p:spPr bwMode="auto">
            <a:xfrm>
              <a:off x="3265020" y="5037790"/>
              <a:ext cx="3231182" cy="371430"/>
            </a:xfrm>
            <a:prstGeom prst="rect">
              <a:avLst/>
            </a:prstGeom>
            <a:noFill/>
            <a:ln w="6350">
              <a:noFill/>
              <a:miter lim="800000"/>
              <a:headEnd/>
              <a:tailEnd/>
            </a:ln>
            <a:effectLst/>
          </p:spPr>
          <p:txBody>
            <a:bodyPr wrap="none" lIns="45720" rIns="45720"/>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mj-lt"/>
                  <a:ea typeface="+mn-ea"/>
                  <a:cs typeface="+mn-cs"/>
                </a:rPr>
                <a:t>X-Axis</a:t>
              </a:r>
            </a:p>
          </p:txBody>
        </p:sp>
      </p:grpSp>
      <p:sp>
        <p:nvSpPr>
          <p:cNvPr id="12" name="Footer Placeholder 11">
            <a:extLst>
              <a:ext uri="{FF2B5EF4-FFF2-40B4-BE49-F238E27FC236}">
                <a16:creationId xmlns:a16="http://schemas.microsoft.com/office/drawing/2014/main" id="{4E68ECE5-518E-4ED6-846B-8EF454C309BA}"/>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3" name="Slide Number Placeholder 12">
            <a:extLst>
              <a:ext uri="{FF2B5EF4-FFF2-40B4-BE49-F238E27FC236}">
                <a16:creationId xmlns:a16="http://schemas.microsoft.com/office/drawing/2014/main" id="{26211F44-0A46-4776-B4A7-7E1407778666}"/>
              </a:ext>
            </a:extLst>
          </p:cNvPr>
          <p:cNvSpPr>
            <a:spLocks noGrp="1"/>
          </p:cNvSpPr>
          <p:nvPr>
            <p:ph type="sldNum" sz="quarter" idx="10"/>
          </p:nvPr>
        </p:nvSpPr>
        <p:spPr/>
        <p:txBody>
          <a:bodyPr/>
          <a:lstStyle/>
          <a:p>
            <a:fld id="{1F90F471-3972-4120-B8B3-0237DE626C35}" type="slidenum">
              <a:rPr lang="en-US" smtClean="0"/>
              <a:pPr/>
              <a:t>428</a:t>
            </a:fld>
            <a:endParaRPr lang="en-US" dirty="0"/>
          </a:p>
        </p:txBody>
      </p:sp>
    </p:spTree>
    <p:extLst>
      <p:ext uri="{BB962C8B-B14F-4D97-AF65-F5344CB8AC3E}">
        <p14:creationId xmlns:p14="http://schemas.microsoft.com/office/powerpoint/2010/main" val="2559207824"/>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Hyperbolic Curve</a:t>
            </a:r>
          </a:p>
        </p:txBody>
      </p:sp>
      <p:grpSp>
        <p:nvGrpSpPr>
          <p:cNvPr id="5" name="Group 4" descr="Hyperbolic">
            <a:extLst>
              <a:ext uri="{FF2B5EF4-FFF2-40B4-BE49-F238E27FC236}">
                <a16:creationId xmlns:a16="http://schemas.microsoft.com/office/drawing/2014/main" id="{C472535C-0258-4762-B7C3-CC83BF880842}"/>
              </a:ext>
            </a:extLst>
          </p:cNvPr>
          <p:cNvGrpSpPr/>
          <p:nvPr/>
        </p:nvGrpSpPr>
        <p:grpSpPr>
          <a:xfrm>
            <a:off x="3738928" y="1659613"/>
            <a:ext cx="4104544" cy="3734749"/>
            <a:chOff x="2519363" y="1602463"/>
            <a:chExt cx="4104544" cy="3734749"/>
          </a:xfrm>
        </p:grpSpPr>
        <p:sp>
          <p:nvSpPr>
            <p:cNvPr id="6" name="Arc 4">
              <a:extLst>
                <a:ext uri="{FF2B5EF4-FFF2-40B4-BE49-F238E27FC236}">
                  <a16:creationId xmlns:a16="http://schemas.microsoft.com/office/drawing/2014/main" id="{0C95C590-CC17-4452-8EE0-BD47657EBEFD}"/>
                </a:ext>
              </a:extLst>
            </p:cNvPr>
            <p:cNvSpPr>
              <a:spLocks/>
            </p:cNvSpPr>
            <p:nvPr/>
          </p:nvSpPr>
          <p:spPr bwMode="auto">
            <a:xfrm rot="10800000" flipH="1" flipV="1">
              <a:off x="3372591" y="1808820"/>
              <a:ext cx="2998753" cy="298020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5400">
              <a:solidFill>
                <a:srgbClr val="A100FF"/>
              </a:solidFill>
              <a:round/>
              <a:headEnd/>
              <a:tailEnd/>
            </a:ln>
            <a:effectLst/>
          </p:spPr>
          <p:txBody>
            <a:bodyPr wrap="none" lIns="36000" tIns="36000" rIns="36000" bIns="36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7" name="Line 4">
              <a:extLst>
                <a:ext uri="{FF2B5EF4-FFF2-40B4-BE49-F238E27FC236}">
                  <a16:creationId xmlns:a16="http://schemas.microsoft.com/office/drawing/2014/main" id="{967C1B37-79D0-4918-850D-470E83948090}"/>
                </a:ext>
              </a:extLst>
            </p:cNvPr>
            <p:cNvSpPr>
              <a:spLocks noChangeShapeType="1"/>
            </p:cNvSpPr>
            <p:nvPr/>
          </p:nvSpPr>
          <p:spPr bwMode="auto">
            <a:xfrm flipV="1">
              <a:off x="3265020" y="1602463"/>
              <a:ext cx="0" cy="3316871"/>
            </a:xfrm>
            <a:prstGeom prst="line">
              <a:avLst/>
            </a:prstGeom>
            <a:noFill/>
            <a:ln w="6350">
              <a:solidFill>
                <a:srgbClr val="000000"/>
              </a:solidFill>
              <a:round/>
              <a:headEnd/>
              <a:tailEnd type="triangle" w="med" len="me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8" name="Line 5">
              <a:extLst>
                <a:ext uri="{FF2B5EF4-FFF2-40B4-BE49-F238E27FC236}">
                  <a16:creationId xmlns:a16="http://schemas.microsoft.com/office/drawing/2014/main" id="{744589EA-BD7B-4E4E-BE8D-30353CDAAB79}"/>
                </a:ext>
              </a:extLst>
            </p:cNvPr>
            <p:cNvSpPr>
              <a:spLocks noChangeShapeType="1"/>
            </p:cNvSpPr>
            <p:nvPr/>
          </p:nvSpPr>
          <p:spPr bwMode="auto">
            <a:xfrm rot="5400000" flipV="1">
              <a:off x="4944892" y="3239391"/>
              <a:ext cx="0" cy="3358030"/>
            </a:xfrm>
            <a:prstGeom prst="line">
              <a:avLst/>
            </a:prstGeom>
            <a:noFill/>
            <a:ln w="6350">
              <a:solidFill>
                <a:srgbClr val="000000"/>
              </a:solidFill>
              <a:round/>
              <a:headEnd/>
              <a:tailEnd type="triangle" w="med" len="me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9" name="Text Box 6">
              <a:extLst>
                <a:ext uri="{FF2B5EF4-FFF2-40B4-BE49-F238E27FC236}">
                  <a16:creationId xmlns:a16="http://schemas.microsoft.com/office/drawing/2014/main" id="{4422AF3B-BBEA-41E9-B945-05A1FA63E7D2}"/>
                </a:ext>
              </a:extLst>
            </p:cNvPr>
            <p:cNvSpPr txBox="1">
              <a:spLocks noChangeArrowheads="1"/>
            </p:cNvSpPr>
            <p:nvPr/>
          </p:nvSpPr>
          <p:spPr bwMode="auto">
            <a:xfrm>
              <a:off x="2519363" y="3075184"/>
              <a:ext cx="745657" cy="371430"/>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Y-Axis</a:t>
              </a:r>
            </a:p>
          </p:txBody>
        </p:sp>
        <p:sp>
          <p:nvSpPr>
            <p:cNvPr id="10" name="Text Box 7">
              <a:extLst>
                <a:ext uri="{FF2B5EF4-FFF2-40B4-BE49-F238E27FC236}">
                  <a16:creationId xmlns:a16="http://schemas.microsoft.com/office/drawing/2014/main" id="{4ED0C322-03DA-4F83-9E39-E0E48349B934}"/>
                </a:ext>
              </a:extLst>
            </p:cNvPr>
            <p:cNvSpPr txBox="1">
              <a:spLocks noChangeArrowheads="1"/>
            </p:cNvSpPr>
            <p:nvPr/>
          </p:nvSpPr>
          <p:spPr bwMode="auto">
            <a:xfrm>
              <a:off x="3265020" y="4965782"/>
              <a:ext cx="3231182" cy="371430"/>
            </a:xfrm>
            <a:prstGeom prst="rect">
              <a:avLst/>
            </a:prstGeom>
            <a:noFill/>
            <a:ln w="6350">
              <a:noFill/>
              <a:miter lim="800000"/>
              <a:headEnd/>
              <a:tailEnd/>
            </a:ln>
            <a:effectLst/>
          </p:spPr>
          <p:txBody>
            <a:bodyPr wrap="none" lIns="45720" rIns="45720"/>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mj-lt"/>
                  <a:ea typeface="+mn-ea"/>
                  <a:cs typeface="+mn-cs"/>
                </a:rPr>
                <a:t>X-Axis</a:t>
              </a:r>
            </a:p>
          </p:txBody>
        </p:sp>
      </p:grpSp>
      <p:sp>
        <p:nvSpPr>
          <p:cNvPr id="12" name="Footer Placeholder 11">
            <a:extLst>
              <a:ext uri="{FF2B5EF4-FFF2-40B4-BE49-F238E27FC236}">
                <a16:creationId xmlns:a16="http://schemas.microsoft.com/office/drawing/2014/main" id="{709B94AD-387A-4C83-8E69-12BE158F6C2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3" name="Slide Number Placeholder 12">
            <a:extLst>
              <a:ext uri="{FF2B5EF4-FFF2-40B4-BE49-F238E27FC236}">
                <a16:creationId xmlns:a16="http://schemas.microsoft.com/office/drawing/2014/main" id="{3BF46AD3-ED3E-4D0D-8EEF-FCDB6A443A84}"/>
              </a:ext>
            </a:extLst>
          </p:cNvPr>
          <p:cNvSpPr>
            <a:spLocks noGrp="1"/>
          </p:cNvSpPr>
          <p:nvPr>
            <p:ph type="sldNum" sz="quarter" idx="10"/>
          </p:nvPr>
        </p:nvSpPr>
        <p:spPr/>
        <p:txBody>
          <a:bodyPr/>
          <a:lstStyle/>
          <a:p>
            <a:fld id="{1F90F471-3972-4120-B8B3-0237DE626C35}" type="slidenum">
              <a:rPr lang="en-US" smtClean="0"/>
              <a:pPr/>
              <a:t>429</a:t>
            </a:fld>
            <a:endParaRPr lang="en-US" dirty="0"/>
          </a:p>
        </p:txBody>
      </p:sp>
    </p:spTree>
    <p:extLst>
      <p:ext uri="{BB962C8B-B14F-4D97-AF65-F5344CB8AC3E}">
        <p14:creationId xmlns:p14="http://schemas.microsoft.com/office/powerpoint/2010/main" val="40769965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04FB29-EE84-40C8-A183-6F0438C1C132}"/>
              </a:ext>
            </a:extLst>
          </p:cNvPr>
          <p:cNvSpPr>
            <a:spLocks noGrp="1"/>
          </p:cNvSpPr>
          <p:nvPr>
            <p:ph type="title"/>
          </p:nvPr>
        </p:nvSpPr>
        <p:spPr/>
        <p:txBody>
          <a:bodyPr/>
          <a:lstStyle/>
          <a:p>
            <a:r>
              <a:rPr lang="en-GB" dirty="0"/>
              <a:t>Place headline here (36pt, min 30pt)</a:t>
            </a:r>
            <a:endParaRPr lang="en-US" dirty="0"/>
          </a:p>
        </p:txBody>
      </p:sp>
      <p:sp>
        <p:nvSpPr>
          <p:cNvPr id="6" name="Text Placeholder 5">
            <a:extLst>
              <a:ext uri="{FF2B5EF4-FFF2-40B4-BE49-F238E27FC236}">
                <a16:creationId xmlns:a16="http://schemas.microsoft.com/office/drawing/2014/main" id="{676A8236-4970-4DCB-B974-39ACFC370D02}"/>
              </a:ext>
            </a:extLst>
          </p:cNvPr>
          <p:cNvSpPr>
            <a:spLocks noGrp="1"/>
          </p:cNvSpPr>
          <p:nvPr>
            <p:ph type="body" sz="quarter" idx="11"/>
          </p:nvPr>
        </p:nvSpPr>
        <p:spPr/>
        <p:txBody>
          <a:bodyPr/>
          <a:lstStyle/>
          <a:p>
            <a:r>
              <a:rPr lang="en-GB" dirty="0"/>
              <a:t>Place subtitle here in GT Sectra Fine </a:t>
            </a:r>
            <a:r>
              <a:rPr lang="en-GB" dirty="0" err="1"/>
              <a:t>Rg</a:t>
            </a:r>
            <a:r>
              <a:rPr lang="en-GB" dirty="0"/>
              <a:t> 20pt</a:t>
            </a:r>
            <a:endParaRPr lang="en-US" dirty="0"/>
          </a:p>
        </p:txBody>
      </p:sp>
      <p:sp>
        <p:nvSpPr>
          <p:cNvPr id="3" name="Content Placeholder 2">
            <a:extLst>
              <a:ext uri="{FF2B5EF4-FFF2-40B4-BE49-F238E27FC236}">
                <a16:creationId xmlns:a16="http://schemas.microsoft.com/office/drawing/2014/main" id="{E41415E0-097C-4E35-9E9A-7EEA35A89CC8}"/>
              </a:ext>
            </a:extLst>
          </p:cNvPr>
          <p:cNvSpPr>
            <a:spLocks noGrp="1"/>
          </p:cNvSpPr>
          <p:nvPr>
            <p:ph sz="half" idx="2"/>
          </p:nvPr>
        </p:nvSpPr>
        <p:spPr/>
        <p:txBody>
          <a:body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4" name="Content Placeholder 3">
            <a:extLst>
              <a:ext uri="{FF2B5EF4-FFF2-40B4-BE49-F238E27FC236}">
                <a16:creationId xmlns:a16="http://schemas.microsoft.com/office/drawing/2014/main" id="{EC15AA5C-62BA-408E-868E-A7B30BEB2E95}"/>
              </a:ext>
            </a:extLst>
          </p:cNvPr>
          <p:cNvSpPr>
            <a:spLocks noGrp="1"/>
          </p:cNvSpPr>
          <p:nvPr>
            <p:ph sz="half" idx="18"/>
          </p:nvPr>
        </p:nvSpPr>
        <p:spPr/>
        <p:txBody>
          <a:body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5" name="Footer Placeholder 4">
            <a:extLst>
              <a:ext uri="{FF2B5EF4-FFF2-40B4-BE49-F238E27FC236}">
                <a16:creationId xmlns:a16="http://schemas.microsoft.com/office/drawing/2014/main" id="{95348192-F38B-46F2-B74B-08508C69B23D}"/>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7" name="Slide Number Placeholder 6">
            <a:extLst>
              <a:ext uri="{FF2B5EF4-FFF2-40B4-BE49-F238E27FC236}">
                <a16:creationId xmlns:a16="http://schemas.microsoft.com/office/drawing/2014/main" id="{6C228573-5D95-452A-9E42-65A0D271C3C9}"/>
              </a:ext>
            </a:extLst>
          </p:cNvPr>
          <p:cNvSpPr>
            <a:spLocks noGrp="1"/>
          </p:cNvSpPr>
          <p:nvPr>
            <p:ph type="sldNum" sz="quarter" idx="20"/>
          </p:nvPr>
        </p:nvSpPr>
        <p:spPr/>
        <p:txBody>
          <a:bodyPr/>
          <a:lstStyle/>
          <a:p>
            <a:fld id="{1F90F471-3972-4120-B8B3-0237DE626C35}" type="slidenum">
              <a:rPr lang="en-US" smtClean="0"/>
              <a:pPr/>
              <a:t>43</a:t>
            </a:fld>
            <a:endParaRPr lang="en-US" dirty="0"/>
          </a:p>
        </p:txBody>
      </p:sp>
    </p:spTree>
    <p:extLst>
      <p:ext uri="{BB962C8B-B14F-4D97-AF65-F5344CB8AC3E}">
        <p14:creationId xmlns:p14="http://schemas.microsoft.com/office/powerpoint/2010/main" val="3205292149"/>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Pareto (“80/20”) Distribution</a:t>
            </a:r>
          </a:p>
        </p:txBody>
      </p:sp>
      <p:grpSp>
        <p:nvGrpSpPr>
          <p:cNvPr id="5" name="Group 3" descr="Pareto">
            <a:extLst>
              <a:ext uri="{FF2B5EF4-FFF2-40B4-BE49-F238E27FC236}">
                <a16:creationId xmlns:a16="http://schemas.microsoft.com/office/drawing/2014/main" id="{193873A9-FE53-4D85-A2C7-9F6444B568FC}"/>
              </a:ext>
            </a:extLst>
          </p:cNvPr>
          <p:cNvGrpSpPr>
            <a:grpSpLocks/>
          </p:cNvGrpSpPr>
          <p:nvPr/>
        </p:nvGrpSpPr>
        <p:grpSpPr bwMode="auto">
          <a:xfrm>
            <a:off x="3649635" y="1633913"/>
            <a:ext cx="3997325" cy="3817938"/>
            <a:chOff x="1994" y="1440"/>
            <a:chExt cx="2242" cy="1977"/>
          </a:xfrm>
        </p:grpSpPr>
        <p:sp>
          <p:nvSpPr>
            <p:cNvPr id="6" name="Line 4">
              <a:extLst>
                <a:ext uri="{FF2B5EF4-FFF2-40B4-BE49-F238E27FC236}">
                  <a16:creationId xmlns:a16="http://schemas.microsoft.com/office/drawing/2014/main" id="{AEF12A6C-D410-4896-87FF-29E9223F98E5}"/>
                </a:ext>
              </a:extLst>
            </p:cNvPr>
            <p:cNvSpPr>
              <a:spLocks noChangeShapeType="1"/>
            </p:cNvSpPr>
            <p:nvPr/>
          </p:nvSpPr>
          <p:spPr bwMode="auto">
            <a:xfrm flipV="1">
              <a:off x="2364" y="1440"/>
              <a:ext cx="0" cy="1771"/>
            </a:xfrm>
            <a:prstGeom prst="line">
              <a:avLst/>
            </a:prstGeom>
            <a:noFill/>
            <a:ln w="6350">
              <a:solidFill>
                <a:srgbClr val="000000"/>
              </a:solidFill>
              <a:round/>
              <a:headEnd/>
              <a:tailEnd type="triangle" w="med" len="me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7" name="Line 5">
              <a:extLst>
                <a:ext uri="{FF2B5EF4-FFF2-40B4-BE49-F238E27FC236}">
                  <a16:creationId xmlns:a16="http://schemas.microsoft.com/office/drawing/2014/main" id="{B0E6C373-EEC3-4C14-95B4-E6B955595C5F}"/>
                </a:ext>
              </a:extLst>
            </p:cNvPr>
            <p:cNvSpPr>
              <a:spLocks noChangeShapeType="1"/>
            </p:cNvSpPr>
            <p:nvPr/>
          </p:nvSpPr>
          <p:spPr bwMode="auto">
            <a:xfrm rot="5400000" flipV="1">
              <a:off x="3300" y="2275"/>
              <a:ext cx="0" cy="1872"/>
            </a:xfrm>
            <a:prstGeom prst="line">
              <a:avLst/>
            </a:prstGeom>
            <a:noFill/>
            <a:ln w="6350">
              <a:solidFill>
                <a:srgbClr val="000000"/>
              </a:solidFill>
              <a:round/>
              <a:headEnd/>
              <a:tailEnd type="triangle" w="med" len="me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8" name="Text Box 6">
              <a:extLst>
                <a:ext uri="{FF2B5EF4-FFF2-40B4-BE49-F238E27FC236}">
                  <a16:creationId xmlns:a16="http://schemas.microsoft.com/office/drawing/2014/main" id="{FEFD9C12-1221-4A65-8B1F-D9E49B52A520}"/>
                </a:ext>
              </a:extLst>
            </p:cNvPr>
            <p:cNvSpPr txBox="1">
              <a:spLocks noChangeArrowheads="1"/>
            </p:cNvSpPr>
            <p:nvPr/>
          </p:nvSpPr>
          <p:spPr bwMode="auto">
            <a:xfrm>
              <a:off x="1994" y="2325"/>
              <a:ext cx="370" cy="172"/>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Y-Axis</a:t>
              </a:r>
            </a:p>
          </p:txBody>
        </p:sp>
        <p:sp>
          <p:nvSpPr>
            <p:cNvPr id="9" name="Text Box 7">
              <a:extLst>
                <a:ext uri="{FF2B5EF4-FFF2-40B4-BE49-F238E27FC236}">
                  <a16:creationId xmlns:a16="http://schemas.microsoft.com/office/drawing/2014/main" id="{F1171F09-6965-43B1-B2C3-F8383E4D9444}"/>
                </a:ext>
              </a:extLst>
            </p:cNvPr>
            <p:cNvSpPr txBox="1">
              <a:spLocks noChangeArrowheads="1"/>
            </p:cNvSpPr>
            <p:nvPr/>
          </p:nvSpPr>
          <p:spPr bwMode="auto">
            <a:xfrm>
              <a:off x="2863" y="3245"/>
              <a:ext cx="1102" cy="172"/>
            </a:xfrm>
            <a:prstGeom prst="rect">
              <a:avLst/>
            </a:prstGeom>
            <a:noFill/>
            <a:ln w="6350">
              <a:noFill/>
              <a:miter lim="800000"/>
              <a:headEnd/>
              <a:tailEnd/>
            </a:ln>
            <a:effectLst/>
          </p:spPr>
          <p:txBody>
            <a:bodyPr wrap="none" lIns="45720" rIns="45720"/>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X-Axis</a:t>
              </a:r>
            </a:p>
          </p:txBody>
        </p:sp>
        <p:sp>
          <p:nvSpPr>
            <p:cNvPr id="10" name="Freeform 8">
              <a:extLst>
                <a:ext uri="{FF2B5EF4-FFF2-40B4-BE49-F238E27FC236}">
                  <a16:creationId xmlns:a16="http://schemas.microsoft.com/office/drawing/2014/main" id="{E7C89B71-0249-4547-AEC5-79926B1F9425}"/>
                </a:ext>
              </a:extLst>
            </p:cNvPr>
            <p:cNvSpPr>
              <a:spLocks/>
            </p:cNvSpPr>
            <p:nvPr/>
          </p:nvSpPr>
          <p:spPr bwMode="auto">
            <a:xfrm>
              <a:off x="2405" y="1725"/>
              <a:ext cx="1708" cy="1461"/>
            </a:xfrm>
            <a:custGeom>
              <a:avLst/>
              <a:gdLst/>
              <a:ahLst/>
              <a:cxnLst>
                <a:cxn ang="0">
                  <a:pos x="0" y="2416"/>
                </a:cxn>
                <a:cxn ang="0">
                  <a:pos x="704" y="376"/>
                </a:cxn>
                <a:cxn ang="0">
                  <a:pos x="3032" y="64"/>
                </a:cxn>
              </a:cxnLst>
              <a:rect l="0" t="0" r="r" b="b"/>
              <a:pathLst>
                <a:path w="3032" h="2416">
                  <a:moveTo>
                    <a:pt x="0" y="2416"/>
                  </a:moveTo>
                  <a:cubicBezTo>
                    <a:pt x="117" y="2075"/>
                    <a:pt x="199" y="768"/>
                    <a:pt x="704" y="376"/>
                  </a:cubicBezTo>
                  <a:cubicBezTo>
                    <a:pt x="1080" y="0"/>
                    <a:pt x="2547" y="129"/>
                    <a:pt x="3032" y="64"/>
                  </a:cubicBezTo>
                </a:path>
              </a:pathLst>
            </a:custGeom>
            <a:noFill/>
            <a:ln w="25400" cap="flat" cmpd="sng">
              <a:solidFill>
                <a:srgbClr val="A100FF"/>
              </a:solidFill>
              <a:prstDash val="solid"/>
              <a:round/>
              <a:headEnd type="none" w="med" len="med"/>
              <a:tailEnd type="none" w="med" len="me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11" name="Text Box 9">
              <a:extLst>
                <a:ext uri="{FF2B5EF4-FFF2-40B4-BE49-F238E27FC236}">
                  <a16:creationId xmlns:a16="http://schemas.microsoft.com/office/drawing/2014/main" id="{292AC2A8-B678-4A8E-9300-55FE4AC67891}"/>
                </a:ext>
              </a:extLst>
            </p:cNvPr>
            <p:cNvSpPr txBox="1">
              <a:spLocks noChangeArrowheads="1"/>
            </p:cNvSpPr>
            <p:nvPr/>
          </p:nvSpPr>
          <p:spPr bwMode="auto">
            <a:xfrm>
              <a:off x="1994" y="1843"/>
              <a:ext cx="370" cy="172"/>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80%</a:t>
              </a:r>
            </a:p>
          </p:txBody>
        </p:sp>
        <p:sp>
          <p:nvSpPr>
            <p:cNvPr id="12" name="Line 10">
              <a:extLst>
                <a:ext uri="{FF2B5EF4-FFF2-40B4-BE49-F238E27FC236}">
                  <a16:creationId xmlns:a16="http://schemas.microsoft.com/office/drawing/2014/main" id="{C68A8BB6-9419-4BFA-BE77-EE72FC23775A}"/>
                </a:ext>
              </a:extLst>
            </p:cNvPr>
            <p:cNvSpPr>
              <a:spLocks noChangeShapeType="1"/>
            </p:cNvSpPr>
            <p:nvPr/>
          </p:nvSpPr>
          <p:spPr bwMode="auto">
            <a:xfrm>
              <a:off x="2364" y="2021"/>
              <a:ext cx="1749" cy="0"/>
            </a:xfrm>
            <a:prstGeom prst="line">
              <a:avLst/>
            </a:prstGeom>
            <a:noFill/>
            <a:ln w="6350">
              <a:solidFill>
                <a:srgbClr val="666666"/>
              </a:solidFill>
              <a:prstDash val="dash"/>
              <a:round/>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13" name="Line 11">
              <a:extLst>
                <a:ext uri="{FF2B5EF4-FFF2-40B4-BE49-F238E27FC236}">
                  <a16:creationId xmlns:a16="http://schemas.microsoft.com/office/drawing/2014/main" id="{FA0F2A58-237B-48F4-BBA8-9A652AF6E35B}"/>
                </a:ext>
              </a:extLst>
            </p:cNvPr>
            <p:cNvSpPr>
              <a:spLocks noChangeShapeType="1"/>
            </p:cNvSpPr>
            <p:nvPr/>
          </p:nvSpPr>
          <p:spPr bwMode="auto">
            <a:xfrm rot="5400000">
              <a:off x="2137" y="2616"/>
              <a:ext cx="1190" cy="0"/>
            </a:xfrm>
            <a:prstGeom prst="line">
              <a:avLst/>
            </a:prstGeom>
            <a:noFill/>
            <a:ln w="6350">
              <a:solidFill>
                <a:srgbClr val="666666"/>
              </a:solidFill>
              <a:prstDash val="dash"/>
              <a:round/>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14" name="Text Box 12">
              <a:extLst>
                <a:ext uri="{FF2B5EF4-FFF2-40B4-BE49-F238E27FC236}">
                  <a16:creationId xmlns:a16="http://schemas.microsoft.com/office/drawing/2014/main" id="{3ADA5813-359C-4CC5-B4B4-AF286F74277C}"/>
                </a:ext>
              </a:extLst>
            </p:cNvPr>
            <p:cNvSpPr txBox="1">
              <a:spLocks noChangeArrowheads="1"/>
            </p:cNvSpPr>
            <p:nvPr/>
          </p:nvSpPr>
          <p:spPr bwMode="auto">
            <a:xfrm>
              <a:off x="1994" y="1671"/>
              <a:ext cx="370" cy="172"/>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100%</a:t>
              </a:r>
            </a:p>
          </p:txBody>
        </p:sp>
        <p:sp>
          <p:nvSpPr>
            <p:cNvPr id="15" name="Line 13">
              <a:extLst>
                <a:ext uri="{FF2B5EF4-FFF2-40B4-BE49-F238E27FC236}">
                  <a16:creationId xmlns:a16="http://schemas.microsoft.com/office/drawing/2014/main" id="{4C3DFFDA-E665-486B-9038-4123555864EE}"/>
                </a:ext>
              </a:extLst>
            </p:cNvPr>
            <p:cNvSpPr>
              <a:spLocks noChangeShapeType="1"/>
            </p:cNvSpPr>
            <p:nvPr/>
          </p:nvSpPr>
          <p:spPr bwMode="auto">
            <a:xfrm>
              <a:off x="2333" y="1725"/>
              <a:ext cx="31" cy="0"/>
            </a:xfrm>
            <a:prstGeom prst="line">
              <a:avLst/>
            </a:prstGeom>
            <a:noFill/>
            <a:ln w="6350">
              <a:solidFill>
                <a:srgbClr val="006699"/>
              </a:solidFill>
              <a:round/>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16" name="Line 14">
              <a:extLst>
                <a:ext uri="{FF2B5EF4-FFF2-40B4-BE49-F238E27FC236}">
                  <a16:creationId xmlns:a16="http://schemas.microsoft.com/office/drawing/2014/main" id="{52E9F848-7422-47E9-B114-AF2D486E96E0}"/>
                </a:ext>
              </a:extLst>
            </p:cNvPr>
            <p:cNvSpPr>
              <a:spLocks noChangeShapeType="1"/>
            </p:cNvSpPr>
            <p:nvPr/>
          </p:nvSpPr>
          <p:spPr bwMode="auto">
            <a:xfrm rot="-5400000">
              <a:off x="4082" y="3231"/>
              <a:ext cx="29" cy="0"/>
            </a:xfrm>
            <a:prstGeom prst="line">
              <a:avLst/>
            </a:prstGeom>
            <a:noFill/>
            <a:ln w="6350">
              <a:solidFill>
                <a:srgbClr val="006699"/>
              </a:solidFill>
              <a:round/>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17" name="Text Box 15">
              <a:extLst>
                <a:ext uri="{FF2B5EF4-FFF2-40B4-BE49-F238E27FC236}">
                  <a16:creationId xmlns:a16="http://schemas.microsoft.com/office/drawing/2014/main" id="{DF71C22B-79A9-4768-B6D9-D986E6964E52}"/>
                </a:ext>
              </a:extLst>
            </p:cNvPr>
            <p:cNvSpPr txBox="1">
              <a:spLocks noChangeArrowheads="1"/>
            </p:cNvSpPr>
            <p:nvPr/>
          </p:nvSpPr>
          <p:spPr bwMode="auto">
            <a:xfrm>
              <a:off x="2599" y="3245"/>
              <a:ext cx="264" cy="172"/>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20%</a:t>
              </a:r>
            </a:p>
          </p:txBody>
        </p:sp>
        <p:sp>
          <p:nvSpPr>
            <p:cNvPr id="18" name="Text Box 16">
              <a:extLst>
                <a:ext uri="{FF2B5EF4-FFF2-40B4-BE49-F238E27FC236}">
                  <a16:creationId xmlns:a16="http://schemas.microsoft.com/office/drawing/2014/main" id="{A8E5D187-269E-4190-A8FF-681B25747800}"/>
                </a:ext>
              </a:extLst>
            </p:cNvPr>
            <p:cNvSpPr txBox="1">
              <a:spLocks noChangeArrowheads="1"/>
            </p:cNvSpPr>
            <p:nvPr/>
          </p:nvSpPr>
          <p:spPr bwMode="auto">
            <a:xfrm>
              <a:off x="3965" y="3245"/>
              <a:ext cx="264" cy="172"/>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100%</a:t>
              </a:r>
            </a:p>
          </p:txBody>
        </p:sp>
      </p:grpSp>
      <p:sp>
        <p:nvSpPr>
          <p:cNvPr id="20" name="Footer Placeholder 19">
            <a:extLst>
              <a:ext uri="{FF2B5EF4-FFF2-40B4-BE49-F238E27FC236}">
                <a16:creationId xmlns:a16="http://schemas.microsoft.com/office/drawing/2014/main" id="{59F133AF-2FE9-4D29-80EE-2A8006C6121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1" name="Slide Number Placeholder 20">
            <a:extLst>
              <a:ext uri="{FF2B5EF4-FFF2-40B4-BE49-F238E27FC236}">
                <a16:creationId xmlns:a16="http://schemas.microsoft.com/office/drawing/2014/main" id="{B776DA11-E58C-4BA1-9BE3-CABF4B189510}"/>
              </a:ext>
            </a:extLst>
          </p:cNvPr>
          <p:cNvSpPr>
            <a:spLocks noGrp="1"/>
          </p:cNvSpPr>
          <p:nvPr>
            <p:ph type="sldNum" sz="quarter" idx="10"/>
          </p:nvPr>
        </p:nvSpPr>
        <p:spPr/>
        <p:txBody>
          <a:bodyPr/>
          <a:lstStyle/>
          <a:p>
            <a:fld id="{1F90F471-3972-4120-B8B3-0237DE626C35}" type="slidenum">
              <a:rPr lang="en-US" smtClean="0"/>
              <a:pPr/>
              <a:t>430</a:t>
            </a:fld>
            <a:endParaRPr lang="en-US" dirty="0"/>
          </a:p>
        </p:txBody>
      </p:sp>
    </p:spTree>
    <p:extLst>
      <p:ext uri="{BB962C8B-B14F-4D97-AF65-F5344CB8AC3E}">
        <p14:creationId xmlns:p14="http://schemas.microsoft.com/office/powerpoint/2010/main" val="368505402"/>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Normal Distribution 1</a:t>
            </a:r>
          </a:p>
        </p:txBody>
      </p:sp>
      <p:grpSp>
        <p:nvGrpSpPr>
          <p:cNvPr id="5" name="Group 4" descr="Normal Distribution">
            <a:extLst>
              <a:ext uri="{FF2B5EF4-FFF2-40B4-BE49-F238E27FC236}">
                <a16:creationId xmlns:a16="http://schemas.microsoft.com/office/drawing/2014/main" id="{A6562111-7323-418D-8876-A553B81115ED}"/>
              </a:ext>
            </a:extLst>
          </p:cNvPr>
          <p:cNvGrpSpPr/>
          <p:nvPr/>
        </p:nvGrpSpPr>
        <p:grpSpPr>
          <a:xfrm>
            <a:off x="3028950" y="2202669"/>
            <a:ext cx="5456238" cy="3089276"/>
            <a:chOff x="3028950" y="2202669"/>
            <a:chExt cx="5456238" cy="3089276"/>
          </a:xfrm>
        </p:grpSpPr>
        <p:grpSp>
          <p:nvGrpSpPr>
            <p:cNvPr id="6" name="Group 4">
              <a:extLst>
                <a:ext uri="{FF2B5EF4-FFF2-40B4-BE49-F238E27FC236}">
                  <a16:creationId xmlns:a16="http://schemas.microsoft.com/office/drawing/2014/main" id="{C15C0F49-0805-49F1-AD0D-00A2D413DEF7}"/>
                </a:ext>
              </a:extLst>
            </p:cNvPr>
            <p:cNvGrpSpPr>
              <a:grpSpLocks/>
            </p:cNvGrpSpPr>
            <p:nvPr/>
          </p:nvGrpSpPr>
          <p:grpSpPr bwMode="auto">
            <a:xfrm>
              <a:off x="3469962" y="2467782"/>
              <a:ext cx="4883362" cy="1522413"/>
              <a:chOff x="984" y="1875"/>
              <a:chExt cx="3840" cy="730"/>
            </a:xfrm>
          </p:grpSpPr>
          <p:sp>
            <p:nvSpPr>
              <p:cNvPr id="29" name="Freeform 5">
                <a:extLst>
                  <a:ext uri="{FF2B5EF4-FFF2-40B4-BE49-F238E27FC236}">
                    <a16:creationId xmlns:a16="http://schemas.microsoft.com/office/drawing/2014/main" id="{A90EEDDB-0B03-438C-A655-2764CFF4807B}"/>
                  </a:ext>
                </a:extLst>
              </p:cNvPr>
              <p:cNvSpPr>
                <a:spLocks/>
              </p:cNvSpPr>
              <p:nvPr/>
            </p:nvSpPr>
            <p:spPr bwMode="auto">
              <a:xfrm>
                <a:off x="2946" y="1875"/>
                <a:ext cx="1878" cy="730"/>
              </a:xfrm>
              <a:custGeom>
                <a:avLst/>
                <a:gdLst/>
                <a:ahLst/>
                <a:cxnLst>
                  <a:cxn ang="0">
                    <a:pos x="900" y="720"/>
                  </a:cxn>
                  <a:cxn ang="0">
                    <a:pos x="805" y="712"/>
                  </a:cxn>
                  <a:cxn ang="0">
                    <a:pos x="758" y="704"/>
                  </a:cxn>
                  <a:cxn ang="0">
                    <a:pos x="711" y="691"/>
                  </a:cxn>
                  <a:cxn ang="0">
                    <a:pos x="663" y="675"/>
                  </a:cxn>
                  <a:cxn ang="0">
                    <a:pos x="615" y="653"/>
                  </a:cxn>
                  <a:cxn ang="0">
                    <a:pos x="568" y="623"/>
                  </a:cxn>
                  <a:cxn ang="0">
                    <a:pos x="473" y="540"/>
                  </a:cxn>
                  <a:cxn ang="0">
                    <a:pos x="378" y="422"/>
                  </a:cxn>
                  <a:cxn ang="0">
                    <a:pos x="284" y="281"/>
                  </a:cxn>
                  <a:cxn ang="0">
                    <a:pos x="236" y="209"/>
                  </a:cxn>
                  <a:cxn ang="0">
                    <a:pos x="189" y="142"/>
                  </a:cxn>
                  <a:cxn ang="0">
                    <a:pos x="142" y="83"/>
                  </a:cxn>
                  <a:cxn ang="0">
                    <a:pos x="94" y="38"/>
                  </a:cxn>
                  <a:cxn ang="0">
                    <a:pos x="47" y="9"/>
                  </a:cxn>
                  <a:cxn ang="0">
                    <a:pos x="0" y="0"/>
                  </a:cxn>
                </a:cxnLst>
                <a:rect l="0" t="0" r="r" b="b"/>
                <a:pathLst>
                  <a:path w="901" h="721">
                    <a:moveTo>
                      <a:pt x="900" y="720"/>
                    </a:moveTo>
                    <a:lnTo>
                      <a:pt x="805" y="712"/>
                    </a:lnTo>
                    <a:lnTo>
                      <a:pt x="758" y="704"/>
                    </a:lnTo>
                    <a:lnTo>
                      <a:pt x="711" y="691"/>
                    </a:lnTo>
                    <a:lnTo>
                      <a:pt x="663" y="675"/>
                    </a:lnTo>
                    <a:lnTo>
                      <a:pt x="615" y="653"/>
                    </a:lnTo>
                    <a:lnTo>
                      <a:pt x="568" y="623"/>
                    </a:lnTo>
                    <a:lnTo>
                      <a:pt x="473" y="540"/>
                    </a:lnTo>
                    <a:lnTo>
                      <a:pt x="378" y="422"/>
                    </a:lnTo>
                    <a:lnTo>
                      <a:pt x="284" y="281"/>
                    </a:lnTo>
                    <a:lnTo>
                      <a:pt x="236" y="209"/>
                    </a:lnTo>
                    <a:lnTo>
                      <a:pt x="189" y="142"/>
                    </a:lnTo>
                    <a:lnTo>
                      <a:pt x="142" y="83"/>
                    </a:lnTo>
                    <a:lnTo>
                      <a:pt x="94" y="38"/>
                    </a:lnTo>
                    <a:lnTo>
                      <a:pt x="47" y="9"/>
                    </a:lnTo>
                    <a:lnTo>
                      <a:pt x="0" y="0"/>
                    </a:lnTo>
                  </a:path>
                </a:pathLst>
              </a:custGeom>
              <a:noFill/>
              <a:ln w="25400" cap="rnd" cmpd="sng">
                <a:solidFill>
                  <a:srgbClr val="A100FF"/>
                </a:solid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ea typeface="+mn-ea"/>
                  <a:cs typeface="+mn-cs"/>
                </a:endParaRPr>
              </a:p>
            </p:txBody>
          </p:sp>
          <p:sp>
            <p:nvSpPr>
              <p:cNvPr id="30" name="Freeform 6">
                <a:extLst>
                  <a:ext uri="{FF2B5EF4-FFF2-40B4-BE49-F238E27FC236}">
                    <a16:creationId xmlns:a16="http://schemas.microsoft.com/office/drawing/2014/main" id="{A55C1279-A3C4-40D7-89E7-59C3E21B50B2}"/>
                  </a:ext>
                </a:extLst>
              </p:cNvPr>
              <p:cNvSpPr>
                <a:spLocks/>
              </p:cNvSpPr>
              <p:nvPr/>
            </p:nvSpPr>
            <p:spPr bwMode="auto">
              <a:xfrm>
                <a:off x="984" y="1875"/>
                <a:ext cx="1980" cy="730"/>
              </a:xfrm>
              <a:custGeom>
                <a:avLst/>
                <a:gdLst/>
                <a:ahLst/>
                <a:cxnLst>
                  <a:cxn ang="0">
                    <a:pos x="0" y="720"/>
                  </a:cxn>
                  <a:cxn ang="0">
                    <a:pos x="95" y="712"/>
                  </a:cxn>
                  <a:cxn ang="0">
                    <a:pos x="142" y="704"/>
                  </a:cxn>
                  <a:cxn ang="0">
                    <a:pos x="189" y="691"/>
                  </a:cxn>
                  <a:cxn ang="0">
                    <a:pos x="237" y="675"/>
                  </a:cxn>
                  <a:cxn ang="0">
                    <a:pos x="284" y="653"/>
                  </a:cxn>
                  <a:cxn ang="0">
                    <a:pos x="331" y="623"/>
                  </a:cxn>
                  <a:cxn ang="0">
                    <a:pos x="426" y="540"/>
                  </a:cxn>
                  <a:cxn ang="0">
                    <a:pos x="521" y="422"/>
                  </a:cxn>
                  <a:cxn ang="0">
                    <a:pos x="616" y="281"/>
                  </a:cxn>
                  <a:cxn ang="0">
                    <a:pos x="663" y="209"/>
                  </a:cxn>
                  <a:cxn ang="0">
                    <a:pos x="710" y="142"/>
                  </a:cxn>
                  <a:cxn ang="0">
                    <a:pos x="757" y="83"/>
                  </a:cxn>
                  <a:cxn ang="0">
                    <a:pos x="805" y="38"/>
                  </a:cxn>
                  <a:cxn ang="0">
                    <a:pos x="852" y="9"/>
                  </a:cxn>
                  <a:cxn ang="0">
                    <a:pos x="900" y="0"/>
                  </a:cxn>
                </a:cxnLst>
                <a:rect l="0" t="0" r="r" b="b"/>
                <a:pathLst>
                  <a:path w="901" h="721">
                    <a:moveTo>
                      <a:pt x="0" y="720"/>
                    </a:moveTo>
                    <a:lnTo>
                      <a:pt x="95" y="712"/>
                    </a:lnTo>
                    <a:lnTo>
                      <a:pt x="142" y="704"/>
                    </a:lnTo>
                    <a:lnTo>
                      <a:pt x="189" y="691"/>
                    </a:lnTo>
                    <a:lnTo>
                      <a:pt x="237" y="675"/>
                    </a:lnTo>
                    <a:lnTo>
                      <a:pt x="284" y="653"/>
                    </a:lnTo>
                    <a:lnTo>
                      <a:pt x="331" y="623"/>
                    </a:lnTo>
                    <a:lnTo>
                      <a:pt x="426" y="540"/>
                    </a:lnTo>
                    <a:lnTo>
                      <a:pt x="521" y="422"/>
                    </a:lnTo>
                    <a:lnTo>
                      <a:pt x="616" y="281"/>
                    </a:lnTo>
                    <a:lnTo>
                      <a:pt x="663" y="209"/>
                    </a:lnTo>
                    <a:lnTo>
                      <a:pt x="710" y="142"/>
                    </a:lnTo>
                    <a:lnTo>
                      <a:pt x="757" y="83"/>
                    </a:lnTo>
                    <a:lnTo>
                      <a:pt x="805" y="38"/>
                    </a:lnTo>
                    <a:lnTo>
                      <a:pt x="852" y="9"/>
                    </a:lnTo>
                    <a:lnTo>
                      <a:pt x="900" y="0"/>
                    </a:lnTo>
                  </a:path>
                </a:pathLst>
              </a:custGeom>
              <a:noFill/>
              <a:ln w="25400" cap="rnd" cmpd="sng">
                <a:solidFill>
                  <a:srgbClr val="A100FF"/>
                </a:solid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ea typeface="+mn-ea"/>
                  <a:cs typeface="+mn-cs"/>
                </a:endParaRPr>
              </a:p>
            </p:txBody>
          </p:sp>
        </p:grpSp>
        <p:sp>
          <p:nvSpPr>
            <p:cNvPr id="7" name="Freeform 7">
              <a:extLst>
                <a:ext uri="{FF2B5EF4-FFF2-40B4-BE49-F238E27FC236}">
                  <a16:creationId xmlns:a16="http://schemas.microsoft.com/office/drawing/2014/main" id="{80806D2A-5347-481A-A715-AE387C241514}"/>
                </a:ext>
              </a:extLst>
            </p:cNvPr>
            <p:cNvSpPr>
              <a:spLocks/>
            </p:cNvSpPr>
            <p:nvPr/>
          </p:nvSpPr>
          <p:spPr bwMode="auto">
            <a:xfrm>
              <a:off x="3430403" y="2202669"/>
              <a:ext cx="5054785" cy="1801813"/>
            </a:xfrm>
            <a:custGeom>
              <a:avLst/>
              <a:gdLst/>
              <a:ahLst/>
              <a:cxnLst>
                <a:cxn ang="0">
                  <a:pos x="0" y="0"/>
                </a:cxn>
                <a:cxn ang="0">
                  <a:pos x="0" y="764"/>
                </a:cxn>
                <a:cxn ang="0">
                  <a:pos x="1892" y="764"/>
                </a:cxn>
              </a:cxnLst>
              <a:rect l="0" t="0" r="r" b="b"/>
              <a:pathLst>
                <a:path w="1893" h="765">
                  <a:moveTo>
                    <a:pt x="0" y="0"/>
                  </a:moveTo>
                  <a:lnTo>
                    <a:pt x="0" y="764"/>
                  </a:lnTo>
                  <a:lnTo>
                    <a:pt x="1892" y="764"/>
                  </a:lnTo>
                </a:path>
              </a:pathLst>
            </a:custGeom>
            <a:noFill/>
            <a:ln w="6350" cap="rnd" cmpd="sng">
              <a:solidFill>
                <a:srgbClr val="000000"/>
              </a:solidFill>
              <a:prstDash val="solid"/>
              <a:round/>
              <a:headEnd type="triangle" w="med" len="med"/>
              <a:tailEnd type="triangl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ea typeface="+mn-ea"/>
                <a:cs typeface="+mn-cs"/>
              </a:endParaRPr>
            </a:p>
          </p:txBody>
        </p:sp>
        <p:sp>
          <p:nvSpPr>
            <p:cNvPr id="8" name="Line 8">
              <a:extLst>
                <a:ext uri="{FF2B5EF4-FFF2-40B4-BE49-F238E27FC236}">
                  <a16:creationId xmlns:a16="http://schemas.microsoft.com/office/drawing/2014/main" id="{962E687C-A426-4CCF-99CE-4A3A89348208}"/>
                </a:ext>
              </a:extLst>
            </p:cNvPr>
            <p:cNvSpPr>
              <a:spLocks noChangeShapeType="1"/>
            </p:cNvSpPr>
            <p:nvPr/>
          </p:nvSpPr>
          <p:spPr bwMode="auto">
            <a:xfrm flipV="1">
              <a:off x="4430477" y="4280705"/>
              <a:ext cx="2952328" cy="0"/>
            </a:xfrm>
            <a:prstGeom prst="line">
              <a:avLst/>
            </a:prstGeom>
            <a:noFill/>
            <a:ln w="6350">
              <a:solidFill>
                <a:srgbClr val="778888"/>
              </a:solidFill>
              <a:round/>
              <a:headEnd type="triangle" w="med" len="med"/>
              <a:tailEnd type="triangl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ea typeface="+mn-ea"/>
                <a:cs typeface="+mn-cs"/>
              </a:endParaRPr>
            </a:p>
          </p:txBody>
        </p:sp>
        <p:sp>
          <p:nvSpPr>
            <p:cNvPr id="9" name="Text Box 9">
              <a:extLst>
                <a:ext uri="{FF2B5EF4-FFF2-40B4-BE49-F238E27FC236}">
                  <a16:creationId xmlns:a16="http://schemas.microsoft.com/office/drawing/2014/main" id="{CB596229-EB61-477F-ABE7-F127A48FFFA9}"/>
                </a:ext>
              </a:extLst>
            </p:cNvPr>
            <p:cNvSpPr txBox="1">
              <a:spLocks noChangeArrowheads="1"/>
            </p:cNvSpPr>
            <p:nvPr/>
          </p:nvSpPr>
          <p:spPr bwMode="auto">
            <a:xfrm>
              <a:off x="7372376" y="4265142"/>
              <a:ext cx="442477" cy="274638"/>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99.7</a:t>
              </a:r>
            </a:p>
          </p:txBody>
        </p:sp>
        <p:sp>
          <p:nvSpPr>
            <p:cNvPr id="10" name="Line 10">
              <a:extLst>
                <a:ext uri="{FF2B5EF4-FFF2-40B4-BE49-F238E27FC236}">
                  <a16:creationId xmlns:a16="http://schemas.microsoft.com/office/drawing/2014/main" id="{AB3DD09F-2595-4123-8323-3838A0437F1B}"/>
                </a:ext>
              </a:extLst>
            </p:cNvPr>
            <p:cNvSpPr>
              <a:spLocks noChangeShapeType="1"/>
            </p:cNvSpPr>
            <p:nvPr/>
          </p:nvSpPr>
          <p:spPr bwMode="auto">
            <a:xfrm>
              <a:off x="5576855" y="5060169"/>
              <a:ext cx="729647" cy="0"/>
            </a:xfrm>
            <a:prstGeom prst="line">
              <a:avLst/>
            </a:prstGeom>
            <a:noFill/>
            <a:ln w="6350">
              <a:solidFill>
                <a:srgbClr val="778888"/>
              </a:solidFill>
              <a:round/>
              <a:headEnd type="triangle" w="med" len="med"/>
              <a:tailEnd type="triangl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ea typeface="+mn-ea"/>
                <a:cs typeface="+mn-cs"/>
              </a:endParaRPr>
            </a:p>
          </p:txBody>
        </p:sp>
        <p:sp>
          <p:nvSpPr>
            <p:cNvPr id="11" name="Text Box 11">
              <a:extLst>
                <a:ext uri="{FF2B5EF4-FFF2-40B4-BE49-F238E27FC236}">
                  <a16:creationId xmlns:a16="http://schemas.microsoft.com/office/drawing/2014/main" id="{1892EC6A-EEC3-454E-81E0-8D8F1AB654EB}"/>
                </a:ext>
              </a:extLst>
            </p:cNvPr>
            <p:cNvSpPr txBox="1">
              <a:spLocks noChangeArrowheads="1"/>
            </p:cNvSpPr>
            <p:nvPr/>
          </p:nvSpPr>
          <p:spPr bwMode="auto">
            <a:xfrm>
              <a:off x="6306502" y="5017307"/>
              <a:ext cx="442477" cy="274638"/>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68.3</a:t>
              </a:r>
            </a:p>
          </p:txBody>
        </p:sp>
        <p:sp>
          <p:nvSpPr>
            <p:cNvPr id="12" name="Line 12">
              <a:extLst>
                <a:ext uri="{FF2B5EF4-FFF2-40B4-BE49-F238E27FC236}">
                  <a16:creationId xmlns:a16="http://schemas.microsoft.com/office/drawing/2014/main" id="{65A6B0D4-4D40-4883-9D0E-3A6610E2A182}"/>
                </a:ext>
              </a:extLst>
            </p:cNvPr>
            <p:cNvSpPr>
              <a:spLocks noChangeShapeType="1"/>
            </p:cNvSpPr>
            <p:nvPr/>
          </p:nvSpPr>
          <p:spPr bwMode="auto">
            <a:xfrm flipV="1">
              <a:off x="5080015" y="4653769"/>
              <a:ext cx="1690721" cy="1"/>
            </a:xfrm>
            <a:prstGeom prst="line">
              <a:avLst/>
            </a:prstGeom>
            <a:noFill/>
            <a:ln w="6350">
              <a:solidFill>
                <a:srgbClr val="778888"/>
              </a:solidFill>
              <a:round/>
              <a:headEnd type="triangle" w="med" len="med"/>
              <a:tailEnd type="triangl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ea typeface="+mn-ea"/>
                <a:cs typeface="+mn-cs"/>
              </a:endParaRPr>
            </a:p>
          </p:txBody>
        </p:sp>
        <p:sp>
          <p:nvSpPr>
            <p:cNvPr id="13" name="Text Box 13">
              <a:extLst>
                <a:ext uri="{FF2B5EF4-FFF2-40B4-BE49-F238E27FC236}">
                  <a16:creationId xmlns:a16="http://schemas.microsoft.com/office/drawing/2014/main" id="{E140C927-488F-488E-9487-4BB19F05ABDB}"/>
                </a:ext>
              </a:extLst>
            </p:cNvPr>
            <p:cNvSpPr txBox="1">
              <a:spLocks noChangeArrowheads="1"/>
            </p:cNvSpPr>
            <p:nvPr/>
          </p:nvSpPr>
          <p:spPr bwMode="auto">
            <a:xfrm>
              <a:off x="6724304" y="4683796"/>
              <a:ext cx="442477" cy="274638"/>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95.4</a:t>
              </a:r>
            </a:p>
          </p:txBody>
        </p:sp>
        <p:sp>
          <p:nvSpPr>
            <p:cNvPr id="14" name="Line 14">
              <a:extLst>
                <a:ext uri="{FF2B5EF4-FFF2-40B4-BE49-F238E27FC236}">
                  <a16:creationId xmlns:a16="http://schemas.microsoft.com/office/drawing/2014/main" id="{FCC1DA06-24E5-4E69-AF20-967880BB9F18}"/>
                </a:ext>
              </a:extLst>
            </p:cNvPr>
            <p:cNvSpPr>
              <a:spLocks noChangeShapeType="1"/>
            </p:cNvSpPr>
            <p:nvPr/>
          </p:nvSpPr>
          <p:spPr bwMode="auto">
            <a:xfrm>
              <a:off x="5938748" y="4004482"/>
              <a:ext cx="0" cy="1055688"/>
            </a:xfrm>
            <a:prstGeom prst="line">
              <a:avLst/>
            </a:prstGeom>
            <a:noFill/>
            <a:ln w="6350">
              <a:solidFill>
                <a:srgbClr val="778888"/>
              </a:solidFill>
              <a:prstDash val="sysDot"/>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ea typeface="+mn-ea"/>
                <a:cs typeface="+mn-cs"/>
              </a:endParaRPr>
            </a:p>
          </p:txBody>
        </p:sp>
        <p:sp>
          <p:nvSpPr>
            <p:cNvPr id="15" name="Line 15">
              <a:extLst>
                <a:ext uri="{FF2B5EF4-FFF2-40B4-BE49-F238E27FC236}">
                  <a16:creationId xmlns:a16="http://schemas.microsoft.com/office/drawing/2014/main" id="{891B4B5E-C5C1-4BA3-A428-6669A5621871}"/>
                </a:ext>
              </a:extLst>
            </p:cNvPr>
            <p:cNvSpPr>
              <a:spLocks noChangeShapeType="1"/>
            </p:cNvSpPr>
            <p:nvPr/>
          </p:nvSpPr>
          <p:spPr bwMode="auto">
            <a:xfrm>
              <a:off x="6309433" y="2661457"/>
              <a:ext cx="0" cy="1343025"/>
            </a:xfrm>
            <a:prstGeom prst="line">
              <a:avLst/>
            </a:prstGeom>
            <a:noFill/>
            <a:ln w="6350">
              <a:solidFill>
                <a:srgbClr val="778888"/>
              </a:solidFill>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ea typeface="+mn-ea"/>
                <a:cs typeface="+mn-cs"/>
              </a:endParaRPr>
            </a:p>
          </p:txBody>
        </p:sp>
        <p:sp>
          <p:nvSpPr>
            <p:cNvPr id="16" name="Line 16">
              <a:extLst>
                <a:ext uri="{FF2B5EF4-FFF2-40B4-BE49-F238E27FC236}">
                  <a16:creationId xmlns:a16="http://schemas.microsoft.com/office/drawing/2014/main" id="{7564BAD5-AFE4-4FE7-88B0-45478EDCECD7}"/>
                </a:ext>
              </a:extLst>
            </p:cNvPr>
            <p:cNvSpPr>
              <a:spLocks noChangeShapeType="1"/>
            </p:cNvSpPr>
            <p:nvPr/>
          </p:nvSpPr>
          <p:spPr bwMode="auto">
            <a:xfrm>
              <a:off x="6806741" y="3228988"/>
              <a:ext cx="0" cy="775494"/>
            </a:xfrm>
            <a:prstGeom prst="line">
              <a:avLst/>
            </a:prstGeom>
            <a:noFill/>
            <a:ln w="6350">
              <a:solidFill>
                <a:srgbClr val="778888"/>
              </a:solidFill>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ea typeface="+mn-ea"/>
                <a:cs typeface="+mn-cs"/>
              </a:endParaRPr>
            </a:p>
          </p:txBody>
        </p:sp>
        <p:sp>
          <p:nvSpPr>
            <p:cNvPr id="17" name="Line 17">
              <a:extLst>
                <a:ext uri="{FF2B5EF4-FFF2-40B4-BE49-F238E27FC236}">
                  <a16:creationId xmlns:a16="http://schemas.microsoft.com/office/drawing/2014/main" id="{1D380AC7-139B-40B3-B1BC-B0AA6EFE24CE}"/>
                </a:ext>
              </a:extLst>
            </p:cNvPr>
            <p:cNvSpPr>
              <a:spLocks noChangeShapeType="1"/>
            </p:cNvSpPr>
            <p:nvPr/>
          </p:nvSpPr>
          <p:spPr bwMode="auto">
            <a:xfrm>
              <a:off x="7382805" y="3729050"/>
              <a:ext cx="0" cy="275432"/>
            </a:xfrm>
            <a:prstGeom prst="line">
              <a:avLst/>
            </a:prstGeom>
            <a:noFill/>
            <a:ln w="6350">
              <a:solidFill>
                <a:srgbClr val="778888"/>
              </a:solidFill>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ea typeface="+mn-ea"/>
                <a:cs typeface="+mn-cs"/>
              </a:endParaRPr>
            </a:p>
          </p:txBody>
        </p:sp>
        <p:sp>
          <p:nvSpPr>
            <p:cNvPr id="18" name="Line 18">
              <a:extLst>
                <a:ext uri="{FF2B5EF4-FFF2-40B4-BE49-F238E27FC236}">
                  <a16:creationId xmlns:a16="http://schemas.microsoft.com/office/drawing/2014/main" id="{BFEA157A-469D-4218-91FD-B87F9FE69E88}"/>
                </a:ext>
              </a:extLst>
            </p:cNvPr>
            <p:cNvSpPr>
              <a:spLocks noChangeShapeType="1"/>
            </p:cNvSpPr>
            <p:nvPr/>
          </p:nvSpPr>
          <p:spPr bwMode="auto">
            <a:xfrm flipH="1">
              <a:off x="7382805" y="4004482"/>
              <a:ext cx="0" cy="246063"/>
            </a:xfrm>
            <a:prstGeom prst="line">
              <a:avLst/>
            </a:prstGeom>
            <a:noFill/>
            <a:ln w="6350" cap="rnd">
              <a:solidFill>
                <a:srgbClr val="778888"/>
              </a:solidFill>
              <a:prstDash val="sysDot"/>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ea typeface="+mn-ea"/>
                <a:cs typeface="+mn-cs"/>
              </a:endParaRPr>
            </a:p>
          </p:txBody>
        </p:sp>
        <p:sp>
          <p:nvSpPr>
            <p:cNvPr id="19" name="Rectangle 19">
              <a:extLst>
                <a:ext uri="{FF2B5EF4-FFF2-40B4-BE49-F238E27FC236}">
                  <a16:creationId xmlns:a16="http://schemas.microsoft.com/office/drawing/2014/main" id="{78E069FE-8A77-404B-ADC5-106DE4D3A932}"/>
                </a:ext>
              </a:extLst>
            </p:cNvPr>
            <p:cNvSpPr>
              <a:spLocks noChangeArrowheads="1"/>
            </p:cNvSpPr>
            <p:nvPr/>
          </p:nvSpPr>
          <p:spPr bwMode="auto">
            <a:xfrm>
              <a:off x="3028950" y="2302682"/>
              <a:ext cx="401453" cy="271463"/>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f(X)</a:t>
              </a:r>
            </a:p>
          </p:txBody>
        </p:sp>
        <p:sp>
          <p:nvSpPr>
            <p:cNvPr id="20" name="Text Box 20">
              <a:extLst>
                <a:ext uri="{FF2B5EF4-FFF2-40B4-BE49-F238E27FC236}">
                  <a16:creationId xmlns:a16="http://schemas.microsoft.com/office/drawing/2014/main" id="{E876C654-E17D-43BD-B977-AE8C26C0DF0C}"/>
                </a:ext>
              </a:extLst>
            </p:cNvPr>
            <p:cNvSpPr txBox="1">
              <a:spLocks noChangeArrowheads="1"/>
            </p:cNvSpPr>
            <p:nvPr/>
          </p:nvSpPr>
          <p:spPr bwMode="auto">
            <a:xfrm>
              <a:off x="8140877" y="4006069"/>
              <a:ext cx="247611" cy="274638"/>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x</a:t>
              </a:r>
            </a:p>
          </p:txBody>
        </p:sp>
        <p:sp>
          <p:nvSpPr>
            <p:cNvPr id="21" name="Line 21">
              <a:extLst>
                <a:ext uri="{FF2B5EF4-FFF2-40B4-BE49-F238E27FC236}">
                  <a16:creationId xmlns:a16="http://schemas.microsoft.com/office/drawing/2014/main" id="{5FA16FBF-1BDB-49B8-B383-3FB4E8F75139}"/>
                </a:ext>
              </a:extLst>
            </p:cNvPr>
            <p:cNvSpPr>
              <a:spLocks noChangeShapeType="1"/>
            </p:cNvSpPr>
            <p:nvPr/>
          </p:nvSpPr>
          <p:spPr bwMode="auto">
            <a:xfrm>
              <a:off x="5546601" y="2661457"/>
              <a:ext cx="0" cy="1343025"/>
            </a:xfrm>
            <a:prstGeom prst="line">
              <a:avLst/>
            </a:prstGeom>
            <a:noFill/>
            <a:ln w="6350">
              <a:solidFill>
                <a:srgbClr val="778888"/>
              </a:solidFill>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ea typeface="+mn-ea"/>
                <a:cs typeface="+mn-cs"/>
              </a:endParaRPr>
            </a:p>
          </p:txBody>
        </p:sp>
        <p:sp>
          <p:nvSpPr>
            <p:cNvPr id="22" name="Line 22">
              <a:extLst>
                <a:ext uri="{FF2B5EF4-FFF2-40B4-BE49-F238E27FC236}">
                  <a16:creationId xmlns:a16="http://schemas.microsoft.com/office/drawing/2014/main" id="{02A21DDE-CFB4-4BDD-9B2A-1A371B10CF67}"/>
                </a:ext>
              </a:extLst>
            </p:cNvPr>
            <p:cNvSpPr>
              <a:spLocks noChangeShapeType="1"/>
            </p:cNvSpPr>
            <p:nvPr/>
          </p:nvSpPr>
          <p:spPr bwMode="auto">
            <a:xfrm>
              <a:off x="6309433" y="4004482"/>
              <a:ext cx="0" cy="1055688"/>
            </a:xfrm>
            <a:prstGeom prst="line">
              <a:avLst/>
            </a:prstGeom>
            <a:noFill/>
            <a:ln w="6350" cap="rnd">
              <a:solidFill>
                <a:srgbClr val="778888"/>
              </a:solidFill>
              <a:prstDash val="sysDot"/>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ea typeface="+mn-ea"/>
                <a:cs typeface="+mn-cs"/>
              </a:endParaRPr>
            </a:p>
          </p:txBody>
        </p:sp>
        <p:sp>
          <p:nvSpPr>
            <p:cNvPr id="23" name="Line 23">
              <a:extLst>
                <a:ext uri="{FF2B5EF4-FFF2-40B4-BE49-F238E27FC236}">
                  <a16:creationId xmlns:a16="http://schemas.microsoft.com/office/drawing/2014/main" id="{7D731FD4-3A07-4BBB-9613-4F857995054E}"/>
                </a:ext>
              </a:extLst>
            </p:cNvPr>
            <p:cNvSpPr>
              <a:spLocks noChangeShapeType="1"/>
            </p:cNvSpPr>
            <p:nvPr/>
          </p:nvSpPr>
          <p:spPr bwMode="auto">
            <a:xfrm>
              <a:off x="5565134" y="4004482"/>
              <a:ext cx="0" cy="1055688"/>
            </a:xfrm>
            <a:prstGeom prst="line">
              <a:avLst/>
            </a:prstGeom>
            <a:noFill/>
            <a:ln w="6350" cap="rnd">
              <a:solidFill>
                <a:srgbClr val="778888"/>
              </a:solidFill>
              <a:prstDash val="sysDot"/>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ea typeface="+mn-ea"/>
                <a:cs typeface="+mn-cs"/>
              </a:endParaRPr>
            </a:p>
          </p:txBody>
        </p:sp>
        <p:sp>
          <p:nvSpPr>
            <p:cNvPr id="24" name="Line 24">
              <a:extLst>
                <a:ext uri="{FF2B5EF4-FFF2-40B4-BE49-F238E27FC236}">
                  <a16:creationId xmlns:a16="http://schemas.microsoft.com/office/drawing/2014/main" id="{B937A0D7-6ECA-45A2-AE12-3BB36BA9BD63}"/>
                </a:ext>
              </a:extLst>
            </p:cNvPr>
            <p:cNvSpPr>
              <a:spLocks noChangeShapeType="1"/>
            </p:cNvSpPr>
            <p:nvPr/>
          </p:nvSpPr>
          <p:spPr bwMode="auto">
            <a:xfrm>
              <a:off x="5042545" y="3228988"/>
              <a:ext cx="0" cy="775494"/>
            </a:xfrm>
            <a:prstGeom prst="line">
              <a:avLst/>
            </a:prstGeom>
            <a:noFill/>
            <a:ln w="6350">
              <a:solidFill>
                <a:srgbClr val="778888"/>
              </a:solidFill>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ea typeface="+mn-ea"/>
                <a:cs typeface="+mn-cs"/>
              </a:endParaRPr>
            </a:p>
          </p:txBody>
        </p:sp>
        <p:sp>
          <p:nvSpPr>
            <p:cNvPr id="25" name="Line 25">
              <a:extLst>
                <a:ext uri="{FF2B5EF4-FFF2-40B4-BE49-F238E27FC236}">
                  <a16:creationId xmlns:a16="http://schemas.microsoft.com/office/drawing/2014/main" id="{ADE1F082-58E1-41CD-8493-D2E91CAFF402}"/>
                </a:ext>
              </a:extLst>
            </p:cNvPr>
            <p:cNvSpPr>
              <a:spLocks noChangeShapeType="1"/>
            </p:cNvSpPr>
            <p:nvPr/>
          </p:nvSpPr>
          <p:spPr bwMode="auto">
            <a:xfrm>
              <a:off x="6806741" y="4004482"/>
              <a:ext cx="0" cy="649288"/>
            </a:xfrm>
            <a:prstGeom prst="line">
              <a:avLst/>
            </a:prstGeom>
            <a:noFill/>
            <a:ln w="6350" cap="rnd">
              <a:solidFill>
                <a:srgbClr val="778888"/>
              </a:solidFill>
              <a:prstDash val="sysDot"/>
              <a:round/>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ea typeface="+mn-ea"/>
                <a:cs typeface="+mn-cs"/>
              </a:endParaRPr>
            </a:p>
          </p:txBody>
        </p:sp>
        <p:sp>
          <p:nvSpPr>
            <p:cNvPr id="26" name="Line 26">
              <a:extLst>
                <a:ext uri="{FF2B5EF4-FFF2-40B4-BE49-F238E27FC236}">
                  <a16:creationId xmlns:a16="http://schemas.microsoft.com/office/drawing/2014/main" id="{32157ED1-229F-4746-BCBB-AD0274B91A26}"/>
                </a:ext>
              </a:extLst>
            </p:cNvPr>
            <p:cNvSpPr>
              <a:spLocks noChangeShapeType="1"/>
            </p:cNvSpPr>
            <p:nvPr/>
          </p:nvSpPr>
          <p:spPr bwMode="auto">
            <a:xfrm>
              <a:off x="5042545" y="4004482"/>
              <a:ext cx="0" cy="649288"/>
            </a:xfrm>
            <a:prstGeom prst="line">
              <a:avLst/>
            </a:prstGeom>
            <a:noFill/>
            <a:ln w="6350" cap="rnd">
              <a:solidFill>
                <a:srgbClr val="778888"/>
              </a:solidFill>
              <a:prstDash val="sysDot"/>
              <a:round/>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ea typeface="+mn-ea"/>
                <a:cs typeface="+mn-cs"/>
              </a:endParaRPr>
            </a:p>
          </p:txBody>
        </p:sp>
        <p:sp>
          <p:nvSpPr>
            <p:cNvPr id="27" name="Line 27">
              <a:extLst>
                <a:ext uri="{FF2B5EF4-FFF2-40B4-BE49-F238E27FC236}">
                  <a16:creationId xmlns:a16="http://schemas.microsoft.com/office/drawing/2014/main" id="{6F493A89-611D-4667-A1B5-1771C56D63E3}"/>
                </a:ext>
              </a:extLst>
            </p:cNvPr>
            <p:cNvSpPr>
              <a:spLocks noChangeShapeType="1"/>
            </p:cNvSpPr>
            <p:nvPr/>
          </p:nvSpPr>
          <p:spPr bwMode="auto">
            <a:xfrm>
              <a:off x="4430477" y="3729050"/>
              <a:ext cx="0" cy="275432"/>
            </a:xfrm>
            <a:prstGeom prst="line">
              <a:avLst/>
            </a:prstGeom>
            <a:noFill/>
            <a:ln w="6350">
              <a:solidFill>
                <a:srgbClr val="778888"/>
              </a:solidFill>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ea typeface="+mn-ea"/>
                <a:cs typeface="+mn-cs"/>
              </a:endParaRPr>
            </a:p>
          </p:txBody>
        </p:sp>
        <p:sp>
          <p:nvSpPr>
            <p:cNvPr id="28" name="Line 28">
              <a:extLst>
                <a:ext uri="{FF2B5EF4-FFF2-40B4-BE49-F238E27FC236}">
                  <a16:creationId xmlns:a16="http://schemas.microsoft.com/office/drawing/2014/main" id="{940C7440-C80F-434A-8181-E2C51E148BAF}"/>
                </a:ext>
              </a:extLst>
            </p:cNvPr>
            <p:cNvSpPr>
              <a:spLocks noChangeShapeType="1"/>
            </p:cNvSpPr>
            <p:nvPr/>
          </p:nvSpPr>
          <p:spPr bwMode="auto">
            <a:xfrm flipH="1">
              <a:off x="4430477" y="4004482"/>
              <a:ext cx="0" cy="246063"/>
            </a:xfrm>
            <a:prstGeom prst="line">
              <a:avLst/>
            </a:prstGeom>
            <a:noFill/>
            <a:ln w="6350" cap="rnd">
              <a:solidFill>
                <a:srgbClr val="778888"/>
              </a:solidFill>
              <a:prstDash val="sysDot"/>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ea typeface="+mn-ea"/>
                <a:cs typeface="+mn-cs"/>
              </a:endParaRPr>
            </a:p>
          </p:txBody>
        </p:sp>
      </p:grpSp>
      <p:sp>
        <p:nvSpPr>
          <p:cNvPr id="32" name="Footer Placeholder 31">
            <a:extLst>
              <a:ext uri="{FF2B5EF4-FFF2-40B4-BE49-F238E27FC236}">
                <a16:creationId xmlns:a16="http://schemas.microsoft.com/office/drawing/2014/main" id="{FF575C61-F78C-4511-AC1B-7A461628D01D}"/>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33" name="Slide Number Placeholder 32">
            <a:extLst>
              <a:ext uri="{FF2B5EF4-FFF2-40B4-BE49-F238E27FC236}">
                <a16:creationId xmlns:a16="http://schemas.microsoft.com/office/drawing/2014/main" id="{9CF07118-273C-45E6-8636-F7823C955556}"/>
              </a:ext>
            </a:extLst>
          </p:cNvPr>
          <p:cNvSpPr>
            <a:spLocks noGrp="1"/>
          </p:cNvSpPr>
          <p:nvPr>
            <p:ph type="sldNum" sz="quarter" idx="10"/>
          </p:nvPr>
        </p:nvSpPr>
        <p:spPr/>
        <p:txBody>
          <a:bodyPr/>
          <a:lstStyle/>
          <a:p>
            <a:fld id="{1F90F471-3972-4120-B8B3-0237DE626C35}" type="slidenum">
              <a:rPr lang="en-US" smtClean="0"/>
              <a:pPr/>
              <a:t>431</a:t>
            </a:fld>
            <a:endParaRPr lang="en-US" dirty="0"/>
          </a:p>
        </p:txBody>
      </p:sp>
    </p:spTree>
    <p:extLst>
      <p:ext uri="{BB962C8B-B14F-4D97-AF65-F5344CB8AC3E}">
        <p14:creationId xmlns:p14="http://schemas.microsoft.com/office/powerpoint/2010/main" val="1929692515"/>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Normal Distribution 2</a:t>
            </a:r>
          </a:p>
        </p:txBody>
      </p:sp>
      <p:grpSp>
        <p:nvGrpSpPr>
          <p:cNvPr id="15" name="Group 14" descr="Normal Distribution">
            <a:extLst>
              <a:ext uri="{FF2B5EF4-FFF2-40B4-BE49-F238E27FC236}">
                <a16:creationId xmlns:a16="http://schemas.microsoft.com/office/drawing/2014/main" id="{7CA87012-46EC-4B1B-AB7C-51A14836FC2B}"/>
              </a:ext>
            </a:extLst>
          </p:cNvPr>
          <p:cNvGrpSpPr/>
          <p:nvPr/>
        </p:nvGrpSpPr>
        <p:grpSpPr>
          <a:xfrm>
            <a:off x="2553494" y="1644650"/>
            <a:ext cx="7085012" cy="3743325"/>
            <a:chOff x="2553494" y="1644650"/>
            <a:chExt cx="7085012" cy="3743325"/>
          </a:xfrm>
        </p:grpSpPr>
        <p:sp>
          <p:nvSpPr>
            <p:cNvPr id="21" name="Freeform 4">
              <a:extLst>
                <a:ext uri="{FF2B5EF4-FFF2-40B4-BE49-F238E27FC236}">
                  <a16:creationId xmlns:a16="http://schemas.microsoft.com/office/drawing/2014/main" id="{CA80E66C-C0FA-4CFF-BA98-5C9902DF1209}"/>
                </a:ext>
              </a:extLst>
            </p:cNvPr>
            <p:cNvSpPr>
              <a:spLocks/>
            </p:cNvSpPr>
            <p:nvPr>
              <p:custDataLst>
                <p:tags r:id="rId1"/>
              </p:custDataLst>
            </p:nvPr>
          </p:nvSpPr>
          <p:spPr bwMode="auto">
            <a:xfrm>
              <a:off x="4622006" y="1644650"/>
              <a:ext cx="1398588" cy="3743325"/>
            </a:xfrm>
            <a:custGeom>
              <a:avLst/>
              <a:gdLst/>
              <a:ahLst/>
              <a:cxnLst>
                <a:cxn ang="0">
                  <a:pos x="881" y="0"/>
                </a:cxn>
                <a:cxn ang="0">
                  <a:pos x="787" y="31"/>
                </a:cxn>
                <a:cxn ang="0">
                  <a:pos x="684" y="126"/>
                </a:cxn>
                <a:cxn ang="0">
                  <a:pos x="594" y="240"/>
                </a:cxn>
                <a:cxn ang="0">
                  <a:pos x="505" y="394"/>
                </a:cxn>
                <a:cxn ang="0">
                  <a:pos x="433" y="536"/>
                </a:cxn>
                <a:cxn ang="0">
                  <a:pos x="366" y="672"/>
                </a:cxn>
                <a:cxn ang="0">
                  <a:pos x="277" y="867"/>
                </a:cxn>
                <a:cxn ang="0">
                  <a:pos x="193" y="1045"/>
                </a:cxn>
                <a:cxn ang="0">
                  <a:pos x="115" y="1215"/>
                </a:cxn>
                <a:cxn ang="0">
                  <a:pos x="1" y="1450"/>
                </a:cxn>
                <a:cxn ang="0">
                  <a:pos x="0" y="2358"/>
                </a:cxn>
                <a:cxn ang="0">
                  <a:pos x="881" y="2358"/>
                </a:cxn>
                <a:cxn ang="0">
                  <a:pos x="881" y="0"/>
                </a:cxn>
              </a:cxnLst>
              <a:rect l="0" t="0" r="r" b="b"/>
              <a:pathLst>
                <a:path w="881" h="2358">
                  <a:moveTo>
                    <a:pt x="881" y="0"/>
                  </a:moveTo>
                  <a:cubicBezTo>
                    <a:pt x="881" y="0"/>
                    <a:pt x="820" y="10"/>
                    <a:pt x="787" y="31"/>
                  </a:cubicBezTo>
                  <a:cubicBezTo>
                    <a:pt x="754" y="52"/>
                    <a:pt x="716" y="91"/>
                    <a:pt x="684" y="126"/>
                  </a:cubicBezTo>
                  <a:cubicBezTo>
                    <a:pt x="652" y="161"/>
                    <a:pt x="624" y="195"/>
                    <a:pt x="594" y="240"/>
                  </a:cubicBezTo>
                  <a:lnTo>
                    <a:pt x="505" y="394"/>
                  </a:lnTo>
                  <a:lnTo>
                    <a:pt x="433" y="536"/>
                  </a:lnTo>
                  <a:lnTo>
                    <a:pt x="366" y="672"/>
                  </a:lnTo>
                  <a:lnTo>
                    <a:pt x="277" y="867"/>
                  </a:lnTo>
                  <a:cubicBezTo>
                    <a:pt x="248" y="929"/>
                    <a:pt x="220" y="987"/>
                    <a:pt x="193" y="1045"/>
                  </a:cubicBezTo>
                  <a:cubicBezTo>
                    <a:pt x="166" y="1103"/>
                    <a:pt x="147" y="1148"/>
                    <a:pt x="115" y="1215"/>
                  </a:cubicBezTo>
                  <a:lnTo>
                    <a:pt x="1" y="1450"/>
                  </a:lnTo>
                  <a:lnTo>
                    <a:pt x="0" y="2358"/>
                  </a:lnTo>
                  <a:lnTo>
                    <a:pt x="881" y="2358"/>
                  </a:lnTo>
                  <a:lnTo>
                    <a:pt x="881" y="0"/>
                  </a:lnTo>
                  <a:close/>
                </a:path>
              </a:pathLst>
            </a:custGeom>
            <a:solidFill>
              <a:schemeClr val="accent1"/>
            </a:solidFill>
            <a:ln w="6350" cap="flat" cmpd="sng">
              <a:solidFill>
                <a:schemeClr val="bg1"/>
              </a:solidFill>
              <a:prstDash val="solid"/>
              <a:round/>
              <a:headEnd type="none" w="sm" len="sm"/>
              <a:tailEnd type="none" w="med" len="med"/>
            </a:ln>
            <a:effectLst/>
          </p:spPr>
          <p:txBody>
            <a:bodyPr wrap="none" anchor="ctr"/>
            <a:lstStyle/>
            <a:p>
              <a:endParaRPr lang="de-DE"/>
            </a:p>
          </p:txBody>
        </p:sp>
        <p:sp>
          <p:nvSpPr>
            <p:cNvPr id="16" name="Freeform 6">
              <a:extLst>
                <a:ext uri="{FF2B5EF4-FFF2-40B4-BE49-F238E27FC236}">
                  <a16:creationId xmlns:a16="http://schemas.microsoft.com/office/drawing/2014/main" id="{61004A79-9245-43A4-A80B-A326EF10774B}"/>
                </a:ext>
              </a:extLst>
            </p:cNvPr>
            <p:cNvSpPr>
              <a:spLocks/>
            </p:cNvSpPr>
            <p:nvPr>
              <p:custDataLst>
                <p:tags r:id="rId2"/>
              </p:custDataLst>
            </p:nvPr>
          </p:nvSpPr>
          <p:spPr bwMode="auto">
            <a:xfrm>
              <a:off x="3459956" y="5113338"/>
              <a:ext cx="246063" cy="274637"/>
            </a:xfrm>
            <a:custGeom>
              <a:avLst/>
              <a:gdLst/>
              <a:ahLst/>
              <a:cxnLst>
                <a:cxn ang="0">
                  <a:pos x="0" y="65"/>
                </a:cxn>
                <a:cxn ang="0">
                  <a:pos x="93" y="38"/>
                </a:cxn>
                <a:cxn ang="0">
                  <a:pos x="192" y="0"/>
                </a:cxn>
                <a:cxn ang="0">
                  <a:pos x="192" y="141"/>
                </a:cxn>
                <a:cxn ang="0">
                  <a:pos x="0" y="141"/>
                </a:cxn>
                <a:cxn ang="0">
                  <a:pos x="0" y="65"/>
                </a:cxn>
              </a:cxnLst>
              <a:rect l="0" t="0" r="r" b="b"/>
              <a:pathLst>
                <a:path w="192" h="141">
                  <a:moveTo>
                    <a:pt x="0" y="65"/>
                  </a:moveTo>
                  <a:lnTo>
                    <a:pt x="93" y="38"/>
                  </a:lnTo>
                  <a:lnTo>
                    <a:pt x="192" y="0"/>
                  </a:lnTo>
                  <a:lnTo>
                    <a:pt x="192" y="141"/>
                  </a:lnTo>
                  <a:lnTo>
                    <a:pt x="0" y="141"/>
                  </a:lnTo>
                  <a:lnTo>
                    <a:pt x="0" y="65"/>
                  </a:lnTo>
                  <a:close/>
                </a:path>
              </a:pathLst>
            </a:custGeom>
            <a:solidFill>
              <a:schemeClr val="accent2"/>
            </a:solidFill>
            <a:ln w="6350" cap="flat" cmpd="sng">
              <a:solidFill>
                <a:schemeClr val="bg1"/>
              </a:solidFill>
              <a:prstDash val="solid"/>
              <a:round/>
              <a:headEnd type="none" w="sm" len="sm"/>
              <a:tailEnd type="none" w="med" len="med"/>
            </a:ln>
            <a:effectLst/>
          </p:spPr>
          <p:txBody>
            <a:bodyPr wrap="none" anchor="ctr"/>
            <a:lstStyle/>
            <a:p>
              <a:endParaRPr lang="de-DE"/>
            </a:p>
          </p:txBody>
        </p:sp>
        <p:sp>
          <p:nvSpPr>
            <p:cNvPr id="17" name="Freeform 5">
              <a:extLst>
                <a:ext uri="{FF2B5EF4-FFF2-40B4-BE49-F238E27FC236}">
                  <a16:creationId xmlns:a16="http://schemas.microsoft.com/office/drawing/2014/main" id="{95300DF4-29D4-420D-A88F-3068D44E6EC9}"/>
                </a:ext>
              </a:extLst>
            </p:cNvPr>
            <p:cNvSpPr>
              <a:spLocks/>
            </p:cNvSpPr>
            <p:nvPr>
              <p:custDataLst>
                <p:tags r:id="rId3"/>
              </p:custDataLst>
            </p:nvPr>
          </p:nvSpPr>
          <p:spPr bwMode="auto">
            <a:xfrm>
              <a:off x="3701256" y="3944938"/>
              <a:ext cx="920750" cy="1443037"/>
            </a:xfrm>
            <a:custGeom>
              <a:avLst/>
              <a:gdLst/>
              <a:ahLst/>
              <a:cxnLst>
                <a:cxn ang="0">
                  <a:pos x="580" y="0"/>
                </a:cxn>
                <a:cxn ang="0">
                  <a:pos x="472" y="189"/>
                </a:cxn>
                <a:cxn ang="0">
                  <a:pos x="400" y="321"/>
                </a:cxn>
                <a:cxn ang="0">
                  <a:pos x="316" y="424"/>
                </a:cxn>
                <a:cxn ang="0">
                  <a:pos x="183" y="590"/>
                </a:cxn>
                <a:cxn ang="0">
                  <a:pos x="89" y="676"/>
                </a:cxn>
                <a:cxn ang="0">
                  <a:pos x="0" y="738"/>
                </a:cxn>
                <a:cxn ang="0">
                  <a:pos x="0" y="909"/>
                </a:cxn>
                <a:cxn ang="0">
                  <a:pos x="579" y="909"/>
                </a:cxn>
                <a:cxn ang="0">
                  <a:pos x="580" y="0"/>
                </a:cxn>
              </a:cxnLst>
              <a:rect l="0" t="0" r="r" b="b"/>
              <a:pathLst>
                <a:path w="580" h="909">
                  <a:moveTo>
                    <a:pt x="580" y="0"/>
                  </a:moveTo>
                  <a:lnTo>
                    <a:pt x="472" y="189"/>
                  </a:lnTo>
                  <a:lnTo>
                    <a:pt x="400" y="321"/>
                  </a:lnTo>
                  <a:lnTo>
                    <a:pt x="316" y="424"/>
                  </a:lnTo>
                  <a:lnTo>
                    <a:pt x="183" y="590"/>
                  </a:lnTo>
                  <a:lnTo>
                    <a:pt x="89" y="676"/>
                  </a:lnTo>
                  <a:lnTo>
                    <a:pt x="0" y="738"/>
                  </a:lnTo>
                  <a:lnTo>
                    <a:pt x="0" y="909"/>
                  </a:lnTo>
                  <a:lnTo>
                    <a:pt x="579" y="909"/>
                  </a:lnTo>
                  <a:lnTo>
                    <a:pt x="580" y="0"/>
                  </a:lnTo>
                  <a:close/>
                </a:path>
              </a:pathLst>
            </a:custGeom>
            <a:pattFill prst="wdUpDiag">
              <a:fgClr>
                <a:schemeClr val="accent3">
                  <a:lumMod val="20000"/>
                  <a:lumOff val="80000"/>
                </a:schemeClr>
              </a:fgClr>
              <a:bgClr>
                <a:schemeClr val="bg1"/>
              </a:bgClr>
            </a:pattFill>
            <a:ln>
              <a:noFill/>
            </a:ln>
          </p:spPr>
          <p:txBody>
            <a:bodyPr vert="horz" wrap="square" lIns="91440" tIns="45720" rIns="91440" bIns="45720" numCol="1" anchor="t" anchorCtr="0" compatLnSpc="1">
              <a:prstTxWarp prst="textNoShape">
                <a:avLst/>
              </a:prstTxWarp>
            </a:bodyPr>
            <a:lstStyle/>
            <a:p>
              <a:endParaRPr lang="de-DE"/>
            </a:p>
          </p:txBody>
        </p:sp>
        <p:sp>
          <p:nvSpPr>
            <p:cNvPr id="18" name="Freeform 9">
              <a:extLst>
                <a:ext uri="{FF2B5EF4-FFF2-40B4-BE49-F238E27FC236}">
                  <a16:creationId xmlns:a16="http://schemas.microsoft.com/office/drawing/2014/main" id="{8E26F6DA-4794-4FAA-B005-96846299B32E}"/>
                </a:ext>
              </a:extLst>
            </p:cNvPr>
            <p:cNvSpPr>
              <a:spLocks/>
            </p:cNvSpPr>
            <p:nvPr>
              <p:custDataLst>
                <p:tags r:id="rId4"/>
              </p:custDataLst>
            </p:nvPr>
          </p:nvSpPr>
          <p:spPr bwMode="auto">
            <a:xfrm>
              <a:off x="6019006" y="1644650"/>
              <a:ext cx="1404938" cy="3743325"/>
            </a:xfrm>
            <a:custGeom>
              <a:avLst/>
              <a:gdLst/>
              <a:ahLst/>
              <a:cxnLst>
                <a:cxn ang="0">
                  <a:pos x="0" y="0"/>
                </a:cxn>
                <a:cxn ang="0">
                  <a:pos x="48" y="7"/>
                </a:cxn>
                <a:cxn ang="0">
                  <a:pos x="129" y="54"/>
                </a:cxn>
                <a:cxn ang="0">
                  <a:pos x="185" y="106"/>
                </a:cxn>
                <a:cxn ang="0">
                  <a:pos x="288" y="239"/>
                </a:cxn>
                <a:cxn ang="0">
                  <a:pos x="380" y="394"/>
                </a:cxn>
                <a:cxn ang="0">
                  <a:pos x="452" y="536"/>
                </a:cxn>
                <a:cxn ang="0">
                  <a:pos x="519" y="672"/>
                </a:cxn>
                <a:cxn ang="0">
                  <a:pos x="604" y="867"/>
                </a:cxn>
                <a:cxn ang="0">
                  <a:pos x="687" y="1043"/>
                </a:cxn>
                <a:cxn ang="0">
                  <a:pos x="769" y="1215"/>
                </a:cxn>
                <a:cxn ang="0">
                  <a:pos x="884" y="1450"/>
                </a:cxn>
                <a:cxn ang="0">
                  <a:pos x="885" y="2358"/>
                </a:cxn>
                <a:cxn ang="0">
                  <a:pos x="4" y="2358"/>
                </a:cxn>
                <a:cxn ang="0">
                  <a:pos x="0" y="0"/>
                </a:cxn>
              </a:cxnLst>
              <a:rect l="0" t="0" r="r" b="b"/>
              <a:pathLst>
                <a:path w="885" h="2358">
                  <a:moveTo>
                    <a:pt x="0" y="0"/>
                  </a:moveTo>
                  <a:lnTo>
                    <a:pt x="48" y="7"/>
                  </a:lnTo>
                  <a:cubicBezTo>
                    <a:pt x="69" y="16"/>
                    <a:pt x="106" y="38"/>
                    <a:pt x="129" y="54"/>
                  </a:cubicBezTo>
                  <a:cubicBezTo>
                    <a:pt x="148" y="69"/>
                    <a:pt x="158" y="75"/>
                    <a:pt x="185" y="106"/>
                  </a:cubicBezTo>
                  <a:cubicBezTo>
                    <a:pt x="212" y="137"/>
                    <a:pt x="256" y="191"/>
                    <a:pt x="288" y="239"/>
                  </a:cubicBezTo>
                  <a:cubicBezTo>
                    <a:pt x="320" y="287"/>
                    <a:pt x="353" y="345"/>
                    <a:pt x="380" y="394"/>
                  </a:cubicBezTo>
                  <a:cubicBezTo>
                    <a:pt x="407" y="443"/>
                    <a:pt x="429" y="490"/>
                    <a:pt x="452" y="536"/>
                  </a:cubicBezTo>
                  <a:lnTo>
                    <a:pt x="519" y="672"/>
                  </a:lnTo>
                  <a:lnTo>
                    <a:pt x="604" y="867"/>
                  </a:lnTo>
                  <a:lnTo>
                    <a:pt x="687" y="1043"/>
                  </a:lnTo>
                  <a:lnTo>
                    <a:pt x="769" y="1215"/>
                  </a:lnTo>
                  <a:lnTo>
                    <a:pt x="884" y="1450"/>
                  </a:lnTo>
                  <a:lnTo>
                    <a:pt x="885" y="2358"/>
                  </a:lnTo>
                  <a:lnTo>
                    <a:pt x="4" y="2358"/>
                  </a:lnTo>
                  <a:lnTo>
                    <a:pt x="0" y="0"/>
                  </a:lnTo>
                  <a:close/>
                </a:path>
              </a:pathLst>
            </a:custGeom>
            <a:solidFill>
              <a:schemeClr val="accent1"/>
            </a:solidFill>
            <a:ln w="6350" cap="flat" cmpd="sng">
              <a:solidFill>
                <a:schemeClr val="bg1"/>
              </a:solidFill>
              <a:prstDash val="solid"/>
              <a:round/>
              <a:headEnd type="none" w="sm" len="sm"/>
              <a:tailEnd type="none" w="med" len="med"/>
            </a:ln>
            <a:effectLst/>
          </p:spPr>
          <p:txBody>
            <a:bodyPr wrap="none" anchor="ctr"/>
            <a:lstStyle/>
            <a:p>
              <a:endParaRPr lang="de-DE"/>
            </a:p>
          </p:txBody>
        </p:sp>
        <p:sp>
          <p:nvSpPr>
            <p:cNvPr id="19" name="Freeform 11">
              <a:extLst>
                <a:ext uri="{FF2B5EF4-FFF2-40B4-BE49-F238E27FC236}">
                  <a16:creationId xmlns:a16="http://schemas.microsoft.com/office/drawing/2014/main" id="{31E4A06A-979A-495F-81CF-CA86CB1834C6}"/>
                </a:ext>
              </a:extLst>
            </p:cNvPr>
            <p:cNvSpPr>
              <a:spLocks/>
            </p:cNvSpPr>
            <p:nvPr>
              <p:custDataLst>
                <p:tags r:id="rId5"/>
              </p:custDataLst>
            </p:nvPr>
          </p:nvSpPr>
          <p:spPr bwMode="auto">
            <a:xfrm flipH="1">
              <a:off x="8338344" y="5113338"/>
              <a:ext cx="246062" cy="274637"/>
            </a:xfrm>
            <a:custGeom>
              <a:avLst/>
              <a:gdLst/>
              <a:ahLst/>
              <a:cxnLst>
                <a:cxn ang="0">
                  <a:pos x="0" y="65"/>
                </a:cxn>
                <a:cxn ang="0">
                  <a:pos x="93" y="38"/>
                </a:cxn>
                <a:cxn ang="0">
                  <a:pos x="192" y="0"/>
                </a:cxn>
                <a:cxn ang="0">
                  <a:pos x="192" y="141"/>
                </a:cxn>
                <a:cxn ang="0">
                  <a:pos x="0" y="141"/>
                </a:cxn>
                <a:cxn ang="0">
                  <a:pos x="0" y="65"/>
                </a:cxn>
              </a:cxnLst>
              <a:rect l="0" t="0" r="r" b="b"/>
              <a:pathLst>
                <a:path w="192" h="141">
                  <a:moveTo>
                    <a:pt x="0" y="65"/>
                  </a:moveTo>
                  <a:lnTo>
                    <a:pt x="93" y="38"/>
                  </a:lnTo>
                  <a:lnTo>
                    <a:pt x="192" y="0"/>
                  </a:lnTo>
                  <a:lnTo>
                    <a:pt x="192" y="141"/>
                  </a:lnTo>
                  <a:lnTo>
                    <a:pt x="0" y="141"/>
                  </a:lnTo>
                  <a:lnTo>
                    <a:pt x="0" y="65"/>
                  </a:lnTo>
                  <a:close/>
                </a:path>
              </a:pathLst>
            </a:custGeom>
            <a:solidFill>
              <a:schemeClr val="accent2"/>
            </a:solidFill>
            <a:ln w="6350" cap="flat" cmpd="sng">
              <a:solidFill>
                <a:schemeClr val="bg1"/>
              </a:solidFill>
              <a:prstDash val="solid"/>
              <a:round/>
              <a:headEnd type="none" w="sm" len="sm"/>
              <a:tailEnd type="none" w="med" len="med"/>
            </a:ln>
            <a:effectLst/>
          </p:spPr>
          <p:txBody>
            <a:bodyPr wrap="none" anchor="ctr"/>
            <a:lstStyle/>
            <a:p>
              <a:endParaRPr lang="de-DE"/>
            </a:p>
          </p:txBody>
        </p:sp>
        <p:sp>
          <p:nvSpPr>
            <p:cNvPr id="20" name="Freeform 10">
              <a:extLst>
                <a:ext uri="{FF2B5EF4-FFF2-40B4-BE49-F238E27FC236}">
                  <a16:creationId xmlns:a16="http://schemas.microsoft.com/office/drawing/2014/main" id="{F1CA2A02-79B3-4F53-A6E6-8785FE3D7AA0}"/>
                </a:ext>
              </a:extLst>
            </p:cNvPr>
            <p:cNvSpPr>
              <a:spLocks/>
            </p:cNvSpPr>
            <p:nvPr>
              <p:custDataLst>
                <p:tags r:id="rId6"/>
              </p:custDataLst>
            </p:nvPr>
          </p:nvSpPr>
          <p:spPr bwMode="auto">
            <a:xfrm>
              <a:off x="7422356" y="3944938"/>
              <a:ext cx="920750" cy="1443037"/>
            </a:xfrm>
            <a:custGeom>
              <a:avLst/>
              <a:gdLst/>
              <a:ahLst/>
              <a:cxnLst>
                <a:cxn ang="0">
                  <a:pos x="0" y="0"/>
                </a:cxn>
                <a:cxn ang="0">
                  <a:pos x="108" y="189"/>
                </a:cxn>
                <a:cxn ang="0">
                  <a:pos x="178" y="316"/>
                </a:cxn>
                <a:cxn ang="0">
                  <a:pos x="264" y="424"/>
                </a:cxn>
                <a:cxn ang="0">
                  <a:pos x="402" y="589"/>
                </a:cxn>
                <a:cxn ang="0">
                  <a:pos x="499" y="675"/>
                </a:cxn>
                <a:cxn ang="0">
                  <a:pos x="580" y="738"/>
                </a:cxn>
                <a:cxn ang="0">
                  <a:pos x="580" y="909"/>
                </a:cxn>
                <a:cxn ang="0">
                  <a:pos x="1" y="909"/>
                </a:cxn>
                <a:cxn ang="0">
                  <a:pos x="0" y="0"/>
                </a:cxn>
              </a:cxnLst>
              <a:rect l="0" t="0" r="r" b="b"/>
              <a:pathLst>
                <a:path w="580" h="909">
                  <a:moveTo>
                    <a:pt x="0" y="0"/>
                  </a:moveTo>
                  <a:lnTo>
                    <a:pt x="108" y="189"/>
                  </a:lnTo>
                  <a:cubicBezTo>
                    <a:pt x="138" y="242"/>
                    <a:pt x="152" y="277"/>
                    <a:pt x="178" y="316"/>
                  </a:cubicBezTo>
                  <a:cubicBezTo>
                    <a:pt x="204" y="355"/>
                    <a:pt x="228" y="378"/>
                    <a:pt x="264" y="424"/>
                  </a:cubicBezTo>
                  <a:cubicBezTo>
                    <a:pt x="301" y="469"/>
                    <a:pt x="363" y="547"/>
                    <a:pt x="402" y="589"/>
                  </a:cubicBezTo>
                  <a:cubicBezTo>
                    <a:pt x="439" y="631"/>
                    <a:pt x="469" y="651"/>
                    <a:pt x="499" y="675"/>
                  </a:cubicBezTo>
                  <a:lnTo>
                    <a:pt x="580" y="738"/>
                  </a:lnTo>
                  <a:lnTo>
                    <a:pt x="580" y="909"/>
                  </a:lnTo>
                  <a:lnTo>
                    <a:pt x="1" y="909"/>
                  </a:lnTo>
                  <a:lnTo>
                    <a:pt x="0" y="0"/>
                  </a:lnTo>
                  <a:close/>
                </a:path>
              </a:pathLst>
            </a:custGeom>
            <a:pattFill prst="wdUpDiag">
              <a:fgClr>
                <a:schemeClr val="accent3">
                  <a:lumMod val="20000"/>
                  <a:lumOff val="80000"/>
                </a:schemeClr>
              </a:fgClr>
              <a:bgClr>
                <a:schemeClr val="bg1"/>
              </a:bgClr>
            </a:pattFill>
            <a:ln>
              <a:noFill/>
            </a:ln>
          </p:spPr>
          <p:txBody>
            <a:bodyPr vert="horz" wrap="square" lIns="91440" tIns="45720" rIns="91440" bIns="45720" numCol="1" anchor="t" anchorCtr="0" compatLnSpc="1">
              <a:prstTxWarp prst="textNoShape">
                <a:avLst/>
              </a:prstTxWarp>
            </a:bodyPr>
            <a:lstStyle/>
            <a:p>
              <a:endParaRPr lang="de-DE"/>
            </a:p>
          </p:txBody>
        </p:sp>
        <p:sp>
          <p:nvSpPr>
            <p:cNvPr id="22" name="Freeform 8">
              <a:extLst>
                <a:ext uri="{FF2B5EF4-FFF2-40B4-BE49-F238E27FC236}">
                  <a16:creationId xmlns:a16="http://schemas.microsoft.com/office/drawing/2014/main" id="{F2D6C02C-1F53-42AC-B547-6AA6DFC4284A}"/>
                </a:ext>
              </a:extLst>
            </p:cNvPr>
            <p:cNvSpPr>
              <a:spLocks/>
            </p:cNvSpPr>
            <p:nvPr>
              <p:custDataLst>
                <p:tags r:id="rId7"/>
              </p:custDataLst>
            </p:nvPr>
          </p:nvSpPr>
          <p:spPr bwMode="auto">
            <a:xfrm>
              <a:off x="2797969" y="1644650"/>
              <a:ext cx="3225800" cy="3736975"/>
            </a:xfrm>
            <a:custGeom>
              <a:avLst/>
              <a:gdLst/>
              <a:ahLst/>
              <a:cxnLst>
                <a:cxn ang="0">
                  <a:pos x="0" y="2354"/>
                </a:cxn>
                <a:cxn ang="0">
                  <a:pos x="216" y="2328"/>
                </a:cxn>
                <a:cxn ang="0">
                  <a:pos x="324" y="2302"/>
                </a:cxn>
                <a:cxn ang="0">
                  <a:pos x="431" y="2259"/>
                </a:cxn>
                <a:cxn ang="0">
                  <a:pos x="540" y="2208"/>
                </a:cxn>
                <a:cxn ang="0">
                  <a:pos x="647" y="2135"/>
                </a:cxn>
                <a:cxn ang="0">
                  <a:pos x="755" y="2037"/>
                </a:cxn>
                <a:cxn ang="0">
                  <a:pos x="971" y="1766"/>
                </a:cxn>
                <a:cxn ang="0">
                  <a:pos x="1187" y="1380"/>
                </a:cxn>
                <a:cxn ang="0">
                  <a:pos x="1404" y="919"/>
                </a:cxn>
                <a:cxn ang="0">
                  <a:pos x="1511" y="684"/>
                </a:cxn>
                <a:cxn ang="0">
                  <a:pos x="1619" y="465"/>
                </a:cxn>
                <a:cxn ang="0">
                  <a:pos x="1725" y="272"/>
                </a:cxn>
                <a:cxn ang="0">
                  <a:pos x="1835" y="124"/>
                </a:cxn>
                <a:cxn ang="0">
                  <a:pos x="1942" y="30"/>
                </a:cxn>
                <a:cxn ang="0">
                  <a:pos x="2032" y="0"/>
                </a:cxn>
              </a:cxnLst>
              <a:rect l="0" t="0" r="r" b="b"/>
              <a:pathLst>
                <a:path w="2032" h="2354">
                  <a:moveTo>
                    <a:pt x="0" y="2354"/>
                  </a:moveTo>
                  <a:lnTo>
                    <a:pt x="216" y="2328"/>
                  </a:lnTo>
                  <a:lnTo>
                    <a:pt x="324" y="2302"/>
                  </a:lnTo>
                  <a:lnTo>
                    <a:pt x="431" y="2259"/>
                  </a:lnTo>
                  <a:lnTo>
                    <a:pt x="540" y="2208"/>
                  </a:lnTo>
                  <a:lnTo>
                    <a:pt x="647" y="2135"/>
                  </a:lnTo>
                  <a:lnTo>
                    <a:pt x="755" y="2037"/>
                  </a:lnTo>
                  <a:lnTo>
                    <a:pt x="971" y="1766"/>
                  </a:lnTo>
                  <a:lnTo>
                    <a:pt x="1187" y="1380"/>
                  </a:lnTo>
                  <a:lnTo>
                    <a:pt x="1404" y="919"/>
                  </a:lnTo>
                  <a:lnTo>
                    <a:pt x="1511" y="684"/>
                  </a:lnTo>
                  <a:lnTo>
                    <a:pt x="1619" y="465"/>
                  </a:lnTo>
                  <a:lnTo>
                    <a:pt x="1725" y="272"/>
                  </a:lnTo>
                  <a:lnTo>
                    <a:pt x="1835" y="124"/>
                  </a:lnTo>
                  <a:cubicBezTo>
                    <a:pt x="1871" y="84"/>
                    <a:pt x="1909" y="51"/>
                    <a:pt x="1942" y="30"/>
                  </a:cubicBezTo>
                  <a:cubicBezTo>
                    <a:pt x="1975" y="9"/>
                    <a:pt x="2013" y="6"/>
                    <a:pt x="2032" y="0"/>
                  </a:cubicBezTo>
                </a:path>
              </a:pathLst>
            </a:custGeom>
            <a:noFill/>
            <a:ln w="28575" cap="rnd" cmpd="sng">
              <a:solidFill>
                <a:schemeClr val="accent2">
                  <a:lumMod val="50000"/>
                </a:schemeClr>
              </a:solidFill>
              <a:prstDash val="solid"/>
              <a:round/>
              <a:headEnd type="none" w="med" len="med"/>
              <a:tailEnd type="none" w="med" len="med"/>
            </a:ln>
            <a:effectLst/>
          </p:spPr>
          <p:txBody>
            <a:bodyPr/>
            <a:lstStyle/>
            <a:p>
              <a:endParaRPr lang="de-DE"/>
            </a:p>
          </p:txBody>
        </p:sp>
        <p:sp>
          <p:nvSpPr>
            <p:cNvPr id="23" name="Freeform 12">
              <a:extLst>
                <a:ext uri="{FF2B5EF4-FFF2-40B4-BE49-F238E27FC236}">
                  <a16:creationId xmlns:a16="http://schemas.microsoft.com/office/drawing/2014/main" id="{8A1F0EC5-5B17-4086-A9F9-486B0D78BF2D}"/>
                </a:ext>
              </a:extLst>
            </p:cNvPr>
            <p:cNvSpPr>
              <a:spLocks/>
            </p:cNvSpPr>
            <p:nvPr>
              <p:custDataLst>
                <p:tags r:id="rId8"/>
              </p:custDataLst>
            </p:nvPr>
          </p:nvSpPr>
          <p:spPr bwMode="auto">
            <a:xfrm>
              <a:off x="6020594" y="1649413"/>
              <a:ext cx="3227387" cy="3732212"/>
            </a:xfrm>
            <a:custGeom>
              <a:avLst/>
              <a:gdLst/>
              <a:ahLst/>
              <a:cxnLst>
                <a:cxn ang="0">
                  <a:pos x="2033" y="2351"/>
                </a:cxn>
                <a:cxn ang="0">
                  <a:pos x="1816" y="2325"/>
                </a:cxn>
                <a:cxn ang="0">
                  <a:pos x="1708" y="2299"/>
                </a:cxn>
                <a:cxn ang="0">
                  <a:pos x="1601" y="2256"/>
                </a:cxn>
                <a:cxn ang="0">
                  <a:pos x="1492" y="2205"/>
                </a:cxn>
                <a:cxn ang="0">
                  <a:pos x="1383" y="2132"/>
                </a:cxn>
                <a:cxn ang="0">
                  <a:pos x="1276" y="2034"/>
                </a:cxn>
                <a:cxn ang="0">
                  <a:pos x="1059" y="1763"/>
                </a:cxn>
                <a:cxn ang="0">
                  <a:pos x="842" y="1378"/>
                </a:cxn>
                <a:cxn ang="0">
                  <a:pos x="625" y="917"/>
                </a:cxn>
                <a:cxn ang="0">
                  <a:pos x="517" y="682"/>
                </a:cxn>
                <a:cxn ang="0">
                  <a:pos x="409" y="464"/>
                </a:cxn>
                <a:cxn ang="0">
                  <a:pos x="303" y="271"/>
                </a:cxn>
                <a:cxn ang="0">
                  <a:pos x="192" y="123"/>
                </a:cxn>
                <a:cxn ang="0">
                  <a:pos x="106" y="42"/>
                </a:cxn>
                <a:cxn ang="0">
                  <a:pos x="0" y="0"/>
                </a:cxn>
              </a:cxnLst>
              <a:rect l="0" t="0" r="r" b="b"/>
              <a:pathLst>
                <a:path w="2033" h="2351">
                  <a:moveTo>
                    <a:pt x="2033" y="2351"/>
                  </a:moveTo>
                  <a:lnTo>
                    <a:pt x="1816" y="2325"/>
                  </a:lnTo>
                  <a:lnTo>
                    <a:pt x="1708" y="2299"/>
                  </a:lnTo>
                  <a:lnTo>
                    <a:pt x="1601" y="2256"/>
                  </a:lnTo>
                  <a:lnTo>
                    <a:pt x="1492" y="2205"/>
                  </a:lnTo>
                  <a:lnTo>
                    <a:pt x="1383" y="2132"/>
                  </a:lnTo>
                  <a:lnTo>
                    <a:pt x="1276" y="2034"/>
                  </a:lnTo>
                  <a:lnTo>
                    <a:pt x="1059" y="1763"/>
                  </a:lnTo>
                  <a:lnTo>
                    <a:pt x="842" y="1378"/>
                  </a:lnTo>
                  <a:lnTo>
                    <a:pt x="625" y="917"/>
                  </a:lnTo>
                  <a:lnTo>
                    <a:pt x="517" y="682"/>
                  </a:lnTo>
                  <a:lnTo>
                    <a:pt x="409" y="464"/>
                  </a:lnTo>
                  <a:lnTo>
                    <a:pt x="303" y="271"/>
                  </a:lnTo>
                  <a:lnTo>
                    <a:pt x="192" y="123"/>
                  </a:lnTo>
                  <a:cubicBezTo>
                    <a:pt x="156" y="83"/>
                    <a:pt x="137" y="63"/>
                    <a:pt x="106" y="42"/>
                  </a:cubicBezTo>
                  <a:cubicBezTo>
                    <a:pt x="70" y="16"/>
                    <a:pt x="49" y="1"/>
                    <a:pt x="0" y="0"/>
                  </a:cubicBezTo>
                </a:path>
              </a:pathLst>
            </a:custGeom>
            <a:noFill/>
            <a:ln w="38100" cap="rnd" cmpd="sng">
              <a:solidFill>
                <a:schemeClr val="accent2">
                  <a:lumMod val="50000"/>
                </a:schemeClr>
              </a:solidFill>
              <a:prstDash val="solid"/>
              <a:round/>
              <a:headEnd type="none" w="med" len="med"/>
              <a:tailEnd type="none" w="med" len="med"/>
            </a:ln>
            <a:effectLst/>
          </p:spPr>
          <p:txBody>
            <a:bodyPr/>
            <a:lstStyle/>
            <a:p>
              <a:endParaRPr lang="de-DE"/>
            </a:p>
          </p:txBody>
        </p:sp>
        <p:sp>
          <p:nvSpPr>
            <p:cNvPr id="24" name="Line 7">
              <a:extLst>
                <a:ext uri="{FF2B5EF4-FFF2-40B4-BE49-F238E27FC236}">
                  <a16:creationId xmlns:a16="http://schemas.microsoft.com/office/drawing/2014/main" id="{AD00DC35-51E7-4F4F-A976-9BF4CAFDD807}"/>
                </a:ext>
              </a:extLst>
            </p:cNvPr>
            <p:cNvSpPr>
              <a:spLocks noChangeShapeType="1"/>
            </p:cNvSpPr>
            <p:nvPr>
              <p:custDataLst>
                <p:tags r:id="rId9"/>
              </p:custDataLst>
            </p:nvPr>
          </p:nvSpPr>
          <p:spPr bwMode="auto">
            <a:xfrm>
              <a:off x="2553494" y="5387975"/>
              <a:ext cx="7085012" cy="0"/>
            </a:xfrm>
            <a:prstGeom prst="line">
              <a:avLst/>
            </a:prstGeom>
            <a:noFill/>
            <a:ln w="6350">
              <a:solidFill>
                <a:schemeClr val="tx1"/>
              </a:solidFill>
              <a:round/>
              <a:headEnd/>
              <a:tailEnd type="triangle" w="med" len="med"/>
            </a:ln>
            <a:effectLst/>
          </p:spPr>
          <p:txBody>
            <a:bodyPr wrap="none" lIns="36000" tIns="36000" rIns="36000" bIns="36000" anchor="ctr"/>
            <a:lstStyle/>
            <a:p>
              <a:endParaRPr lang="de-DE"/>
            </a:p>
          </p:txBody>
        </p:sp>
      </p:grpSp>
      <p:sp>
        <p:nvSpPr>
          <p:cNvPr id="5" name="Footer Placeholder 4">
            <a:extLst>
              <a:ext uri="{FF2B5EF4-FFF2-40B4-BE49-F238E27FC236}">
                <a16:creationId xmlns:a16="http://schemas.microsoft.com/office/drawing/2014/main" id="{2365334E-FE18-44BD-9CE3-9DA413299EA5}"/>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7D7EC6AF-8967-4AC9-AF67-6BF2E0C8CB14}"/>
              </a:ext>
            </a:extLst>
          </p:cNvPr>
          <p:cNvSpPr>
            <a:spLocks noGrp="1"/>
          </p:cNvSpPr>
          <p:nvPr>
            <p:ph type="sldNum" sz="quarter" idx="10"/>
          </p:nvPr>
        </p:nvSpPr>
        <p:spPr/>
        <p:txBody>
          <a:bodyPr/>
          <a:lstStyle/>
          <a:p>
            <a:fld id="{1F90F471-3972-4120-B8B3-0237DE626C35}" type="slidenum">
              <a:rPr lang="en-US" smtClean="0"/>
              <a:pPr/>
              <a:t>432</a:t>
            </a:fld>
            <a:endParaRPr lang="en-US" dirty="0"/>
          </a:p>
        </p:txBody>
      </p:sp>
    </p:spTree>
    <p:extLst>
      <p:ext uri="{BB962C8B-B14F-4D97-AF65-F5344CB8AC3E}">
        <p14:creationId xmlns:p14="http://schemas.microsoft.com/office/powerpoint/2010/main" val="2067552916"/>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de-DE" dirty="0"/>
              <a:t>Illustrative Graph</a:t>
            </a:r>
            <a:endParaRPr lang="en-US" dirty="0"/>
          </a:p>
        </p:txBody>
      </p:sp>
      <p:grpSp>
        <p:nvGrpSpPr>
          <p:cNvPr id="5" name="Group 4" descr="Illustrative Graph">
            <a:extLst>
              <a:ext uri="{FF2B5EF4-FFF2-40B4-BE49-F238E27FC236}">
                <a16:creationId xmlns:a16="http://schemas.microsoft.com/office/drawing/2014/main" id="{A2678578-9B1D-4479-80BB-2AB0AAF28FBE}"/>
              </a:ext>
            </a:extLst>
          </p:cNvPr>
          <p:cNvGrpSpPr/>
          <p:nvPr/>
        </p:nvGrpSpPr>
        <p:grpSpPr bwMode="auto">
          <a:xfrm>
            <a:off x="511713" y="1375584"/>
            <a:ext cx="7192415" cy="4905094"/>
            <a:chOff x="514410" y="1264698"/>
            <a:chExt cx="7503854" cy="5117488"/>
          </a:xfrm>
        </p:grpSpPr>
        <p:sp>
          <p:nvSpPr>
            <p:cNvPr id="6" name="Rectangle 5">
              <a:extLst>
                <a:ext uri="{FF2B5EF4-FFF2-40B4-BE49-F238E27FC236}">
                  <a16:creationId xmlns:a16="http://schemas.microsoft.com/office/drawing/2014/main" id="{AD3D2B8C-D53A-4A8D-AD04-93948359656B}"/>
                </a:ext>
              </a:extLst>
            </p:cNvPr>
            <p:cNvSpPr/>
            <p:nvPr/>
          </p:nvSpPr>
          <p:spPr bwMode="auto">
            <a:xfrm>
              <a:off x="937488" y="4118553"/>
              <a:ext cx="967015" cy="327384"/>
            </a:xfrm>
            <a:prstGeom prst="rect">
              <a:avLst/>
            </a:prstGeom>
            <a:noFill/>
            <a:ln w="9525" cap="flat" cmpd="sng" algn="ctr">
              <a:noFill/>
              <a:prstDash val="solid"/>
              <a:round/>
              <a:headEnd type="none" w="med" len="med"/>
              <a:tailEnd type="none" w="med" len="med"/>
            </a:ln>
            <a:effectLst/>
          </p:spPr>
          <p:txBody>
            <a:bodyPr vert="horz" wrap="square" lIns="104306" tIns="52153" rIns="104306" bIns="52153" numCol="1" rtlCol="0" anchor="b" anchorCtr="0" compatLnSpc="1">
              <a:prstTxWarp prst="textNoShape">
                <a:avLst/>
              </a:prstTxWarp>
            </a:bodyPr>
            <a:lstStyle/>
            <a:p>
              <a:pPr marL="0" marR="0" lvl="0" indent="0" algn="l" defTabSz="1043056" rtl="0" eaLnBrk="0" fontAlgn="base" latinLnBrk="0" hangingPunct="0">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96968C">
                      <a:lumMod val="60000"/>
                      <a:lumOff val="40000"/>
                    </a:srgbClr>
                  </a:solidFill>
                  <a:effectLst/>
                  <a:uLnTx/>
                  <a:uFillTx/>
                  <a:ea typeface="+mn-ea"/>
                  <a:cs typeface="Arial"/>
                </a:rPr>
                <a:t>Stage 1</a:t>
              </a:r>
            </a:p>
          </p:txBody>
        </p:sp>
        <p:sp>
          <p:nvSpPr>
            <p:cNvPr id="7" name="Rectangle 6">
              <a:extLst>
                <a:ext uri="{FF2B5EF4-FFF2-40B4-BE49-F238E27FC236}">
                  <a16:creationId xmlns:a16="http://schemas.microsoft.com/office/drawing/2014/main" id="{04AF5010-4D33-4FF4-AC58-E5823516B35C}"/>
                </a:ext>
              </a:extLst>
            </p:cNvPr>
            <p:cNvSpPr/>
            <p:nvPr/>
          </p:nvSpPr>
          <p:spPr bwMode="auto">
            <a:xfrm>
              <a:off x="937488" y="2828174"/>
              <a:ext cx="1001094" cy="313938"/>
            </a:xfrm>
            <a:prstGeom prst="rect">
              <a:avLst/>
            </a:prstGeom>
            <a:noFill/>
            <a:ln w="9525" cap="flat" cmpd="sng" algn="ctr">
              <a:noFill/>
              <a:prstDash val="solid"/>
              <a:round/>
              <a:headEnd type="none" w="med" len="med"/>
              <a:tailEnd type="none" w="med" len="med"/>
            </a:ln>
            <a:effectLst/>
          </p:spPr>
          <p:txBody>
            <a:bodyPr vert="horz" wrap="square" lIns="104306" tIns="52153" rIns="104306" bIns="52153" numCol="1" rtlCol="0" anchor="b"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96968C">
                      <a:lumMod val="60000"/>
                      <a:lumOff val="40000"/>
                    </a:srgbClr>
                  </a:solidFill>
                  <a:effectLst/>
                  <a:uLnTx/>
                  <a:uFillTx/>
                  <a:ea typeface="+mn-ea"/>
                  <a:cs typeface="Arial"/>
                </a:rPr>
                <a:t>Stage 2</a:t>
              </a:r>
            </a:p>
          </p:txBody>
        </p:sp>
        <p:sp>
          <p:nvSpPr>
            <p:cNvPr id="8" name="Rectangle 7">
              <a:extLst>
                <a:ext uri="{FF2B5EF4-FFF2-40B4-BE49-F238E27FC236}">
                  <a16:creationId xmlns:a16="http://schemas.microsoft.com/office/drawing/2014/main" id="{F7C39E1C-F2C3-402C-916C-BBC83E7CFEAB}"/>
                </a:ext>
              </a:extLst>
            </p:cNvPr>
            <p:cNvSpPr/>
            <p:nvPr/>
          </p:nvSpPr>
          <p:spPr bwMode="auto">
            <a:xfrm>
              <a:off x="937488" y="1290220"/>
              <a:ext cx="1117641" cy="287043"/>
            </a:xfrm>
            <a:prstGeom prst="rect">
              <a:avLst/>
            </a:prstGeom>
            <a:noFill/>
            <a:ln w="9525" cap="flat" cmpd="sng" algn="ctr">
              <a:noFill/>
              <a:prstDash val="solid"/>
              <a:round/>
              <a:headEnd type="none" w="med" len="med"/>
              <a:tailEnd type="none" w="med" len="med"/>
            </a:ln>
            <a:effectLst/>
          </p:spPr>
          <p:txBody>
            <a:bodyPr vert="horz" wrap="square" lIns="104306" tIns="52153" rIns="104306" bIns="52153" numCol="1" rtlCol="0" anchor="b"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96968C">
                      <a:lumMod val="60000"/>
                      <a:lumOff val="40000"/>
                    </a:srgbClr>
                  </a:solidFill>
                  <a:effectLst/>
                  <a:uLnTx/>
                  <a:uFillTx/>
                  <a:ea typeface="+mn-ea"/>
                  <a:cs typeface="Arial"/>
                </a:rPr>
                <a:t>Stage 3</a:t>
              </a:r>
            </a:p>
          </p:txBody>
        </p:sp>
        <p:sp>
          <p:nvSpPr>
            <p:cNvPr id="9" name="Freeform 39">
              <a:extLst>
                <a:ext uri="{FF2B5EF4-FFF2-40B4-BE49-F238E27FC236}">
                  <a16:creationId xmlns:a16="http://schemas.microsoft.com/office/drawing/2014/main" id="{A2D8A406-CAA1-4973-B9D4-E3D766572E76}"/>
                </a:ext>
              </a:extLst>
            </p:cNvPr>
            <p:cNvSpPr/>
            <p:nvPr/>
          </p:nvSpPr>
          <p:spPr bwMode="auto">
            <a:xfrm>
              <a:off x="918370" y="1344317"/>
              <a:ext cx="2034215" cy="4641728"/>
            </a:xfrm>
            <a:custGeom>
              <a:avLst/>
              <a:gdLst>
                <a:gd name="connsiteX0" fmla="*/ 0 w 3797300"/>
                <a:gd name="connsiteY0" fmla="*/ 2870200 h 2870200"/>
                <a:gd name="connsiteX1" fmla="*/ 1943100 w 3797300"/>
                <a:gd name="connsiteY1" fmla="*/ 2438400 h 2870200"/>
                <a:gd name="connsiteX2" fmla="*/ 3175000 w 3797300"/>
                <a:gd name="connsiteY2" fmla="*/ 1562100 h 2870200"/>
                <a:gd name="connsiteX3" fmla="*/ 3797300 w 3797300"/>
                <a:gd name="connsiteY3" fmla="*/ 0 h 2870200"/>
              </a:gdLst>
              <a:ahLst/>
              <a:cxnLst>
                <a:cxn ang="0">
                  <a:pos x="connsiteX0" y="connsiteY0"/>
                </a:cxn>
                <a:cxn ang="0">
                  <a:pos x="connsiteX1" y="connsiteY1"/>
                </a:cxn>
                <a:cxn ang="0">
                  <a:pos x="connsiteX2" y="connsiteY2"/>
                </a:cxn>
                <a:cxn ang="0">
                  <a:pos x="connsiteX3" y="connsiteY3"/>
                </a:cxn>
              </a:cxnLst>
              <a:rect l="l" t="t" r="r" b="b"/>
              <a:pathLst>
                <a:path w="3797300" h="2870200">
                  <a:moveTo>
                    <a:pt x="0" y="2870200"/>
                  </a:moveTo>
                  <a:cubicBezTo>
                    <a:pt x="706966" y="2763308"/>
                    <a:pt x="1413933" y="2656417"/>
                    <a:pt x="1943100" y="2438400"/>
                  </a:cubicBezTo>
                  <a:cubicBezTo>
                    <a:pt x="2472267" y="2220383"/>
                    <a:pt x="2865967" y="1968500"/>
                    <a:pt x="3175000" y="1562100"/>
                  </a:cubicBezTo>
                  <a:cubicBezTo>
                    <a:pt x="3484033" y="1155700"/>
                    <a:pt x="3640666" y="577850"/>
                    <a:pt x="3797300" y="0"/>
                  </a:cubicBezTo>
                </a:path>
              </a:pathLst>
            </a:custGeom>
            <a:noFill/>
            <a:ln w="25400" cap="flat" cmpd="sng" algn="ctr">
              <a:solidFill>
                <a:srgbClr val="A100FF"/>
              </a:solidFill>
              <a:prstDash val="solid"/>
              <a:round/>
              <a:headEnd type="none" w="med" len="med"/>
              <a:tailEnd type="none" w="med" len="med"/>
            </a:ln>
            <a:effectLst/>
          </p:spPr>
          <p:txBody>
            <a:bodyPr lIns="104306" tIns="52153" rIns="104306" bIns="52153"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666666"/>
                </a:solidFill>
                <a:effectLst/>
                <a:uLnTx/>
                <a:uFillTx/>
                <a:latin typeface="Arial"/>
                <a:ea typeface="+mn-ea"/>
                <a:cs typeface="Arial"/>
              </a:endParaRPr>
            </a:p>
          </p:txBody>
        </p:sp>
        <p:sp>
          <p:nvSpPr>
            <p:cNvPr id="10" name="TextBox 9">
              <a:extLst>
                <a:ext uri="{FF2B5EF4-FFF2-40B4-BE49-F238E27FC236}">
                  <a16:creationId xmlns:a16="http://schemas.microsoft.com/office/drawing/2014/main" id="{FFE3CF75-F111-43BA-88D3-89D076B553A0}"/>
                </a:ext>
              </a:extLst>
            </p:cNvPr>
            <p:cNvSpPr txBox="1"/>
            <p:nvPr/>
          </p:nvSpPr>
          <p:spPr bwMode="auto">
            <a:xfrm>
              <a:off x="3502421" y="6047529"/>
              <a:ext cx="1929127" cy="334657"/>
            </a:xfrm>
            <a:prstGeom prst="rect">
              <a:avLst/>
            </a:prstGeom>
            <a:noFill/>
          </p:spPr>
          <p:txBody>
            <a:bodyPr wrap="square" lIns="104306" tIns="52153" rIns="104306" bIns="52153"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Arial"/>
                </a:rPr>
                <a:t>Text</a:t>
              </a:r>
            </a:p>
          </p:txBody>
        </p:sp>
        <p:sp>
          <p:nvSpPr>
            <p:cNvPr id="11" name="TextBox 10">
              <a:extLst>
                <a:ext uri="{FF2B5EF4-FFF2-40B4-BE49-F238E27FC236}">
                  <a16:creationId xmlns:a16="http://schemas.microsoft.com/office/drawing/2014/main" id="{DDC03C6C-1AFA-4624-B207-6439797603F6}"/>
                </a:ext>
              </a:extLst>
            </p:cNvPr>
            <p:cNvSpPr txBox="1"/>
            <p:nvPr/>
          </p:nvSpPr>
          <p:spPr bwMode="auto">
            <a:xfrm rot="16200000">
              <a:off x="-1410504" y="3380804"/>
              <a:ext cx="4184486" cy="334658"/>
            </a:xfrm>
            <a:prstGeom prst="rect">
              <a:avLst/>
            </a:prstGeom>
            <a:noFill/>
          </p:spPr>
          <p:txBody>
            <a:bodyPr wrap="square" lIns="104306" tIns="52153" rIns="104306" bIns="52153"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Arial"/>
                </a:rPr>
                <a:t>Text</a:t>
              </a:r>
            </a:p>
          </p:txBody>
        </p:sp>
        <p:sp>
          <p:nvSpPr>
            <p:cNvPr id="12" name="TextBox 11">
              <a:extLst>
                <a:ext uri="{FF2B5EF4-FFF2-40B4-BE49-F238E27FC236}">
                  <a16:creationId xmlns:a16="http://schemas.microsoft.com/office/drawing/2014/main" id="{FBD454CC-9413-4F08-9375-DE5F59165A15}"/>
                </a:ext>
              </a:extLst>
            </p:cNvPr>
            <p:cNvSpPr txBox="1"/>
            <p:nvPr/>
          </p:nvSpPr>
          <p:spPr bwMode="auto">
            <a:xfrm>
              <a:off x="1272408" y="4513271"/>
              <a:ext cx="982875" cy="302548"/>
            </a:xfrm>
            <a:prstGeom prst="rect">
              <a:avLst/>
            </a:prstGeom>
            <a:noFill/>
          </p:spPr>
          <p:txBody>
            <a:bodyPr wrap="square" lIns="104306" tIns="52153" rIns="104306" bIns="52153"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Arial"/>
                </a:rPr>
                <a:t>LEVEL 1</a:t>
              </a:r>
            </a:p>
          </p:txBody>
        </p:sp>
        <p:sp>
          <p:nvSpPr>
            <p:cNvPr id="13" name="TextBox 12">
              <a:extLst>
                <a:ext uri="{FF2B5EF4-FFF2-40B4-BE49-F238E27FC236}">
                  <a16:creationId xmlns:a16="http://schemas.microsoft.com/office/drawing/2014/main" id="{F981DB5F-62FC-4F39-9873-6B4EB9F62639}"/>
                </a:ext>
              </a:extLst>
            </p:cNvPr>
            <p:cNvSpPr txBox="1"/>
            <p:nvPr/>
          </p:nvSpPr>
          <p:spPr bwMode="auto">
            <a:xfrm>
              <a:off x="1448008" y="3305165"/>
              <a:ext cx="1160355" cy="302548"/>
            </a:xfrm>
            <a:prstGeom prst="rect">
              <a:avLst/>
            </a:prstGeom>
            <a:noFill/>
          </p:spPr>
          <p:txBody>
            <a:bodyPr wrap="square" lIns="104306" tIns="52153" rIns="104306" bIns="52153"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Arial"/>
                </a:rPr>
                <a:t>LEVEL 2</a:t>
              </a:r>
            </a:p>
          </p:txBody>
        </p:sp>
        <p:sp>
          <p:nvSpPr>
            <p:cNvPr id="14" name="TextBox 13">
              <a:extLst>
                <a:ext uri="{FF2B5EF4-FFF2-40B4-BE49-F238E27FC236}">
                  <a16:creationId xmlns:a16="http://schemas.microsoft.com/office/drawing/2014/main" id="{328B65A4-C773-418F-A5EB-33F67EFCE246}"/>
                </a:ext>
              </a:extLst>
            </p:cNvPr>
            <p:cNvSpPr txBox="1"/>
            <p:nvPr/>
          </p:nvSpPr>
          <p:spPr bwMode="auto">
            <a:xfrm>
              <a:off x="1621888" y="1566381"/>
              <a:ext cx="1215401" cy="302548"/>
            </a:xfrm>
            <a:prstGeom prst="rect">
              <a:avLst/>
            </a:prstGeom>
            <a:noFill/>
          </p:spPr>
          <p:txBody>
            <a:bodyPr wrap="square" lIns="104306" tIns="52153" rIns="104306" bIns="52153"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Arial"/>
                </a:rPr>
                <a:t>LEVEL 3</a:t>
              </a:r>
            </a:p>
          </p:txBody>
        </p:sp>
        <p:sp>
          <p:nvSpPr>
            <p:cNvPr id="15" name="TextBox 14">
              <a:extLst>
                <a:ext uri="{FF2B5EF4-FFF2-40B4-BE49-F238E27FC236}">
                  <a16:creationId xmlns:a16="http://schemas.microsoft.com/office/drawing/2014/main" id="{8EEEC1E4-451F-403B-94AD-C39F041DDD8E}"/>
                </a:ext>
              </a:extLst>
            </p:cNvPr>
            <p:cNvSpPr txBox="1"/>
            <p:nvPr/>
          </p:nvSpPr>
          <p:spPr bwMode="auto">
            <a:xfrm>
              <a:off x="3323116" y="1264698"/>
              <a:ext cx="1571609" cy="286492"/>
            </a:xfrm>
            <a:prstGeom prst="rect">
              <a:avLst/>
            </a:prstGeom>
            <a:noFill/>
          </p:spPr>
          <p:txBody>
            <a:bodyPr wrap="square" lIns="104306" tIns="52153" rIns="104306" bIns="52153" rtlCol="0">
              <a:spAutoFit/>
            </a:bodyPr>
            <a:lstStyle/>
            <a:p>
              <a:pPr marL="92075" marR="0" lvl="0" indent="-92075" algn="l" defTabSz="914400" rtl="0" eaLnBrk="1" fontAlgn="base" latinLnBrk="0" hangingPunct="1">
                <a:lnSpc>
                  <a:spcPct val="100000"/>
                </a:lnSpc>
                <a:spcBef>
                  <a:spcPct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ea typeface="+mn-ea"/>
                  <a:cs typeface="Arial"/>
                </a:rPr>
                <a:t>Text</a:t>
              </a:r>
            </a:p>
          </p:txBody>
        </p:sp>
        <p:cxnSp>
          <p:nvCxnSpPr>
            <p:cNvPr id="16" name="Straight Connector 15">
              <a:extLst>
                <a:ext uri="{FF2B5EF4-FFF2-40B4-BE49-F238E27FC236}">
                  <a16:creationId xmlns:a16="http://schemas.microsoft.com/office/drawing/2014/main" id="{484A48EE-4D89-446F-B940-2ADE1B18BD07}"/>
                </a:ext>
              </a:extLst>
            </p:cNvPr>
            <p:cNvCxnSpPr/>
            <p:nvPr/>
          </p:nvCxnSpPr>
          <p:spPr bwMode="auto">
            <a:xfrm>
              <a:off x="915708" y="2779060"/>
              <a:ext cx="7102556" cy="0"/>
            </a:xfrm>
            <a:prstGeom prst="line">
              <a:avLst/>
            </a:prstGeom>
            <a:noFill/>
            <a:ln w="9525" cap="flat" cmpd="sng" algn="ctr">
              <a:solidFill>
                <a:srgbClr val="96968C">
                  <a:lumMod val="40000"/>
                  <a:lumOff val="60000"/>
                </a:srgbClr>
              </a:solidFill>
              <a:prstDash val="dash"/>
            </a:ln>
            <a:effectLst/>
          </p:spPr>
        </p:cxnSp>
        <p:sp>
          <p:nvSpPr>
            <p:cNvPr id="17" name="Oval 16">
              <a:extLst>
                <a:ext uri="{FF2B5EF4-FFF2-40B4-BE49-F238E27FC236}">
                  <a16:creationId xmlns:a16="http://schemas.microsoft.com/office/drawing/2014/main" id="{F5D7F371-0F14-4CD7-86CD-5CFB68762495}"/>
                </a:ext>
              </a:extLst>
            </p:cNvPr>
            <p:cNvSpPr/>
            <p:nvPr/>
          </p:nvSpPr>
          <p:spPr bwMode="auto">
            <a:xfrm>
              <a:off x="2819769" y="1624441"/>
              <a:ext cx="202906" cy="206303"/>
            </a:xfrm>
            <a:prstGeom prst="ellipse">
              <a:avLst/>
            </a:prstGeom>
            <a:solidFill>
              <a:srgbClr val="DCAFFF"/>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AU" sz="1600" b="0" i="0" u="none" strike="noStrike" kern="0" cap="none" spc="0" normalizeH="0" baseline="0" noProof="0" dirty="0">
                <a:ln>
                  <a:noFill/>
                </a:ln>
                <a:solidFill>
                  <a:sysClr val="windowText" lastClr="000000"/>
                </a:solidFill>
                <a:effectLst/>
                <a:uLnTx/>
                <a:uFillTx/>
                <a:latin typeface="Arial"/>
                <a:ea typeface="+mn-ea"/>
                <a:cs typeface="Arial"/>
              </a:endParaRPr>
            </a:p>
          </p:txBody>
        </p:sp>
        <p:sp>
          <p:nvSpPr>
            <p:cNvPr id="18" name="Oval 17">
              <a:extLst>
                <a:ext uri="{FF2B5EF4-FFF2-40B4-BE49-F238E27FC236}">
                  <a16:creationId xmlns:a16="http://schemas.microsoft.com/office/drawing/2014/main" id="{DEC7656E-9940-4099-9F9C-90AADADFF465}"/>
                </a:ext>
              </a:extLst>
            </p:cNvPr>
            <p:cNvSpPr/>
            <p:nvPr/>
          </p:nvSpPr>
          <p:spPr bwMode="auto">
            <a:xfrm>
              <a:off x="2608362" y="3368878"/>
              <a:ext cx="202906" cy="206303"/>
            </a:xfrm>
            <a:prstGeom prst="ellipse">
              <a:avLst/>
            </a:prstGeom>
            <a:solidFill>
              <a:srgbClr val="DCAFFF"/>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AU" sz="1600" b="0" i="0" u="none" strike="noStrike" kern="0" cap="none" spc="0" normalizeH="0" baseline="0" noProof="0" dirty="0">
                <a:ln>
                  <a:noFill/>
                </a:ln>
                <a:solidFill>
                  <a:sysClr val="windowText" lastClr="000000"/>
                </a:solidFill>
                <a:effectLst/>
                <a:uLnTx/>
                <a:uFillTx/>
                <a:latin typeface="Arial"/>
                <a:ea typeface="+mn-ea"/>
                <a:cs typeface="Arial"/>
              </a:endParaRPr>
            </a:p>
          </p:txBody>
        </p:sp>
        <p:sp>
          <p:nvSpPr>
            <p:cNvPr id="19" name="Oval 18">
              <a:extLst>
                <a:ext uri="{FF2B5EF4-FFF2-40B4-BE49-F238E27FC236}">
                  <a16:creationId xmlns:a16="http://schemas.microsoft.com/office/drawing/2014/main" id="{EA6C8426-589D-4851-8165-061EE44EDE0C}"/>
                </a:ext>
              </a:extLst>
            </p:cNvPr>
            <p:cNvSpPr/>
            <p:nvPr/>
          </p:nvSpPr>
          <p:spPr bwMode="auto">
            <a:xfrm>
              <a:off x="2255282" y="4561100"/>
              <a:ext cx="202906" cy="206303"/>
            </a:xfrm>
            <a:prstGeom prst="ellipse">
              <a:avLst/>
            </a:prstGeom>
            <a:solidFill>
              <a:srgbClr val="DCAFFF"/>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AU" sz="1600" b="0" i="0" u="none" strike="noStrike" kern="0" cap="none" spc="0" normalizeH="0" baseline="0" noProof="0" dirty="0">
                <a:ln>
                  <a:noFill/>
                </a:ln>
                <a:solidFill>
                  <a:sysClr val="windowText" lastClr="000000"/>
                </a:solidFill>
                <a:effectLst/>
                <a:uLnTx/>
                <a:uFillTx/>
                <a:latin typeface="Arial"/>
                <a:ea typeface="+mn-ea"/>
                <a:cs typeface="Arial"/>
              </a:endParaRPr>
            </a:p>
          </p:txBody>
        </p:sp>
        <p:sp>
          <p:nvSpPr>
            <p:cNvPr id="20" name="TextBox 19">
              <a:extLst>
                <a:ext uri="{FF2B5EF4-FFF2-40B4-BE49-F238E27FC236}">
                  <a16:creationId xmlns:a16="http://schemas.microsoft.com/office/drawing/2014/main" id="{DE103629-6F4D-4FDF-B34F-97D52EE878E7}"/>
                </a:ext>
              </a:extLst>
            </p:cNvPr>
            <p:cNvSpPr txBox="1"/>
            <p:nvPr/>
          </p:nvSpPr>
          <p:spPr bwMode="auto">
            <a:xfrm>
              <a:off x="3323117" y="2824685"/>
              <a:ext cx="1571609" cy="286492"/>
            </a:xfrm>
            <a:prstGeom prst="rect">
              <a:avLst/>
            </a:prstGeom>
            <a:noFill/>
          </p:spPr>
          <p:txBody>
            <a:bodyPr wrap="square" lIns="104306" tIns="52153" rIns="104306" bIns="52153" rtlCol="0">
              <a:spAutoFit/>
            </a:bodyPr>
            <a:lstStyle/>
            <a:p>
              <a:pPr marL="92075" marR="0" lvl="0" indent="-92075" algn="l" defTabSz="914400" rtl="0" eaLnBrk="1" fontAlgn="base" latinLnBrk="0" hangingPunct="1">
                <a:lnSpc>
                  <a:spcPct val="100000"/>
                </a:lnSpc>
                <a:spcBef>
                  <a:spcPct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ea typeface="+mn-ea"/>
                  <a:cs typeface="Arial"/>
                </a:rPr>
                <a:t>Text</a:t>
              </a:r>
            </a:p>
          </p:txBody>
        </p:sp>
        <p:cxnSp>
          <p:nvCxnSpPr>
            <p:cNvPr id="21" name="Straight Connector 20">
              <a:extLst>
                <a:ext uri="{FF2B5EF4-FFF2-40B4-BE49-F238E27FC236}">
                  <a16:creationId xmlns:a16="http://schemas.microsoft.com/office/drawing/2014/main" id="{CEDC25C6-8518-4FD3-AA4E-5EF57CBA9444}"/>
                </a:ext>
              </a:extLst>
            </p:cNvPr>
            <p:cNvCxnSpPr/>
            <p:nvPr/>
          </p:nvCxnSpPr>
          <p:spPr bwMode="auto">
            <a:xfrm>
              <a:off x="915708" y="4087902"/>
              <a:ext cx="7102556" cy="0"/>
            </a:xfrm>
            <a:prstGeom prst="line">
              <a:avLst/>
            </a:prstGeom>
            <a:noFill/>
            <a:ln w="9525" cap="flat" cmpd="sng" algn="ctr">
              <a:solidFill>
                <a:srgbClr val="96968C">
                  <a:lumMod val="40000"/>
                  <a:lumOff val="60000"/>
                </a:srgbClr>
              </a:solidFill>
              <a:prstDash val="dash"/>
            </a:ln>
            <a:effectLst/>
          </p:spPr>
        </p:cxnSp>
        <p:sp>
          <p:nvSpPr>
            <p:cNvPr id="22" name="TextBox 21">
              <a:extLst>
                <a:ext uri="{FF2B5EF4-FFF2-40B4-BE49-F238E27FC236}">
                  <a16:creationId xmlns:a16="http://schemas.microsoft.com/office/drawing/2014/main" id="{CAB3DCF1-A497-4D9C-A556-EA1ADEB1ED5B}"/>
                </a:ext>
              </a:extLst>
            </p:cNvPr>
            <p:cNvSpPr txBox="1"/>
            <p:nvPr/>
          </p:nvSpPr>
          <p:spPr bwMode="auto">
            <a:xfrm>
              <a:off x="3338222" y="4178026"/>
              <a:ext cx="1571609" cy="286492"/>
            </a:xfrm>
            <a:prstGeom prst="rect">
              <a:avLst/>
            </a:prstGeom>
            <a:noFill/>
          </p:spPr>
          <p:txBody>
            <a:bodyPr wrap="square" lIns="104306" tIns="52153" rIns="104306" bIns="52153" rtlCol="0">
              <a:spAutoFit/>
            </a:bodyPr>
            <a:lstStyle/>
            <a:p>
              <a:pPr marL="92075" marR="0" lvl="0" indent="-92075" algn="l" defTabSz="914400" rtl="0" eaLnBrk="1" fontAlgn="base" latinLnBrk="0" hangingPunct="1">
                <a:lnSpc>
                  <a:spcPct val="100000"/>
                </a:lnSpc>
                <a:spcBef>
                  <a:spcPct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ea typeface="+mn-ea"/>
                  <a:cs typeface="Arial"/>
                </a:rPr>
                <a:t>Text</a:t>
              </a:r>
            </a:p>
          </p:txBody>
        </p:sp>
      </p:grpSp>
      <p:sp>
        <p:nvSpPr>
          <p:cNvPr id="23" name="Freeform: Shape 22">
            <a:extLst>
              <a:ext uri="{FF2B5EF4-FFF2-40B4-BE49-F238E27FC236}">
                <a16:creationId xmlns:a16="http://schemas.microsoft.com/office/drawing/2014/main" id="{8F9E3507-BF61-4587-93CA-B7941266054A}"/>
              </a:ext>
              <a:ext uri="{C183D7F6-B498-43B3-948B-1728B52AA6E4}">
                <adec:decorative xmlns:adec="http://schemas.microsoft.com/office/drawing/2017/decorative" val="1"/>
              </a:ext>
            </a:extLst>
          </p:cNvPr>
          <p:cNvSpPr/>
          <p:nvPr/>
        </p:nvSpPr>
        <p:spPr>
          <a:xfrm>
            <a:off x="904875" y="1314450"/>
            <a:ext cx="6791325" cy="4600575"/>
          </a:xfrm>
          <a:custGeom>
            <a:avLst/>
            <a:gdLst>
              <a:gd name="connsiteX0" fmla="*/ 0 w 6791325"/>
              <a:gd name="connsiteY0" fmla="*/ 0 h 4600575"/>
              <a:gd name="connsiteX1" fmla="*/ 0 w 6791325"/>
              <a:gd name="connsiteY1" fmla="*/ 4600575 h 4600575"/>
              <a:gd name="connsiteX2" fmla="*/ 6791325 w 6791325"/>
              <a:gd name="connsiteY2" fmla="*/ 4600575 h 4600575"/>
            </a:gdLst>
            <a:ahLst/>
            <a:cxnLst>
              <a:cxn ang="0">
                <a:pos x="connsiteX0" y="connsiteY0"/>
              </a:cxn>
              <a:cxn ang="0">
                <a:pos x="connsiteX1" y="connsiteY1"/>
              </a:cxn>
              <a:cxn ang="0">
                <a:pos x="connsiteX2" y="connsiteY2"/>
              </a:cxn>
            </a:cxnLst>
            <a:rect l="l" t="t" r="r" b="b"/>
            <a:pathLst>
              <a:path w="6791325" h="4600575">
                <a:moveTo>
                  <a:pt x="0" y="0"/>
                </a:moveTo>
                <a:lnTo>
                  <a:pt x="0" y="4600575"/>
                </a:lnTo>
                <a:lnTo>
                  <a:pt x="6791325" y="4600575"/>
                </a:lnTo>
              </a:path>
            </a:pathLst>
          </a:custGeom>
          <a:noFill/>
          <a:ln w="9525" cap="flat" cmpd="sng" algn="ctr">
            <a:solidFill>
              <a:srgbClr val="96968C"/>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Arial"/>
              <a:ea typeface="+mn-ea"/>
              <a:cs typeface="+mn-cs"/>
            </a:endParaRPr>
          </a:p>
        </p:txBody>
      </p:sp>
      <p:sp>
        <p:nvSpPr>
          <p:cNvPr id="25" name="Footer Placeholder 24">
            <a:extLst>
              <a:ext uri="{FF2B5EF4-FFF2-40B4-BE49-F238E27FC236}">
                <a16:creationId xmlns:a16="http://schemas.microsoft.com/office/drawing/2014/main" id="{E6D31499-5577-467C-8F4B-CCA1DB70290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6" name="Slide Number Placeholder 25">
            <a:extLst>
              <a:ext uri="{FF2B5EF4-FFF2-40B4-BE49-F238E27FC236}">
                <a16:creationId xmlns:a16="http://schemas.microsoft.com/office/drawing/2014/main" id="{2E506F10-865E-4C18-84FF-3439EF655366}"/>
              </a:ext>
            </a:extLst>
          </p:cNvPr>
          <p:cNvSpPr>
            <a:spLocks noGrp="1"/>
          </p:cNvSpPr>
          <p:nvPr>
            <p:ph type="sldNum" sz="quarter" idx="10"/>
          </p:nvPr>
        </p:nvSpPr>
        <p:spPr/>
        <p:txBody>
          <a:bodyPr/>
          <a:lstStyle/>
          <a:p>
            <a:fld id="{1F90F471-3972-4120-B8B3-0237DE626C35}" type="slidenum">
              <a:rPr lang="en-US" smtClean="0"/>
              <a:pPr/>
              <a:t>433</a:t>
            </a:fld>
            <a:endParaRPr lang="en-US" dirty="0"/>
          </a:p>
        </p:txBody>
      </p:sp>
    </p:spTree>
    <p:extLst>
      <p:ext uri="{BB962C8B-B14F-4D97-AF65-F5344CB8AC3E}">
        <p14:creationId xmlns:p14="http://schemas.microsoft.com/office/powerpoint/2010/main" val="3667635029"/>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Small Illustrative Graphs</a:t>
            </a:r>
          </a:p>
        </p:txBody>
      </p:sp>
      <p:grpSp>
        <p:nvGrpSpPr>
          <p:cNvPr id="28" name="Group 27" descr="Revenue">
            <a:extLst>
              <a:ext uri="{FF2B5EF4-FFF2-40B4-BE49-F238E27FC236}">
                <a16:creationId xmlns:a16="http://schemas.microsoft.com/office/drawing/2014/main" id="{4406C2A4-09D2-4764-AA83-2B076DE88BD4}"/>
              </a:ext>
            </a:extLst>
          </p:cNvPr>
          <p:cNvGrpSpPr/>
          <p:nvPr/>
        </p:nvGrpSpPr>
        <p:grpSpPr>
          <a:xfrm>
            <a:off x="512768" y="1402193"/>
            <a:ext cx="1771650" cy="1920238"/>
            <a:chOff x="512768" y="1402193"/>
            <a:chExt cx="1771650" cy="1920238"/>
          </a:xfrm>
        </p:grpSpPr>
        <p:sp>
          <p:nvSpPr>
            <p:cNvPr id="18" name="Freeform: Shape 17">
              <a:extLst>
                <a:ext uri="{FF2B5EF4-FFF2-40B4-BE49-F238E27FC236}">
                  <a16:creationId xmlns:a16="http://schemas.microsoft.com/office/drawing/2014/main" id="{4EDDE497-5586-49C5-95D5-D4BF229710C1}"/>
                </a:ext>
                <a:ext uri="{C183D7F6-B498-43B3-948B-1728B52AA6E4}">
                  <adec:decorative xmlns:adec="http://schemas.microsoft.com/office/drawing/2017/decorative" val="1"/>
                </a:ext>
              </a:extLst>
            </p:cNvPr>
            <p:cNvSpPr/>
            <p:nvPr/>
          </p:nvSpPr>
          <p:spPr>
            <a:xfrm>
              <a:off x="512768" y="1402193"/>
              <a:ext cx="1771650" cy="1343025"/>
            </a:xfrm>
            <a:custGeom>
              <a:avLst/>
              <a:gdLst>
                <a:gd name="connsiteX0" fmla="*/ 0 w 1771650"/>
                <a:gd name="connsiteY0" fmla="*/ 0 h 1343025"/>
                <a:gd name="connsiteX1" fmla="*/ 0 w 1771650"/>
                <a:gd name="connsiteY1" fmla="*/ 1343025 h 1343025"/>
                <a:gd name="connsiteX2" fmla="*/ 1771650 w 1771650"/>
                <a:gd name="connsiteY2" fmla="*/ 1343025 h 1343025"/>
              </a:gdLst>
              <a:ahLst/>
              <a:cxnLst>
                <a:cxn ang="0">
                  <a:pos x="connsiteX0" y="connsiteY0"/>
                </a:cxn>
                <a:cxn ang="0">
                  <a:pos x="connsiteX1" y="connsiteY1"/>
                </a:cxn>
                <a:cxn ang="0">
                  <a:pos x="connsiteX2" y="connsiteY2"/>
                </a:cxn>
              </a:cxnLst>
              <a:rect l="l" t="t" r="r" b="b"/>
              <a:pathLst>
                <a:path w="1771650" h="1343025">
                  <a:moveTo>
                    <a:pt x="0" y="0"/>
                  </a:moveTo>
                  <a:lnTo>
                    <a:pt x="0" y="1343025"/>
                  </a:lnTo>
                  <a:lnTo>
                    <a:pt x="1771650" y="1343025"/>
                  </a:lnTo>
                </a:path>
              </a:pathLst>
            </a:custGeom>
            <a:noFill/>
            <a:ln w="9525" cap="flat" cmpd="sng" algn="ctr">
              <a:solidFill>
                <a:srgbClr val="96968C">
                  <a:lumMod val="60000"/>
                  <a:lumOff val="40000"/>
                </a:srgbClr>
              </a:solidFill>
              <a:prstDash val="solid"/>
              <a:headEnd type="triangle"/>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Arial"/>
                <a:ea typeface="+mn-ea"/>
                <a:cs typeface="+mn-cs"/>
              </a:endParaRPr>
            </a:p>
          </p:txBody>
        </p:sp>
        <p:sp>
          <p:nvSpPr>
            <p:cNvPr id="5" name="Text Box 5">
              <a:extLst>
                <a:ext uri="{FF2B5EF4-FFF2-40B4-BE49-F238E27FC236}">
                  <a16:creationId xmlns:a16="http://schemas.microsoft.com/office/drawing/2014/main" id="{B75BFC59-026D-420F-8E77-6BD5E7AFEA2A}"/>
                </a:ext>
                <a:ext uri="{C183D7F6-B498-43B3-948B-1728B52AA6E4}">
                  <adec:decorative xmlns:adec="http://schemas.microsoft.com/office/drawing/2017/decorative" val="0"/>
                </a:ext>
              </a:extLst>
            </p:cNvPr>
            <p:cNvSpPr txBox="1">
              <a:spLocks noChangeArrowheads="1"/>
            </p:cNvSpPr>
            <p:nvPr>
              <p:custDataLst>
                <p:tags r:id="rId11"/>
              </p:custDataLst>
            </p:nvPr>
          </p:nvSpPr>
          <p:spPr bwMode="auto">
            <a:xfrm>
              <a:off x="530201" y="2823180"/>
              <a:ext cx="1754217" cy="499251"/>
            </a:xfrm>
            <a:prstGeom prst="rect">
              <a:avLst/>
            </a:prstGeom>
            <a:noFill/>
            <a:ln w="6350">
              <a:noFill/>
              <a:miter lim="800000"/>
              <a:headEnd/>
              <a:tailEnd/>
            </a:ln>
          </p:spPr>
          <p:txBody>
            <a:bodyPr lIns="0" rIns="45720"/>
            <a:lstStyle/>
            <a:p>
              <a:pPr marL="0" marR="0" lvl="0" indent="0" algn="l" defTabSz="914400" rtl="0" eaLnBrk="0" fontAlgn="auto" latinLnBrk="0" hangingPunct="0">
                <a:lnSpc>
                  <a:spcPct val="80000"/>
                </a:lnSpc>
                <a:spcBef>
                  <a:spcPct val="5000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Revenue</a:t>
              </a:r>
            </a:p>
          </p:txBody>
        </p:sp>
      </p:grpSp>
      <p:grpSp>
        <p:nvGrpSpPr>
          <p:cNvPr id="3" name="Group 2" descr="Sales">
            <a:extLst>
              <a:ext uri="{FF2B5EF4-FFF2-40B4-BE49-F238E27FC236}">
                <a16:creationId xmlns:a16="http://schemas.microsoft.com/office/drawing/2014/main" id="{1538357B-E554-410B-8BEC-D085C8120EF3}"/>
              </a:ext>
            </a:extLst>
          </p:cNvPr>
          <p:cNvGrpSpPr/>
          <p:nvPr/>
        </p:nvGrpSpPr>
        <p:grpSpPr>
          <a:xfrm>
            <a:off x="3587221" y="1402193"/>
            <a:ext cx="1771650" cy="1920238"/>
            <a:chOff x="3587221" y="1402193"/>
            <a:chExt cx="1771650" cy="1920238"/>
          </a:xfrm>
        </p:grpSpPr>
        <p:sp>
          <p:nvSpPr>
            <p:cNvPr id="6" name="Line 9">
              <a:extLst>
                <a:ext uri="{FF2B5EF4-FFF2-40B4-BE49-F238E27FC236}">
                  <a16:creationId xmlns:a16="http://schemas.microsoft.com/office/drawing/2014/main" id="{30534B52-EF7F-441C-9DEC-FB0545BDABA1}"/>
                </a:ext>
              </a:extLst>
            </p:cNvPr>
            <p:cNvSpPr>
              <a:spLocks noChangeShapeType="1"/>
            </p:cNvSpPr>
            <p:nvPr>
              <p:custDataLst>
                <p:tags r:id="rId9"/>
              </p:custDataLst>
            </p:nvPr>
          </p:nvSpPr>
          <p:spPr bwMode="auto">
            <a:xfrm flipV="1">
              <a:off x="3677539" y="1551117"/>
              <a:ext cx="1410554" cy="1085699"/>
            </a:xfrm>
            <a:prstGeom prst="line">
              <a:avLst/>
            </a:prstGeom>
            <a:noFill/>
            <a:ln w="25400">
              <a:solidFill>
                <a:srgbClr val="A100FF"/>
              </a:solidFill>
              <a:round/>
              <a:headEnd/>
              <a:tailEnd/>
            </a:ln>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7" name="Text Box 11">
              <a:extLst>
                <a:ext uri="{FF2B5EF4-FFF2-40B4-BE49-F238E27FC236}">
                  <a16:creationId xmlns:a16="http://schemas.microsoft.com/office/drawing/2014/main" id="{8925B2E3-F47C-4ED2-8DDF-7181526874C3}"/>
                </a:ext>
              </a:extLst>
            </p:cNvPr>
            <p:cNvSpPr txBox="1">
              <a:spLocks noChangeArrowheads="1"/>
            </p:cNvSpPr>
            <p:nvPr>
              <p:custDataLst>
                <p:tags r:id="rId10"/>
              </p:custDataLst>
            </p:nvPr>
          </p:nvSpPr>
          <p:spPr bwMode="auto">
            <a:xfrm>
              <a:off x="3587221" y="2823180"/>
              <a:ext cx="1754217" cy="499251"/>
            </a:xfrm>
            <a:prstGeom prst="rect">
              <a:avLst/>
            </a:prstGeom>
            <a:noFill/>
            <a:ln w="6350">
              <a:noFill/>
              <a:miter lim="800000"/>
              <a:headEnd/>
              <a:tailEnd/>
            </a:ln>
          </p:spPr>
          <p:txBody>
            <a:bodyPr lIns="0" rIns="45720"/>
            <a:lstStyle/>
            <a:p>
              <a:pPr marL="0" marR="0" lvl="0" indent="0" algn="l" defTabSz="914400" rtl="0" eaLnBrk="0" fontAlgn="auto" latinLnBrk="0" hangingPunct="0">
                <a:lnSpc>
                  <a:spcPct val="80000"/>
                </a:lnSpc>
                <a:spcBef>
                  <a:spcPct val="5000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Sales</a:t>
              </a:r>
            </a:p>
          </p:txBody>
        </p:sp>
        <p:sp>
          <p:nvSpPr>
            <p:cNvPr id="17" name="Freeform: Shape 16">
              <a:extLst>
                <a:ext uri="{FF2B5EF4-FFF2-40B4-BE49-F238E27FC236}">
                  <a16:creationId xmlns:a16="http://schemas.microsoft.com/office/drawing/2014/main" id="{8328C780-CAA7-454F-9FE4-6A1CA22EA3DF}"/>
                </a:ext>
              </a:extLst>
            </p:cNvPr>
            <p:cNvSpPr/>
            <p:nvPr/>
          </p:nvSpPr>
          <p:spPr>
            <a:xfrm>
              <a:off x="3587221" y="1402193"/>
              <a:ext cx="1771650" cy="1343025"/>
            </a:xfrm>
            <a:custGeom>
              <a:avLst/>
              <a:gdLst>
                <a:gd name="connsiteX0" fmla="*/ 0 w 1771650"/>
                <a:gd name="connsiteY0" fmla="*/ 0 h 1343025"/>
                <a:gd name="connsiteX1" fmla="*/ 0 w 1771650"/>
                <a:gd name="connsiteY1" fmla="*/ 1343025 h 1343025"/>
                <a:gd name="connsiteX2" fmla="*/ 1771650 w 1771650"/>
                <a:gd name="connsiteY2" fmla="*/ 1343025 h 1343025"/>
              </a:gdLst>
              <a:ahLst/>
              <a:cxnLst>
                <a:cxn ang="0">
                  <a:pos x="connsiteX0" y="connsiteY0"/>
                </a:cxn>
                <a:cxn ang="0">
                  <a:pos x="connsiteX1" y="connsiteY1"/>
                </a:cxn>
                <a:cxn ang="0">
                  <a:pos x="connsiteX2" y="connsiteY2"/>
                </a:cxn>
              </a:cxnLst>
              <a:rect l="l" t="t" r="r" b="b"/>
              <a:pathLst>
                <a:path w="1771650" h="1343025">
                  <a:moveTo>
                    <a:pt x="0" y="0"/>
                  </a:moveTo>
                  <a:lnTo>
                    <a:pt x="0" y="1343025"/>
                  </a:lnTo>
                  <a:lnTo>
                    <a:pt x="1771650" y="1343025"/>
                  </a:lnTo>
                </a:path>
              </a:pathLst>
            </a:custGeom>
            <a:noFill/>
            <a:ln w="9525" cap="flat" cmpd="sng" algn="ctr">
              <a:solidFill>
                <a:srgbClr val="96968C">
                  <a:lumMod val="60000"/>
                  <a:lumOff val="40000"/>
                </a:srgbClr>
              </a:solidFill>
              <a:prstDash val="solid"/>
              <a:headEnd type="triangle"/>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Arial"/>
                <a:ea typeface="+mn-ea"/>
                <a:cs typeface="+mn-cs"/>
              </a:endParaRPr>
            </a:p>
          </p:txBody>
        </p:sp>
      </p:grpSp>
      <p:grpSp>
        <p:nvGrpSpPr>
          <p:cNvPr id="4" name="Group 3" descr="Unit Costs">
            <a:extLst>
              <a:ext uri="{FF2B5EF4-FFF2-40B4-BE49-F238E27FC236}">
                <a16:creationId xmlns:a16="http://schemas.microsoft.com/office/drawing/2014/main" id="{C9B16495-D2FD-45DA-A085-FEEC4D3B4379}"/>
              </a:ext>
            </a:extLst>
          </p:cNvPr>
          <p:cNvGrpSpPr/>
          <p:nvPr/>
        </p:nvGrpSpPr>
        <p:grpSpPr>
          <a:xfrm>
            <a:off x="6847440" y="1402193"/>
            <a:ext cx="1771650" cy="1920238"/>
            <a:chOff x="6847440" y="1402193"/>
            <a:chExt cx="1771650" cy="1920238"/>
          </a:xfrm>
        </p:grpSpPr>
        <p:sp>
          <p:nvSpPr>
            <p:cNvPr id="10" name="Arc 20">
              <a:extLst>
                <a:ext uri="{FF2B5EF4-FFF2-40B4-BE49-F238E27FC236}">
                  <a16:creationId xmlns:a16="http://schemas.microsoft.com/office/drawing/2014/main" id="{4165C1B7-8ECB-46C5-BCCB-27E6B8976F56}"/>
                </a:ext>
              </a:extLst>
            </p:cNvPr>
            <p:cNvSpPr>
              <a:spLocks/>
            </p:cNvSpPr>
            <p:nvPr>
              <p:custDataLst>
                <p:tags r:id="rId7"/>
              </p:custDataLst>
            </p:nvPr>
          </p:nvSpPr>
          <p:spPr bwMode="auto">
            <a:xfrm>
              <a:off x="6960284" y="1551117"/>
              <a:ext cx="1653340" cy="1561013"/>
            </a:xfrm>
            <a:custGeom>
              <a:avLst/>
              <a:gdLst>
                <a:gd name="T0" fmla="*/ 0 w 15207"/>
                <a:gd name="T1" fmla="*/ 0 h 21600"/>
                <a:gd name="T2" fmla="*/ 154966069 w 15207"/>
                <a:gd name="T3" fmla="*/ 28186147 h 21600"/>
                <a:gd name="T4" fmla="*/ 0 w 15207"/>
                <a:gd name="T5" fmla="*/ 97255678 h 21600"/>
                <a:gd name="T6" fmla="*/ 0 60000 65536"/>
                <a:gd name="T7" fmla="*/ 0 60000 65536"/>
                <a:gd name="T8" fmla="*/ 0 60000 65536"/>
                <a:gd name="T9" fmla="*/ 0 w 15207"/>
                <a:gd name="T10" fmla="*/ 0 h 21600"/>
                <a:gd name="T11" fmla="*/ 15207 w 15207"/>
                <a:gd name="T12" fmla="*/ 21600 h 21600"/>
              </a:gdLst>
              <a:ahLst/>
              <a:cxnLst>
                <a:cxn ang="T6">
                  <a:pos x="T0" y="T1"/>
                </a:cxn>
                <a:cxn ang="T7">
                  <a:pos x="T2" y="T3"/>
                </a:cxn>
                <a:cxn ang="T8">
                  <a:pos x="T4" y="T5"/>
                </a:cxn>
              </a:cxnLst>
              <a:rect l="T9" t="T10" r="T11" b="T12"/>
              <a:pathLst>
                <a:path w="15207" h="21600" fill="none" extrusionOk="0">
                  <a:moveTo>
                    <a:pt x="-1" y="0"/>
                  </a:moveTo>
                  <a:cubicBezTo>
                    <a:pt x="5696" y="0"/>
                    <a:pt x="11161" y="2249"/>
                    <a:pt x="15206" y="6260"/>
                  </a:cubicBezTo>
                </a:path>
                <a:path w="15207" h="21600" stroke="0" extrusionOk="0">
                  <a:moveTo>
                    <a:pt x="-1" y="0"/>
                  </a:moveTo>
                  <a:cubicBezTo>
                    <a:pt x="5696" y="0"/>
                    <a:pt x="11161" y="2249"/>
                    <a:pt x="15206" y="6260"/>
                  </a:cubicBezTo>
                  <a:lnTo>
                    <a:pt x="0" y="21600"/>
                  </a:lnTo>
                  <a:close/>
                </a:path>
              </a:pathLst>
            </a:custGeom>
            <a:noFill/>
            <a:ln w="25400">
              <a:solidFill>
                <a:srgbClr val="A100FF"/>
              </a:solidFill>
              <a:round/>
              <a:headEnd/>
              <a:tailEnd/>
            </a:ln>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11" name="Text Box 21">
              <a:extLst>
                <a:ext uri="{FF2B5EF4-FFF2-40B4-BE49-F238E27FC236}">
                  <a16:creationId xmlns:a16="http://schemas.microsoft.com/office/drawing/2014/main" id="{CAAE1680-9664-40DA-A937-E63D479310BA}"/>
                </a:ext>
              </a:extLst>
            </p:cNvPr>
            <p:cNvSpPr txBox="1">
              <a:spLocks noChangeArrowheads="1"/>
            </p:cNvSpPr>
            <p:nvPr>
              <p:custDataLst>
                <p:tags r:id="rId8"/>
              </p:custDataLst>
            </p:nvPr>
          </p:nvSpPr>
          <p:spPr bwMode="auto">
            <a:xfrm>
              <a:off x="6847440" y="2823180"/>
              <a:ext cx="1754217" cy="499251"/>
            </a:xfrm>
            <a:prstGeom prst="rect">
              <a:avLst/>
            </a:prstGeom>
            <a:noFill/>
            <a:ln w="6350">
              <a:noFill/>
              <a:miter lim="800000"/>
              <a:headEnd/>
              <a:tailEnd/>
            </a:ln>
          </p:spPr>
          <p:txBody>
            <a:bodyPr lIns="0" rIns="45720"/>
            <a:lstStyle/>
            <a:p>
              <a:pPr marL="0" marR="0" lvl="0" indent="0" algn="l" defTabSz="914400" rtl="0" eaLnBrk="0" fontAlgn="auto" latinLnBrk="0" hangingPunct="0">
                <a:lnSpc>
                  <a:spcPct val="80000"/>
                </a:lnSpc>
                <a:spcBef>
                  <a:spcPct val="5000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Unit costs</a:t>
              </a:r>
            </a:p>
          </p:txBody>
        </p:sp>
        <p:sp>
          <p:nvSpPr>
            <p:cNvPr id="16" name="Freeform: Shape 15">
              <a:extLst>
                <a:ext uri="{FF2B5EF4-FFF2-40B4-BE49-F238E27FC236}">
                  <a16:creationId xmlns:a16="http://schemas.microsoft.com/office/drawing/2014/main" id="{6A8ECBCC-3244-4138-8FA1-77ED31307EA7}"/>
                </a:ext>
              </a:extLst>
            </p:cNvPr>
            <p:cNvSpPr/>
            <p:nvPr/>
          </p:nvSpPr>
          <p:spPr>
            <a:xfrm>
              <a:off x="6847440" y="1402193"/>
              <a:ext cx="1771650" cy="1343025"/>
            </a:xfrm>
            <a:custGeom>
              <a:avLst/>
              <a:gdLst>
                <a:gd name="connsiteX0" fmla="*/ 0 w 1771650"/>
                <a:gd name="connsiteY0" fmla="*/ 0 h 1343025"/>
                <a:gd name="connsiteX1" fmla="*/ 0 w 1771650"/>
                <a:gd name="connsiteY1" fmla="*/ 1343025 h 1343025"/>
                <a:gd name="connsiteX2" fmla="*/ 1771650 w 1771650"/>
                <a:gd name="connsiteY2" fmla="*/ 1343025 h 1343025"/>
              </a:gdLst>
              <a:ahLst/>
              <a:cxnLst>
                <a:cxn ang="0">
                  <a:pos x="connsiteX0" y="connsiteY0"/>
                </a:cxn>
                <a:cxn ang="0">
                  <a:pos x="connsiteX1" y="connsiteY1"/>
                </a:cxn>
                <a:cxn ang="0">
                  <a:pos x="connsiteX2" y="connsiteY2"/>
                </a:cxn>
              </a:cxnLst>
              <a:rect l="l" t="t" r="r" b="b"/>
              <a:pathLst>
                <a:path w="1771650" h="1343025">
                  <a:moveTo>
                    <a:pt x="0" y="0"/>
                  </a:moveTo>
                  <a:lnTo>
                    <a:pt x="0" y="1343025"/>
                  </a:lnTo>
                  <a:lnTo>
                    <a:pt x="1771650" y="1343025"/>
                  </a:lnTo>
                </a:path>
              </a:pathLst>
            </a:custGeom>
            <a:noFill/>
            <a:ln w="9525" cap="flat" cmpd="sng" algn="ctr">
              <a:solidFill>
                <a:srgbClr val="96968C">
                  <a:lumMod val="60000"/>
                  <a:lumOff val="40000"/>
                </a:srgbClr>
              </a:solidFill>
              <a:prstDash val="solid"/>
              <a:headEnd type="triangle"/>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Arial"/>
                <a:ea typeface="+mn-ea"/>
                <a:cs typeface="+mn-cs"/>
              </a:endParaRPr>
            </a:p>
          </p:txBody>
        </p:sp>
      </p:grpSp>
      <p:grpSp>
        <p:nvGrpSpPr>
          <p:cNvPr id="27" name="Group 26" descr="Productivity">
            <a:extLst>
              <a:ext uri="{FF2B5EF4-FFF2-40B4-BE49-F238E27FC236}">
                <a16:creationId xmlns:a16="http://schemas.microsoft.com/office/drawing/2014/main" id="{A249653A-FA05-4117-9532-ADEF16E9EB84}"/>
              </a:ext>
            </a:extLst>
          </p:cNvPr>
          <p:cNvGrpSpPr/>
          <p:nvPr/>
        </p:nvGrpSpPr>
        <p:grpSpPr>
          <a:xfrm>
            <a:off x="512768" y="3599413"/>
            <a:ext cx="1771650" cy="2241498"/>
            <a:chOff x="512768" y="3599413"/>
            <a:chExt cx="1771650" cy="2241498"/>
          </a:xfrm>
        </p:grpSpPr>
        <p:sp>
          <p:nvSpPr>
            <p:cNvPr id="8" name="Arc 14">
              <a:extLst>
                <a:ext uri="{FF2B5EF4-FFF2-40B4-BE49-F238E27FC236}">
                  <a16:creationId xmlns:a16="http://schemas.microsoft.com/office/drawing/2014/main" id="{4FA68FE4-0B00-4350-A85B-E6855DD349D2}"/>
                </a:ext>
              </a:extLst>
            </p:cNvPr>
            <p:cNvSpPr>
              <a:spLocks/>
            </p:cNvSpPr>
            <p:nvPr>
              <p:custDataLst>
                <p:tags r:id="rId5"/>
              </p:custDataLst>
            </p:nvPr>
          </p:nvSpPr>
          <p:spPr bwMode="auto">
            <a:xfrm flipV="1">
              <a:off x="617543" y="3599413"/>
              <a:ext cx="1425942" cy="1549045"/>
            </a:xfrm>
            <a:custGeom>
              <a:avLst/>
              <a:gdLst>
                <a:gd name="T0" fmla="*/ 0 w 20509"/>
                <a:gd name="T1" fmla="*/ 0 h 21600"/>
                <a:gd name="T2" fmla="*/ 85470271 w 20509"/>
                <a:gd name="T3" fmla="*/ 65717841 h 21600"/>
                <a:gd name="T4" fmla="*/ 0 w 20509"/>
                <a:gd name="T5" fmla="*/ 95770136 h 21600"/>
                <a:gd name="T6" fmla="*/ 0 60000 65536"/>
                <a:gd name="T7" fmla="*/ 0 60000 65536"/>
                <a:gd name="T8" fmla="*/ 0 60000 65536"/>
                <a:gd name="T9" fmla="*/ 0 w 20509"/>
                <a:gd name="T10" fmla="*/ 0 h 21600"/>
                <a:gd name="T11" fmla="*/ 20509 w 20509"/>
                <a:gd name="T12" fmla="*/ 21600 h 21600"/>
              </a:gdLst>
              <a:ahLst/>
              <a:cxnLst>
                <a:cxn ang="T6">
                  <a:pos x="T0" y="T1"/>
                </a:cxn>
                <a:cxn ang="T7">
                  <a:pos x="T2" y="T3"/>
                </a:cxn>
                <a:cxn ang="T8">
                  <a:pos x="T4" y="T5"/>
                </a:cxn>
              </a:cxnLst>
              <a:rect l="T9" t="T10" r="T11" b="T12"/>
              <a:pathLst>
                <a:path w="20509" h="21600" fill="none" extrusionOk="0">
                  <a:moveTo>
                    <a:pt x="-1" y="0"/>
                  </a:moveTo>
                  <a:cubicBezTo>
                    <a:pt x="9317" y="0"/>
                    <a:pt x="17585" y="5974"/>
                    <a:pt x="20508" y="14822"/>
                  </a:cubicBezTo>
                </a:path>
                <a:path w="20509" h="21600" stroke="0" extrusionOk="0">
                  <a:moveTo>
                    <a:pt x="-1" y="0"/>
                  </a:moveTo>
                  <a:cubicBezTo>
                    <a:pt x="9317" y="0"/>
                    <a:pt x="17585" y="5974"/>
                    <a:pt x="20508" y="14822"/>
                  </a:cubicBezTo>
                  <a:lnTo>
                    <a:pt x="0" y="21600"/>
                  </a:lnTo>
                  <a:close/>
                </a:path>
              </a:pathLst>
            </a:custGeom>
            <a:noFill/>
            <a:ln w="25400">
              <a:solidFill>
                <a:srgbClr val="A100FF"/>
              </a:solidFill>
              <a:round/>
              <a:headEnd/>
              <a:tailEnd/>
            </a:ln>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9" name="Text Box 15">
              <a:extLst>
                <a:ext uri="{FF2B5EF4-FFF2-40B4-BE49-F238E27FC236}">
                  <a16:creationId xmlns:a16="http://schemas.microsoft.com/office/drawing/2014/main" id="{997CF4BD-EEC3-4329-BE0D-2EC811EFEE9E}"/>
                </a:ext>
              </a:extLst>
            </p:cNvPr>
            <p:cNvSpPr txBox="1">
              <a:spLocks noChangeArrowheads="1"/>
            </p:cNvSpPr>
            <p:nvPr>
              <p:custDataLst>
                <p:tags r:id="rId6"/>
              </p:custDataLst>
            </p:nvPr>
          </p:nvSpPr>
          <p:spPr bwMode="auto">
            <a:xfrm>
              <a:off x="530201" y="5343371"/>
              <a:ext cx="1754217" cy="497540"/>
            </a:xfrm>
            <a:prstGeom prst="rect">
              <a:avLst/>
            </a:prstGeom>
            <a:noFill/>
            <a:ln w="6350">
              <a:noFill/>
              <a:miter lim="800000"/>
              <a:headEnd/>
              <a:tailEnd/>
            </a:ln>
          </p:spPr>
          <p:txBody>
            <a:bodyPr lIns="0" rIns="45720"/>
            <a:lstStyle/>
            <a:p>
              <a:pPr marL="0" marR="0" lvl="0" indent="0" algn="l" defTabSz="914400" rtl="0" eaLnBrk="0" fontAlgn="auto" latinLnBrk="0" hangingPunct="0">
                <a:lnSpc>
                  <a:spcPct val="80000"/>
                </a:lnSpc>
                <a:spcBef>
                  <a:spcPct val="5000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Productivity</a:t>
              </a:r>
            </a:p>
          </p:txBody>
        </p:sp>
        <p:sp>
          <p:nvSpPr>
            <p:cNvPr id="21" name="Freeform: Shape 20">
              <a:extLst>
                <a:ext uri="{FF2B5EF4-FFF2-40B4-BE49-F238E27FC236}">
                  <a16:creationId xmlns:a16="http://schemas.microsoft.com/office/drawing/2014/main" id="{E522EE52-5ED9-49DF-BC27-510299D4B8EF}"/>
                </a:ext>
              </a:extLst>
            </p:cNvPr>
            <p:cNvSpPr/>
            <p:nvPr/>
          </p:nvSpPr>
          <p:spPr>
            <a:xfrm>
              <a:off x="512768" y="3909303"/>
              <a:ext cx="1771650" cy="1343025"/>
            </a:xfrm>
            <a:custGeom>
              <a:avLst/>
              <a:gdLst>
                <a:gd name="connsiteX0" fmla="*/ 0 w 1771650"/>
                <a:gd name="connsiteY0" fmla="*/ 0 h 1343025"/>
                <a:gd name="connsiteX1" fmla="*/ 0 w 1771650"/>
                <a:gd name="connsiteY1" fmla="*/ 1343025 h 1343025"/>
                <a:gd name="connsiteX2" fmla="*/ 1771650 w 1771650"/>
                <a:gd name="connsiteY2" fmla="*/ 1343025 h 1343025"/>
              </a:gdLst>
              <a:ahLst/>
              <a:cxnLst>
                <a:cxn ang="0">
                  <a:pos x="connsiteX0" y="connsiteY0"/>
                </a:cxn>
                <a:cxn ang="0">
                  <a:pos x="connsiteX1" y="connsiteY1"/>
                </a:cxn>
                <a:cxn ang="0">
                  <a:pos x="connsiteX2" y="connsiteY2"/>
                </a:cxn>
              </a:cxnLst>
              <a:rect l="l" t="t" r="r" b="b"/>
              <a:pathLst>
                <a:path w="1771650" h="1343025">
                  <a:moveTo>
                    <a:pt x="0" y="0"/>
                  </a:moveTo>
                  <a:lnTo>
                    <a:pt x="0" y="1343025"/>
                  </a:lnTo>
                  <a:lnTo>
                    <a:pt x="1771650" y="1343025"/>
                  </a:lnTo>
                </a:path>
              </a:pathLst>
            </a:custGeom>
            <a:noFill/>
            <a:ln w="9525" cap="flat" cmpd="sng" algn="ctr">
              <a:solidFill>
                <a:srgbClr val="96968C">
                  <a:lumMod val="60000"/>
                  <a:lumOff val="40000"/>
                </a:srgbClr>
              </a:solidFill>
              <a:prstDash val="solid"/>
              <a:headEnd type="triangle"/>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Arial"/>
                <a:ea typeface="+mn-ea"/>
                <a:cs typeface="+mn-cs"/>
              </a:endParaRPr>
            </a:p>
          </p:txBody>
        </p:sp>
      </p:grpSp>
      <p:grpSp>
        <p:nvGrpSpPr>
          <p:cNvPr id="26" name="Group 25" descr="Operating Costs">
            <a:extLst>
              <a:ext uri="{FF2B5EF4-FFF2-40B4-BE49-F238E27FC236}">
                <a16:creationId xmlns:a16="http://schemas.microsoft.com/office/drawing/2014/main" id="{15336918-B13D-48B3-B0B8-B662D29CF20F}"/>
              </a:ext>
            </a:extLst>
          </p:cNvPr>
          <p:cNvGrpSpPr/>
          <p:nvPr/>
        </p:nvGrpSpPr>
        <p:grpSpPr>
          <a:xfrm>
            <a:off x="3587221" y="3909303"/>
            <a:ext cx="1771650" cy="1931608"/>
            <a:chOff x="3587221" y="3909303"/>
            <a:chExt cx="1771650" cy="1931608"/>
          </a:xfrm>
        </p:grpSpPr>
        <p:sp>
          <p:nvSpPr>
            <p:cNvPr id="14" name="Text Box 29">
              <a:extLst>
                <a:ext uri="{FF2B5EF4-FFF2-40B4-BE49-F238E27FC236}">
                  <a16:creationId xmlns:a16="http://schemas.microsoft.com/office/drawing/2014/main" id="{2949DF43-5E4F-45A2-8EE7-6FE7C6E83145}"/>
                </a:ext>
              </a:extLst>
            </p:cNvPr>
            <p:cNvSpPr txBox="1">
              <a:spLocks noChangeArrowheads="1"/>
            </p:cNvSpPr>
            <p:nvPr>
              <p:custDataLst>
                <p:tags r:id="rId3"/>
              </p:custDataLst>
            </p:nvPr>
          </p:nvSpPr>
          <p:spPr bwMode="auto">
            <a:xfrm>
              <a:off x="3587221" y="5343371"/>
              <a:ext cx="1754217" cy="497540"/>
            </a:xfrm>
            <a:prstGeom prst="rect">
              <a:avLst/>
            </a:prstGeom>
            <a:noFill/>
            <a:ln w="6350">
              <a:noFill/>
              <a:miter lim="800000"/>
              <a:headEnd/>
              <a:tailEnd/>
            </a:ln>
          </p:spPr>
          <p:txBody>
            <a:bodyPr lIns="0" rIns="45720"/>
            <a:lstStyle/>
            <a:p>
              <a:pPr marL="0" marR="0" lvl="0" indent="0" algn="l" defTabSz="914400" rtl="0" eaLnBrk="0" fontAlgn="auto" latinLnBrk="0" hangingPunct="0">
                <a:lnSpc>
                  <a:spcPct val="80000"/>
                </a:lnSpc>
                <a:spcBef>
                  <a:spcPct val="5000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Operating cost</a:t>
              </a:r>
            </a:p>
          </p:txBody>
        </p:sp>
        <p:sp>
          <p:nvSpPr>
            <p:cNvPr id="15" name="Line 33">
              <a:extLst>
                <a:ext uri="{FF2B5EF4-FFF2-40B4-BE49-F238E27FC236}">
                  <a16:creationId xmlns:a16="http://schemas.microsoft.com/office/drawing/2014/main" id="{AAC3877D-3EAD-47E8-BCC9-9FD39E5863B9}"/>
                </a:ext>
              </a:extLst>
            </p:cNvPr>
            <p:cNvSpPr>
              <a:spLocks noChangeShapeType="1"/>
            </p:cNvSpPr>
            <p:nvPr>
              <p:custDataLst>
                <p:tags r:id="rId4"/>
              </p:custDataLst>
            </p:nvPr>
          </p:nvSpPr>
          <p:spPr bwMode="auto">
            <a:xfrm>
              <a:off x="3684378" y="4221766"/>
              <a:ext cx="1542206" cy="605256"/>
            </a:xfrm>
            <a:prstGeom prst="line">
              <a:avLst/>
            </a:prstGeom>
            <a:noFill/>
            <a:ln w="25400">
              <a:solidFill>
                <a:srgbClr val="A100FF"/>
              </a:solidFill>
              <a:round/>
              <a:headEnd/>
              <a:tailEnd/>
            </a:ln>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580410F5-EFC2-4EA7-BF22-4EC3DFE9E2B9}"/>
                </a:ext>
              </a:extLst>
            </p:cNvPr>
            <p:cNvSpPr/>
            <p:nvPr/>
          </p:nvSpPr>
          <p:spPr>
            <a:xfrm>
              <a:off x="3587221" y="3909303"/>
              <a:ext cx="1771650" cy="1343025"/>
            </a:xfrm>
            <a:custGeom>
              <a:avLst/>
              <a:gdLst>
                <a:gd name="connsiteX0" fmla="*/ 0 w 1771650"/>
                <a:gd name="connsiteY0" fmla="*/ 0 h 1343025"/>
                <a:gd name="connsiteX1" fmla="*/ 0 w 1771650"/>
                <a:gd name="connsiteY1" fmla="*/ 1343025 h 1343025"/>
                <a:gd name="connsiteX2" fmla="*/ 1771650 w 1771650"/>
                <a:gd name="connsiteY2" fmla="*/ 1343025 h 1343025"/>
              </a:gdLst>
              <a:ahLst/>
              <a:cxnLst>
                <a:cxn ang="0">
                  <a:pos x="connsiteX0" y="connsiteY0"/>
                </a:cxn>
                <a:cxn ang="0">
                  <a:pos x="connsiteX1" y="connsiteY1"/>
                </a:cxn>
                <a:cxn ang="0">
                  <a:pos x="connsiteX2" y="connsiteY2"/>
                </a:cxn>
              </a:cxnLst>
              <a:rect l="l" t="t" r="r" b="b"/>
              <a:pathLst>
                <a:path w="1771650" h="1343025">
                  <a:moveTo>
                    <a:pt x="0" y="0"/>
                  </a:moveTo>
                  <a:lnTo>
                    <a:pt x="0" y="1343025"/>
                  </a:lnTo>
                  <a:lnTo>
                    <a:pt x="1771650" y="1343025"/>
                  </a:lnTo>
                </a:path>
              </a:pathLst>
            </a:custGeom>
            <a:noFill/>
            <a:ln w="9525" cap="flat" cmpd="sng" algn="ctr">
              <a:solidFill>
                <a:srgbClr val="96968C">
                  <a:lumMod val="60000"/>
                  <a:lumOff val="40000"/>
                </a:srgbClr>
              </a:solidFill>
              <a:prstDash val="solid"/>
              <a:headEnd type="triangle"/>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Arial"/>
                <a:ea typeface="+mn-ea"/>
                <a:cs typeface="+mn-cs"/>
              </a:endParaRPr>
            </a:p>
          </p:txBody>
        </p:sp>
      </p:grpSp>
      <p:grpSp>
        <p:nvGrpSpPr>
          <p:cNvPr id="25" name="Group 24" descr="Error Date">
            <a:extLst>
              <a:ext uri="{FF2B5EF4-FFF2-40B4-BE49-F238E27FC236}">
                <a16:creationId xmlns:a16="http://schemas.microsoft.com/office/drawing/2014/main" id="{A8EED341-98C1-4936-A3C2-855C652F8D8B}"/>
              </a:ext>
            </a:extLst>
          </p:cNvPr>
          <p:cNvGrpSpPr/>
          <p:nvPr/>
        </p:nvGrpSpPr>
        <p:grpSpPr>
          <a:xfrm>
            <a:off x="6847440" y="3909303"/>
            <a:ext cx="1793875" cy="2034194"/>
            <a:chOff x="6847440" y="3909303"/>
            <a:chExt cx="1793875" cy="2034194"/>
          </a:xfrm>
        </p:grpSpPr>
        <p:sp>
          <p:nvSpPr>
            <p:cNvPr id="12" name="Arc 24">
              <a:extLst>
                <a:ext uri="{FF2B5EF4-FFF2-40B4-BE49-F238E27FC236}">
                  <a16:creationId xmlns:a16="http://schemas.microsoft.com/office/drawing/2014/main" id="{BF35554F-F5D2-4D07-B6B7-3CAADF189C36}"/>
                </a:ext>
              </a:extLst>
            </p:cNvPr>
            <p:cNvSpPr>
              <a:spLocks/>
            </p:cNvSpPr>
            <p:nvPr>
              <p:custDataLst>
                <p:tags r:id="rId1"/>
              </p:custDataLst>
            </p:nvPr>
          </p:nvSpPr>
          <p:spPr bwMode="auto">
            <a:xfrm>
              <a:off x="6949043" y="4228605"/>
              <a:ext cx="1386617" cy="1714892"/>
            </a:xfrm>
            <a:custGeom>
              <a:avLst/>
              <a:gdLst>
                <a:gd name="T0" fmla="*/ 0 w 17492"/>
                <a:gd name="T1" fmla="*/ 0 h 21600"/>
                <a:gd name="T2" fmla="*/ 94760937 w 17492"/>
                <a:gd name="T3" fmla="*/ 48509516 h 21600"/>
                <a:gd name="T4" fmla="*/ 0 w 17492"/>
                <a:gd name="T5" fmla="*/ 117374915 h 21600"/>
                <a:gd name="T6" fmla="*/ 0 60000 65536"/>
                <a:gd name="T7" fmla="*/ 0 60000 65536"/>
                <a:gd name="T8" fmla="*/ 0 60000 65536"/>
                <a:gd name="T9" fmla="*/ 0 w 17492"/>
                <a:gd name="T10" fmla="*/ 0 h 21600"/>
                <a:gd name="T11" fmla="*/ 17492 w 17492"/>
                <a:gd name="T12" fmla="*/ 21600 h 21600"/>
              </a:gdLst>
              <a:ahLst/>
              <a:cxnLst>
                <a:cxn ang="T6">
                  <a:pos x="T0" y="T1"/>
                </a:cxn>
                <a:cxn ang="T7">
                  <a:pos x="T2" y="T3"/>
                </a:cxn>
                <a:cxn ang="T8">
                  <a:pos x="T4" y="T5"/>
                </a:cxn>
              </a:cxnLst>
              <a:rect l="T9" t="T10" r="T11" b="T12"/>
              <a:pathLst>
                <a:path w="17492" h="21600" fill="none" extrusionOk="0">
                  <a:moveTo>
                    <a:pt x="-1" y="0"/>
                  </a:moveTo>
                  <a:cubicBezTo>
                    <a:pt x="6924" y="0"/>
                    <a:pt x="13429" y="3319"/>
                    <a:pt x="17491" y="8927"/>
                  </a:cubicBezTo>
                </a:path>
                <a:path w="17492" h="21600" stroke="0" extrusionOk="0">
                  <a:moveTo>
                    <a:pt x="-1" y="0"/>
                  </a:moveTo>
                  <a:cubicBezTo>
                    <a:pt x="6924" y="0"/>
                    <a:pt x="13429" y="3319"/>
                    <a:pt x="17491" y="8927"/>
                  </a:cubicBezTo>
                  <a:lnTo>
                    <a:pt x="0" y="21600"/>
                  </a:lnTo>
                  <a:close/>
                </a:path>
              </a:pathLst>
            </a:custGeom>
            <a:noFill/>
            <a:ln w="25400">
              <a:solidFill>
                <a:srgbClr val="A100FF"/>
              </a:solidFill>
              <a:round/>
              <a:headEnd/>
              <a:tailEnd/>
            </a:ln>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a typeface="+mn-ea"/>
                <a:cs typeface="+mn-cs"/>
              </a:endParaRPr>
            </a:p>
          </p:txBody>
        </p:sp>
        <p:sp>
          <p:nvSpPr>
            <p:cNvPr id="13" name="Text Box 25">
              <a:extLst>
                <a:ext uri="{FF2B5EF4-FFF2-40B4-BE49-F238E27FC236}">
                  <a16:creationId xmlns:a16="http://schemas.microsoft.com/office/drawing/2014/main" id="{C3808D3B-5503-4DF8-ABED-F7C7013DC5B1}"/>
                </a:ext>
              </a:extLst>
            </p:cNvPr>
            <p:cNvSpPr txBox="1">
              <a:spLocks noChangeArrowheads="1"/>
            </p:cNvSpPr>
            <p:nvPr>
              <p:custDataLst>
                <p:tags r:id="rId2"/>
              </p:custDataLst>
            </p:nvPr>
          </p:nvSpPr>
          <p:spPr bwMode="auto">
            <a:xfrm>
              <a:off x="6847440" y="5343371"/>
              <a:ext cx="1754217" cy="497540"/>
            </a:xfrm>
            <a:prstGeom prst="rect">
              <a:avLst/>
            </a:prstGeom>
            <a:noFill/>
            <a:ln w="6350">
              <a:noFill/>
              <a:miter lim="800000"/>
              <a:headEnd/>
              <a:tailEnd/>
            </a:ln>
          </p:spPr>
          <p:txBody>
            <a:bodyPr lIns="0" rIns="45720"/>
            <a:lstStyle/>
            <a:p>
              <a:pPr marL="0" marR="0" lvl="0" indent="0" algn="l" defTabSz="914400" rtl="0" eaLnBrk="0" fontAlgn="auto" latinLnBrk="0" hangingPunct="0">
                <a:lnSpc>
                  <a:spcPct val="80000"/>
                </a:lnSpc>
                <a:spcBef>
                  <a:spcPct val="5000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Error rate</a:t>
              </a:r>
            </a:p>
          </p:txBody>
        </p:sp>
        <p:sp>
          <p:nvSpPr>
            <p:cNvPr id="19" name="Freeform: Shape 18">
              <a:extLst>
                <a:ext uri="{FF2B5EF4-FFF2-40B4-BE49-F238E27FC236}">
                  <a16:creationId xmlns:a16="http://schemas.microsoft.com/office/drawing/2014/main" id="{00EDF099-040D-47B0-85A1-82A598B47A22}"/>
                </a:ext>
              </a:extLst>
            </p:cNvPr>
            <p:cNvSpPr/>
            <p:nvPr/>
          </p:nvSpPr>
          <p:spPr>
            <a:xfrm>
              <a:off x="6869665" y="3909303"/>
              <a:ext cx="1771650" cy="1343025"/>
            </a:xfrm>
            <a:custGeom>
              <a:avLst/>
              <a:gdLst>
                <a:gd name="connsiteX0" fmla="*/ 0 w 1771650"/>
                <a:gd name="connsiteY0" fmla="*/ 0 h 1343025"/>
                <a:gd name="connsiteX1" fmla="*/ 0 w 1771650"/>
                <a:gd name="connsiteY1" fmla="*/ 1343025 h 1343025"/>
                <a:gd name="connsiteX2" fmla="*/ 1771650 w 1771650"/>
                <a:gd name="connsiteY2" fmla="*/ 1343025 h 1343025"/>
              </a:gdLst>
              <a:ahLst/>
              <a:cxnLst>
                <a:cxn ang="0">
                  <a:pos x="connsiteX0" y="connsiteY0"/>
                </a:cxn>
                <a:cxn ang="0">
                  <a:pos x="connsiteX1" y="connsiteY1"/>
                </a:cxn>
                <a:cxn ang="0">
                  <a:pos x="connsiteX2" y="connsiteY2"/>
                </a:cxn>
              </a:cxnLst>
              <a:rect l="l" t="t" r="r" b="b"/>
              <a:pathLst>
                <a:path w="1771650" h="1343025">
                  <a:moveTo>
                    <a:pt x="0" y="0"/>
                  </a:moveTo>
                  <a:lnTo>
                    <a:pt x="0" y="1343025"/>
                  </a:lnTo>
                  <a:lnTo>
                    <a:pt x="1771650" y="1343025"/>
                  </a:lnTo>
                </a:path>
              </a:pathLst>
            </a:custGeom>
            <a:noFill/>
            <a:ln w="9525" cap="flat" cmpd="sng" algn="ctr">
              <a:solidFill>
                <a:srgbClr val="96968C">
                  <a:lumMod val="60000"/>
                  <a:lumOff val="40000"/>
                </a:srgbClr>
              </a:solidFill>
              <a:prstDash val="solid"/>
              <a:headEnd type="triangle"/>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Arial"/>
                <a:ea typeface="+mn-ea"/>
                <a:cs typeface="+mn-cs"/>
              </a:endParaRPr>
            </a:p>
          </p:txBody>
        </p:sp>
      </p:grpSp>
      <p:sp>
        <p:nvSpPr>
          <p:cNvPr id="23" name="Footer Placeholder 22">
            <a:extLst>
              <a:ext uri="{FF2B5EF4-FFF2-40B4-BE49-F238E27FC236}">
                <a16:creationId xmlns:a16="http://schemas.microsoft.com/office/drawing/2014/main" id="{83373213-BDAB-4470-8EE8-82EF908D3BE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4" name="Slide Number Placeholder 23">
            <a:extLst>
              <a:ext uri="{FF2B5EF4-FFF2-40B4-BE49-F238E27FC236}">
                <a16:creationId xmlns:a16="http://schemas.microsoft.com/office/drawing/2014/main" id="{00F2A05B-04EC-4B74-A900-13B91FE5FA71}"/>
              </a:ext>
            </a:extLst>
          </p:cNvPr>
          <p:cNvSpPr>
            <a:spLocks noGrp="1"/>
          </p:cNvSpPr>
          <p:nvPr>
            <p:ph type="sldNum" sz="quarter" idx="10"/>
          </p:nvPr>
        </p:nvSpPr>
        <p:spPr/>
        <p:txBody>
          <a:bodyPr/>
          <a:lstStyle/>
          <a:p>
            <a:fld id="{1F90F471-3972-4120-B8B3-0237DE626C35}" type="slidenum">
              <a:rPr lang="en-US" smtClean="0"/>
              <a:pPr/>
              <a:t>434</a:t>
            </a:fld>
            <a:endParaRPr lang="en-US" dirty="0"/>
          </a:p>
        </p:txBody>
      </p:sp>
    </p:spTree>
    <p:extLst>
      <p:ext uri="{BB962C8B-B14F-4D97-AF65-F5344CB8AC3E}">
        <p14:creationId xmlns:p14="http://schemas.microsoft.com/office/powerpoint/2010/main" val="2736093627"/>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Frameworks: “Hockey Stick”</a:t>
            </a:r>
          </a:p>
        </p:txBody>
      </p:sp>
      <p:grpSp>
        <p:nvGrpSpPr>
          <p:cNvPr id="20" name="Group 19" descr="Hockey Stick">
            <a:extLst>
              <a:ext uri="{FF2B5EF4-FFF2-40B4-BE49-F238E27FC236}">
                <a16:creationId xmlns:a16="http://schemas.microsoft.com/office/drawing/2014/main" id="{AD82686C-FDE7-4621-881E-25CD7A45247A}"/>
              </a:ext>
            </a:extLst>
          </p:cNvPr>
          <p:cNvGrpSpPr/>
          <p:nvPr/>
        </p:nvGrpSpPr>
        <p:grpSpPr bwMode="auto">
          <a:xfrm>
            <a:off x="449895" y="1619250"/>
            <a:ext cx="8188476" cy="4068477"/>
            <a:chOff x="990600" y="2095500"/>
            <a:chExt cx="7064375" cy="3509963"/>
          </a:xfrm>
        </p:grpSpPr>
        <p:sp>
          <p:nvSpPr>
            <p:cNvPr id="21" name="Freeform 3">
              <a:extLst>
                <a:ext uri="{FF2B5EF4-FFF2-40B4-BE49-F238E27FC236}">
                  <a16:creationId xmlns:a16="http://schemas.microsoft.com/office/drawing/2014/main" id="{2238B68D-B41E-460A-87AD-8DB91E009DAE}"/>
                </a:ext>
              </a:extLst>
            </p:cNvPr>
            <p:cNvSpPr>
              <a:spLocks/>
            </p:cNvSpPr>
            <p:nvPr/>
          </p:nvSpPr>
          <p:spPr bwMode="auto">
            <a:xfrm>
              <a:off x="4698556" y="2229929"/>
              <a:ext cx="2386345" cy="1777583"/>
            </a:xfrm>
            <a:custGeom>
              <a:avLst/>
              <a:gdLst>
                <a:gd name="connsiteX0" fmla="*/ 0 w 10096"/>
                <a:gd name="connsiteY0" fmla="*/ 10000 h 10000"/>
                <a:gd name="connsiteX1" fmla="*/ 10096 w 10096"/>
                <a:gd name="connsiteY1" fmla="*/ 0 h 10000"/>
                <a:gd name="connsiteX2" fmla="*/ 10021 w 10096"/>
                <a:gd name="connsiteY2" fmla="*/ 10000 h 10000"/>
                <a:gd name="connsiteX3" fmla="*/ 0 w 10096"/>
                <a:gd name="connsiteY3" fmla="*/ 10000 h 10000"/>
                <a:gd name="connsiteX0" fmla="*/ 0 w 10077"/>
                <a:gd name="connsiteY0" fmla="*/ 10077 h 10077"/>
                <a:gd name="connsiteX1" fmla="*/ 10077 w 10077"/>
                <a:gd name="connsiteY1" fmla="*/ 0 h 10077"/>
                <a:gd name="connsiteX2" fmla="*/ 10021 w 10077"/>
                <a:gd name="connsiteY2" fmla="*/ 10077 h 10077"/>
                <a:gd name="connsiteX3" fmla="*/ 0 w 10077"/>
                <a:gd name="connsiteY3" fmla="*/ 10077 h 10077"/>
              </a:gdLst>
              <a:ahLst/>
              <a:cxnLst>
                <a:cxn ang="0">
                  <a:pos x="connsiteX0" y="connsiteY0"/>
                </a:cxn>
                <a:cxn ang="0">
                  <a:pos x="connsiteX1" y="connsiteY1"/>
                </a:cxn>
                <a:cxn ang="0">
                  <a:pos x="connsiteX2" y="connsiteY2"/>
                </a:cxn>
                <a:cxn ang="0">
                  <a:pos x="connsiteX3" y="connsiteY3"/>
                </a:cxn>
              </a:cxnLst>
              <a:rect l="l" t="t" r="r" b="b"/>
              <a:pathLst>
                <a:path w="10077" h="10077">
                  <a:moveTo>
                    <a:pt x="0" y="10077"/>
                  </a:moveTo>
                  <a:lnTo>
                    <a:pt x="10077" y="0"/>
                  </a:lnTo>
                  <a:cubicBezTo>
                    <a:pt x="10052" y="3333"/>
                    <a:pt x="10046" y="6744"/>
                    <a:pt x="10021" y="10077"/>
                  </a:cubicBezTo>
                  <a:lnTo>
                    <a:pt x="0" y="10077"/>
                  </a:lnTo>
                  <a:close/>
                </a:path>
              </a:pathLst>
            </a:custGeom>
            <a:solidFill>
              <a:schemeClr val="accent6"/>
            </a:solidFill>
            <a:ln w="9525" cap="flat" cmpd="sng">
              <a:noFill/>
              <a:prstDash val="solid"/>
              <a:round/>
              <a:headEnd/>
              <a:tailEnd/>
            </a:ln>
            <a:effectLst/>
          </p:spPr>
          <p:txBody>
            <a:bodyPr wrap="none" lIns="90000" tIns="46800" rIns="90000" bIns="46800" anchor="ctr"/>
            <a:lstStyle/>
            <a:p>
              <a:endParaRPr lang="en-US" sz="1400"/>
            </a:p>
          </p:txBody>
        </p:sp>
        <p:sp>
          <p:nvSpPr>
            <p:cNvPr id="22" name="Freeform 2">
              <a:extLst>
                <a:ext uri="{FF2B5EF4-FFF2-40B4-BE49-F238E27FC236}">
                  <a16:creationId xmlns:a16="http://schemas.microsoft.com/office/drawing/2014/main" id="{24FFA85C-81E9-4712-AD9E-13841CCFD1CF}"/>
                </a:ext>
              </a:extLst>
            </p:cNvPr>
            <p:cNvSpPr>
              <a:spLocks/>
            </p:cNvSpPr>
            <p:nvPr/>
          </p:nvSpPr>
          <p:spPr bwMode="auto">
            <a:xfrm>
              <a:off x="1762125" y="3990975"/>
              <a:ext cx="2924175" cy="689665"/>
            </a:xfrm>
            <a:custGeom>
              <a:avLst/>
              <a:gdLst>
                <a:gd name="connsiteX0" fmla="*/ 0 w 10000"/>
                <a:gd name="connsiteY0" fmla="*/ 0 h 10000"/>
                <a:gd name="connsiteX1" fmla="*/ 10000 w 10000"/>
                <a:gd name="connsiteY1" fmla="*/ 211 h 10000"/>
                <a:gd name="connsiteX2" fmla="*/ 8360 w 10000"/>
                <a:gd name="connsiteY2" fmla="*/ 4859 h 10000"/>
                <a:gd name="connsiteX3" fmla="*/ 6992 w 10000"/>
                <a:gd name="connsiteY3" fmla="*/ 7817 h 10000"/>
                <a:gd name="connsiteX4" fmla="*/ 5880 w 10000"/>
                <a:gd name="connsiteY4" fmla="*/ 9732 h 10000"/>
                <a:gd name="connsiteX5" fmla="*/ 4609 w 10000"/>
                <a:gd name="connsiteY5" fmla="*/ 10000 h 10000"/>
                <a:gd name="connsiteX6" fmla="*/ 3355 w 10000"/>
                <a:gd name="connsiteY6" fmla="*/ 9108 h 10000"/>
                <a:gd name="connsiteX7" fmla="*/ 2134 w 10000"/>
                <a:gd name="connsiteY7" fmla="*/ 6408 h 10000"/>
                <a:gd name="connsiteX8" fmla="*/ 1270 w 10000"/>
                <a:gd name="connsiteY8" fmla="*/ 3967 h 10000"/>
                <a:gd name="connsiteX9" fmla="*/ 0 w 10000"/>
                <a:gd name="connsiteY9" fmla="*/ 0 h 10000"/>
                <a:gd name="connsiteX0" fmla="*/ 0 w 10000"/>
                <a:gd name="connsiteY0" fmla="*/ 0 h 10198"/>
                <a:gd name="connsiteX1" fmla="*/ 10000 w 10000"/>
                <a:gd name="connsiteY1" fmla="*/ 211 h 10198"/>
                <a:gd name="connsiteX2" fmla="*/ 8360 w 10000"/>
                <a:gd name="connsiteY2" fmla="*/ 4859 h 10198"/>
                <a:gd name="connsiteX3" fmla="*/ 6992 w 10000"/>
                <a:gd name="connsiteY3" fmla="*/ 7817 h 10198"/>
                <a:gd name="connsiteX4" fmla="*/ 5880 w 10000"/>
                <a:gd name="connsiteY4" fmla="*/ 9732 h 10198"/>
                <a:gd name="connsiteX5" fmla="*/ 4934 w 10000"/>
                <a:gd name="connsiteY5" fmla="*/ 10198 h 10198"/>
                <a:gd name="connsiteX6" fmla="*/ 4609 w 10000"/>
                <a:gd name="connsiteY6" fmla="*/ 10000 h 10198"/>
                <a:gd name="connsiteX7" fmla="*/ 3355 w 10000"/>
                <a:gd name="connsiteY7" fmla="*/ 9108 h 10198"/>
                <a:gd name="connsiteX8" fmla="*/ 2134 w 10000"/>
                <a:gd name="connsiteY8" fmla="*/ 6408 h 10198"/>
                <a:gd name="connsiteX9" fmla="*/ 1270 w 10000"/>
                <a:gd name="connsiteY9" fmla="*/ 3967 h 10198"/>
                <a:gd name="connsiteX10" fmla="*/ 0 w 10000"/>
                <a:gd name="connsiteY10" fmla="*/ 0 h 10198"/>
                <a:gd name="connsiteX0" fmla="*/ 0 w 10000"/>
                <a:gd name="connsiteY0" fmla="*/ 0 h 10198"/>
                <a:gd name="connsiteX1" fmla="*/ 10000 w 10000"/>
                <a:gd name="connsiteY1" fmla="*/ 211 h 10198"/>
                <a:gd name="connsiteX2" fmla="*/ 8360 w 10000"/>
                <a:gd name="connsiteY2" fmla="*/ 4859 h 10198"/>
                <a:gd name="connsiteX3" fmla="*/ 6992 w 10000"/>
                <a:gd name="connsiteY3" fmla="*/ 7817 h 10198"/>
                <a:gd name="connsiteX4" fmla="*/ 5880 w 10000"/>
                <a:gd name="connsiteY4" fmla="*/ 9732 h 10198"/>
                <a:gd name="connsiteX5" fmla="*/ 4934 w 10000"/>
                <a:gd name="connsiteY5" fmla="*/ 10198 h 10198"/>
                <a:gd name="connsiteX6" fmla="*/ 4609 w 10000"/>
                <a:gd name="connsiteY6" fmla="*/ 10000 h 10198"/>
                <a:gd name="connsiteX7" fmla="*/ 3355 w 10000"/>
                <a:gd name="connsiteY7" fmla="*/ 9108 h 10198"/>
                <a:gd name="connsiteX8" fmla="*/ 2134 w 10000"/>
                <a:gd name="connsiteY8" fmla="*/ 6408 h 10198"/>
                <a:gd name="connsiteX9" fmla="*/ 1224 w 10000"/>
                <a:gd name="connsiteY9" fmla="*/ 3632 h 10198"/>
                <a:gd name="connsiteX10" fmla="*/ 0 w 10000"/>
                <a:gd name="connsiteY10" fmla="*/ 0 h 10198"/>
                <a:gd name="connsiteX0" fmla="*/ 0 w 10000"/>
                <a:gd name="connsiteY0" fmla="*/ 0 h 10198"/>
                <a:gd name="connsiteX1" fmla="*/ 10000 w 10000"/>
                <a:gd name="connsiteY1" fmla="*/ 211 h 10198"/>
                <a:gd name="connsiteX2" fmla="*/ 8360 w 10000"/>
                <a:gd name="connsiteY2" fmla="*/ 4859 h 10198"/>
                <a:gd name="connsiteX3" fmla="*/ 6992 w 10000"/>
                <a:gd name="connsiteY3" fmla="*/ 7817 h 10198"/>
                <a:gd name="connsiteX4" fmla="*/ 5880 w 10000"/>
                <a:gd name="connsiteY4" fmla="*/ 9732 h 10198"/>
                <a:gd name="connsiteX5" fmla="*/ 4934 w 10000"/>
                <a:gd name="connsiteY5" fmla="*/ 10198 h 10198"/>
                <a:gd name="connsiteX6" fmla="*/ 4609 w 10000"/>
                <a:gd name="connsiteY6" fmla="*/ 10000 h 10198"/>
                <a:gd name="connsiteX7" fmla="*/ 3324 w 10000"/>
                <a:gd name="connsiteY7" fmla="*/ 8974 h 10198"/>
                <a:gd name="connsiteX8" fmla="*/ 2134 w 10000"/>
                <a:gd name="connsiteY8" fmla="*/ 6408 h 10198"/>
                <a:gd name="connsiteX9" fmla="*/ 1224 w 10000"/>
                <a:gd name="connsiteY9" fmla="*/ 3632 h 10198"/>
                <a:gd name="connsiteX10" fmla="*/ 0 w 10000"/>
                <a:gd name="connsiteY10" fmla="*/ 0 h 10198"/>
                <a:gd name="connsiteX0" fmla="*/ 0 w 10000"/>
                <a:gd name="connsiteY0" fmla="*/ 0 h 10198"/>
                <a:gd name="connsiteX1" fmla="*/ 10000 w 10000"/>
                <a:gd name="connsiteY1" fmla="*/ 211 h 10198"/>
                <a:gd name="connsiteX2" fmla="*/ 8360 w 10000"/>
                <a:gd name="connsiteY2" fmla="*/ 4859 h 10198"/>
                <a:gd name="connsiteX3" fmla="*/ 6992 w 10000"/>
                <a:gd name="connsiteY3" fmla="*/ 7817 h 10198"/>
                <a:gd name="connsiteX4" fmla="*/ 5880 w 10000"/>
                <a:gd name="connsiteY4" fmla="*/ 9732 h 10198"/>
                <a:gd name="connsiteX5" fmla="*/ 4934 w 10000"/>
                <a:gd name="connsiteY5" fmla="*/ 10198 h 10198"/>
                <a:gd name="connsiteX6" fmla="*/ 4609 w 10000"/>
                <a:gd name="connsiteY6" fmla="*/ 10000 h 10198"/>
                <a:gd name="connsiteX7" fmla="*/ 3324 w 10000"/>
                <a:gd name="connsiteY7" fmla="*/ 8840 h 10198"/>
                <a:gd name="connsiteX8" fmla="*/ 2134 w 10000"/>
                <a:gd name="connsiteY8" fmla="*/ 6408 h 10198"/>
                <a:gd name="connsiteX9" fmla="*/ 1224 w 10000"/>
                <a:gd name="connsiteY9" fmla="*/ 3632 h 10198"/>
                <a:gd name="connsiteX10" fmla="*/ 0 w 10000"/>
                <a:gd name="connsiteY10" fmla="*/ 0 h 10198"/>
                <a:gd name="connsiteX0" fmla="*/ 0 w 10000"/>
                <a:gd name="connsiteY0" fmla="*/ 0 h 10198"/>
                <a:gd name="connsiteX1" fmla="*/ 10000 w 10000"/>
                <a:gd name="connsiteY1" fmla="*/ 211 h 10198"/>
                <a:gd name="connsiteX2" fmla="*/ 8360 w 10000"/>
                <a:gd name="connsiteY2" fmla="*/ 4859 h 10198"/>
                <a:gd name="connsiteX3" fmla="*/ 6992 w 10000"/>
                <a:gd name="connsiteY3" fmla="*/ 7817 h 10198"/>
                <a:gd name="connsiteX4" fmla="*/ 5880 w 10000"/>
                <a:gd name="connsiteY4" fmla="*/ 9732 h 10198"/>
                <a:gd name="connsiteX5" fmla="*/ 4934 w 10000"/>
                <a:gd name="connsiteY5" fmla="*/ 10198 h 10198"/>
                <a:gd name="connsiteX6" fmla="*/ 4609 w 10000"/>
                <a:gd name="connsiteY6" fmla="*/ 10000 h 10198"/>
                <a:gd name="connsiteX7" fmla="*/ 3990 w 10000"/>
                <a:gd name="connsiteY7" fmla="*/ 9796 h 10198"/>
                <a:gd name="connsiteX8" fmla="*/ 3324 w 10000"/>
                <a:gd name="connsiteY8" fmla="*/ 8840 h 10198"/>
                <a:gd name="connsiteX9" fmla="*/ 2134 w 10000"/>
                <a:gd name="connsiteY9" fmla="*/ 6408 h 10198"/>
                <a:gd name="connsiteX10" fmla="*/ 1224 w 10000"/>
                <a:gd name="connsiteY10" fmla="*/ 3632 h 10198"/>
                <a:gd name="connsiteX11" fmla="*/ 0 w 10000"/>
                <a:gd name="connsiteY11" fmla="*/ 0 h 10198"/>
                <a:gd name="connsiteX0" fmla="*/ 0 w 10000"/>
                <a:gd name="connsiteY0" fmla="*/ 0 h 10198"/>
                <a:gd name="connsiteX1" fmla="*/ 10000 w 10000"/>
                <a:gd name="connsiteY1" fmla="*/ 211 h 10198"/>
                <a:gd name="connsiteX2" fmla="*/ 8360 w 10000"/>
                <a:gd name="connsiteY2" fmla="*/ 4859 h 10198"/>
                <a:gd name="connsiteX3" fmla="*/ 6992 w 10000"/>
                <a:gd name="connsiteY3" fmla="*/ 7817 h 10198"/>
                <a:gd name="connsiteX4" fmla="*/ 6529 w 10000"/>
                <a:gd name="connsiteY4" fmla="*/ 8792 h 10198"/>
                <a:gd name="connsiteX5" fmla="*/ 5880 w 10000"/>
                <a:gd name="connsiteY5" fmla="*/ 9732 h 10198"/>
                <a:gd name="connsiteX6" fmla="*/ 4934 w 10000"/>
                <a:gd name="connsiteY6" fmla="*/ 10198 h 10198"/>
                <a:gd name="connsiteX7" fmla="*/ 4609 w 10000"/>
                <a:gd name="connsiteY7" fmla="*/ 10000 h 10198"/>
                <a:gd name="connsiteX8" fmla="*/ 3990 w 10000"/>
                <a:gd name="connsiteY8" fmla="*/ 9796 h 10198"/>
                <a:gd name="connsiteX9" fmla="*/ 3324 w 10000"/>
                <a:gd name="connsiteY9" fmla="*/ 8840 h 10198"/>
                <a:gd name="connsiteX10" fmla="*/ 2134 w 10000"/>
                <a:gd name="connsiteY10" fmla="*/ 6408 h 10198"/>
                <a:gd name="connsiteX11" fmla="*/ 1224 w 10000"/>
                <a:gd name="connsiteY11" fmla="*/ 3632 h 10198"/>
                <a:gd name="connsiteX12" fmla="*/ 0 w 10000"/>
                <a:gd name="connsiteY12" fmla="*/ 0 h 10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198">
                  <a:moveTo>
                    <a:pt x="0" y="0"/>
                  </a:moveTo>
                  <a:lnTo>
                    <a:pt x="10000" y="211"/>
                  </a:lnTo>
                  <a:lnTo>
                    <a:pt x="8360" y="4859"/>
                  </a:lnTo>
                  <a:lnTo>
                    <a:pt x="6992" y="7817"/>
                  </a:lnTo>
                  <a:cubicBezTo>
                    <a:pt x="6838" y="8097"/>
                    <a:pt x="6683" y="8512"/>
                    <a:pt x="6529" y="8792"/>
                  </a:cubicBezTo>
                  <a:lnTo>
                    <a:pt x="5880" y="9732"/>
                  </a:lnTo>
                  <a:cubicBezTo>
                    <a:pt x="5611" y="9776"/>
                    <a:pt x="5203" y="10154"/>
                    <a:pt x="4934" y="10198"/>
                  </a:cubicBezTo>
                  <a:lnTo>
                    <a:pt x="4609" y="10000"/>
                  </a:lnTo>
                  <a:cubicBezTo>
                    <a:pt x="4444" y="9865"/>
                    <a:pt x="4155" y="9931"/>
                    <a:pt x="3990" y="9796"/>
                  </a:cubicBezTo>
                  <a:lnTo>
                    <a:pt x="3324" y="8840"/>
                  </a:lnTo>
                  <a:lnTo>
                    <a:pt x="2134" y="6408"/>
                  </a:lnTo>
                  <a:lnTo>
                    <a:pt x="1224" y="3632"/>
                  </a:lnTo>
                  <a:lnTo>
                    <a:pt x="0" y="0"/>
                  </a:lnTo>
                  <a:close/>
                </a:path>
              </a:pathLst>
            </a:custGeom>
            <a:solidFill>
              <a:schemeClr val="accent1"/>
            </a:solidFill>
            <a:ln w="9525" cap="flat" cmpd="sng">
              <a:noFill/>
              <a:prstDash val="solid"/>
              <a:round/>
              <a:headEnd/>
              <a:tailEnd/>
            </a:ln>
            <a:effectLst/>
          </p:spPr>
          <p:txBody>
            <a:bodyPr wrap="none" lIns="90000" tIns="46800" rIns="90000" bIns="46800" anchor="ctr"/>
            <a:lstStyle/>
            <a:p>
              <a:endParaRPr lang="en-US" sz="1400"/>
            </a:p>
          </p:txBody>
        </p:sp>
        <p:sp>
          <p:nvSpPr>
            <p:cNvPr id="23" name="Line 5">
              <a:extLst>
                <a:ext uri="{FF2B5EF4-FFF2-40B4-BE49-F238E27FC236}">
                  <a16:creationId xmlns:a16="http://schemas.microsoft.com/office/drawing/2014/main" id="{488DD7CF-E5BB-48DC-8357-6430045F5731}"/>
                </a:ext>
              </a:extLst>
            </p:cNvPr>
            <p:cNvSpPr>
              <a:spLocks noChangeShapeType="1"/>
            </p:cNvSpPr>
            <p:nvPr/>
          </p:nvSpPr>
          <p:spPr bwMode="auto">
            <a:xfrm flipV="1">
              <a:off x="1130300" y="3990975"/>
              <a:ext cx="0" cy="701675"/>
            </a:xfrm>
            <a:prstGeom prst="line">
              <a:avLst/>
            </a:prstGeom>
            <a:noFill/>
            <a:ln w="6350">
              <a:solidFill>
                <a:schemeClr val="accent2"/>
              </a:solidFill>
              <a:round/>
              <a:headEnd type="triangle" w="med" len="med"/>
              <a:tailEnd type="triangle" w="med" len="med"/>
            </a:ln>
            <a:effectLst/>
          </p:spPr>
          <p:txBody>
            <a:bodyPr lIns="45720" rIns="45720"/>
            <a:lstStyle/>
            <a:p>
              <a:endParaRPr lang="en-US" sz="1400"/>
            </a:p>
          </p:txBody>
        </p:sp>
        <p:sp>
          <p:nvSpPr>
            <p:cNvPr id="24" name="Text Box 6">
              <a:extLst>
                <a:ext uri="{FF2B5EF4-FFF2-40B4-BE49-F238E27FC236}">
                  <a16:creationId xmlns:a16="http://schemas.microsoft.com/office/drawing/2014/main" id="{7E1519CB-9043-4E66-BEBE-80A9636670F7}"/>
                </a:ext>
              </a:extLst>
            </p:cNvPr>
            <p:cNvSpPr txBox="1">
              <a:spLocks noChangeArrowheads="1"/>
            </p:cNvSpPr>
            <p:nvPr/>
          </p:nvSpPr>
          <p:spPr bwMode="auto">
            <a:xfrm>
              <a:off x="990600" y="2446338"/>
              <a:ext cx="581025" cy="274637"/>
            </a:xfrm>
            <a:prstGeom prst="rect">
              <a:avLst/>
            </a:prstGeom>
            <a:noFill/>
            <a:ln w="6350">
              <a:noFill/>
              <a:miter lim="800000"/>
              <a:headEnd/>
              <a:tailEnd/>
            </a:ln>
            <a:effectLst/>
          </p:spPr>
          <p:txBody>
            <a:bodyPr wrap="none" lIns="45720" rIns="45720"/>
            <a:lstStyle/>
            <a:p>
              <a:pPr algn="l" eaLnBrk="0" hangingPunct="0">
                <a:spcBef>
                  <a:spcPct val="50000"/>
                </a:spcBef>
                <a:buClrTx/>
                <a:buSzTx/>
                <a:buFontTx/>
                <a:buNone/>
              </a:pPr>
              <a:r>
                <a:rPr lang="en-US" sz="1400" b="1" dirty="0">
                  <a:latin typeface="+mj-lt"/>
                </a:rPr>
                <a:t>Xx Mio</a:t>
              </a:r>
            </a:p>
          </p:txBody>
        </p:sp>
        <p:sp>
          <p:nvSpPr>
            <p:cNvPr id="25" name="Line 7">
              <a:extLst>
                <a:ext uri="{FF2B5EF4-FFF2-40B4-BE49-F238E27FC236}">
                  <a16:creationId xmlns:a16="http://schemas.microsoft.com/office/drawing/2014/main" id="{4D424DF9-9A14-4056-9AC9-76F6778109C7}"/>
                </a:ext>
              </a:extLst>
            </p:cNvPr>
            <p:cNvSpPr>
              <a:spLocks noChangeShapeType="1"/>
            </p:cNvSpPr>
            <p:nvPr/>
          </p:nvSpPr>
          <p:spPr bwMode="auto">
            <a:xfrm>
              <a:off x="1762125" y="5324475"/>
              <a:ext cx="2949575" cy="0"/>
            </a:xfrm>
            <a:prstGeom prst="line">
              <a:avLst/>
            </a:prstGeom>
            <a:noFill/>
            <a:ln w="6350">
              <a:solidFill>
                <a:schemeClr val="accent2"/>
              </a:solidFill>
              <a:round/>
              <a:headEnd type="triangle" w="med" len="med"/>
              <a:tailEnd type="triangle" w="med" len="med"/>
            </a:ln>
            <a:effectLst/>
          </p:spPr>
          <p:txBody>
            <a:bodyPr lIns="45720" rIns="45720"/>
            <a:lstStyle/>
            <a:p>
              <a:endParaRPr lang="en-US" sz="1400"/>
            </a:p>
          </p:txBody>
        </p:sp>
        <p:sp>
          <p:nvSpPr>
            <p:cNvPr id="26" name="Line 8">
              <a:extLst>
                <a:ext uri="{FF2B5EF4-FFF2-40B4-BE49-F238E27FC236}">
                  <a16:creationId xmlns:a16="http://schemas.microsoft.com/office/drawing/2014/main" id="{160AEE0A-4EEF-4A7C-80C8-A6FF10E373EC}"/>
                </a:ext>
              </a:extLst>
            </p:cNvPr>
            <p:cNvSpPr>
              <a:spLocks noChangeShapeType="1"/>
            </p:cNvSpPr>
            <p:nvPr/>
          </p:nvSpPr>
          <p:spPr bwMode="auto">
            <a:xfrm>
              <a:off x="4711700" y="2727325"/>
              <a:ext cx="0" cy="2667000"/>
            </a:xfrm>
            <a:prstGeom prst="line">
              <a:avLst/>
            </a:prstGeom>
            <a:noFill/>
            <a:ln w="12700" cap="rnd">
              <a:solidFill>
                <a:schemeClr val="tx2"/>
              </a:solidFill>
              <a:prstDash val="dash"/>
              <a:round/>
              <a:headEnd/>
              <a:tailEnd/>
            </a:ln>
            <a:effectLst/>
          </p:spPr>
          <p:txBody>
            <a:bodyPr lIns="45720" rIns="45720"/>
            <a:lstStyle/>
            <a:p>
              <a:endParaRPr lang="en-US" sz="1400"/>
            </a:p>
          </p:txBody>
        </p:sp>
        <p:sp>
          <p:nvSpPr>
            <p:cNvPr id="27" name="Line 9">
              <a:extLst>
                <a:ext uri="{FF2B5EF4-FFF2-40B4-BE49-F238E27FC236}">
                  <a16:creationId xmlns:a16="http://schemas.microsoft.com/office/drawing/2014/main" id="{B4BD677F-E54D-4E41-AFD1-44329D308E44}"/>
                </a:ext>
              </a:extLst>
            </p:cNvPr>
            <p:cNvSpPr>
              <a:spLocks noChangeShapeType="1"/>
            </p:cNvSpPr>
            <p:nvPr/>
          </p:nvSpPr>
          <p:spPr bwMode="auto">
            <a:xfrm flipH="1">
              <a:off x="990600" y="3990975"/>
              <a:ext cx="701675" cy="0"/>
            </a:xfrm>
            <a:prstGeom prst="line">
              <a:avLst/>
            </a:prstGeom>
            <a:noFill/>
            <a:ln w="12700" cap="rnd">
              <a:solidFill>
                <a:schemeClr val="tx2"/>
              </a:solidFill>
              <a:prstDash val="dash"/>
              <a:round/>
              <a:headEnd/>
              <a:tailEnd/>
            </a:ln>
            <a:effectLst/>
          </p:spPr>
          <p:txBody>
            <a:bodyPr wrap="none" lIns="45720" rIns="45720"/>
            <a:lstStyle/>
            <a:p>
              <a:endParaRPr lang="en-US" sz="1400"/>
            </a:p>
          </p:txBody>
        </p:sp>
        <p:sp>
          <p:nvSpPr>
            <p:cNvPr id="28" name="Line 10">
              <a:extLst>
                <a:ext uri="{FF2B5EF4-FFF2-40B4-BE49-F238E27FC236}">
                  <a16:creationId xmlns:a16="http://schemas.microsoft.com/office/drawing/2014/main" id="{6A6A02B6-EAAC-4BE1-AEDD-C92676281F98}"/>
                </a:ext>
              </a:extLst>
            </p:cNvPr>
            <p:cNvSpPr>
              <a:spLocks noChangeShapeType="1"/>
            </p:cNvSpPr>
            <p:nvPr/>
          </p:nvSpPr>
          <p:spPr bwMode="auto">
            <a:xfrm>
              <a:off x="1727200" y="3999288"/>
              <a:ext cx="6107113" cy="0"/>
            </a:xfrm>
            <a:prstGeom prst="line">
              <a:avLst/>
            </a:prstGeom>
            <a:noFill/>
            <a:ln w="12700" cap="rnd">
              <a:solidFill>
                <a:schemeClr val="tx1"/>
              </a:solidFill>
              <a:round/>
              <a:headEnd type="none" w="med" len="med"/>
              <a:tailEnd type="triangle" w="med" len="med"/>
            </a:ln>
            <a:effectLst/>
          </p:spPr>
          <p:txBody>
            <a:bodyPr lIns="45720" rIns="45720"/>
            <a:lstStyle/>
            <a:p>
              <a:endParaRPr lang="en-US" sz="1400"/>
            </a:p>
          </p:txBody>
        </p:sp>
        <p:sp>
          <p:nvSpPr>
            <p:cNvPr id="29" name="Text Box 12">
              <a:extLst>
                <a:ext uri="{FF2B5EF4-FFF2-40B4-BE49-F238E27FC236}">
                  <a16:creationId xmlns:a16="http://schemas.microsoft.com/office/drawing/2014/main" id="{5EED8761-6568-4B93-B3E1-A2520EA00EC1}"/>
                </a:ext>
              </a:extLst>
            </p:cNvPr>
            <p:cNvSpPr txBox="1">
              <a:spLocks noChangeArrowheads="1"/>
            </p:cNvSpPr>
            <p:nvPr/>
          </p:nvSpPr>
          <p:spPr bwMode="auto">
            <a:xfrm>
              <a:off x="7613650" y="4040188"/>
              <a:ext cx="441325" cy="274637"/>
            </a:xfrm>
            <a:prstGeom prst="rect">
              <a:avLst/>
            </a:prstGeom>
            <a:noFill/>
            <a:ln w="6350">
              <a:noFill/>
              <a:miter lim="800000"/>
              <a:headEnd/>
              <a:tailEnd/>
            </a:ln>
            <a:effectLst/>
          </p:spPr>
          <p:txBody>
            <a:bodyPr wrap="none" lIns="45720" rIns="45720"/>
            <a:lstStyle/>
            <a:p>
              <a:pPr algn="l" eaLnBrk="0" hangingPunct="0">
                <a:spcBef>
                  <a:spcPct val="50000"/>
                </a:spcBef>
                <a:buClrTx/>
                <a:buSzTx/>
                <a:buFontTx/>
                <a:buNone/>
              </a:pPr>
              <a:r>
                <a:rPr lang="en-US" sz="1400" b="1" dirty="0">
                  <a:latin typeface="+mj-lt"/>
                </a:rPr>
                <a:t>Time</a:t>
              </a:r>
            </a:p>
          </p:txBody>
        </p:sp>
        <p:sp>
          <p:nvSpPr>
            <p:cNvPr id="30" name="Freeform 13">
              <a:extLst>
                <a:ext uri="{FF2B5EF4-FFF2-40B4-BE49-F238E27FC236}">
                  <a16:creationId xmlns:a16="http://schemas.microsoft.com/office/drawing/2014/main" id="{42DFADE8-1E18-4BAF-95BF-8B86A5BA6D61}"/>
                </a:ext>
              </a:extLst>
            </p:cNvPr>
            <p:cNvSpPr>
              <a:spLocks/>
            </p:cNvSpPr>
            <p:nvPr/>
          </p:nvSpPr>
          <p:spPr bwMode="auto">
            <a:xfrm>
              <a:off x="1728788" y="2168150"/>
              <a:ext cx="5448300" cy="2741612"/>
            </a:xfrm>
            <a:custGeom>
              <a:avLst/>
              <a:gdLst/>
              <a:ahLst/>
              <a:cxnLst>
                <a:cxn ang="0">
                  <a:pos x="0" y="1143"/>
                </a:cxn>
                <a:cxn ang="0">
                  <a:pos x="1182" y="1536"/>
                </a:cxn>
                <a:cxn ang="0">
                  <a:pos x="3432" y="0"/>
                </a:cxn>
              </a:cxnLst>
              <a:rect l="0" t="0" r="r" b="b"/>
              <a:pathLst>
                <a:path w="3432" h="1727">
                  <a:moveTo>
                    <a:pt x="0" y="1143"/>
                  </a:moveTo>
                  <a:cubicBezTo>
                    <a:pt x="197" y="1208"/>
                    <a:pt x="610" y="1727"/>
                    <a:pt x="1182" y="1536"/>
                  </a:cubicBezTo>
                  <a:cubicBezTo>
                    <a:pt x="1754" y="1345"/>
                    <a:pt x="2963" y="320"/>
                    <a:pt x="3432" y="0"/>
                  </a:cubicBezTo>
                </a:path>
              </a:pathLst>
            </a:custGeom>
            <a:noFill/>
            <a:ln w="19050" cap="flat" cmpd="sng">
              <a:solidFill>
                <a:schemeClr val="bg1">
                  <a:lumMod val="50000"/>
                </a:schemeClr>
              </a:solidFill>
              <a:prstDash val="solid"/>
              <a:round/>
              <a:headEnd type="none" w="med" len="med"/>
              <a:tailEnd type="none" w="med" len="med"/>
            </a:ln>
            <a:effectLst/>
          </p:spPr>
          <p:txBody>
            <a:bodyPr wrap="none" lIns="72000" tIns="54000" rIns="72000" bIns="54000" anchor="ctr"/>
            <a:lstStyle/>
            <a:p>
              <a:endParaRPr lang="en-US" sz="1400"/>
            </a:p>
          </p:txBody>
        </p:sp>
        <p:sp>
          <p:nvSpPr>
            <p:cNvPr id="31" name="Line 14">
              <a:extLst>
                <a:ext uri="{FF2B5EF4-FFF2-40B4-BE49-F238E27FC236}">
                  <a16:creationId xmlns:a16="http://schemas.microsoft.com/office/drawing/2014/main" id="{C2B3080A-D148-419B-8750-B4E415BEE3CF}"/>
                </a:ext>
              </a:extLst>
            </p:cNvPr>
            <p:cNvSpPr>
              <a:spLocks noChangeShapeType="1"/>
            </p:cNvSpPr>
            <p:nvPr/>
          </p:nvSpPr>
          <p:spPr bwMode="auto">
            <a:xfrm flipH="1">
              <a:off x="990600" y="4692650"/>
              <a:ext cx="2316163" cy="0"/>
            </a:xfrm>
            <a:prstGeom prst="line">
              <a:avLst/>
            </a:prstGeom>
            <a:noFill/>
            <a:ln w="12700" cap="rnd">
              <a:solidFill>
                <a:schemeClr val="tx2"/>
              </a:solidFill>
              <a:prstDash val="dash"/>
              <a:round/>
              <a:headEnd/>
              <a:tailEnd/>
            </a:ln>
            <a:effectLst/>
          </p:spPr>
          <p:txBody>
            <a:bodyPr wrap="none" lIns="45720" rIns="45720"/>
            <a:lstStyle/>
            <a:p>
              <a:endParaRPr lang="en-US" sz="1400"/>
            </a:p>
          </p:txBody>
        </p:sp>
        <p:sp>
          <p:nvSpPr>
            <p:cNvPr id="32" name="Line 15">
              <a:extLst>
                <a:ext uri="{FF2B5EF4-FFF2-40B4-BE49-F238E27FC236}">
                  <a16:creationId xmlns:a16="http://schemas.microsoft.com/office/drawing/2014/main" id="{20849F2D-F35B-47D4-A95A-6B291FF0CA84}"/>
                </a:ext>
              </a:extLst>
            </p:cNvPr>
            <p:cNvSpPr>
              <a:spLocks noChangeShapeType="1"/>
            </p:cNvSpPr>
            <p:nvPr/>
          </p:nvSpPr>
          <p:spPr bwMode="auto">
            <a:xfrm flipV="1">
              <a:off x="7519988" y="2165350"/>
              <a:ext cx="0" cy="1825625"/>
            </a:xfrm>
            <a:prstGeom prst="line">
              <a:avLst/>
            </a:prstGeom>
            <a:noFill/>
            <a:ln w="6350">
              <a:solidFill>
                <a:schemeClr val="accent6"/>
              </a:solidFill>
              <a:round/>
              <a:headEnd type="triangle" w="med" len="med"/>
              <a:tailEnd type="triangle" w="med" len="med"/>
            </a:ln>
            <a:effectLst/>
          </p:spPr>
          <p:txBody>
            <a:bodyPr lIns="45720" rIns="45720"/>
            <a:lstStyle/>
            <a:p>
              <a:endParaRPr lang="en-US" sz="1400"/>
            </a:p>
          </p:txBody>
        </p:sp>
        <p:sp>
          <p:nvSpPr>
            <p:cNvPr id="33" name="Line 16">
              <a:extLst>
                <a:ext uri="{FF2B5EF4-FFF2-40B4-BE49-F238E27FC236}">
                  <a16:creationId xmlns:a16="http://schemas.microsoft.com/office/drawing/2014/main" id="{F5676A85-5423-4FDA-849F-E888CED74C30}"/>
                </a:ext>
              </a:extLst>
            </p:cNvPr>
            <p:cNvSpPr>
              <a:spLocks noChangeShapeType="1"/>
            </p:cNvSpPr>
            <p:nvPr/>
          </p:nvSpPr>
          <p:spPr bwMode="auto">
            <a:xfrm flipH="1">
              <a:off x="7027863" y="2165350"/>
              <a:ext cx="701675" cy="0"/>
            </a:xfrm>
            <a:prstGeom prst="line">
              <a:avLst/>
            </a:prstGeom>
            <a:noFill/>
            <a:ln w="12700" cap="rnd">
              <a:solidFill>
                <a:schemeClr val="tx2"/>
              </a:solidFill>
              <a:prstDash val="dash"/>
              <a:round/>
              <a:headEnd/>
              <a:tailEnd/>
            </a:ln>
            <a:effectLst/>
          </p:spPr>
          <p:txBody>
            <a:bodyPr wrap="none" lIns="45720" rIns="45720"/>
            <a:lstStyle/>
            <a:p>
              <a:endParaRPr lang="en-US" sz="1400"/>
            </a:p>
          </p:txBody>
        </p:sp>
        <p:sp>
          <p:nvSpPr>
            <p:cNvPr id="34" name="Line 11">
              <a:extLst>
                <a:ext uri="{FF2B5EF4-FFF2-40B4-BE49-F238E27FC236}">
                  <a16:creationId xmlns:a16="http://schemas.microsoft.com/office/drawing/2014/main" id="{4B2109C6-02FD-4682-8498-D58C8D41E4D0}"/>
                </a:ext>
              </a:extLst>
            </p:cNvPr>
            <p:cNvSpPr>
              <a:spLocks noChangeShapeType="1"/>
            </p:cNvSpPr>
            <p:nvPr/>
          </p:nvSpPr>
          <p:spPr bwMode="auto">
            <a:xfrm>
              <a:off x="1727200" y="2095500"/>
              <a:ext cx="0" cy="3509963"/>
            </a:xfrm>
            <a:prstGeom prst="line">
              <a:avLst/>
            </a:prstGeom>
            <a:noFill/>
            <a:ln w="12700" cap="rnd" cmpd="sng">
              <a:solidFill>
                <a:schemeClr val="tx1"/>
              </a:solidFill>
              <a:prstDash val="solid"/>
              <a:round/>
              <a:headEnd type="triangle" w="med" len="med"/>
              <a:tailEnd type="triangle" w="med" len="med"/>
            </a:ln>
            <a:effectLst/>
          </p:spPr>
          <p:txBody>
            <a:bodyPr lIns="45720" rIns="45720"/>
            <a:lstStyle/>
            <a:p>
              <a:endParaRPr lang="en-US" sz="1400"/>
            </a:p>
          </p:txBody>
        </p:sp>
      </p:grpSp>
      <p:sp>
        <p:nvSpPr>
          <p:cNvPr id="5" name="Footer Placeholder 4">
            <a:extLst>
              <a:ext uri="{FF2B5EF4-FFF2-40B4-BE49-F238E27FC236}">
                <a16:creationId xmlns:a16="http://schemas.microsoft.com/office/drawing/2014/main" id="{5CDCD8D6-DE2B-4B34-AA6F-46159F44E8AE}"/>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488E1BDD-EA69-4AEF-88F9-A54B5B8A76B7}"/>
              </a:ext>
            </a:extLst>
          </p:cNvPr>
          <p:cNvSpPr>
            <a:spLocks noGrp="1"/>
          </p:cNvSpPr>
          <p:nvPr>
            <p:ph type="sldNum" sz="quarter" idx="10"/>
          </p:nvPr>
        </p:nvSpPr>
        <p:spPr/>
        <p:txBody>
          <a:bodyPr/>
          <a:lstStyle/>
          <a:p>
            <a:fld id="{1F90F471-3972-4120-B8B3-0237DE626C35}" type="slidenum">
              <a:rPr lang="en-US" smtClean="0"/>
              <a:pPr/>
              <a:t>435</a:t>
            </a:fld>
            <a:endParaRPr lang="en-US" dirty="0"/>
          </a:p>
        </p:txBody>
      </p:sp>
    </p:spTree>
    <p:extLst>
      <p:ext uri="{BB962C8B-B14F-4D97-AF65-F5344CB8AC3E}">
        <p14:creationId xmlns:p14="http://schemas.microsoft.com/office/powerpoint/2010/main" val="1380932510"/>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Frameworks: “Hockey Stick” 2</a:t>
            </a:r>
          </a:p>
        </p:txBody>
      </p:sp>
      <p:grpSp>
        <p:nvGrpSpPr>
          <p:cNvPr id="5" name="Group 4" descr="Hockey Stick">
            <a:extLst>
              <a:ext uri="{FF2B5EF4-FFF2-40B4-BE49-F238E27FC236}">
                <a16:creationId xmlns:a16="http://schemas.microsoft.com/office/drawing/2014/main" id="{E0C88FC4-3033-4FD3-806C-2A53A30BAD55}"/>
              </a:ext>
            </a:extLst>
          </p:cNvPr>
          <p:cNvGrpSpPr/>
          <p:nvPr/>
        </p:nvGrpSpPr>
        <p:grpSpPr bwMode="auto">
          <a:xfrm>
            <a:off x="356482" y="1537734"/>
            <a:ext cx="8267649" cy="4191419"/>
            <a:chOff x="781050" y="2024063"/>
            <a:chExt cx="7064375" cy="3581400"/>
          </a:xfrm>
        </p:grpSpPr>
        <p:sp>
          <p:nvSpPr>
            <p:cNvPr id="6" name="Line 12">
              <a:extLst>
                <a:ext uri="{FF2B5EF4-FFF2-40B4-BE49-F238E27FC236}">
                  <a16:creationId xmlns:a16="http://schemas.microsoft.com/office/drawing/2014/main" id="{8D66FAF0-1E7B-4749-B811-AC06C37C75D5}"/>
                </a:ext>
              </a:extLst>
            </p:cNvPr>
            <p:cNvSpPr>
              <a:spLocks noChangeShapeType="1"/>
            </p:cNvSpPr>
            <p:nvPr/>
          </p:nvSpPr>
          <p:spPr bwMode="auto">
            <a:xfrm>
              <a:off x="1507602" y="3990975"/>
              <a:ext cx="6107113" cy="0"/>
            </a:xfrm>
            <a:prstGeom prst="line">
              <a:avLst/>
            </a:prstGeom>
            <a:noFill/>
            <a:ln w="12700" cap="rnd">
              <a:solidFill>
                <a:srgbClr val="000000"/>
              </a:solidFill>
              <a:round/>
              <a:headEnd type="none" w="med" len="med"/>
              <a:tailEnd type="triangl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sp>
          <p:nvSpPr>
            <p:cNvPr id="7" name="Freeform 2">
              <a:extLst>
                <a:ext uri="{FF2B5EF4-FFF2-40B4-BE49-F238E27FC236}">
                  <a16:creationId xmlns:a16="http://schemas.microsoft.com/office/drawing/2014/main" id="{FB475D91-8700-42BC-8884-B565F7E35465}"/>
                </a:ext>
              </a:extLst>
            </p:cNvPr>
            <p:cNvSpPr>
              <a:spLocks/>
            </p:cNvSpPr>
            <p:nvPr/>
          </p:nvSpPr>
          <p:spPr bwMode="auto">
            <a:xfrm>
              <a:off x="4586690" y="2230918"/>
              <a:ext cx="2314362" cy="1779479"/>
            </a:xfrm>
            <a:custGeom>
              <a:avLst/>
              <a:gdLst>
                <a:gd name="connsiteX0" fmla="*/ 0 w 10013"/>
                <a:gd name="connsiteY0" fmla="*/ 9946 h 10000"/>
                <a:gd name="connsiteX1" fmla="*/ 10000 w 10013"/>
                <a:gd name="connsiteY1" fmla="*/ 0 h 10000"/>
                <a:gd name="connsiteX2" fmla="*/ 10013 w 10013"/>
                <a:gd name="connsiteY2" fmla="*/ 5467 h 10000"/>
                <a:gd name="connsiteX3" fmla="*/ 1645 w 10013"/>
                <a:gd name="connsiteY3" fmla="*/ 10000 h 10000"/>
                <a:gd name="connsiteX4" fmla="*/ 0 w 10013"/>
                <a:gd name="connsiteY4" fmla="*/ 9946 h 10000"/>
                <a:gd name="connsiteX0" fmla="*/ 0 w 10202"/>
                <a:gd name="connsiteY0" fmla="*/ 10027 h 10027"/>
                <a:gd name="connsiteX1" fmla="*/ 10189 w 10202"/>
                <a:gd name="connsiteY1" fmla="*/ 0 h 10027"/>
                <a:gd name="connsiteX2" fmla="*/ 10202 w 10202"/>
                <a:gd name="connsiteY2" fmla="*/ 5467 h 10027"/>
                <a:gd name="connsiteX3" fmla="*/ 1834 w 10202"/>
                <a:gd name="connsiteY3" fmla="*/ 10000 h 10027"/>
                <a:gd name="connsiteX4" fmla="*/ 0 w 10202"/>
                <a:gd name="connsiteY4" fmla="*/ 10027 h 10027"/>
                <a:gd name="connsiteX0" fmla="*/ 0 w 10202"/>
                <a:gd name="connsiteY0" fmla="*/ 10027 h 10054"/>
                <a:gd name="connsiteX1" fmla="*/ 10189 w 10202"/>
                <a:gd name="connsiteY1" fmla="*/ 0 h 10054"/>
                <a:gd name="connsiteX2" fmla="*/ 10202 w 10202"/>
                <a:gd name="connsiteY2" fmla="*/ 5467 h 10054"/>
                <a:gd name="connsiteX3" fmla="*/ 1624 w 10202"/>
                <a:gd name="connsiteY3" fmla="*/ 10054 h 10054"/>
                <a:gd name="connsiteX4" fmla="*/ 0 w 10202"/>
                <a:gd name="connsiteY4" fmla="*/ 10027 h 10054"/>
                <a:gd name="connsiteX0" fmla="*/ 0 w 10202"/>
                <a:gd name="connsiteY0" fmla="*/ 10108 h 10135"/>
                <a:gd name="connsiteX1" fmla="*/ 10168 w 10202"/>
                <a:gd name="connsiteY1" fmla="*/ 0 h 10135"/>
                <a:gd name="connsiteX2" fmla="*/ 10202 w 10202"/>
                <a:gd name="connsiteY2" fmla="*/ 5548 h 10135"/>
                <a:gd name="connsiteX3" fmla="*/ 1624 w 10202"/>
                <a:gd name="connsiteY3" fmla="*/ 10135 h 10135"/>
                <a:gd name="connsiteX4" fmla="*/ 0 w 10202"/>
                <a:gd name="connsiteY4" fmla="*/ 10108 h 10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2" h="10135">
                  <a:moveTo>
                    <a:pt x="0" y="10108"/>
                  </a:moveTo>
                  <a:lnTo>
                    <a:pt x="10168" y="0"/>
                  </a:lnTo>
                  <a:cubicBezTo>
                    <a:pt x="10172" y="1822"/>
                    <a:pt x="10198" y="3726"/>
                    <a:pt x="10202" y="5548"/>
                  </a:cubicBezTo>
                  <a:lnTo>
                    <a:pt x="1624" y="10135"/>
                  </a:lnTo>
                  <a:lnTo>
                    <a:pt x="0" y="10108"/>
                  </a:lnTo>
                  <a:close/>
                </a:path>
              </a:pathLst>
            </a:custGeom>
            <a:solidFill>
              <a:schemeClr val="accent6"/>
            </a:solidFill>
            <a:ln w="9525" cap="flat" cmpd="sng">
              <a:noFill/>
              <a:prstDash val="solid"/>
              <a:round/>
              <a:headEnd/>
              <a:tailEnd/>
            </a:ln>
            <a:effectLst/>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sp>
          <p:nvSpPr>
            <p:cNvPr id="8" name="Freeform 3">
              <a:extLst>
                <a:ext uri="{FF2B5EF4-FFF2-40B4-BE49-F238E27FC236}">
                  <a16:creationId xmlns:a16="http://schemas.microsoft.com/office/drawing/2014/main" id="{4EA451E4-F454-48AE-9AB0-6C2B95258AEC}"/>
                </a:ext>
              </a:extLst>
            </p:cNvPr>
            <p:cNvSpPr>
              <a:spLocks/>
            </p:cNvSpPr>
            <p:nvPr/>
          </p:nvSpPr>
          <p:spPr bwMode="auto">
            <a:xfrm>
              <a:off x="4176736" y="3990975"/>
              <a:ext cx="797708" cy="319074"/>
            </a:xfrm>
            <a:custGeom>
              <a:avLst/>
              <a:gdLst>
                <a:gd name="connsiteX0" fmla="*/ 0 w 10374"/>
                <a:gd name="connsiteY0" fmla="*/ 10000 h 10000"/>
                <a:gd name="connsiteX1" fmla="*/ 5995 w 10374"/>
                <a:gd name="connsiteY1" fmla="*/ 0 h 10000"/>
                <a:gd name="connsiteX2" fmla="*/ 10374 w 10374"/>
                <a:gd name="connsiteY2" fmla="*/ 323 h 10000"/>
                <a:gd name="connsiteX3" fmla="*/ 5995 w 10374"/>
                <a:gd name="connsiteY3" fmla="*/ 4972 h 10000"/>
                <a:gd name="connsiteX4" fmla="*/ 0 w 10374"/>
                <a:gd name="connsiteY4" fmla="*/ 10000 h 10000"/>
                <a:gd name="connsiteX0" fmla="*/ 0 w 10374"/>
                <a:gd name="connsiteY0" fmla="*/ 10000 h 10000"/>
                <a:gd name="connsiteX1" fmla="*/ 5746 w 10374"/>
                <a:gd name="connsiteY1" fmla="*/ 0 h 10000"/>
                <a:gd name="connsiteX2" fmla="*/ 10374 w 10374"/>
                <a:gd name="connsiteY2" fmla="*/ 323 h 10000"/>
                <a:gd name="connsiteX3" fmla="*/ 5995 w 10374"/>
                <a:gd name="connsiteY3" fmla="*/ 4972 h 10000"/>
                <a:gd name="connsiteX4" fmla="*/ 0 w 10374"/>
                <a:gd name="connsiteY4" fmla="*/ 10000 h 10000"/>
                <a:gd name="connsiteX0" fmla="*/ 0 w 10374"/>
                <a:gd name="connsiteY0" fmla="*/ 10000 h 10000"/>
                <a:gd name="connsiteX1" fmla="*/ 5497 w 10374"/>
                <a:gd name="connsiteY1" fmla="*/ 0 h 10000"/>
                <a:gd name="connsiteX2" fmla="*/ 10374 w 10374"/>
                <a:gd name="connsiteY2" fmla="*/ 323 h 10000"/>
                <a:gd name="connsiteX3" fmla="*/ 5995 w 10374"/>
                <a:gd name="connsiteY3" fmla="*/ 4972 h 10000"/>
                <a:gd name="connsiteX4" fmla="*/ 0 w 10374"/>
                <a:gd name="connsiteY4" fmla="*/ 10000 h 10000"/>
                <a:gd name="connsiteX0" fmla="*/ 0 w 10436"/>
                <a:gd name="connsiteY0" fmla="*/ 10806 h 10806"/>
                <a:gd name="connsiteX1" fmla="*/ 5559 w 10436"/>
                <a:gd name="connsiteY1" fmla="*/ 0 h 10806"/>
                <a:gd name="connsiteX2" fmla="*/ 10436 w 10436"/>
                <a:gd name="connsiteY2" fmla="*/ 323 h 10806"/>
                <a:gd name="connsiteX3" fmla="*/ 6057 w 10436"/>
                <a:gd name="connsiteY3" fmla="*/ 4972 h 10806"/>
                <a:gd name="connsiteX4" fmla="*/ 0 w 10436"/>
                <a:gd name="connsiteY4" fmla="*/ 10806 h 108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6" h="10806">
                  <a:moveTo>
                    <a:pt x="0" y="10806"/>
                  </a:moveTo>
                  <a:lnTo>
                    <a:pt x="5559" y="0"/>
                  </a:lnTo>
                  <a:lnTo>
                    <a:pt x="10436" y="323"/>
                  </a:lnTo>
                  <a:lnTo>
                    <a:pt x="6057" y="4972"/>
                  </a:lnTo>
                  <a:lnTo>
                    <a:pt x="0" y="10806"/>
                  </a:lnTo>
                  <a:close/>
                </a:path>
              </a:pathLst>
            </a:custGeom>
            <a:solidFill>
              <a:schemeClr val="accent1"/>
            </a:solidFill>
            <a:ln w="9525" cap="flat" cmpd="sng">
              <a:noFill/>
              <a:prstDash val="solid"/>
              <a:round/>
              <a:headEnd/>
              <a:tailEnd/>
            </a:ln>
            <a:effectLst/>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sp>
          <p:nvSpPr>
            <p:cNvPr id="9" name="Freeform 4">
              <a:extLst>
                <a:ext uri="{FF2B5EF4-FFF2-40B4-BE49-F238E27FC236}">
                  <a16:creationId xmlns:a16="http://schemas.microsoft.com/office/drawing/2014/main" id="{DAA02FB8-6FBB-4F56-B263-45AC2D453C94}"/>
                </a:ext>
              </a:extLst>
            </p:cNvPr>
            <p:cNvSpPr>
              <a:spLocks/>
            </p:cNvSpPr>
            <p:nvPr/>
          </p:nvSpPr>
          <p:spPr bwMode="auto">
            <a:xfrm>
              <a:off x="1542462" y="4016033"/>
              <a:ext cx="2586737" cy="1220204"/>
            </a:xfrm>
            <a:custGeom>
              <a:avLst/>
              <a:gdLst>
                <a:gd name="connsiteX0" fmla="*/ 0 w 10000"/>
                <a:gd name="connsiteY0" fmla="*/ 0 h 10000"/>
                <a:gd name="connsiteX1" fmla="*/ 1657 w 10000"/>
                <a:gd name="connsiteY1" fmla="*/ 3667 h 10000"/>
                <a:gd name="connsiteX2" fmla="*/ 2991 w 10000"/>
                <a:gd name="connsiteY2" fmla="*/ 5189 h 10000"/>
                <a:gd name="connsiteX3" fmla="*/ 4112 w 10000"/>
                <a:gd name="connsiteY3" fmla="*/ 5618 h 10000"/>
                <a:gd name="connsiteX4" fmla="*/ 6261 w 10000"/>
                <a:gd name="connsiteY4" fmla="*/ 5189 h 10000"/>
                <a:gd name="connsiteX5" fmla="*/ 8542 w 10000"/>
                <a:gd name="connsiteY5" fmla="*/ 3667 h 10000"/>
                <a:gd name="connsiteX6" fmla="*/ 10000 w 10000"/>
                <a:gd name="connsiteY6" fmla="*/ 2536 h 10000"/>
                <a:gd name="connsiteX7" fmla="*/ 8542 w 10000"/>
                <a:gd name="connsiteY7" fmla="*/ 4824 h 10000"/>
                <a:gd name="connsiteX8" fmla="*/ 6336 w 10000"/>
                <a:gd name="connsiteY8" fmla="*/ 7698 h 10000"/>
                <a:gd name="connsiteX9" fmla="*/ 4685 w 10000"/>
                <a:gd name="connsiteY9" fmla="*/ 9428 h 10000"/>
                <a:gd name="connsiteX10" fmla="*/ 3583 w 10000"/>
                <a:gd name="connsiteY10" fmla="*/ 10000 h 10000"/>
                <a:gd name="connsiteX11" fmla="*/ 2150 w 10000"/>
                <a:gd name="connsiteY11" fmla="*/ 8895 h 10000"/>
                <a:gd name="connsiteX12" fmla="*/ 1103 w 10000"/>
                <a:gd name="connsiteY12" fmla="*/ 5969 h 10000"/>
                <a:gd name="connsiteX13" fmla="*/ 617 w 10000"/>
                <a:gd name="connsiteY13" fmla="*/ 3589 h 10000"/>
                <a:gd name="connsiteX14" fmla="*/ 0 w 10000"/>
                <a:gd name="connsiteY14" fmla="*/ 0 h 10000"/>
                <a:gd name="connsiteX0" fmla="*/ 0 w 10000"/>
                <a:gd name="connsiteY0" fmla="*/ 0 h 10000"/>
                <a:gd name="connsiteX1" fmla="*/ 1657 w 10000"/>
                <a:gd name="connsiteY1" fmla="*/ 3667 h 10000"/>
                <a:gd name="connsiteX2" fmla="*/ 2991 w 10000"/>
                <a:gd name="connsiteY2" fmla="*/ 5189 h 10000"/>
                <a:gd name="connsiteX3" fmla="*/ 4112 w 10000"/>
                <a:gd name="connsiteY3" fmla="*/ 5618 h 10000"/>
                <a:gd name="connsiteX4" fmla="*/ 6261 w 10000"/>
                <a:gd name="connsiteY4" fmla="*/ 5189 h 10000"/>
                <a:gd name="connsiteX5" fmla="*/ 6467 w 10000"/>
                <a:gd name="connsiteY5" fmla="*/ 4954 h 10000"/>
                <a:gd name="connsiteX6" fmla="*/ 8542 w 10000"/>
                <a:gd name="connsiteY6" fmla="*/ 3667 h 10000"/>
                <a:gd name="connsiteX7" fmla="*/ 10000 w 10000"/>
                <a:gd name="connsiteY7" fmla="*/ 2536 h 10000"/>
                <a:gd name="connsiteX8" fmla="*/ 8542 w 10000"/>
                <a:gd name="connsiteY8" fmla="*/ 4824 h 10000"/>
                <a:gd name="connsiteX9" fmla="*/ 6336 w 10000"/>
                <a:gd name="connsiteY9" fmla="*/ 7698 h 10000"/>
                <a:gd name="connsiteX10" fmla="*/ 4685 w 10000"/>
                <a:gd name="connsiteY10" fmla="*/ 9428 h 10000"/>
                <a:gd name="connsiteX11" fmla="*/ 3583 w 10000"/>
                <a:gd name="connsiteY11" fmla="*/ 10000 h 10000"/>
                <a:gd name="connsiteX12" fmla="*/ 2150 w 10000"/>
                <a:gd name="connsiteY12" fmla="*/ 8895 h 10000"/>
                <a:gd name="connsiteX13" fmla="*/ 1103 w 10000"/>
                <a:gd name="connsiteY13" fmla="*/ 5969 h 10000"/>
                <a:gd name="connsiteX14" fmla="*/ 617 w 10000"/>
                <a:gd name="connsiteY14" fmla="*/ 3589 h 10000"/>
                <a:gd name="connsiteX15" fmla="*/ 0 w 10000"/>
                <a:gd name="connsiteY15" fmla="*/ 0 h 10000"/>
                <a:gd name="connsiteX0" fmla="*/ 0 w 10000"/>
                <a:gd name="connsiteY0" fmla="*/ 0 h 10000"/>
                <a:gd name="connsiteX1" fmla="*/ 1657 w 10000"/>
                <a:gd name="connsiteY1" fmla="*/ 3667 h 10000"/>
                <a:gd name="connsiteX2" fmla="*/ 2991 w 10000"/>
                <a:gd name="connsiteY2" fmla="*/ 5189 h 10000"/>
                <a:gd name="connsiteX3" fmla="*/ 4112 w 10000"/>
                <a:gd name="connsiteY3" fmla="*/ 5618 h 10000"/>
                <a:gd name="connsiteX4" fmla="*/ 5963 w 10000"/>
                <a:gd name="connsiteY4" fmla="*/ 5228 h 10000"/>
                <a:gd name="connsiteX5" fmla="*/ 6261 w 10000"/>
                <a:gd name="connsiteY5" fmla="*/ 5189 h 10000"/>
                <a:gd name="connsiteX6" fmla="*/ 6467 w 10000"/>
                <a:gd name="connsiteY6" fmla="*/ 4954 h 10000"/>
                <a:gd name="connsiteX7" fmla="*/ 8542 w 10000"/>
                <a:gd name="connsiteY7" fmla="*/ 3667 h 10000"/>
                <a:gd name="connsiteX8" fmla="*/ 10000 w 10000"/>
                <a:gd name="connsiteY8" fmla="*/ 2536 h 10000"/>
                <a:gd name="connsiteX9" fmla="*/ 8542 w 10000"/>
                <a:gd name="connsiteY9" fmla="*/ 4824 h 10000"/>
                <a:gd name="connsiteX10" fmla="*/ 6336 w 10000"/>
                <a:gd name="connsiteY10" fmla="*/ 7698 h 10000"/>
                <a:gd name="connsiteX11" fmla="*/ 4685 w 10000"/>
                <a:gd name="connsiteY11" fmla="*/ 9428 h 10000"/>
                <a:gd name="connsiteX12" fmla="*/ 3583 w 10000"/>
                <a:gd name="connsiteY12" fmla="*/ 10000 h 10000"/>
                <a:gd name="connsiteX13" fmla="*/ 2150 w 10000"/>
                <a:gd name="connsiteY13" fmla="*/ 8895 h 10000"/>
                <a:gd name="connsiteX14" fmla="*/ 1103 w 10000"/>
                <a:gd name="connsiteY14" fmla="*/ 5969 h 10000"/>
                <a:gd name="connsiteX15" fmla="*/ 617 w 10000"/>
                <a:gd name="connsiteY15" fmla="*/ 3589 h 10000"/>
                <a:gd name="connsiteX16" fmla="*/ 0 w 10000"/>
                <a:gd name="connsiteY16" fmla="*/ 0 h 10000"/>
                <a:gd name="connsiteX0" fmla="*/ 0 w 10000"/>
                <a:gd name="connsiteY0" fmla="*/ 0 h 10000"/>
                <a:gd name="connsiteX1" fmla="*/ 1657 w 10000"/>
                <a:gd name="connsiteY1" fmla="*/ 3667 h 10000"/>
                <a:gd name="connsiteX2" fmla="*/ 2991 w 10000"/>
                <a:gd name="connsiteY2" fmla="*/ 5189 h 10000"/>
                <a:gd name="connsiteX3" fmla="*/ 4112 w 10000"/>
                <a:gd name="connsiteY3" fmla="*/ 5618 h 10000"/>
                <a:gd name="connsiteX4" fmla="*/ 5963 w 10000"/>
                <a:gd name="connsiteY4" fmla="*/ 5228 h 10000"/>
                <a:gd name="connsiteX5" fmla="*/ 6242 w 10000"/>
                <a:gd name="connsiteY5" fmla="*/ 5072 h 10000"/>
                <a:gd name="connsiteX6" fmla="*/ 6467 w 10000"/>
                <a:gd name="connsiteY6" fmla="*/ 4954 h 10000"/>
                <a:gd name="connsiteX7" fmla="*/ 8542 w 10000"/>
                <a:gd name="connsiteY7" fmla="*/ 3667 h 10000"/>
                <a:gd name="connsiteX8" fmla="*/ 10000 w 10000"/>
                <a:gd name="connsiteY8" fmla="*/ 2536 h 10000"/>
                <a:gd name="connsiteX9" fmla="*/ 8542 w 10000"/>
                <a:gd name="connsiteY9" fmla="*/ 4824 h 10000"/>
                <a:gd name="connsiteX10" fmla="*/ 6336 w 10000"/>
                <a:gd name="connsiteY10" fmla="*/ 7698 h 10000"/>
                <a:gd name="connsiteX11" fmla="*/ 4685 w 10000"/>
                <a:gd name="connsiteY11" fmla="*/ 9428 h 10000"/>
                <a:gd name="connsiteX12" fmla="*/ 3583 w 10000"/>
                <a:gd name="connsiteY12" fmla="*/ 10000 h 10000"/>
                <a:gd name="connsiteX13" fmla="*/ 2150 w 10000"/>
                <a:gd name="connsiteY13" fmla="*/ 8895 h 10000"/>
                <a:gd name="connsiteX14" fmla="*/ 1103 w 10000"/>
                <a:gd name="connsiteY14" fmla="*/ 5969 h 10000"/>
                <a:gd name="connsiteX15" fmla="*/ 617 w 10000"/>
                <a:gd name="connsiteY15" fmla="*/ 3589 h 10000"/>
                <a:gd name="connsiteX16" fmla="*/ 0 w 10000"/>
                <a:gd name="connsiteY16" fmla="*/ 0 h 10000"/>
                <a:gd name="connsiteX0" fmla="*/ 0 w 9963"/>
                <a:gd name="connsiteY0" fmla="*/ 0 h 10156"/>
                <a:gd name="connsiteX1" fmla="*/ 1620 w 9963"/>
                <a:gd name="connsiteY1" fmla="*/ 3823 h 10156"/>
                <a:gd name="connsiteX2" fmla="*/ 2954 w 9963"/>
                <a:gd name="connsiteY2" fmla="*/ 5345 h 10156"/>
                <a:gd name="connsiteX3" fmla="*/ 4075 w 9963"/>
                <a:gd name="connsiteY3" fmla="*/ 5774 h 10156"/>
                <a:gd name="connsiteX4" fmla="*/ 5926 w 9963"/>
                <a:gd name="connsiteY4" fmla="*/ 5384 h 10156"/>
                <a:gd name="connsiteX5" fmla="*/ 6205 w 9963"/>
                <a:gd name="connsiteY5" fmla="*/ 5228 h 10156"/>
                <a:gd name="connsiteX6" fmla="*/ 6430 w 9963"/>
                <a:gd name="connsiteY6" fmla="*/ 5110 h 10156"/>
                <a:gd name="connsiteX7" fmla="*/ 8505 w 9963"/>
                <a:gd name="connsiteY7" fmla="*/ 3823 h 10156"/>
                <a:gd name="connsiteX8" fmla="*/ 9963 w 9963"/>
                <a:gd name="connsiteY8" fmla="*/ 2692 h 10156"/>
                <a:gd name="connsiteX9" fmla="*/ 8505 w 9963"/>
                <a:gd name="connsiteY9" fmla="*/ 4980 h 10156"/>
                <a:gd name="connsiteX10" fmla="*/ 6299 w 9963"/>
                <a:gd name="connsiteY10" fmla="*/ 7854 h 10156"/>
                <a:gd name="connsiteX11" fmla="*/ 4648 w 9963"/>
                <a:gd name="connsiteY11" fmla="*/ 9584 h 10156"/>
                <a:gd name="connsiteX12" fmla="*/ 3546 w 9963"/>
                <a:gd name="connsiteY12" fmla="*/ 10156 h 10156"/>
                <a:gd name="connsiteX13" fmla="*/ 2113 w 9963"/>
                <a:gd name="connsiteY13" fmla="*/ 9051 h 10156"/>
                <a:gd name="connsiteX14" fmla="*/ 1066 w 9963"/>
                <a:gd name="connsiteY14" fmla="*/ 6125 h 10156"/>
                <a:gd name="connsiteX15" fmla="*/ 580 w 9963"/>
                <a:gd name="connsiteY15" fmla="*/ 3745 h 10156"/>
                <a:gd name="connsiteX16" fmla="*/ 0 w 9963"/>
                <a:gd name="connsiteY16" fmla="*/ 0 h 10156"/>
                <a:gd name="connsiteX0" fmla="*/ 0 w 10000"/>
                <a:gd name="connsiteY0" fmla="*/ 0 h 10000"/>
                <a:gd name="connsiteX1" fmla="*/ 1607 w 10000"/>
                <a:gd name="connsiteY1" fmla="*/ 3572 h 10000"/>
                <a:gd name="connsiteX2" fmla="*/ 2965 w 10000"/>
                <a:gd name="connsiteY2" fmla="*/ 5263 h 10000"/>
                <a:gd name="connsiteX3" fmla="*/ 4090 w 10000"/>
                <a:gd name="connsiteY3" fmla="*/ 5685 h 10000"/>
                <a:gd name="connsiteX4" fmla="*/ 5948 w 10000"/>
                <a:gd name="connsiteY4" fmla="*/ 5301 h 10000"/>
                <a:gd name="connsiteX5" fmla="*/ 6228 w 10000"/>
                <a:gd name="connsiteY5" fmla="*/ 5148 h 10000"/>
                <a:gd name="connsiteX6" fmla="*/ 6454 w 10000"/>
                <a:gd name="connsiteY6" fmla="*/ 5032 h 10000"/>
                <a:gd name="connsiteX7" fmla="*/ 8537 w 10000"/>
                <a:gd name="connsiteY7" fmla="*/ 3764 h 10000"/>
                <a:gd name="connsiteX8" fmla="*/ 10000 w 10000"/>
                <a:gd name="connsiteY8" fmla="*/ 2651 h 10000"/>
                <a:gd name="connsiteX9" fmla="*/ 8537 w 10000"/>
                <a:gd name="connsiteY9" fmla="*/ 4904 h 10000"/>
                <a:gd name="connsiteX10" fmla="*/ 6322 w 10000"/>
                <a:gd name="connsiteY10" fmla="*/ 7733 h 10000"/>
                <a:gd name="connsiteX11" fmla="*/ 4665 w 10000"/>
                <a:gd name="connsiteY11" fmla="*/ 9437 h 10000"/>
                <a:gd name="connsiteX12" fmla="*/ 3559 w 10000"/>
                <a:gd name="connsiteY12" fmla="*/ 10000 h 10000"/>
                <a:gd name="connsiteX13" fmla="*/ 2121 w 10000"/>
                <a:gd name="connsiteY13" fmla="*/ 8912 h 10000"/>
                <a:gd name="connsiteX14" fmla="*/ 1070 w 10000"/>
                <a:gd name="connsiteY14" fmla="*/ 6031 h 10000"/>
                <a:gd name="connsiteX15" fmla="*/ 582 w 10000"/>
                <a:gd name="connsiteY15" fmla="*/ 3687 h 10000"/>
                <a:gd name="connsiteX16" fmla="*/ 0 w 10000"/>
                <a:gd name="connsiteY16" fmla="*/ 0 h 10000"/>
                <a:gd name="connsiteX0" fmla="*/ 0 w 10000"/>
                <a:gd name="connsiteY0" fmla="*/ 0 h 10000"/>
                <a:gd name="connsiteX1" fmla="*/ 1607 w 10000"/>
                <a:gd name="connsiteY1" fmla="*/ 3572 h 10000"/>
                <a:gd name="connsiteX2" fmla="*/ 2890 w 10000"/>
                <a:gd name="connsiteY2" fmla="*/ 5148 h 10000"/>
                <a:gd name="connsiteX3" fmla="*/ 4090 w 10000"/>
                <a:gd name="connsiteY3" fmla="*/ 5685 h 10000"/>
                <a:gd name="connsiteX4" fmla="*/ 5948 w 10000"/>
                <a:gd name="connsiteY4" fmla="*/ 5301 h 10000"/>
                <a:gd name="connsiteX5" fmla="*/ 6228 w 10000"/>
                <a:gd name="connsiteY5" fmla="*/ 5148 h 10000"/>
                <a:gd name="connsiteX6" fmla="*/ 6454 w 10000"/>
                <a:gd name="connsiteY6" fmla="*/ 5032 h 10000"/>
                <a:gd name="connsiteX7" fmla="*/ 8537 w 10000"/>
                <a:gd name="connsiteY7" fmla="*/ 3764 h 10000"/>
                <a:gd name="connsiteX8" fmla="*/ 10000 w 10000"/>
                <a:gd name="connsiteY8" fmla="*/ 2651 h 10000"/>
                <a:gd name="connsiteX9" fmla="*/ 8537 w 10000"/>
                <a:gd name="connsiteY9" fmla="*/ 4904 h 10000"/>
                <a:gd name="connsiteX10" fmla="*/ 6322 w 10000"/>
                <a:gd name="connsiteY10" fmla="*/ 7733 h 10000"/>
                <a:gd name="connsiteX11" fmla="*/ 4665 w 10000"/>
                <a:gd name="connsiteY11" fmla="*/ 9437 h 10000"/>
                <a:gd name="connsiteX12" fmla="*/ 3559 w 10000"/>
                <a:gd name="connsiteY12" fmla="*/ 10000 h 10000"/>
                <a:gd name="connsiteX13" fmla="*/ 2121 w 10000"/>
                <a:gd name="connsiteY13" fmla="*/ 8912 h 10000"/>
                <a:gd name="connsiteX14" fmla="*/ 1070 w 10000"/>
                <a:gd name="connsiteY14" fmla="*/ 6031 h 10000"/>
                <a:gd name="connsiteX15" fmla="*/ 582 w 10000"/>
                <a:gd name="connsiteY15" fmla="*/ 3687 h 10000"/>
                <a:gd name="connsiteX16" fmla="*/ 0 w 10000"/>
                <a:gd name="connsiteY16" fmla="*/ 0 h 10000"/>
                <a:gd name="connsiteX0" fmla="*/ 0 w 10113"/>
                <a:gd name="connsiteY0" fmla="*/ 0 h 10000"/>
                <a:gd name="connsiteX1" fmla="*/ 1607 w 10113"/>
                <a:gd name="connsiteY1" fmla="*/ 3572 h 10000"/>
                <a:gd name="connsiteX2" fmla="*/ 2890 w 10113"/>
                <a:gd name="connsiteY2" fmla="*/ 5148 h 10000"/>
                <a:gd name="connsiteX3" fmla="*/ 4090 w 10113"/>
                <a:gd name="connsiteY3" fmla="*/ 5685 h 10000"/>
                <a:gd name="connsiteX4" fmla="*/ 5948 w 10113"/>
                <a:gd name="connsiteY4" fmla="*/ 5301 h 10000"/>
                <a:gd name="connsiteX5" fmla="*/ 6228 w 10113"/>
                <a:gd name="connsiteY5" fmla="*/ 5148 h 10000"/>
                <a:gd name="connsiteX6" fmla="*/ 6454 w 10113"/>
                <a:gd name="connsiteY6" fmla="*/ 5032 h 10000"/>
                <a:gd name="connsiteX7" fmla="*/ 8537 w 10113"/>
                <a:gd name="connsiteY7" fmla="*/ 3764 h 10000"/>
                <a:gd name="connsiteX8" fmla="*/ 10113 w 10113"/>
                <a:gd name="connsiteY8" fmla="*/ 2536 h 10000"/>
                <a:gd name="connsiteX9" fmla="*/ 8537 w 10113"/>
                <a:gd name="connsiteY9" fmla="*/ 4904 h 10000"/>
                <a:gd name="connsiteX10" fmla="*/ 6322 w 10113"/>
                <a:gd name="connsiteY10" fmla="*/ 7733 h 10000"/>
                <a:gd name="connsiteX11" fmla="*/ 4665 w 10113"/>
                <a:gd name="connsiteY11" fmla="*/ 9437 h 10000"/>
                <a:gd name="connsiteX12" fmla="*/ 3559 w 10113"/>
                <a:gd name="connsiteY12" fmla="*/ 10000 h 10000"/>
                <a:gd name="connsiteX13" fmla="*/ 2121 w 10113"/>
                <a:gd name="connsiteY13" fmla="*/ 8912 h 10000"/>
                <a:gd name="connsiteX14" fmla="*/ 1070 w 10113"/>
                <a:gd name="connsiteY14" fmla="*/ 6031 h 10000"/>
                <a:gd name="connsiteX15" fmla="*/ 582 w 10113"/>
                <a:gd name="connsiteY15" fmla="*/ 3687 h 10000"/>
                <a:gd name="connsiteX16" fmla="*/ 0 w 10113"/>
                <a:gd name="connsiteY16" fmla="*/ 0 h 10000"/>
                <a:gd name="connsiteX0" fmla="*/ 0 w 10113"/>
                <a:gd name="connsiteY0" fmla="*/ 0 h 10000"/>
                <a:gd name="connsiteX1" fmla="*/ 1607 w 10113"/>
                <a:gd name="connsiteY1" fmla="*/ 3572 h 10000"/>
                <a:gd name="connsiteX2" fmla="*/ 2890 w 10113"/>
                <a:gd name="connsiteY2" fmla="*/ 5148 h 10000"/>
                <a:gd name="connsiteX3" fmla="*/ 4090 w 10113"/>
                <a:gd name="connsiteY3" fmla="*/ 5685 h 10000"/>
                <a:gd name="connsiteX4" fmla="*/ 5948 w 10113"/>
                <a:gd name="connsiteY4" fmla="*/ 5301 h 10000"/>
                <a:gd name="connsiteX5" fmla="*/ 6228 w 10113"/>
                <a:gd name="connsiteY5" fmla="*/ 5148 h 10000"/>
                <a:gd name="connsiteX6" fmla="*/ 6454 w 10113"/>
                <a:gd name="connsiteY6" fmla="*/ 5032 h 10000"/>
                <a:gd name="connsiteX7" fmla="*/ 8537 w 10113"/>
                <a:gd name="connsiteY7" fmla="*/ 3764 h 10000"/>
                <a:gd name="connsiteX8" fmla="*/ 10113 w 10113"/>
                <a:gd name="connsiteY8" fmla="*/ 2536 h 10000"/>
                <a:gd name="connsiteX9" fmla="*/ 8537 w 10113"/>
                <a:gd name="connsiteY9" fmla="*/ 4904 h 10000"/>
                <a:gd name="connsiteX10" fmla="*/ 6322 w 10113"/>
                <a:gd name="connsiteY10" fmla="*/ 7733 h 10000"/>
                <a:gd name="connsiteX11" fmla="*/ 4665 w 10113"/>
                <a:gd name="connsiteY11" fmla="*/ 9437 h 10000"/>
                <a:gd name="connsiteX12" fmla="*/ 3559 w 10113"/>
                <a:gd name="connsiteY12" fmla="*/ 10000 h 10000"/>
                <a:gd name="connsiteX13" fmla="*/ 2646 w 10113"/>
                <a:gd name="connsiteY13" fmla="*/ 9526 h 10000"/>
                <a:gd name="connsiteX14" fmla="*/ 2121 w 10113"/>
                <a:gd name="connsiteY14" fmla="*/ 8912 h 10000"/>
                <a:gd name="connsiteX15" fmla="*/ 1070 w 10113"/>
                <a:gd name="connsiteY15" fmla="*/ 6031 h 10000"/>
                <a:gd name="connsiteX16" fmla="*/ 582 w 10113"/>
                <a:gd name="connsiteY16" fmla="*/ 3687 h 10000"/>
                <a:gd name="connsiteX17" fmla="*/ 0 w 10113"/>
                <a:gd name="connsiteY17" fmla="*/ 0 h 10000"/>
                <a:gd name="connsiteX0" fmla="*/ 0 w 10113"/>
                <a:gd name="connsiteY0" fmla="*/ 0 h 10000"/>
                <a:gd name="connsiteX1" fmla="*/ 1607 w 10113"/>
                <a:gd name="connsiteY1" fmla="*/ 3572 h 10000"/>
                <a:gd name="connsiteX2" fmla="*/ 2890 w 10113"/>
                <a:gd name="connsiteY2" fmla="*/ 5148 h 10000"/>
                <a:gd name="connsiteX3" fmla="*/ 4090 w 10113"/>
                <a:gd name="connsiteY3" fmla="*/ 5685 h 10000"/>
                <a:gd name="connsiteX4" fmla="*/ 5948 w 10113"/>
                <a:gd name="connsiteY4" fmla="*/ 5301 h 10000"/>
                <a:gd name="connsiteX5" fmla="*/ 6228 w 10113"/>
                <a:gd name="connsiteY5" fmla="*/ 5148 h 10000"/>
                <a:gd name="connsiteX6" fmla="*/ 6454 w 10113"/>
                <a:gd name="connsiteY6" fmla="*/ 5032 h 10000"/>
                <a:gd name="connsiteX7" fmla="*/ 8537 w 10113"/>
                <a:gd name="connsiteY7" fmla="*/ 3764 h 10000"/>
                <a:gd name="connsiteX8" fmla="*/ 10113 w 10113"/>
                <a:gd name="connsiteY8" fmla="*/ 2536 h 10000"/>
                <a:gd name="connsiteX9" fmla="*/ 8537 w 10113"/>
                <a:gd name="connsiteY9" fmla="*/ 4904 h 10000"/>
                <a:gd name="connsiteX10" fmla="*/ 6322 w 10113"/>
                <a:gd name="connsiteY10" fmla="*/ 7733 h 10000"/>
                <a:gd name="connsiteX11" fmla="*/ 4665 w 10113"/>
                <a:gd name="connsiteY11" fmla="*/ 9437 h 10000"/>
                <a:gd name="connsiteX12" fmla="*/ 3559 w 10113"/>
                <a:gd name="connsiteY12" fmla="*/ 10000 h 10000"/>
                <a:gd name="connsiteX13" fmla="*/ 2646 w 10113"/>
                <a:gd name="connsiteY13" fmla="*/ 9526 h 10000"/>
                <a:gd name="connsiteX14" fmla="*/ 2121 w 10113"/>
                <a:gd name="connsiteY14" fmla="*/ 8912 h 10000"/>
                <a:gd name="connsiteX15" fmla="*/ 1655 w 10113"/>
                <a:gd name="connsiteY15" fmla="*/ 7761 h 10000"/>
                <a:gd name="connsiteX16" fmla="*/ 1070 w 10113"/>
                <a:gd name="connsiteY16" fmla="*/ 6031 h 10000"/>
                <a:gd name="connsiteX17" fmla="*/ 582 w 10113"/>
                <a:gd name="connsiteY17" fmla="*/ 3687 h 10000"/>
                <a:gd name="connsiteX18" fmla="*/ 0 w 10113"/>
                <a:gd name="connsiteY18" fmla="*/ 0 h 10000"/>
                <a:gd name="connsiteX0" fmla="*/ 0 w 10113"/>
                <a:gd name="connsiteY0" fmla="*/ 0 h 10000"/>
                <a:gd name="connsiteX1" fmla="*/ 1607 w 10113"/>
                <a:gd name="connsiteY1" fmla="*/ 3572 h 10000"/>
                <a:gd name="connsiteX2" fmla="*/ 2890 w 10113"/>
                <a:gd name="connsiteY2" fmla="*/ 5148 h 10000"/>
                <a:gd name="connsiteX3" fmla="*/ 4090 w 10113"/>
                <a:gd name="connsiteY3" fmla="*/ 5685 h 10000"/>
                <a:gd name="connsiteX4" fmla="*/ 5948 w 10113"/>
                <a:gd name="connsiteY4" fmla="*/ 5301 h 10000"/>
                <a:gd name="connsiteX5" fmla="*/ 6228 w 10113"/>
                <a:gd name="connsiteY5" fmla="*/ 5148 h 10000"/>
                <a:gd name="connsiteX6" fmla="*/ 6454 w 10113"/>
                <a:gd name="connsiteY6" fmla="*/ 5032 h 10000"/>
                <a:gd name="connsiteX7" fmla="*/ 8537 w 10113"/>
                <a:gd name="connsiteY7" fmla="*/ 3764 h 10000"/>
                <a:gd name="connsiteX8" fmla="*/ 10113 w 10113"/>
                <a:gd name="connsiteY8" fmla="*/ 2536 h 10000"/>
                <a:gd name="connsiteX9" fmla="*/ 8537 w 10113"/>
                <a:gd name="connsiteY9" fmla="*/ 4904 h 10000"/>
                <a:gd name="connsiteX10" fmla="*/ 6322 w 10113"/>
                <a:gd name="connsiteY10" fmla="*/ 7733 h 10000"/>
                <a:gd name="connsiteX11" fmla="*/ 4665 w 10113"/>
                <a:gd name="connsiteY11" fmla="*/ 9437 h 10000"/>
                <a:gd name="connsiteX12" fmla="*/ 3559 w 10113"/>
                <a:gd name="connsiteY12" fmla="*/ 10000 h 10000"/>
                <a:gd name="connsiteX13" fmla="*/ 2646 w 10113"/>
                <a:gd name="connsiteY13" fmla="*/ 9526 h 10000"/>
                <a:gd name="connsiteX14" fmla="*/ 2121 w 10113"/>
                <a:gd name="connsiteY14" fmla="*/ 8912 h 10000"/>
                <a:gd name="connsiteX15" fmla="*/ 1655 w 10113"/>
                <a:gd name="connsiteY15" fmla="*/ 7761 h 10000"/>
                <a:gd name="connsiteX16" fmla="*/ 1094 w 10113"/>
                <a:gd name="connsiteY16" fmla="*/ 5957 h 10000"/>
                <a:gd name="connsiteX17" fmla="*/ 582 w 10113"/>
                <a:gd name="connsiteY17" fmla="*/ 3687 h 10000"/>
                <a:gd name="connsiteX18" fmla="*/ 0 w 10113"/>
                <a:gd name="connsiteY18" fmla="*/ 0 h 10000"/>
                <a:gd name="connsiteX0" fmla="*/ 0 w 10113"/>
                <a:gd name="connsiteY0" fmla="*/ 0 h 10000"/>
                <a:gd name="connsiteX1" fmla="*/ 1607 w 10113"/>
                <a:gd name="connsiteY1" fmla="*/ 3572 h 10000"/>
                <a:gd name="connsiteX2" fmla="*/ 2890 w 10113"/>
                <a:gd name="connsiteY2" fmla="*/ 5148 h 10000"/>
                <a:gd name="connsiteX3" fmla="*/ 4090 w 10113"/>
                <a:gd name="connsiteY3" fmla="*/ 5685 h 10000"/>
                <a:gd name="connsiteX4" fmla="*/ 5948 w 10113"/>
                <a:gd name="connsiteY4" fmla="*/ 5301 h 10000"/>
                <a:gd name="connsiteX5" fmla="*/ 6228 w 10113"/>
                <a:gd name="connsiteY5" fmla="*/ 5148 h 10000"/>
                <a:gd name="connsiteX6" fmla="*/ 6454 w 10113"/>
                <a:gd name="connsiteY6" fmla="*/ 5032 h 10000"/>
                <a:gd name="connsiteX7" fmla="*/ 8537 w 10113"/>
                <a:gd name="connsiteY7" fmla="*/ 3764 h 10000"/>
                <a:gd name="connsiteX8" fmla="*/ 10113 w 10113"/>
                <a:gd name="connsiteY8" fmla="*/ 2536 h 10000"/>
                <a:gd name="connsiteX9" fmla="*/ 8537 w 10113"/>
                <a:gd name="connsiteY9" fmla="*/ 4904 h 10000"/>
                <a:gd name="connsiteX10" fmla="*/ 6322 w 10113"/>
                <a:gd name="connsiteY10" fmla="*/ 7733 h 10000"/>
                <a:gd name="connsiteX11" fmla="*/ 4665 w 10113"/>
                <a:gd name="connsiteY11" fmla="*/ 9437 h 10000"/>
                <a:gd name="connsiteX12" fmla="*/ 3559 w 10113"/>
                <a:gd name="connsiteY12" fmla="*/ 10000 h 10000"/>
                <a:gd name="connsiteX13" fmla="*/ 2646 w 10113"/>
                <a:gd name="connsiteY13" fmla="*/ 9526 h 10000"/>
                <a:gd name="connsiteX14" fmla="*/ 2121 w 10113"/>
                <a:gd name="connsiteY14" fmla="*/ 8912 h 10000"/>
                <a:gd name="connsiteX15" fmla="*/ 1655 w 10113"/>
                <a:gd name="connsiteY15" fmla="*/ 7761 h 10000"/>
                <a:gd name="connsiteX16" fmla="*/ 1094 w 10113"/>
                <a:gd name="connsiteY16" fmla="*/ 5957 h 10000"/>
                <a:gd name="connsiteX17" fmla="*/ 606 w 10113"/>
                <a:gd name="connsiteY17" fmla="*/ 3613 h 10000"/>
                <a:gd name="connsiteX18" fmla="*/ 0 w 10113"/>
                <a:gd name="connsiteY18" fmla="*/ 0 h 10000"/>
                <a:gd name="connsiteX0" fmla="*/ 0 w 10186"/>
                <a:gd name="connsiteY0" fmla="*/ 0 h 10074"/>
                <a:gd name="connsiteX1" fmla="*/ 1680 w 10186"/>
                <a:gd name="connsiteY1" fmla="*/ 3646 h 10074"/>
                <a:gd name="connsiteX2" fmla="*/ 2963 w 10186"/>
                <a:gd name="connsiteY2" fmla="*/ 5222 h 10074"/>
                <a:gd name="connsiteX3" fmla="*/ 4163 w 10186"/>
                <a:gd name="connsiteY3" fmla="*/ 5759 h 10074"/>
                <a:gd name="connsiteX4" fmla="*/ 6021 w 10186"/>
                <a:gd name="connsiteY4" fmla="*/ 5375 h 10074"/>
                <a:gd name="connsiteX5" fmla="*/ 6301 w 10186"/>
                <a:gd name="connsiteY5" fmla="*/ 5222 h 10074"/>
                <a:gd name="connsiteX6" fmla="*/ 6527 w 10186"/>
                <a:gd name="connsiteY6" fmla="*/ 5106 h 10074"/>
                <a:gd name="connsiteX7" fmla="*/ 8610 w 10186"/>
                <a:gd name="connsiteY7" fmla="*/ 3838 h 10074"/>
                <a:gd name="connsiteX8" fmla="*/ 10186 w 10186"/>
                <a:gd name="connsiteY8" fmla="*/ 2610 h 10074"/>
                <a:gd name="connsiteX9" fmla="*/ 8610 w 10186"/>
                <a:gd name="connsiteY9" fmla="*/ 4978 h 10074"/>
                <a:gd name="connsiteX10" fmla="*/ 6395 w 10186"/>
                <a:gd name="connsiteY10" fmla="*/ 7807 h 10074"/>
                <a:gd name="connsiteX11" fmla="*/ 4738 w 10186"/>
                <a:gd name="connsiteY11" fmla="*/ 9511 h 10074"/>
                <a:gd name="connsiteX12" fmla="*/ 3632 w 10186"/>
                <a:gd name="connsiteY12" fmla="*/ 10074 h 10074"/>
                <a:gd name="connsiteX13" fmla="*/ 2719 w 10186"/>
                <a:gd name="connsiteY13" fmla="*/ 9600 h 10074"/>
                <a:gd name="connsiteX14" fmla="*/ 2194 w 10186"/>
                <a:gd name="connsiteY14" fmla="*/ 8986 h 10074"/>
                <a:gd name="connsiteX15" fmla="*/ 1728 w 10186"/>
                <a:gd name="connsiteY15" fmla="*/ 7835 h 10074"/>
                <a:gd name="connsiteX16" fmla="*/ 1167 w 10186"/>
                <a:gd name="connsiteY16" fmla="*/ 6031 h 10074"/>
                <a:gd name="connsiteX17" fmla="*/ 679 w 10186"/>
                <a:gd name="connsiteY17" fmla="*/ 3687 h 10074"/>
                <a:gd name="connsiteX18" fmla="*/ 0 w 10186"/>
                <a:gd name="connsiteY18" fmla="*/ 0 h 10074"/>
                <a:gd name="connsiteX0" fmla="*/ 68 w 10254"/>
                <a:gd name="connsiteY0" fmla="*/ 57 h 10131"/>
                <a:gd name="connsiteX1" fmla="*/ 1748 w 10254"/>
                <a:gd name="connsiteY1" fmla="*/ 3703 h 10131"/>
                <a:gd name="connsiteX2" fmla="*/ 3031 w 10254"/>
                <a:gd name="connsiteY2" fmla="*/ 5279 h 10131"/>
                <a:gd name="connsiteX3" fmla="*/ 4231 w 10254"/>
                <a:gd name="connsiteY3" fmla="*/ 5816 h 10131"/>
                <a:gd name="connsiteX4" fmla="*/ 6089 w 10254"/>
                <a:gd name="connsiteY4" fmla="*/ 5432 h 10131"/>
                <a:gd name="connsiteX5" fmla="*/ 6369 w 10254"/>
                <a:gd name="connsiteY5" fmla="*/ 5279 h 10131"/>
                <a:gd name="connsiteX6" fmla="*/ 6595 w 10254"/>
                <a:gd name="connsiteY6" fmla="*/ 5163 h 10131"/>
                <a:gd name="connsiteX7" fmla="*/ 8678 w 10254"/>
                <a:gd name="connsiteY7" fmla="*/ 3895 h 10131"/>
                <a:gd name="connsiteX8" fmla="*/ 10254 w 10254"/>
                <a:gd name="connsiteY8" fmla="*/ 2667 h 10131"/>
                <a:gd name="connsiteX9" fmla="*/ 8678 w 10254"/>
                <a:gd name="connsiteY9" fmla="*/ 5035 h 10131"/>
                <a:gd name="connsiteX10" fmla="*/ 6463 w 10254"/>
                <a:gd name="connsiteY10" fmla="*/ 7864 h 10131"/>
                <a:gd name="connsiteX11" fmla="*/ 4806 w 10254"/>
                <a:gd name="connsiteY11" fmla="*/ 9568 h 10131"/>
                <a:gd name="connsiteX12" fmla="*/ 3700 w 10254"/>
                <a:gd name="connsiteY12" fmla="*/ 10131 h 10131"/>
                <a:gd name="connsiteX13" fmla="*/ 2787 w 10254"/>
                <a:gd name="connsiteY13" fmla="*/ 9657 h 10131"/>
                <a:gd name="connsiteX14" fmla="*/ 2262 w 10254"/>
                <a:gd name="connsiteY14" fmla="*/ 9043 h 10131"/>
                <a:gd name="connsiteX15" fmla="*/ 1796 w 10254"/>
                <a:gd name="connsiteY15" fmla="*/ 7892 h 10131"/>
                <a:gd name="connsiteX16" fmla="*/ 1235 w 10254"/>
                <a:gd name="connsiteY16" fmla="*/ 6088 h 10131"/>
                <a:gd name="connsiteX17" fmla="*/ 747 w 10254"/>
                <a:gd name="connsiteY17" fmla="*/ 3744 h 10131"/>
                <a:gd name="connsiteX18" fmla="*/ 382 w 10254"/>
                <a:gd name="connsiteY18" fmla="*/ 1556 h 10131"/>
                <a:gd name="connsiteX19" fmla="*/ 68 w 10254"/>
                <a:gd name="connsiteY19" fmla="*/ 57 h 10131"/>
                <a:gd name="connsiteX0" fmla="*/ 78 w 10191"/>
                <a:gd name="connsiteY0" fmla="*/ 65 h 9991"/>
                <a:gd name="connsiteX1" fmla="*/ 1685 w 10191"/>
                <a:gd name="connsiteY1" fmla="*/ 3563 h 9991"/>
                <a:gd name="connsiteX2" fmla="*/ 2968 w 10191"/>
                <a:gd name="connsiteY2" fmla="*/ 5139 h 9991"/>
                <a:gd name="connsiteX3" fmla="*/ 4168 w 10191"/>
                <a:gd name="connsiteY3" fmla="*/ 5676 h 9991"/>
                <a:gd name="connsiteX4" fmla="*/ 6026 w 10191"/>
                <a:gd name="connsiteY4" fmla="*/ 5292 h 9991"/>
                <a:gd name="connsiteX5" fmla="*/ 6306 w 10191"/>
                <a:gd name="connsiteY5" fmla="*/ 5139 h 9991"/>
                <a:gd name="connsiteX6" fmla="*/ 6532 w 10191"/>
                <a:gd name="connsiteY6" fmla="*/ 5023 h 9991"/>
                <a:gd name="connsiteX7" fmla="*/ 8615 w 10191"/>
                <a:gd name="connsiteY7" fmla="*/ 3755 h 9991"/>
                <a:gd name="connsiteX8" fmla="*/ 10191 w 10191"/>
                <a:gd name="connsiteY8" fmla="*/ 2527 h 9991"/>
                <a:gd name="connsiteX9" fmla="*/ 8615 w 10191"/>
                <a:gd name="connsiteY9" fmla="*/ 4895 h 9991"/>
                <a:gd name="connsiteX10" fmla="*/ 6400 w 10191"/>
                <a:gd name="connsiteY10" fmla="*/ 7724 h 9991"/>
                <a:gd name="connsiteX11" fmla="*/ 4743 w 10191"/>
                <a:gd name="connsiteY11" fmla="*/ 9428 h 9991"/>
                <a:gd name="connsiteX12" fmla="*/ 3637 w 10191"/>
                <a:gd name="connsiteY12" fmla="*/ 9991 h 9991"/>
                <a:gd name="connsiteX13" fmla="*/ 2724 w 10191"/>
                <a:gd name="connsiteY13" fmla="*/ 9517 h 9991"/>
                <a:gd name="connsiteX14" fmla="*/ 2199 w 10191"/>
                <a:gd name="connsiteY14" fmla="*/ 8903 h 9991"/>
                <a:gd name="connsiteX15" fmla="*/ 1733 w 10191"/>
                <a:gd name="connsiteY15" fmla="*/ 7752 h 9991"/>
                <a:gd name="connsiteX16" fmla="*/ 1172 w 10191"/>
                <a:gd name="connsiteY16" fmla="*/ 5948 h 9991"/>
                <a:gd name="connsiteX17" fmla="*/ 684 w 10191"/>
                <a:gd name="connsiteY17" fmla="*/ 3604 h 9991"/>
                <a:gd name="connsiteX18" fmla="*/ 319 w 10191"/>
                <a:gd name="connsiteY18" fmla="*/ 1416 h 9991"/>
                <a:gd name="connsiteX19" fmla="*/ 78 w 10191"/>
                <a:gd name="connsiteY19" fmla="*/ 65 h 9991"/>
                <a:gd name="connsiteX0" fmla="*/ 76 w 9999"/>
                <a:gd name="connsiteY0" fmla="*/ 64 h 9925"/>
                <a:gd name="connsiteX1" fmla="*/ 1652 w 9999"/>
                <a:gd name="connsiteY1" fmla="*/ 3565 h 9925"/>
                <a:gd name="connsiteX2" fmla="*/ 2911 w 9999"/>
                <a:gd name="connsiteY2" fmla="*/ 5143 h 9925"/>
                <a:gd name="connsiteX3" fmla="*/ 4089 w 9999"/>
                <a:gd name="connsiteY3" fmla="*/ 5680 h 9925"/>
                <a:gd name="connsiteX4" fmla="*/ 5912 w 9999"/>
                <a:gd name="connsiteY4" fmla="*/ 5296 h 9925"/>
                <a:gd name="connsiteX5" fmla="*/ 6187 w 9999"/>
                <a:gd name="connsiteY5" fmla="*/ 5143 h 9925"/>
                <a:gd name="connsiteX6" fmla="*/ 6409 w 9999"/>
                <a:gd name="connsiteY6" fmla="*/ 5027 h 9925"/>
                <a:gd name="connsiteX7" fmla="*/ 8453 w 9999"/>
                <a:gd name="connsiteY7" fmla="*/ 3757 h 9925"/>
                <a:gd name="connsiteX8" fmla="*/ 9999 w 9999"/>
                <a:gd name="connsiteY8" fmla="*/ 2528 h 9925"/>
                <a:gd name="connsiteX9" fmla="*/ 8453 w 9999"/>
                <a:gd name="connsiteY9" fmla="*/ 4898 h 9925"/>
                <a:gd name="connsiteX10" fmla="*/ 6279 w 9999"/>
                <a:gd name="connsiteY10" fmla="*/ 7730 h 9925"/>
                <a:gd name="connsiteX11" fmla="*/ 4653 w 9999"/>
                <a:gd name="connsiteY11" fmla="*/ 9435 h 9925"/>
                <a:gd name="connsiteX12" fmla="*/ 3580 w 9999"/>
                <a:gd name="connsiteY12" fmla="*/ 9925 h 9925"/>
                <a:gd name="connsiteX13" fmla="*/ 2672 w 9999"/>
                <a:gd name="connsiteY13" fmla="*/ 9525 h 9925"/>
                <a:gd name="connsiteX14" fmla="*/ 2157 w 9999"/>
                <a:gd name="connsiteY14" fmla="*/ 8910 h 9925"/>
                <a:gd name="connsiteX15" fmla="*/ 1700 w 9999"/>
                <a:gd name="connsiteY15" fmla="*/ 7758 h 9925"/>
                <a:gd name="connsiteX16" fmla="*/ 1149 w 9999"/>
                <a:gd name="connsiteY16" fmla="*/ 5952 h 9925"/>
                <a:gd name="connsiteX17" fmla="*/ 670 w 9999"/>
                <a:gd name="connsiteY17" fmla="*/ 3606 h 9925"/>
                <a:gd name="connsiteX18" fmla="*/ 312 w 9999"/>
                <a:gd name="connsiteY18" fmla="*/ 1416 h 9925"/>
                <a:gd name="connsiteX19" fmla="*/ 76 w 9999"/>
                <a:gd name="connsiteY19" fmla="*/ 64 h 9925"/>
                <a:gd name="connsiteX0" fmla="*/ 76 w 10000"/>
                <a:gd name="connsiteY0" fmla="*/ 64 h 10000"/>
                <a:gd name="connsiteX1" fmla="*/ 1652 w 10000"/>
                <a:gd name="connsiteY1" fmla="*/ 3592 h 10000"/>
                <a:gd name="connsiteX2" fmla="*/ 2911 w 10000"/>
                <a:gd name="connsiteY2" fmla="*/ 5182 h 10000"/>
                <a:gd name="connsiteX3" fmla="*/ 4089 w 10000"/>
                <a:gd name="connsiteY3" fmla="*/ 5723 h 10000"/>
                <a:gd name="connsiteX4" fmla="*/ 5913 w 10000"/>
                <a:gd name="connsiteY4" fmla="*/ 5336 h 10000"/>
                <a:gd name="connsiteX5" fmla="*/ 6188 w 10000"/>
                <a:gd name="connsiteY5" fmla="*/ 5182 h 10000"/>
                <a:gd name="connsiteX6" fmla="*/ 6410 w 10000"/>
                <a:gd name="connsiteY6" fmla="*/ 5065 h 10000"/>
                <a:gd name="connsiteX7" fmla="*/ 8454 w 10000"/>
                <a:gd name="connsiteY7" fmla="*/ 3785 h 10000"/>
                <a:gd name="connsiteX8" fmla="*/ 10000 w 10000"/>
                <a:gd name="connsiteY8" fmla="*/ 2547 h 10000"/>
                <a:gd name="connsiteX9" fmla="*/ 8454 w 10000"/>
                <a:gd name="connsiteY9" fmla="*/ 4935 h 10000"/>
                <a:gd name="connsiteX10" fmla="*/ 6280 w 10000"/>
                <a:gd name="connsiteY10" fmla="*/ 7788 h 10000"/>
                <a:gd name="connsiteX11" fmla="*/ 4653 w 10000"/>
                <a:gd name="connsiteY11" fmla="*/ 9506 h 10000"/>
                <a:gd name="connsiteX12" fmla="*/ 3580 w 10000"/>
                <a:gd name="connsiteY12" fmla="*/ 10000 h 10000"/>
                <a:gd name="connsiteX13" fmla="*/ 2672 w 10000"/>
                <a:gd name="connsiteY13" fmla="*/ 9597 h 10000"/>
                <a:gd name="connsiteX14" fmla="*/ 2157 w 10000"/>
                <a:gd name="connsiteY14" fmla="*/ 8977 h 10000"/>
                <a:gd name="connsiteX15" fmla="*/ 1700 w 10000"/>
                <a:gd name="connsiteY15" fmla="*/ 7817 h 10000"/>
                <a:gd name="connsiteX16" fmla="*/ 1149 w 10000"/>
                <a:gd name="connsiteY16" fmla="*/ 5997 h 10000"/>
                <a:gd name="connsiteX17" fmla="*/ 670 w 10000"/>
                <a:gd name="connsiteY17" fmla="*/ 3633 h 10000"/>
                <a:gd name="connsiteX18" fmla="*/ 312 w 10000"/>
                <a:gd name="connsiteY18" fmla="*/ 1427 h 10000"/>
                <a:gd name="connsiteX19" fmla="*/ 76 w 10000"/>
                <a:gd name="connsiteY19" fmla="*/ 64 h 10000"/>
                <a:gd name="connsiteX0" fmla="*/ 76 w 10000"/>
                <a:gd name="connsiteY0" fmla="*/ 64 h 9925"/>
                <a:gd name="connsiteX1" fmla="*/ 1652 w 10000"/>
                <a:gd name="connsiteY1" fmla="*/ 3592 h 9925"/>
                <a:gd name="connsiteX2" fmla="*/ 2911 w 10000"/>
                <a:gd name="connsiteY2" fmla="*/ 5182 h 9925"/>
                <a:gd name="connsiteX3" fmla="*/ 4089 w 10000"/>
                <a:gd name="connsiteY3" fmla="*/ 5723 h 9925"/>
                <a:gd name="connsiteX4" fmla="*/ 5913 w 10000"/>
                <a:gd name="connsiteY4" fmla="*/ 5336 h 9925"/>
                <a:gd name="connsiteX5" fmla="*/ 6188 w 10000"/>
                <a:gd name="connsiteY5" fmla="*/ 5182 h 9925"/>
                <a:gd name="connsiteX6" fmla="*/ 6410 w 10000"/>
                <a:gd name="connsiteY6" fmla="*/ 5065 h 9925"/>
                <a:gd name="connsiteX7" fmla="*/ 8454 w 10000"/>
                <a:gd name="connsiteY7" fmla="*/ 3785 h 9925"/>
                <a:gd name="connsiteX8" fmla="*/ 10000 w 10000"/>
                <a:gd name="connsiteY8" fmla="*/ 2547 h 9925"/>
                <a:gd name="connsiteX9" fmla="*/ 8454 w 10000"/>
                <a:gd name="connsiteY9" fmla="*/ 4935 h 9925"/>
                <a:gd name="connsiteX10" fmla="*/ 6280 w 10000"/>
                <a:gd name="connsiteY10" fmla="*/ 7788 h 9925"/>
                <a:gd name="connsiteX11" fmla="*/ 4653 w 10000"/>
                <a:gd name="connsiteY11" fmla="*/ 9506 h 9925"/>
                <a:gd name="connsiteX12" fmla="*/ 3580 w 10000"/>
                <a:gd name="connsiteY12" fmla="*/ 9925 h 9925"/>
                <a:gd name="connsiteX13" fmla="*/ 2672 w 10000"/>
                <a:gd name="connsiteY13" fmla="*/ 9597 h 9925"/>
                <a:gd name="connsiteX14" fmla="*/ 2157 w 10000"/>
                <a:gd name="connsiteY14" fmla="*/ 8977 h 9925"/>
                <a:gd name="connsiteX15" fmla="*/ 1700 w 10000"/>
                <a:gd name="connsiteY15" fmla="*/ 7817 h 9925"/>
                <a:gd name="connsiteX16" fmla="*/ 1149 w 10000"/>
                <a:gd name="connsiteY16" fmla="*/ 5997 h 9925"/>
                <a:gd name="connsiteX17" fmla="*/ 670 w 10000"/>
                <a:gd name="connsiteY17" fmla="*/ 3633 h 9925"/>
                <a:gd name="connsiteX18" fmla="*/ 312 w 10000"/>
                <a:gd name="connsiteY18" fmla="*/ 1427 h 9925"/>
                <a:gd name="connsiteX19" fmla="*/ 76 w 10000"/>
                <a:gd name="connsiteY19" fmla="*/ 64 h 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000" h="9925">
                  <a:moveTo>
                    <a:pt x="76" y="64"/>
                  </a:moveTo>
                  <a:lnTo>
                    <a:pt x="1652" y="3592"/>
                  </a:lnTo>
                  <a:lnTo>
                    <a:pt x="2911" y="5182"/>
                  </a:lnTo>
                  <a:lnTo>
                    <a:pt x="4089" y="5723"/>
                  </a:lnTo>
                  <a:cubicBezTo>
                    <a:pt x="4734" y="5569"/>
                    <a:pt x="5269" y="5491"/>
                    <a:pt x="5913" y="5336"/>
                  </a:cubicBezTo>
                  <a:lnTo>
                    <a:pt x="6188" y="5182"/>
                  </a:lnTo>
                  <a:lnTo>
                    <a:pt x="6410" y="5065"/>
                  </a:lnTo>
                  <a:lnTo>
                    <a:pt x="8454" y="3785"/>
                  </a:lnTo>
                  <a:lnTo>
                    <a:pt x="10000" y="2547"/>
                  </a:lnTo>
                  <a:lnTo>
                    <a:pt x="8454" y="4935"/>
                  </a:lnTo>
                  <a:lnTo>
                    <a:pt x="6280" y="7788"/>
                  </a:lnTo>
                  <a:lnTo>
                    <a:pt x="4653" y="9506"/>
                  </a:lnTo>
                  <a:lnTo>
                    <a:pt x="3580" y="9925"/>
                  </a:lnTo>
                  <a:cubicBezTo>
                    <a:pt x="3228" y="9764"/>
                    <a:pt x="2953" y="9808"/>
                    <a:pt x="2672" y="9597"/>
                  </a:cubicBezTo>
                  <a:lnTo>
                    <a:pt x="2157" y="8977"/>
                  </a:lnTo>
                  <a:cubicBezTo>
                    <a:pt x="2013" y="8557"/>
                    <a:pt x="1844" y="8237"/>
                    <a:pt x="1700" y="7817"/>
                  </a:cubicBezTo>
                  <a:lnTo>
                    <a:pt x="1149" y="5997"/>
                  </a:lnTo>
                  <a:cubicBezTo>
                    <a:pt x="989" y="5210"/>
                    <a:pt x="830" y="4421"/>
                    <a:pt x="670" y="3633"/>
                  </a:cubicBezTo>
                  <a:cubicBezTo>
                    <a:pt x="525" y="2893"/>
                    <a:pt x="423" y="2046"/>
                    <a:pt x="312" y="1427"/>
                  </a:cubicBezTo>
                  <a:cubicBezTo>
                    <a:pt x="201" y="808"/>
                    <a:pt x="-154" y="-275"/>
                    <a:pt x="76" y="64"/>
                  </a:cubicBezTo>
                  <a:close/>
                </a:path>
              </a:pathLst>
            </a:custGeom>
            <a:solidFill>
              <a:schemeClr val="accent2"/>
            </a:solidFill>
            <a:ln w="9525" cap="flat" cmpd="sng">
              <a:noFill/>
              <a:prstDash val="solid"/>
              <a:round/>
              <a:headEnd/>
              <a:tailEnd/>
            </a:ln>
            <a:effectLst/>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sp>
          <p:nvSpPr>
            <p:cNvPr id="10" name="Line 6">
              <a:extLst>
                <a:ext uri="{FF2B5EF4-FFF2-40B4-BE49-F238E27FC236}">
                  <a16:creationId xmlns:a16="http://schemas.microsoft.com/office/drawing/2014/main" id="{B443501A-791E-49C8-845B-E9312ECC25E9}"/>
                </a:ext>
              </a:extLst>
            </p:cNvPr>
            <p:cNvSpPr>
              <a:spLocks noChangeShapeType="1"/>
            </p:cNvSpPr>
            <p:nvPr/>
          </p:nvSpPr>
          <p:spPr bwMode="auto">
            <a:xfrm flipV="1">
              <a:off x="920750" y="4692650"/>
              <a:ext cx="0" cy="561975"/>
            </a:xfrm>
            <a:prstGeom prst="line">
              <a:avLst/>
            </a:prstGeom>
            <a:noFill/>
            <a:ln w="6350">
              <a:solidFill>
                <a:schemeClr val="accent2"/>
              </a:solidFill>
              <a:round/>
              <a:headEnd type="triangle" w="med" len="med"/>
              <a:tailEnd type="triangl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sp>
          <p:nvSpPr>
            <p:cNvPr id="11" name="Text Box 7">
              <a:extLst>
                <a:ext uri="{FF2B5EF4-FFF2-40B4-BE49-F238E27FC236}">
                  <a16:creationId xmlns:a16="http://schemas.microsoft.com/office/drawing/2014/main" id="{C297F836-9B95-4EA3-ACE5-A201CA628E3B}"/>
                </a:ext>
              </a:extLst>
            </p:cNvPr>
            <p:cNvSpPr txBox="1">
              <a:spLocks noChangeArrowheads="1"/>
            </p:cNvSpPr>
            <p:nvPr/>
          </p:nvSpPr>
          <p:spPr bwMode="auto">
            <a:xfrm>
              <a:off x="831850" y="2030413"/>
              <a:ext cx="581025" cy="274637"/>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Xx Mio</a:t>
              </a:r>
            </a:p>
          </p:txBody>
        </p:sp>
        <p:sp>
          <p:nvSpPr>
            <p:cNvPr id="12" name="Line 8">
              <a:extLst>
                <a:ext uri="{FF2B5EF4-FFF2-40B4-BE49-F238E27FC236}">
                  <a16:creationId xmlns:a16="http://schemas.microsoft.com/office/drawing/2014/main" id="{36969D27-B8AE-41F5-883B-B5BB702A0EF7}"/>
                </a:ext>
              </a:extLst>
            </p:cNvPr>
            <p:cNvSpPr>
              <a:spLocks noChangeShapeType="1"/>
            </p:cNvSpPr>
            <p:nvPr/>
          </p:nvSpPr>
          <p:spPr bwMode="auto">
            <a:xfrm>
              <a:off x="4221163" y="5240338"/>
              <a:ext cx="771525" cy="0"/>
            </a:xfrm>
            <a:prstGeom prst="line">
              <a:avLst/>
            </a:prstGeom>
            <a:noFill/>
            <a:ln w="6350">
              <a:solidFill>
                <a:schemeClr val="accent1"/>
              </a:solidFill>
              <a:round/>
              <a:headEnd type="triangle" w="med" len="med"/>
              <a:tailEnd type="triangl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sp>
          <p:nvSpPr>
            <p:cNvPr id="13" name="Line 9">
              <a:extLst>
                <a:ext uri="{FF2B5EF4-FFF2-40B4-BE49-F238E27FC236}">
                  <a16:creationId xmlns:a16="http://schemas.microsoft.com/office/drawing/2014/main" id="{51A05CAE-50C5-4AC7-8208-DEE83E75EBD6}"/>
                </a:ext>
              </a:extLst>
            </p:cNvPr>
            <p:cNvSpPr>
              <a:spLocks noChangeShapeType="1"/>
            </p:cNvSpPr>
            <p:nvPr/>
          </p:nvSpPr>
          <p:spPr bwMode="auto">
            <a:xfrm>
              <a:off x="4992688" y="2727325"/>
              <a:ext cx="0" cy="2667000"/>
            </a:xfrm>
            <a:prstGeom prst="line">
              <a:avLst/>
            </a:prstGeom>
            <a:noFill/>
            <a:ln w="12700" cap="rnd">
              <a:solidFill>
                <a:srgbClr val="96968C"/>
              </a:solidFill>
              <a:prstDash val="dash"/>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sp>
          <p:nvSpPr>
            <p:cNvPr id="14" name="Line 10">
              <a:extLst>
                <a:ext uri="{FF2B5EF4-FFF2-40B4-BE49-F238E27FC236}">
                  <a16:creationId xmlns:a16="http://schemas.microsoft.com/office/drawing/2014/main" id="{C4597C80-2C70-4CCA-9A40-01F21FDBD467}"/>
                </a:ext>
              </a:extLst>
            </p:cNvPr>
            <p:cNvSpPr>
              <a:spLocks noChangeShapeType="1"/>
            </p:cNvSpPr>
            <p:nvPr/>
          </p:nvSpPr>
          <p:spPr bwMode="auto">
            <a:xfrm flipH="1">
              <a:off x="781050" y="5254625"/>
              <a:ext cx="1702718" cy="0"/>
            </a:xfrm>
            <a:prstGeom prst="line">
              <a:avLst/>
            </a:prstGeom>
            <a:noFill/>
            <a:ln w="12700" cap="rnd">
              <a:solidFill>
                <a:srgbClr val="96968C"/>
              </a:solidFill>
              <a:prstDash val="dash"/>
              <a:round/>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sp>
          <p:nvSpPr>
            <p:cNvPr id="15" name="Line 11">
              <a:extLst>
                <a:ext uri="{FF2B5EF4-FFF2-40B4-BE49-F238E27FC236}">
                  <a16:creationId xmlns:a16="http://schemas.microsoft.com/office/drawing/2014/main" id="{3F0171DD-A7A5-4981-91BF-18B49E526337}"/>
                </a:ext>
              </a:extLst>
            </p:cNvPr>
            <p:cNvSpPr>
              <a:spLocks noChangeShapeType="1"/>
            </p:cNvSpPr>
            <p:nvPr/>
          </p:nvSpPr>
          <p:spPr bwMode="auto">
            <a:xfrm flipH="1">
              <a:off x="4221163" y="2727325"/>
              <a:ext cx="0" cy="2667000"/>
            </a:xfrm>
            <a:prstGeom prst="line">
              <a:avLst/>
            </a:prstGeom>
            <a:noFill/>
            <a:ln w="12700" cap="rnd">
              <a:solidFill>
                <a:srgbClr val="96968C"/>
              </a:solidFill>
              <a:prstDash val="dash"/>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sp>
          <p:nvSpPr>
            <p:cNvPr id="16" name="Text Box 14">
              <a:extLst>
                <a:ext uri="{FF2B5EF4-FFF2-40B4-BE49-F238E27FC236}">
                  <a16:creationId xmlns:a16="http://schemas.microsoft.com/office/drawing/2014/main" id="{40A1BC29-B85E-4716-95AD-471BF398931D}"/>
                </a:ext>
              </a:extLst>
            </p:cNvPr>
            <p:cNvSpPr txBox="1">
              <a:spLocks noChangeArrowheads="1"/>
            </p:cNvSpPr>
            <p:nvPr/>
          </p:nvSpPr>
          <p:spPr bwMode="auto">
            <a:xfrm>
              <a:off x="7404100" y="4040188"/>
              <a:ext cx="441325" cy="274637"/>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Time</a:t>
              </a:r>
            </a:p>
          </p:txBody>
        </p:sp>
        <p:sp>
          <p:nvSpPr>
            <p:cNvPr id="17" name="Freeform 15">
              <a:extLst>
                <a:ext uri="{FF2B5EF4-FFF2-40B4-BE49-F238E27FC236}">
                  <a16:creationId xmlns:a16="http://schemas.microsoft.com/office/drawing/2014/main" id="{C821CA81-BE56-424D-A9D4-FC1F395A304E}"/>
                </a:ext>
              </a:extLst>
            </p:cNvPr>
            <p:cNvSpPr>
              <a:spLocks/>
            </p:cNvSpPr>
            <p:nvPr/>
          </p:nvSpPr>
          <p:spPr bwMode="auto">
            <a:xfrm>
              <a:off x="1514475" y="3148013"/>
              <a:ext cx="5514975" cy="1687512"/>
            </a:xfrm>
            <a:custGeom>
              <a:avLst/>
              <a:gdLst/>
              <a:ahLst/>
              <a:cxnLst>
                <a:cxn ang="0">
                  <a:pos x="0" y="534"/>
                </a:cxn>
                <a:cxn ang="0">
                  <a:pos x="878" y="974"/>
                </a:cxn>
                <a:cxn ang="0">
                  <a:pos x="3474" y="0"/>
                </a:cxn>
              </a:cxnLst>
              <a:rect l="0" t="0" r="r" b="b"/>
              <a:pathLst>
                <a:path w="3474" h="1063">
                  <a:moveTo>
                    <a:pt x="0" y="534"/>
                  </a:moveTo>
                  <a:cubicBezTo>
                    <a:pt x="147" y="608"/>
                    <a:pt x="299" y="1063"/>
                    <a:pt x="878" y="974"/>
                  </a:cubicBezTo>
                  <a:cubicBezTo>
                    <a:pt x="1457" y="885"/>
                    <a:pt x="2933" y="203"/>
                    <a:pt x="3474" y="0"/>
                  </a:cubicBezTo>
                </a:path>
              </a:pathLst>
            </a:custGeom>
            <a:noFill/>
            <a:ln w="19050" cap="flat" cmpd="sng">
              <a:solidFill>
                <a:srgbClr val="96968C"/>
              </a:solidFill>
              <a:prstDash val="solid"/>
              <a:round/>
              <a:headEnd type="none" w="med" len="med"/>
              <a:tailEnd type="none" w="med" len="med"/>
            </a:ln>
            <a:effectLst/>
          </p:spPr>
          <p:txBody>
            <a:bodyPr wrap="none" lIns="72000" tIns="54000" rIns="72000" bIns="54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sp>
          <p:nvSpPr>
            <p:cNvPr id="18" name="Freeform 16">
              <a:extLst>
                <a:ext uri="{FF2B5EF4-FFF2-40B4-BE49-F238E27FC236}">
                  <a16:creationId xmlns:a16="http://schemas.microsoft.com/office/drawing/2014/main" id="{6F227D6E-1A07-4761-9E6D-A1ED2466BC43}"/>
                </a:ext>
              </a:extLst>
            </p:cNvPr>
            <p:cNvSpPr>
              <a:spLocks/>
            </p:cNvSpPr>
            <p:nvPr/>
          </p:nvSpPr>
          <p:spPr bwMode="auto">
            <a:xfrm>
              <a:off x="1519238" y="2176463"/>
              <a:ext cx="5448300" cy="3316287"/>
            </a:xfrm>
            <a:custGeom>
              <a:avLst/>
              <a:gdLst/>
              <a:ahLst/>
              <a:cxnLst>
                <a:cxn ang="0">
                  <a:pos x="0" y="1143"/>
                </a:cxn>
                <a:cxn ang="0">
                  <a:pos x="755" y="1898"/>
                </a:cxn>
                <a:cxn ang="0">
                  <a:pos x="3432" y="0"/>
                </a:cxn>
              </a:cxnLst>
              <a:rect l="0" t="0" r="r" b="b"/>
              <a:pathLst>
                <a:path w="3432" h="2089">
                  <a:moveTo>
                    <a:pt x="0" y="1143"/>
                  </a:moveTo>
                  <a:cubicBezTo>
                    <a:pt x="125" y="1269"/>
                    <a:pt x="183" y="2089"/>
                    <a:pt x="755" y="1898"/>
                  </a:cubicBezTo>
                  <a:cubicBezTo>
                    <a:pt x="1327" y="1707"/>
                    <a:pt x="2874" y="395"/>
                    <a:pt x="3432" y="0"/>
                  </a:cubicBezTo>
                </a:path>
              </a:pathLst>
            </a:custGeom>
            <a:noFill/>
            <a:ln w="19050" cap="flat" cmpd="sng">
              <a:solidFill>
                <a:srgbClr val="96968C"/>
              </a:solidFill>
              <a:prstDash val="solid"/>
              <a:round/>
              <a:headEnd type="none" w="med" len="med"/>
              <a:tailEnd type="none" w="med" len="med"/>
            </a:ln>
            <a:effectLst/>
          </p:spPr>
          <p:txBody>
            <a:bodyPr wrap="none" lIns="72000" tIns="54000" rIns="72000" bIns="54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sp>
          <p:nvSpPr>
            <p:cNvPr id="19" name="Line 17">
              <a:extLst>
                <a:ext uri="{FF2B5EF4-FFF2-40B4-BE49-F238E27FC236}">
                  <a16:creationId xmlns:a16="http://schemas.microsoft.com/office/drawing/2014/main" id="{86E21069-888F-45BB-9BF3-EE20A1C03A6B}"/>
                </a:ext>
              </a:extLst>
            </p:cNvPr>
            <p:cNvSpPr>
              <a:spLocks noChangeShapeType="1"/>
            </p:cNvSpPr>
            <p:nvPr/>
          </p:nvSpPr>
          <p:spPr bwMode="auto">
            <a:xfrm flipH="1">
              <a:off x="781050" y="4692650"/>
              <a:ext cx="1702718" cy="0"/>
            </a:xfrm>
            <a:prstGeom prst="line">
              <a:avLst/>
            </a:prstGeom>
            <a:noFill/>
            <a:ln w="12700" cap="rnd">
              <a:solidFill>
                <a:srgbClr val="96968C"/>
              </a:solidFill>
              <a:prstDash val="dash"/>
              <a:round/>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sp>
          <p:nvSpPr>
            <p:cNvPr id="20" name="Line 18">
              <a:extLst>
                <a:ext uri="{FF2B5EF4-FFF2-40B4-BE49-F238E27FC236}">
                  <a16:creationId xmlns:a16="http://schemas.microsoft.com/office/drawing/2014/main" id="{7CE65BA5-1FAC-40D5-AC80-B4B8F13175ED}"/>
                </a:ext>
              </a:extLst>
            </p:cNvPr>
            <p:cNvSpPr>
              <a:spLocks noChangeShapeType="1"/>
            </p:cNvSpPr>
            <p:nvPr/>
          </p:nvSpPr>
          <p:spPr bwMode="auto">
            <a:xfrm flipV="1">
              <a:off x="7310438" y="2165350"/>
              <a:ext cx="0" cy="982663"/>
            </a:xfrm>
            <a:prstGeom prst="line">
              <a:avLst/>
            </a:prstGeom>
            <a:noFill/>
            <a:ln w="6350">
              <a:solidFill>
                <a:schemeClr val="accent6"/>
              </a:solidFill>
              <a:round/>
              <a:headEnd type="triangle" w="med" len="med"/>
              <a:tailEnd type="triangle" w="med" len="med"/>
            </a:ln>
            <a:effectLst/>
          </p:spPr>
          <p:txBody>
            <a:bodyPr lIns="45720" rIns="45720"/>
            <a:lstStyle/>
            <a:p>
              <a:endParaRPr lang="en-US" sz="1400"/>
            </a:p>
          </p:txBody>
        </p:sp>
        <p:sp>
          <p:nvSpPr>
            <p:cNvPr id="21" name="Line 19">
              <a:extLst>
                <a:ext uri="{FF2B5EF4-FFF2-40B4-BE49-F238E27FC236}">
                  <a16:creationId xmlns:a16="http://schemas.microsoft.com/office/drawing/2014/main" id="{9565B3CE-5618-474A-BA7B-83D683BB8B66}"/>
                </a:ext>
              </a:extLst>
            </p:cNvPr>
            <p:cNvSpPr>
              <a:spLocks noChangeShapeType="1"/>
            </p:cNvSpPr>
            <p:nvPr/>
          </p:nvSpPr>
          <p:spPr bwMode="auto">
            <a:xfrm flipH="1">
              <a:off x="7029450" y="3148013"/>
              <a:ext cx="490538" cy="0"/>
            </a:xfrm>
            <a:prstGeom prst="line">
              <a:avLst/>
            </a:prstGeom>
            <a:noFill/>
            <a:ln w="12700" cap="rnd">
              <a:solidFill>
                <a:srgbClr val="96968C"/>
              </a:solidFill>
              <a:prstDash val="dash"/>
              <a:round/>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sp>
          <p:nvSpPr>
            <p:cNvPr id="22" name="Line 20">
              <a:extLst>
                <a:ext uri="{FF2B5EF4-FFF2-40B4-BE49-F238E27FC236}">
                  <a16:creationId xmlns:a16="http://schemas.microsoft.com/office/drawing/2014/main" id="{985463BE-0D35-4F8D-9DA8-1D2C121759AC}"/>
                </a:ext>
              </a:extLst>
            </p:cNvPr>
            <p:cNvSpPr>
              <a:spLocks noChangeShapeType="1"/>
            </p:cNvSpPr>
            <p:nvPr/>
          </p:nvSpPr>
          <p:spPr bwMode="auto">
            <a:xfrm flipH="1">
              <a:off x="6818313" y="2165350"/>
              <a:ext cx="701675" cy="0"/>
            </a:xfrm>
            <a:prstGeom prst="line">
              <a:avLst/>
            </a:prstGeom>
            <a:noFill/>
            <a:ln w="12700" cap="rnd">
              <a:solidFill>
                <a:srgbClr val="96968C"/>
              </a:solidFill>
              <a:prstDash val="dash"/>
              <a:round/>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sp>
          <p:nvSpPr>
            <p:cNvPr id="23" name="Text Box 21">
              <a:extLst>
                <a:ext uri="{FF2B5EF4-FFF2-40B4-BE49-F238E27FC236}">
                  <a16:creationId xmlns:a16="http://schemas.microsoft.com/office/drawing/2014/main" id="{E03643B1-0996-4C3B-8442-1D25AEA763AA}"/>
                </a:ext>
              </a:extLst>
            </p:cNvPr>
            <p:cNvSpPr txBox="1">
              <a:spLocks noChangeArrowheads="1"/>
            </p:cNvSpPr>
            <p:nvPr/>
          </p:nvSpPr>
          <p:spPr bwMode="auto">
            <a:xfrm>
              <a:off x="5273675" y="2235200"/>
              <a:ext cx="1054100" cy="274638"/>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Alternative 1</a:t>
              </a:r>
            </a:p>
          </p:txBody>
        </p:sp>
        <p:sp>
          <p:nvSpPr>
            <p:cNvPr id="24" name="Text Box 22">
              <a:extLst>
                <a:ext uri="{FF2B5EF4-FFF2-40B4-BE49-F238E27FC236}">
                  <a16:creationId xmlns:a16="http://schemas.microsoft.com/office/drawing/2014/main" id="{0541DB00-EA97-496C-B3FD-CE879F1C0CA0}"/>
                </a:ext>
              </a:extLst>
            </p:cNvPr>
            <p:cNvSpPr txBox="1">
              <a:spLocks noChangeArrowheads="1"/>
            </p:cNvSpPr>
            <p:nvPr/>
          </p:nvSpPr>
          <p:spPr bwMode="auto">
            <a:xfrm>
              <a:off x="6116638" y="3568700"/>
              <a:ext cx="1054100" cy="274638"/>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mn-ea"/>
                  <a:cs typeface="+mn-cs"/>
                </a:rPr>
                <a:t>Alternative 2</a:t>
              </a:r>
            </a:p>
          </p:txBody>
        </p:sp>
        <p:sp>
          <p:nvSpPr>
            <p:cNvPr id="25" name="Line 13">
              <a:extLst>
                <a:ext uri="{FF2B5EF4-FFF2-40B4-BE49-F238E27FC236}">
                  <a16:creationId xmlns:a16="http://schemas.microsoft.com/office/drawing/2014/main" id="{8082E7AF-73AC-4803-9DF1-6D488C4A36C4}"/>
                </a:ext>
              </a:extLst>
            </p:cNvPr>
            <p:cNvSpPr>
              <a:spLocks noChangeShapeType="1"/>
            </p:cNvSpPr>
            <p:nvPr/>
          </p:nvSpPr>
          <p:spPr bwMode="auto">
            <a:xfrm>
              <a:off x="1507602" y="2024063"/>
              <a:ext cx="0" cy="3581400"/>
            </a:xfrm>
            <a:prstGeom prst="line">
              <a:avLst/>
            </a:prstGeom>
            <a:noFill/>
            <a:ln w="12700" cap="rnd" cmpd="sng">
              <a:solidFill>
                <a:srgbClr val="000000"/>
              </a:solidFill>
              <a:prstDash val="solid"/>
              <a:round/>
              <a:headEnd type="triangle" w="med" len="med"/>
              <a:tailEnd type="triangl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grpSp>
      <p:sp>
        <p:nvSpPr>
          <p:cNvPr id="27" name="Footer Placeholder 26">
            <a:extLst>
              <a:ext uri="{FF2B5EF4-FFF2-40B4-BE49-F238E27FC236}">
                <a16:creationId xmlns:a16="http://schemas.microsoft.com/office/drawing/2014/main" id="{BFA312B8-633A-4AC0-91FF-228BAE1051D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8" name="Slide Number Placeholder 27">
            <a:extLst>
              <a:ext uri="{FF2B5EF4-FFF2-40B4-BE49-F238E27FC236}">
                <a16:creationId xmlns:a16="http://schemas.microsoft.com/office/drawing/2014/main" id="{4EBE1C10-080E-4AEF-A9A3-862E891C8FA3}"/>
              </a:ext>
            </a:extLst>
          </p:cNvPr>
          <p:cNvSpPr>
            <a:spLocks noGrp="1"/>
          </p:cNvSpPr>
          <p:nvPr>
            <p:ph type="sldNum" sz="quarter" idx="10"/>
          </p:nvPr>
        </p:nvSpPr>
        <p:spPr/>
        <p:txBody>
          <a:bodyPr/>
          <a:lstStyle/>
          <a:p>
            <a:fld id="{1F90F471-3972-4120-B8B3-0237DE626C35}" type="slidenum">
              <a:rPr lang="en-US" smtClean="0"/>
              <a:pPr/>
              <a:t>436</a:t>
            </a:fld>
            <a:endParaRPr lang="en-US" dirty="0"/>
          </a:p>
        </p:txBody>
      </p:sp>
    </p:spTree>
    <p:extLst>
      <p:ext uri="{BB962C8B-B14F-4D97-AF65-F5344CB8AC3E}">
        <p14:creationId xmlns:p14="http://schemas.microsoft.com/office/powerpoint/2010/main" val="1205622632"/>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Frameworks: Porter Five Forces</a:t>
            </a:r>
          </a:p>
        </p:txBody>
      </p:sp>
      <p:sp>
        <p:nvSpPr>
          <p:cNvPr id="5" name="Rectangle 13">
            <a:extLst>
              <a:ext uri="{FF2B5EF4-FFF2-40B4-BE49-F238E27FC236}">
                <a16:creationId xmlns:a16="http://schemas.microsoft.com/office/drawing/2014/main" id="{1D8F9B23-5F47-4A4E-BDF7-3A46596F5572}"/>
              </a:ext>
            </a:extLst>
          </p:cNvPr>
          <p:cNvSpPr>
            <a:spLocks noChangeArrowheads="1"/>
          </p:cNvSpPr>
          <p:nvPr/>
        </p:nvSpPr>
        <p:spPr bwMode="auto">
          <a:xfrm>
            <a:off x="4813418" y="5303283"/>
            <a:ext cx="2347475" cy="434567"/>
          </a:xfrm>
          <a:prstGeom prst="rect">
            <a:avLst/>
          </a:prstGeom>
          <a:noFill/>
          <a:ln w="28575" algn="ctr">
            <a:noFill/>
            <a:miter lim="800000"/>
            <a:headEnd/>
            <a:tailEnd/>
          </a:ln>
          <a:effectLst/>
        </p:spPr>
        <p:txBody>
          <a:bodyPr lIns="18000" tIns="10800" rIns="18000" bIns="10800" anchor="ct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mj-lt"/>
                <a:ea typeface="+mn-ea"/>
                <a:cs typeface="+mn-cs"/>
              </a:rPr>
              <a:t>Competitive rivalry</a:t>
            </a:r>
            <a:br>
              <a:rPr kumimoji="0" lang="en-US" sz="1400" b="1" i="0" u="none" strike="noStrike" kern="1200" cap="none" spc="0" normalizeH="0" baseline="0" noProof="0" dirty="0">
                <a:ln>
                  <a:noFill/>
                </a:ln>
                <a:solidFill>
                  <a:srgbClr val="000000"/>
                </a:solidFill>
                <a:effectLst/>
                <a:uLnTx/>
                <a:uFillTx/>
                <a:latin typeface="+mj-lt"/>
                <a:ea typeface="+mn-ea"/>
                <a:cs typeface="+mn-cs"/>
              </a:rPr>
            </a:br>
            <a:r>
              <a:rPr kumimoji="0" lang="en-US" sz="1400" b="1" i="0" u="none" strike="noStrike" kern="1200" cap="none" spc="0" normalizeH="0" baseline="0" noProof="0" dirty="0">
                <a:ln>
                  <a:noFill/>
                </a:ln>
                <a:solidFill>
                  <a:srgbClr val="000000"/>
                </a:solidFill>
                <a:effectLst/>
                <a:uLnTx/>
                <a:uFillTx/>
                <a:latin typeface="+mj-lt"/>
                <a:ea typeface="+mn-ea"/>
                <a:cs typeface="+mn-cs"/>
              </a:rPr>
              <a:t>within the industry</a:t>
            </a:r>
          </a:p>
        </p:txBody>
      </p:sp>
      <p:sp>
        <p:nvSpPr>
          <p:cNvPr id="6" name="Circular Arrow 14">
            <a:extLst>
              <a:ext uri="{FF2B5EF4-FFF2-40B4-BE49-F238E27FC236}">
                <a16:creationId xmlns:a16="http://schemas.microsoft.com/office/drawing/2014/main" id="{7768DD29-E41A-47A5-8D52-FDC5A6C65772}"/>
              </a:ext>
              <a:ext uri="{C183D7F6-B498-43B3-948B-1728B52AA6E4}">
                <adec:decorative xmlns:adec="http://schemas.microsoft.com/office/drawing/2017/decorative" val="1"/>
              </a:ext>
            </a:extLst>
          </p:cNvPr>
          <p:cNvSpPr/>
          <p:nvPr/>
        </p:nvSpPr>
        <p:spPr bwMode="auto">
          <a:xfrm rot="16617642">
            <a:off x="4178980" y="1582576"/>
            <a:ext cx="3616352" cy="3616352"/>
          </a:xfrm>
          <a:prstGeom prst="circularArrow">
            <a:avLst>
              <a:gd name="adj1" fmla="val 12500"/>
              <a:gd name="adj2" fmla="val 600187"/>
              <a:gd name="adj3" fmla="val 20457681"/>
              <a:gd name="adj4" fmla="val 21448570"/>
              <a:gd name="adj5" fmla="val 10452"/>
            </a:avLst>
          </a:prstGeom>
          <a:solidFill>
            <a:srgbClr val="A100FF"/>
          </a:solidFill>
          <a:ln w="9525" algn="ctr">
            <a:noFill/>
            <a:miter lim="800000"/>
            <a:headEnd/>
            <a:tailEnd/>
          </a:ln>
        </p:spPr>
        <p:txBody>
          <a:bodyPr lIns="90000" tIns="72000" rIns="144000" bIns="72000" rtlCol="0" anchor="ctr"/>
          <a:lstStyle/>
          <a:p>
            <a:pPr marL="157163" marR="0" lvl="0" indent="-157163" algn="ctr" defTabSz="914400" rtl="0" eaLnBrk="1" fontAlgn="base" latinLnBrk="0" hangingPunct="1">
              <a:lnSpc>
                <a:spcPct val="100000"/>
              </a:lnSpc>
              <a:spcBef>
                <a:spcPct val="50000"/>
              </a:spcBef>
              <a:spcAft>
                <a:spcPct val="0"/>
              </a:spcAft>
              <a:buClr>
                <a:srgbClr val="F0AB00"/>
              </a:buClr>
              <a:buSzPct val="80000"/>
              <a:buFont typeface="Wingdings" pitchFamily="2" charset="2"/>
              <a:buChar char="n"/>
              <a:tabLst/>
              <a:defRPr/>
            </a:pPr>
            <a:endParaRPr kumimoji="0" lang="en-US" sz="14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endParaRPr>
          </a:p>
        </p:txBody>
      </p:sp>
      <p:sp>
        <p:nvSpPr>
          <p:cNvPr id="7" name="Text Placeholder 17">
            <a:extLst>
              <a:ext uri="{FF2B5EF4-FFF2-40B4-BE49-F238E27FC236}">
                <a16:creationId xmlns:a16="http://schemas.microsoft.com/office/drawing/2014/main" id="{86759DE9-7568-4B48-85E1-30CA447B0EF7}"/>
              </a:ext>
            </a:extLst>
          </p:cNvPr>
          <p:cNvSpPr txBox="1">
            <a:spLocks/>
          </p:cNvSpPr>
          <p:nvPr/>
        </p:nvSpPr>
        <p:spPr bwMode="auto">
          <a:xfrm>
            <a:off x="5026546" y="2600908"/>
            <a:ext cx="2024898" cy="1685704"/>
          </a:xfrm>
          <a:prstGeom prst="rect">
            <a:avLst/>
          </a:prstGeom>
        </p:spPr>
        <p:txBody>
          <a:bodyPr/>
          <a:lstStyle/>
          <a:p>
            <a:pPr marL="276225" marR="0" lvl="1" indent="-180975" algn="l" defTabSz="914400" rtl="0" eaLnBrk="1" fontAlgn="auto" latinLnBrk="0" hangingPunct="1">
              <a:lnSpc>
                <a:spcPct val="100000"/>
              </a:lnSpc>
              <a:spcBef>
                <a:spcPts val="100"/>
              </a:spcBef>
              <a:spcAft>
                <a:spcPts val="100"/>
              </a:spcAft>
              <a:buClrTx/>
              <a:buSzTx/>
              <a:buFont typeface="Wingdings" pitchFamily="2" charset="2"/>
              <a:buChar char=""/>
              <a:tabLst/>
              <a:defRPr/>
            </a:pPr>
            <a:r>
              <a:rPr kumimoji="0" lang="en-US" sz="1200" b="0" i="0" u="none" strike="noStrike" kern="0" cap="none" spc="0" normalizeH="0" baseline="0" noProof="0" dirty="0">
                <a:ln>
                  <a:noFill/>
                </a:ln>
                <a:solidFill>
                  <a:srgbClr val="000000"/>
                </a:solidFill>
                <a:effectLst/>
                <a:uLnTx/>
                <a:uFillTx/>
                <a:ea typeface="+mn-ea"/>
                <a:cs typeface="+mn-cs"/>
              </a:rPr>
              <a:t>Text</a:t>
            </a:r>
          </a:p>
          <a:p>
            <a:pPr marL="457200" marR="0" lvl="2" indent="-180975" algn="l" defTabSz="914400" rtl="0" eaLnBrk="1" fontAlgn="auto" latinLnBrk="0" hangingPunct="1">
              <a:lnSpc>
                <a:spcPct val="100000"/>
              </a:lnSpc>
              <a:spcBef>
                <a:spcPts val="100"/>
              </a:spcBef>
              <a:spcAft>
                <a:spcPts val="100"/>
              </a:spcAft>
              <a:buClrTx/>
              <a:buSzPct val="100000"/>
              <a:buFont typeface="Arial" pitchFamily="34" charset="0"/>
              <a:buChar char="–"/>
              <a:tabLst/>
              <a:defRPr/>
            </a:pPr>
            <a:r>
              <a:rPr kumimoji="0" lang="en-US" sz="1200" b="0" i="0" u="none" strike="noStrike" kern="0" cap="none" spc="0" normalizeH="0" baseline="0" noProof="0" dirty="0">
                <a:ln>
                  <a:noFill/>
                </a:ln>
                <a:solidFill>
                  <a:srgbClr val="000000"/>
                </a:solidFill>
                <a:effectLst/>
                <a:uLnTx/>
                <a:uFillTx/>
                <a:ea typeface="+mn-ea"/>
                <a:cs typeface="+mn-cs"/>
              </a:rPr>
              <a:t>Text</a:t>
            </a:r>
          </a:p>
        </p:txBody>
      </p:sp>
      <p:grpSp>
        <p:nvGrpSpPr>
          <p:cNvPr id="23" name="Group 22" descr="Bargaining Power of Customers">
            <a:extLst>
              <a:ext uri="{FF2B5EF4-FFF2-40B4-BE49-F238E27FC236}">
                <a16:creationId xmlns:a16="http://schemas.microsoft.com/office/drawing/2014/main" id="{C7AA2307-621F-42C6-A628-586E1C82CD67}"/>
              </a:ext>
            </a:extLst>
          </p:cNvPr>
          <p:cNvGrpSpPr/>
          <p:nvPr/>
        </p:nvGrpSpPr>
        <p:grpSpPr>
          <a:xfrm>
            <a:off x="1899470" y="2170915"/>
            <a:ext cx="2886328" cy="1697727"/>
            <a:chOff x="1899470" y="2170915"/>
            <a:chExt cx="2886328" cy="1697727"/>
          </a:xfrm>
        </p:grpSpPr>
        <p:sp>
          <p:nvSpPr>
            <p:cNvPr id="8" name="Text Placeholder 12">
              <a:extLst>
                <a:ext uri="{FF2B5EF4-FFF2-40B4-BE49-F238E27FC236}">
                  <a16:creationId xmlns:a16="http://schemas.microsoft.com/office/drawing/2014/main" id="{CC058A4E-BF16-44E4-BCC2-F0FB646B15D9}"/>
                </a:ext>
              </a:extLst>
            </p:cNvPr>
            <p:cNvSpPr txBox="1">
              <a:spLocks/>
            </p:cNvSpPr>
            <p:nvPr/>
          </p:nvSpPr>
          <p:spPr bwMode="auto">
            <a:xfrm>
              <a:off x="1899471" y="2449837"/>
              <a:ext cx="2490348" cy="1418805"/>
            </a:xfrm>
            <a:prstGeom prst="rect">
              <a:avLst/>
            </a:prstGeom>
            <a:noFill/>
            <a:ln w="12700">
              <a:noFill/>
              <a:miter lim="800000"/>
              <a:headEnd/>
              <a:tailEnd/>
            </a:ln>
          </p:spPr>
          <p:txBody>
            <a:bodyPr vert="horz" wrap="square" lIns="0" tIns="90000" rIns="90000" bIns="90000" numCol="1" anchor="t" anchorCtr="0" compatLnSpc="1">
              <a:prstTxWarp prst="textNoShape">
                <a:avLst/>
              </a:prstTxWarp>
              <a:noAutofit/>
            </a:bodyPr>
            <a:lstStyle/>
            <a:p>
              <a:pPr marL="266700" marR="0" lvl="2" indent="-180975" algn="l" defTabSz="914400" rtl="0" eaLnBrk="1" fontAlgn="auto" latinLnBrk="0" hangingPunct="1">
                <a:lnSpc>
                  <a:spcPct val="100000"/>
                </a:lnSpc>
                <a:spcBef>
                  <a:spcPts val="100"/>
                </a:spcBef>
                <a:spcAft>
                  <a:spcPts val="100"/>
                </a:spcAft>
                <a:buClrTx/>
                <a:buSzPct val="100000"/>
                <a:buFont typeface="Wingdings" pitchFamily="2" charset="2"/>
                <a:buChar char=""/>
                <a:tabLst/>
                <a:defRPr/>
              </a:pPr>
              <a:r>
                <a:rPr kumimoji="0" lang="en-US" sz="1200" b="0" i="0" u="none" strike="noStrike" kern="0" cap="none" spc="0" normalizeH="0" baseline="0" noProof="0" dirty="0">
                  <a:ln>
                    <a:noFill/>
                  </a:ln>
                  <a:solidFill>
                    <a:srgbClr val="000000"/>
                  </a:solidFill>
                  <a:effectLst/>
                  <a:uLnTx/>
                  <a:uFillTx/>
                  <a:ea typeface="+mn-ea"/>
                  <a:cs typeface="+mn-cs"/>
                </a:rPr>
                <a:t>Text</a:t>
              </a:r>
            </a:p>
            <a:p>
              <a:pPr marL="447675" marR="0" lvl="3" indent="-171450" algn="l" defTabSz="914400" rtl="0" eaLnBrk="1" fontAlgn="auto" latinLnBrk="0" hangingPunct="1">
                <a:lnSpc>
                  <a:spcPct val="100000"/>
                </a:lnSpc>
                <a:spcBef>
                  <a:spcPts val="100"/>
                </a:spcBef>
                <a:spcAft>
                  <a:spcPts val="100"/>
                </a:spcAft>
                <a:buClrTx/>
                <a:buSzPct val="100000"/>
                <a:buFont typeface="Arial" pitchFamily="34" charset="0"/>
                <a:buChar char="–"/>
                <a:tabLst/>
                <a:defRPr/>
              </a:pPr>
              <a:r>
                <a:rPr kumimoji="0" lang="en-US" sz="1200" b="0" i="0" u="none" strike="noStrike" kern="0" cap="none" spc="0" normalizeH="0" baseline="0" noProof="0" dirty="0">
                  <a:ln>
                    <a:noFill/>
                  </a:ln>
                  <a:solidFill>
                    <a:srgbClr val="000000"/>
                  </a:solidFill>
                  <a:effectLst/>
                  <a:uLnTx/>
                  <a:uFillTx/>
                  <a:ea typeface="+mn-ea"/>
                  <a:cs typeface="+mn-cs"/>
                </a:rPr>
                <a:t>Text</a:t>
              </a:r>
            </a:p>
          </p:txBody>
        </p:sp>
        <p:grpSp>
          <p:nvGrpSpPr>
            <p:cNvPr id="3" name="Group 2">
              <a:extLst>
                <a:ext uri="{FF2B5EF4-FFF2-40B4-BE49-F238E27FC236}">
                  <a16:creationId xmlns:a16="http://schemas.microsoft.com/office/drawing/2014/main" id="{4B160FD0-B520-4731-B8C6-40E89FF5DAFB}"/>
                </a:ext>
              </a:extLst>
            </p:cNvPr>
            <p:cNvGrpSpPr/>
            <p:nvPr/>
          </p:nvGrpSpPr>
          <p:grpSpPr>
            <a:xfrm>
              <a:off x="1899470" y="2170915"/>
              <a:ext cx="2886328" cy="611903"/>
              <a:chOff x="1899470" y="2170915"/>
              <a:chExt cx="2886328" cy="611903"/>
            </a:xfrm>
          </p:grpSpPr>
          <p:sp>
            <p:nvSpPr>
              <p:cNvPr id="9" name="Rectangle 8">
                <a:extLst>
                  <a:ext uri="{FF2B5EF4-FFF2-40B4-BE49-F238E27FC236}">
                    <a16:creationId xmlns:a16="http://schemas.microsoft.com/office/drawing/2014/main" id="{48703BB0-E582-4C2C-BCD4-D9B42404CFE3}"/>
                  </a:ext>
                </a:extLst>
              </p:cNvPr>
              <p:cNvSpPr>
                <a:spLocks noChangeArrowheads="1"/>
              </p:cNvSpPr>
              <p:nvPr/>
            </p:nvSpPr>
            <p:spPr bwMode="auto">
              <a:xfrm>
                <a:off x="1899470" y="2170915"/>
                <a:ext cx="2886328" cy="252726"/>
              </a:xfrm>
              <a:prstGeom prst="rect">
                <a:avLst/>
              </a:prstGeom>
              <a:noFill/>
              <a:ln w="38100" algn="ctr">
                <a:noFill/>
                <a:miter lim="800000"/>
                <a:headEnd/>
                <a:tailEnd/>
              </a:ln>
              <a:effectLst/>
            </p:spPr>
            <p:txBody>
              <a:bodyPr lIns="0" tIns="10800" rIns="18000" bIns="1080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mn-ea"/>
                    <a:cs typeface="+mn-cs"/>
                  </a:rPr>
                  <a:t>Bargaining Power of Customers</a:t>
                </a:r>
              </a:p>
            </p:txBody>
          </p:sp>
          <p:sp>
            <p:nvSpPr>
              <p:cNvPr id="16" name="Freeform 55">
                <a:extLst>
                  <a:ext uri="{FF2B5EF4-FFF2-40B4-BE49-F238E27FC236}">
                    <a16:creationId xmlns:a16="http://schemas.microsoft.com/office/drawing/2014/main" id="{F6D0D4AA-5B19-437C-ACCA-8B5085A4BD96}"/>
                  </a:ext>
                </a:extLst>
              </p:cNvPr>
              <p:cNvSpPr/>
              <p:nvPr/>
            </p:nvSpPr>
            <p:spPr bwMode="auto">
              <a:xfrm>
                <a:off x="1908087" y="2456749"/>
                <a:ext cx="2877711" cy="326069"/>
              </a:xfrm>
              <a:custGeom>
                <a:avLst/>
                <a:gdLst>
                  <a:gd name="connsiteX0" fmla="*/ 0 w 3097763"/>
                  <a:gd name="connsiteY0" fmla="*/ 0 h 653143"/>
                  <a:gd name="connsiteX1" fmla="*/ 2603241 w 3097763"/>
                  <a:gd name="connsiteY1" fmla="*/ 0 h 653143"/>
                  <a:gd name="connsiteX2" fmla="*/ 3097763 w 3097763"/>
                  <a:gd name="connsiteY2" fmla="*/ 653143 h 653143"/>
                  <a:gd name="connsiteX0" fmla="*/ 0 w 2876906"/>
                  <a:gd name="connsiteY0" fmla="*/ 0 h 347870"/>
                  <a:gd name="connsiteX1" fmla="*/ 2603241 w 2876906"/>
                  <a:gd name="connsiteY1" fmla="*/ 0 h 347870"/>
                  <a:gd name="connsiteX2" fmla="*/ 2876906 w 2876906"/>
                  <a:gd name="connsiteY2" fmla="*/ 347870 h 347870"/>
                  <a:gd name="connsiteX0" fmla="*/ 0 w 3085161"/>
                  <a:gd name="connsiteY0" fmla="*/ 0 h 305274"/>
                  <a:gd name="connsiteX1" fmla="*/ 2603241 w 3085161"/>
                  <a:gd name="connsiteY1" fmla="*/ 0 h 305274"/>
                  <a:gd name="connsiteX2" fmla="*/ 3085161 w 3085161"/>
                  <a:gd name="connsiteY2" fmla="*/ 305274 h 305274"/>
                  <a:gd name="connsiteX0" fmla="*/ 0 w 2964511"/>
                  <a:gd name="connsiteY0" fmla="*/ 0 h 255579"/>
                  <a:gd name="connsiteX1" fmla="*/ 2603241 w 2964511"/>
                  <a:gd name="connsiteY1" fmla="*/ 0 h 255579"/>
                  <a:gd name="connsiteX2" fmla="*/ 2964511 w 2964511"/>
                  <a:gd name="connsiteY2" fmla="*/ 255579 h 255579"/>
                </a:gdLst>
                <a:ahLst/>
                <a:cxnLst>
                  <a:cxn ang="0">
                    <a:pos x="connsiteX0" y="connsiteY0"/>
                  </a:cxn>
                  <a:cxn ang="0">
                    <a:pos x="connsiteX1" y="connsiteY1"/>
                  </a:cxn>
                  <a:cxn ang="0">
                    <a:pos x="connsiteX2" y="connsiteY2"/>
                  </a:cxn>
                </a:cxnLst>
                <a:rect l="l" t="t" r="r" b="b"/>
                <a:pathLst>
                  <a:path w="2964511" h="255579">
                    <a:moveTo>
                      <a:pt x="0" y="0"/>
                    </a:moveTo>
                    <a:lnTo>
                      <a:pt x="2603241" y="0"/>
                    </a:lnTo>
                    <a:lnTo>
                      <a:pt x="2964511" y="255579"/>
                    </a:lnTo>
                  </a:path>
                </a:pathLst>
              </a:custGeom>
              <a:noFill/>
              <a:ln w="6350" cap="flat" cmpd="sng" algn="ctr">
                <a:solidFill>
                  <a:srgbClr val="BE82FF"/>
                </a:solidFill>
                <a:prstDash val="solid"/>
                <a:headEnd type="none" w="med" len="med"/>
                <a:tailEnd type="triangl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grpSp>
      </p:grpSp>
      <p:grpSp>
        <p:nvGrpSpPr>
          <p:cNvPr id="4" name="Group 3" descr="Bargaining Power of Suppliers">
            <a:extLst>
              <a:ext uri="{FF2B5EF4-FFF2-40B4-BE49-F238E27FC236}">
                <a16:creationId xmlns:a16="http://schemas.microsoft.com/office/drawing/2014/main" id="{F4C4EDC9-543C-4931-8B91-46B423FD0766}"/>
              </a:ext>
            </a:extLst>
          </p:cNvPr>
          <p:cNvGrpSpPr/>
          <p:nvPr/>
        </p:nvGrpSpPr>
        <p:grpSpPr>
          <a:xfrm>
            <a:off x="1899470" y="4014605"/>
            <a:ext cx="2886328" cy="1734844"/>
            <a:chOff x="1899470" y="4014605"/>
            <a:chExt cx="2886328" cy="1734844"/>
          </a:xfrm>
        </p:grpSpPr>
        <p:sp>
          <p:nvSpPr>
            <p:cNvPr id="10" name="Text Placeholder 12">
              <a:extLst>
                <a:ext uri="{FF2B5EF4-FFF2-40B4-BE49-F238E27FC236}">
                  <a16:creationId xmlns:a16="http://schemas.microsoft.com/office/drawing/2014/main" id="{D9DEE83A-AF14-472C-B644-15DFD92F231A}"/>
                </a:ext>
              </a:extLst>
            </p:cNvPr>
            <p:cNvSpPr txBox="1">
              <a:spLocks/>
            </p:cNvSpPr>
            <p:nvPr/>
          </p:nvSpPr>
          <p:spPr bwMode="auto">
            <a:xfrm>
              <a:off x="1899471" y="4330644"/>
              <a:ext cx="2490348" cy="1418805"/>
            </a:xfrm>
            <a:prstGeom prst="rect">
              <a:avLst/>
            </a:prstGeom>
            <a:noFill/>
            <a:ln w="12700">
              <a:noFill/>
              <a:miter lim="800000"/>
              <a:headEnd/>
              <a:tailEnd/>
            </a:ln>
          </p:spPr>
          <p:txBody>
            <a:bodyPr vert="horz" wrap="square" lIns="0" tIns="90000" rIns="90000" bIns="90000" numCol="1" anchor="t" anchorCtr="0" compatLnSpc="1">
              <a:prstTxWarp prst="textNoShape">
                <a:avLst/>
              </a:prstTxWarp>
              <a:noAutofit/>
            </a:bodyPr>
            <a:lstStyle/>
            <a:p>
              <a:pPr marL="266700" marR="0" lvl="2" indent="-180975" algn="l" defTabSz="914400" rtl="0" eaLnBrk="1" fontAlgn="auto" latinLnBrk="0" hangingPunct="1">
                <a:lnSpc>
                  <a:spcPct val="100000"/>
                </a:lnSpc>
                <a:spcBef>
                  <a:spcPts val="100"/>
                </a:spcBef>
                <a:spcAft>
                  <a:spcPts val="100"/>
                </a:spcAft>
                <a:buClrTx/>
                <a:buSzPct val="100000"/>
                <a:buFont typeface="Wingdings" pitchFamily="2" charset="2"/>
                <a:buChar char=""/>
                <a:tabLst/>
                <a:defRPr/>
              </a:pPr>
              <a:r>
                <a:rPr kumimoji="0" lang="en-US" sz="1200" b="0" i="0" u="none" strike="noStrike" kern="0" cap="none" spc="0" normalizeH="0" baseline="0" noProof="0" dirty="0">
                  <a:ln>
                    <a:noFill/>
                  </a:ln>
                  <a:solidFill>
                    <a:srgbClr val="000000"/>
                  </a:solidFill>
                  <a:effectLst/>
                  <a:uLnTx/>
                  <a:uFillTx/>
                  <a:ea typeface="+mn-ea"/>
                  <a:cs typeface="+mn-cs"/>
                </a:rPr>
                <a:t>Text</a:t>
              </a:r>
            </a:p>
            <a:p>
              <a:pPr marL="447675" marR="0" lvl="3" indent="-171450" algn="l" defTabSz="914400" rtl="0" eaLnBrk="1" fontAlgn="auto" latinLnBrk="0" hangingPunct="1">
                <a:lnSpc>
                  <a:spcPct val="100000"/>
                </a:lnSpc>
                <a:spcBef>
                  <a:spcPts val="100"/>
                </a:spcBef>
                <a:spcAft>
                  <a:spcPts val="100"/>
                </a:spcAft>
                <a:buClrTx/>
                <a:buSzPct val="100000"/>
                <a:buFont typeface="Arial" pitchFamily="34" charset="0"/>
                <a:buChar char="–"/>
                <a:tabLst/>
                <a:defRPr/>
              </a:pPr>
              <a:r>
                <a:rPr kumimoji="0" lang="en-US" sz="1200" b="0" i="0" u="none" strike="noStrike" kern="0" cap="none" spc="0" normalizeH="0" baseline="0" noProof="0" dirty="0">
                  <a:ln>
                    <a:noFill/>
                  </a:ln>
                  <a:solidFill>
                    <a:srgbClr val="000000"/>
                  </a:solidFill>
                  <a:effectLst/>
                  <a:uLnTx/>
                  <a:uFillTx/>
                  <a:ea typeface="+mn-ea"/>
                  <a:cs typeface="+mn-cs"/>
                </a:rPr>
                <a:t>Text</a:t>
              </a:r>
            </a:p>
          </p:txBody>
        </p:sp>
        <p:sp>
          <p:nvSpPr>
            <p:cNvPr id="11" name="Rectangle 8">
              <a:extLst>
                <a:ext uri="{FF2B5EF4-FFF2-40B4-BE49-F238E27FC236}">
                  <a16:creationId xmlns:a16="http://schemas.microsoft.com/office/drawing/2014/main" id="{63A13C68-987E-4CC7-9585-F2FFA28CA4E3}"/>
                </a:ext>
              </a:extLst>
            </p:cNvPr>
            <p:cNvSpPr>
              <a:spLocks noChangeArrowheads="1"/>
            </p:cNvSpPr>
            <p:nvPr/>
          </p:nvSpPr>
          <p:spPr bwMode="auto">
            <a:xfrm>
              <a:off x="1899470" y="4051722"/>
              <a:ext cx="2491645" cy="252726"/>
            </a:xfrm>
            <a:prstGeom prst="rect">
              <a:avLst/>
            </a:prstGeom>
            <a:noFill/>
            <a:ln w="38100" algn="ctr">
              <a:noFill/>
              <a:miter lim="800000"/>
              <a:headEnd/>
              <a:tailEnd/>
            </a:ln>
            <a:effectLst/>
          </p:spPr>
          <p:txBody>
            <a:bodyPr lIns="0" tIns="10800" rIns="18000" bIns="1080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mn-ea"/>
                  <a:cs typeface="+mn-cs"/>
                </a:rPr>
                <a:t>Bargaining Power of Suppliers</a:t>
              </a:r>
            </a:p>
          </p:txBody>
        </p:sp>
        <p:sp>
          <p:nvSpPr>
            <p:cNvPr id="17" name="Freeform 56">
              <a:extLst>
                <a:ext uri="{FF2B5EF4-FFF2-40B4-BE49-F238E27FC236}">
                  <a16:creationId xmlns:a16="http://schemas.microsoft.com/office/drawing/2014/main" id="{5C38786C-3141-4411-9E51-0BF189EE9D70}"/>
                </a:ext>
              </a:extLst>
            </p:cNvPr>
            <p:cNvSpPr/>
            <p:nvPr/>
          </p:nvSpPr>
          <p:spPr bwMode="auto">
            <a:xfrm flipV="1">
              <a:off x="1908087" y="4014605"/>
              <a:ext cx="2877711" cy="326069"/>
            </a:xfrm>
            <a:custGeom>
              <a:avLst/>
              <a:gdLst>
                <a:gd name="connsiteX0" fmla="*/ 0 w 3097763"/>
                <a:gd name="connsiteY0" fmla="*/ 0 h 653143"/>
                <a:gd name="connsiteX1" fmla="*/ 2603241 w 3097763"/>
                <a:gd name="connsiteY1" fmla="*/ 0 h 653143"/>
                <a:gd name="connsiteX2" fmla="*/ 3097763 w 3097763"/>
                <a:gd name="connsiteY2" fmla="*/ 653143 h 653143"/>
                <a:gd name="connsiteX0" fmla="*/ 0 w 2876906"/>
                <a:gd name="connsiteY0" fmla="*/ 0 h 347870"/>
                <a:gd name="connsiteX1" fmla="*/ 2603241 w 2876906"/>
                <a:gd name="connsiteY1" fmla="*/ 0 h 347870"/>
                <a:gd name="connsiteX2" fmla="*/ 2876906 w 2876906"/>
                <a:gd name="connsiteY2" fmla="*/ 347870 h 347870"/>
                <a:gd name="connsiteX0" fmla="*/ 0 w 3085161"/>
                <a:gd name="connsiteY0" fmla="*/ 0 h 305274"/>
                <a:gd name="connsiteX1" fmla="*/ 2603241 w 3085161"/>
                <a:gd name="connsiteY1" fmla="*/ 0 h 305274"/>
                <a:gd name="connsiteX2" fmla="*/ 3085161 w 3085161"/>
                <a:gd name="connsiteY2" fmla="*/ 305274 h 305274"/>
                <a:gd name="connsiteX0" fmla="*/ 0 w 2964511"/>
                <a:gd name="connsiteY0" fmla="*/ 0 h 255579"/>
                <a:gd name="connsiteX1" fmla="*/ 2603241 w 2964511"/>
                <a:gd name="connsiteY1" fmla="*/ 0 h 255579"/>
                <a:gd name="connsiteX2" fmla="*/ 2964511 w 2964511"/>
                <a:gd name="connsiteY2" fmla="*/ 255579 h 255579"/>
              </a:gdLst>
              <a:ahLst/>
              <a:cxnLst>
                <a:cxn ang="0">
                  <a:pos x="connsiteX0" y="connsiteY0"/>
                </a:cxn>
                <a:cxn ang="0">
                  <a:pos x="connsiteX1" y="connsiteY1"/>
                </a:cxn>
                <a:cxn ang="0">
                  <a:pos x="connsiteX2" y="connsiteY2"/>
                </a:cxn>
              </a:cxnLst>
              <a:rect l="l" t="t" r="r" b="b"/>
              <a:pathLst>
                <a:path w="2964511" h="255579">
                  <a:moveTo>
                    <a:pt x="0" y="0"/>
                  </a:moveTo>
                  <a:lnTo>
                    <a:pt x="2603241" y="0"/>
                  </a:lnTo>
                  <a:lnTo>
                    <a:pt x="2964511" y="255579"/>
                  </a:lnTo>
                </a:path>
              </a:pathLst>
            </a:custGeom>
            <a:noFill/>
            <a:ln w="6350" cap="flat" cmpd="sng" algn="ctr">
              <a:solidFill>
                <a:srgbClr val="BE82FF"/>
              </a:solidFill>
              <a:prstDash val="solid"/>
              <a:headEnd type="none" w="med" len="med"/>
              <a:tailEnd type="triangl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24" name="Group 23" descr="Threat of New Entrants">
            <a:extLst>
              <a:ext uri="{FF2B5EF4-FFF2-40B4-BE49-F238E27FC236}">
                <a16:creationId xmlns:a16="http://schemas.microsoft.com/office/drawing/2014/main" id="{E1E61000-CA2F-4661-A61C-94BE34916435}"/>
              </a:ext>
            </a:extLst>
          </p:cNvPr>
          <p:cNvGrpSpPr/>
          <p:nvPr/>
        </p:nvGrpSpPr>
        <p:grpSpPr>
          <a:xfrm>
            <a:off x="7179508" y="2170915"/>
            <a:ext cx="2959606" cy="1697727"/>
            <a:chOff x="7179508" y="2170915"/>
            <a:chExt cx="2959606" cy="1697727"/>
          </a:xfrm>
        </p:grpSpPr>
        <p:sp>
          <p:nvSpPr>
            <p:cNvPr id="12" name="Text Placeholder 12">
              <a:extLst>
                <a:ext uri="{FF2B5EF4-FFF2-40B4-BE49-F238E27FC236}">
                  <a16:creationId xmlns:a16="http://schemas.microsoft.com/office/drawing/2014/main" id="{ECE64738-618B-468B-BD0D-894A58226991}"/>
                </a:ext>
              </a:extLst>
            </p:cNvPr>
            <p:cNvSpPr txBox="1">
              <a:spLocks/>
            </p:cNvSpPr>
            <p:nvPr/>
          </p:nvSpPr>
          <p:spPr bwMode="auto">
            <a:xfrm>
              <a:off x="7647470" y="2449837"/>
              <a:ext cx="2490348" cy="1418805"/>
            </a:xfrm>
            <a:prstGeom prst="rect">
              <a:avLst/>
            </a:prstGeom>
            <a:noFill/>
            <a:ln w="12700">
              <a:noFill/>
              <a:miter lim="800000"/>
              <a:headEnd/>
              <a:tailEnd/>
            </a:ln>
          </p:spPr>
          <p:txBody>
            <a:bodyPr vert="horz" wrap="square" lIns="0" tIns="90000" rIns="90000" bIns="90000" numCol="1" anchor="t" anchorCtr="0" compatLnSpc="1">
              <a:prstTxWarp prst="textNoShape">
                <a:avLst/>
              </a:prstTxWarp>
              <a:noAutofit/>
            </a:bodyPr>
            <a:lstStyle/>
            <a:p>
              <a:pPr marL="266700" marR="0" lvl="2" indent="-180975" algn="l" defTabSz="914400" rtl="0" eaLnBrk="1" fontAlgn="auto" latinLnBrk="0" hangingPunct="1">
                <a:lnSpc>
                  <a:spcPct val="100000"/>
                </a:lnSpc>
                <a:spcBef>
                  <a:spcPts val="100"/>
                </a:spcBef>
                <a:spcAft>
                  <a:spcPts val="100"/>
                </a:spcAft>
                <a:buClrTx/>
                <a:buSzPct val="100000"/>
                <a:buFont typeface="Wingdings" pitchFamily="2" charset="2"/>
                <a:buChar char=""/>
                <a:tabLst/>
                <a:defRPr/>
              </a:pPr>
              <a:r>
                <a:rPr kumimoji="0" lang="en-US" sz="1200" b="0" i="0" u="none" strike="noStrike" kern="0" cap="none" spc="0" normalizeH="0" baseline="0" noProof="0" dirty="0">
                  <a:ln>
                    <a:noFill/>
                  </a:ln>
                  <a:solidFill>
                    <a:srgbClr val="000000"/>
                  </a:solidFill>
                  <a:effectLst/>
                  <a:uLnTx/>
                  <a:uFillTx/>
                  <a:ea typeface="+mn-ea"/>
                  <a:cs typeface="+mn-cs"/>
                </a:rPr>
                <a:t>Text</a:t>
              </a:r>
            </a:p>
            <a:p>
              <a:pPr marL="447675" marR="0" lvl="3" indent="-171450" algn="l" defTabSz="914400" rtl="0" eaLnBrk="1" fontAlgn="auto" latinLnBrk="0" hangingPunct="1">
                <a:lnSpc>
                  <a:spcPct val="100000"/>
                </a:lnSpc>
                <a:spcBef>
                  <a:spcPts val="100"/>
                </a:spcBef>
                <a:spcAft>
                  <a:spcPts val="100"/>
                </a:spcAft>
                <a:buClrTx/>
                <a:buSzPct val="100000"/>
                <a:buFont typeface="Arial" pitchFamily="34" charset="0"/>
                <a:buChar char="–"/>
                <a:tabLst/>
                <a:defRPr/>
              </a:pPr>
              <a:r>
                <a:rPr kumimoji="0" lang="en-US" sz="1200" b="0" i="0" u="none" strike="noStrike" kern="0" cap="none" spc="0" normalizeH="0" baseline="0" noProof="0" dirty="0">
                  <a:ln>
                    <a:noFill/>
                  </a:ln>
                  <a:solidFill>
                    <a:srgbClr val="000000"/>
                  </a:solidFill>
                  <a:effectLst/>
                  <a:uLnTx/>
                  <a:uFillTx/>
                  <a:ea typeface="+mn-ea"/>
                  <a:cs typeface="+mn-cs"/>
                </a:rPr>
                <a:t>Text</a:t>
              </a:r>
            </a:p>
          </p:txBody>
        </p:sp>
        <p:sp>
          <p:nvSpPr>
            <p:cNvPr id="13" name="Rectangle 8">
              <a:extLst>
                <a:ext uri="{FF2B5EF4-FFF2-40B4-BE49-F238E27FC236}">
                  <a16:creationId xmlns:a16="http://schemas.microsoft.com/office/drawing/2014/main" id="{D620ACD3-8640-41D1-BF25-E9C909088E1F}"/>
                </a:ext>
              </a:extLst>
            </p:cNvPr>
            <p:cNvSpPr>
              <a:spLocks noChangeArrowheads="1"/>
            </p:cNvSpPr>
            <p:nvPr/>
          </p:nvSpPr>
          <p:spPr bwMode="auto">
            <a:xfrm>
              <a:off x="7647469" y="2170915"/>
              <a:ext cx="2491645" cy="252726"/>
            </a:xfrm>
            <a:prstGeom prst="rect">
              <a:avLst/>
            </a:prstGeom>
            <a:noFill/>
            <a:ln w="38100" algn="ctr">
              <a:noFill/>
              <a:miter lim="800000"/>
              <a:headEnd/>
              <a:tailEnd/>
            </a:ln>
            <a:effectLst/>
          </p:spPr>
          <p:txBody>
            <a:bodyPr lIns="0" tIns="10800" rIns="18000" bIns="1080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mn-ea"/>
                  <a:cs typeface="+mn-cs"/>
                </a:rPr>
                <a:t>Threat of New Entrants</a:t>
              </a:r>
            </a:p>
          </p:txBody>
        </p:sp>
        <p:sp>
          <p:nvSpPr>
            <p:cNvPr id="18" name="Freeform 57">
              <a:extLst>
                <a:ext uri="{FF2B5EF4-FFF2-40B4-BE49-F238E27FC236}">
                  <a16:creationId xmlns:a16="http://schemas.microsoft.com/office/drawing/2014/main" id="{8EF7953C-5358-4CB2-93D7-C34EB6094537}"/>
                </a:ext>
              </a:extLst>
            </p:cNvPr>
            <p:cNvSpPr/>
            <p:nvPr/>
          </p:nvSpPr>
          <p:spPr bwMode="auto">
            <a:xfrm flipH="1">
              <a:off x="7179508" y="2456749"/>
              <a:ext cx="2877711" cy="326069"/>
            </a:xfrm>
            <a:custGeom>
              <a:avLst/>
              <a:gdLst>
                <a:gd name="connsiteX0" fmla="*/ 0 w 3097763"/>
                <a:gd name="connsiteY0" fmla="*/ 0 h 653143"/>
                <a:gd name="connsiteX1" fmla="*/ 2603241 w 3097763"/>
                <a:gd name="connsiteY1" fmla="*/ 0 h 653143"/>
                <a:gd name="connsiteX2" fmla="*/ 3097763 w 3097763"/>
                <a:gd name="connsiteY2" fmla="*/ 653143 h 653143"/>
                <a:gd name="connsiteX0" fmla="*/ 0 w 2876906"/>
                <a:gd name="connsiteY0" fmla="*/ 0 h 347870"/>
                <a:gd name="connsiteX1" fmla="*/ 2603241 w 2876906"/>
                <a:gd name="connsiteY1" fmla="*/ 0 h 347870"/>
                <a:gd name="connsiteX2" fmla="*/ 2876906 w 2876906"/>
                <a:gd name="connsiteY2" fmla="*/ 347870 h 347870"/>
                <a:gd name="connsiteX0" fmla="*/ 0 w 3085161"/>
                <a:gd name="connsiteY0" fmla="*/ 0 h 305274"/>
                <a:gd name="connsiteX1" fmla="*/ 2603241 w 3085161"/>
                <a:gd name="connsiteY1" fmla="*/ 0 h 305274"/>
                <a:gd name="connsiteX2" fmla="*/ 3085161 w 3085161"/>
                <a:gd name="connsiteY2" fmla="*/ 305274 h 305274"/>
                <a:gd name="connsiteX0" fmla="*/ 0 w 2964511"/>
                <a:gd name="connsiteY0" fmla="*/ 0 h 255579"/>
                <a:gd name="connsiteX1" fmla="*/ 2603241 w 2964511"/>
                <a:gd name="connsiteY1" fmla="*/ 0 h 255579"/>
                <a:gd name="connsiteX2" fmla="*/ 2964511 w 2964511"/>
                <a:gd name="connsiteY2" fmla="*/ 255579 h 255579"/>
              </a:gdLst>
              <a:ahLst/>
              <a:cxnLst>
                <a:cxn ang="0">
                  <a:pos x="connsiteX0" y="connsiteY0"/>
                </a:cxn>
                <a:cxn ang="0">
                  <a:pos x="connsiteX1" y="connsiteY1"/>
                </a:cxn>
                <a:cxn ang="0">
                  <a:pos x="connsiteX2" y="connsiteY2"/>
                </a:cxn>
              </a:cxnLst>
              <a:rect l="l" t="t" r="r" b="b"/>
              <a:pathLst>
                <a:path w="2964511" h="255579">
                  <a:moveTo>
                    <a:pt x="0" y="0"/>
                  </a:moveTo>
                  <a:lnTo>
                    <a:pt x="2603241" y="0"/>
                  </a:lnTo>
                  <a:lnTo>
                    <a:pt x="2964511" y="255579"/>
                  </a:lnTo>
                </a:path>
              </a:pathLst>
            </a:custGeom>
            <a:noFill/>
            <a:ln w="6350" cap="flat" cmpd="sng" algn="ctr">
              <a:solidFill>
                <a:srgbClr val="BE82FF"/>
              </a:solidFill>
              <a:prstDash val="solid"/>
              <a:headEnd type="none" w="med" len="med"/>
              <a:tailEnd type="triangl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25" name="Group 24" descr="Threat of Substitute Products">
            <a:extLst>
              <a:ext uri="{FF2B5EF4-FFF2-40B4-BE49-F238E27FC236}">
                <a16:creationId xmlns:a16="http://schemas.microsoft.com/office/drawing/2014/main" id="{C3A5B0DB-6B45-442B-9A19-1F75EE0C76E3}"/>
              </a:ext>
            </a:extLst>
          </p:cNvPr>
          <p:cNvGrpSpPr/>
          <p:nvPr/>
        </p:nvGrpSpPr>
        <p:grpSpPr>
          <a:xfrm>
            <a:off x="7179508" y="4014605"/>
            <a:ext cx="2959606" cy="1734844"/>
            <a:chOff x="7179508" y="4014605"/>
            <a:chExt cx="2959606" cy="1734844"/>
          </a:xfrm>
        </p:grpSpPr>
        <p:sp>
          <p:nvSpPr>
            <p:cNvPr id="14" name="Text Placeholder 12">
              <a:extLst>
                <a:ext uri="{FF2B5EF4-FFF2-40B4-BE49-F238E27FC236}">
                  <a16:creationId xmlns:a16="http://schemas.microsoft.com/office/drawing/2014/main" id="{71CE1106-4F61-4505-BD89-4605D449DEA2}"/>
                </a:ext>
              </a:extLst>
            </p:cNvPr>
            <p:cNvSpPr txBox="1">
              <a:spLocks/>
            </p:cNvSpPr>
            <p:nvPr/>
          </p:nvSpPr>
          <p:spPr bwMode="auto">
            <a:xfrm>
              <a:off x="7647470" y="4330644"/>
              <a:ext cx="2490348" cy="1418805"/>
            </a:xfrm>
            <a:prstGeom prst="rect">
              <a:avLst/>
            </a:prstGeom>
            <a:noFill/>
            <a:ln w="12700">
              <a:noFill/>
              <a:miter lim="800000"/>
              <a:headEnd/>
              <a:tailEnd/>
            </a:ln>
          </p:spPr>
          <p:txBody>
            <a:bodyPr vert="horz" wrap="square" lIns="0" tIns="90000" rIns="90000" bIns="90000" numCol="1" anchor="t" anchorCtr="0" compatLnSpc="1">
              <a:prstTxWarp prst="textNoShape">
                <a:avLst/>
              </a:prstTxWarp>
              <a:noAutofit/>
            </a:bodyPr>
            <a:lstStyle/>
            <a:p>
              <a:pPr marL="266700" marR="0" lvl="2" indent="-180975" algn="l" defTabSz="914400" rtl="0" eaLnBrk="1" fontAlgn="auto" latinLnBrk="0" hangingPunct="1">
                <a:lnSpc>
                  <a:spcPct val="100000"/>
                </a:lnSpc>
                <a:spcBef>
                  <a:spcPts val="100"/>
                </a:spcBef>
                <a:spcAft>
                  <a:spcPts val="100"/>
                </a:spcAft>
                <a:buClrTx/>
                <a:buSzPct val="100000"/>
                <a:buFont typeface="Wingdings" pitchFamily="2" charset="2"/>
                <a:buChar char=""/>
                <a:tabLst/>
                <a:defRPr/>
              </a:pPr>
              <a:r>
                <a:rPr kumimoji="0" lang="en-US" sz="1200" b="0" i="0" u="none" strike="noStrike" kern="0" cap="none" spc="0" normalizeH="0" baseline="0" noProof="0" dirty="0">
                  <a:ln>
                    <a:noFill/>
                  </a:ln>
                  <a:solidFill>
                    <a:srgbClr val="000000"/>
                  </a:solidFill>
                  <a:effectLst/>
                  <a:uLnTx/>
                  <a:uFillTx/>
                  <a:ea typeface="+mn-ea"/>
                  <a:cs typeface="+mn-cs"/>
                </a:rPr>
                <a:t>Text</a:t>
              </a:r>
            </a:p>
            <a:p>
              <a:pPr marL="447675" marR="0" lvl="3" indent="-171450" algn="l" defTabSz="914400" rtl="0" eaLnBrk="1" fontAlgn="auto" latinLnBrk="0" hangingPunct="1">
                <a:lnSpc>
                  <a:spcPct val="100000"/>
                </a:lnSpc>
                <a:spcBef>
                  <a:spcPts val="100"/>
                </a:spcBef>
                <a:spcAft>
                  <a:spcPts val="100"/>
                </a:spcAft>
                <a:buClrTx/>
                <a:buSzPct val="100000"/>
                <a:buFont typeface="Arial" pitchFamily="34" charset="0"/>
                <a:buChar char="–"/>
                <a:tabLst/>
                <a:defRPr/>
              </a:pPr>
              <a:r>
                <a:rPr kumimoji="0" lang="en-US" sz="1200" b="0" i="0" u="none" strike="noStrike" kern="0" cap="none" spc="0" normalizeH="0" baseline="0" noProof="0" dirty="0">
                  <a:ln>
                    <a:noFill/>
                  </a:ln>
                  <a:solidFill>
                    <a:srgbClr val="000000"/>
                  </a:solidFill>
                  <a:effectLst/>
                  <a:uLnTx/>
                  <a:uFillTx/>
                  <a:ea typeface="+mn-ea"/>
                  <a:cs typeface="+mn-cs"/>
                </a:rPr>
                <a:t>Text</a:t>
              </a:r>
            </a:p>
          </p:txBody>
        </p:sp>
        <p:sp>
          <p:nvSpPr>
            <p:cNvPr id="15" name="Rectangle 8">
              <a:extLst>
                <a:ext uri="{FF2B5EF4-FFF2-40B4-BE49-F238E27FC236}">
                  <a16:creationId xmlns:a16="http://schemas.microsoft.com/office/drawing/2014/main" id="{730BEF48-0212-4459-8E44-8F9D0E8D7F09}"/>
                </a:ext>
              </a:extLst>
            </p:cNvPr>
            <p:cNvSpPr>
              <a:spLocks noChangeArrowheads="1"/>
            </p:cNvSpPr>
            <p:nvPr/>
          </p:nvSpPr>
          <p:spPr bwMode="auto">
            <a:xfrm>
              <a:off x="7647469" y="4051722"/>
              <a:ext cx="2491645" cy="252726"/>
            </a:xfrm>
            <a:prstGeom prst="rect">
              <a:avLst/>
            </a:prstGeom>
            <a:noFill/>
            <a:ln w="38100" algn="ctr">
              <a:noFill/>
              <a:miter lim="800000"/>
              <a:headEnd/>
              <a:tailEnd/>
            </a:ln>
            <a:effectLst/>
          </p:spPr>
          <p:txBody>
            <a:bodyPr lIns="0" tIns="10800" rIns="18000" bIns="1080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mn-ea"/>
                  <a:cs typeface="+mn-cs"/>
                </a:rPr>
                <a:t>Threat of Substitute Products</a:t>
              </a:r>
            </a:p>
          </p:txBody>
        </p:sp>
        <p:sp>
          <p:nvSpPr>
            <p:cNvPr id="19" name="Freeform 58">
              <a:extLst>
                <a:ext uri="{FF2B5EF4-FFF2-40B4-BE49-F238E27FC236}">
                  <a16:creationId xmlns:a16="http://schemas.microsoft.com/office/drawing/2014/main" id="{C201640B-5EFA-476D-AFF0-35D9623B5C10}"/>
                </a:ext>
              </a:extLst>
            </p:cNvPr>
            <p:cNvSpPr/>
            <p:nvPr/>
          </p:nvSpPr>
          <p:spPr bwMode="auto">
            <a:xfrm flipH="1" flipV="1">
              <a:off x="7179508" y="4014605"/>
              <a:ext cx="2877711" cy="326069"/>
            </a:xfrm>
            <a:custGeom>
              <a:avLst/>
              <a:gdLst>
                <a:gd name="connsiteX0" fmla="*/ 0 w 3097763"/>
                <a:gd name="connsiteY0" fmla="*/ 0 h 653143"/>
                <a:gd name="connsiteX1" fmla="*/ 2603241 w 3097763"/>
                <a:gd name="connsiteY1" fmla="*/ 0 h 653143"/>
                <a:gd name="connsiteX2" fmla="*/ 3097763 w 3097763"/>
                <a:gd name="connsiteY2" fmla="*/ 653143 h 653143"/>
                <a:gd name="connsiteX0" fmla="*/ 0 w 2876906"/>
                <a:gd name="connsiteY0" fmla="*/ 0 h 347870"/>
                <a:gd name="connsiteX1" fmla="*/ 2603241 w 2876906"/>
                <a:gd name="connsiteY1" fmla="*/ 0 h 347870"/>
                <a:gd name="connsiteX2" fmla="*/ 2876906 w 2876906"/>
                <a:gd name="connsiteY2" fmla="*/ 347870 h 347870"/>
                <a:gd name="connsiteX0" fmla="*/ 0 w 3085161"/>
                <a:gd name="connsiteY0" fmla="*/ 0 h 305274"/>
                <a:gd name="connsiteX1" fmla="*/ 2603241 w 3085161"/>
                <a:gd name="connsiteY1" fmla="*/ 0 h 305274"/>
                <a:gd name="connsiteX2" fmla="*/ 3085161 w 3085161"/>
                <a:gd name="connsiteY2" fmla="*/ 305274 h 305274"/>
                <a:gd name="connsiteX0" fmla="*/ 0 w 2964511"/>
                <a:gd name="connsiteY0" fmla="*/ 0 h 255579"/>
                <a:gd name="connsiteX1" fmla="*/ 2603241 w 2964511"/>
                <a:gd name="connsiteY1" fmla="*/ 0 h 255579"/>
                <a:gd name="connsiteX2" fmla="*/ 2964511 w 2964511"/>
                <a:gd name="connsiteY2" fmla="*/ 255579 h 255579"/>
              </a:gdLst>
              <a:ahLst/>
              <a:cxnLst>
                <a:cxn ang="0">
                  <a:pos x="connsiteX0" y="connsiteY0"/>
                </a:cxn>
                <a:cxn ang="0">
                  <a:pos x="connsiteX1" y="connsiteY1"/>
                </a:cxn>
                <a:cxn ang="0">
                  <a:pos x="connsiteX2" y="connsiteY2"/>
                </a:cxn>
              </a:cxnLst>
              <a:rect l="l" t="t" r="r" b="b"/>
              <a:pathLst>
                <a:path w="2964511" h="255579">
                  <a:moveTo>
                    <a:pt x="0" y="0"/>
                  </a:moveTo>
                  <a:lnTo>
                    <a:pt x="2603241" y="0"/>
                  </a:lnTo>
                  <a:lnTo>
                    <a:pt x="2964511" y="255579"/>
                  </a:lnTo>
                </a:path>
              </a:pathLst>
            </a:custGeom>
            <a:noFill/>
            <a:ln w="6350" cap="flat" cmpd="sng" algn="ctr">
              <a:solidFill>
                <a:srgbClr val="BE82FF"/>
              </a:solidFill>
              <a:prstDash val="solid"/>
              <a:headEnd type="none" w="med" len="med"/>
              <a:tailEnd type="triangl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grpSp>
      <p:sp>
        <p:nvSpPr>
          <p:cNvPr id="21" name="Footer Placeholder 20">
            <a:extLst>
              <a:ext uri="{FF2B5EF4-FFF2-40B4-BE49-F238E27FC236}">
                <a16:creationId xmlns:a16="http://schemas.microsoft.com/office/drawing/2014/main" id="{1EE46E45-2C59-4EE4-B396-AFD1AE00BF7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2" name="Slide Number Placeholder 21">
            <a:extLst>
              <a:ext uri="{FF2B5EF4-FFF2-40B4-BE49-F238E27FC236}">
                <a16:creationId xmlns:a16="http://schemas.microsoft.com/office/drawing/2014/main" id="{F9D1DFC9-58EE-415D-AD44-DD4C2636E077}"/>
              </a:ext>
            </a:extLst>
          </p:cNvPr>
          <p:cNvSpPr>
            <a:spLocks noGrp="1"/>
          </p:cNvSpPr>
          <p:nvPr>
            <p:ph type="sldNum" sz="quarter" idx="10"/>
          </p:nvPr>
        </p:nvSpPr>
        <p:spPr/>
        <p:txBody>
          <a:bodyPr/>
          <a:lstStyle/>
          <a:p>
            <a:fld id="{1F90F471-3972-4120-B8B3-0237DE626C35}" type="slidenum">
              <a:rPr lang="en-US" smtClean="0"/>
              <a:pPr/>
              <a:t>437</a:t>
            </a:fld>
            <a:endParaRPr lang="en-US" dirty="0"/>
          </a:p>
        </p:txBody>
      </p:sp>
    </p:spTree>
    <p:extLst>
      <p:ext uri="{BB962C8B-B14F-4D97-AF65-F5344CB8AC3E}">
        <p14:creationId xmlns:p14="http://schemas.microsoft.com/office/powerpoint/2010/main" val="177863644"/>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Frameworks: BCG Matrix</a:t>
            </a:r>
          </a:p>
        </p:txBody>
      </p:sp>
      <p:grpSp>
        <p:nvGrpSpPr>
          <p:cNvPr id="5" name="Group 4" descr="BCG Matrix">
            <a:extLst>
              <a:ext uri="{FF2B5EF4-FFF2-40B4-BE49-F238E27FC236}">
                <a16:creationId xmlns:a16="http://schemas.microsoft.com/office/drawing/2014/main" id="{9D6D0213-C673-4EF9-A82B-F460AB617BDE}"/>
              </a:ext>
            </a:extLst>
          </p:cNvPr>
          <p:cNvGrpSpPr/>
          <p:nvPr/>
        </p:nvGrpSpPr>
        <p:grpSpPr bwMode="auto">
          <a:xfrm>
            <a:off x="3290217" y="1342355"/>
            <a:ext cx="5167313" cy="4445000"/>
            <a:chOff x="1824322" y="1628800"/>
            <a:chExt cx="5167313" cy="4445000"/>
          </a:xfrm>
        </p:grpSpPr>
        <p:sp>
          <p:nvSpPr>
            <p:cNvPr id="6" name="Rectangle 3">
              <a:extLst>
                <a:ext uri="{FF2B5EF4-FFF2-40B4-BE49-F238E27FC236}">
                  <a16:creationId xmlns:a16="http://schemas.microsoft.com/office/drawing/2014/main" id="{14A5014D-5F09-41CD-B7E5-1AD6512DE30D}"/>
                </a:ext>
              </a:extLst>
            </p:cNvPr>
            <p:cNvSpPr>
              <a:spLocks noChangeArrowheads="1"/>
            </p:cNvSpPr>
            <p:nvPr/>
          </p:nvSpPr>
          <p:spPr bwMode="auto">
            <a:xfrm>
              <a:off x="2670460" y="1628800"/>
              <a:ext cx="4321175" cy="360362"/>
            </a:xfrm>
            <a:prstGeom prst="rect">
              <a:avLst/>
            </a:prstGeom>
            <a:noFill/>
            <a:ln w="12700" algn="ctr">
              <a:noFill/>
              <a:miter lim="800000"/>
              <a:headEnd/>
              <a:tailEnd/>
            </a:ln>
            <a:effectLst/>
          </p:spPr>
          <p:txBody>
            <a:bodyPr lIns="18000" tIns="46800" rIns="18000" bIns="46800" anchor="ct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ja-JP" sz="1400" b="1" i="0" u="none" strike="noStrike" kern="0" cap="none" spc="0" normalizeH="0" baseline="0" noProof="0" dirty="0">
                  <a:ln>
                    <a:noFill/>
                  </a:ln>
                  <a:solidFill>
                    <a:srgbClr val="000000"/>
                  </a:solidFill>
                  <a:effectLst/>
                  <a:uLnTx/>
                  <a:uFillTx/>
                  <a:latin typeface="+mj-lt"/>
                  <a:ea typeface="ＭＳ Ｐゴシック" pitchFamily="34" charset="-128"/>
                  <a:cs typeface="+mn-cs"/>
                </a:rPr>
                <a:t>Text</a:t>
              </a:r>
              <a:endParaRPr kumimoji="0" lang="en-US" sz="1400" b="1" i="0" u="none" strike="noStrike" kern="0" cap="none" spc="0" normalizeH="0" baseline="0" noProof="0" dirty="0">
                <a:ln>
                  <a:noFill/>
                </a:ln>
                <a:solidFill>
                  <a:srgbClr val="000000"/>
                </a:solidFill>
                <a:effectLst/>
                <a:uLnTx/>
                <a:uFillTx/>
                <a:latin typeface="+mj-lt"/>
                <a:ea typeface="ＭＳ Ｐゴシック" pitchFamily="34" charset="-128"/>
                <a:cs typeface="+mn-cs"/>
              </a:endParaRPr>
            </a:p>
          </p:txBody>
        </p:sp>
        <p:sp>
          <p:nvSpPr>
            <p:cNvPr id="7" name="Rectangle 4">
              <a:extLst>
                <a:ext uri="{FF2B5EF4-FFF2-40B4-BE49-F238E27FC236}">
                  <a16:creationId xmlns:a16="http://schemas.microsoft.com/office/drawing/2014/main" id="{BCD8B8DC-EB79-4C52-A6B7-1313DAEDDB8C}"/>
                </a:ext>
              </a:extLst>
            </p:cNvPr>
            <p:cNvSpPr>
              <a:spLocks noChangeArrowheads="1"/>
            </p:cNvSpPr>
            <p:nvPr/>
          </p:nvSpPr>
          <p:spPr bwMode="auto">
            <a:xfrm>
              <a:off x="3146710" y="2400325"/>
              <a:ext cx="1603375" cy="1962150"/>
            </a:xfrm>
            <a:prstGeom prst="rect">
              <a:avLst/>
            </a:prstGeom>
            <a:solidFill>
              <a:srgbClr val="FFFFFF"/>
            </a:solidFill>
            <a:ln w="12700" algn="ctr">
              <a:noFill/>
              <a:miter lim="800000"/>
              <a:headEnd/>
              <a:tailEnd/>
            </a:ln>
            <a:effectLst/>
          </p:spPr>
          <p:txBody>
            <a:bodyPr wrap="none" lIns="72000" tIns="72000" rIns="72000" bIns="7200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ea typeface="+mn-ea"/>
                  <a:cs typeface="+mn-cs"/>
                </a:rPr>
                <a:t>Stars</a:t>
              </a:r>
              <a:endParaRPr kumimoji="0" lang="en-US" sz="1200" b="0" i="0" u="none" strike="noStrike" kern="0" cap="none" spc="0" normalizeH="0" baseline="0" noProof="0" dirty="0">
                <a:ln>
                  <a:noFill/>
                </a:ln>
                <a:effectLst/>
                <a:uLnTx/>
                <a:uFillTx/>
                <a:ea typeface="+mn-ea"/>
                <a:cs typeface="+mn-cs"/>
                <a:sym typeface="Webdings" pitchFamily="18" charset="2"/>
              </a:endParaRPr>
            </a:p>
          </p:txBody>
        </p:sp>
        <p:sp>
          <p:nvSpPr>
            <p:cNvPr id="8" name="Rectangle 5">
              <a:extLst>
                <a:ext uri="{FF2B5EF4-FFF2-40B4-BE49-F238E27FC236}">
                  <a16:creationId xmlns:a16="http://schemas.microsoft.com/office/drawing/2014/main" id="{17E71DCA-565A-4E0D-B831-371AECAEDE8F}"/>
                </a:ext>
              </a:extLst>
            </p:cNvPr>
            <p:cNvSpPr>
              <a:spLocks noChangeArrowheads="1"/>
            </p:cNvSpPr>
            <p:nvPr/>
          </p:nvSpPr>
          <p:spPr bwMode="auto">
            <a:xfrm>
              <a:off x="4750085" y="2400325"/>
              <a:ext cx="1603375" cy="1962150"/>
            </a:xfrm>
            <a:prstGeom prst="rect">
              <a:avLst/>
            </a:prstGeom>
            <a:solidFill>
              <a:srgbClr val="FFFFFF"/>
            </a:solidFill>
            <a:ln w="12700" algn="ctr">
              <a:noFill/>
              <a:miter lim="800000"/>
              <a:headEnd/>
              <a:tailEnd/>
            </a:ln>
            <a:effectLst/>
          </p:spPr>
          <p:txBody>
            <a:bodyPr wrap="none" lIns="72000" tIns="72000" rIns="72000" bIns="7200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ea typeface="+mn-ea"/>
                  <a:cs typeface="+mn-cs"/>
                </a:rPr>
                <a:t>Question Marks</a:t>
              </a:r>
            </a:p>
          </p:txBody>
        </p:sp>
        <p:sp>
          <p:nvSpPr>
            <p:cNvPr id="9" name="Rectangle 6">
              <a:extLst>
                <a:ext uri="{FF2B5EF4-FFF2-40B4-BE49-F238E27FC236}">
                  <a16:creationId xmlns:a16="http://schemas.microsoft.com/office/drawing/2014/main" id="{FACF20CA-33CD-4EA7-88B3-F04464333E95}"/>
                </a:ext>
              </a:extLst>
            </p:cNvPr>
            <p:cNvSpPr>
              <a:spLocks noChangeArrowheads="1"/>
            </p:cNvSpPr>
            <p:nvPr/>
          </p:nvSpPr>
          <p:spPr bwMode="auto">
            <a:xfrm>
              <a:off x="3146710" y="4362475"/>
              <a:ext cx="1603375" cy="1035050"/>
            </a:xfrm>
            <a:prstGeom prst="rect">
              <a:avLst/>
            </a:prstGeom>
            <a:solidFill>
              <a:srgbClr val="FFFFFF"/>
            </a:solidFill>
            <a:ln w="12700" algn="ctr">
              <a:noFill/>
              <a:miter lim="800000"/>
              <a:headEnd/>
              <a:tailEnd/>
            </a:ln>
            <a:effectLst/>
          </p:spPr>
          <p:txBody>
            <a:bodyPr wrap="none" lIns="72000" tIns="72000" rIns="72000" bIns="7200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ea typeface="+mn-ea"/>
                  <a:cs typeface="+mn-cs"/>
                </a:rPr>
                <a:t>Cash Cows</a:t>
              </a:r>
            </a:p>
          </p:txBody>
        </p:sp>
        <p:sp>
          <p:nvSpPr>
            <p:cNvPr id="10" name="Rectangle 7">
              <a:extLst>
                <a:ext uri="{FF2B5EF4-FFF2-40B4-BE49-F238E27FC236}">
                  <a16:creationId xmlns:a16="http://schemas.microsoft.com/office/drawing/2014/main" id="{A4C750B0-1C0B-40D2-9419-10944FCD1102}"/>
                </a:ext>
              </a:extLst>
            </p:cNvPr>
            <p:cNvSpPr>
              <a:spLocks noChangeArrowheads="1"/>
            </p:cNvSpPr>
            <p:nvPr/>
          </p:nvSpPr>
          <p:spPr bwMode="auto">
            <a:xfrm>
              <a:off x="4750085" y="4362475"/>
              <a:ext cx="1603375" cy="1035050"/>
            </a:xfrm>
            <a:prstGeom prst="rect">
              <a:avLst/>
            </a:prstGeom>
            <a:solidFill>
              <a:srgbClr val="FFFFFF"/>
            </a:solidFill>
            <a:ln w="12700" algn="ctr">
              <a:noFill/>
              <a:miter lim="800000"/>
              <a:headEnd/>
              <a:tailEnd/>
            </a:ln>
            <a:effectLst/>
          </p:spPr>
          <p:txBody>
            <a:bodyPr wrap="none" lIns="72000" tIns="72000" rIns="72000" bIns="7200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ea typeface="+mn-ea"/>
                  <a:cs typeface="+mn-cs"/>
                </a:rPr>
                <a:t>Dogs</a:t>
              </a:r>
            </a:p>
          </p:txBody>
        </p:sp>
        <p:sp>
          <p:nvSpPr>
            <p:cNvPr id="11" name="Rectangle 8">
              <a:extLst>
                <a:ext uri="{FF2B5EF4-FFF2-40B4-BE49-F238E27FC236}">
                  <a16:creationId xmlns:a16="http://schemas.microsoft.com/office/drawing/2014/main" id="{16E1C665-0F29-4ACC-BE5B-09B10BE15E96}"/>
                </a:ext>
              </a:extLst>
            </p:cNvPr>
            <p:cNvSpPr>
              <a:spLocks noChangeArrowheads="1"/>
            </p:cNvSpPr>
            <p:nvPr/>
          </p:nvSpPr>
          <p:spPr bwMode="auto">
            <a:xfrm>
              <a:off x="1824322" y="3381400"/>
              <a:ext cx="1138238" cy="581025"/>
            </a:xfrm>
            <a:prstGeom prst="rect">
              <a:avLst/>
            </a:prstGeom>
            <a:noFill/>
            <a:ln w="12700" algn="ctr">
              <a:no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Pct val="75000"/>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Market </a:t>
              </a:r>
              <a:br>
                <a:rPr kumimoji="0" lang="en-US" sz="1400" b="1" i="0" u="none" strike="noStrike" kern="0" cap="none" spc="0" normalizeH="0" baseline="0" noProof="0" dirty="0">
                  <a:ln>
                    <a:noFill/>
                  </a:ln>
                  <a:solidFill>
                    <a:srgbClr val="000000"/>
                  </a:solidFill>
                  <a:effectLst/>
                  <a:uLnTx/>
                  <a:uFillTx/>
                  <a:latin typeface="+mj-lt"/>
                  <a:ea typeface="+mn-ea"/>
                  <a:cs typeface="+mn-cs"/>
                </a:rPr>
              </a:br>
              <a:r>
                <a:rPr kumimoji="0" lang="en-US" sz="1400" b="1" i="0" u="none" strike="noStrike" kern="0" cap="none" spc="0" normalizeH="0" baseline="0" noProof="0" dirty="0">
                  <a:ln>
                    <a:noFill/>
                  </a:ln>
                  <a:solidFill>
                    <a:srgbClr val="000000"/>
                  </a:solidFill>
                  <a:effectLst/>
                  <a:uLnTx/>
                  <a:uFillTx/>
                  <a:latin typeface="+mj-lt"/>
                  <a:ea typeface="+mn-ea"/>
                  <a:cs typeface="+mn-cs"/>
                </a:rPr>
                <a:t>Growth</a:t>
              </a:r>
              <a:br>
                <a:rPr kumimoji="0" lang="en-US" sz="1400" b="1" i="0" u="none" strike="noStrike" kern="0" cap="none" spc="0" normalizeH="0" baseline="0" noProof="0" dirty="0">
                  <a:ln>
                    <a:noFill/>
                  </a:ln>
                  <a:solidFill>
                    <a:srgbClr val="000000"/>
                  </a:solidFill>
                  <a:effectLst/>
                  <a:uLnTx/>
                  <a:uFillTx/>
                  <a:latin typeface="+mj-lt"/>
                  <a:ea typeface="+mn-ea"/>
                  <a:cs typeface="+mn-cs"/>
                </a:rPr>
              </a:br>
              <a:r>
                <a:rPr kumimoji="0" lang="en-US" sz="1400" b="1" i="0" u="none" strike="noStrike" kern="0" cap="none" spc="0" normalizeH="0" baseline="0" noProof="0" dirty="0">
                  <a:ln>
                    <a:noFill/>
                  </a:ln>
                  <a:solidFill>
                    <a:srgbClr val="000000"/>
                  </a:solidFill>
                  <a:effectLst/>
                  <a:uLnTx/>
                  <a:uFillTx/>
                  <a:latin typeface="+mj-lt"/>
                  <a:ea typeface="+mn-ea"/>
                  <a:cs typeface="+mn-cs"/>
                </a:rPr>
                <a:t>Rate</a:t>
              </a:r>
            </a:p>
          </p:txBody>
        </p:sp>
        <p:sp>
          <p:nvSpPr>
            <p:cNvPr id="12" name="Rectangle 10">
              <a:extLst>
                <a:ext uri="{FF2B5EF4-FFF2-40B4-BE49-F238E27FC236}">
                  <a16:creationId xmlns:a16="http://schemas.microsoft.com/office/drawing/2014/main" id="{6EAD092C-DE5F-42E9-9EB9-0BC0ACD16095}"/>
                </a:ext>
              </a:extLst>
            </p:cNvPr>
            <p:cNvSpPr>
              <a:spLocks noChangeArrowheads="1"/>
            </p:cNvSpPr>
            <p:nvPr/>
          </p:nvSpPr>
          <p:spPr bwMode="auto">
            <a:xfrm>
              <a:off x="4004480" y="5735662"/>
              <a:ext cx="1613962" cy="338138"/>
            </a:xfrm>
            <a:prstGeom prst="rect">
              <a:avLst/>
            </a:prstGeom>
            <a:noFill/>
            <a:ln w="12700" algn="ctr">
              <a:noFill/>
              <a:miter lim="800000"/>
              <a:headEnd/>
              <a:tailEnd/>
            </a:ln>
            <a:effectLst/>
          </p:spPr>
          <p:txBody>
            <a:bodyPr wrap="none" lIns="72000" tIns="72000" rIns="72000" bIns="72000" anchor="ctr"/>
            <a:lstStyle/>
            <a:p>
              <a:pPr marL="0" marR="0" lvl="0" indent="0" algn="ctr" defTabSz="914400" rtl="0" eaLnBrk="1" fontAlgn="auto" latinLnBrk="0" hangingPunct="1">
                <a:lnSpc>
                  <a:spcPct val="100000"/>
                </a:lnSpc>
                <a:spcBef>
                  <a:spcPts val="0"/>
                </a:spcBef>
                <a:spcAft>
                  <a:spcPts val="0"/>
                </a:spcAft>
                <a:buClrTx/>
                <a:buSzPct val="75000"/>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Relative Market Share</a:t>
              </a:r>
            </a:p>
          </p:txBody>
        </p:sp>
        <p:sp>
          <p:nvSpPr>
            <p:cNvPr id="13" name="Rectangle 12">
              <a:extLst>
                <a:ext uri="{FF2B5EF4-FFF2-40B4-BE49-F238E27FC236}">
                  <a16:creationId xmlns:a16="http://schemas.microsoft.com/office/drawing/2014/main" id="{4548A0DF-817C-456E-9844-A22CC4149B70}"/>
                </a:ext>
              </a:extLst>
            </p:cNvPr>
            <p:cNvSpPr>
              <a:spLocks noChangeArrowheads="1"/>
            </p:cNvSpPr>
            <p:nvPr/>
          </p:nvSpPr>
          <p:spPr bwMode="auto">
            <a:xfrm>
              <a:off x="2714910" y="4192612"/>
              <a:ext cx="509587" cy="338138"/>
            </a:xfrm>
            <a:prstGeom prst="rect">
              <a:avLst/>
            </a:prstGeom>
            <a:noFill/>
            <a:ln w="12700" algn="ctr">
              <a:noFill/>
              <a:miter lim="800000"/>
              <a:headEnd/>
              <a:tailEnd/>
            </a:ln>
            <a:effectLst/>
          </p:spPr>
          <p:txBody>
            <a:bodyPr wrap="none" lIns="72000" tIns="72000" rIns="72000" bIns="72000" anchor="b"/>
            <a:lstStyle/>
            <a:p>
              <a:pPr marL="0" marR="0" lvl="0" indent="0" algn="l" defTabSz="914400" rtl="0" eaLnBrk="1" fontAlgn="auto" latinLnBrk="0" hangingPunct="1">
                <a:lnSpc>
                  <a:spcPct val="100000"/>
                </a:lnSpc>
                <a:spcBef>
                  <a:spcPts val="0"/>
                </a:spcBef>
                <a:spcAft>
                  <a:spcPts val="0"/>
                </a:spcAft>
                <a:buClrTx/>
                <a:buSzPct val="75000"/>
                <a:buFontTx/>
                <a:buNone/>
                <a:tabLst/>
                <a:defRPr/>
              </a:pPr>
              <a:r>
                <a:rPr kumimoji="0" lang="en-US" sz="1200" b="0" i="0" u="none" strike="noStrike" kern="0" cap="none" spc="0" normalizeH="0" baseline="0" noProof="0">
                  <a:ln>
                    <a:noFill/>
                  </a:ln>
                  <a:solidFill>
                    <a:srgbClr val="000000"/>
                  </a:solidFill>
                  <a:effectLst/>
                  <a:uLnTx/>
                  <a:uFillTx/>
                  <a:ea typeface="+mn-ea"/>
                  <a:cs typeface="+mn-cs"/>
                </a:rPr>
                <a:t>x%</a:t>
              </a:r>
            </a:p>
          </p:txBody>
        </p:sp>
        <p:sp>
          <p:nvSpPr>
            <p:cNvPr id="14" name="Oval 13">
              <a:extLst>
                <a:ext uri="{FF2B5EF4-FFF2-40B4-BE49-F238E27FC236}">
                  <a16:creationId xmlns:a16="http://schemas.microsoft.com/office/drawing/2014/main" id="{A49C18FA-991C-4410-BF8B-66AE722B9241}"/>
                </a:ext>
              </a:extLst>
            </p:cNvPr>
            <p:cNvSpPr>
              <a:spLocks noChangeArrowheads="1"/>
            </p:cNvSpPr>
            <p:nvPr/>
          </p:nvSpPr>
          <p:spPr bwMode="auto">
            <a:xfrm>
              <a:off x="5797835" y="4716487"/>
              <a:ext cx="211137" cy="211138"/>
            </a:xfrm>
            <a:prstGeom prst="ellipse">
              <a:avLst/>
            </a:prstGeom>
            <a:solidFill>
              <a:srgbClr val="A100FF"/>
            </a:solidFill>
            <a:ln w="38100" algn="ctr">
              <a:noFill/>
              <a:round/>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Pct val="75000"/>
                <a:buFontTx/>
                <a:buNone/>
                <a:tabLst/>
                <a:defRPr/>
              </a:pPr>
              <a:endParaRPr kumimoji="0" lang="en-US" sz="1800" b="1" i="0" u="none" strike="noStrike" kern="0" cap="none" spc="0" normalizeH="0" baseline="0" noProof="0">
                <a:ln>
                  <a:noFill/>
                </a:ln>
                <a:solidFill>
                  <a:srgbClr val="FFFFFF"/>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3F324993-23C0-4B07-8406-A298B8D54787}"/>
                </a:ext>
              </a:extLst>
            </p:cNvPr>
            <p:cNvSpPr>
              <a:spLocks noChangeArrowheads="1"/>
            </p:cNvSpPr>
            <p:nvPr/>
          </p:nvSpPr>
          <p:spPr bwMode="auto">
            <a:xfrm>
              <a:off x="5618441" y="4417907"/>
              <a:ext cx="555625" cy="234950"/>
            </a:xfrm>
            <a:prstGeom prst="rect">
              <a:avLst/>
            </a:prstGeom>
            <a:noFill/>
            <a:ln w="12700" algn="ctr">
              <a:noFill/>
              <a:miter lim="800000"/>
              <a:headEnd/>
              <a:tailEnd/>
            </a:ln>
            <a:effectLst/>
          </p:spPr>
          <p:txBody>
            <a:bodyPr wrap="none" lIns="72000" tIns="36000" rIns="72000" bIns="36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ea"/>
                  <a:cs typeface="+mn-cs"/>
                </a:rPr>
                <a:t>Text</a:t>
              </a:r>
            </a:p>
          </p:txBody>
        </p:sp>
        <p:sp>
          <p:nvSpPr>
            <p:cNvPr id="16" name="Rectangle 15">
              <a:extLst>
                <a:ext uri="{FF2B5EF4-FFF2-40B4-BE49-F238E27FC236}">
                  <a16:creationId xmlns:a16="http://schemas.microsoft.com/office/drawing/2014/main" id="{0C557D10-5378-4C2F-B6BF-5136A4AF6673}"/>
                </a:ext>
              </a:extLst>
            </p:cNvPr>
            <p:cNvSpPr>
              <a:spLocks noChangeArrowheads="1"/>
            </p:cNvSpPr>
            <p:nvPr/>
          </p:nvSpPr>
          <p:spPr bwMode="auto">
            <a:xfrm>
              <a:off x="2670460" y="2273325"/>
              <a:ext cx="509587" cy="338137"/>
            </a:xfrm>
            <a:prstGeom prst="rect">
              <a:avLst/>
            </a:prstGeom>
            <a:noFill/>
            <a:ln w="12700" algn="ctr">
              <a:noFill/>
              <a:miter lim="800000"/>
              <a:headEnd/>
              <a:tailEnd/>
            </a:ln>
            <a:effectLst/>
          </p:spPr>
          <p:txBody>
            <a:bodyPr wrap="none" lIns="72000" tIns="72000" rIns="72000" bIns="72000" anchor="b"/>
            <a:lstStyle/>
            <a:p>
              <a:pPr marL="0" marR="0" lvl="0" indent="0" algn="l" defTabSz="914400" rtl="0" eaLnBrk="1" fontAlgn="auto" latinLnBrk="0" hangingPunct="1">
                <a:lnSpc>
                  <a:spcPct val="100000"/>
                </a:lnSpc>
                <a:spcBef>
                  <a:spcPts val="0"/>
                </a:spcBef>
                <a:spcAft>
                  <a:spcPts val="0"/>
                </a:spcAft>
                <a:buClrTx/>
                <a:buSzPct val="75000"/>
                <a:buFontTx/>
                <a:buNone/>
                <a:tabLst/>
                <a:defRPr/>
              </a:pPr>
              <a:r>
                <a:rPr kumimoji="0" lang="en-US" sz="1200" b="0" i="0" u="none" strike="noStrike" kern="0" cap="none" spc="0" normalizeH="0" baseline="0" noProof="0" dirty="0">
                  <a:ln>
                    <a:noFill/>
                  </a:ln>
                  <a:solidFill>
                    <a:srgbClr val="000000"/>
                  </a:solidFill>
                  <a:effectLst/>
                  <a:uLnTx/>
                  <a:uFillTx/>
                  <a:ea typeface="+mn-ea"/>
                  <a:cs typeface="+mn-cs"/>
                </a:rPr>
                <a:t>y%</a:t>
              </a:r>
            </a:p>
          </p:txBody>
        </p:sp>
        <p:sp>
          <p:nvSpPr>
            <p:cNvPr id="17" name="Rectangle 17">
              <a:extLst>
                <a:ext uri="{FF2B5EF4-FFF2-40B4-BE49-F238E27FC236}">
                  <a16:creationId xmlns:a16="http://schemas.microsoft.com/office/drawing/2014/main" id="{99844088-7646-4940-8F84-8680A97BF8EA}"/>
                </a:ext>
              </a:extLst>
            </p:cNvPr>
            <p:cNvSpPr>
              <a:spLocks noChangeArrowheads="1"/>
            </p:cNvSpPr>
            <p:nvPr/>
          </p:nvSpPr>
          <p:spPr bwMode="auto">
            <a:xfrm>
              <a:off x="4004479" y="3660378"/>
              <a:ext cx="555625" cy="234950"/>
            </a:xfrm>
            <a:prstGeom prst="rect">
              <a:avLst/>
            </a:prstGeom>
            <a:noFill/>
            <a:ln w="12700" algn="ctr">
              <a:noFill/>
              <a:miter lim="800000"/>
              <a:headEnd/>
              <a:tailEnd/>
            </a:ln>
            <a:effectLst/>
          </p:spPr>
          <p:txBody>
            <a:bodyPr wrap="none" lIns="72000" tIns="36000" rIns="72000" bIns="36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ea"/>
                  <a:cs typeface="+mn-cs"/>
                </a:rPr>
                <a:t>Text</a:t>
              </a:r>
            </a:p>
          </p:txBody>
        </p:sp>
        <p:sp>
          <p:nvSpPr>
            <p:cNvPr id="18" name="Rectangle 18">
              <a:extLst>
                <a:ext uri="{FF2B5EF4-FFF2-40B4-BE49-F238E27FC236}">
                  <a16:creationId xmlns:a16="http://schemas.microsoft.com/office/drawing/2014/main" id="{135A8D8F-E719-44C3-A871-13663F8C8416}"/>
                </a:ext>
              </a:extLst>
            </p:cNvPr>
            <p:cNvSpPr>
              <a:spLocks noChangeArrowheads="1"/>
            </p:cNvSpPr>
            <p:nvPr/>
          </p:nvSpPr>
          <p:spPr bwMode="auto">
            <a:xfrm>
              <a:off x="3048285" y="5402287"/>
              <a:ext cx="509587" cy="338138"/>
            </a:xfrm>
            <a:prstGeom prst="rect">
              <a:avLst/>
            </a:prstGeom>
            <a:noFill/>
            <a:ln w="12700" algn="ctr">
              <a:noFill/>
              <a:miter lim="800000"/>
              <a:headEnd/>
              <a:tailEnd/>
            </a:ln>
            <a:effectLst/>
          </p:spPr>
          <p:txBody>
            <a:bodyPr wrap="none" lIns="72000" tIns="72000" rIns="72000" bIns="72000" anchor="b"/>
            <a:lstStyle/>
            <a:p>
              <a:pPr marL="0" marR="0" lvl="0" indent="0" algn="l" defTabSz="914400" rtl="0" eaLnBrk="1" fontAlgn="auto" latinLnBrk="0" hangingPunct="1">
                <a:lnSpc>
                  <a:spcPct val="100000"/>
                </a:lnSpc>
                <a:spcBef>
                  <a:spcPts val="0"/>
                </a:spcBef>
                <a:spcAft>
                  <a:spcPts val="0"/>
                </a:spcAft>
                <a:buClrTx/>
                <a:buSzPct val="75000"/>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mn-cs"/>
                </a:rPr>
                <a:t>10x</a:t>
              </a:r>
            </a:p>
          </p:txBody>
        </p:sp>
        <p:sp>
          <p:nvSpPr>
            <p:cNvPr id="19" name="Rectangle 19">
              <a:extLst>
                <a:ext uri="{FF2B5EF4-FFF2-40B4-BE49-F238E27FC236}">
                  <a16:creationId xmlns:a16="http://schemas.microsoft.com/office/drawing/2014/main" id="{5163C84E-F0DC-4FFC-98F5-9F1C34D24620}"/>
                </a:ext>
              </a:extLst>
            </p:cNvPr>
            <p:cNvSpPr>
              <a:spLocks noChangeArrowheads="1"/>
            </p:cNvSpPr>
            <p:nvPr/>
          </p:nvSpPr>
          <p:spPr bwMode="auto">
            <a:xfrm>
              <a:off x="4470685" y="5403875"/>
              <a:ext cx="509587" cy="338137"/>
            </a:xfrm>
            <a:prstGeom prst="rect">
              <a:avLst/>
            </a:prstGeom>
            <a:noFill/>
            <a:ln w="12700" algn="ctr">
              <a:noFill/>
              <a:miter lim="800000"/>
              <a:headEnd/>
              <a:tailEnd/>
            </a:ln>
            <a:effectLst/>
          </p:spPr>
          <p:txBody>
            <a:bodyPr wrap="none" lIns="72000" tIns="72000" rIns="72000" bIns="72000" anchor="b"/>
            <a:lstStyle/>
            <a:p>
              <a:pPr marL="0" marR="0" lvl="0" indent="0" algn="l" defTabSz="914400" rtl="0" eaLnBrk="1" fontAlgn="auto" latinLnBrk="0" hangingPunct="1">
                <a:lnSpc>
                  <a:spcPct val="100000"/>
                </a:lnSpc>
                <a:spcBef>
                  <a:spcPts val="0"/>
                </a:spcBef>
                <a:spcAft>
                  <a:spcPts val="0"/>
                </a:spcAft>
                <a:buClrTx/>
                <a:buSzPct val="75000"/>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mn-cs"/>
                </a:rPr>
                <a:t>1x</a:t>
              </a:r>
            </a:p>
          </p:txBody>
        </p:sp>
        <p:sp>
          <p:nvSpPr>
            <p:cNvPr id="20" name="Rectangle 20">
              <a:extLst>
                <a:ext uri="{FF2B5EF4-FFF2-40B4-BE49-F238E27FC236}">
                  <a16:creationId xmlns:a16="http://schemas.microsoft.com/office/drawing/2014/main" id="{0337C306-0C3A-470C-98EF-10A7C138144E}"/>
                </a:ext>
              </a:extLst>
            </p:cNvPr>
            <p:cNvSpPr>
              <a:spLocks noChangeArrowheads="1"/>
            </p:cNvSpPr>
            <p:nvPr/>
          </p:nvSpPr>
          <p:spPr bwMode="auto">
            <a:xfrm>
              <a:off x="5893085" y="5405462"/>
              <a:ext cx="509587" cy="338138"/>
            </a:xfrm>
            <a:prstGeom prst="rect">
              <a:avLst/>
            </a:prstGeom>
            <a:noFill/>
            <a:ln w="12700" algn="ctr">
              <a:noFill/>
              <a:miter lim="800000"/>
              <a:headEnd/>
              <a:tailEnd/>
            </a:ln>
            <a:effectLst/>
          </p:spPr>
          <p:txBody>
            <a:bodyPr wrap="none" lIns="72000" tIns="72000" rIns="72000" bIns="72000" anchor="b"/>
            <a:lstStyle/>
            <a:p>
              <a:pPr marL="0" marR="0" lvl="0" indent="0" algn="l" defTabSz="914400" rtl="0" eaLnBrk="1" fontAlgn="auto" latinLnBrk="0" hangingPunct="1">
                <a:lnSpc>
                  <a:spcPct val="100000"/>
                </a:lnSpc>
                <a:spcBef>
                  <a:spcPts val="0"/>
                </a:spcBef>
                <a:spcAft>
                  <a:spcPts val="0"/>
                </a:spcAft>
                <a:buClrTx/>
                <a:buSzPct val="75000"/>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mn-cs"/>
                </a:rPr>
                <a:t>0.1x</a:t>
              </a:r>
            </a:p>
          </p:txBody>
        </p:sp>
        <p:cxnSp>
          <p:nvCxnSpPr>
            <p:cNvPr id="21" name="Straight Connector 20">
              <a:extLst>
                <a:ext uri="{FF2B5EF4-FFF2-40B4-BE49-F238E27FC236}">
                  <a16:creationId xmlns:a16="http://schemas.microsoft.com/office/drawing/2014/main" id="{1A3F777A-C80F-488D-BBC1-DC5C87D4AE8C}"/>
                </a:ext>
              </a:extLst>
            </p:cNvPr>
            <p:cNvCxnSpPr>
              <a:stCxn id="24" idx="0"/>
            </p:cNvCxnSpPr>
            <p:nvPr/>
          </p:nvCxnSpPr>
          <p:spPr bwMode="auto">
            <a:xfrm>
              <a:off x="4756338" y="2414304"/>
              <a:ext cx="1588" cy="2977497"/>
            </a:xfrm>
            <a:prstGeom prst="line">
              <a:avLst/>
            </a:prstGeom>
            <a:noFill/>
            <a:ln w="12700" cap="flat" cmpd="sng" algn="ctr">
              <a:solidFill>
                <a:srgbClr val="96968C"/>
              </a:solidFill>
              <a:prstDash val="solid"/>
            </a:ln>
            <a:effectLst/>
          </p:spPr>
        </p:cxnSp>
        <p:cxnSp>
          <p:nvCxnSpPr>
            <p:cNvPr id="22" name="Straight Connector 21">
              <a:extLst>
                <a:ext uri="{FF2B5EF4-FFF2-40B4-BE49-F238E27FC236}">
                  <a16:creationId xmlns:a16="http://schemas.microsoft.com/office/drawing/2014/main" id="{CC9CBB89-F837-4074-A503-BDD7CDA81D80}"/>
                </a:ext>
              </a:extLst>
            </p:cNvPr>
            <p:cNvCxnSpPr/>
            <p:nvPr/>
          </p:nvCxnSpPr>
          <p:spPr bwMode="auto">
            <a:xfrm rot="10800000" flipV="1">
              <a:off x="3139710" y="4358033"/>
              <a:ext cx="3222000" cy="0"/>
            </a:xfrm>
            <a:prstGeom prst="line">
              <a:avLst/>
            </a:prstGeom>
            <a:noFill/>
            <a:ln w="12700" cap="flat" cmpd="sng" algn="ctr">
              <a:solidFill>
                <a:srgbClr val="96968C"/>
              </a:solidFill>
              <a:prstDash val="solid"/>
            </a:ln>
            <a:effectLst/>
          </p:spPr>
        </p:cxnSp>
        <p:sp>
          <p:nvSpPr>
            <p:cNvPr id="23" name="Oval 16">
              <a:extLst>
                <a:ext uri="{FF2B5EF4-FFF2-40B4-BE49-F238E27FC236}">
                  <a16:creationId xmlns:a16="http://schemas.microsoft.com/office/drawing/2014/main" id="{AD9C636C-6263-4993-B967-108F2952EE94}"/>
                </a:ext>
              </a:extLst>
            </p:cNvPr>
            <p:cNvSpPr>
              <a:spLocks noChangeArrowheads="1"/>
            </p:cNvSpPr>
            <p:nvPr/>
          </p:nvSpPr>
          <p:spPr bwMode="auto">
            <a:xfrm>
              <a:off x="3418172" y="3833837"/>
              <a:ext cx="763588" cy="763588"/>
            </a:xfrm>
            <a:prstGeom prst="ellipse">
              <a:avLst/>
            </a:prstGeom>
            <a:solidFill>
              <a:srgbClr val="A100FF"/>
            </a:solidFill>
            <a:ln w="38100" algn="ctr">
              <a:noFill/>
              <a:round/>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Pct val="75000"/>
                <a:buFontTx/>
                <a:buNone/>
                <a:tabLst/>
                <a:defRPr/>
              </a:pPr>
              <a:endParaRPr kumimoji="0" lang="en-US" sz="1800" b="1" i="0" u="none" strike="noStrike" kern="0" cap="none" spc="0" normalizeH="0" baseline="0" noProof="0">
                <a:ln>
                  <a:noFill/>
                </a:ln>
                <a:solidFill>
                  <a:srgbClr val="FFFFFF"/>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532438B9-E7FA-4035-8373-218F228277AC}"/>
                </a:ext>
              </a:extLst>
            </p:cNvPr>
            <p:cNvSpPr/>
            <p:nvPr/>
          </p:nvSpPr>
          <p:spPr bwMode="auto">
            <a:xfrm>
              <a:off x="3146807" y="2414304"/>
              <a:ext cx="3219061" cy="2976141"/>
            </a:xfrm>
            <a:prstGeom prst="rect">
              <a:avLst/>
            </a:prstGeom>
            <a:noFill/>
            <a:ln w="12700" algn="ctr">
              <a:solidFill>
                <a:srgbClr val="96968C"/>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5" name="Freeform 3">
              <a:extLst>
                <a:ext uri="{FF2B5EF4-FFF2-40B4-BE49-F238E27FC236}">
                  <a16:creationId xmlns:a16="http://schemas.microsoft.com/office/drawing/2014/main" id="{146A336B-AB95-4867-82D5-9AD845F32333}"/>
                </a:ext>
              </a:extLst>
            </p:cNvPr>
            <p:cNvSpPr>
              <a:spLocks/>
            </p:cNvSpPr>
            <p:nvPr/>
          </p:nvSpPr>
          <p:spPr bwMode="auto">
            <a:xfrm>
              <a:off x="3143308" y="2049778"/>
              <a:ext cx="3409172" cy="3343955"/>
            </a:xfrm>
            <a:custGeom>
              <a:avLst/>
              <a:gdLst/>
              <a:ahLst/>
              <a:cxnLst>
                <a:cxn ang="0">
                  <a:pos x="0" y="0"/>
                </a:cxn>
                <a:cxn ang="0">
                  <a:pos x="0" y="764"/>
                </a:cxn>
                <a:cxn ang="0">
                  <a:pos x="1892" y="764"/>
                </a:cxn>
              </a:cxnLst>
              <a:rect l="0" t="0" r="r" b="b"/>
              <a:pathLst>
                <a:path w="1893" h="765">
                  <a:moveTo>
                    <a:pt x="0" y="0"/>
                  </a:moveTo>
                  <a:lnTo>
                    <a:pt x="0" y="764"/>
                  </a:lnTo>
                  <a:lnTo>
                    <a:pt x="1892" y="764"/>
                  </a:lnTo>
                </a:path>
              </a:pathLst>
            </a:custGeom>
            <a:noFill/>
            <a:ln w="12700" cap="rnd" cmpd="sng">
              <a:solidFill>
                <a:srgbClr val="000000"/>
              </a:solidFill>
              <a:prstDash val="solid"/>
              <a:round/>
              <a:headEnd type="triangle" w="med" len="med"/>
              <a:tailEnd type="triangl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sp>
        <p:nvSpPr>
          <p:cNvPr id="27" name="Footer Placeholder 26">
            <a:extLst>
              <a:ext uri="{FF2B5EF4-FFF2-40B4-BE49-F238E27FC236}">
                <a16:creationId xmlns:a16="http://schemas.microsoft.com/office/drawing/2014/main" id="{B5D01555-4D18-4E32-8BF5-53474FB9C76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8" name="Slide Number Placeholder 27">
            <a:extLst>
              <a:ext uri="{FF2B5EF4-FFF2-40B4-BE49-F238E27FC236}">
                <a16:creationId xmlns:a16="http://schemas.microsoft.com/office/drawing/2014/main" id="{F2431C81-43A4-410D-9FA4-414D34E9B8A2}"/>
              </a:ext>
            </a:extLst>
          </p:cNvPr>
          <p:cNvSpPr>
            <a:spLocks noGrp="1"/>
          </p:cNvSpPr>
          <p:nvPr>
            <p:ph type="sldNum" sz="quarter" idx="10"/>
          </p:nvPr>
        </p:nvSpPr>
        <p:spPr/>
        <p:txBody>
          <a:bodyPr/>
          <a:lstStyle/>
          <a:p>
            <a:fld id="{1F90F471-3972-4120-B8B3-0237DE626C35}" type="slidenum">
              <a:rPr lang="en-US" smtClean="0"/>
              <a:pPr/>
              <a:t>438</a:t>
            </a:fld>
            <a:endParaRPr lang="en-US" dirty="0"/>
          </a:p>
        </p:txBody>
      </p:sp>
    </p:spTree>
    <p:extLst>
      <p:ext uri="{BB962C8B-B14F-4D97-AF65-F5344CB8AC3E}">
        <p14:creationId xmlns:p14="http://schemas.microsoft.com/office/powerpoint/2010/main" val="3031739296"/>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a:xfrm>
            <a:off x="381634" y="441472"/>
            <a:ext cx="11430000" cy="800100"/>
          </a:xfrm>
        </p:spPr>
        <p:txBody>
          <a:bodyPr/>
          <a:lstStyle/>
          <a:p>
            <a:r>
              <a:rPr lang="en-US" dirty="0"/>
              <a:t>Frameworks: Benefit Potential</a:t>
            </a:r>
          </a:p>
        </p:txBody>
      </p:sp>
      <p:sp>
        <p:nvSpPr>
          <p:cNvPr id="93" name="Rectangle 6">
            <a:extLst>
              <a:ext uri="{FF2B5EF4-FFF2-40B4-BE49-F238E27FC236}">
                <a16:creationId xmlns:a16="http://schemas.microsoft.com/office/drawing/2014/main" id="{20DFE7AC-0EC8-4A9F-BD16-90DAC8CF2B85}"/>
              </a:ext>
            </a:extLst>
          </p:cNvPr>
          <p:cNvSpPr>
            <a:spLocks noChangeArrowheads="1"/>
          </p:cNvSpPr>
          <p:nvPr/>
        </p:nvSpPr>
        <p:spPr bwMode="auto">
          <a:xfrm>
            <a:off x="3489120" y="1273932"/>
            <a:ext cx="2175553" cy="822325"/>
          </a:xfrm>
          <a:prstGeom prst="rect">
            <a:avLst/>
          </a:prstGeom>
          <a:noFill/>
          <a:ln w="12700" algn="ctr">
            <a:noFill/>
            <a:prstDash val="dash"/>
            <a:miter lim="800000"/>
            <a:headEnd/>
            <a:tailEnd/>
          </a:ln>
          <a:effectLst/>
        </p:spPr>
        <p:txBody>
          <a:bodyPr wrap="none" anchorCtr="1"/>
          <a:lstStyle/>
          <a:p>
            <a:pPr>
              <a:buClrTx/>
              <a:buSzTx/>
              <a:buFontTx/>
              <a:buNone/>
            </a:pPr>
            <a:r>
              <a:rPr lang="en-US" sz="1200" dirty="0"/>
              <a:t>Potential Annual Benefits</a:t>
            </a:r>
          </a:p>
        </p:txBody>
      </p:sp>
      <p:grpSp>
        <p:nvGrpSpPr>
          <p:cNvPr id="3" name="Group 2" descr="Add text and order accordingly">
            <a:extLst>
              <a:ext uri="{FF2B5EF4-FFF2-40B4-BE49-F238E27FC236}">
                <a16:creationId xmlns:a16="http://schemas.microsoft.com/office/drawing/2014/main" id="{536C2783-6ACC-4D9E-90FA-5ACFE660EB6F}"/>
              </a:ext>
            </a:extLst>
          </p:cNvPr>
          <p:cNvGrpSpPr/>
          <p:nvPr/>
        </p:nvGrpSpPr>
        <p:grpSpPr>
          <a:xfrm>
            <a:off x="6922366" y="1333500"/>
            <a:ext cx="1826098" cy="527051"/>
            <a:chOff x="6922366" y="1333500"/>
            <a:chExt cx="1826098" cy="527051"/>
          </a:xfrm>
        </p:grpSpPr>
        <p:sp>
          <p:nvSpPr>
            <p:cNvPr id="148" name="Text Box 166">
              <a:extLst>
                <a:ext uri="{FF2B5EF4-FFF2-40B4-BE49-F238E27FC236}">
                  <a16:creationId xmlns:a16="http://schemas.microsoft.com/office/drawing/2014/main" id="{E0A4314F-5CC1-478C-8987-821F8EED7EEF}"/>
                </a:ext>
              </a:extLst>
            </p:cNvPr>
            <p:cNvSpPr txBox="1">
              <a:spLocks noChangeArrowheads="1"/>
            </p:cNvSpPr>
            <p:nvPr/>
          </p:nvSpPr>
          <p:spPr bwMode="auto">
            <a:xfrm>
              <a:off x="7181795" y="1333500"/>
              <a:ext cx="1566669" cy="188913"/>
            </a:xfrm>
            <a:prstGeom prst="rect">
              <a:avLst/>
            </a:prstGeom>
            <a:noFill/>
            <a:ln w="12700">
              <a:noFill/>
              <a:miter lim="800000"/>
              <a:headEnd/>
              <a:tailEnd/>
            </a:ln>
            <a:effectLst>
              <a:prstShdw prst="shdw17" dist="17961" dir="2700000">
                <a:srgbClr val="CCFFFF">
                  <a:gamma/>
                  <a:shade val="60000"/>
                  <a:invGamma/>
                </a:srgbClr>
              </a:prstShdw>
            </a:effectLst>
          </p:spPr>
          <p:txBody>
            <a:bodyPr lIns="0" tIns="0" rIns="0" bIns="0" anchor="ctr"/>
            <a:lstStyle/>
            <a:p>
              <a:pPr algn="l" eaLnBrk="0" hangingPunct="0">
                <a:buClrTx/>
                <a:buSzTx/>
                <a:buFontTx/>
                <a:buNone/>
              </a:pPr>
              <a:r>
                <a:rPr lang="en-US" sz="1100" dirty="0">
                  <a:sym typeface="Wingdings" pitchFamily="2" charset="2"/>
                </a:rPr>
                <a:t>Conservative Estimate</a:t>
              </a:r>
              <a:endParaRPr lang="en-US" sz="1100" dirty="0"/>
            </a:p>
          </p:txBody>
        </p:sp>
        <p:sp>
          <p:nvSpPr>
            <p:cNvPr id="149" name="Text Box 167">
              <a:extLst>
                <a:ext uri="{FF2B5EF4-FFF2-40B4-BE49-F238E27FC236}">
                  <a16:creationId xmlns:a16="http://schemas.microsoft.com/office/drawing/2014/main" id="{5901D853-19D6-48D9-8ED2-67684026E32E}"/>
                </a:ext>
              </a:extLst>
            </p:cNvPr>
            <p:cNvSpPr txBox="1">
              <a:spLocks noChangeArrowheads="1"/>
            </p:cNvSpPr>
            <p:nvPr/>
          </p:nvSpPr>
          <p:spPr bwMode="auto">
            <a:xfrm>
              <a:off x="7181795" y="1522414"/>
              <a:ext cx="1168184" cy="152400"/>
            </a:xfrm>
            <a:prstGeom prst="rect">
              <a:avLst/>
            </a:prstGeom>
            <a:noFill/>
            <a:ln w="12700" algn="ctr">
              <a:noFill/>
              <a:miter lim="800000"/>
              <a:headEnd/>
              <a:tailEnd/>
            </a:ln>
            <a:effectLst>
              <a:prstShdw prst="shdw17" dist="17961" dir="2700000">
                <a:schemeClr val="hlink">
                  <a:gamma/>
                  <a:shade val="60000"/>
                  <a:invGamma/>
                </a:schemeClr>
              </a:prstShdw>
            </a:effectLst>
          </p:spPr>
          <p:txBody>
            <a:bodyPr lIns="0" tIns="0" rIns="0" bIns="0" anchor="ctr"/>
            <a:lstStyle/>
            <a:p>
              <a:pPr algn="l" eaLnBrk="0" hangingPunct="0">
                <a:buClrTx/>
                <a:buSzTx/>
                <a:buFontTx/>
                <a:buNone/>
              </a:pPr>
              <a:r>
                <a:rPr lang="en-US" sz="1100" dirty="0">
                  <a:sym typeface="Wingdings" pitchFamily="2" charset="2"/>
                </a:rPr>
                <a:t>Likely Scenario</a:t>
              </a:r>
              <a:endParaRPr lang="en-US" sz="1100" dirty="0"/>
            </a:p>
          </p:txBody>
        </p:sp>
        <p:sp>
          <p:nvSpPr>
            <p:cNvPr id="150" name="Rectangle 168">
              <a:extLst>
                <a:ext uri="{FF2B5EF4-FFF2-40B4-BE49-F238E27FC236}">
                  <a16:creationId xmlns:a16="http://schemas.microsoft.com/office/drawing/2014/main" id="{E603F2F8-6423-480E-8694-43FB330BDBE6}"/>
                </a:ext>
              </a:extLst>
            </p:cNvPr>
            <p:cNvSpPr>
              <a:spLocks noChangeArrowheads="1"/>
            </p:cNvSpPr>
            <p:nvPr/>
          </p:nvSpPr>
          <p:spPr bwMode="auto">
            <a:xfrm>
              <a:off x="6922366" y="1350964"/>
              <a:ext cx="200260" cy="117475"/>
            </a:xfrm>
            <a:prstGeom prst="rect">
              <a:avLst/>
            </a:prstGeom>
            <a:solidFill>
              <a:schemeClr val="accent2"/>
            </a:solidFill>
            <a:ln w="12700" algn="ctr">
              <a:noFill/>
              <a:miter lim="800000"/>
              <a:headEnd/>
              <a:tailEnd/>
            </a:ln>
            <a:effectLst/>
          </p:spPr>
          <p:txBody>
            <a:bodyPr wrap="none" anchor="ctr"/>
            <a:lstStyle/>
            <a:p>
              <a:pPr marL="180975" indent="-180975">
                <a:buClrTx/>
              </a:pPr>
              <a:endParaRPr lang="en-US" sz="1100" b="1"/>
            </a:p>
          </p:txBody>
        </p:sp>
        <p:sp>
          <p:nvSpPr>
            <p:cNvPr id="151" name="Rectangle 169">
              <a:extLst>
                <a:ext uri="{FF2B5EF4-FFF2-40B4-BE49-F238E27FC236}">
                  <a16:creationId xmlns:a16="http://schemas.microsoft.com/office/drawing/2014/main" id="{5C6EDBEB-006E-4691-8E43-47FA95FF28E7}"/>
                </a:ext>
              </a:extLst>
            </p:cNvPr>
            <p:cNvSpPr>
              <a:spLocks noChangeArrowheads="1"/>
            </p:cNvSpPr>
            <p:nvPr/>
          </p:nvSpPr>
          <p:spPr bwMode="auto">
            <a:xfrm>
              <a:off x="6922366" y="1539876"/>
              <a:ext cx="200260" cy="117475"/>
            </a:xfrm>
            <a:prstGeom prst="rect">
              <a:avLst/>
            </a:prstGeom>
            <a:solidFill>
              <a:schemeClr val="accent3"/>
            </a:solidFill>
            <a:ln w="12700" algn="ctr">
              <a:noFill/>
              <a:miter lim="800000"/>
              <a:headEnd/>
              <a:tailEnd/>
            </a:ln>
            <a:effectLst/>
          </p:spPr>
          <p:txBody>
            <a:bodyPr wrap="none" anchor="ctr"/>
            <a:lstStyle/>
            <a:p>
              <a:pPr marL="180975" indent="-180975">
                <a:buClrTx/>
              </a:pPr>
              <a:endParaRPr lang="en-US" sz="1100" b="1"/>
            </a:p>
          </p:txBody>
        </p:sp>
        <p:grpSp>
          <p:nvGrpSpPr>
            <p:cNvPr id="152" name="Group 170">
              <a:extLst>
                <a:ext uri="{FF2B5EF4-FFF2-40B4-BE49-F238E27FC236}">
                  <a16:creationId xmlns:a16="http://schemas.microsoft.com/office/drawing/2014/main" id="{535B455D-7D4C-474B-B0B9-B0CD6BAAF4D3}"/>
                </a:ext>
              </a:extLst>
            </p:cNvPr>
            <p:cNvGrpSpPr>
              <a:grpSpLocks/>
            </p:cNvGrpSpPr>
            <p:nvPr/>
          </p:nvGrpSpPr>
          <p:grpSpPr bwMode="auto">
            <a:xfrm>
              <a:off x="6922366" y="1708151"/>
              <a:ext cx="200260" cy="150813"/>
              <a:chOff x="4287" y="702"/>
              <a:chExt cx="446" cy="190"/>
            </a:xfrm>
          </p:grpSpPr>
          <p:sp>
            <p:nvSpPr>
              <p:cNvPr id="153" name="AutoShape 171">
                <a:extLst>
                  <a:ext uri="{FF2B5EF4-FFF2-40B4-BE49-F238E27FC236}">
                    <a16:creationId xmlns:a16="http://schemas.microsoft.com/office/drawing/2014/main" id="{837B905F-F32E-4EC2-B4F2-D081D0B51B71}"/>
                  </a:ext>
                </a:extLst>
              </p:cNvPr>
              <p:cNvSpPr>
                <a:spLocks noChangeArrowheads="1"/>
              </p:cNvSpPr>
              <p:nvPr/>
            </p:nvSpPr>
            <p:spPr bwMode="auto">
              <a:xfrm rot="-5400000">
                <a:off x="4462" y="527"/>
                <a:ext cx="95" cy="446"/>
              </a:xfrm>
              <a:prstGeom prst="flowChartDelay">
                <a:avLst/>
              </a:prstGeom>
              <a:solidFill>
                <a:schemeClr val="accent2"/>
              </a:solidFill>
              <a:ln w="12700" algn="ctr">
                <a:noFill/>
                <a:miter lim="800000"/>
                <a:headEnd/>
                <a:tailEnd/>
              </a:ln>
              <a:effectLst/>
            </p:spPr>
            <p:txBody>
              <a:bodyPr vert="eaVert" anchor="ctr"/>
              <a:lstStyle/>
              <a:p>
                <a:pPr eaLnBrk="0" hangingPunct="0">
                  <a:buClrTx/>
                  <a:buSzTx/>
                  <a:buFontTx/>
                  <a:buNone/>
                </a:pPr>
                <a:endParaRPr lang="en-US" sz="1100"/>
              </a:p>
            </p:txBody>
          </p:sp>
          <p:sp>
            <p:nvSpPr>
              <p:cNvPr id="154" name="AutoShape 172">
                <a:extLst>
                  <a:ext uri="{FF2B5EF4-FFF2-40B4-BE49-F238E27FC236}">
                    <a16:creationId xmlns:a16="http://schemas.microsoft.com/office/drawing/2014/main" id="{55F9710A-91A4-4BAC-A932-3DB5D27FB387}"/>
                  </a:ext>
                </a:extLst>
              </p:cNvPr>
              <p:cNvSpPr>
                <a:spLocks noChangeArrowheads="1"/>
              </p:cNvSpPr>
              <p:nvPr/>
            </p:nvSpPr>
            <p:spPr bwMode="auto">
              <a:xfrm rot="5400000" flipV="1">
                <a:off x="4462" y="622"/>
                <a:ext cx="95" cy="446"/>
              </a:xfrm>
              <a:prstGeom prst="flowChartDelay">
                <a:avLst/>
              </a:prstGeom>
              <a:solidFill>
                <a:schemeClr val="accent3"/>
              </a:solidFill>
              <a:ln w="12700" algn="ctr">
                <a:noFill/>
                <a:miter lim="800000"/>
                <a:headEnd/>
                <a:tailEnd/>
              </a:ln>
              <a:effectLst/>
            </p:spPr>
            <p:txBody>
              <a:bodyPr vert="eaVert" anchor="ctr"/>
              <a:lstStyle/>
              <a:p>
                <a:pPr eaLnBrk="0" hangingPunct="0">
                  <a:buClrTx/>
                  <a:buSzTx/>
                  <a:buFontTx/>
                  <a:buNone/>
                </a:pPr>
                <a:endParaRPr lang="en-US" sz="1100"/>
              </a:p>
            </p:txBody>
          </p:sp>
        </p:grpSp>
        <p:sp>
          <p:nvSpPr>
            <p:cNvPr id="155" name="Text Box 173">
              <a:extLst>
                <a:ext uri="{FF2B5EF4-FFF2-40B4-BE49-F238E27FC236}">
                  <a16:creationId xmlns:a16="http://schemas.microsoft.com/office/drawing/2014/main" id="{AFC943DB-E3A3-4BB0-8638-14344D3D9917}"/>
                </a:ext>
              </a:extLst>
            </p:cNvPr>
            <p:cNvSpPr txBox="1">
              <a:spLocks noChangeArrowheads="1"/>
            </p:cNvSpPr>
            <p:nvPr/>
          </p:nvSpPr>
          <p:spPr bwMode="auto">
            <a:xfrm>
              <a:off x="7181795" y="1708151"/>
              <a:ext cx="1168184" cy="152400"/>
            </a:xfrm>
            <a:prstGeom prst="rect">
              <a:avLst/>
            </a:prstGeom>
            <a:noFill/>
            <a:ln w="12700" algn="ctr">
              <a:noFill/>
              <a:miter lim="800000"/>
              <a:headEnd/>
              <a:tailEnd/>
            </a:ln>
            <a:effectLst>
              <a:prstShdw prst="shdw17" dist="17961" dir="2700000">
                <a:schemeClr val="hlink">
                  <a:gamma/>
                  <a:shade val="60000"/>
                  <a:invGamma/>
                </a:schemeClr>
              </a:prstShdw>
            </a:effectLst>
          </p:spPr>
          <p:txBody>
            <a:bodyPr lIns="0" tIns="0" rIns="0" bIns="0" anchor="ctr"/>
            <a:lstStyle/>
            <a:p>
              <a:pPr algn="l" eaLnBrk="0" hangingPunct="0">
                <a:buClrTx/>
                <a:buSzTx/>
                <a:buFontTx/>
                <a:buNone/>
              </a:pPr>
              <a:r>
                <a:rPr lang="en-US" sz="1100" dirty="0"/>
                <a:t>One-time benefit</a:t>
              </a:r>
            </a:p>
          </p:txBody>
        </p:sp>
      </p:grpSp>
      <p:sp>
        <p:nvSpPr>
          <p:cNvPr id="141" name="Text Box 141">
            <a:extLst>
              <a:ext uri="{FF2B5EF4-FFF2-40B4-BE49-F238E27FC236}">
                <a16:creationId xmlns:a16="http://schemas.microsoft.com/office/drawing/2014/main" id="{CB785CB4-F392-4407-96CB-ACC5870D2B1B}"/>
              </a:ext>
            </a:extLst>
          </p:cNvPr>
          <p:cNvSpPr txBox="1">
            <a:spLocks noChangeArrowheads="1"/>
          </p:cNvSpPr>
          <p:nvPr/>
        </p:nvSpPr>
        <p:spPr bwMode="auto">
          <a:xfrm>
            <a:off x="3681794" y="1607307"/>
            <a:ext cx="838969" cy="188913"/>
          </a:xfrm>
          <a:prstGeom prst="rect">
            <a:avLst/>
          </a:prstGeom>
          <a:solidFill>
            <a:schemeClr val="accent2"/>
          </a:solidFill>
          <a:ln w="12700">
            <a:noFill/>
            <a:miter lim="800000"/>
            <a:headEnd/>
            <a:tailEnd/>
          </a:ln>
          <a:effectLst/>
        </p:spPr>
        <p:txBody>
          <a:bodyPr wrap="none" anchor="ctr"/>
          <a:lstStyle/>
          <a:p>
            <a:pPr algn="ctr" eaLnBrk="0" hangingPunct="0">
              <a:buClrTx/>
              <a:buSzTx/>
              <a:buFontTx/>
              <a:buNone/>
            </a:pPr>
            <a:r>
              <a:rPr lang="en-US" sz="1200" b="1" dirty="0">
                <a:solidFill>
                  <a:schemeClr val="bg1"/>
                </a:solidFill>
              </a:rPr>
              <a:t>XXM</a:t>
            </a:r>
          </a:p>
        </p:txBody>
      </p:sp>
      <p:sp>
        <p:nvSpPr>
          <p:cNvPr id="142" name="Text Box 142">
            <a:extLst>
              <a:ext uri="{FF2B5EF4-FFF2-40B4-BE49-F238E27FC236}">
                <a16:creationId xmlns:a16="http://schemas.microsoft.com/office/drawing/2014/main" id="{1A5FDBC2-73AF-4637-895B-0BD212447D3E}"/>
              </a:ext>
            </a:extLst>
          </p:cNvPr>
          <p:cNvSpPr txBox="1">
            <a:spLocks noChangeArrowheads="1"/>
          </p:cNvSpPr>
          <p:nvPr/>
        </p:nvSpPr>
        <p:spPr bwMode="auto">
          <a:xfrm>
            <a:off x="3681794" y="1796220"/>
            <a:ext cx="838969" cy="188913"/>
          </a:xfrm>
          <a:prstGeom prst="rect">
            <a:avLst/>
          </a:prstGeom>
          <a:solidFill>
            <a:schemeClr val="accent3"/>
          </a:solidFill>
          <a:ln w="12700">
            <a:noFill/>
            <a:miter lim="800000"/>
            <a:headEnd/>
            <a:tailEnd/>
          </a:ln>
          <a:effectLst/>
        </p:spPr>
        <p:txBody>
          <a:bodyPr wrap="none" anchor="ctr"/>
          <a:lstStyle/>
          <a:p>
            <a:pPr algn="ctr" eaLnBrk="0" hangingPunct="0">
              <a:buClrTx/>
              <a:buSzTx/>
              <a:buFontTx/>
              <a:buNone/>
            </a:pPr>
            <a:r>
              <a:rPr lang="en-US" sz="1200" b="1">
                <a:solidFill>
                  <a:schemeClr val="bg1"/>
                </a:solidFill>
              </a:rPr>
              <a:t>YYM</a:t>
            </a:r>
          </a:p>
        </p:txBody>
      </p:sp>
      <p:sp>
        <p:nvSpPr>
          <p:cNvPr id="143" name="AutoShape 144">
            <a:extLst>
              <a:ext uri="{FF2B5EF4-FFF2-40B4-BE49-F238E27FC236}">
                <a16:creationId xmlns:a16="http://schemas.microsoft.com/office/drawing/2014/main" id="{09FD2148-83E9-4BF9-9DAE-134564EC149D}"/>
              </a:ext>
            </a:extLst>
          </p:cNvPr>
          <p:cNvSpPr>
            <a:spLocks noChangeArrowheads="1"/>
          </p:cNvSpPr>
          <p:nvPr/>
        </p:nvSpPr>
        <p:spPr bwMode="auto">
          <a:xfrm rot="16200000">
            <a:off x="4960148" y="1281756"/>
            <a:ext cx="188913" cy="842003"/>
          </a:xfrm>
          <a:prstGeom prst="flowChartDelay">
            <a:avLst/>
          </a:prstGeom>
          <a:solidFill>
            <a:schemeClr val="accent2"/>
          </a:solidFill>
          <a:ln w="12700" algn="ctr">
            <a:noFill/>
            <a:miter lim="800000"/>
            <a:headEnd/>
            <a:tailEnd/>
          </a:ln>
          <a:effectLst/>
        </p:spPr>
        <p:txBody>
          <a:bodyPr vert="eaVert" anchor="ctr"/>
          <a:lstStyle/>
          <a:p>
            <a:pPr algn="ctr" eaLnBrk="0" hangingPunct="0">
              <a:buClrTx/>
              <a:buSzTx/>
              <a:buFontTx/>
              <a:buNone/>
            </a:pPr>
            <a:r>
              <a:rPr lang="en-US" sz="1200" b="1" dirty="0">
                <a:solidFill>
                  <a:schemeClr val="bg1"/>
                </a:solidFill>
              </a:rPr>
              <a:t>XXM</a:t>
            </a:r>
          </a:p>
        </p:txBody>
      </p:sp>
      <p:sp>
        <p:nvSpPr>
          <p:cNvPr id="144" name="AutoShape 145">
            <a:extLst>
              <a:ext uri="{FF2B5EF4-FFF2-40B4-BE49-F238E27FC236}">
                <a16:creationId xmlns:a16="http://schemas.microsoft.com/office/drawing/2014/main" id="{E44A80D6-D8E8-4150-82C0-F8AA320A88A2}"/>
              </a:ext>
            </a:extLst>
          </p:cNvPr>
          <p:cNvSpPr>
            <a:spLocks noChangeArrowheads="1"/>
          </p:cNvSpPr>
          <p:nvPr/>
        </p:nvSpPr>
        <p:spPr bwMode="auto">
          <a:xfrm rot="5400000" flipV="1">
            <a:off x="4960148" y="1470669"/>
            <a:ext cx="188913" cy="842003"/>
          </a:xfrm>
          <a:prstGeom prst="flowChartDelay">
            <a:avLst/>
          </a:prstGeom>
          <a:solidFill>
            <a:schemeClr val="accent3"/>
          </a:solidFill>
          <a:ln w="12700" algn="ctr">
            <a:noFill/>
            <a:miter lim="800000"/>
            <a:headEnd/>
            <a:tailEnd/>
          </a:ln>
          <a:effectLst/>
        </p:spPr>
        <p:txBody>
          <a:bodyPr vert="eaVert" anchor="ctr"/>
          <a:lstStyle/>
          <a:p>
            <a:pPr algn="ctr" eaLnBrk="0" hangingPunct="0">
              <a:buClrTx/>
              <a:buSzTx/>
              <a:buFontTx/>
              <a:buNone/>
            </a:pPr>
            <a:r>
              <a:rPr lang="en-US" sz="1200" b="1">
                <a:solidFill>
                  <a:schemeClr val="bg1"/>
                </a:solidFill>
              </a:rPr>
              <a:t>YYM</a:t>
            </a:r>
          </a:p>
        </p:txBody>
      </p:sp>
      <p:grpSp>
        <p:nvGrpSpPr>
          <p:cNvPr id="4" name="Group 3" descr="Option 1">
            <a:extLst>
              <a:ext uri="{FF2B5EF4-FFF2-40B4-BE49-F238E27FC236}">
                <a16:creationId xmlns:a16="http://schemas.microsoft.com/office/drawing/2014/main" id="{2BE7C809-334A-4CD8-88D8-E7A5DAA50208}"/>
              </a:ext>
            </a:extLst>
          </p:cNvPr>
          <p:cNvGrpSpPr/>
          <p:nvPr/>
        </p:nvGrpSpPr>
        <p:grpSpPr>
          <a:xfrm>
            <a:off x="728026" y="2477257"/>
            <a:ext cx="2242306" cy="2079626"/>
            <a:chOff x="728026" y="2477257"/>
            <a:chExt cx="2242306" cy="2079626"/>
          </a:xfrm>
        </p:grpSpPr>
        <p:sp>
          <p:nvSpPr>
            <p:cNvPr id="94" name="Rectangle 12">
              <a:extLst>
                <a:ext uri="{FF2B5EF4-FFF2-40B4-BE49-F238E27FC236}">
                  <a16:creationId xmlns:a16="http://schemas.microsoft.com/office/drawing/2014/main" id="{BA5FDD81-67DC-45B8-9763-EECD937F0301}"/>
                </a:ext>
              </a:extLst>
            </p:cNvPr>
            <p:cNvSpPr>
              <a:spLocks noChangeArrowheads="1"/>
            </p:cNvSpPr>
            <p:nvPr/>
          </p:nvSpPr>
          <p:spPr bwMode="auto">
            <a:xfrm>
              <a:off x="728026" y="2477257"/>
              <a:ext cx="2242306" cy="315913"/>
            </a:xfrm>
            <a:prstGeom prst="rect">
              <a:avLst/>
            </a:prstGeom>
            <a:solidFill>
              <a:schemeClr val="accent1"/>
            </a:solidFill>
            <a:ln w="12700">
              <a:noFill/>
              <a:miter lim="800000"/>
              <a:headEnd/>
              <a:tailEnd/>
            </a:ln>
            <a:effectLst/>
          </p:spPr>
          <p:txBody>
            <a:bodyPr lIns="53975" tIns="53975" rIns="53975" bIns="53975" anchor="ctr"/>
            <a:lstStyle/>
            <a:p>
              <a:pPr algn="ctr">
                <a:lnSpc>
                  <a:spcPct val="90000"/>
                </a:lnSpc>
                <a:buClrTx/>
                <a:buSzTx/>
                <a:buFontTx/>
                <a:buNone/>
              </a:pPr>
              <a:r>
                <a:rPr lang="en-US" sz="1000" b="1" dirty="0">
                  <a:solidFill>
                    <a:schemeClr val="bg1"/>
                  </a:solidFill>
                </a:rPr>
                <a:t>Text</a:t>
              </a:r>
            </a:p>
            <a:p>
              <a:pPr algn="ctr">
                <a:lnSpc>
                  <a:spcPct val="90000"/>
                </a:lnSpc>
                <a:buClrTx/>
                <a:buSzTx/>
                <a:buFontTx/>
                <a:buNone/>
              </a:pPr>
              <a:r>
                <a:rPr lang="en-US" sz="1000" b="1" dirty="0">
                  <a:solidFill>
                    <a:schemeClr val="bg1"/>
                  </a:solidFill>
                </a:rPr>
                <a:t>XM - YM</a:t>
              </a:r>
            </a:p>
          </p:txBody>
        </p:sp>
        <p:sp>
          <p:nvSpPr>
            <p:cNvPr id="99" name="Rectangle 36">
              <a:extLst>
                <a:ext uri="{FF2B5EF4-FFF2-40B4-BE49-F238E27FC236}">
                  <a16:creationId xmlns:a16="http://schemas.microsoft.com/office/drawing/2014/main" id="{5D2C3AC3-1C15-42A8-A621-55AE066A18F0}"/>
                </a:ext>
              </a:extLst>
            </p:cNvPr>
            <p:cNvSpPr>
              <a:spLocks noChangeArrowheads="1"/>
            </p:cNvSpPr>
            <p:nvPr/>
          </p:nvSpPr>
          <p:spPr bwMode="auto">
            <a:xfrm>
              <a:off x="728026" y="2847145"/>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dirty="0"/>
                <a:t>Text</a:t>
              </a:r>
            </a:p>
          </p:txBody>
        </p:sp>
        <p:sp>
          <p:nvSpPr>
            <p:cNvPr id="100" name="Text Box 38">
              <a:extLst>
                <a:ext uri="{FF2B5EF4-FFF2-40B4-BE49-F238E27FC236}">
                  <a16:creationId xmlns:a16="http://schemas.microsoft.com/office/drawing/2014/main" id="{54C1ADC3-D54E-46E7-9FFF-9095F7E3E06F}"/>
                </a:ext>
              </a:extLst>
            </p:cNvPr>
            <p:cNvSpPr txBox="1">
              <a:spLocks noChangeArrowheads="1"/>
            </p:cNvSpPr>
            <p:nvPr/>
          </p:nvSpPr>
          <p:spPr bwMode="auto">
            <a:xfrm>
              <a:off x="2293696" y="2997958"/>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dirty="0">
                  <a:solidFill>
                    <a:srgbClr val="FFFFFF"/>
                  </a:solidFill>
                </a:rPr>
                <a:t>YM</a:t>
              </a:r>
            </a:p>
          </p:txBody>
        </p:sp>
        <p:sp>
          <p:nvSpPr>
            <p:cNvPr id="101" name="Text Box 39">
              <a:extLst>
                <a:ext uri="{FF2B5EF4-FFF2-40B4-BE49-F238E27FC236}">
                  <a16:creationId xmlns:a16="http://schemas.microsoft.com/office/drawing/2014/main" id="{7275BFAA-9D87-4FF5-9673-595AD806FD54}"/>
                </a:ext>
              </a:extLst>
            </p:cNvPr>
            <p:cNvSpPr txBox="1">
              <a:spLocks noChangeArrowheads="1"/>
            </p:cNvSpPr>
            <p:nvPr/>
          </p:nvSpPr>
          <p:spPr bwMode="auto">
            <a:xfrm>
              <a:off x="2293696" y="2847145"/>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dirty="0">
                  <a:solidFill>
                    <a:schemeClr val="bg1"/>
                  </a:solidFill>
                </a:rPr>
                <a:t>XM</a:t>
              </a:r>
            </a:p>
          </p:txBody>
        </p:sp>
        <p:sp>
          <p:nvSpPr>
            <p:cNvPr id="102" name="Rectangle 41">
              <a:extLst>
                <a:ext uri="{FF2B5EF4-FFF2-40B4-BE49-F238E27FC236}">
                  <a16:creationId xmlns:a16="http://schemas.microsoft.com/office/drawing/2014/main" id="{14AD78C0-F20D-482B-9EB7-56A74B6FCA8F}"/>
                </a:ext>
              </a:extLst>
            </p:cNvPr>
            <p:cNvSpPr>
              <a:spLocks noChangeArrowheads="1"/>
            </p:cNvSpPr>
            <p:nvPr/>
          </p:nvSpPr>
          <p:spPr bwMode="auto">
            <a:xfrm>
              <a:off x="728026" y="3197982"/>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p>
          </p:txBody>
        </p:sp>
        <p:sp>
          <p:nvSpPr>
            <p:cNvPr id="103" name="Text Box 43">
              <a:extLst>
                <a:ext uri="{FF2B5EF4-FFF2-40B4-BE49-F238E27FC236}">
                  <a16:creationId xmlns:a16="http://schemas.microsoft.com/office/drawing/2014/main" id="{07EE990C-C63C-4BA8-AAC0-85137622AFC5}"/>
                </a:ext>
              </a:extLst>
            </p:cNvPr>
            <p:cNvSpPr txBox="1">
              <a:spLocks noChangeArrowheads="1"/>
            </p:cNvSpPr>
            <p:nvPr/>
          </p:nvSpPr>
          <p:spPr bwMode="auto">
            <a:xfrm>
              <a:off x="2293696" y="3348795"/>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a:solidFill>
                    <a:srgbClr val="FFFFFF"/>
                  </a:solidFill>
                </a:rPr>
                <a:t>YM</a:t>
              </a:r>
            </a:p>
          </p:txBody>
        </p:sp>
        <p:sp>
          <p:nvSpPr>
            <p:cNvPr id="104" name="Text Box 44">
              <a:extLst>
                <a:ext uri="{FF2B5EF4-FFF2-40B4-BE49-F238E27FC236}">
                  <a16:creationId xmlns:a16="http://schemas.microsoft.com/office/drawing/2014/main" id="{DE24CA7E-4ED4-4721-91E1-0EA562A43B7D}"/>
                </a:ext>
              </a:extLst>
            </p:cNvPr>
            <p:cNvSpPr txBox="1">
              <a:spLocks noChangeArrowheads="1"/>
            </p:cNvSpPr>
            <p:nvPr/>
          </p:nvSpPr>
          <p:spPr bwMode="auto">
            <a:xfrm>
              <a:off x="2293696" y="3197982"/>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a:solidFill>
                    <a:schemeClr val="bg1"/>
                  </a:solidFill>
                </a:rPr>
                <a:t>XM</a:t>
              </a:r>
            </a:p>
          </p:txBody>
        </p:sp>
        <p:sp>
          <p:nvSpPr>
            <p:cNvPr id="105" name="Rectangle 46">
              <a:extLst>
                <a:ext uri="{FF2B5EF4-FFF2-40B4-BE49-F238E27FC236}">
                  <a16:creationId xmlns:a16="http://schemas.microsoft.com/office/drawing/2014/main" id="{5C2D11F3-3DAA-42F8-9725-33AC36189317}"/>
                </a:ext>
              </a:extLst>
            </p:cNvPr>
            <p:cNvSpPr>
              <a:spLocks noChangeArrowheads="1"/>
            </p:cNvSpPr>
            <p:nvPr/>
          </p:nvSpPr>
          <p:spPr bwMode="auto">
            <a:xfrm>
              <a:off x="728026" y="3550407"/>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p>
          </p:txBody>
        </p:sp>
        <p:sp>
          <p:nvSpPr>
            <p:cNvPr id="106" name="Text Box 48">
              <a:extLst>
                <a:ext uri="{FF2B5EF4-FFF2-40B4-BE49-F238E27FC236}">
                  <a16:creationId xmlns:a16="http://schemas.microsoft.com/office/drawing/2014/main" id="{84EECB80-9045-4CB0-A90C-CB6A3A2178C1}"/>
                </a:ext>
              </a:extLst>
            </p:cNvPr>
            <p:cNvSpPr txBox="1">
              <a:spLocks noChangeArrowheads="1"/>
            </p:cNvSpPr>
            <p:nvPr/>
          </p:nvSpPr>
          <p:spPr bwMode="auto">
            <a:xfrm>
              <a:off x="2293696" y="3701220"/>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a:solidFill>
                    <a:srgbClr val="FFFFFF"/>
                  </a:solidFill>
                </a:rPr>
                <a:t>YM</a:t>
              </a:r>
            </a:p>
          </p:txBody>
        </p:sp>
        <p:sp>
          <p:nvSpPr>
            <p:cNvPr id="107" name="Text Box 49">
              <a:extLst>
                <a:ext uri="{FF2B5EF4-FFF2-40B4-BE49-F238E27FC236}">
                  <a16:creationId xmlns:a16="http://schemas.microsoft.com/office/drawing/2014/main" id="{DBF8C938-FDF5-49DD-B03B-2386B0188F81}"/>
                </a:ext>
              </a:extLst>
            </p:cNvPr>
            <p:cNvSpPr txBox="1">
              <a:spLocks noChangeArrowheads="1"/>
            </p:cNvSpPr>
            <p:nvPr/>
          </p:nvSpPr>
          <p:spPr bwMode="auto">
            <a:xfrm>
              <a:off x="2293696" y="3550407"/>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a:solidFill>
                    <a:schemeClr val="bg1"/>
                  </a:solidFill>
                </a:rPr>
                <a:t>XM</a:t>
              </a:r>
            </a:p>
          </p:txBody>
        </p:sp>
        <p:sp>
          <p:nvSpPr>
            <p:cNvPr id="108" name="Rectangle 51">
              <a:extLst>
                <a:ext uri="{FF2B5EF4-FFF2-40B4-BE49-F238E27FC236}">
                  <a16:creationId xmlns:a16="http://schemas.microsoft.com/office/drawing/2014/main" id="{827F6E60-EC87-4E95-8532-939470CA2BBC}"/>
                </a:ext>
              </a:extLst>
            </p:cNvPr>
            <p:cNvSpPr>
              <a:spLocks noChangeArrowheads="1"/>
            </p:cNvSpPr>
            <p:nvPr/>
          </p:nvSpPr>
          <p:spPr bwMode="auto">
            <a:xfrm>
              <a:off x="728026" y="3902832"/>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p>
          </p:txBody>
        </p:sp>
        <p:sp>
          <p:nvSpPr>
            <p:cNvPr id="109" name="Text Box 53">
              <a:extLst>
                <a:ext uri="{FF2B5EF4-FFF2-40B4-BE49-F238E27FC236}">
                  <a16:creationId xmlns:a16="http://schemas.microsoft.com/office/drawing/2014/main" id="{D431CE4B-DFF3-4939-BFD4-08D51322544B}"/>
                </a:ext>
              </a:extLst>
            </p:cNvPr>
            <p:cNvSpPr txBox="1">
              <a:spLocks noChangeArrowheads="1"/>
            </p:cNvSpPr>
            <p:nvPr/>
          </p:nvSpPr>
          <p:spPr bwMode="auto">
            <a:xfrm>
              <a:off x="2293696" y="4053645"/>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dirty="0">
                  <a:solidFill>
                    <a:srgbClr val="FFFFFF"/>
                  </a:solidFill>
                </a:rPr>
                <a:t>YM</a:t>
              </a:r>
            </a:p>
          </p:txBody>
        </p:sp>
        <p:sp>
          <p:nvSpPr>
            <p:cNvPr id="110" name="Text Box 54">
              <a:extLst>
                <a:ext uri="{FF2B5EF4-FFF2-40B4-BE49-F238E27FC236}">
                  <a16:creationId xmlns:a16="http://schemas.microsoft.com/office/drawing/2014/main" id="{93C79F54-79FC-4B9E-AAA8-4F6C8D0AEBCB}"/>
                </a:ext>
              </a:extLst>
            </p:cNvPr>
            <p:cNvSpPr txBox="1">
              <a:spLocks noChangeArrowheads="1"/>
            </p:cNvSpPr>
            <p:nvPr/>
          </p:nvSpPr>
          <p:spPr bwMode="auto">
            <a:xfrm>
              <a:off x="2293696" y="3902832"/>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a:solidFill>
                    <a:schemeClr val="bg1"/>
                  </a:solidFill>
                </a:rPr>
                <a:t>XM</a:t>
              </a:r>
            </a:p>
          </p:txBody>
        </p:sp>
        <p:sp>
          <p:nvSpPr>
            <p:cNvPr id="111" name="Rectangle 56">
              <a:extLst>
                <a:ext uri="{FF2B5EF4-FFF2-40B4-BE49-F238E27FC236}">
                  <a16:creationId xmlns:a16="http://schemas.microsoft.com/office/drawing/2014/main" id="{1886E6D9-0E42-4925-AA26-3C41069AE9BC}"/>
                </a:ext>
              </a:extLst>
            </p:cNvPr>
            <p:cNvSpPr>
              <a:spLocks noChangeArrowheads="1"/>
            </p:cNvSpPr>
            <p:nvPr/>
          </p:nvSpPr>
          <p:spPr bwMode="auto">
            <a:xfrm>
              <a:off x="728026" y="4255257"/>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p>
          </p:txBody>
        </p:sp>
        <p:sp>
          <p:nvSpPr>
            <p:cNvPr id="112" name="Text Box 58">
              <a:extLst>
                <a:ext uri="{FF2B5EF4-FFF2-40B4-BE49-F238E27FC236}">
                  <a16:creationId xmlns:a16="http://schemas.microsoft.com/office/drawing/2014/main" id="{361B9D75-1B60-4187-860B-70FAE128BFEE}"/>
                </a:ext>
              </a:extLst>
            </p:cNvPr>
            <p:cNvSpPr txBox="1">
              <a:spLocks noChangeArrowheads="1"/>
            </p:cNvSpPr>
            <p:nvPr/>
          </p:nvSpPr>
          <p:spPr bwMode="auto">
            <a:xfrm>
              <a:off x="2293696" y="4406070"/>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a:solidFill>
                    <a:srgbClr val="FFFFFF"/>
                  </a:solidFill>
                </a:rPr>
                <a:t>YM</a:t>
              </a:r>
            </a:p>
          </p:txBody>
        </p:sp>
        <p:sp>
          <p:nvSpPr>
            <p:cNvPr id="113" name="Text Box 59">
              <a:extLst>
                <a:ext uri="{FF2B5EF4-FFF2-40B4-BE49-F238E27FC236}">
                  <a16:creationId xmlns:a16="http://schemas.microsoft.com/office/drawing/2014/main" id="{9C33FDC1-C21A-4BDD-859F-B04F2B8439EC}"/>
                </a:ext>
              </a:extLst>
            </p:cNvPr>
            <p:cNvSpPr txBox="1">
              <a:spLocks noChangeArrowheads="1"/>
            </p:cNvSpPr>
            <p:nvPr/>
          </p:nvSpPr>
          <p:spPr bwMode="auto">
            <a:xfrm>
              <a:off x="2293696" y="4255257"/>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a:solidFill>
                    <a:schemeClr val="bg1"/>
                  </a:solidFill>
                </a:rPr>
                <a:t>XM</a:t>
              </a:r>
              <a:endParaRPr lang="en-US" sz="900" b="1" dirty="0">
                <a:solidFill>
                  <a:schemeClr val="bg1"/>
                </a:solidFill>
              </a:endParaRPr>
            </a:p>
          </p:txBody>
        </p:sp>
        <p:cxnSp>
          <p:nvCxnSpPr>
            <p:cNvPr id="161" name="Elbow Connector 194">
              <a:extLst>
                <a:ext uri="{FF2B5EF4-FFF2-40B4-BE49-F238E27FC236}">
                  <a16:creationId xmlns:a16="http://schemas.microsoft.com/office/drawing/2014/main" id="{97DBA143-6F6D-40E7-BAF7-0588C79D2A4E}"/>
                </a:ext>
              </a:extLst>
            </p:cNvPr>
            <p:cNvCxnSpPr>
              <a:stCxn id="94" idx="1"/>
            </p:cNvCxnSpPr>
            <p:nvPr/>
          </p:nvCxnSpPr>
          <p:spPr bwMode="auto">
            <a:xfrm rot="10800000" flipV="1">
              <a:off x="728026" y="2635214"/>
              <a:ext cx="1518" cy="362744"/>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2" name="Elbow Connector 197">
              <a:extLst>
                <a:ext uri="{FF2B5EF4-FFF2-40B4-BE49-F238E27FC236}">
                  <a16:creationId xmlns:a16="http://schemas.microsoft.com/office/drawing/2014/main" id="{756ABC00-CD0C-4F49-BD38-B4369301FC63}"/>
                </a:ext>
              </a:extLst>
            </p:cNvPr>
            <p:cNvCxnSpPr>
              <a:stCxn id="94" idx="1"/>
            </p:cNvCxnSpPr>
            <p:nvPr/>
          </p:nvCxnSpPr>
          <p:spPr bwMode="auto">
            <a:xfrm rot="10800000" flipV="1">
              <a:off x="728026" y="2635213"/>
              <a:ext cx="1518" cy="713581"/>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3" name="Elbow Connector 200">
              <a:extLst>
                <a:ext uri="{FF2B5EF4-FFF2-40B4-BE49-F238E27FC236}">
                  <a16:creationId xmlns:a16="http://schemas.microsoft.com/office/drawing/2014/main" id="{487DC6BE-E3A9-409F-A6D6-6576EDC559A2}"/>
                </a:ext>
              </a:extLst>
            </p:cNvPr>
            <p:cNvCxnSpPr>
              <a:stCxn id="94" idx="1"/>
            </p:cNvCxnSpPr>
            <p:nvPr/>
          </p:nvCxnSpPr>
          <p:spPr bwMode="auto">
            <a:xfrm rot="10800000" flipV="1">
              <a:off x="728026" y="2635214"/>
              <a:ext cx="1518" cy="1066006"/>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4" name="Elbow Connector 203">
              <a:extLst>
                <a:ext uri="{FF2B5EF4-FFF2-40B4-BE49-F238E27FC236}">
                  <a16:creationId xmlns:a16="http://schemas.microsoft.com/office/drawing/2014/main" id="{9A8CFEAB-40DB-4D43-8786-19882C3061D0}"/>
                </a:ext>
              </a:extLst>
            </p:cNvPr>
            <p:cNvCxnSpPr>
              <a:stCxn id="94" idx="1"/>
            </p:cNvCxnSpPr>
            <p:nvPr/>
          </p:nvCxnSpPr>
          <p:spPr bwMode="auto">
            <a:xfrm rot="10800000" flipV="1">
              <a:off x="728026" y="2635213"/>
              <a:ext cx="1518" cy="1418431"/>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5" name="Elbow Connector 206">
              <a:extLst>
                <a:ext uri="{FF2B5EF4-FFF2-40B4-BE49-F238E27FC236}">
                  <a16:creationId xmlns:a16="http://schemas.microsoft.com/office/drawing/2014/main" id="{4EA52A02-3C52-4B45-A64E-EDC0AF25586F}"/>
                </a:ext>
              </a:extLst>
            </p:cNvPr>
            <p:cNvCxnSpPr>
              <a:stCxn id="94" idx="1"/>
            </p:cNvCxnSpPr>
            <p:nvPr/>
          </p:nvCxnSpPr>
          <p:spPr bwMode="auto">
            <a:xfrm rot="10800000" flipV="1">
              <a:off x="728026" y="2635214"/>
              <a:ext cx="1518" cy="1770856"/>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 name="Group 6" descr="Option 2">
            <a:extLst>
              <a:ext uri="{FF2B5EF4-FFF2-40B4-BE49-F238E27FC236}">
                <a16:creationId xmlns:a16="http://schemas.microsoft.com/office/drawing/2014/main" id="{1069E0C0-4739-4999-8D47-53F2930ADA16}"/>
              </a:ext>
            </a:extLst>
          </p:cNvPr>
          <p:cNvGrpSpPr/>
          <p:nvPr/>
        </p:nvGrpSpPr>
        <p:grpSpPr>
          <a:xfrm>
            <a:off x="3455743" y="2097051"/>
            <a:ext cx="2242306" cy="1754982"/>
            <a:chOff x="3455743" y="2097051"/>
            <a:chExt cx="2242306" cy="1754982"/>
          </a:xfrm>
        </p:grpSpPr>
        <p:sp>
          <p:nvSpPr>
            <p:cNvPr id="95" name="Rectangle 19">
              <a:extLst>
                <a:ext uri="{FF2B5EF4-FFF2-40B4-BE49-F238E27FC236}">
                  <a16:creationId xmlns:a16="http://schemas.microsoft.com/office/drawing/2014/main" id="{223FFC23-FD54-478A-91BB-CC5084A876F3}"/>
                </a:ext>
              </a:extLst>
            </p:cNvPr>
            <p:cNvSpPr>
              <a:spLocks noChangeArrowheads="1"/>
            </p:cNvSpPr>
            <p:nvPr/>
          </p:nvSpPr>
          <p:spPr bwMode="auto">
            <a:xfrm>
              <a:off x="3455743" y="2477257"/>
              <a:ext cx="2242306" cy="315913"/>
            </a:xfrm>
            <a:prstGeom prst="rect">
              <a:avLst/>
            </a:prstGeom>
            <a:solidFill>
              <a:schemeClr val="accent1"/>
            </a:solidFill>
            <a:ln w="12700">
              <a:noFill/>
              <a:miter lim="800000"/>
              <a:headEnd/>
              <a:tailEnd/>
            </a:ln>
            <a:effectLst/>
          </p:spPr>
          <p:txBody>
            <a:bodyPr lIns="53975" tIns="53975" rIns="53975" bIns="53975" anchor="ctr"/>
            <a:lstStyle/>
            <a:p>
              <a:pPr algn="ctr">
                <a:lnSpc>
                  <a:spcPct val="90000"/>
                </a:lnSpc>
                <a:buClrTx/>
                <a:buSzTx/>
                <a:buFontTx/>
                <a:buNone/>
              </a:pPr>
              <a:r>
                <a:rPr lang="en-US" sz="1000" b="1" dirty="0">
                  <a:solidFill>
                    <a:schemeClr val="bg1"/>
                  </a:solidFill>
                </a:rPr>
                <a:t>Text</a:t>
              </a:r>
            </a:p>
            <a:p>
              <a:pPr algn="ctr">
                <a:lnSpc>
                  <a:spcPct val="90000"/>
                </a:lnSpc>
                <a:buClrTx/>
                <a:buSzTx/>
                <a:buFontTx/>
                <a:buNone/>
              </a:pPr>
              <a:r>
                <a:rPr lang="en-US" sz="1000" b="1" dirty="0">
                  <a:solidFill>
                    <a:schemeClr val="bg1"/>
                  </a:solidFill>
                </a:rPr>
                <a:t>XM - YM</a:t>
              </a:r>
            </a:p>
          </p:txBody>
        </p:sp>
        <p:sp>
          <p:nvSpPr>
            <p:cNvPr id="114" name="Rectangle 67">
              <a:extLst>
                <a:ext uri="{FF2B5EF4-FFF2-40B4-BE49-F238E27FC236}">
                  <a16:creationId xmlns:a16="http://schemas.microsoft.com/office/drawing/2014/main" id="{A5FA37E6-FD18-4D67-8445-83C3A18D2900}"/>
                </a:ext>
              </a:extLst>
            </p:cNvPr>
            <p:cNvSpPr>
              <a:spLocks noChangeArrowheads="1"/>
            </p:cNvSpPr>
            <p:nvPr/>
          </p:nvSpPr>
          <p:spPr bwMode="auto">
            <a:xfrm>
              <a:off x="3455743" y="3197982"/>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p>
          </p:txBody>
        </p:sp>
        <p:sp>
          <p:nvSpPr>
            <p:cNvPr id="115" name="Text Box 69">
              <a:extLst>
                <a:ext uri="{FF2B5EF4-FFF2-40B4-BE49-F238E27FC236}">
                  <a16:creationId xmlns:a16="http://schemas.microsoft.com/office/drawing/2014/main" id="{B72B2D57-F9BD-4E1E-9ADD-FABFDEF3A12E}"/>
                </a:ext>
              </a:extLst>
            </p:cNvPr>
            <p:cNvSpPr txBox="1">
              <a:spLocks noChangeArrowheads="1"/>
            </p:cNvSpPr>
            <p:nvPr/>
          </p:nvSpPr>
          <p:spPr bwMode="auto">
            <a:xfrm>
              <a:off x="5021413" y="3348795"/>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a:solidFill>
                    <a:srgbClr val="FFFFFF"/>
                  </a:solidFill>
                </a:rPr>
                <a:t>YM</a:t>
              </a:r>
            </a:p>
          </p:txBody>
        </p:sp>
        <p:sp>
          <p:nvSpPr>
            <p:cNvPr id="116" name="Text Box 70">
              <a:extLst>
                <a:ext uri="{FF2B5EF4-FFF2-40B4-BE49-F238E27FC236}">
                  <a16:creationId xmlns:a16="http://schemas.microsoft.com/office/drawing/2014/main" id="{C5E85D6B-3D44-44E2-8C5D-3411814D400B}"/>
                </a:ext>
              </a:extLst>
            </p:cNvPr>
            <p:cNvSpPr txBox="1">
              <a:spLocks noChangeArrowheads="1"/>
            </p:cNvSpPr>
            <p:nvPr/>
          </p:nvSpPr>
          <p:spPr bwMode="auto">
            <a:xfrm>
              <a:off x="5021413" y="3197982"/>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a:solidFill>
                    <a:schemeClr val="bg1"/>
                  </a:solidFill>
                </a:rPr>
                <a:t>XM</a:t>
              </a:r>
            </a:p>
          </p:txBody>
        </p:sp>
        <p:sp>
          <p:nvSpPr>
            <p:cNvPr id="117" name="Rectangle 71">
              <a:extLst>
                <a:ext uri="{FF2B5EF4-FFF2-40B4-BE49-F238E27FC236}">
                  <a16:creationId xmlns:a16="http://schemas.microsoft.com/office/drawing/2014/main" id="{3BD2A4A4-7032-4CA6-883B-49A0C50BE8D3}"/>
                </a:ext>
              </a:extLst>
            </p:cNvPr>
            <p:cNvSpPr>
              <a:spLocks noChangeArrowheads="1"/>
            </p:cNvSpPr>
            <p:nvPr/>
          </p:nvSpPr>
          <p:spPr bwMode="auto">
            <a:xfrm>
              <a:off x="3455743" y="3550407"/>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dirty="0"/>
                <a:t>Text</a:t>
              </a:r>
            </a:p>
          </p:txBody>
        </p:sp>
        <p:sp>
          <p:nvSpPr>
            <p:cNvPr id="118" name="Text Box 73">
              <a:extLst>
                <a:ext uri="{FF2B5EF4-FFF2-40B4-BE49-F238E27FC236}">
                  <a16:creationId xmlns:a16="http://schemas.microsoft.com/office/drawing/2014/main" id="{1D71768F-1F51-4A97-AE69-EC482A266645}"/>
                </a:ext>
              </a:extLst>
            </p:cNvPr>
            <p:cNvSpPr txBox="1">
              <a:spLocks noChangeArrowheads="1"/>
            </p:cNvSpPr>
            <p:nvPr/>
          </p:nvSpPr>
          <p:spPr bwMode="auto">
            <a:xfrm>
              <a:off x="5021413" y="3701220"/>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a:solidFill>
                    <a:srgbClr val="FFFFFF"/>
                  </a:solidFill>
                </a:rPr>
                <a:t>YM</a:t>
              </a:r>
            </a:p>
          </p:txBody>
        </p:sp>
        <p:sp>
          <p:nvSpPr>
            <p:cNvPr id="119" name="Text Box 74">
              <a:extLst>
                <a:ext uri="{FF2B5EF4-FFF2-40B4-BE49-F238E27FC236}">
                  <a16:creationId xmlns:a16="http://schemas.microsoft.com/office/drawing/2014/main" id="{1EB0FD47-F023-46EB-84DE-FC3A68950627}"/>
                </a:ext>
              </a:extLst>
            </p:cNvPr>
            <p:cNvSpPr txBox="1">
              <a:spLocks noChangeArrowheads="1"/>
            </p:cNvSpPr>
            <p:nvPr/>
          </p:nvSpPr>
          <p:spPr bwMode="auto">
            <a:xfrm>
              <a:off x="5021413" y="3550407"/>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dirty="0">
                  <a:solidFill>
                    <a:schemeClr val="bg1"/>
                  </a:solidFill>
                </a:rPr>
                <a:t>XM</a:t>
              </a:r>
            </a:p>
          </p:txBody>
        </p:sp>
        <p:grpSp>
          <p:nvGrpSpPr>
            <p:cNvPr id="145" name="Group 156">
              <a:extLst>
                <a:ext uri="{FF2B5EF4-FFF2-40B4-BE49-F238E27FC236}">
                  <a16:creationId xmlns:a16="http://schemas.microsoft.com/office/drawing/2014/main" id="{BC3304BF-E958-4113-9C10-A535109F1D23}"/>
                </a:ext>
              </a:extLst>
            </p:cNvPr>
            <p:cNvGrpSpPr>
              <a:grpSpLocks/>
            </p:cNvGrpSpPr>
            <p:nvPr/>
          </p:nvGrpSpPr>
          <p:grpSpPr bwMode="auto">
            <a:xfrm>
              <a:off x="4237061" y="2204207"/>
              <a:ext cx="675120" cy="165100"/>
              <a:chOff x="2656" y="1150"/>
              <a:chExt cx="445" cy="104"/>
            </a:xfrm>
          </p:grpSpPr>
          <p:sp>
            <p:nvSpPr>
              <p:cNvPr id="146" name="Rectangle 157">
                <a:extLst>
                  <a:ext uri="{FF2B5EF4-FFF2-40B4-BE49-F238E27FC236}">
                    <a16:creationId xmlns:a16="http://schemas.microsoft.com/office/drawing/2014/main" id="{4C71B250-EF32-47D8-A17B-0B80D8E8AF72}"/>
                  </a:ext>
                </a:extLst>
              </p:cNvPr>
              <p:cNvSpPr>
                <a:spLocks noChangeArrowheads="1"/>
              </p:cNvSpPr>
              <p:nvPr/>
            </p:nvSpPr>
            <p:spPr bwMode="auto">
              <a:xfrm>
                <a:off x="2656" y="1150"/>
                <a:ext cx="106" cy="104"/>
              </a:xfrm>
              <a:prstGeom prst="rect">
                <a:avLst/>
              </a:prstGeom>
              <a:noFill/>
              <a:ln w="12700" algn="ctr">
                <a:noFill/>
                <a:miter lim="800000"/>
                <a:headEnd/>
                <a:tailEnd/>
              </a:ln>
              <a:effectLst/>
            </p:spPr>
            <p:txBody>
              <a:bodyPr wrap="none" lIns="72000" tIns="72000" rIns="72000" bIns="72000" anchor="ctr"/>
              <a:lstStyle/>
              <a:p>
                <a:pPr>
                  <a:buClr>
                    <a:schemeClr val="tx2"/>
                  </a:buClr>
                  <a:buSzPct val="85000"/>
                </a:pPr>
                <a:endParaRPr lang="en-US" sz="1400"/>
              </a:p>
            </p:txBody>
          </p:sp>
          <p:sp>
            <p:nvSpPr>
              <p:cNvPr id="147" name="Rectangle 158">
                <a:extLst>
                  <a:ext uri="{FF2B5EF4-FFF2-40B4-BE49-F238E27FC236}">
                    <a16:creationId xmlns:a16="http://schemas.microsoft.com/office/drawing/2014/main" id="{ADF4C742-2157-47AA-8AB5-436A518D58AB}"/>
                  </a:ext>
                </a:extLst>
              </p:cNvPr>
              <p:cNvSpPr>
                <a:spLocks noChangeArrowheads="1"/>
              </p:cNvSpPr>
              <p:nvPr/>
            </p:nvSpPr>
            <p:spPr bwMode="auto">
              <a:xfrm>
                <a:off x="2995" y="1150"/>
                <a:ext cx="106" cy="104"/>
              </a:xfrm>
              <a:prstGeom prst="rect">
                <a:avLst/>
              </a:prstGeom>
              <a:noFill/>
              <a:ln w="12700" algn="ctr">
                <a:noFill/>
                <a:miter lim="800000"/>
                <a:headEnd/>
                <a:tailEnd/>
              </a:ln>
              <a:effectLst/>
            </p:spPr>
            <p:txBody>
              <a:bodyPr wrap="none" lIns="72000" tIns="72000" rIns="72000" bIns="72000" anchor="ctr"/>
              <a:lstStyle/>
              <a:p>
                <a:pPr>
                  <a:buClr>
                    <a:schemeClr val="tx2"/>
                  </a:buClr>
                  <a:buSzPct val="85000"/>
                </a:pPr>
                <a:endParaRPr lang="en-US" sz="1400"/>
              </a:p>
            </p:txBody>
          </p:sp>
        </p:grpSp>
        <p:cxnSp>
          <p:nvCxnSpPr>
            <p:cNvPr id="156" name="Elbow Connector 174">
              <a:extLst>
                <a:ext uri="{FF2B5EF4-FFF2-40B4-BE49-F238E27FC236}">
                  <a16:creationId xmlns:a16="http://schemas.microsoft.com/office/drawing/2014/main" id="{11CED9C4-74C9-464D-B0CA-0CF72A6510D3}"/>
                </a:ext>
              </a:extLst>
            </p:cNvPr>
            <p:cNvCxnSpPr>
              <a:stCxn id="93" idx="2"/>
              <a:endCxn id="95" idx="0"/>
            </p:cNvCxnSpPr>
            <p:nvPr/>
          </p:nvCxnSpPr>
          <p:spPr bwMode="auto">
            <a:xfrm rot="5400000">
              <a:off x="4386397" y="2286792"/>
              <a:ext cx="381000" cy="1518"/>
            </a:xfrm>
            <a:prstGeom prst="bentConnector3">
              <a:avLst>
                <a:gd name="adj1" fmla="val 50000"/>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9" name="Elbow Connector 227">
              <a:extLst>
                <a:ext uri="{FF2B5EF4-FFF2-40B4-BE49-F238E27FC236}">
                  <a16:creationId xmlns:a16="http://schemas.microsoft.com/office/drawing/2014/main" id="{5EE23832-0CA4-4168-9E25-C3B46C806C91}"/>
                </a:ext>
              </a:extLst>
            </p:cNvPr>
            <p:cNvCxnSpPr>
              <a:stCxn id="95" idx="1"/>
            </p:cNvCxnSpPr>
            <p:nvPr/>
          </p:nvCxnSpPr>
          <p:spPr bwMode="auto">
            <a:xfrm rot="10800000" flipV="1">
              <a:off x="3455743" y="2635214"/>
              <a:ext cx="1518" cy="362744"/>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0" name="Elbow Connector 230">
              <a:extLst>
                <a:ext uri="{FF2B5EF4-FFF2-40B4-BE49-F238E27FC236}">
                  <a16:creationId xmlns:a16="http://schemas.microsoft.com/office/drawing/2014/main" id="{EA2E2A36-6CF6-42D2-B0EF-0F6B1F980A4A}"/>
                </a:ext>
              </a:extLst>
            </p:cNvPr>
            <p:cNvCxnSpPr>
              <a:stCxn id="95" idx="1"/>
            </p:cNvCxnSpPr>
            <p:nvPr/>
          </p:nvCxnSpPr>
          <p:spPr bwMode="auto">
            <a:xfrm rot="10800000" flipV="1">
              <a:off x="3455743" y="2635213"/>
              <a:ext cx="1518" cy="713581"/>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1" name="Elbow Connector 233">
              <a:extLst>
                <a:ext uri="{FF2B5EF4-FFF2-40B4-BE49-F238E27FC236}">
                  <a16:creationId xmlns:a16="http://schemas.microsoft.com/office/drawing/2014/main" id="{3D41E0A5-67E8-45BA-82B3-94E40E9FB208}"/>
                </a:ext>
              </a:extLst>
            </p:cNvPr>
            <p:cNvCxnSpPr>
              <a:stCxn id="95" idx="1"/>
            </p:cNvCxnSpPr>
            <p:nvPr/>
          </p:nvCxnSpPr>
          <p:spPr bwMode="auto">
            <a:xfrm rot="10800000" flipV="1">
              <a:off x="3455743" y="2635214"/>
              <a:ext cx="1518" cy="1066006"/>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76" name="Group 122">
              <a:extLst>
                <a:ext uri="{FF2B5EF4-FFF2-40B4-BE49-F238E27FC236}">
                  <a16:creationId xmlns:a16="http://schemas.microsoft.com/office/drawing/2014/main" id="{50AF9C6D-588A-431B-AF5F-AE0D382B0982}"/>
                </a:ext>
              </a:extLst>
            </p:cNvPr>
            <p:cNvGrpSpPr/>
            <p:nvPr/>
          </p:nvGrpSpPr>
          <p:grpSpPr bwMode="auto">
            <a:xfrm>
              <a:off x="3455743" y="2847145"/>
              <a:ext cx="2242306" cy="301626"/>
              <a:chOff x="3398838" y="3189253"/>
              <a:chExt cx="2346325" cy="301626"/>
            </a:xfrm>
          </p:grpSpPr>
          <p:sp>
            <p:nvSpPr>
              <p:cNvPr id="177" name="Rectangle 61">
                <a:extLst>
                  <a:ext uri="{FF2B5EF4-FFF2-40B4-BE49-F238E27FC236}">
                    <a16:creationId xmlns:a16="http://schemas.microsoft.com/office/drawing/2014/main" id="{DF4A73BC-3753-4338-822E-8DD966D6D703}"/>
                  </a:ext>
                </a:extLst>
              </p:cNvPr>
              <p:cNvSpPr>
                <a:spLocks noChangeArrowheads="1"/>
              </p:cNvSpPr>
              <p:nvPr/>
            </p:nvSpPr>
            <p:spPr bwMode="auto">
              <a:xfrm>
                <a:off x="3398838" y="3189253"/>
                <a:ext cx="2346325"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p>
            </p:txBody>
          </p:sp>
          <p:sp>
            <p:nvSpPr>
              <p:cNvPr id="178" name="Text Box 64">
                <a:extLst>
                  <a:ext uri="{FF2B5EF4-FFF2-40B4-BE49-F238E27FC236}">
                    <a16:creationId xmlns:a16="http://schemas.microsoft.com/office/drawing/2014/main" id="{2EE9B8D0-7916-4FD9-A5DB-DB2B1E4DC92C}"/>
                  </a:ext>
                </a:extLst>
              </p:cNvPr>
              <p:cNvSpPr txBox="1">
                <a:spLocks noChangeArrowheads="1"/>
              </p:cNvSpPr>
              <p:nvPr/>
            </p:nvSpPr>
            <p:spPr bwMode="auto">
              <a:xfrm>
                <a:off x="5037138" y="3189253"/>
                <a:ext cx="708025" cy="150813"/>
              </a:xfrm>
              <a:prstGeom prst="rect">
                <a:avLst/>
              </a:prstGeom>
              <a:solidFill>
                <a:schemeClr val="accent3">
                  <a:lumMod val="60000"/>
                  <a:lumOff val="40000"/>
                </a:schemeClr>
              </a:solidFill>
              <a:ln w="12700">
                <a:noFill/>
                <a:miter lim="800000"/>
                <a:headEnd/>
                <a:tailEnd/>
              </a:ln>
              <a:effectLst/>
            </p:spPr>
            <p:txBody>
              <a:bodyPr anchor="ctr"/>
              <a:lstStyle/>
              <a:p>
                <a:pPr algn="ctr" eaLnBrk="0" hangingPunct="0">
                  <a:buClrTx/>
                  <a:buSzTx/>
                  <a:buFontTx/>
                  <a:buNone/>
                </a:pPr>
                <a:r>
                  <a:rPr lang="en-US" sz="900" dirty="0">
                    <a:solidFill>
                      <a:schemeClr val="bg1"/>
                    </a:solidFill>
                  </a:rPr>
                  <a:t>XM</a:t>
                </a:r>
              </a:p>
            </p:txBody>
          </p:sp>
          <p:sp>
            <p:nvSpPr>
              <p:cNvPr id="179" name="Text Box 63">
                <a:extLst>
                  <a:ext uri="{FF2B5EF4-FFF2-40B4-BE49-F238E27FC236}">
                    <a16:creationId xmlns:a16="http://schemas.microsoft.com/office/drawing/2014/main" id="{E9E52F23-9D08-47B8-A6AE-ADC5607382EE}"/>
                  </a:ext>
                </a:extLst>
              </p:cNvPr>
              <p:cNvSpPr txBox="1">
                <a:spLocks noChangeArrowheads="1"/>
              </p:cNvSpPr>
              <p:nvPr/>
            </p:nvSpPr>
            <p:spPr bwMode="auto">
              <a:xfrm>
                <a:off x="5037138" y="3340066"/>
                <a:ext cx="708025" cy="150813"/>
              </a:xfrm>
              <a:prstGeom prst="rect">
                <a:avLst/>
              </a:prstGeom>
              <a:solidFill>
                <a:schemeClr val="accent3"/>
              </a:solidFill>
              <a:ln w="12700">
                <a:noFill/>
                <a:miter lim="800000"/>
                <a:headEnd/>
                <a:tailEnd/>
              </a:ln>
              <a:effectLst/>
            </p:spPr>
            <p:txBody>
              <a:bodyPr anchor="ctr"/>
              <a:lstStyle>
                <a:defPPr>
                  <a:defRPr lang="en-US"/>
                </a:defPPr>
                <a:lvl1pPr algn="ctr" eaLnBrk="0" hangingPunct="0">
                  <a:buClrTx/>
                  <a:buSzTx/>
                  <a:buFontTx/>
                  <a:buNone/>
                  <a:defRPr sz="900" b="1">
                    <a:solidFill>
                      <a:srgbClr val="FFFFFF"/>
                    </a:solidFill>
                  </a:defRPr>
                </a:lvl1pPr>
              </a:lstStyle>
              <a:p>
                <a:r>
                  <a:rPr lang="en-US"/>
                  <a:t>YM</a:t>
                </a:r>
              </a:p>
            </p:txBody>
          </p:sp>
        </p:grpSp>
        <p:sp>
          <p:nvSpPr>
            <p:cNvPr id="180" name="Text Box 64">
              <a:extLst>
                <a:ext uri="{FF2B5EF4-FFF2-40B4-BE49-F238E27FC236}">
                  <a16:creationId xmlns:a16="http://schemas.microsoft.com/office/drawing/2014/main" id="{827CD493-4128-4A5D-824B-6CA9D9DCEDCD}"/>
                </a:ext>
              </a:extLst>
            </p:cNvPr>
            <p:cNvSpPr txBox="1">
              <a:spLocks noChangeArrowheads="1"/>
            </p:cNvSpPr>
            <p:nvPr/>
          </p:nvSpPr>
          <p:spPr bwMode="auto">
            <a:xfrm>
              <a:off x="5021413" y="2847145"/>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a:solidFill>
                    <a:schemeClr val="bg1"/>
                  </a:solidFill>
                </a:rPr>
                <a:t>XM</a:t>
              </a:r>
            </a:p>
          </p:txBody>
        </p:sp>
      </p:grpSp>
      <p:grpSp>
        <p:nvGrpSpPr>
          <p:cNvPr id="8" name="Group 7" descr="Option 3">
            <a:extLst>
              <a:ext uri="{FF2B5EF4-FFF2-40B4-BE49-F238E27FC236}">
                <a16:creationId xmlns:a16="http://schemas.microsoft.com/office/drawing/2014/main" id="{C23FE722-0483-4422-A36B-A10A5E062AAE}"/>
              </a:ext>
            </a:extLst>
          </p:cNvPr>
          <p:cNvGrpSpPr/>
          <p:nvPr/>
        </p:nvGrpSpPr>
        <p:grpSpPr>
          <a:xfrm>
            <a:off x="6290469" y="2477257"/>
            <a:ext cx="2242306" cy="1374776"/>
            <a:chOff x="6290469" y="2477257"/>
            <a:chExt cx="2242306" cy="1374776"/>
          </a:xfrm>
        </p:grpSpPr>
        <p:sp>
          <p:nvSpPr>
            <p:cNvPr id="96" name="Rectangle 24">
              <a:extLst>
                <a:ext uri="{FF2B5EF4-FFF2-40B4-BE49-F238E27FC236}">
                  <a16:creationId xmlns:a16="http://schemas.microsoft.com/office/drawing/2014/main" id="{073CD72C-FD12-49D2-912B-2F603149073E}"/>
                </a:ext>
              </a:extLst>
            </p:cNvPr>
            <p:cNvSpPr>
              <a:spLocks noChangeArrowheads="1"/>
            </p:cNvSpPr>
            <p:nvPr/>
          </p:nvSpPr>
          <p:spPr bwMode="auto">
            <a:xfrm>
              <a:off x="6290469" y="2477257"/>
              <a:ext cx="2242306" cy="315913"/>
            </a:xfrm>
            <a:prstGeom prst="rect">
              <a:avLst/>
            </a:prstGeom>
            <a:solidFill>
              <a:schemeClr val="accent1"/>
            </a:solidFill>
            <a:ln w="12700">
              <a:noFill/>
              <a:miter lim="800000"/>
              <a:headEnd/>
              <a:tailEnd/>
            </a:ln>
            <a:effectLst/>
          </p:spPr>
          <p:txBody>
            <a:bodyPr lIns="53975" tIns="53975" rIns="53975" bIns="53975" anchor="ctr"/>
            <a:lstStyle/>
            <a:p>
              <a:pPr algn="ctr">
                <a:lnSpc>
                  <a:spcPct val="90000"/>
                </a:lnSpc>
                <a:buClrTx/>
                <a:buSzTx/>
                <a:buFontTx/>
                <a:buNone/>
              </a:pPr>
              <a:r>
                <a:rPr lang="en-US" sz="1000" b="1">
                  <a:solidFill>
                    <a:schemeClr val="bg1"/>
                  </a:solidFill>
                </a:rPr>
                <a:t>Text</a:t>
              </a:r>
            </a:p>
            <a:p>
              <a:pPr algn="ctr">
                <a:lnSpc>
                  <a:spcPct val="90000"/>
                </a:lnSpc>
                <a:buClrTx/>
                <a:buSzTx/>
                <a:buFontTx/>
                <a:buNone/>
              </a:pPr>
              <a:r>
                <a:rPr lang="en-US" sz="1000" b="1">
                  <a:solidFill>
                    <a:schemeClr val="bg1"/>
                  </a:solidFill>
                </a:rPr>
                <a:t>XM - YM</a:t>
              </a:r>
            </a:p>
          </p:txBody>
        </p:sp>
        <p:sp>
          <p:nvSpPr>
            <p:cNvPr id="120" name="Rectangle 81">
              <a:extLst>
                <a:ext uri="{FF2B5EF4-FFF2-40B4-BE49-F238E27FC236}">
                  <a16:creationId xmlns:a16="http://schemas.microsoft.com/office/drawing/2014/main" id="{AD1929CC-D38E-4E56-BAE0-1DE0440465C1}"/>
                </a:ext>
              </a:extLst>
            </p:cNvPr>
            <p:cNvSpPr>
              <a:spLocks noChangeArrowheads="1"/>
            </p:cNvSpPr>
            <p:nvPr/>
          </p:nvSpPr>
          <p:spPr bwMode="auto">
            <a:xfrm>
              <a:off x="6290469" y="2847145"/>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p>
          </p:txBody>
        </p:sp>
        <p:sp>
          <p:nvSpPr>
            <p:cNvPr id="121" name="Text Box 83">
              <a:extLst>
                <a:ext uri="{FF2B5EF4-FFF2-40B4-BE49-F238E27FC236}">
                  <a16:creationId xmlns:a16="http://schemas.microsoft.com/office/drawing/2014/main" id="{6DDE5EF1-3391-4BED-AAB0-8722C55A3399}"/>
                </a:ext>
              </a:extLst>
            </p:cNvPr>
            <p:cNvSpPr txBox="1">
              <a:spLocks noChangeArrowheads="1"/>
            </p:cNvSpPr>
            <p:nvPr/>
          </p:nvSpPr>
          <p:spPr bwMode="auto">
            <a:xfrm>
              <a:off x="7856138" y="2997958"/>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a:solidFill>
                    <a:srgbClr val="FFFFFF"/>
                  </a:solidFill>
                </a:rPr>
                <a:t>YM</a:t>
              </a:r>
            </a:p>
          </p:txBody>
        </p:sp>
        <p:sp>
          <p:nvSpPr>
            <p:cNvPr id="122" name="Text Box 84">
              <a:extLst>
                <a:ext uri="{FF2B5EF4-FFF2-40B4-BE49-F238E27FC236}">
                  <a16:creationId xmlns:a16="http://schemas.microsoft.com/office/drawing/2014/main" id="{F18DF9E2-C44D-49C9-A2C9-92025542C405}"/>
                </a:ext>
              </a:extLst>
            </p:cNvPr>
            <p:cNvSpPr txBox="1">
              <a:spLocks noChangeArrowheads="1"/>
            </p:cNvSpPr>
            <p:nvPr/>
          </p:nvSpPr>
          <p:spPr bwMode="auto">
            <a:xfrm>
              <a:off x="7856138" y="2847145"/>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a:solidFill>
                    <a:schemeClr val="bg1"/>
                  </a:solidFill>
                </a:rPr>
                <a:t>XM</a:t>
              </a:r>
              <a:endParaRPr lang="en-US" sz="900" b="1" dirty="0">
                <a:solidFill>
                  <a:schemeClr val="bg1"/>
                </a:solidFill>
              </a:endParaRPr>
            </a:p>
          </p:txBody>
        </p:sp>
        <p:sp>
          <p:nvSpPr>
            <p:cNvPr id="123" name="Rectangle 86">
              <a:extLst>
                <a:ext uri="{FF2B5EF4-FFF2-40B4-BE49-F238E27FC236}">
                  <a16:creationId xmlns:a16="http://schemas.microsoft.com/office/drawing/2014/main" id="{BF692AF1-13B8-4337-AC39-0FB5CA07B1B7}"/>
                </a:ext>
              </a:extLst>
            </p:cNvPr>
            <p:cNvSpPr>
              <a:spLocks noChangeArrowheads="1"/>
            </p:cNvSpPr>
            <p:nvPr/>
          </p:nvSpPr>
          <p:spPr bwMode="auto">
            <a:xfrm>
              <a:off x="6290469" y="3197982"/>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p>
          </p:txBody>
        </p:sp>
        <p:sp>
          <p:nvSpPr>
            <p:cNvPr id="124" name="Text Box 88">
              <a:extLst>
                <a:ext uri="{FF2B5EF4-FFF2-40B4-BE49-F238E27FC236}">
                  <a16:creationId xmlns:a16="http://schemas.microsoft.com/office/drawing/2014/main" id="{0E67B7E6-72DE-4672-82B3-476665A1A628}"/>
                </a:ext>
              </a:extLst>
            </p:cNvPr>
            <p:cNvSpPr txBox="1">
              <a:spLocks noChangeArrowheads="1"/>
            </p:cNvSpPr>
            <p:nvPr/>
          </p:nvSpPr>
          <p:spPr bwMode="auto">
            <a:xfrm>
              <a:off x="7856138" y="3348795"/>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a:solidFill>
                    <a:srgbClr val="FFFFFF"/>
                  </a:solidFill>
                </a:rPr>
                <a:t>YM</a:t>
              </a:r>
            </a:p>
          </p:txBody>
        </p:sp>
        <p:sp>
          <p:nvSpPr>
            <p:cNvPr id="125" name="Text Box 89">
              <a:extLst>
                <a:ext uri="{FF2B5EF4-FFF2-40B4-BE49-F238E27FC236}">
                  <a16:creationId xmlns:a16="http://schemas.microsoft.com/office/drawing/2014/main" id="{BCBE1DC0-5978-497D-A2AB-51537F4D9674}"/>
                </a:ext>
              </a:extLst>
            </p:cNvPr>
            <p:cNvSpPr txBox="1">
              <a:spLocks noChangeArrowheads="1"/>
            </p:cNvSpPr>
            <p:nvPr/>
          </p:nvSpPr>
          <p:spPr bwMode="auto">
            <a:xfrm>
              <a:off x="7856138" y="3197982"/>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a:solidFill>
                    <a:schemeClr val="bg1"/>
                  </a:solidFill>
                </a:rPr>
                <a:t>XM</a:t>
              </a:r>
            </a:p>
          </p:txBody>
        </p:sp>
        <p:sp>
          <p:nvSpPr>
            <p:cNvPr id="126" name="Rectangle 91">
              <a:extLst>
                <a:ext uri="{FF2B5EF4-FFF2-40B4-BE49-F238E27FC236}">
                  <a16:creationId xmlns:a16="http://schemas.microsoft.com/office/drawing/2014/main" id="{D84C6124-E379-463C-9745-E6BEC9E371D5}"/>
                </a:ext>
              </a:extLst>
            </p:cNvPr>
            <p:cNvSpPr>
              <a:spLocks noChangeArrowheads="1"/>
            </p:cNvSpPr>
            <p:nvPr/>
          </p:nvSpPr>
          <p:spPr bwMode="auto">
            <a:xfrm>
              <a:off x="6290469" y="3550407"/>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p>
          </p:txBody>
        </p:sp>
        <p:sp>
          <p:nvSpPr>
            <p:cNvPr id="127" name="Text Box 93">
              <a:extLst>
                <a:ext uri="{FF2B5EF4-FFF2-40B4-BE49-F238E27FC236}">
                  <a16:creationId xmlns:a16="http://schemas.microsoft.com/office/drawing/2014/main" id="{1DD30285-8CBF-476B-B997-9EAA942C99F6}"/>
                </a:ext>
              </a:extLst>
            </p:cNvPr>
            <p:cNvSpPr txBox="1">
              <a:spLocks noChangeArrowheads="1"/>
            </p:cNvSpPr>
            <p:nvPr/>
          </p:nvSpPr>
          <p:spPr bwMode="auto">
            <a:xfrm>
              <a:off x="7856138" y="3701220"/>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a:solidFill>
                    <a:srgbClr val="FFFFFF"/>
                  </a:solidFill>
                </a:rPr>
                <a:t>YM</a:t>
              </a:r>
            </a:p>
          </p:txBody>
        </p:sp>
        <p:sp>
          <p:nvSpPr>
            <p:cNvPr id="128" name="Text Box 94">
              <a:extLst>
                <a:ext uri="{FF2B5EF4-FFF2-40B4-BE49-F238E27FC236}">
                  <a16:creationId xmlns:a16="http://schemas.microsoft.com/office/drawing/2014/main" id="{06268098-12E1-4F3B-B8C6-42981980DDAB}"/>
                </a:ext>
              </a:extLst>
            </p:cNvPr>
            <p:cNvSpPr txBox="1">
              <a:spLocks noChangeArrowheads="1"/>
            </p:cNvSpPr>
            <p:nvPr/>
          </p:nvSpPr>
          <p:spPr bwMode="auto">
            <a:xfrm>
              <a:off x="7856138" y="3550407"/>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dirty="0">
                  <a:solidFill>
                    <a:schemeClr val="bg1"/>
                  </a:solidFill>
                </a:rPr>
                <a:t>XM</a:t>
              </a:r>
            </a:p>
          </p:txBody>
        </p:sp>
        <p:cxnSp>
          <p:nvCxnSpPr>
            <p:cNvPr id="166" name="Elbow Connector 212">
              <a:extLst>
                <a:ext uri="{FF2B5EF4-FFF2-40B4-BE49-F238E27FC236}">
                  <a16:creationId xmlns:a16="http://schemas.microsoft.com/office/drawing/2014/main" id="{B670F3BB-C85B-481A-82CD-EB53AE8D91D8}"/>
                </a:ext>
              </a:extLst>
            </p:cNvPr>
            <p:cNvCxnSpPr>
              <a:stCxn id="96" idx="1"/>
            </p:cNvCxnSpPr>
            <p:nvPr/>
          </p:nvCxnSpPr>
          <p:spPr bwMode="auto">
            <a:xfrm rot="10800000" flipV="1">
              <a:off x="6290469" y="2635214"/>
              <a:ext cx="1518" cy="362744"/>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7" name="Elbow Connector 215">
              <a:extLst>
                <a:ext uri="{FF2B5EF4-FFF2-40B4-BE49-F238E27FC236}">
                  <a16:creationId xmlns:a16="http://schemas.microsoft.com/office/drawing/2014/main" id="{3847C19A-C720-4ACB-886B-AB4A03AE323F}"/>
                </a:ext>
              </a:extLst>
            </p:cNvPr>
            <p:cNvCxnSpPr>
              <a:stCxn id="96" idx="1"/>
            </p:cNvCxnSpPr>
            <p:nvPr/>
          </p:nvCxnSpPr>
          <p:spPr bwMode="auto">
            <a:xfrm rot="10800000" flipV="1">
              <a:off x="6290469" y="2635213"/>
              <a:ext cx="1518" cy="713581"/>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8" name="Elbow Connector 218">
              <a:extLst>
                <a:ext uri="{FF2B5EF4-FFF2-40B4-BE49-F238E27FC236}">
                  <a16:creationId xmlns:a16="http://schemas.microsoft.com/office/drawing/2014/main" id="{588FE5FC-DD7F-40FD-9FA6-111651CA00F6}"/>
                </a:ext>
              </a:extLst>
            </p:cNvPr>
            <p:cNvCxnSpPr>
              <a:stCxn id="96" idx="1"/>
            </p:cNvCxnSpPr>
            <p:nvPr/>
          </p:nvCxnSpPr>
          <p:spPr bwMode="auto">
            <a:xfrm rot="10800000" flipV="1">
              <a:off x="6290469" y="2635214"/>
              <a:ext cx="1518" cy="1066006"/>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9" name="Group 8" descr="Option 4">
            <a:extLst>
              <a:ext uri="{FF2B5EF4-FFF2-40B4-BE49-F238E27FC236}">
                <a16:creationId xmlns:a16="http://schemas.microsoft.com/office/drawing/2014/main" id="{7E7651B5-3872-4A22-B1B7-D0CC3A722E4F}"/>
              </a:ext>
            </a:extLst>
          </p:cNvPr>
          <p:cNvGrpSpPr/>
          <p:nvPr/>
        </p:nvGrpSpPr>
        <p:grpSpPr>
          <a:xfrm>
            <a:off x="3455743" y="4531482"/>
            <a:ext cx="2836244" cy="1012826"/>
            <a:chOff x="3455743" y="4531482"/>
            <a:chExt cx="2836244" cy="1012826"/>
          </a:xfrm>
        </p:grpSpPr>
        <p:sp>
          <p:nvSpPr>
            <p:cNvPr id="98" name="Rectangle 33">
              <a:extLst>
                <a:ext uri="{FF2B5EF4-FFF2-40B4-BE49-F238E27FC236}">
                  <a16:creationId xmlns:a16="http://schemas.microsoft.com/office/drawing/2014/main" id="{CD034483-2765-4FC0-BAA1-EC8AB31A8AD4}"/>
                </a:ext>
              </a:extLst>
            </p:cNvPr>
            <p:cNvSpPr>
              <a:spLocks noChangeArrowheads="1"/>
            </p:cNvSpPr>
            <p:nvPr/>
          </p:nvSpPr>
          <p:spPr bwMode="auto">
            <a:xfrm>
              <a:off x="3455743" y="4531482"/>
              <a:ext cx="2242306" cy="315913"/>
            </a:xfrm>
            <a:prstGeom prst="rect">
              <a:avLst/>
            </a:prstGeom>
            <a:solidFill>
              <a:schemeClr val="accent1"/>
            </a:solidFill>
            <a:ln w="12700">
              <a:noFill/>
              <a:miter lim="800000"/>
              <a:headEnd/>
              <a:tailEnd/>
            </a:ln>
            <a:effectLst/>
          </p:spPr>
          <p:txBody>
            <a:bodyPr lIns="53975" tIns="53975" rIns="53975" bIns="53975" anchor="ctr"/>
            <a:lstStyle/>
            <a:p>
              <a:pPr algn="ctr">
                <a:lnSpc>
                  <a:spcPct val="90000"/>
                </a:lnSpc>
                <a:buClrTx/>
                <a:buSzTx/>
                <a:buFontTx/>
                <a:buNone/>
              </a:pPr>
              <a:r>
                <a:rPr lang="en-US" sz="1000" b="1" dirty="0">
                  <a:solidFill>
                    <a:schemeClr val="bg1"/>
                  </a:solidFill>
                </a:rPr>
                <a:t>Text</a:t>
              </a:r>
              <a:br>
                <a:rPr lang="en-US" sz="1000" b="1" dirty="0">
                  <a:solidFill>
                    <a:schemeClr val="bg1"/>
                  </a:solidFill>
                </a:rPr>
              </a:br>
              <a:r>
                <a:rPr lang="en-US" sz="1000" b="1" dirty="0">
                  <a:solidFill>
                    <a:schemeClr val="bg1"/>
                  </a:solidFill>
                </a:rPr>
                <a:t>XM - YM</a:t>
              </a:r>
            </a:p>
          </p:txBody>
        </p:sp>
        <p:sp>
          <p:nvSpPr>
            <p:cNvPr id="129" name="Rectangle 101">
              <a:extLst>
                <a:ext uri="{FF2B5EF4-FFF2-40B4-BE49-F238E27FC236}">
                  <a16:creationId xmlns:a16="http://schemas.microsoft.com/office/drawing/2014/main" id="{493D57C2-90B1-4927-8B2B-3D7366711C71}"/>
                </a:ext>
              </a:extLst>
            </p:cNvPr>
            <p:cNvSpPr>
              <a:spLocks noChangeArrowheads="1"/>
            </p:cNvSpPr>
            <p:nvPr/>
          </p:nvSpPr>
          <p:spPr bwMode="auto">
            <a:xfrm>
              <a:off x="3455743" y="4891845"/>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p>
          </p:txBody>
        </p:sp>
        <p:sp>
          <p:nvSpPr>
            <p:cNvPr id="130" name="Text Box 103">
              <a:extLst>
                <a:ext uri="{FF2B5EF4-FFF2-40B4-BE49-F238E27FC236}">
                  <a16:creationId xmlns:a16="http://schemas.microsoft.com/office/drawing/2014/main" id="{2C7FB938-A916-483B-9ED2-BD5C1FB5C5A8}"/>
                </a:ext>
              </a:extLst>
            </p:cNvPr>
            <p:cNvSpPr txBox="1">
              <a:spLocks noChangeArrowheads="1"/>
            </p:cNvSpPr>
            <p:nvPr/>
          </p:nvSpPr>
          <p:spPr bwMode="auto">
            <a:xfrm>
              <a:off x="5021413" y="5042658"/>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a:solidFill>
                    <a:srgbClr val="FFFFFF"/>
                  </a:solidFill>
                </a:rPr>
                <a:t>YM</a:t>
              </a:r>
            </a:p>
          </p:txBody>
        </p:sp>
        <p:sp>
          <p:nvSpPr>
            <p:cNvPr id="131" name="Text Box 104">
              <a:extLst>
                <a:ext uri="{FF2B5EF4-FFF2-40B4-BE49-F238E27FC236}">
                  <a16:creationId xmlns:a16="http://schemas.microsoft.com/office/drawing/2014/main" id="{CB3D7A3E-2329-4C66-AE18-16BA6BD1A8B1}"/>
                </a:ext>
              </a:extLst>
            </p:cNvPr>
            <p:cNvSpPr txBox="1">
              <a:spLocks noChangeArrowheads="1"/>
            </p:cNvSpPr>
            <p:nvPr/>
          </p:nvSpPr>
          <p:spPr bwMode="auto">
            <a:xfrm>
              <a:off x="5021413" y="4891845"/>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a:solidFill>
                    <a:schemeClr val="bg1"/>
                  </a:solidFill>
                </a:rPr>
                <a:t>XM</a:t>
              </a:r>
            </a:p>
          </p:txBody>
        </p:sp>
        <p:sp>
          <p:nvSpPr>
            <p:cNvPr id="132" name="Rectangle 106">
              <a:extLst>
                <a:ext uri="{FF2B5EF4-FFF2-40B4-BE49-F238E27FC236}">
                  <a16:creationId xmlns:a16="http://schemas.microsoft.com/office/drawing/2014/main" id="{3DDA02D6-4CAF-4742-989B-2A3DCA34EC69}"/>
                </a:ext>
              </a:extLst>
            </p:cNvPr>
            <p:cNvSpPr>
              <a:spLocks noChangeArrowheads="1"/>
            </p:cNvSpPr>
            <p:nvPr/>
          </p:nvSpPr>
          <p:spPr bwMode="auto">
            <a:xfrm>
              <a:off x="3455743" y="5242682"/>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p>
          </p:txBody>
        </p:sp>
        <p:sp>
          <p:nvSpPr>
            <p:cNvPr id="133" name="Text Box 108">
              <a:extLst>
                <a:ext uri="{FF2B5EF4-FFF2-40B4-BE49-F238E27FC236}">
                  <a16:creationId xmlns:a16="http://schemas.microsoft.com/office/drawing/2014/main" id="{D0425988-F368-4ECF-AE7D-62F5EB801C14}"/>
                </a:ext>
              </a:extLst>
            </p:cNvPr>
            <p:cNvSpPr txBox="1">
              <a:spLocks noChangeArrowheads="1"/>
            </p:cNvSpPr>
            <p:nvPr/>
          </p:nvSpPr>
          <p:spPr bwMode="auto">
            <a:xfrm>
              <a:off x="5021413" y="5393495"/>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dirty="0">
                  <a:solidFill>
                    <a:srgbClr val="FFFFFF"/>
                  </a:solidFill>
                </a:rPr>
                <a:t>YM</a:t>
              </a:r>
            </a:p>
          </p:txBody>
        </p:sp>
        <p:sp>
          <p:nvSpPr>
            <p:cNvPr id="134" name="Text Box 109">
              <a:extLst>
                <a:ext uri="{FF2B5EF4-FFF2-40B4-BE49-F238E27FC236}">
                  <a16:creationId xmlns:a16="http://schemas.microsoft.com/office/drawing/2014/main" id="{642DF04D-8AC9-4464-BACA-2540BBC5E5CE}"/>
                </a:ext>
              </a:extLst>
            </p:cNvPr>
            <p:cNvSpPr txBox="1">
              <a:spLocks noChangeArrowheads="1"/>
            </p:cNvSpPr>
            <p:nvPr/>
          </p:nvSpPr>
          <p:spPr bwMode="auto">
            <a:xfrm>
              <a:off x="5021413" y="5242682"/>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a:solidFill>
                    <a:schemeClr val="bg1"/>
                  </a:solidFill>
                </a:rPr>
                <a:t>XM</a:t>
              </a:r>
            </a:p>
          </p:txBody>
        </p:sp>
        <p:cxnSp>
          <p:nvCxnSpPr>
            <p:cNvPr id="172" name="Elbow Connector 239">
              <a:extLst>
                <a:ext uri="{FF2B5EF4-FFF2-40B4-BE49-F238E27FC236}">
                  <a16:creationId xmlns:a16="http://schemas.microsoft.com/office/drawing/2014/main" id="{353F537E-2C4A-48AB-899C-A70F41FFFC9D}"/>
                </a:ext>
              </a:extLst>
            </p:cNvPr>
            <p:cNvCxnSpPr>
              <a:stCxn id="98" idx="1"/>
            </p:cNvCxnSpPr>
            <p:nvPr/>
          </p:nvCxnSpPr>
          <p:spPr bwMode="auto">
            <a:xfrm rot="10800000" flipV="1">
              <a:off x="3455743" y="4689438"/>
              <a:ext cx="1518" cy="353219"/>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3" name="Elbow Connector 241">
              <a:extLst>
                <a:ext uri="{FF2B5EF4-FFF2-40B4-BE49-F238E27FC236}">
                  <a16:creationId xmlns:a16="http://schemas.microsoft.com/office/drawing/2014/main" id="{E60EDD3B-25BF-4814-BF97-8FC0B374B952}"/>
                </a:ext>
              </a:extLst>
            </p:cNvPr>
            <p:cNvCxnSpPr>
              <a:stCxn id="98" idx="1"/>
            </p:cNvCxnSpPr>
            <p:nvPr/>
          </p:nvCxnSpPr>
          <p:spPr bwMode="auto">
            <a:xfrm rot="10800000" flipV="1">
              <a:off x="3455743" y="4689439"/>
              <a:ext cx="1518" cy="704056"/>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4" name="Elbow Connector 251">
              <a:extLst>
                <a:ext uri="{FF2B5EF4-FFF2-40B4-BE49-F238E27FC236}">
                  <a16:creationId xmlns:a16="http://schemas.microsoft.com/office/drawing/2014/main" id="{7B060816-E243-4F0C-8B5A-50C7DFFAE1CE}"/>
                </a:ext>
              </a:extLst>
            </p:cNvPr>
            <p:cNvCxnSpPr>
              <a:stCxn id="97" idx="1"/>
            </p:cNvCxnSpPr>
            <p:nvPr/>
          </p:nvCxnSpPr>
          <p:spPr bwMode="auto">
            <a:xfrm rot="10800000" flipV="1">
              <a:off x="6290469" y="4689438"/>
              <a:ext cx="1518" cy="353219"/>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5" name="Elbow Connector 253">
              <a:extLst>
                <a:ext uri="{FF2B5EF4-FFF2-40B4-BE49-F238E27FC236}">
                  <a16:creationId xmlns:a16="http://schemas.microsoft.com/office/drawing/2014/main" id="{96590C86-1EFF-46EA-BEA8-120BF9E1F7EE}"/>
                </a:ext>
              </a:extLst>
            </p:cNvPr>
            <p:cNvCxnSpPr>
              <a:stCxn id="97" idx="1"/>
            </p:cNvCxnSpPr>
            <p:nvPr/>
          </p:nvCxnSpPr>
          <p:spPr bwMode="auto">
            <a:xfrm rot="10800000" flipV="1">
              <a:off x="6290469" y="4689439"/>
              <a:ext cx="1518" cy="705644"/>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0" name="Group 9" descr="Option 5">
            <a:extLst>
              <a:ext uri="{FF2B5EF4-FFF2-40B4-BE49-F238E27FC236}">
                <a16:creationId xmlns:a16="http://schemas.microsoft.com/office/drawing/2014/main" id="{D9719E46-AAE4-4A60-AD46-9A5862E49254}"/>
              </a:ext>
            </a:extLst>
          </p:cNvPr>
          <p:cNvGrpSpPr/>
          <p:nvPr/>
        </p:nvGrpSpPr>
        <p:grpSpPr>
          <a:xfrm>
            <a:off x="6290469" y="4531482"/>
            <a:ext cx="2242306" cy="1014413"/>
            <a:chOff x="6290469" y="4531482"/>
            <a:chExt cx="2242306" cy="1014413"/>
          </a:xfrm>
        </p:grpSpPr>
        <p:sp>
          <p:nvSpPr>
            <p:cNvPr id="97" name="Rectangle 28">
              <a:extLst>
                <a:ext uri="{FF2B5EF4-FFF2-40B4-BE49-F238E27FC236}">
                  <a16:creationId xmlns:a16="http://schemas.microsoft.com/office/drawing/2014/main" id="{76CB40F4-6CD9-444C-A723-ED827294C375}"/>
                </a:ext>
              </a:extLst>
            </p:cNvPr>
            <p:cNvSpPr>
              <a:spLocks noChangeArrowheads="1"/>
            </p:cNvSpPr>
            <p:nvPr/>
          </p:nvSpPr>
          <p:spPr bwMode="auto">
            <a:xfrm>
              <a:off x="6290469" y="4531482"/>
              <a:ext cx="2242306" cy="315913"/>
            </a:xfrm>
            <a:prstGeom prst="rect">
              <a:avLst/>
            </a:prstGeom>
            <a:solidFill>
              <a:schemeClr val="accent1"/>
            </a:solidFill>
            <a:ln w="12700">
              <a:noFill/>
              <a:miter lim="800000"/>
              <a:headEnd/>
              <a:tailEnd/>
            </a:ln>
            <a:effectLst/>
          </p:spPr>
          <p:txBody>
            <a:bodyPr lIns="53975" tIns="53975" rIns="53975" bIns="53975" anchor="ctr"/>
            <a:lstStyle/>
            <a:p>
              <a:pPr algn="ctr">
                <a:lnSpc>
                  <a:spcPct val="90000"/>
                </a:lnSpc>
                <a:buClrTx/>
                <a:buSzTx/>
                <a:buFontTx/>
                <a:buNone/>
              </a:pPr>
              <a:r>
                <a:rPr lang="en-US" sz="1000" b="1">
                  <a:solidFill>
                    <a:schemeClr val="bg1"/>
                  </a:solidFill>
                </a:rPr>
                <a:t>Text</a:t>
              </a:r>
            </a:p>
            <a:p>
              <a:pPr algn="ctr">
                <a:lnSpc>
                  <a:spcPct val="90000"/>
                </a:lnSpc>
                <a:buClrTx/>
                <a:buSzTx/>
                <a:buFontTx/>
                <a:buNone/>
              </a:pPr>
              <a:r>
                <a:rPr lang="en-US" sz="1000" b="1">
                  <a:solidFill>
                    <a:schemeClr val="bg1"/>
                  </a:solidFill>
                </a:rPr>
                <a:t>XM - YM</a:t>
              </a:r>
            </a:p>
          </p:txBody>
        </p:sp>
        <p:sp>
          <p:nvSpPr>
            <p:cNvPr id="135" name="Rectangle 126">
              <a:extLst>
                <a:ext uri="{FF2B5EF4-FFF2-40B4-BE49-F238E27FC236}">
                  <a16:creationId xmlns:a16="http://schemas.microsoft.com/office/drawing/2014/main" id="{28A60512-B227-41FA-B82F-64A1EC6FCB62}"/>
                </a:ext>
              </a:extLst>
            </p:cNvPr>
            <p:cNvSpPr>
              <a:spLocks noChangeArrowheads="1"/>
            </p:cNvSpPr>
            <p:nvPr/>
          </p:nvSpPr>
          <p:spPr bwMode="auto">
            <a:xfrm>
              <a:off x="6290469" y="4891845"/>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p>
          </p:txBody>
        </p:sp>
        <p:sp>
          <p:nvSpPr>
            <p:cNvPr id="136" name="Text Box 128">
              <a:extLst>
                <a:ext uri="{FF2B5EF4-FFF2-40B4-BE49-F238E27FC236}">
                  <a16:creationId xmlns:a16="http://schemas.microsoft.com/office/drawing/2014/main" id="{7D8916D9-431A-4396-8D21-2594012238CF}"/>
                </a:ext>
              </a:extLst>
            </p:cNvPr>
            <p:cNvSpPr txBox="1">
              <a:spLocks noChangeArrowheads="1"/>
            </p:cNvSpPr>
            <p:nvPr/>
          </p:nvSpPr>
          <p:spPr bwMode="auto">
            <a:xfrm>
              <a:off x="7856138" y="5042658"/>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dirty="0">
                  <a:solidFill>
                    <a:srgbClr val="FFFFFF"/>
                  </a:solidFill>
                </a:rPr>
                <a:t>YM</a:t>
              </a:r>
            </a:p>
          </p:txBody>
        </p:sp>
        <p:sp>
          <p:nvSpPr>
            <p:cNvPr id="137" name="Text Box 129">
              <a:extLst>
                <a:ext uri="{FF2B5EF4-FFF2-40B4-BE49-F238E27FC236}">
                  <a16:creationId xmlns:a16="http://schemas.microsoft.com/office/drawing/2014/main" id="{FE74FA37-FC1A-4C99-A6B8-94A68EAE62B8}"/>
                </a:ext>
              </a:extLst>
            </p:cNvPr>
            <p:cNvSpPr txBox="1">
              <a:spLocks noChangeArrowheads="1"/>
            </p:cNvSpPr>
            <p:nvPr/>
          </p:nvSpPr>
          <p:spPr bwMode="auto">
            <a:xfrm>
              <a:off x="7856138" y="4891845"/>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a:solidFill>
                    <a:schemeClr val="bg1"/>
                  </a:solidFill>
                </a:rPr>
                <a:t>XM</a:t>
              </a:r>
            </a:p>
          </p:txBody>
        </p:sp>
        <p:sp>
          <p:nvSpPr>
            <p:cNvPr id="138" name="Rectangle 131">
              <a:extLst>
                <a:ext uri="{FF2B5EF4-FFF2-40B4-BE49-F238E27FC236}">
                  <a16:creationId xmlns:a16="http://schemas.microsoft.com/office/drawing/2014/main" id="{7237A673-6768-473B-8E41-18350D9DA5CE}"/>
                </a:ext>
              </a:extLst>
            </p:cNvPr>
            <p:cNvSpPr>
              <a:spLocks noChangeArrowheads="1"/>
            </p:cNvSpPr>
            <p:nvPr/>
          </p:nvSpPr>
          <p:spPr bwMode="auto">
            <a:xfrm>
              <a:off x="6290469" y="5244270"/>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p>
          </p:txBody>
        </p:sp>
        <p:sp>
          <p:nvSpPr>
            <p:cNvPr id="139" name="Text Box 133">
              <a:extLst>
                <a:ext uri="{FF2B5EF4-FFF2-40B4-BE49-F238E27FC236}">
                  <a16:creationId xmlns:a16="http://schemas.microsoft.com/office/drawing/2014/main" id="{59FBF60A-4F59-437D-B481-61F3776A8EB3}"/>
                </a:ext>
              </a:extLst>
            </p:cNvPr>
            <p:cNvSpPr txBox="1">
              <a:spLocks noChangeArrowheads="1"/>
            </p:cNvSpPr>
            <p:nvPr/>
          </p:nvSpPr>
          <p:spPr bwMode="auto">
            <a:xfrm>
              <a:off x="7856138" y="5395082"/>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a:solidFill>
                    <a:srgbClr val="FFFFFF"/>
                  </a:solidFill>
                </a:rPr>
                <a:t>YM</a:t>
              </a:r>
            </a:p>
          </p:txBody>
        </p:sp>
        <p:sp>
          <p:nvSpPr>
            <p:cNvPr id="140" name="Text Box 134">
              <a:extLst>
                <a:ext uri="{FF2B5EF4-FFF2-40B4-BE49-F238E27FC236}">
                  <a16:creationId xmlns:a16="http://schemas.microsoft.com/office/drawing/2014/main" id="{D45C2B70-39A0-47E4-8B75-CA775E41E318}"/>
                </a:ext>
              </a:extLst>
            </p:cNvPr>
            <p:cNvSpPr txBox="1">
              <a:spLocks noChangeArrowheads="1"/>
            </p:cNvSpPr>
            <p:nvPr/>
          </p:nvSpPr>
          <p:spPr bwMode="auto">
            <a:xfrm>
              <a:off x="7856138" y="5242682"/>
              <a:ext cx="676636" cy="152400"/>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a:solidFill>
                    <a:schemeClr val="bg1"/>
                  </a:solidFill>
                </a:rPr>
                <a:t>XM</a:t>
              </a:r>
            </a:p>
          </p:txBody>
        </p:sp>
      </p:grpSp>
      <p:cxnSp>
        <p:nvCxnSpPr>
          <p:cNvPr id="157" name="Elbow Connector 177">
            <a:extLst>
              <a:ext uri="{FF2B5EF4-FFF2-40B4-BE49-F238E27FC236}">
                <a16:creationId xmlns:a16="http://schemas.microsoft.com/office/drawing/2014/main" id="{F7103B3B-0B9A-4BAE-B3C6-A411DCEAD0F2}"/>
              </a:ext>
              <a:ext uri="{C183D7F6-B498-43B3-948B-1728B52AA6E4}">
                <adec:decorative xmlns:adec="http://schemas.microsoft.com/office/drawing/2017/decorative" val="1"/>
              </a:ext>
            </a:extLst>
          </p:cNvPr>
          <p:cNvCxnSpPr>
            <a:stCxn id="93" idx="2"/>
            <a:endCxn id="96" idx="0"/>
          </p:cNvCxnSpPr>
          <p:nvPr/>
        </p:nvCxnSpPr>
        <p:spPr bwMode="auto">
          <a:xfrm rot="16200000" flipH="1">
            <a:off x="5803759" y="869394"/>
            <a:ext cx="381000" cy="2834725"/>
          </a:xfrm>
          <a:prstGeom prst="bentConnector3">
            <a:avLst>
              <a:gd name="adj1" fmla="val 50000"/>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8" name="Elbow Connector 180">
            <a:extLst>
              <a:ext uri="{FF2B5EF4-FFF2-40B4-BE49-F238E27FC236}">
                <a16:creationId xmlns:a16="http://schemas.microsoft.com/office/drawing/2014/main" id="{71C3DCEE-4EDE-42A1-985F-ECE659F19783}"/>
              </a:ext>
              <a:ext uri="{C183D7F6-B498-43B3-948B-1728B52AA6E4}">
                <adec:decorative xmlns:adec="http://schemas.microsoft.com/office/drawing/2017/decorative" val="1"/>
              </a:ext>
            </a:extLst>
          </p:cNvPr>
          <p:cNvCxnSpPr>
            <a:stCxn id="93" idx="2"/>
            <a:endCxn id="94" idx="0"/>
          </p:cNvCxnSpPr>
          <p:nvPr/>
        </p:nvCxnSpPr>
        <p:spPr bwMode="auto">
          <a:xfrm rot="5400000">
            <a:off x="3022538" y="922898"/>
            <a:ext cx="381000" cy="2727717"/>
          </a:xfrm>
          <a:prstGeom prst="bentConnector3">
            <a:avLst>
              <a:gd name="adj1" fmla="val 50000"/>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9" name="Elbow Connector 183">
            <a:extLst>
              <a:ext uri="{FF2B5EF4-FFF2-40B4-BE49-F238E27FC236}">
                <a16:creationId xmlns:a16="http://schemas.microsoft.com/office/drawing/2014/main" id="{3B4D77E4-B977-4A1F-BECC-62A568E1E79A}"/>
              </a:ext>
              <a:ext uri="{C183D7F6-B498-43B3-948B-1728B52AA6E4}">
                <adec:decorative xmlns:adec="http://schemas.microsoft.com/office/drawing/2017/decorative" val="1"/>
              </a:ext>
            </a:extLst>
          </p:cNvPr>
          <p:cNvCxnSpPr>
            <a:stCxn id="93" idx="2"/>
            <a:endCxn id="98" idx="3"/>
          </p:cNvCxnSpPr>
          <p:nvPr/>
        </p:nvCxnSpPr>
        <p:spPr bwMode="auto">
          <a:xfrm rot="16200000" flipH="1">
            <a:off x="3840882" y="2832272"/>
            <a:ext cx="2593182" cy="1121153"/>
          </a:xfrm>
          <a:prstGeom prst="bentConnector4">
            <a:avLst>
              <a:gd name="adj1" fmla="val 7285"/>
              <a:gd name="adj2" fmla="val 11542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0" name="Elbow Connector 187">
            <a:extLst>
              <a:ext uri="{FF2B5EF4-FFF2-40B4-BE49-F238E27FC236}">
                <a16:creationId xmlns:a16="http://schemas.microsoft.com/office/drawing/2014/main" id="{62C30752-7CD0-4D1E-B205-F636F03D6DB0}"/>
              </a:ext>
              <a:ext uri="{C183D7F6-B498-43B3-948B-1728B52AA6E4}">
                <adec:decorative xmlns:adec="http://schemas.microsoft.com/office/drawing/2017/decorative" val="1"/>
              </a:ext>
            </a:extLst>
          </p:cNvPr>
          <p:cNvCxnSpPr>
            <a:stCxn id="93" idx="2"/>
            <a:endCxn id="97" idx="3"/>
          </p:cNvCxnSpPr>
          <p:nvPr/>
        </p:nvCxnSpPr>
        <p:spPr bwMode="auto">
          <a:xfrm rot="16200000" flipH="1">
            <a:off x="5258245" y="1414909"/>
            <a:ext cx="2593182" cy="3955878"/>
          </a:xfrm>
          <a:prstGeom prst="bentConnector4">
            <a:avLst>
              <a:gd name="adj1" fmla="val 7375"/>
              <a:gd name="adj2" fmla="val 102593"/>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B0946B48-A4B8-44DB-8F2E-6EF706254B79}"/>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66371AEF-571A-45CA-86AC-2C61950632E6}"/>
              </a:ext>
            </a:extLst>
          </p:cNvPr>
          <p:cNvSpPr>
            <a:spLocks noGrp="1"/>
          </p:cNvSpPr>
          <p:nvPr>
            <p:ph type="sldNum" sz="quarter" idx="10"/>
          </p:nvPr>
        </p:nvSpPr>
        <p:spPr/>
        <p:txBody>
          <a:bodyPr/>
          <a:lstStyle/>
          <a:p>
            <a:fld id="{1F90F471-3972-4120-B8B3-0237DE626C35}" type="slidenum">
              <a:rPr lang="en-US" smtClean="0"/>
              <a:pPr/>
              <a:t>439</a:t>
            </a:fld>
            <a:endParaRPr lang="en-US" dirty="0"/>
          </a:p>
        </p:txBody>
      </p:sp>
    </p:spTree>
    <p:extLst>
      <p:ext uri="{BB962C8B-B14F-4D97-AF65-F5344CB8AC3E}">
        <p14:creationId xmlns:p14="http://schemas.microsoft.com/office/powerpoint/2010/main" val="55024135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5C672-37D2-4A2A-B851-D47101B4194A}"/>
              </a:ext>
            </a:extLst>
          </p:cNvPr>
          <p:cNvSpPr>
            <a:spLocks noGrp="1"/>
          </p:cNvSpPr>
          <p:nvPr>
            <p:ph type="title"/>
          </p:nvPr>
        </p:nvSpPr>
        <p:spPr/>
        <p:txBody>
          <a:bodyPr/>
          <a:lstStyle/>
          <a:p>
            <a:r>
              <a:rPr lang="en-GB" dirty="0"/>
              <a:t>Place headline here (36pt, min 30pt)</a:t>
            </a:r>
            <a:endParaRPr lang="en-US" dirty="0"/>
          </a:p>
        </p:txBody>
      </p:sp>
      <p:sp>
        <p:nvSpPr>
          <p:cNvPr id="8" name="Text Placeholder 7">
            <a:extLst>
              <a:ext uri="{FF2B5EF4-FFF2-40B4-BE49-F238E27FC236}">
                <a16:creationId xmlns:a16="http://schemas.microsoft.com/office/drawing/2014/main" id="{44F5295B-5888-4F96-88FD-63D151B9FF0F}"/>
              </a:ext>
            </a:extLst>
          </p:cNvPr>
          <p:cNvSpPr>
            <a:spLocks noGrp="1"/>
          </p:cNvSpPr>
          <p:nvPr>
            <p:ph type="body" sz="quarter" idx="11"/>
          </p:nvPr>
        </p:nvSpPr>
        <p:spPr/>
        <p:txBody>
          <a:bodyPr/>
          <a:lstStyle/>
          <a:p>
            <a:r>
              <a:rPr lang="en-GB" dirty="0"/>
              <a:t>Place subtitle here in GT Sectra Fine </a:t>
            </a:r>
            <a:r>
              <a:rPr lang="en-GB" dirty="0" err="1"/>
              <a:t>Rg</a:t>
            </a:r>
            <a:r>
              <a:rPr lang="en-GB" dirty="0"/>
              <a:t> 20pt</a:t>
            </a:r>
            <a:endParaRPr lang="en-US" dirty="0"/>
          </a:p>
        </p:txBody>
      </p:sp>
      <p:sp>
        <p:nvSpPr>
          <p:cNvPr id="3" name="Text Placeholder 2">
            <a:extLst>
              <a:ext uri="{FF2B5EF4-FFF2-40B4-BE49-F238E27FC236}">
                <a16:creationId xmlns:a16="http://schemas.microsoft.com/office/drawing/2014/main" id="{267EF545-017C-45D6-85C7-C729AD943C4F}"/>
              </a:ext>
            </a:extLst>
          </p:cNvPr>
          <p:cNvSpPr>
            <a:spLocks noGrp="1"/>
          </p:cNvSpPr>
          <p:nvPr>
            <p:ph type="body" idx="1"/>
          </p:nvPr>
        </p:nvSpPr>
        <p:spPr/>
        <p:txBody>
          <a:bodyPr/>
          <a:lstStyle/>
          <a:p>
            <a:r>
              <a:rPr lang="en-GB" dirty="0"/>
              <a:t>Place headline here 24pt</a:t>
            </a:r>
            <a:endParaRPr lang="en-US" dirty="0"/>
          </a:p>
        </p:txBody>
      </p:sp>
      <p:sp>
        <p:nvSpPr>
          <p:cNvPr id="5" name="Content Placeholder 4">
            <a:extLst>
              <a:ext uri="{FF2B5EF4-FFF2-40B4-BE49-F238E27FC236}">
                <a16:creationId xmlns:a16="http://schemas.microsoft.com/office/drawing/2014/main" id="{1D76737E-1A11-4583-BA2D-45AF355C32D1}"/>
              </a:ext>
            </a:extLst>
          </p:cNvPr>
          <p:cNvSpPr>
            <a:spLocks noGrp="1"/>
          </p:cNvSpPr>
          <p:nvPr>
            <p:ph sz="half" idx="2"/>
          </p:nvPr>
        </p:nvSpPr>
        <p:spPr/>
        <p:txBody>
          <a:body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4" name="Text Placeholder 3">
            <a:extLst>
              <a:ext uri="{FF2B5EF4-FFF2-40B4-BE49-F238E27FC236}">
                <a16:creationId xmlns:a16="http://schemas.microsoft.com/office/drawing/2014/main" id="{A1F77F00-E154-4EA2-9622-A80E44BD101E}"/>
              </a:ext>
            </a:extLst>
          </p:cNvPr>
          <p:cNvSpPr>
            <a:spLocks noGrp="1"/>
          </p:cNvSpPr>
          <p:nvPr>
            <p:ph type="body" idx="14"/>
          </p:nvPr>
        </p:nvSpPr>
        <p:spPr/>
        <p:txBody>
          <a:bodyPr/>
          <a:lstStyle/>
          <a:p>
            <a:r>
              <a:rPr lang="en-GB" dirty="0"/>
              <a:t>Place headline here 24pt</a:t>
            </a:r>
            <a:endParaRPr lang="en-US" dirty="0"/>
          </a:p>
        </p:txBody>
      </p:sp>
      <p:sp>
        <p:nvSpPr>
          <p:cNvPr id="6" name="Content Placeholder 5">
            <a:extLst>
              <a:ext uri="{FF2B5EF4-FFF2-40B4-BE49-F238E27FC236}">
                <a16:creationId xmlns:a16="http://schemas.microsoft.com/office/drawing/2014/main" id="{840EB90F-BFAD-4D60-B65D-D008A318207E}"/>
              </a:ext>
            </a:extLst>
          </p:cNvPr>
          <p:cNvSpPr>
            <a:spLocks noGrp="1"/>
          </p:cNvSpPr>
          <p:nvPr>
            <p:ph sz="half" idx="18"/>
          </p:nvPr>
        </p:nvSpPr>
        <p:spPr/>
        <p:txBody>
          <a:body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7" name="Footer Placeholder 6">
            <a:extLst>
              <a:ext uri="{FF2B5EF4-FFF2-40B4-BE49-F238E27FC236}">
                <a16:creationId xmlns:a16="http://schemas.microsoft.com/office/drawing/2014/main" id="{0A1896CF-CCDF-44B1-A3A3-99B37E7C337D}"/>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9" name="Slide Number Placeholder 8">
            <a:extLst>
              <a:ext uri="{FF2B5EF4-FFF2-40B4-BE49-F238E27FC236}">
                <a16:creationId xmlns:a16="http://schemas.microsoft.com/office/drawing/2014/main" id="{EFBE40F9-93FD-43EA-82B7-9F34CD5E1EEA}"/>
              </a:ext>
            </a:extLst>
          </p:cNvPr>
          <p:cNvSpPr>
            <a:spLocks noGrp="1"/>
          </p:cNvSpPr>
          <p:nvPr>
            <p:ph type="sldNum" sz="quarter" idx="20"/>
          </p:nvPr>
        </p:nvSpPr>
        <p:spPr/>
        <p:txBody>
          <a:bodyPr/>
          <a:lstStyle/>
          <a:p>
            <a:fld id="{1F90F471-3972-4120-B8B3-0237DE626C35}" type="slidenum">
              <a:rPr lang="en-US" smtClean="0"/>
              <a:pPr/>
              <a:t>44</a:t>
            </a:fld>
            <a:endParaRPr lang="en-US" dirty="0"/>
          </a:p>
        </p:txBody>
      </p:sp>
    </p:spTree>
    <p:extLst>
      <p:ext uri="{BB962C8B-B14F-4D97-AF65-F5344CB8AC3E}">
        <p14:creationId xmlns:p14="http://schemas.microsoft.com/office/powerpoint/2010/main" val="1298608320"/>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Frameworks: Peer Analysis</a:t>
            </a:r>
          </a:p>
        </p:txBody>
      </p:sp>
      <p:sp>
        <p:nvSpPr>
          <p:cNvPr id="11" name="Text Box 16">
            <a:extLst>
              <a:ext uri="{FF2B5EF4-FFF2-40B4-BE49-F238E27FC236}">
                <a16:creationId xmlns:a16="http://schemas.microsoft.com/office/drawing/2014/main" id="{B925A33D-340A-45F0-836E-F66B3F596ED5}"/>
              </a:ext>
            </a:extLst>
          </p:cNvPr>
          <p:cNvSpPr txBox="1">
            <a:spLocks noChangeArrowheads="1"/>
          </p:cNvSpPr>
          <p:nvPr/>
        </p:nvSpPr>
        <p:spPr bwMode="auto">
          <a:xfrm>
            <a:off x="1435909" y="1552092"/>
            <a:ext cx="1445412" cy="398462"/>
          </a:xfrm>
          <a:prstGeom prst="rect">
            <a:avLst/>
          </a:prstGeom>
          <a:noFill/>
          <a:ln w="9525" algn="ctr">
            <a:noFill/>
            <a:miter lim="800000"/>
            <a:headEnd/>
            <a:tailEnd/>
          </a:ln>
          <a:effectLst/>
        </p:spPr>
        <p:txBody>
          <a:bodyPr lIns="0" tIns="0" rIns="0" bIns="0" anchor="b"/>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mj-lt"/>
                <a:ea typeface="+mn-ea"/>
                <a:cs typeface="+mn-cs"/>
              </a:rPr>
              <a:t>Peer worst</a:t>
            </a:r>
          </a:p>
        </p:txBody>
      </p:sp>
      <p:sp>
        <p:nvSpPr>
          <p:cNvPr id="22" name="Text Box 28">
            <a:extLst>
              <a:ext uri="{FF2B5EF4-FFF2-40B4-BE49-F238E27FC236}">
                <a16:creationId xmlns:a16="http://schemas.microsoft.com/office/drawing/2014/main" id="{2EF266D7-2CE5-4B28-97A3-81E33E58DE8F}"/>
              </a:ext>
            </a:extLst>
          </p:cNvPr>
          <p:cNvSpPr txBox="1">
            <a:spLocks noChangeArrowheads="1"/>
          </p:cNvSpPr>
          <p:nvPr/>
        </p:nvSpPr>
        <p:spPr bwMode="auto">
          <a:xfrm>
            <a:off x="5045519" y="1552092"/>
            <a:ext cx="1445413" cy="398462"/>
          </a:xfrm>
          <a:prstGeom prst="rect">
            <a:avLst/>
          </a:prstGeom>
          <a:noFill/>
          <a:ln w="9525" algn="ctr">
            <a:noFill/>
            <a:miter lim="800000"/>
            <a:headEnd/>
            <a:tailEnd/>
          </a:ln>
          <a:effectLst/>
        </p:spPr>
        <p:txBody>
          <a:bodyPr lIns="0" tIns="0" rIns="0" bIns="0" anchor="b"/>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mj-lt"/>
                <a:ea typeface="+mn-ea"/>
                <a:cs typeface="+mn-cs"/>
              </a:rPr>
              <a:t>Peer best</a:t>
            </a:r>
          </a:p>
        </p:txBody>
      </p:sp>
      <p:sp>
        <p:nvSpPr>
          <p:cNvPr id="57" name="Rectangle 74">
            <a:extLst>
              <a:ext uri="{FF2B5EF4-FFF2-40B4-BE49-F238E27FC236}">
                <a16:creationId xmlns:a16="http://schemas.microsoft.com/office/drawing/2014/main" id="{E2F5DB92-3D6C-4CB7-988D-CC3AB7C5DB05}"/>
              </a:ext>
            </a:extLst>
          </p:cNvPr>
          <p:cNvSpPr>
            <a:spLocks noChangeArrowheads="1"/>
          </p:cNvSpPr>
          <p:nvPr/>
        </p:nvSpPr>
        <p:spPr bwMode="auto">
          <a:xfrm>
            <a:off x="6401626" y="1552092"/>
            <a:ext cx="5453823" cy="398462"/>
          </a:xfrm>
          <a:prstGeom prst="rect">
            <a:avLst/>
          </a:prstGeom>
          <a:noFill/>
          <a:ln w="9525" algn="ctr">
            <a:noFill/>
            <a:miter lim="800000"/>
            <a:headEnd/>
            <a:tailEnd/>
          </a:ln>
          <a:effectLst/>
        </p:spPr>
        <p:txBody>
          <a:bodyPr lIns="0" tIns="0" rIns="0" bIns="0" anchor="b"/>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mj-lt"/>
                <a:ea typeface="+mn-ea"/>
                <a:cs typeface="+mn-cs"/>
              </a:rPr>
              <a:t>Moving the needle could mean to the customer…</a:t>
            </a:r>
          </a:p>
        </p:txBody>
      </p:sp>
      <p:sp>
        <p:nvSpPr>
          <p:cNvPr id="66" name="AutoShape 7">
            <a:extLst>
              <a:ext uri="{FF2B5EF4-FFF2-40B4-BE49-F238E27FC236}">
                <a16:creationId xmlns:a16="http://schemas.microsoft.com/office/drawing/2014/main" id="{4A47B11B-E159-4494-BC82-AB76A0859A79}"/>
              </a:ext>
              <a:ext uri="{C183D7F6-B498-43B3-948B-1728B52AA6E4}">
                <adec:decorative xmlns:adec="http://schemas.microsoft.com/office/drawing/2017/decorative" val="1"/>
              </a:ext>
            </a:extLst>
          </p:cNvPr>
          <p:cNvSpPr>
            <a:spLocks noChangeArrowheads="1"/>
          </p:cNvSpPr>
          <p:nvPr/>
        </p:nvSpPr>
        <p:spPr bwMode="auto">
          <a:xfrm>
            <a:off x="3681024" y="1596616"/>
            <a:ext cx="173796" cy="3884612"/>
          </a:xfrm>
          <a:prstGeom prst="upArrow">
            <a:avLst>
              <a:gd name="adj1" fmla="val 25963"/>
              <a:gd name="adj2" fmla="val 84640"/>
            </a:avLst>
          </a:prstGeom>
          <a:solidFill>
            <a:srgbClr val="A055F5"/>
          </a:solidFill>
          <a:ln w="12700">
            <a:no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grpSp>
        <p:nvGrpSpPr>
          <p:cNvPr id="4" name="Group 3" descr="Analysis">
            <a:extLst>
              <a:ext uri="{FF2B5EF4-FFF2-40B4-BE49-F238E27FC236}">
                <a16:creationId xmlns:a16="http://schemas.microsoft.com/office/drawing/2014/main" id="{3AC75DFE-1D30-4F17-A802-63F321FC5AD5}"/>
              </a:ext>
            </a:extLst>
          </p:cNvPr>
          <p:cNvGrpSpPr/>
          <p:nvPr/>
        </p:nvGrpSpPr>
        <p:grpSpPr>
          <a:xfrm>
            <a:off x="330283" y="1988340"/>
            <a:ext cx="11525167" cy="3481842"/>
            <a:chOff x="330283" y="1988340"/>
            <a:chExt cx="11525167" cy="3481842"/>
          </a:xfrm>
        </p:grpSpPr>
        <p:sp>
          <p:nvSpPr>
            <p:cNvPr id="5" name="Rectangle 8">
              <a:extLst>
                <a:ext uri="{FF2B5EF4-FFF2-40B4-BE49-F238E27FC236}">
                  <a16:creationId xmlns:a16="http://schemas.microsoft.com/office/drawing/2014/main" id="{F37DF474-1544-4F34-8383-73EE1BA977ED}"/>
                </a:ext>
              </a:extLst>
            </p:cNvPr>
            <p:cNvSpPr>
              <a:spLocks noChangeArrowheads="1"/>
            </p:cNvSpPr>
            <p:nvPr/>
          </p:nvSpPr>
          <p:spPr bwMode="auto">
            <a:xfrm>
              <a:off x="334963" y="4817265"/>
              <a:ext cx="1102070" cy="581025"/>
            </a:xfrm>
            <a:prstGeom prst="rect">
              <a:avLst/>
            </a:prstGeom>
            <a:noFill/>
            <a:ln w="38100">
              <a:solidFill>
                <a:srgbClr val="FFFFFF"/>
              </a:solidFill>
              <a:miter lim="800000"/>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mj-lt"/>
                  <a:ea typeface="+mn-ea"/>
                  <a:cs typeface="+mn-cs"/>
                </a:rPr>
                <a:t>Text</a:t>
              </a:r>
              <a:endParaRPr kumimoji="0" lang="en-US" sz="1200" b="1" i="0" u="none" strike="noStrike" kern="0" cap="none" spc="0" normalizeH="0" baseline="30000" noProof="0">
                <a:ln>
                  <a:noFill/>
                </a:ln>
                <a:solidFill>
                  <a:srgbClr val="000000"/>
                </a:solidFill>
                <a:effectLst/>
                <a:uLnTx/>
                <a:uFillTx/>
                <a:latin typeface="+mj-lt"/>
                <a:ea typeface="+mn-ea"/>
                <a:cs typeface="+mn-cs"/>
              </a:endParaRPr>
            </a:p>
          </p:txBody>
        </p:sp>
        <p:sp>
          <p:nvSpPr>
            <p:cNvPr id="6" name="Rectangle 9">
              <a:extLst>
                <a:ext uri="{FF2B5EF4-FFF2-40B4-BE49-F238E27FC236}">
                  <a16:creationId xmlns:a16="http://schemas.microsoft.com/office/drawing/2014/main" id="{062C2084-6927-42EC-B4B7-BB9DBDEC12A1}"/>
                </a:ext>
              </a:extLst>
            </p:cNvPr>
            <p:cNvSpPr>
              <a:spLocks noChangeArrowheads="1"/>
            </p:cNvSpPr>
            <p:nvPr/>
          </p:nvSpPr>
          <p:spPr bwMode="auto">
            <a:xfrm>
              <a:off x="334963" y="2694778"/>
              <a:ext cx="1102070" cy="581025"/>
            </a:xfrm>
            <a:prstGeom prst="rect">
              <a:avLst/>
            </a:prstGeom>
            <a:noFill/>
            <a:ln w="38100">
              <a:solidFill>
                <a:srgbClr val="FFFFFF"/>
              </a:solidFill>
              <a:miter lim="800000"/>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mj-lt"/>
                  <a:ea typeface="+mn-ea"/>
                  <a:cs typeface="+mn-cs"/>
                </a:rPr>
                <a:t>Text</a:t>
              </a:r>
            </a:p>
          </p:txBody>
        </p:sp>
        <p:sp>
          <p:nvSpPr>
            <p:cNvPr id="7" name="Rectangle 10">
              <a:extLst>
                <a:ext uri="{FF2B5EF4-FFF2-40B4-BE49-F238E27FC236}">
                  <a16:creationId xmlns:a16="http://schemas.microsoft.com/office/drawing/2014/main" id="{C87899F7-2443-408E-9E0F-517288430F83}"/>
                </a:ext>
              </a:extLst>
            </p:cNvPr>
            <p:cNvSpPr>
              <a:spLocks noChangeArrowheads="1"/>
            </p:cNvSpPr>
            <p:nvPr/>
          </p:nvSpPr>
          <p:spPr bwMode="auto">
            <a:xfrm>
              <a:off x="334963" y="4109240"/>
              <a:ext cx="1102070" cy="581025"/>
            </a:xfrm>
            <a:prstGeom prst="rect">
              <a:avLst/>
            </a:prstGeom>
            <a:noFill/>
            <a:ln w="38100">
              <a:solidFill>
                <a:srgbClr val="FFFFFF"/>
              </a:solidFill>
              <a:miter lim="800000"/>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mj-lt"/>
                  <a:ea typeface="+mn-ea"/>
                  <a:cs typeface="+mn-cs"/>
                </a:rPr>
                <a:t>Text</a:t>
              </a:r>
            </a:p>
          </p:txBody>
        </p:sp>
        <p:sp>
          <p:nvSpPr>
            <p:cNvPr id="8" name="Rectangle 11">
              <a:extLst>
                <a:ext uri="{FF2B5EF4-FFF2-40B4-BE49-F238E27FC236}">
                  <a16:creationId xmlns:a16="http://schemas.microsoft.com/office/drawing/2014/main" id="{D4D0BD3B-B088-4DCF-93F0-122F26FD8058}"/>
                </a:ext>
              </a:extLst>
            </p:cNvPr>
            <p:cNvSpPr>
              <a:spLocks noChangeArrowheads="1"/>
            </p:cNvSpPr>
            <p:nvPr/>
          </p:nvSpPr>
          <p:spPr bwMode="auto">
            <a:xfrm>
              <a:off x="334963" y="3402803"/>
              <a:ext cx="1102070" cy="581025"/>
            </a:xfrm>
            <a:prstGeom prst="rect">
              <a:avLst/>
            </a:prstGeom>
            <a:noFill/>
            <a:ln w="38100">
              <a:solidFill>
                <a:srgbClr val="FFFFFF"/>
              </a:solidFill>
              <a:miter lim="800000"/>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mj-lt"/>
                  <a:ea typeface="+mn-ea"/>
                  <a:cs typeface="+mn-cs"/>
                </a:rPr>
                <a:t>Text</a:t>
              </a:r>
            </a:p>
          </p:txBody>
        </p:sp>
        <p:sp>
          <p:nvSpPr>
            <p:cNvPr id="9" name="Rectangle 12">
              <a:extLst>
                <a:ext uri="{FF2B5EF4-FFF2-40B4-BE49-F238E27FC236}">
                  <a16:creationId xmlns:a16="http://schemas.microsoft.com/office/drawing/2014/main" id="{01D49D10-3F9C-4D0B-B6A2-C63A402138EE}"/>
                </a:ext>
              </a:extLst>
            </p:cNvPr>
            <p:cNvSpPr>
              <a:spLocks noChangeArrowheads="1"/>
            </p:cNvSpPr>
            <p:nvPr/>
          </p:nvSpPr>
          <p:spPr bwMode="auto">
            <a:xfrm>
              <a:off x="334963" y="1988340"/>
              <a:ext cx="1102070" cy="581025"/>
            </a:xfrm>
            <a:prstGeom prst="rect">
              <a:avLst/>
            </a:prstGeom>
            <a:noFill/>
            <a:ln w="38100">
              <a:solidFill>
                <a:srgbClr val="FFFFFF"/>
              </a:solidFill>
              <a:miter lim="800000"/>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Text</a:t>
              </a:r>
            </a:p>
          </p:txBody>
        </p:sp>
        <p:sp>
          <p:nvSpPr>
            <p:cNvPr id="10" name="Rectangle 15">
              <a:extLst>
                <a:ext uri="{FF2B5EF4-FFF2-40B4-BE49-F238E27FC236}">
                  <a16:creationId xmlns:a16="http://schemas.microsoft.com/office/drawing/2014/main" id="{C26A7762-913C-4890-8115-05F52D50548F}"/>
                </a:ext>
              </a:extLst>
            </p:cNvPr>
            <p:cNvSpPr>
              <a:spLocks noChangeArrowheads="1"/>
            </p:cNvSpPr>
            <p:nvPr/>
          </p:nvSpPr>
          <p:spPr bwMode="auto">
            <a:xfrm>
              <a:off x="6378636" y="1988340"/>
              <a:ext cx="2150491" cy="581025"/>
            </a:xfrm>
            <a:prstGeom prst="rect">
              <a:avLst/>
            </a:prstGeom>
            <a:noFill/>
            <a:ln w="12700">
              <a:noFill/>
              <a:miter lim="800000"/>
              <a:headEnd/>
              <a:tailEnd/>
            </a:ln>
            <a:effectLst/>
          </p:spPr>
          <p:txBody>
            <a:bodyPr lIns="0" tIns="0" rIns="0" bIns="0" anchor="ctr"/>
            <a:lstStyle/>
            <a:p>
              <a:pPr marL="196850" marR="0" lvl="1" indent="-195263" algn="l" defTabSz="914400" rtl="0" eaLnBrk="1" fontAlgn="auto" latinLnBrk="0" hangingPunct="1">
                <a:lnSpc>
                  <a:spcPct val="95000"/>
                </a:lnSpc>
                <a:spcBef>
                  <a:spcPts val="0"/>
                </a:spcBef>
                <a:spcAft>
                  <a:spcPct val="30000"/>
                </a:spcAft>
                <a:buClr>
                  <a:srgbClr val="F0AB00"/>
                </a:buClr>
                <a:buSzPct val="85000"/>
                <a:buFontTx/>
                <a:buNone/>
                <a:tabLst/>
                <a:defRPr/>
              </a:pPr>
              <a:r>
                <a:rPr kumimoji="0" lang="en-US" sz="1200" b="0" i="0" u="none" strike="noStrike" kern="0" cap="none" spc="0" normalizeH="0" baseline="0" noProof="0" dirty="0">
                  <a:ln>
                    <a:noFill/>
                  </a:ln>
                  <a:solidFill>
                    <a:srgbClr val="000000"/>
                  </a:solidFill>
                  <a:effectLst/>
                  <a:uLnTx/>
                  <a:uFillTx/>
                  <a:ea typeface="+mn-ea"/>
                  <a:cs typeface="+mn-cs"/>
                </a:rPr>
                <a:t>…	Text</a:t>
              </a:r>
            </a:p>
          </p:txBody>
        </p:sp>
        <p:sp>
          <p:nvSpPr>
            <p:cNvPr id="12" name="Rectangle 17">
              <a:extLst>
                <a:ext uri="{FF2B5EF4-FFF2-40B4-BE49-F238E27FC236}">
                  <a16:creationId xmlns:a16="http://schemas.microsoft.com/office/drawing/2014/main" id="{0475D7D5-6337-4C68-8D35-9EF772D66D13}"/>
                </a:ext>
              </a:extLst>
            </p:cNvPr>
            <p:cNvSpPr>
              <a:spLocks noChangeArrowheads="1"/>
            </p:cNvSpPr>
            <p:nvPr/>
          </p:nvSpPr>
          <p:spPr bwMode="auto">
            <a:xfrm>
              <a:off x="5045519" y="5023640"/>
              <a:ext cx="1154184" cy="168275"/>
            </a:xfrm>
            <a:prstGeom prst="rect">
              <a:avLst/>
            </a:prstGeom>
            <a:noFill/>
            <a:ln w="9525">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mn-ea"/>
                  <a:cs typeface="+mn-cs"/>
                </a:rPr>
                <a:t>Text</a:t>
              </a:r>
            </a:p>
          </p:txBody>
        </p:sp>
        <p:sp>
          <p:nvSpPr>
            <p:cNvPr id="13" name="Rectangle 18">
              <a:extLst>
                <a:ext uri="{FF2B5EF4-FFF2-40B4-BE49-F238E27FC236}">
                  <a16:creationId xmlns:a16="http://schemas.microsoft.com/office/drawing/2014/main" id="{8092C16E-1001-4F13-BBC5-B8DBB420051A}"/>
                </a:ext>
              </a:extLst>
            </p:cNvPr>
            <p:cNvSpPr>
              <a:spLocks noChangeArrowheads="1"/>
            </p:cNvSpPr>
            <p:nvPr/>
          </p:nvSpPr>
          <p:spPr bwMode="auto">
            <a:xfrm>
              <a:off x="1437033" y="3609178"/>
              <a:ext cx="1164913" cy="168275"/>
            </a:xfrm>
            <a:prstGeom prst="rect">
              <a:avLst/>
            </a:prstGeom>
            <a:noFill/>
            <a:ln w="9525">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mn-ea"/>
                  <a:cs typeface="+mn-cs"/>
                </a:rPr>
                <a:t>Text</a:t>
              </a:r>
            </a:p>
          </p:txBody>
        </p:sp>
        <p:sp>
          <p:nvSpPr>
            <p:cNvPr id="14" name="Rectangle 19">
              <a:extLst>
                <a:ext uri="{FF2B5EF4-FFF2-40B4-BE49-F238E27FC236}">
                  <a16:creationId xmlns:a16="http://schemas.microsoft.com/office/drawing/2014/main" id="{32A8A599-EAEC-452A-B2C6-C9323473E51E}"/>
                </a:ext>
              </a:extLst>
            </p:cNvPr>
            <p:cNvSpPr>
              <a:spLocks noChangeArrowheads="1"/>
            </p:cNvSpPr>
            <p:nvPr/>
          </p:nvSpPr>
          <p:spPr bwMode="auto">
            <a:xfrm>
              <a:off x="5045519" y="4315615"/>
              <a:ext cx="1154184" cy="168275"/>
            </a:xfrm>
            <a:prstGeom prst="rect">
              <a:avLst/>
            </a:prstGeom>
            <a:noFill/>
            <a:ln w="9525">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mn-ea"/>
                  <a:cs typeface="+mn-cs"/>
                </a:rPr>
                <a:t>Text</a:t>
              </a:r>
            </a:p>
          </p:txBody>
        </p:sp>
        <p:sp>
          <p:nvSpPr>
            <p:cNvPr id="15" name="Rectangle 20">
              <a:extLst>
                <a:ext uri="{FF2B5EF4-FFF2-40B4-BE49-F238E27FC236}">
                  <a16:creationId xmlns:a16="http://schemas.microsoft.com/office/drawing/2014/main" id="{2C313CBF-C0FF-4C88-9DC3-8B77C2FABBA1}"/>
                </a:ext>
              </a:extLst>
            </p:cNvPr>
            <p:cNvSpPr>
              <a:spLocks noChangeArrowheads="1"/>
            </p:cNvSpPr>
            <p:nvPr/>
          </p:nvSpPr>
          <p:spPr bwMode="auto">
            <a:xfrm>
              <a:off x="1437033" y="2901153"/>
              <a:ext cx="1164913" cy="168275"/>
            </a:xfrm>
            <a:prstGeom prst="rect">
              <a:avLst/>
            </a:prstGeom>
            <a:noFill/>
            <a:ln w="9525">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mn-ea"/>
                  <a:cs typeface="+mn-cs"/>
                </a:rPr>
                <a:t>Text</a:t>
              </a:r>
            </a:p>
          </p:txBody>
        </p:sp>
        <p:sp>
          <p:nvSpPr>
            <p:cNvPr id="16" name="Rectangle 21">
              <a:extLst>
                <a:ext uri="{FF2B5EF4-FFF2-40B4-BE49-F238E27FC236}">
                  <a16:creationId xmlns:a16="http://schemas.microsoft.com/office/drawing/2014/main" id="{223F3631-EC54-4375-9120-A520FE5F330A}"/>
                </a:ext>
              </a:extLst>
            </p:cNvPr>
            <p:cNvSpPr>
              <a:spLocks noChangeArrowheads="1"/>
            </p:cNvSpPr>
            <p:nvPr/>
          </p:nvSpPr>
          <p:spPr bwMode="auto">
            <a:xfrm>
              <a:off x="5045519" y="3609178"/>
              <a:ext cx="1154184" cy="168275"/>
            </a:xfrm>
            <a:prstGeom prst="rect">
              <a:avLst/>
            </a:prstGeom>
            <a:noFill/>
            <a:ln w="9525">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mn-ea"/>
                  <a:cs typeface="+mn-cs"/>
                </a:rPr>
                <a:t>Text</a:t>
              </a:r>
            </a:p>
          </p:txBody>
        </p:sp>
        <p:sp>
          <p:nvSpPr>
            <p:cNvPr id="17" name="Rectangle 22">
              <a:extLst>
                <a:ext uri="{FF2B5EF4-FFF2-40B4-BE49-F238E27FC236}">
                  <a16:creationId xmlns:a16="http://schemas.microsoft.com/office/drawing/2014/main" id="{C06096A2-9560-4B3D-92DC-DFEAB1071FFE}"/>
                </a:ext>
              </a:extLst>
            </p:cNvPr>
            <p:cNvSpPr>
              <a:spLocks noChangeArrowheads="1"/>
            </p:cNvSpPr>
            <p:nvPr/>
          </p:nvSpPr>
          <p:spPr bwMode="auto">
            <a:xfrm>
              <a:off x="5045519" y="2867815"/>
              <a:ext cx="1154184" cy="236538"/>
            </a:xfrm>
            <a:prstGeom prst="rect">
              <a:avLst/>
            </a:prstGeom>
            <a:noFill/>
            <a:ln w="9525">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mn-ea"/>
                  <a:cs typeface="+mn-cs"/>
                </a:rPr>
                <a:t>Text</a:t>
              </a:r>
            </a:p>
          </p:txBody>
        </p:sp>
        <p:sp>
          <p:nvSpPr>
            <p:cNvPr id="18" name="Rectangle 23">
              <a:extLst>
                <a:ext uri="{FF2B5EF4-FFF2-40B4-BE49-F238E27FC236}">
                  <a16:creationId xmlns:a16="http://schemas.microsoft.com/office/drawing/2014/main" id="{084E42E7-E74D-4A24-A383-35D7B4EFA2C8}"/>
                </a:ext>
              </a:extLst>
            </p:cNvPr>
            <p:cNvSpPr>
              <a:spLocks noChangeArrowheads="1"/>
            </p:cNvSpPr>
            <p:nvPr/>
          </p:nvSpPr>
          <p:spPr bwMode="auto">
            <a:xfrm>
              <a:off x="1437033" y="4315615"/>
              <a:ext cx="1164913" cy="168275"/>
            </a:xfrm>
            <a:prstGeom prst="rect">
              <a:avLst/>
            </a:prstGeom>
            <a:noFill/>
            <a:ln w="9525">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mn-ea"/>
                  <a:cs typeface="+mn-cs"/>
                </a:rPr>
                <a:t>Text</a:t>
              </a:r>
            </a:p>
          </p:txBody>
        </p:sp>
        <p:sp>
          <p:nvSpPr>
            <p:cNvPr id="19" name="Rectangle 24">
              <a:extLst>
                <a:ext uri="{FF2B5EF4-FFF2-40B4-BE49-F238E27FC236}">
                  <a16:creationId xmlns:a16="http://schemas.microsoft.com/office/drawing/2014/main" id="{D2D288D2-4B5E-43B7-954C-70B285172EA4}"/>
                </a:ext>
              </a:extLst>
            </p:cNvPr>
            <p:cNvSpPr>
              <a:spLocks noChangeArrowheads="1"/>
            </p:cNvSpPr>
            <p:nvPr/>
          </p:nvSpPr>
          <p:spPr bwMode="auto">
            <a:xfrm>
              <a:off x="1437033" y="2194715"/>
              <a:ext cx="1164913" cy="168275"/>
            </a:xfrm>
            <a:prstGeom prst="rect">
              <a:avLst/>
            </a:prstGeom>
            <a:noFill/>
            <a:ln w="9525">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mn-ea"/>
                  <a:cs typeface="+mn-cs"/>
                </a:rPr>
                <a:t>Text</a:t>
              </a:r>
            </a:p>
          </p:txBody>
        </p:sp>
        <p:sp>
          <p:nvSpPr>
            <p:cNvPr id="20" name="Rectangle 25">
              <a:extLst>
                <a:ext uri="{FF2B5EF4-FFF2-40B4-BE49-F238E27FC236}">
                  <a16:creationId xmlns:a16="http://schemas.microsoft.com/office/drawing/2014/main" id="{F3F27AC5-9B47-49F5-AAEA-E3F387B9F941}"/>
                </a:ext>
              </a:extLst>
            </p:cNvPr>
            <p:cNvSpPr>
              <a:spLocks noChangeArrowheads="1"/>
            </p:cNvSpPr>
            <p:nvPr/>
          </p:nvSpPr>
          <p:spPr bwMode="auto">
            <a:xfrm>
              <a:off x="5045519" y="2194715"/>
              <a:ext cx="1154184" cy="168275"/>
            </a:xfrm>
            <a:prstGeom prst="rect">
              <a:avLst/>
            </a:prstGeom>
            <a:noFill/>
            <a:ln w="9525">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mn-ea"/>
                  <a:cs typeface="+mn-cs"/>
                </a:rPr>
                <a:t>Text</a:t>
              </a:r>
            </a:p>
          </p:txBody>
        </p:sp>
        <p:sp>
          <p:nvSpPr>
            <p:cNvPr id="21" name="Rectangle 26">
              <a:extLst>
                <a:ext uri="{FF2B5EF4-FFF2-40B4-BE49-F238E27FC236}">
                  <a16:creationId xmlns:a16="http://schemas.microsoft.com/office/drawing/2014/main" id="{D9C8A79A-BF3A-4A93-A300-34927B710259}"/>
                </a:ext>
              </a:extLst>
            </p:cNvPr>
            <p:cNvSpPr>
              <a:spLocks noChangeArrowheads="1"/>
            </p:cNvSpPr>
            <p:nvPr/>
          </p:nvSpPr>
          <p:spPr bwMode="auto">
            <a:xfrm>
              <a:off x="1437033" y="5023640"/>
              <a:ext cx="1164913" cy="168275"/>
            </a:xfrm>
            <a:prstGeom prst="rect">
              <a:avLst/>
            </a:prstGeom>
            <a:noFill/>
            <a:ln w="9525">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mn-ea"/>
                  <a:cs typeface="+mn-cs"/>
                </a:rPr>
                <a:t>Text</a:t>
              </a:r>
              <a:endParaRPr kumimoji="0" lang="en-US" sz="1200" b="0" i="0" u="none" strike="noStrike" kern="0" cap="none" spc="0" normalizeH="0" baseline="0" noProof="0" dirty="0">
                <a:ln>
                  <a:noFill/>
                </a:ln>
                <a:solidFill>
                  <a:srgbClr val="000000"/>
                </a:solidFill>
                <a:effectLst/>
                <a:uLnTx/>
                <a:uFillTx/>
                <a:ea typeface="+mn-ea"/>
                <a:cs typeface="+mn-cs"/>
              </a:endParaRPr>
            </a:p>
          </p:txBody>
        </p:sp>
        <p:sp>
          <p:nvSpPr>
            <p:cNvPr id="23" name="Rectangle 30">
              <a:extLst>
                <a:ext uri="{FF2B5EF4-FFF2-40B4-BE49-F238E27FC236}">
                  <a16:creationId xmlns:a16="http://schemas.microsoft.com/office/drawing/2014/main" id="{B0D0F267-B61D-4F0E-BD28-BD1440D2D15C}"/>
                </a:ext>
              </a:extLst>
            </p:cNvPr>
            <p:cNvSpPr>
              <a:spLocks noChangeArrowheads="1"/>
            </p:cNvSpPr>
            <p:nvPr/>
          </p:nvSpPr>
          <p:spPr bwMode="auto">
            <a:xfrm>
              <a:off x="6378636" y="2694778"/>
              <a:ext cx="2150491" cy="581025"/>
            </a:xfrm>
            <a:prstGeom prst="rect">
              <a:avLst/>
            </a:prstGeom>
            <a:noFill/>
            <a:ln w="12700">
              <a:noFill/>
              <a:miter lim="800000"/>
              <a:headEnd/>
              <a:tailEnd/>
            </a:ln>
            <a:effectLst/>
          </p:spPr>
          <p:txBody>
            <a:bodyPr lIns="0" tIns="0" rIns="0" bIns="0" anchor="ctr"/>
            <a:lstStyle/>
            <a:p>
              <a:pPr marL="196850" marR="0" lvl="1" indent="-195263" algn="l" defTabSz="914400" rtl="0" eaLnBrk="1" fontAlgn="auto" latinLnBrk="0" hangingPunct="1">
                <a:lnSpc>
                  <a:spcPct val="95000"/>
                </a:lnSpc>
                <a:spcBef>
                  <a:spcPts val="0"/>
                </a:spcBef>
                <a:spcAft>
                  <a:spcPct val="30000"/>
                </a:spcAft>
                <a:buClr>
                  <a:srgbClr val="F0AB00"/>
                </a:buClr>
                <a:buSzPct val="85000"/>
                <a:buFontTx/>
                <a:buNone/>
                <a:tabLst/>
                <a:defRPr/>
              </a:pPr>
              <a:r>
                <a:rPr kumimoji="0" lang="en-US" sz="1200" b="0" i="0" u="none" strike="noStrike" kern="0" cap="none" spc="0" normalizeH="0" baseline="0" noProof="0">
                  <a:ln>
                    <a:noFill/>
                  </a:ln>
                  <a:solidFill>
                    <a:srgbClr val="000000"/>
                  </a:solidFill>
                  <a:effectLst/>
                  <a:uLnTx/>
                  <a:uFillTx/>
                  <a:ea typeface="+mn-ea"/>
                  <a:cs typeface="+mn-cs"/>
                </a:rPr>
                <a:t>…	Text</a:t>
              </a:r>
            </a:p>
          </p:txBody>
        </p:sp>
        <p:sp>
          <p:nvSpPr>
            <p:cNvPr id="24" name="Rectangle 31">
              <a:extLst>
                <a:ext uri="{FF2B5EF4-FFF2-40B4-BE49-F238E27FC236}">
                  <a16:creationId xmlns:a16="http://schemas.microsoft.com/office/drawing/2014/main" id="{1C52B60F-49ED-4B4A-9878-FEAC33FAD5BA}"/>
                </a:ext>
              </a:extLst>
            </p:cNvPr>
            <p:cNvSpPr>
              <a:spLocks noChangeArrowheads="1"/>
            </p:cNvSpPr>
            <p:nvPr/>
          </p:nvSpPr>
          <p:spPr bwMode="auto">
            <a:xfrm>
              <a:off x="6378636" y="4109240"/>
              <a:ext cx="2150491" cy="581025"/>
            </a:xfrm>
            <a:prstGeom prst="rect">
              <a:avLst/>
            </a:prstGeom>
            <a:noFill/>
            <a:ln w="12700">
              <a:noFill/>
              <a:miter lim="800000"/>
              <a:headEnd/>
              <a:tailEnd/>
            </a:ln>
            <a:effectLst/>
          </p:spPr>
          <p:txBody>
            <a:bodyPr lIns="0" tIns="0" rIns="0" bIns="0" anchor="ctr"/>
            <a:lstStyle/>
            <a:p>
              <a:pPr marL="196850" marR="0" lvl="1" indent="-195263" algn="l" defTabSz="914400" rtl="0" eaLnBrk="1" fontAlgn="auto" latinLnBrk="0" hangingPunct="1">
                <a:lnSpc>
                  <a:spcPct val="95000"/>
                </a:lnSpc>
                <a:spcBef>
                  <a:spcPts val="0"/>
                </a:spcBef>
                <a:spcAft>
                  <a:spcPct val="30000"/>
                </a:spcAft>
                <a:buClr>
                  <a:srgbClr val="F0AB00"/>
                </a:buClr>
                <a:buSzPct val="85000"/>
                <a:buFontTx/>
                <a:buNone/>
                <a:tabLst/>
                <a:defRPr/>
              </a:pPr>
              <a:r>
                <a:rPr kumimoji="0" lang="en-US" sz="1200" b="0" i="0" u="none" strike="noStrike" kern="0" cap="none" spc="0" normalizeH="0" baseline="0" noProof="0">
                  <a:ln>
                    <a:noFill/>
                  </a:ln>
                  <a:solidFill>
                    <a:srgbClr val="000000"/>
                  </a:solidFill>
                  <a:effectLst/>
                  <a:uLnTx/>
                  <a:uFillTx/>
                  <a:ea typeface="+mn-ea"/>
                  <a:cs typeface="+mn-cs"/>
                </a:rPr>
                <a:t>…	Text</a:t>
              </a:r>
            </a:p>
          </p:txBody>
        </p:sp>
        <p:sp>
          <p:nvSpPr>
            <p:cNvPr id="25" name="Rectangle 32">
              <a:extLst>
                <a:ext uri="{FF2B5EF4-FFF2-40B4-BE49-F238E27FC236}">
                  <a16:creationId xmlns:a16="http://schemas.microsoft.com/office/drawing/2014/main" id="{89DCA40B-6F8B-459E-AEA9-71A310C90EC6}"/>
                </a:ext>
              </a:extLst>
            </p:cNvPr>
            <p:cNvSpPr>
              <a:spLocks noChangeArrowheads="1"/>
            </p:cNvSpPr>
            <p:nvPr/>
          </p:nvSpPr>
          <p:spPr bwMode="auto">
            <a:xfrm>
              <a:off x="6378636" y="4817265"/>
              <a:ext cx="2150491" cy="581025"/>
            </a:xfrm>
            <a:prstGeom prst="rect">
              <a:avLst/>
            </a:prstGeom>
            <a:noFill/>
            <a:ln w="12700">
              <a:noFill/>
              <a:miter lim="800000"/>
              <a:headEnd/>
              <a:tailEnd/>
            </a:ln>
            <a:effectLst/>
          </p:spPr>
          <p:txBody>
            <a:bodyPr lIns="0" tIns="0" rIns="0" bIns="0" anchor="ctr"/>
            <a:lstStyle/>
            <a:p>
              <a:pPr marL="196850" marR="0" lvl="1" indent="-195263" algn="l" defTabSz="914400" rtl="0" eaLnBrk="1" fontAlgn="auto" latinLnBrk="0" hangingPunct="1">
                <a:lnSpc>
                  <a:spcPct val="95000"/>
                </a:lnSpc>
                <a:spcBef>
                  <a:spcPts val="0"/>
                </a:spcBef>
                <a:spcAft>
                  <a:spcPct val="30000"/>
                </a:spcAft>
                <a:buClr>
                  <a:srgbClr val="F0AB00"/>
                </a:buClr>
                <a:buSzPct val="85000"/>
                <a:buFontTx/>
                <a:buNone/>
                <a:tabLst/>
                <a:defRPr/>
              </a:pPr>
              <a:r>
                <a:rPr kumimoji="0" lang="en-US" sz="1200" b="0" i="0" u="none" strike="noStrike" kern="0" cap="none" spc="0" normalizeH="0" baseline="0" noProof="0">
                  <a:ln>
                    <a:noFill/>
                  </a:ln>
                  <a:solidFill>
                    <a:srgbClr val="000000"/>
                  </a:solidFill>
                  <a:effectLst/>
                  <a:uLnTx/>
                  <a:uFillTx/>
                  <a:ea typeface="+mn-ea"/>
                  <a:cs typeface="+mn-cs"/>
                </a:rPr>
                <a:t>…	Text</a:t>
              </a:r>
            </a:p>
          </p:txBody>
        </p:sp>
        <p:sp>
          <p:nvSpPr>
            <p:cNvPr id="26" name="Rectangle 34">
              <a:extLst>
                <a:ext uri="{FF2B5EF4-FFF2-40B4-BE49-F238E27FC236}">
                  <a16:creationId xmlns:a16="http://schemas.microsoft.com/office/drawing/2014/main" id="{8AD6F418-C586-4303-9918-54709D6D1BF8}"/>
                </a:ext>
              </a:extLst>
            </p:cNvPr>
            <p:cNvSpPr>
              <a:spLocks noChangeArrowheads="1"/>
            </p:cNvSpPr>
            <p:nvPr/>
          </p:nvSpPr>
          <p:spPr bwMode="auto">
            <a:xfrm>
              <a:off x="2557783" y="2216940"/>
              <a:ext cx="328015" cy="122238"/>
            </a:xfrm>
            <a:prstGeom prst="rect">
              <a:avLst/>
            </a:prstGeom>
            <a:noFill/>
            <a:ln w="12700" algn="ctr">
              <a:noFill/>
              <a:miter lim="800000"/>
              <a:headEnd/>
              <a:tailEnd/>
            </a:ln>
            <a:effec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
                  <a:srgbClr val="96968C"/>
                </a:buClr>
                <a:buSzTx/>
                <a:buFontTx/>
                <a:buNone/>
                <a:tabLst/>
                <a:defRPr/>
              </a:pPr>
              <a:r>
                <a:rPr kumimoji="0" lang="en-US" sz="1200" b="0" i="0" u="none" strike="noStrike" kern="0" cap="none" spc="0" normalizeH="0" baseline="0" noProof="0">
                  <a:ln>
                    <a:noFill/>
                  </a:ln>
                  <a:solidFill>
                    <a:srgbClr val="000000"/>
                  </a:solidFill>
                  <a:effectLst/>
                  <a:uLnTx/>
                  <a:uFillTx/>
                  <a:ea typeface="+mn-ea"/>
                  <a:cs typeface="+mn-cs"/>
                </a:rPr>
                <a:t>x</a:t>
              </a:r>
            </a:p>
          </p:txBody>
        </p:sp>
        <p:sp>
          <p:nvSpPr>
            <p:cNvPr id="27" name="Rectangle 35">
              <a:extLst>
                <a:ext uri="{FF2B5EF4-FFF2-40B4-BE49-F238E27FC236}">
                  <a16:creationId xmlns:a16="http://schemas.microsoft.com/office/drawing/2014/main" id="{7900787A-7D96-421A-9401-CCB96E17EC2E}"/>
                </a:ext>
              </a:extLst>
            </p:cNvPr>
            <p:cNvSpPr>
              <a:spLocks noChangeArrowheads="1"/>
            </p:cNvSpPr>
            <p:nvPr/>
          </p:nvSpPr>
          <p:spPr bwMode="auto">
            <a:xfrm>
              <a:off x="4754027" y="2216940"/>
              <a:ext cx="328015" cy="122238"/>
            </a:xfrm>
            <a:prstGeom prst="rect">
              <a:avLst/>
            </a:prstGeom>
            <a:noFill/>
            <a:ln w="12700" algn="ctr">
              <a:no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Tx/>
                <a:buFontTx/>
                <a:buNone/>
                <a:tabLst/>
                <a:defRPr/>
              </a:pPr>
              <a:r>
                <a:rPr kumimoji="0" lang="en-US" sz="1200" b="0" i="0" u="none" strike="noStrike" kern="0" cap="none" spc="0" normalizeH="0" baseline="0" noProof="0" dirty="0">
                  <a:ln>
                    <a:noFill/>
                  </a:ln>
                  <a:solidFill>
                    <a:srgbClr val="000000"/>
                  </a:solidFill>
                  <a:effectLst/>
                  <a:uLnTx/>
                  <a:uFillTx/>
                  <a:ea typeface="+mn-ea"/>
                  <a:cs typeface="+mn-cs"/>
                </a:rPr>
                <a:t>x</a:t>
              </a:r>
            </a:p>
          </p:txBody>
        </p:sp>
        <p:sp>
          <p:nvSpPr>
            <p:cNvPr id="28" name="Rectangle 37">
              <a:extLst>
                <a:ext uri="{FF2B5EF4-FFF2-40B4-BE49-F238E27FC236}">
                  <a16:creationId xmlns:a16="http://schemas.microsoft.com/office/drawing/2014/main" id="{628B9BCE-1FD6-4D24-8FEB-E8747FD0F4D2}"/>
                </a:ext>
              </a:extLst>
            </p:cNvPr>
            <p:cNvSpPr>
              <a:spLocks noChangeArrowheads="1"/>
            </p:cNvSpPr>
            <p:nvPr/>
          </p:nvSpPr>
          <p:spPr bwMode="auto">
            <a:xfrm>
              <a:off x="3043087" y="2260211"/>
              <a:ext cx="1572992" cy="35697"/>
            </a:xfrm>
            <a:prstGeom prst="rect">
              <a:avLst/>
            </a:prstGeom>
            <a:solidFill>
              <a:srgbClr val="96968C"/>
            </a:solidFill>
            <a:ln w="12700" algn="ctr">
              <a:no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sp>
          <p:nvSpPr>
            <p:cNvPr id="29" name="Oval 38">
              <a:extLst>
                <a:ext uri="{FF2B5EF4-FFF2-40B4-BE49-F238E27FC236}">
                  <a16:creationId xmlns:a16="http://schemas.microsoft.com/office/drawing/2014/main" id="{BD61651B-1EA5-4CCA-8EF5-88051D26AF46}"/>
                </a:ext>
              </a:extLst>
            </p:cNvPr>
            <p:cNvSpPr>
              <a:spLocks noChangeArrowheads="1"/>
            </p:cNvSpPr>
            <p:nvPr/>
          </p:nvSpPr>
          <p:spPr bwMode="auto">
            <a:xfrm>
              <a:off x="2931494" y="2162965"/>
              <a:ext cx="222000" cy="230188"/>
            </a:xfrm>
            <a:prstGeom prst="ellipse">
              <a:avLst/>
            </a:prstGeom>
            <a:solidFill>
              <a:schemeClr val="accent5"/>
            </a:solidFill>
            <a:ln w="1905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ea typeface="+mn-ea"/>
                <a:cs typeface="+mn-cs"/>
              </a:endParaRPr>
            </a:p>
          </p:txBody>
        </p:sp>
        <p:sp>
          <p:nvSpPr>
            <p:cNvPr id="30" name="Oval 39">
              <a:extLst>
                <a:ext uri="{FF2B5EF4-FFF2-40B4-BE49-F238E27FC236}">
                  <a16:creationId xmlns:a16="http://schemas.microsoft.com/office/drawing/2014/main" id="{C9982DAB-CB8A-4F68-8113-04CFD8160429}"/>
                </a:ext>
              </a:extLst>
            </p:cNvPr>
            <p:cNvSpPr>
              <a:spLocks noChangeArrowheads="1"/>
            </p:cNvSpPr>
            <p:nvPr/>
          </p:nvSpPr>
          <p:spPr bwMode="auto">
            <a:xfrm>
              <a:off x="4489053" y="2162965"/>
              <a:ext cx="222000" cy="230188"/>
            </a:xfrm>
            <a:prstGeom prst="ellipse">
              <a:avLst/>
            </a:prstGeom>
            <a:solidFill>
              <a:schemeClr val="accent3"/>
            </a:solidFill>
            <a:ln w="1905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sp>
          <p:nvSpPr>
            <p:cNvPr id="31" name="AutoShape 40">
              <a:extLst>
                <a:ext uri="{FF2B5EF4-FFF2-40B4-BE49-F238E27FC236}">
                  <a16:creationId xmlns:a16="http://schemas.microsoft.com/office/drawing/2014/main" id="{E66DFD90-E86A-44B6-9244-74A6FE06E438}"/>
                </a:ext>
              </a:extLst>
            </p:cNvPr>
            <p:cNvSpPr>
              <a:spLocks noChangeArrowheads="1"/>
            </p:cNvSpPr>
            <p:nvPr/>
          </p:nvSpPr>
          <p:spPr bwMode="auto">
            <a:xfrm>
              <a:off x="4150055" y="2182536"/>
              <a:ext cx="171671" cy="152400"/>
            </a:xfrm>
            <a:prstGeom prst="triangle">
              <a:avLst>
                <a:gd name="adj" fmla="val 50000"/>
              </a:avLst>
            </a:prstGeom>
            <a:solidFill>
              <a:srgbClr val="A100FF"/>
            </a:solidFill>
            <a:ln w="12700" algn="ctr">
              <a:solidFill>
                <a:srgbClr val="FFFFFF"/>
              </a:solidFill>
              <a:miter lim="800000"/>
              <a:headEnd/>
              <a:tailEnd/>
            </a:ln>
            <a:effectLst/>
          </p:spPr>
          <p:txBody>
            <a:bodyPr wrap="none" lIns="0" tIns="0" rIns="0" bIns="0"/>
            <a:lstStyle/>
            <a:p>
              <a:pPr marL="0" marR="0" lvl="0" indent="0" algn="l" defTabSz="914400" rtl="0" eaLnBrk="1" fontAlgn="auto" latinLnBrk="0" hangingPunct="1">
                <a:lnSpc>
                  <a:spcPct val="100000"/>
                </a:lnSpc>
                <a:spcBef>
                  <a:spcPts val="0"/>
                </a:spcBef>
                <a:spcAft>
                  <a:spcPts val="0"/>
                </a:spcAft>
                <a:buClrTx/>
                <a:buSzPct val="75000"/>
                <a:buFontTx/>
                <a:buNone/>
                <a:tabLst/>
                <a:defRPr/>
              </a:pPr>
              <a:r>
                <a:rPr kumimoji="0" lang="en-US" sz="1200" b="0" i="0" u="none" strike="noStrike" kern="0" cap="none" spc="0" normalizeH="0" baseline="0" noProof="0" dirty="0">
                  <a:ln>
                    <a:noFill/>
                  </a:ln>
                  <a:solidFill>
                    <a:srgbClr val="A100FF"/>
                  </a:solidFill>
                  <a:effectLst/>
                  <a:uLnTx/>
                  <a:uFillTx/>
                  <a:latin typeface="Arial"/>
                  <a:ea typeface="+mn-ea"/>
                  <a:cs typeface="+mn-cs"/>
                </a:rPr>
                <a:t>x</a:t>
              </a:r>
            </a:p>
          </p:txBody>
        </p:sp>
        <p:sp>
          <p:nvSpPr>
            <p:cNvPr id="32" name="Rectangle 42">
              <a:extLst>
                <a:ext uri="{FF2B5EF4-FFF2-40B4-BE49-F238E27FC236}">
                  <a16:creationId xmlns:a16="http://schemas.microsoft.com/office/drawing/2014/main" id="{35F1001E-BD7F-4943-AC1A-FD7A8479F5EC}"/>
                </a:ext>
              </a:extLst>
            </p:cNvPr>
            <p:cNvSpPr>
              <a:spLocks noChangeArrowheads="1"/>
            </p:cNvSpPr>
            <p:nvPr/>
          </p:nvSpPr>
          <p:spPr bwMode="auto">
            <a:xfrm>
              <a:off x="2556250" y="2923378"/>
              <a:ext cx="328015" cy="122237"/>
            </a:xfrm>
            <a:prstGeom prst="rect">
              <a:avLst/>
            </a:prstGeom>
            <a:noFill/>
            <a:ln w="12700" algn="ctr">
              <a:noFill/>
              <a:miter lim="800000"/>
              <a:headEnd/>
              <a:tailEnd/>
            </a:ln>
            <a:effec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
                  <a:srgbClr val="96968C"/>
                </a:buClr>
                <a:buSzTx/>
                <a:buFontTx/>
                <a:buNone/>
                <a:tabLst/>
                <a:defRPr/>
              </a:pPr>
              <a:r>
                <a:rPr kumimoji="0" lang="en-US" sz="1200" b="0" i="0" u="none" strike="noStrike" kern="0" cap="none" spc="0" normalizeH="0" baseline="0" noProof="0" dirty="0">
                  <a:ln>
                    <a:noFill/>
                  </a:ln>
                  <a:solidFill>
                    <a:srgbClr val="000000"/>
                  </a:solidFill>
                  <a:effectLst/>
                  <a:uLnTx/>
                  <a:uFillTx/>
                  <a:ea typeface="+mn-ea"/>
                  <a:cs typeface="+mn-cs"/>
                </a:rPr>
                <a:t>x</a:t>
              </a:r>
            </a:p>
          </p:txBody>
        </p:sp>
        <p:sp>
          <p:nvSpPr>
            <p:cNvPr id="33" name="Rectangle 43">
              <a:extLst>
                <a:ext uri="{FF2B5EF4-FFF2-40B4-BE49-F238E27FC236}">
                  <a16:creationId xmlns:a16="http://schemas.microsoft.com/office/drawing/2014/main" id="{B2598AB3-28B7-4AE8-A0B4-2031F90BA694}"/>
                </a:ext>
              </a:extLst>
            </p:cNvPr>
            <p:cNvSpPr>
              <a:spLocks noChangeArrowheads="1"/>
            </p:cNvSpPr>
            <p:nvPr/>
          </p:nvSpPr>
          <p:spPr bwMode="auto">
            <a:xfrm>
              <a:off x="4752493" y="2923378"/>
              <a:ext cx="328015" cy="122237"/>
            </a:xfrm>
            <a:prstGeom prst="rect">
              <a:avLst/>
            </a:prstGeom>
            <a:noFill/>
            <a:ln w="12700" algn="ctr">
              <a:no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Tx/>
                <a:buFontTx/>
                <a:buNone/>
                <a:tabLst/>
                <a:defRPr/>
              </a:pPr>
              <a:r>
                <a:rPr kumimoji="0" lang="en-US" sz="1200" b="0" i="0" u="none" strike="noStrike" kern="0" cap="none" spc="0" normalizeH="0" baseline="0" noProof="0">
                  <a:ln>
                    <a:noFill/>
                  </a:ln>
                  <a:solidFill>
                    <a:srgbClr val="000000"/>
                  </a:solidFill>
                  <a:effectLst/>
                  <a:uLnTx/>
                  <a:uFillTx/>
                  <a:ea typeface="+mn-ea"/>
                  <a:cs typeface="+mn-cs"/>
                </a:rPr>
                <a:t>x</a:t>
              </a:r>
            </a:p>
          </p:txBody>
        </p:sp>
        <p:sp>
          <p:nvSpPr>
            <p:cNvPr id="34" name="Rectangle 45">
              <a:extLst>
                <a:ext uri="{FF2B5EF4-FFF2-40B4-BE49-F238E27FC236}">
                  <a16:creationId xmlns:a16="http://schemas.microsoft.com/office/drawing/2014/main" id="{D665B93C-E2CB-44B5-8B31-51CE2BE26983}"/>
                </a:ext>
              </a:extLst>
            </p:cNvPr>
            <p:cNvSpPr>
              <a:spLocks noChangeArrowheads="1"/>
            </p:cNvSpPr>
            <p:nvPr/>
          </p:nvSpPr>
          <p:spPr bwMode="auto">
            <a:xfrm>
              <a:off x="3041554" y="2966648"/>
              <a:ext cx="1572991" cy="35697"/>
            </a:xfrm>
            <a:prstGeom prst="rect">
              <a:avLst/>
            </a:prstGeom>
            <a:solidFill>
              <a:srgbClr val="96968C"/>
            </a:solidFill>
            <a:ln w="12700" algn="ctr">
              <a:no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sp>
          <p:nvSpPr>
            <p:cNvPr id="35" name="Oval 46">
              <a:extLst>
                <a:ext uri="{FF2B5EF4-FFF2-40B4-BE49-F238E27FC236}">
                  <a16:creationId xmlns:a16="http://schemas.microsoft.com/office/drawing/2014/main" id="{40A0EB1A-C8C8-4897-BBE2-774E7A35DFA4}"/>
                </a:ext>
              </a:extLst>
            </p:cNvPr>
            <p:cNvSpPr>
              <a:spLocks noChangeArrowheads="1"/>
            </p:cNvSpPr>
            <p:nvPr/>
          </p:nvSpPr>
          <p:spPr bwMode="auto">
            <a:xfrm>
              <a:off x="2929961" y="2869403"/>
              <a:ext cx="222000" cy="230187"/>
            </a:xfrm>
            <a:prstGeom prst="ellipse">
              <a:avLst/>
            </a:prstGeom>
            <a:solidFill>
              <a:schemeClr val="accent5"/>
            </a:solidFill>
            <a:ln w="1905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dirty="0">
                <a:ln>
                  <a:noFill/>
                </a:ln>
                <a:solidFill>
                  <a:srgbClr val="000000"/>
                </a:solidFill>
                <a:effectLst/>
                <a:uLnTx/>
                <a:uFillTx/>
                <a:ea typeface="+mn-ea"/>
                <a:cs typeface="+mn-cs"/>
              </a:endParaRPr>
            </a:p>
          </p:txBody>
        </p:sp>
        <p:sp>
          <p:nvSpPr>
            <p:cNvPr id="36" name="Oval 47">
              <a:extLst>
                <a:ext uri="{FF2B5EF4-FFF2-40B4-BE49-F238E27FC236}">
                  <a16:creationId xmlns:a16="http://schemas.microsoft.com/office/drawing/2014/main" id="{0D7320F7-3D54-4C05-8B32-ABB2DFE1908E}"/>
                </a:ext>
              </a:extLst>
            </p:cNvPr>
            <p:cNvSpPr>
              <a:spLocks noChangeArrowheads="1"/>
            </p:cNvSpPr>
            <p:nvPr/>
          </p:nvSpPr>
          <p:spPr bwMode="auto">
            <a:xfrm>
              <a:off x="4487519" y="2869403"/>
              <a:ext cx="222000" cy="230187"/>
            </a:xfrm>
            <a:prstGeom prst="ellipse">
              <a:avLst/>
            </a:prstGeom>
            <a:solidFill>
              <a:schemeClr val="accent3"/>
            </a:solidFill>
            <a:ln w="1905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sp>
          <p:nvSpPr>
            <p:cNvPr id="37" name="AutoShape 69">
              <a:extLst>
                <a:ext uri="{FF2B5EF4-FFF2-40B4-BE49-F238E27FC236}">
                  <a16:creationId xmlns:a16="http://schemas.microsoft.com/office/drawing/2014/main" id="{286FE3D0-C890-462A-907C-A7C633770F2C}"/>
                </a:ext>
              </a:extLst>
            </p:cNvPr>
            <p:cNvSpPr>
              <a:spLocks noChangeArrowheads="1"/>
            </p:cNvSpPr>
            <p:nvPr/>
          </p:nvSpPr>
          <p:spPr bwMode="auto">
            <a:xfrm>
              <a:off x="3340746" y="2894232"/>
              <a:ext cx="171671" cy="152400"/>
            </a:xfrm>
            <a:prstGeom prst="triangle">
              <a:avLst>
                <a:gd name="adj" fmla="val 50000"/>
              </a:avLst>
            </a:prstGeom>
            <a:solidFill>
              <a:srgbClr val="A100FF"/>
            </a:solidFill>
            <a:ln w="12700" algn="ctr">
              <a:noFill/>
              <a:miter lim="800000"/>
              <a:headEnd/>
              <a:tailEnd/>
            </a:ln>
            <a:effectLst/>
          </p:spPr>
          <p:txBody>
            <a:bodyPr wrap="none" lIns="0" tIns="0" rIns="0" bIns="0"/>
            <a:lstStyle/>
            <a:p>
              <a:pPr marL="0" marR="0" lvl="0" indent="0" algn="l" defTabSz="914400" rtl="0" eaLnBrk="1" fontAlgn="auto" latinLnBrk="0" hangingPunct="1">
                <a:lnSpc>
                  <a:spcPct val="100000"/>
                </a:lnSpc>
                <a:spcBef>
                  <a:spcPts val="0"/>
                </a:spcBef>
                <a:spcAft>
                  <a:spcPts val="0"/>
                </a:spcAft>
                <a:buClrTx/>
                <a:buSzPct val="75000"/>
                <a:buFontTx/>
                <a:buNone/>
                <a:tabLst/>
                <a:defRPr/>
              </a:pPr>
              <a:r>
                <a:rPr kumimoji="0" lang="en-US" sz="1200" b="0" i="0" u="none" strike="noStrike" kern="0" cap="none" spc="0" normalizeH="0" baseline="0" noProof="0" dirty="0">
                  <a:ln>
                    <a:noFill/>
                  </a:ln>
                  <a:solidFill>
                    <a:srgbClr val="A100FF"/>
                  </a:solidFill>
                  <a:effectLst/>
                  <a:uLnTx/>
                  <a:uFillTx/>
                  <a:latin typeface="Arial"/>
                  <a:ea typeface="+mn-ea"/>
                  <a:cs typeface="+mn-cs"/>
                </a:rPr>
                <a:t>x</a:t>
              </a:r>
            </a:p>
          </p:txBody>
        </p:sp>
        <p:sp>
          <p:nvSpPr>
            <p:cNvPr id="38" name="Rectangle 49">
              <a:extLst>
                <a:ext uri="{FF2B5EF4-FFF2-40B4-BE49-F238E27FC236}">
                  <a16:creationId xmlns:a16="http://schemas.microsoft.com/office/drawing/2014/main" id="{7E66867E-8CF5-462A-ACFA-A7222190B17C}"/>
                </a:ext>
              </a:extLst>
            </p:cNvPr>
            <p:cNvSpPr>
              <a:spLocks noChangeArrowheads="1"/>
            </p:cNvSpPr>
            <p:nvPr/>
          </p:nvSpPr>
          <p:spPr bwMode="auto">
            <a:xfrm>
              <a:off x="2557783" y="3631403"/>
              <a:ext cx="328015" cy="122237"/>
            </a:xfrm>
            <a:prstGeom prst="rect">
              <a:avLst/>
            </a:prstGeom>
            <a:noFill/>
            <a:ln w="12700" algn="ctr">
              <a:noFill/>
              <a:miter lim="800000"/>
              <a:headEnd/>
              <a:tailEnd/>
            </a:ln>
            <a:effec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
                  <a:srgbClr val="96968C"/>
                </a:buClr>
                <a:buSzTx/>
                <a:buFontTx/>
                <a:buNone/>
                <a:tabLst/>
                <a:defRPr/>
              </a:pPr>
              <a:r>
                <a:rPr kumimoji="0" lang="en-US" sz="1200" b="0" i="0" u="none" strike="noStrike" kern="0" cap="none" spc="0" normalizeH="0" baseline="0" noProof="0" dirty="0">
                  <a:ln>
                    <a:noFill/>
                  </a:ln>
                  <a:solidFill>
                    <a:srgbClr val="000000"/>
                  </a:solidFill>
                  <a:effectLst/>
                  <a:uLnTx/>
                  <a:uFillTx/>
                  <a:ea typeface="+mn-ea"/>
                  <a:cs typeface="+mn-cs"/>
                </a:rPr>
                <a:t>x</a:t>
              </a:r>
            </a:p>
          </p:txBody>
        </p:sp>
        <p:sp>
          <p:nvSpPr>
            <p:cNvPr id="39" name="Rectangle 50">
              <a:extLst>
                <a:ext uri="{FF2B5EF4-FFF2-40B4-BE49-F238E27FC236}">
                  <a16:creationId xmlns:a16="http://schemas.microsoft.com/office/drawing/2014/main" id="{81560908-E52A-4C36-9C4E-C090DC70DE24}"/>
                </a:ext>
              </a:extLst>
            </p:cNvPr>
            <p:cNvSpPr>
              <a:spLocks noChangeArrowheads="1"/>
            </p:cNvSpPr>
            <p:nvPr/>
          </p:nvSpPr>
          <p:spPr bwMode="auto">
            <a:xfrm>
              <a:off x="4754027" y="3631403"/>
              <a:ext cx="328015" cy="122237"/>
            </a:xfrm>
            <a:prstGeom prst="rect">
              <a:avLst/>
            </a:prstGeom>
            <a:noFill/>
            <a:ln w="12700" algn="ctr">
              <a:no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Tx/>
                <a:buFontTx/>
                <a:buNone/>
                <a:tabLst/>
                <a:defRPr/>
              </a:pPr>
              <a:r>
                <a:rPr kumimoji="0" lang="en-US" sz="1200" b="0" i="0" u="none" strike="noStrike" kern="0" cap="none" spc="0" normalizeH="0" baseline="0" noProof="0">
                  <a:ln>
                    <a:noFill/>
                  </a:ln>
                  <a:solidFill>
                    <a:srgbClr val="000000"/>
                  </a:solidFill>
                  <a:effectLst/>
                  <a:uLnTx/>
                  <a:uFillTx/>
                  <a:ea typeface="+mn-ea"/>
                  <a:cs typeface="+mn-cs"/>
                </a:rPr>
                <a:t>x</a:t>
              </a:r>
            </a:p>
          </p:txBody>
        </p:sp>
        <p:sp>
          <p:nvSpPr>
            <p:cNvPr id="40" name="Rectangle 52">
              <a:extLst>
                <a:ext uri="{FF2B5EF4-FFF2-40B4-BE49-F238E27FC236}">
                  <a16:creationId xmlns:a16="http://schemas.microsoft.com/office/drawing/2014/main" id="{0B992E96-DD7D-4CF9-A01B-D17AC6828A94}"/>
                </a:ext>
              </a:extLst>
            </p:cNvPr>
            <p:cNvSpPr>
              <a:spLocks noChangeArrowheads="1"/>
            </p:cNvSpPr>
            <p:nvPr/>
          </p:nvSpPr>
          <p:spPr bwMode="auto">
            <a:xfrm>
              <a:off x="3043087" y="3674673"/>
              <a:ext cx="1572992" cy="35697"/>
            </a:xfrm>
            <a:prstGeom prst="rect">
              <a:avLst/>
            </a:prstGeom>
            <a:solidFill>
              <a:srgbClr val="96968C"/>
            </a:solidFill>
            <a:ln w="12700" algn="ctr">
              <a:no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sp>
          <p:nvSpPr>
            <p:cNvPr id="41" name="Oval 53">
              <a:extLst>
                <a:ext uri="{FF2B5EF4-FFF2-40B4-BE49-F238E27FC236}">
                  <a16:creationId xmlns:a16="http://schemas.microsoft.com/office/drawing/2014/main" id="{5D517313-ADD3-44D4-A160-0474D91CFEC6}"/>
                </a:ext>
              </a:extLst>
            </p:cNvPr>
            <p:cNvSpPr>
              <a:spLocks noChangeArrowheads="1"/>
            </p:cNvSpPr>
            <p:nvPr/>
          </p:nvSpPr>
          <p:spPr bwMode="auto">
            <a:xfrm>
              <a:off x="2931494" y="3577428"/>
              <a:ext cx="222000" cy="230187"/>
            </a:xfrm>
            <a:prstGeom prst="ellipse">
              <a:avLst/>
            </a:prstGeom>
            <a:solidFill>
              <a:schemeClr val="accent5"/>
            </a:solidFill>
            <a:ln w="1905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ea typeface="+mn-ea"/>
                <a:cs typeface="+mn-cs"/>
              </a:endParaRPr>
            </a:p>
          </p:txBody>
        </p:sp>
        <p:sp>
          <p:nvSpPr>
            <p:cNvPr id="42" name="Oval 54">
              <a:extLst>
                <a:ext uri="{FF2B5EF4-FFF2-40B4-BE49-F238E27FC236}">
                  <a16:creationId xmlns:a16="http://schemas.microsoft.com/office/drawing/2014/main" id="{9FCAEA9F-8795-4DAA-8C69-B0A6EB0AF011}"/>
                </a:ext>
              </a:extLst>
            </p:cNvPr>
            <p:cNvSpPr>
              <a:spLocks noChangeArrowheads="1"/>
            </p:cNvSpPr>
            <p:nvPr/>
          </p:nvSpPr>
          <p:spPr bwMode="auto">
            <a:xfrm>
              <a:off x="4489053" y="3577428"/>
              <a:ext cx="222000" cy="230187"/>
            </a:xfrm>
            <a:prstGeom prst="ellipse">
              <a:avLst/>
            </a:prstGeom>
            <a:solidFill>
              <a:schemeClr val="accent3"/>
            </a:solidFill>
            <a:ln w="1905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sp>
          <p:nvSpPr>
            <p:cNvPr id="43" name="AutoShape 70">
              <a:extLst>
                <a:ext uri="{FF2B5EF4-FFF2-40B4-BE49-F238E27FC236}">
                  <a16:creationId xmlns:a16="http://schemas.microsoft.com/office/drawing/2014/main" id="{891916C2-F863-4878-946B-F63AB0A85ED4}"/>
                </a:ext>
              </a:extLst>
            </p:cNvPr>
            <p:cNvSpPr>
              <a:spLocks noChangeArrowheads="1"/>
            </p:cNvSpPr>
            <p:nvPr/>
          </p:nvSpPr>
          <p:spPr bwMode="auto">
            <a:xfrm>
              <a:off x="4064219" y="3614312"/>
              <a:ext cx="171671" cy="152400"/>
            </a:xfrm>
            <a:prstGeom prst="triangle">
              <a:avLst>
                <a:gd name="adj" fmla="val 50000"/>
              </a:avLst>
            </a:prstGeom>
            <a:solidFill>
              <a:srgbClr val="A100FF"/>
            </a:solidFill>
            <a:ln w="12700" algn="ctr">
              <a:noFill/>
              <a:miter lim="800000"/>
              <a:headEnd/>
              <a:tailEnd/>
            </a:ln>
            <a:effectLst/>
          </p:spPr>
          <p:txBody>
            <a:bodyPr wrap="none" lIns="0" tIns="0" rIns="0" bIns="0"/>
            <a:lstStyle/>
            <a:p>
              <a:pPr marL="0" marR="0" lvl="0" indent="0" algn="l" defTabSz="914400" rtl="0" eaLnBrk="1" fontAlgn="auto" latinLnBrk="0" hangingPunct="1">
                <a:lnSpc>
                  <a:spcPct val="100000"/>
                </a:lnSpc>
                <a:spcBef>
                  <a:spcPts val="0"/>
                </a:spcBef>
                <a:spcAft>
                  <a:spcPts val="0"/>
                </a:spcAft>
                <a:buClrTx/>
                <a:buSzPct val="75000"/>
                <a:buFontTx/>
                <a:buNone/>
                <a:tabLst/>
                <a:defRPr/>
              </a:pPr>
              <a:r>
                <a:rPr kumimoji="0" lang="en-US" sz="1200" b="0" i="0" u="none" strike="noStrike" kern="0" cap="none" spc="0" normalizeH="0" baseline="0" noProof="0" dirty="0">
                  <a:ln>
                    <a:noFill/>
                  </a:ln>
                  <a:solidFill>
                    <a:srgbClr val="A100FF"/>
                  </a:solidFill>
                  <a:effectLst/>
                  <a:uLnTx/>
                  <a:uFillTx/>
                  <a:latin typeface="Arial"/>
                  <a:ea typeface="+mn-ea"/>
                  <a:cs typeface="+mn-cs"/>
                </a:rPr>
                <a:t>x</a:t>
              </a:r>
            </a:p>
          </p:txBody>
        </p:sp>
        <p:sp>
          <p:nvSpPr>
            <p:cNvPr id="44" name="Rectangle 56">
              <a:extLst>
                <a:ext uri="{FF2B5EF4-FFF2-40B4-BE49-F238E27FC236}">
                  <a16:creationId xmlns:a16="http://schemas.microsoft.com/office/drawing/2014/main" id="{DB0E1D35-967F-4038-B4AE-6019A7A0C0FC}"/>
                </a:ext>
              </a:extLst>
            </p:cNvPr>
            <p:cNvSpPr>
              <a:spLocks noChangeArrowheads="1"/>
            </p:cNvSpPr>
            <p:nvPr/>
          </p:nvSpPr>
          <p:spPr bwMode="auto">
            <a:xfrm>
              <a:off x="2556250" y="4339428"/>
              <a:ext cx="328015" cy="122237"/>
            </a:xfrm>
            <a:prstGeom prst="rect">
              <a:avLst/>
            </a:prstGeom>
            <a:noFill/>
            <a:ln w="12700" algn="ctr">
              <a:noFill/>
              <a:miter lim="800000"/>
              <a:headEnd/>
              <a:tailEnd/>
            </a:ln>
            <a:effec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
                  <a:srgbClr val="96968C"/>
                </a:buClr>
                <a:buSzTx/>
                <a:buFontTx/>
                <a:buNone/>
                <a:tabLst/>
                <a:defRPr/>
              </a:pPr>
              <a:r>
                <a:rPr kumimoji="0" lang="en-US" sz="1200" b="0" i="0" u="none" strike="noStrike" kern="0" cap="none" spc="0" normalizeH="0" baseline="0" noProof="0">
                  <a:ln>
                    <a:noFill/>
                  </a:ln>
                  <a:solidFill>
                    <a:srgbClr val="000000"/>
                  </a:solidFill>
                  <a:effectLst/>
                  <a:uLnTx/>
                  <a:uFillTx/>
                  <a:ea typeface="+mn-ea"/>
                  <a:cs typeface="+mn-cs"/>
                </a:rPr>
                <a:t>x</a:t>
              </a:r>
            </a:p>
          </p:txBody>
        </p:sp>
        <p:sp>
          <p:nvSpPr>
            <p:cNvPr id="45" name="Rectangle 57">
              <a:extLst>
                <a:ext uri="{FF2B5EF4-FFF2-40B4-BE49-F238E27FC236}">
                  <a16:creationId xmlns:a16="http://schemas.microsoft.com/office/drawing/2014/main" id="{F54CD958-86C4-4121-85EA-9CA7F54F54F2}"/>
                </a:ext>
              </a:extLst>
            </p:cNvPr>
            <p:cNvSpPr>
              <a:spLocks noChangeArrowheads="1"/>
            </p:cNvSpPr>
            <p:nvPr/>
          </p:nvSpPr>
          <p:spPr bwMode="auto">
            <a:xfrm>
              <a:off x="4752493" y="4339428"/>
              <a:ext cx="328015" cy="122237"/>
            </a:xfrm>
            <a:prstGeom prst="rect">
              <a:avLst/>
            </a:prstGeom>
            <a:noFill/>
            <a:ln w="12700" algn="ctr">
              <a:no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Tx/>
                <a:buFontTx/>
                <a:buNone/>
                <a:tabLst/>
                <a:defRPr/>
              </a:pPr>
              <a:r>
                <a:rPr kumimoji="0" lang="en-US" sz="1200" b="0" i="0" u="none" strike="noStrike" kern="0" cap="none" spc="0" normalizeH="0" baseline="0" noProof="0">
                  <a:ln>
                    <a:noFill/>
                  </a:ln>
                  <a:solidFill>
                    <a:srgbClr val="000000"/>
                  </a:solidFill>
                  <a:effectLst/>
                  <a:uLnTx/>
                  <a:uFillTx/>
                  <a:ea typeface="+mn-ea"/>
                  <a:cs typeface="+mn-cs"/>
                </a:rPr>
                <a:t>x</a:t>
              </a:r>
            </a:p>
          </p:txBody>
        </p:sp>
        <p:sp>
          <p:nvSpPr>
            <p:cNvPr id="46" name="Rectangle 59">
              <a:extLst>
                <a:ext uri="{FF2B5EF4-FFF2-40B4-BE49-F238E27FC236}">
                  <a16:creationId xmlns:a16="http://schemas.microsoft.com/office/drawing/2014/main" id="{95B1A23F-2EEA-4A3D-A9C0-49EE6D35B517}"/>
                </a:ext>
              </a:extLst>
            </p:cNvPr>
            <p:cNvSpPr>
              <a:spLocks noChangeArrowheads="1"/>
            </p:cNvSpPr>
            <p:nvPr/>
          </p:nvSpPr>
          <p:spPr bwMode="auto">
            <a:xfrm>
              <a:off x="3041554" y="4382698"/>
              <a:ext cx="1572991" cy="35697"/>
            </a:xfrm>
            <a:prstGeom prst="rect">
              <a:avLst/>
            </a:prstGeom>
            <a:solidFill>
              <a:srgbClr val="96968C"/>
            </a:solidFill>
            <a:ln w="12700" algn="ctr">
              <a:no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sp>
          <p:nvSpPr>
            <p:cNvPr id="47" name="Oval 60">
              <a:extLst>
                <a:ext uri="{FF2B5EF4-FFF2-40B4-BE49-F238E27FC236}">
                  <a16:creationId xmlns:a16="http://schemas.microsoft.com/office/drawing/2014/main" id="{7EF0078E-08A4-4F13-AA4A-68E046C6F4AA}"/>
                </a:ext>
              </a:extLst>
            </p:cNvPr>
            <p:cNvSpPr>
              <a:spLocks noChangeArrowheads="1"/>
            </p:cNvSpPr>
            <p:nvPr/>
          </p:nvSpPr>
          <p:spPr bwMode="auto">
            <a:xfrm>
              <a:off x="2929961" y="4285453"/>
              <a:ext cx="222000" cy="230187"/>
            </a:xfrm>
            <a:prstGeom prst="ellipse">
              <a:avLst/>
            </a:prstGeom>
            <a:solidFill>
              <a:schemeClr val="accent5"/>
            </a:solidFill>
            <a:ln w="1905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ea typeface="+mn-ea"/>
                <a:cs typeface="+mn-cs"/>
              </a:endParaRPr>
            </a:p>
          </p:txBody>
        </p:sp>
        <p:sp>
          <p:nvSpPr>
            <p:cNvPr id="48" name="Oval 61">
              <a:extLst>
                <a:ext uri="{FF2B5EF4-FFF2-40B4-BE49-F238E27FC236}">
                  <a16:creationId xmlns:a16="http://schemas.microsoft.com/office/drawing/2014/main" id="{30DB7E2A-9EF3-40A4-8FA0-3D6C3705066C}"/>
                </a:ext>
              </a:extLst>
            </p:cNvPr>
            <p:cNvSpPr>
              <a:spLocks noChangeArrowheads="1"/>
            </p:cNvSpPr>
            <p:nvPr/>
          </p:nvSpPr>
          <p:spPr bwMode="auto">
            <a:xfrm>
              <a:off x="4487519" y="4285453"/>
              <a:ext cx="222000" cy="230187"/>
            </a:xfrm>
            <a:prstGeom prst="ellipse">
              <a:avLst/>
            </a:prstGeom>
            <a:solidFill>
              <a:schemeClr val="accent3"/>
            </a:solidFill>
            <a:ln w="1905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sp>
          <p:nvSpPr>
            <p:cNvPr id="49" name="AutoShape 71">
              <a:extLst>
                <a:ext uri="{FF2B5EF4-FFF2-40B4-BE49-F238E27FC236}">
                  <a16:creationId xmlns:a16="http://schemas.microsoft.com/office/drawing/2014/main" id="{4CA3F6D7-0A48-49A3-89BF-E896C01C9CCB}"/>
                </a:ext>
              </a:extLst>
            </p:cNvPr>
            <p:cNvSpPr>
              <a:spLocks noChangeArrowheads="1"/>
            </p:cNvSpPr>
            <p:nvPr/>
          </p:nvSpPr>
          <p:spPr bwMode="auto">
            <a:xfrm>
              <a:off x="3898678" y="4334392"/>
              <a:ext cx="171671" cy="152400"/>
            </a:xfrm>
            <a:prstGeom prst="triangle">
              <a:avLst>
                <a:gd name="adj" fmla="val 50000"/>
              </a:avLst>
            </a:prstGeom>
            <a:solidFill>
              <a:srgbClr val="A100FF"/>
            </a:solidFill>
            <a:ln w="12700" algn="ctr">
              <a:noFill/>
              <a:miter lim="800000"/>
              <a:headEnd/>
              <a:tailEnd/>
            </a:ln>
            <a:effectLst/>
          </p:spPr>
          <p:txBody>
            <a:bodyPr wrap="none" lIns="0" tIns="0" rIns="0" bIns="0"/>
            <a:lstStyle/>
            <a:p>
              <a:pPr marL="0" marR="0" lvl="0" indent="0" algn="l" defTabSz="914400" rtl="0" eaLnBrk="1" fontAlgn="auto" latinLnBrk="0" hangingPunct="1">
                <a:lnSpc>
                  <a:spcPct val="100000"/>
                </a:lnSpc>
                <a:spcBef>
                  <a:spcPts val="0"/>
                </a:spcBef>
                <a:spcAft>
                  <a:spcPts val="0"/>
                </a:spcAft>
                <a:buClrTx/>
                <a:buSzPct val="75000"/>
                <a:buFontTx/>
                <a:buNone/>
                <a:tabLst/>
                <a:defRPr/>
              </a:pPr>
              <a:r>
                <a:rPr kumimoji="0" lang="en-US" sz="1200" b="0" i="0" u="none" strike="noStrike" kern="0" cap="none" spc="0" normalizeH="0" baseline="0" noProof="0" dirty="0">
                  <a:ln>
                    <a:noFill/>
                  </a:ln>
                  <a:solidFill>
                    <a:srgbClr val="A100FF"/>
                  </a:solidFill>
                  <a:effectLst/>
                  <a:uLnTx/>
                  <a:uFillTx/>
                  <a:latin typeface="Arial"/>
                  <a:ea typeface="+mn-ea"/>
                  <a:cs typeface="+mn-cs"/>
                </a:rPr>
                <a:t>x</a:t>
              </a:r>
            </a:p>
          </p:txBody>
        </p:sp>
        <p:sp>
          <p:nvSpPr>
            <p:cNvPr id="50" name="Rectangle 63">
              <a:extLst>
                <a:ext uri="{FF2B5EF4-FFF2-40B4-BE49-F238E27FC236}">
                  <a16:creationId xmlns:a16="http://schemas.microsoft.com/office/drawing/2014/main" id="{17839F2B-424C-4CE6-9707-751BC5B5909D}"/>
                </a:ext>
              </a:extLst>
            </p:cNvPr>
            <p:cNvSpPr>
              <a:spLocks noChangeArrowheads="1"/>
            </p:cNvSpPr>
            <p:nvPr/>
          </p:nvSpPr>
          <p:spPr bwMode="auto">
            <a:xfrm>
              <a:off x="2557783" y="5047453"/>
              <a:ext cx="328015" cy="122237"/>
            </a:xfrm>
            <a:prstGeom prst="rect">
              <a:avLst/>
            </a:prstGeom>
            <a:noFill/>
            <a:ln w="12700" algn="ctr">
              <a:noFill/>
              <a:miter lim="800000"/>
              <a:headEnd/>
              <a:tailEnd/>
            </a:ln>
            <a:effec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
                  <a:srgbClr val="96968C"/>
                </a:buClr>
                <a:buSzTx/>
                <a:buFontTx/>
                <a:buNone/>
                <a:tabLst/>
                <a:defRPr/>
              </a:pPr>
              <a:r>
                <a:rPr kumimoji="0" lang="en-US" sz="1200" b="0" i="0" u="none" strike="noStrike" kern="0" cap="none" spc="0" normalizeH="0" baseline="0" noProof="0" dirty="0">
                  <a:ln>
                    <a:noFill/>
                  </a:ln>
                  <a:solidFill>
                    <a:srgbClr val="000000"/>
                  </a:solidFill>
                  <a:effectLst/>
                  <a:uLnTx/>
                  <a:uFillTx/>
                  <a:ea typeface="+mn-ea"/>
                  <a:cs typeface="+mn-cs"/>
                </a:rPr>
                <a:t>x</a:t>
              </a:r>
            </a:p>
          </p:txBody>
        </p:sp>
        <p:sp>
          <p:nvSpPr>
            <p:cNvPr id="51" name="Rectangle 64">
              <a:extLst>
                <a:ext uri="{FF2B5EF4-FFF2-40B4-BE49-F238E27FC236}">
                  <a16:creationId xmlns:a16="http://schemas.microsoft.com/office/drawing/2014/main" id="{8825DA2E-9E64-4188-9D67-42F22DA41F01}"/>
                </a:ext>
              </a:extLst>
            </p:cNvPr>
            <p:cNvSpPr>
              <a:spLocks noChangeArrowheads="1"/>
            </p:cNvSpPr>
            <p:nvPr/>
          </p:nvSpPr>
          <p:spPr bwMode="auto">
            <a:xfrm>
              <a:off x="4754027" y="5047453"/>
              <a:ext cx="328015" cy="122237"/>
            </a:xfrm>
            <a:prstGeom prst="rect">
              <a:avLst/>
            </a:prstGeom>
            <a:noFill/>
            <a:ln w="12700" algn="ctr">
              <a:no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Tx/>
                <a:buFontTx/>
                <a:buNone/>
                <a:tabLst/>
                <a:defRPr/>
              </a:pPr>
              <a:r>
                <a:rPr kumimoji="0" lang="en-US" sz="1200" b="0" i="0" u="none" strike="noStrike" kern="0" cap="none" spc="0" normalizeH="0" baseline="0" noProof="0">
                  <a:ln>
                    <a:noFill/>
                  </a:ln>
                  <a:solidFill>
                    <a:srgbClr val="000000"/>
                  </a:solidFill>
                  <a:effectLst/>
                  <a:uLnTx/>
                  <a:uFillTx/>
                  <a:ea typeface="+mn-ea"/>
                  <a:cs typeface="+mn-cs"/>
                </a:rPr>
                <a:t>x</a:t>
              </a:r>
            </a:p>
          </p:txBody>
        </p:sp>
        <p:sp>
          <p:nvSpPr>
            <p:cNvPr id="52" name="Rectangle 66">
              <a:extLst>
                <a:ext uri="{FF2B5EF4-FFF2-40B4-BE49-F238E27FC236}">
                  <a16:creationId xmlns:a16="http://schemas.microsoft.com/office/drawing/2014/main" id="{B54BDDE1-BBEF-4F52-A074-5238D718916E}"/>
                </a:ext>
              </a:extLst>
            </p:cNvPr>
            <p:cNvSpPr>
              <a:spLocks noChangeArrowheads="1"/>
            </p:cNvSpPr>
            <p:nvPr/>
          </p:nvSpPr>
          <p:spPr bwMode="auto">
            <a:xfrm>
              <a:off x="3043087" y="5090723"/>
              <a:ext cx="1572992" cy="35697"/>
            </a:xfrm>
            <a:prstGeom prst="rect">
              <a:avLst/>
            </a:prstGeom>
            <a:solidFill>
              <a:srgbClr val="96968C"/>
            </a:solidFill>
            <a:ln w="12700" algn="ctr">
              <a:no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sp>
          <p:nvSpPr>
            <p:cNvPr id="53" name="Oval 67">
              <a:extLst>
                <a:ext uri="{FF2B5EF4-FFF2-40B4-BE49-F238E27FC236}">
                  <a16:creationId xmlns:a16="http://schemas.microsoft.com/office/drawing/2014/main" id="{1B8D47EB-C233-4064-B5B1-0A0548304C05}"/>
                </a:ext>
              </a:extLst>
            </p:cNvPr>
            <p:cNvSpPr>
              <a:spLocks noChangeArrowheads="1"/>
            </p:cNvSpPr>
            <p:nvPr/>
          </p:nvSpPr>
          <p:spPr bwMode="auto">
            <a:xfrm>
              <a:off x="2931494" y="4993478"/>
              <a:ext cx="222000" cy="230187"/>
            </a:xfrm>
            <a:prstGeom prst="ellipse">
              <a:avLst/>
            </a:prstGeom>
            <a:solidFill>
              <a:schemeClr val="accent5"/>
            </a:solidFill>
            <a:ln w="1905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ea typeface="+mn-ea"/>
                <a:cs typeface="+mn-cs"/>
              </a:endParaRPr>
            </a:p>
          </p:txBody>
        </p:sp>
        <p:sp>
          <p:nvSpPr>
            <p:cNvPr id="54" name="Oval 68">
              <a:extLst>
                <a:ext uri="{FF2B5EF4-FFF2-40B4-BE49-F238E27FC236}">
                  <a16:creationId xmlns:a16="http://schemas.microsoft.com/office/drawing/2014/main" id="{2371F617-FDC3-4A7B-AB4B-914266D20D02}"/>
                </a:ext>
              </a:extLst>
            </p:cNvPr>
            <p:cNvSpPr>
              <a:spLocks noChangeArrowheads="1"/>
            </p:cNvSpPr>
            <p:nvPr/>
          </p:nvSpPr>
          <p:spPr bwMode="auto">
            <a:xfrm>
              <a:off x="4489053" y="4993478"/>
              <a:ext cx="222000" cy="230187"/>
            </a:xfrm>
            <a:prstGeom prst="ellipse">
              <a:avLst/>
            </a:prstGeom>
            <a:solidFill>
              <a:schemeClr val="accent3"/>
            </a:solidFill>
            <a:ln w="1905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endParaRPr>
            </a:p>
          </p:txBody>
        </p:sp>
        <p:sp>
          <p:nvSpPr>
            <p:cNvPr id="55" name="AutoShape 72">
              <a:extLst>
                <a:ext uri="{FF2B5EF4-FFF2-40B4-BE49-F238E27FC236}">
                  <a16:creationId xmlns:a16="http://schemas.microsoft.com/office/drawing/2014/main" id="{77F761C1-8749-41FE-BAAF-38954BDBA79B}"/>
                </a:ext>
              </a:extLst>
            </p:cNvPr>
            <p:cNvSpPr>
              <a:spLocks noChangeArrowheads="1"/>
            </p:cNvSpPr>
            <p:nvPr/>
          </p:nvSpPr>
          <p:spPr bwMode="auto">
            <a:xfrm>
              <a:off x="3872621" y="5026852"/>
              <a:ext cx="171671" cy="152400"/>
            </a:xfrm>
            <a:prstGeom prst="triangle">
              <a:avLst>
                <a:gd name="adj" fmla="val 50000"/>
              </a:avLst>
            </a:prstGeom>
            <a:solidFill>
              <a:srgbClr val="A100FF"/>
            </a:solidFill>
            <a:ln w="12700" algn="ctr">
              <a:noFill/>
              <a:miter lim="800000"/>
              <a:headEnd/>
              <a:tailEnd/>
            </a:ln>
            <a:effectLst/>
          </p:spPr>
          <p:txBody>
            <a:bodyPr wrap="none" lIns="0" tIns="0" rIns="0" bIns="0"/>
            <a:lstStyle/>
            <a:p>
              <a:pPr marL="0" marR="0" lvl="0" indent="0" algn="l" defTabSz="914400" rtl="0" eaLnBrk="1" fontAlgn="auto" latinLnBrk="0" hangingPunct="1">
                <a:lnSpc>
                  <a:spcPct val="100000"/>
                </a:lnSpc>
                <a:spcBef>
                  <a:spcPts val="0"/>
                </a:spcBef>
                <a:spcAft>
                  <a:spcPts val="0"/>
                </a:spcAft>
                <a:buClrTx/>
                <a:buSzPct val="75000"/>
                <a:buFontTx/>
                <a:buNone/>
                <a:tabLst/>
                <a:defRPr/>
              </a:pPr>
              <a:r>
                <a:rPr kumimoji="0" lang="en-US" sz="1200" b="0" i="0" u="none" strike="noStrike" kern="0" cap="none" spc="0" normalizeH="0" baseline="0" noProof="0" dirty="0">
                  <a:ln>
                    <a:noFill/>
                  </a:ln>
                  <a:solidFill>
                    <a:srgbClr val="A100FF"/>
                  </a:solidFill>
                  <a:effectLst/>
                  <a:uLnTx/>
                  <a:uFillTx/>
                  <a:latin typeface="Arial"/>
                  <a:ea typeface="+mn-ea"/>
                  <a:cs typeface="+mn-cs"/>
                </a:rPr>
                <a:t>x</a:t>
              </a:r>
            </a:p>
          </p:txBody>
        </p:sp>
        <p:sp>
          <p:nvSpPr>
            <p:cNvPr id="56" name="Rectangle 73">
              <a:extLst>
                <a:ext uri="{FF2B5EF4-FFF2-40B4-BE49-F238E27FC236}">
                  <a16:creationId xmlns:a16="http://schemas.microsoft.com/office/drawing/2014/main" id="{0FFD3783-CAA6-467F-A331-1AD8D739992A}"/>
                </a:ext>
              </a:extLst>
            </p:cNvPr>
            <p:cNvSpPr>
              <a:spLocks noChangeArrowheads="1"/>
            </p:cNvSpPr>
            <p:nvPr/>
          </p:nvSpPr>
          <p:spPr bwMode="auto">
            <a:xfrm>
              <a:off x="6378636" y="3402803"/>
              <a:ext cx="2150491" cy="581025"/>
            </a:xfrm>
            <a:prstGeom prst="rect">
              <a:avLst/>
            </a:prstGeom>
            <a:noFill/>
            <a:ln w="12700">
              <a:noFill/>
              <a:miter lim="800000"/>
              <a:headEnd/>
              <a:tailEnd/>
            </a:ln>
            <a:effectLst/>
          </p:spPr>
          <p:txBody>
            <a:bodyPr lIns="0" tIns="0" rIns="0" bIns="0" anchor="ctr"/>
            <a:lstStyle/>
            <a:p>
              <a:pPr marL="196850" marR="0" lvl="1" indent="-195263" algn="l" defTabSz="914400" rtl="0" eaLnBrk="1" fontAlgn="auto" latinLnBrk="0" hangingPunct="1">
                <a:lnSpc>
                  <a:spcPct val="95000"/>
                </a:lnSpc>
                <a:spcBef>
                  <a:spcPts val="0"/>
                </a:spcBef>
                <a:spcAft>
                  <a:spcPct val="30000"/>
                </a:spcAft>
                <a:buClr>
                  <a:srgbClr val="F0AB00"/>
                </a:buClr>
                <a:buSzPct val="85000"/>
                <a:buFontTx/>
                <a:buNone/>
                <a:tabLst/>
                <a:defRPr/>
              </a:pPr>
              <a:r>
                <a:rPr kumimoji="0" lang="en-US" sz="1200" b="0" i="0" u="none" strike="noStrike" kern="0" cap="none" spc="0" normalizeH="0" baseline="0" noProof="0">
                  <a:ln>
                    <a:noFill/>
                  </a:ln>
                  <a:solidFill>
                    <a:srgbClr val="000000"/>
                  </a:solidFill>
                  <a:effectLst/>
                  <a:uLnTx/>
                  <a:uFillTx/>
                  <a:ea typeface="+mn-ea"/>
                  <a:cs typeface="+mn-cs"/>
                </a:rPr>
                <a:t>…	Text</a:t>
              </a:r>
            </a:p>
          </p:txBody>
        </p:sp>
        <p:grpSp>
          <p:nvGrpSpPr>
            <p:cNvPr id="58" name="Group 57">
              <a:extLst>
                <a:ext uri="{FF2B5EF4-FFF2-40B4-BE49-F238E27FC236}">
                  <a16:creationId xmlns:a16="http://schemas.microsoft.com/office/drawing/2014/main" id="{D1A39AA3-2CC2-4E39-8B55-1D1EF256F146}"/>
                </a:ext>
              </a:extLst>
            </p:cNvPr>
            <p:cNvGrpSpPr/>
            <p:nvPr/>
          </p:nvGrpSpPr>
          <p:grpSpPr>
            <a:xfrm>
              <a:off x="1455436" y="2616938"/>
              <a:ext cx="10400014" cy="2141376"/>
              <a:chOff x="1455436" y="2616938"/>
              <a:chExt cx="7056102" cy="2141376"/>
            </a:xfrm>
          </p:grpSpPr>
          <p:cxnSp>
            <p:nvCxnSpPr>
              <p:cNvPr id="59" name="Straight Connector 58">
                <a:extLst>
                  <a:ext uri="{FF2B5EF4-FFF2-40B4-BE49-F238E27FC236}">
                    <a16:creationId xmlns:a16="http://schemas.microsoft.com/office/drawing/2014/main" id="{679A2F77-70EA-4CD9-AA41-7672C4B80E28}"/>
                  </a:ext>
                </a:extLst>
              </p:cNvPr>
              <p:cNvCxnSpPr/>
              <p:nvPr/>
            </p:nvCxnSpPr>
            <p:spPr bwMode="auto">
              <a:xfrm>
                <a:off x="1455436" y="2616938"/>
                <a:ext cx="7056102" cy="0"/>
              </a:xfrm>
              <a:prstGeom prst="line">
                <a:avLst/>
              </a:prstGeom>
              <a:noFill/>
              <a:ln w="12700" cap="flat" cmpd="sng" algn="ctr">
                <a:solidFill>
                  <a:srgbClr val="96968C">
                    <a:lumMod val="60000"/>
                    <a:lumOff val="40000"/>
                  </a:srgbClr>
                </a:solidFill>
                <a:prstDash val="dash"/>
              </a:ln>
              <a:effectLst/>
            </p:spPr>
          </p:cxnSp>
          <p:cxnSp>
            <p:nvCxnSpPr>
              <p:cNvPr id="60" name="Straight Connector 59">
                <a:extLst>
                  <a:ext uri="{FF2B5EF4-FFF2-40B4-BE49-F238E27FC236}">
                    <a16:creationId xmlns:a16="http://schemas.microsoft.com/office/drawing/2014/main" id="{998A8A86-CBA6-4700-933D-B1909616AA4F}"/>
                  </a:ext>
                </a:extLst>
              </p:cNvPr>
              <p:cNvCxnSpPr/>
              <p:nvPr/>
            </p:nvCxnSpPr>
            <p:spPr bwMode="auto">
              <a:xfrm>
                <a:off x="1455436" y="3330730"/>
                <a:ext cx="7056102" cy="0"/>
              </a:xfrm>
              <a:prstGeom prst="line">
                <a:avLst/>
              </a:prstGeom>
              <a:noFill/>
              <a:ln w="12700" cap="flat" cmpd="sng" algn="ctr">
                <a:solidFill>
                  <a:srgbClr val="96968C">
                    <a:lumMod val="60000"/>
                    <a:lumOff val="40000"/>
                  </a:srgbClr>
                </a:solidFill>
                <a:prstDash val="dash"/>
              </a:ln>
              <a:effectLst/>
            </p:spPr>
          </p:cxnSp>
          <p:cxnSp>
            <p:nvCxnSpPr>
              <p:cNvPr id="61" name="Straight Connector 60">
                <a:extLst>
                  <a:ext uri="{FF2B5EF4-FFF2-40B4-BE49-F238E27FC236}">
                    <a16:creationId xmlns:a16="http://schemas.microsoft.com/office/drawing/2014/main" id="{DB98C5ED-02F7-4D45-9CB1-F895CE0F2876}"/>
                  </a:ext>
                </a:extLst>
              </p:cNvPr>
              <p:cNvCxnSpPr/>
              <p:nvPr/>
            </p:nvCxnSpPr>
            <p:spPr bwMode="auto">
              <a:xfrm>
                <a:off x="1455436" y="4044522"/>
                <a:ext cx="7056102" cy="0"/>
              </a:xfrm>
              <a:prstGeom prst="line">
                <a:avLst/>
              </a:prstGeom>
              <a:noFill/>
              <a:ln w="12700" cap="flat" cmpd="sng" algn="ctr">
                <a:solidFill>
                  <a:srgbClr val="96968C">
                    <a:lumMod val="60000"/>
                    <a:lumOff val="40000"/>
                  </a:srgbClr>
                </a:solidFill>
                <a:prstDash val="dash"/>
              </a:ln>
              <a:effectLst/>
            </p:spPr>
          </p:cxnSp>
          <p:cxnSp>
            <p:nvCxnSpPr>
              <p:cNvPr id="62" name="Straight Connector 61">
                <a:extLst>
                  <a:ext uri="{FF2B5EF4-FFF2-40B4-BE49-F238E27FC236}">
                    <a16:creationId xmlns:a16="http://schemas.microsoft.com/office/drawing/2014/main" id="{1E7045C3-7DE7-442E-8CA8-D4ED771BD799}"/>
                  </a:ext>
                </a:extLst>
              </p:cNvPr>
              <p:cNvCxnSpPr/>
              <p:nvPr/>
            </p:nvCxnSpPr>
            <p:spPr bwMode="auto">
              <a:xfrm>
                <a:off x="1455436" y="4758314"/>
                <a:ext cx="7056102" cy="0"/>
              </a:xfrm>
              <a:prstGeom prst="line">
                <a:avLst/>
              </a:prstGeom>
              <a:noFill/>
              <a:ln w="12700" cap="flat" cmpd="sng" algn="ctr">
                <a:solidFill>
                  <a:srgbClr val="96968C">
                    <a:lumMod val="60000"/>
                    <a:lumOff val="40000"/>
                  </a:srgbClr>
                </a:solidFill>
                <a:prstDash val="dash"/>
              </a:ln>
              <a:effectLst/>
            </p:spPr>
          </p:cxnSp>
        </p:grpSp>
        <p:grpSp>
          <p:nvGrpSpPr>
            <p:cNvPr id="63" name="Group 62">
              <a:extLst>
                <a:ext uri="{FF2B5EF4-FFF2-40B4-BE49-F238E27FC236}">
                  <a16:creationId xmlns:a16="http://schemas.microsoft.com/office/drawing/2014/main" id="{9B15B8ED-D489-4E49-942E-8CBCD13C261F}"/>
                </a:ext>
              </a:extLst>
            </p:cNvPr>
            <p:cNvGrpSpPr/>
            <p:nvPr/>
          </p:nvGrpSpPr>
          <p:grpSpPr>
            <a:xfrm>
              <a:off x="330283" y="1999194"/>
              <a:ext cx="11525167" cy="3470988"/>
              <a:chOff x="330283" y="1999194"/>
              <a:chExt cx="8203443" cy="3470988"/>
            </a:xfrm>
          </p:grpSpPr>
          <p:cxnSp>
            <p:nvCxnSpPr>
              <p:cNvPr id="64" name="Straight Connector 63">
                <a:extLst>
                  <a:ext uri="{FF2B5EF4-FFF2-40B4-BE49-F238E27FC236}">
                    <a16:creationId xmlns:a16="http://schemas.microsoft.com/office/drawing/2014/main" id="{DB8FAF8B-FCB4-4E25-B142-4F3BF60C5574}"/>
                  </a:ext>
                </a:extLst>
              </p:cNvPr>
              <p:cNvCxnSpPr/>
              <p:nvPr/>
            </p:nvCxnSpPr>
            <p:spPr bwMode="auto">
              <a:xfrm>
                <a:off x="330283" y="1999194"/>
                <a:ext cx="8203443" cy="0"/>
              </a:xfrm>
              <a:prstGeom prst="line">
                <a:avLst/>
              </a:prstGeom>
              <a:noFill/>
              <a:ln w="15875" cap="flat" cmpd="sng" algn="ctr">
                <a:solidFill>
                  <a:srgbClr val="FFFFFF">
                    <a:lumMod val="50000"/>
                  </a:srgbClr>
                </a:solidFill>
                <a:prstDash val="solid"/>
              </a:ln>
              <a:effectLst/>
            </p:spPr>
          </p:cxnSp>
          <p:cxnSp>
            <p:nvCxnSpPr>
              <p:cNvPr id="65" name="Straight Connector 64">
                <a:extLst>
                  <a:ext uri="{FF2B5EF4-FFF2-40B4-BE49-F238E27FC236}">
                    <a16:creationId xmlns:a16="http://schemas.microsoft.com/office/drawing/2014/main" id="{A9CFD952-470A-46C5-8D4B-C3B1B6BD5EE5}"/>
                  </a:ext>
                </a:extLst>
              </p:cNvPr>
              <p:cNvCxnSpPr/>
              <p:nvPr/>
            </p:nvCxnSpPr>
            <p:spPr bwMode="auto">
              <a:xfrm>
                <a:off x="330283" y="5470182"/>
                <a:ext cx="8203443" cy="0"/>
              </a:xfrm>
              <a:prstGeom prst="line">
                <a:avLst/>
              </a:prstGeom>
              <a:noFill/>
              <a:ln w="12700" cap="flat" cmpd="sng" algn="ctr">
                <a:solidFill>
                  <a:srgbClr val="FFFFFF">
                    <a:lumMod val="50000"/>
                  </a:srgbClr>
                </a:solidFill>
                <a:prstDash val="solid"/>
              </a:ln>
              <a:effectLst/>
            </p:spPr>
          </p:cxnSp>
        </p:grpSp>
      </p:grpSp>
      <p:sp>
        <p:nvSpPr>
          <p:cNvPr id="68" name="Footer Placeholder 67">
            <a:extLst>
              <a:ext uri="{FF2B5EF4-FFF2-40B4-BE49-F238E27FC236}">
                <a16:creationId xmlns:a16="http://schemas.microsoft.com/office/drawing/2014/main" id="{C8827FB5-81F4-469D-B270-754786FB1C5E}"/>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9" name="Slide Number Placeholder 68">
            <a:extLst>
              <a:ext uri="{FF2B5EF4-FFF2-40B4-BE49-F238E27FC236}">
                <a16:creationId xmlns:a16="http://schemas.microsoft.com/office/drawing/2014/main" id="{DF9A0A17-E9D4-48A3-9CA7-CB18329671D6}"/>
              </a:ext>
            </a:extLst>
          </p:cNvPr>
          <p:cNvSpPr>
            <a:spLocks noGrp="1"/>
          </p:cNvSpPr>
          <p:nvPr>
            <p:ph type="sldNum" sz="quarter" idx="10"/>
          </p:nvPr>
        </p:nvSpPr>
        <p:spPr/>
        <p:txBody>
          <a:bodyPr/>
          <a:lstStyle/>
          <a:p>
            <a:fld id="{1F90F471-3972-4120-B8B3-0237DE626C35}" type="slidenum">
              <a:rPr lang="en-US" smtClean="0"/>
              <a:pPr/>
              <a:t>440</a:t>
            </a:fld>
            <a:endParaRPr lang="en-US" dirty="0"/>
          </a:p>
        </p:txBody>
      </p:sp>
    </p:spTree>
    <p:extLst>
      <p:ext uri="{BB962C8B-B14F-4D97-AF65-F5344CB8AC3E}">
        <p14:creationId xmlns:p14="http://schemas.microsoft.com/office/powerpoint/2010/main" val="2538659383"/>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descr="Add text and order accordingly">
            <a:hlinkClick r:id="rId2" action="ppaction://hlinksldjump" tooltip="Return to Index"/>
            <a:extLst>
              <a:ext uri="{FF2B5EF4-FFF2-40B4-BE49-F238E27FC236}">
                <a16:creationId xmlns:a16="http://schemas.microsoft.com/office/drawing/2014/main" id="{0DE3F75C-CF1B-47BB-A358-FF97AF03C85D}"/>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itle 6">
            <a:extLst>
              <a:ext uri="{FF2B5EF4-FFF2-40B4-BE49-F238E27FC236}">
                <a16:creationId xmlns:a16="http://schemas.microsoft.com/office/drawing/2014/main" id="{F7C4124B-B9D5-4FB9-AA46-3262DD2B40DB}"/>
              </a:ext>
            </a:extLst>
          </p:cNvPr>
          <p:cNvSpPr>
            <a:spLocks noGrp="1"/>
          </p:cNvSpPr>
          <p:nvPr>
            <p:ph type="title"/>
          </p:nvPr>
        </p:nvSpPr>
        <p:spPr/>
        <p:txBody>
          <a:bodyPr/>
          <a:lstStyle/>
          <a:p>
            <a:r>
              <a:rPr lang="en-US" dirty="0"/>
              <a:t>Useful Objects</a:t>
            </a:r>
          </a:p>
        </p:txBody>
      </p:sp>
      <p:sp>
        <p:nvSpPr>
          <p:cNvPr id="9" name="Text Placeholder 8">
            <a:extLst>
              <a:ext uri="{FF2B5EF4-FFF2-40B4-BE49-F238E27FC236}">
                <a16:creationId xmlns:a16="http://schemas.microsoft.com/office/drawing/2014/main" id="{1265ADBE-657A-4DC7-A6A6-2F0E697C4723}"/>
              </a:ext>
            </a:extLst>
          </p:cNvPr>
          <p:cNvSpPr>
            <a:spLocks noGrp="1"/>
          </p:cNvSpPr>
          <p:nvPr>
            <p:ph type="body" sz="quarter" idx="15"/>
          </p:nvPr>
        </p:nvSpPr>
        <p:spPr/>
        <p:txBody>
          <a:bodyPr/>
          <a:lstStyle/>
          <a:p>
            <a:r>
              <a:rPr lang="en-US" dirty="0"/>
              <a:t>Part of </a:t>
            </a:r>
            <a:br>
              <a:rPr lang="en-US" dirty="0"/>
            </a:br>
            <a:r>
              <a:rPr lang="en-US" dirty="0">
                <a:hlinkClick r:id="rId3" action="ppaction://hlinksldjump">
                  <a:extLst>
                    <a:ext uri="{A12FA001-AC4F-418D-AE19-62706E023703}">
                      <ahyp:hlinkClr xmlns:ahyp="http://schemas.microsoft.com/office/drawing/2018/hyperlinkcolor" val="tx"/>
                    </a:ext>
                  </a:extLst>
                </a:hlinkClick>
              </a:rPr>
              <a:t>Standard Visuals</a:t>
            </a:r>
            <a:endParaRPr lang="en-US" dirty="0"/>
          </a:p>
        </p:txBody>
      </p:sp>
      <p:sp>
        <p:nvSpPr>
          <p:cNvPr id="5" name="Footer Placeholder 4">
            <a:extLst>
              <a:ext uri="{FF2B5EF4-FFF2-40B4-BE49-F238E27FC236}">
                <a16:creationId xmlns:a16="http://schemas.microsoft.com/office/drawing/2014/main" id="{9DC78945-A645-4563-BCA9-927812C9C4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BEE2891-AE3F-4D8A-B562-5662B242B3DF}"/>
              </a:ext>
            </a:extLst>
          </p:cNvPr>
          <p:cNvSpPr>
            <a:spLocks noGrp="1"/>
          </p:cNvSpPr>
          <p:nvPr>
            <p:ph type="sldNum" sz="quarter" idx="17"/>
          </p:nvPr>
        </p:nvSpPr>
        <p:spPr/>
        <p:txBody>
          <a:bodyPr/>
          <a:lstStyle/>
          <a:p>
            <a:fld id="{1F90F471-3972-4120-B8B3-0237DE626C35}" type="slidenum">
              <a:rPr lang="en-US" smtClean="0"/>
              <a:pPr/>
              <a:t>441</a:t>
            </a:fld>
            <a:endParaRPr lang="en-US" dirty="0"/>
          </a:p>
        </p:txBody>
      </p:sp>
    </p:spTree>
    <p:extLst>
      <p:ext uri="{BB962C8B-B14F-4D97-AF65-F5344CB8AC3E}">
        <p14:creationId xmlns:p14="http://schemas.microsoft.com/office/powerpoint/2010/main" val="3149675495"/>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Fade-outs and Cover-ups</a:t>
            </a:r>
          </a:p>
        </p:txBody>
      </p:sp>
      <p:sp>
        <p:nvSpPr>
          <p:cNvPr id="7" name="Text Box 8">
            <a:extLst>
              <a:ext uri="{FF2B5EF4-FFF2-40B4-BE49-F238E27FC236}">
                <a16:creationId xmlns:a16="http://schemas.microsoft.com/office/drawing/2014/main" id="{7B2D386B-5D6A-4B9A-9F61-4CBEE1FB4491}"/>
              </a:ext>
            </a:extLst>
          </p:cNvPr>
          <p:cNvSpPr txBox="1">
            <a:spLocks noChangeArrowheads="1"/>
          </p:cNvSpPr>
          <p:nvPr>
            <p:custDataLst>
              <p:tags r:id="rId1"/>
            </p:custDataLst>
          </p:nvPr>
        </p:nvSpPr>
        <p:spPr bwMode="auto">
          <a:xfrm>
            <a:off x="345018" y="1766900"/>
            <a:ext cx="879475" cy="697627"/>
          </a:xfrm>
          <a:prstGeom prst="rect">
            <a:avLst/>
          </a:prstGeom>
          <a:noFill/>
          <a:ln w="6350">
            <a:noFill/>
            <a:miter lim="800000"/>
            <a:headEnd/>
            <a:tailEnd/>
          </a:ln>
          <a:effectLst/>
        </p:spPr>
        <p:txBody>
          <a:bodyPr lIns="0" tIns="0" rIns="0" bIns="0">
            <a:spAutoFit/>
          </a:bodyPr>
          <a:lstStyle/>
          <a:p>
            <a:pPr marL="0" marR="0" lvl="0" indent="0" algn="l" defTabSz="914400" rtl="0" eaLnBrk="0" fontAlgn="auto" latinLnBrk="0" hangingPunct="0">
              <a:lnSpc>
                <a:spcPct val="100000"/>
              </a:lnSpc>
              <a:spcBef>
                <a:spcPts val="100"/>
              </a:spcBef>
              <a:spcAft>
                <a:spcPts val="1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Phase 1</a:t>
            </a:r>
          </a:p>
          <a:p>
            <a:pPr marL="0" marR="0" lvl="0" indent="0" algn="l" defTabSz="914400" rtl="0" eaLnBrk="0" fontAlgn="auto" latinLnBrk="0" hangingPunct="0">
              <a:lnSpc>
                <a:spcPct val="100000"/>
              </a:lnSpc>
              <a:spcBef>
                <a:spcPts val="100"/>
              </a:spcBef>
              <a:spcAft>
                <a:spcPts val="10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0" marR="0" lvl="0" indent="0" algn="l" defTabSz="914400" rtl="0" eaLnBrk="0" fontAlgn="auto" latinLnBrk="0" hangingPunct="0">
              <a:lnSpc>
                <a:spcPct val="100000"/>
              </a:lnSpc>
              <a:spcBef>
                <a:spcPts val="100"/>
              </a:spcBef>
              <a:spcAft>
                <a:spcPts val="10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5" name="Rectangle 10">
            <a:extLst>
              <a:ext uri="{FF2B5EF4-FFF2-40B4-BE49-F238E27FC236}">
                <a16:creationId xmlns:a16="http://schemas.microsoft.com/office/drawing/2014/main" id="{D6C53302-C3EA-43E7-BCEF-8D97AC8B3AEA}"/>
              </a:ext>
            </a:extLst>
          </p:cNvPr>
          <p:cNvSpPr>
            <a:spLocks noChangeArrowheads="1"/>
          </p:cNvSpPr>
          <p:nvPr>
            <p:custDataLst>
              <p:tags r:id="rId2"/>
            </p:custDataLst>
          </p:nvPr>
        </p:nvSpPr>
        <p:spPr bwMode="auto">
          <a:xfrm>
            <a:off x="1323563" y="1628775"/>
            <a:ext cx="3544888" cy="2562225"/>
          </a:xfrm>
          <a:prstGeom prst="rect">
            <a:avLst/>
          </a:prstGeom>
          <a:solidFill>
            <a:srgbClr val="E4E7E7">
              <a:alpha val="50000"/>
            </a:srgbClr>
          </a:solidFill>
          <a:ln w="6350">
            <a:noFill/>
            <a:miter lim="800000"/>
            <a:headEnd/>
            <a:tailEnd/>
          </a:ln>
          <a:effectLst/>
        </p:spPr>
        <p:txBody>
          <a:bodyPr lIns="72000" tIns="72000" rIns="72000" bIns="72000" anchor="b"/>
          <a:lstStyle/>
          <a:p>
            <a:pPr marL="0" marR="0" lvl="0" indent="0" algn="l" defTabSz="914400" rtl="0" eaLnBrk="0" fontAlgn="auto" latinLnBrk="0" hangingPunct="0">
              <a:lnSpc>
                <a:spcPct val="100000"/>
              </a:lnSpc>
              <a:spcBef>
                <a:spcPts val="100"/>
              </a:spcBef>
              <a:spcAft>
                <a:spcPts val="10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mn-ea"/>
                <a:cs typeface="+mn-cs"/>
              </a:rPr>
              <a:t>Use this box to cover in-active or non-relevant parts of a slide, e.g. project phases out of scope. This area is optimized for black &amp; white printing.</a:t>
            </a:r>
          </a:p>
        </p:txBody>
      </p:sp>
      <p:sp>
        <p:nvSpPr>
          <p:cNvPr id="6" name="Text Box 7">
            <a:extLst>
              <a:ext uri="{FF2B5EF4-FFF2-40B4-BE49-F238E27FC236}">
                <a16:creationId xmlns:a16="http://schemas.microsoft.com/office/drawing/2014/main" id="{B18A740F-85A5-44B2-8BE6-1B11C5089AF4}"/>
              </a:ext>
            </a:extLst>
          </p:cNvPr>
          <p:cNvSpPr txBox="1">
            <a:spLocks noChangeArrowheads="1"/>
          </p:cNvSpPr>
          <p:nvPr>
            <p:custDataLst>
              <p:tags r:id="rId3"/>
            </p:custDataLst>
          </p:nvPr>
        </p:nvSpPr>
        <p:spPr bwMode="auto">
          <a:xfrm>
            <a:off x="1418168" y="1766900"/>
            <a:ext cx="879475" cy="697627"/>
          </a:xfrm>
          <a:prstGeom prst="rect">
            <a:avLst/>
          </a:prstGeom>
          <a:noFill/>
          <a:ln w="6350">
            <a:noFill/>
            <a:miter lim="800000"/>
            <a:headEnd/>
            <a:tailEnd/>
          </a:ln>
          <a:effectLst/>
        </p:spPr>
        <p:txBody>
          <a:bodyPr lIns="0" tIns="0" rIns="0" bIns="0">
            <a:spAutoFit/>
          </a:bodyPr>
          <a:lstStyle/>
          <a:p>
            <a:pPr marL="0" marR="0" lvl="0" indent="0" algn="l" defTabSz="914400" rtl="0" eaLnBrk="0" fontAlgn="auto" latinLnBrk="0" hangingPunct="0">
              <a:lnSpc>
                <a:spcPct val="100000"/>
              </a:lnSpc>
              <a:spcBef>
                <a:spcPts val="100"/>
              </a:spcBef>
              <a:spcAft>
                <a:spcPts val="1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Phase 2</a:t>
            </a:r>
          </a:p>
          <a:p>
            <a:pPr marL="0" marR="0" lvl="0" indent="0" algn="l" defTabSz="914400" rtl="0" eaLnBrk="0" fontAlgn="auto" latinLnBrk="0" hangingPunct="0">
              <a:lnSpc>
                <a:spcPct val="100000"/>
              </a:lnSpc>
              <a:spcBef>
                <a:spcPts val="100"/>
              </a:spcBef>
              <a:spcAft>
                <a:spcPts val="10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0" marR="0" lvl="0" indent="0" algn="l" defTabSz="914400" rtl="0" eaLnBrk="0" fontAlgn="auto" latinLnBrk="0" hangingPunct="0">
              <a:lnSpc>
                <a:spcPct val="100000"/>
              </a:lnSpc>
              <a:spcBef>
                <a:spcPts val="100"/>
              </a:spcBef>
              <a:spcAft>
                <a:spcPts val="10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8" name="Text Box 9">
            <a:extLst>
              <a:ext uri="{FF2B5EF4-FFF2-40B4-BE49-F238E27FC236}">
                <a16:creationId xmlns:a16="http://schemas.microsoft.com/office/drawing/2014/main" id="{0B5C27B9-77C1-48B4-BA16-6225DDA6844C}"/>
              </a:ext>
            </a:extLst>
          </p:cNvPr>
          <p:cNvSpPr txBox="1">
            <a:spLocks noChangeArrowheads="1"/>
          </p:cNvSpPr>
          <p:nvPr>
            <p:custDataLst>
              <p:tags r:id="rId4"/>
            </p:custDataLst>
          </p:nvPr>
        </p:nvSpPr>
        <p:spPr bwMode="auto">
          <a:xfrm>
            <a:off x="2526243" y="1766900"/>
            <a:ext cx="879475" cy="697627"/>
          </a:xfrm>
          <a:prstGeom prst="rect">
            <a:avLst/>
          </a:prstGeom>
          <a:noFill/>
          <a:ln w="6350">
            <a:noFill/>
            <a:miter lim="800000"/>
            <a:headEnd/>
            <a:tailEnd/>
          </a:ln>
          <a:effectLst/>
        </p:spPr>
        <p:txBody>
          <a:bodyPr lIns="0" tIns="0" rIns="0" bIns="0">
            <a:spAutoFit/>
          </a:bodyPr>
          <a:lstStyle/>
          <a:p>
            <a:pPr marL="0" marR="0" lvl="0" indent="0" algn="l" defTabSz="914400" rtl="0" eaLnBrk="0" fontAlgn="auto" latinLnBrk="0" hangingPunct="0">
              <a:lnSpc>
                <a:spcPct val="100000"/>
              </a:lnSpc>
              <a:spcBef>
                <a:spcPts val="100"/>
              </a:spcBef>
              <a:spcAft>
                <a:spcPts val="1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Phase 3</a:t>
            </a:r>
          </a:p>
          <a:p>
            <a:pPr marL="0" marR="0" lvl="0" indent="0" algn="l" defTabSz="914400" rtl="0" eaLnBrk="0" fontAlgn="auto" latinLnBrk="0" hangingPunct="0">
              <a:lnSpc>
                <a:spcPct val="100000"/>
              </a:lnSpc>
              <a:spcBef>
                <a:spcPts val="100"/>
              </a:spcBef>
              <a:spcAft>
                <a:spcPts val="10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Text</a:t>
            </a:r>
          </a:p>
          <a:p>
            <a:pPr marL="0" marR="0" lvl="0" indent="0" algn="l" defTabSz="914400" rtl="0" eaLnBrk="0" fontAlgn="auto" latinLnBrk="0" hangingPunct="0">
              <a:lnSpc>
                <a:spcPct val="100000"/>
              </a:lnSpc>
              <a:spcBef>
                <a:spcPts val="100"/>
              </a:spcBef>
              <a:spcAft>
                <a:spcPts val="10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Text</a:t>
            </a:r>
          </a:p>
        </p:txBody>
      </p:sp>
      <p:sp>
        <p:nvSpPr>
          <p:cNvPr id="9" name="Footer Placeholder 8">
            <a:extLst>
              <a:ext uri="{FF2B5EF4-FFF2-40B4-BE49-F238E27FC236}">
                <a16:creationId xmlns:a16="http://schemas.microsoft.com/office/drawing/2014/main" id="{96A3FF73-EDCC-405C-9C7F-7365F6C17C2B}"/>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0" name="Slide Number Placeholder 9">
            <a:extLst>
              <a:ext uri="{FF2B5EF4-FFF2-40B4-BE49-F238E27FC236}">
                <a16:creationId xmlns:a16="http://schemas.microsoft.com/office/drawing/2014/main" id="{29CA7451-46A5-4879-B0CB-EC7DE02D76D9}"/>
              </a:ext>
            </a:extLst>
          </p:cNvPr>
          <p:cNvSpPr>
            <a:spLocks noGrp="1"/>
          </p:cNvSpPr>
          <p:nvPr>
            <p:ph type="sldNum" sz="quarter" idx="10"/>
          </p:nvPr>
        </p:nvSpPr>
        <p:spPr/>
        <p:txBody>
          <a:bodyPr/>
          <a:lstStyle/>
          <a:p>
            <a:fld id="{1F90F471-3972-4120-B8B3-0237DE626C35}" type="slidenum">
              <a:rPr lang="en-US" smtClean="0"/>
              <a:pPr/>
              <a:t>442</a:t>
            </a:fld>
            <a:endParaRPr lang="en-US" dirty="0"/>
          </a:p>
        </p:txBody>
      </p:sp>
    </p:spTree>
    <p:extLst>
      <p:ext uri="{BB962C8B-B14F-4D97-AF65-F5344CB8AC3E}">
        <p14:creationId xmlns:p14="http://schemas.microsoft.com/office/powerpoint/2010/main" val="380525010"/>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altLang="zh-SG" dirty="0"/>
              <a:t>Duration, Milestones and Tick</a:t>
            </a:r>
            <a:endParaRPr lang="en-US" dirty="0"/>
          </a:p>
        </p:txBody>
      </p:sp>
      <p:sp>
        <p:nvSpPr>
          <p:cNvPr id="13" name="Rectangle 11">
            <a:extLst>
              <a:ext uri="{FF2B5EF4-FFF2-40B4-BE49-F238E27FC236}">
                <a16:creationId xmlns:a16="http://schemas.microsoft.com/office/drawing/2014/main" id="{F61D9CD1-A42F-4F7E-9390-70F593B193C4}"/>
              </a:ext>
            </a:extLst>
          </p:cNvPr>
          <p:cNvSpPr>
            <a:spLocks noChangeArrowheads="1"/>
          </p:cNvSpPr>
          <p:nvPr/>
        </p:nvSpPr>
        <p:spPr bwMode="auto">
          <a:xfrm>
            <a:off x="986409" y="2730350"/>
            <a:ext cx="2039938" cy="184666"/>
          </a:xfrm>
          <a:prstGeom prst="rect">
            <a:avLst/>
          </a:prstGeom>
          <a:noFill/>
          <a:ln w="6350">
            <a:noFill/>
            <a:miter lim="800000"/>
            <a:headEnd/>
            <a:tailEnd/>
          </a:ln>
          <a:effectLst/>
        </p:spPr>
        <p:txBody>
          <a:bodyPr lIns="0" tIns="0" rIns="0" bIns="0">
            <a:spAutoFit/>
          </a:bodyPr>
          <a:lstStyle/>
          <a:p>
            <a:pPr marL="0" marR="0" lvl="0" indent="0" algn="l" defTabSz="914400" rtl="0" eaLnBrk="0" fontAlgn="auto" latinLnBrk="0" hangingPunct="0">
              <a:lnSpc>
                <a:spcPct val="100000"/>
              </a:lnSpc>
              <a:spcBef>
                <a:spcPct val="3000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Duration line object</a:t>
            </a:r>
          </a:p>
        </p:txBody>
      </p:sp>
      <p:grpSp>
        <p:nvGrpSpPr>
          <p:cNvPr id="6" name="Gruppieren 15" descr="Weeks">
            <a:extLst>
              <a:ext uri="{FF2B5EF4-FFF2-40B4-BE49-F238E27FC236}">
                <a16:creationId xmlns:a16="http://schemas.microsoft.com/office/drawing/2014/main" id="{3052A846-60E6-4A1C-B28A-E3D591406B5A}"/>
              </a:ext>
            </a:extLst>
          </p:cNvPr>
          <p:cNvGrpSpPr/>
          <p:nvPr/>
        </p:nvGrpSpPr>
        <p:grpSpPr bwMode="auto">
          <a:xfrm>
            <a:off x="986409" y="3000225"/>
            <a:ext cx="2039938" cy="290513"/>
            <a:chOff x="844550" y="3241675"/>
            <a:chExt cx="2039938" cy="290513"/>
          </a:xfrm>
        </p:grpSpPr>
        <p:sp>
          <p:nvSpPr>
            <p:cNvPr id="7" name="Line 5">
              <a:extLst>
                <a:ext uri="{FF2B5EF4-FFF2-40B4-BE49-F238E27FC236}">
                  <a16:creationId xmlns:a16="http://schemas.microsoft.com/office/drawing/2014/main" id="{634DC5FD-D501-4DCE-9B4D-CFABDAB293D5}"/>
                </a:ext>
              </a:extLst>
            </p:cNvPr>
            <p:cNvSpPr>
              <a:spLocks noChangeShapeType="1"/>
            </p:cNvSpPr>
            <p:nvPr/>
          </p:nvSpPr>
          <p:spPr bwMode="auto">
            <a:xfrm>
              <a:off x="844550" y="3373438"/>
              <a:ext cx="2039938" cy="0"/>
            </a:xfrm>
            <a:prstGeom prst="line">
              <a:avLst/>
            </a:prstGeom>
            <a:noFill/>
            <a:ln w="6350">
              <a:solidFill>
                <a:srgbClr val="BE82FF"/>
              </a:solidFill>
              <a:round/>
              <a:headEnd type="triangle" w="med" len="med"/>
              <a:tailEnd type="triangl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a typeface="+mn-ea"/>
                <a:cs typeface="+mn-cs"/>
              </a:endParaRPr>
            </a:p>
          </p:txBody>
        </p:sp>
        <p:sp>
          <p:nvSpPr>
            <p:cNvPr id="8" name="Rectangle 6">
              <a:extLst>
                <a:ext uri="{FF2B5EF4-FFF2-40B4-BE49-F238E27FC236}">
                  <a16:creationId xmlns:a16="http://schemas.microsoft.com/office/drawing/2014/main" id="{F567CA7F-CE36-4A6C-A2C9-0C56919DAA61}"/>
                </a:ext>
              </a:extLst>
            </p:cNvPr>
            <p:cNvSpPr>
              <a:spLocks noChangeArrowheads="1"/>
            </p:cNvSpPr>
            <p:nvPr/>
          </p:nvSpPr>
          <p:spPr bwMode="auto">
            <a:xfrm>
              <a:off x="1447836" y="3241675"/>
              <a:ext cx="833367" cy="290513"/>
            </a:xfrm>
            <a:prstGeom prst="rect">
              <a:avLst/>
            </a:prstGeom>
            <a:solidFill>
              <a:srgbClr val="FFFFFF"/>
            </a:solidFill>
            <a:ln w="6350">
              <a:noFill/>
              <a:miter lim="800000"/>
              <a:headEnd/>
              <a:tailEnd/>
            </a:ln>
            <a:effectLst/>
          </p:spPr>
          <p:txBody>
            <a:bodyPr wrap="none" lIns="45720" rIns="4572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mn-ea"/>
                  <a:cs typeface="+mn-cs"/>
                </a:rPr>
                <a:t>3-4 weeks</a:t>
              </a:r>
            </a:p>
          </p:txBody>
        </p:sp>
      </p:grpSp>
      <p:sp>
        <p:nvSpPr>
          <p:cNvPr id="9" name="Rectangle 7">
            <a:extLst>
              <a:ext uri="{FF2B5EF4-FFF2-40B4-BE49-F238E27FC236}">
                <a16:creationId xmlns:a16="http://schemas.microsoft.com/office/drawing/2014/main" id="{B2B4677E-3B92-4F4B-B479-3DF8096CEACF}"/>
              </a:ext>
            </a:extLst>
          </p:cNvPr>
          <p:cNvSpPr>
            <a:spLocks noChangeArrowheads="1"/>
          </p:cNvSpPr>
          <p:nvPr/>
        </p:nvSpPr>
        <p:spPr bwMode="auto">
          <a:xfrm>
            <a:off x="986409" y="3339950"/>
            <a:ext cx="2039938" cy="553998"/>
          </a:xfrm>
          <a:prstGeom prst="rect">
            <a:avLst/>
          </a:prstGeom>
          <a:noFill/>
          <a:ln w="6350">
            <a:noFill/>
            <a:miter lim="800000"/>
            <a:headEnd/>
            <a:tailEnd/>
          </a:ln>
          <a:effectLst/>
        </p:spPr>
        <p:txBody>
          <a:bodyPr lIns="0" tIns="0" rIns="0" bIns="0">
            <a:spAutoFit/>
          </a:bodyPr>
          <a:lstStyle/>
          <a:p>
            <a:pPr marL="0" marR="0" lvl="0" indent="0" algn="l" defTabSz="914400" rtl="0" eaLnBrk="0" fontAlgn="auto" latinLnBrk="0" hangingPunct="0">
              <a:lnSpc>
                <a:spcPct val="100000"/>
              </a:lnSpc>
              <a:spcBef>
                <a:spcPct val="3000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mn-ea"/>
                <a:cs typeface="+mn-cs"/>
              </a:rPr>
              <a:t>This object can be stretched to its required width.</a:t>
            </a:r>
          </a:p>
        </p:txBody>
      </p:sp>
      <p:grpSp>
        <p:nvGrpSpPr>
          <p:cNvPr id="10" name="Group 8" descr="Milestone Object">
            <a:extLst>
              <a:ext uri="{FF2B5EF4-FFF2-40B4-BE49-F238E27FC236}">
                <a16:creationId xmlns:a16="http://schemas.microsoft.com/office/drawing/2014/main" id="{2A4106C6-C98B-409D-8B5E-607BEA73D5F8}"/>
              </a:ext>
            </a:extLst>
          </p:cNvPr>
          <p:cNvGrpSpPr>
            <a:grpSpLocks/>
          </p:cNvGrpSpPr>
          <p:nvPr/>
        </p:nvGrpSpPr>
        <p:grpSpPr bwMode="auto">
          <a:xfrm>
            <a:off x="3658172" y="1733400"/>
            <a:ext cx="1827212" cy="3859809"/>
            <a:chOff x="2400" y="1497"/>
            <a:chExt cx="1246" cy="1951"/>
          </a:xfrm>
        </p:grpSpPr>
        <p:sp>
          <p:nvSpPr>
            <p:cNvPr id="11" name="Line 9">
              <a:extLst>
                <a:ext uri="{FF2B5EF4-FFF2-40B4-BE49-F238E27FC236}">
                  <a16:creationId xmlns:a16="http://schemas.microsoft.com/office/drawing/2014/main" id="{0789A1CD-A919-4EF9-85D4-D3D0AC1AE215}"/>
                </a:ext>
              </a:extLst>
            </p:cNvPr>
            <p:cNvSpPr>
              <a:spLocks noChangeShapeType="1"/>
            </p:cNvSpPr>
            <p:nvPr/>
          </p:nvSpPr>
          <p:spPr bwMode="auto">
            <a:xfrm>
              <a:off x="3023" y="1497"/>
              <a:ext cx="0" cy="1340"/>
            </a:xfrm>
            <a:prstGeom prst="line">
              <a:avLst/>
            </a:prstGeom>
            <a:noFill/>
            <a:ln w="6350">
              <a:solidFill>
                <a:srgbClr val="BE82FF"/>
              </a:solidFill>
              <a:prstDash val="dash"/>
              <a:round/>
              <a:headEnd/>
              <a:tailEnd/>
            </a:ln>
            <a:effectLst/>
          </p:spPr>
          <p:txBody>
            <a:bodyPr wrap="none" lIns="36000" tIns="36000" rIns="36000" bIns="36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a typeface="+mn-ea"/>
                <a:cs typeface="+mn-cs"/>
              </a:endParaRPr>
            </a:p>
          </p:txBody>
        </p:sp>
        <p:sp>
          <p:nvSpPr>
            <p:cNvPr id="12" name="Text Box 10">
              <a:extLst>
                <a:ext uri="{FF2B5EF4-FFF2-40B4-BE49-F238E27FC236}">
                  <a16:creationId xmlns:a16="http://schemas.microsoft.com/office/drawing/2014/main" id="{E43F1AD7-62E9-4B6B-83E0-41BF17E8B2CE}"/>
                </a:ext>
              </a:extLst>
            </p:cNvPr>
            <p:cNvSpPr txBox="1">
              <a:spLocks noChangeArrowheads="1"/>
            </p:cNvSpPr>
            <p:nvPr/>
          </p:nvSpPr>
          <p:spPr bwMode="auto">
            <a:xfrm>
              <a:off x="2400" y="2795"/>
              <a:ext cx="1246" cy="653"/>
            </a:xfrm>
            <a:prstGeom prst="rect">
              <a:avLst/>
            </a:prstGeom>
            <a:solidFill>
              <a:srgbClr val="FFFFFF"/>
            </a:solidFill>
            <a:ln w="6350">
              <a:noFill/>
              <a:miter lim="800000"/>
              <a:headEnd/>
              <a:tailEnd/>
            </a:ln>
            <a:effectLst/>
          </p:spPr>
          <p:txBody>
            <a:bodyPr lIns="0" tIns="0" rIns="0" bIns="0">
              <a:spAutoFit/>
            </a:bodyPr>
            <a:lstStyle/>
            <a:p>
              <a:pPr marL="0" marR="0" lvl="0" indent="0" algn="l" defTabSz="914400" rtl="0" eaLnBrk="0" fontAlgn="auto" latinLnBrk="0" hangingPunct="0">
                <a:lnSpc>
                  <a:spcPct val="100000"/>
                </a:lnSpc>
                <a:spcBef>
                  <a:spcPct val="0"/>
                </a:spcBef>
                <a:spcAft>
                  <a:spcPts val="0"/>
                </a:spcAft>
                <a:buClr>
                  <a:srgbClr val="BE82FF"/>
                </a:buClr>
                <a:buSzTx/>
                <a:buFont typeface="Wingdings" pitchFamily="2" charset="2"/>
                <a:buChar char="u"/>
                <a:tabLst/>
                <a:defRPr/>
              </a:pPr>
              <a:r>
                <a:rPr kumimoji="0" lang="en-US" sz="1200" b="0" i="0" u="none" strike="noStrike" kern="0" cap="none" spc="0" normalizeH="0" baseline="0" noProof="0" dirty="0">
                  <a:ln>
                    <a:noFill/>
                  </a:ln>
                  <a:solidFill>
                    <a:srgbClr val="000000"/>
                  </a:solidFill>
                  <a:effectLst/>
                  <a:uLnTx/>
                  <a:uFillTx/>
                  <a:latin typeface="Arial"/>
                  <a:ea typeface="+mn-ea"/>
                  <a:cs typeface="+mn-cs"/>
                </a:rPr>
                <a:t> </a:t>
              </a:r>
              <a:br>
                <a:rPr kumimoji="0" lang="en-US" sz="1200" b="0" i="0" u="none" strike="noStrike" kern="0" cap="none" spc="0" normalizeH="0" baseline="0" noProof="0" dirty="0">
                  <a:ln>
                    <a:noFill/>
                  </a:ln>
                  <a:solidFill>
                    <a:srgbClr val="000000"/>
                  </a:solidFill>
                  <a:effectLst/>
                  <a:uLnTx/>
                  <a:uFillTx/>
                  <a:latin typeface="Arial"/>
                  <a:ea typeface="+mn-ea"/>
                  <a:cs typeface="+mn-cs"/>
                </a:rPr>
              </a:br>
              <a:r>
                <a:rPr kumimoji="0" lang="en-US" sz="1200" b="0" i="0" u="none" strike="noStrike" kern="0" cap="none" spc="0" normalizeH="0" baseline="0" noProof="0" dirty="0">
                  <a:ln>
                    <a:noFill/>
                  </a:ln>
                  <a:solidFill>
                    <a:srgbClr val="000000"/>
                  </a:solidFill>
                  <a:effectLst/>
                  <a:uLnTx/>
                  <a:uFillTx/>
                  <a:ea typeface="+mn-ea"/>
                  <a:cs typeface="+mn-cs"/>
                </a:rPr>
                <a:t>13.03.02</a:t>
              </a:r>
            </a:p>
            <a:p>
              <a:pPr marL="0" marR="0" lvl="0" indent="0" algn="l" defTabSz="914400" rtl="0" eaLnBrk="0" fontAlgn="auto" latinLnBrk="0" hangingPunct="0">
                <a:lnSpc>
                  <a:spcPct val="100000"/>
                </a:lnSpc>
                <a:spcBef>
                  <a:spcPct val="0"/>
                </a:spcBef>
                <a:spcAft>
                  <a:spcPts val="0"/>
                </a:spcAft>
                <a:buClr>
                  <a:srgbClr val="96968C"/>
                </a:buClr>
                <a:buSzTx/>
                <a:buFont typeface="Wingdings" pitchFamily="2" charset="2"/>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Milestone object</a:t>
              </a:r>
            </a:p>
            <a:p>
              <a:pPr marL="0" marR="0" lvl="0" indent="0" algn="l" defTabSz="914400" rtl="0" eaLnBrk="0" fontAlgn="auto" latinLnBrk="0" hangingPunct="0">
                <a:lnSpc>
                  <a:spcPct val="100000"/>
                </a:lnSpc>
                <a:spcBef>
                  <a:spcPct val="0"/>
                </a:spcBef>
                <a:spcAft>
                  <a:spcPts val="0"/>
                </a:spcAft>
                <a:buClr>
                  <a:srgbClr val="96968C"/>
                </a:buClr>
                <a:buSzTx/>
                <a:buFont typeface="Wingdings" pitchFamily="2" charset="2"/>
                <a:buNone/>
                <a:tabLst/>
                <a:defRPr/>
              </a:pPr>
              <a:r>
                <a:rPr kumimoji="0" lang="en-US" sz="1200" b="0" i="0" u="none" strike="noStrike" kern="0" cap="none" spc="0" normalizeH="0" baseline="0" noProof="0" dirty="0">
                  <a:ln>
                    <a:noFill/>
                  </a:ln>
                  <a:solidFill>
                    <a:srgbClr val="000000"/>
                  </a:solidFill>
                  <a:effectLst/>
                  <a:uLnTx/>
                  <a:uFillTx/>
                  <a:ea typeface="+mn-ea"/>
                  <a:cs typeface="+mn-cs"/>
                </a:rPr>
                <a:t>The above diamond shape will not change its size when line is stretched </a:t>
              </a:r>
            </a:p>
          </p:txBody>
        </p:sp>
      </p:grpSp>
      <p:sp>
        <p:nvSpPr>
          <p:cNvPr id="5" name="Rectangle 3">
            <a:extLst>
              <a:ext uri="{FF2B5EF4-FFF2-40B4-BE49-F238E27FC236}">
                <a16:creationId xmlns:a16="http://schemas.microsoft.com/office/drawing/2014/main" id="{1A37F9C1-3BCE-4C5F-8B80-F6A199371CBB}"/>
              </a:ext>
            </a:extLst>
          </p:cNvPr>
          <p:cNvSpPr>
            <a:spLocks noChangeArrowheads="1"/>
          </p:cNvSpPr>
          <p:nvPr/>
        </p:nvSpPr>
        <p:spPr bwMode="auto">
          <a:xfrm>
            <a:off x="6628384" y="2904289"/>
            <a:ext cx="1418658" cy="430887"/>
          </a:xfrm>
          <a:prstGeom prst="rect">
            <a:avLst/>
          </a:prstGeom>
          <a:noFill/>
          <a:ln w="6350">
            <a:noFill/>
            <a:miter lim="800000"/>
            <a:headEnd/>
            <a:tailEnd/>
          </a:ln>
          <a:effectLst/>
        </p:spPr>
        <p:txBody>
          <a:bodyPr wrap="none" lIns="0" tIns="0" rIns="0" bIns="0">
            <a:spAutoFit/>
          </a:bodyP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mn-ea"/>
                <a:cs typeface="+mn-cs"/>
                <a:sym typeface="Wingdings" pitchFamily="2" charset="2"/>
              </a:rPr>
              <a:t>Tick character: </a:t>
            </a:r>
            <a:r>
              <a:rPr kumimoji="0" lang="en-US" sz="2800" b="1" i="0" u="none" strike="noStrike" kern="0" cap="none" spc="0" normalizeH="0" baseline="0" noProof="0" dirty="0">
                <a:ln>
                  <a:noFill/>
                </a:ln>
                <a:solidFill>
                  <a:srgbClr val="A100FF"/>
                </a:solidFill>
                <a:effectLst/>
                <a:uLnTx/>
                <a:uFillTx/>
                <a:ea typeface="+mn-ea"/>
                <a:cs typeface="+mn-cs"/>
                <a:sym typeface="Wingdings" pitchFamily="2" charset="2"/>
              </a:rPr>
              <a:t></a:t>
            </a:r>
          </a:p>
        </p:txBody>
      </p:sp>
      <p:sp>
        <p:nvSpPr>
          <p:cNvPr id="17" name="Footer Placeholder 16">
            <a:extLst>
              <a:ext uri="{FF2B5EF4-FFF2-40B4-BE49-F238E27FC236}">
                <a16:creationId xmlns:a16="http://schemas.microsoft.com/office/drawing/2014/main" id="{67E33787-4055-4D2F-85AB-6211E5B2E185}"/>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8" name="Slide Number Placeholder 17">
            <a:extLst>
              <a:ext uri="{FF2B5EF4-FFF2-40B4-BE49-F238E27FC236}">
                <a16:creationId xmlns:a16="http://schemas.microsoft.com/office/drawing/2014/main" id="{A1EC6F43-9D87-499E-B292-C5844AA8AE27}"/>
              </a:ext>
            </a:extLst>
          </p:cNvPr>
          <p:cNvSpPr>
            <a:spLocks noGrp="1"/>
          </p:cNvSpPr>
          <p:nvPr>
            <p:ph type="sldNum" sz="quarter" idx="10"/>
          </p:nvPr>
        </p:nvSpPr>
        <p:spPr/>
        <p:txBody>
          <a:bodyPr/>
          <a:lstStyle/>
          <a:p>
            <a:fld id="{1F90F471-3972-4120-B8B3-0237DE626C35}" type="slidenum">
              <a:rPr lang="en-US" smtClean="0"/>
              <a:pPr/>
              <a:t>443</a:t>
            </a:fld>
            <a:endParaRPr lang="en-US" dirty="0"/>
          </a:p>
        </p:txBody>
      </p:sp>
    </p:spTree>
    <p:extLst>
      <p:ext uri="{BB962C8B-B14F-4D97-AF65-F5344CB8AC3E}">
        <p14:creationId xmlns:p14="http://schemas.microsoft.com/office/powerpoint/2010/main" val="730628456"/>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Discontinuous Axis Marks</a:t>
            </a:r>
          </a:p>
        </p:txBody>
      </p:sp>
      <p:sp>
        <p:nvSpPr>
          <p:cNvPr id="3" name="TextBox 2">
            <a:extLst>
              <a:ext uri="{FF2B5EF4-FFF2-40B4-BE49-F238E27FC236}">
                <a16:creationId xmlns:a16="http://schemas.microsoft.com/office/drawing/2014/main" id="{B95E7ED2-8831-4FB5-A1EE-7825CD00BA73}"/>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Place one of these objects on a graph’s axis or bar </a:t>
            </a:r>
            <a:br>
              <a:rPr kumimoji="0" lang="en-GB" sz="1600" b="0" i="0" u="none" strike="noStrike" kern="1200" cap="none" spc="0" normalizeH="0" baseline="0" noProof="0" dirty="0">
                <a:ln>
                  <a:noFill/>
                </a:ln>
                <a:solidFill>
                  <a:srgbClr val="000000"/>
                </a:solidFill>
                <a:effectLst/>
                <a:uLnTx/>
                <a:uFillTx/>
                <a:ea typeface="+mn-ea"/>
                <a:cs typeface="+mn-cs"/>
              </a:rPr>
            </a:br>
            <a:r>
              <a:rPr kumimoji="0" lang="en-GB" sz="1600" b="0" i="0" u="none" strike="noStrike" kern="1200" cap="none" spc="0" normalizeH="0" baseline="0" noProof="0" dirty="0">
                <a:ln>
                  <a:noFill/>
                </a:ln>
                <a:solidFill>
                  <a:srgbClr val="000000"/>
                </a:solidFill>
                <a:effectLst/>
                <a:uLnTx/>
                <a:uFillTx/>
                <a:ea typeface="+mn-ea"/>
                <a:cs typeface="+mn-cs"/>
              </a:rPr>
              <a:t>to advise about a discontinuous scale</a:t>
            </a:r>
          </a:p>
        </p:txBody>
      </p:sp>
      <p:grpSp>
        <p:nvGrpSpPr>
          <p:cNvPr id="4" name="Group 3" descr="Example 1">
            <a:extLst>
              <a:ext uri="{FF2B5EF4-FFF2-40B4-BE49-F238E27FC236}">
                <a16:creationId xmlns:a16="http://schemas.microsoft.com/office/drawing/2014/main" id="{06B8B7FA-F2CF-45E7-B595-3A3A21EA0DAE}"/>
              </a:ext>
            </a:extLst>
          </p:cNvPr>
          <p:cNvGrpSpPr/>
          <p:nvPr/>
        </p:nvGrpSpPr>
        <p:grpSpPr>
          <a:xfrm>
            <a:off x="1193626" y="3745185"/>
            <a:ext cx="1390650" cy="458788"/>
            <a:chOff x="1193626" y="3745185"/>
            <a:chExt cx="1390650" cy="458788"/>
          </a:xfrm>
        </p:grpSpPr>
        <p:grpSp>
          <p:nvGrpSpPr>
            <p:cNvPr id="6" name="Group 24">
              <a:extLst>
                <a:ext uri="{FF2B5EF4-FFF2-40B4-BE49-F238E27FC236}">
                  <a16:creationId xmlns:a16="http://schemas.microsoft.com/office/drawing/2014/main" id="{745F1E46-12DF-4FCC-BA89-A30875833218}"/>
                </a:ext>
              </a:extLst>
            </p:cNvPr>
            <p:cNvGrpSpPr>
              <a:grpSpLocks/>
            </p:cNvGrpSpPr>
            <p:nvPr/>
          </p:nvGrpSpPr>
          <p:grpSpPr bwMode="auto">
            <a:xfrm>
              <a:off x="1193626" y="3745185"/>
              <a:ext cx="392113" cy="458788"/>
              <a:chOff x="4332" y="2562"/>
              <a:chExt cx="268" cy="289"/>
            </a:xfrm>
          </p:grpSpPr>
          <p:sp>
            <p:nvSpPr>
              <p:cNvPr id="7" name="Freeform 25">
                <a:extLst>
                  <a:ext uri="{FF2B5EF4-FFF2-40B4-BE49-F238E27FC236}">
                    <a16:creationId xmlns:a16="http://schemas.microsoft.com/office/drawing/2014/main" id="{17CDB244-E0F7-4B31-9AF9-9AA45C1ECD7C}"/>
                  </a:ext>
                </a:extLst>
              </p:cNvPr>
              <p:cNvSpPr>
                <a:spLocks/>
              </p:cNvSpPr>
              <p:nvPr/>
            </p:nvSpPr>
            <p:spPr bwMode="auto">
              <a:xfrm>
                <a:off x="4381" y="2619"/>
                <a:ext cx="184" cy="152"/>
              </a:xfrm>
              <a:custGeom>
                <a:avLst/>
                <a:gdLst/>
                <a:ahLst/>
                <a:cxnLst>
                  <a:cxn ang="0">
                    <a:pos x="102" y="0"/>
                  </a:cxn>
                  <a:cxn ang="0">
                    <a:pos x="199" y="0"/>
                  </a:cxn>
                  <a:cxn ang="0">
                    <a:pos x="97" y="177"/>
                  </a:cxn>
                  <a:cxn ang="0">
                    <a:pos x="0" y="177"/>
                  </a:cxn>
                  <a:cxn ang="0">
                    <a:pos x="102" y="0"/>
                  </a:cxn>
                </a:cxnLst>
                <a:rect l="0" t="0" r="r" b="b"/>
                <a:pathLst>
                  <a:path w="199" h="177">
                    <a:moveTo>
                      <a:pt x="102" y="0"/>
                    </a:moveTo>
                    <a:lnTo>
                      <a:pt x="199" y="0"/>
                    </a:lnTo>
                    <a:lnTo>
                      <a:pt x="97" y="177"/>
                    </a:lnTo>
                    <a:lnTo>
                      <a:pt x="0" y="177"/>
                    </a:lnTo>
                    <a:lnTo>
                      <a:pt x="102" y="0"/>
                    </a:lnTo>
                    <a:close/>
                  </a:path>
                </a:pathLst>
              </a:custGeom>
              <a:solidFill>
                <a:srgbClr val="FFFFFF"/>
              </a:solidFill>
              <a:ln w="3175" cap="flat" cmpd="sng">
                <a:noFill/>
                <a:prstDash val="solid"/>
                <a:round/>
                <a:headEnd type="none" w="med" len="med"/>
                <a:tailEnd type="none" w="med" len="me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a typeface="+mn-ea"/>
                  <a:cs typeface="+mn-cs"/>
                </a:endParaRPr>
              </a:p>
            </p:txBody>
          </p:sp>
          <p:sp>
            <p:nvSpPr>
              <p:cNvPr id="8" name="Line 26">
                <a:extLst>
                  <a:ext uri="{FF2B5EF4-FFF2-40B4-BE49-F238E27FC236}">
                    <a16:creationId xmlns:a16="http://schemas.microsoft.com/office/drawing/2014/main" id="{A5770749-30EE-4FE3-960C-1B5F09BF2B72}"/>
                  </a:ext>
                </a:extLst>
              </p:cNvPr>
              <p:cNvSpPr>
                <a:spLocks noChangeShapeType="1"/>
              </p:cNvSpPr>
              <p:nvPr/>
            </p:nvSpPr>
            <p:spPr bwMode="auto">
              <a:xfrm flipV="1">
                <a:off x="4332" y="2562"/>
                <a:ext cx="180" cy="289"/>
              </a:xfrm>
              <a:prstGeom prst="line">
                <a:avLst/>
              </a:prstGeom>
              <a:noFill/>
              <a:ln w="6350">
                <a:solidFill>
                  <a:srgbClr val="666666"/>
                </a:solid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a typeface="+mn-ea"/>
                  <a:cs typeface="+mn-cs"/>
                </a:endParaRPr>
              </a:p>
            </p:txBody>
          </p:sp>
          <p:sp>
            <p:nvSpPr>
              <p:cNvPr id="9" name="Line 27">
                <a:extLst>
                  <a:ext uri="{FF2B5EF4-FFF2-40B4-BE49-F238E27FC236}">
                    <a16:creationId xmlns:a16="http://schemas.microsoft.com/office/drawing/2014/main" id="{6950167E-895B-40D4-9E9C-E355DE50791C}"/>
                  </a:ext>
                </a:extLst>
              </p:cNvPr>
              <p:cNvSpPr>
                <a:spLocks noChangeShapeType="1"/>
              </p:cNvSpPr>
              <p:nvPr/>
            </p:nvSpPr>
            <p:spPr bwMode="auto">
              <a:xfrm flipV="1">
                <a:off x="4420" y="2562"/>
                <a:ext cx="180" cy="289"/>
              </a:xfrm>
              <a:prstGeom prst="line">
                <a:avLst/>
              </a:prstGeom>
              <a:noFill/>
              <a:ln w="6350">
                <a:solidFill>
                  <a:srgbClr val="666666"/>
                </a:solid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10" name="Group 37">
              <a:extLst>
                <a:ext uri="{FF2B5EF4-FFF2-40B4-BE49-F238E27FC236}">
                  <a16:creationId xmlns:a16="http://schemas.microsoft.com/office/drawing/2014/main" id="{CF1B77B1-33C5-4694-A8CA-30A85F4A0106}"/>
                </a:ext>
              </a:extLst>
            </p:cNvPr>
            <p:cNvGrpSpPr>
              <a:grpSpLocks/>
            </p:cNvGrpSpPr>
            <p:nvPr/>
          </p:nvGrpSpPr>
          <p:grpSpPr bwMode="auto">
            <a:xfrm rot="16200000" flipH="1">
              <a:off x="2159620" y="3761854"/>
              <a:ext cx="425450" cy="423862"/>
              <a:chOff x="4332" y="2562"/>
              <a:chExt cx="268" cy="289"/>
            </a:xfrm>
          </p:grpSpPr>
          <p:sp>
            <p:nvSpPr>
              <p:cNvPr id="11" name="Freeform 38">
                <a:extLst>
                  <a:ext uri="{FF2B5EF4-FFF2-40B4-BE49-F238E27FC236}">
                    <a16:creationId xmlns:a16="http://schemas.microsoft.com/office/drawing/2014/main" id="{C2DAE165-1F24-42FE-8C60-84D120740F3D}"/>
                  </a:ext>
                </a:extLst>
              </p:cNvPr>
              <p:cNvSpPr>
                <a:spLocks/>
              </p:cNvSpPr>
              <p:nvPr/>
            </p:nvSpPr>
            <p:spPr bwMode="auto">
              <a:xfrm>
                <a:off x="4381" y="2619"/>
                <a:ext cx="184" cy="152"/>
              </a:xfrm>
              <a:custGeom>
                <a:avLst/>
                <a:gdLst/>
                <a:ahLst/>
                <a:cxnLst>
                  <a:cxn ang="0">
                    <a:pos x="102" y="0"/>
                  </a:cxn>
                  <a:cxn ang="0">
                    <a:pos x="199" y="0"/>
                  </a:cxn>
                  <a:cxn ang="0">
                    <a:pos x="97" y="177"/>
                  </a:cxn>
                  <a:cxn ang="0">
                    <a:pos x="0" y="177"/>
                  </a:cxn>
                  <a:cxn ang="0">
                    <a:pos x="102" y="0"/>
                  </a:cxn>
                </a:cxnLst>
                <a:rect l="0" t="0" r="r" b="b"/>
                <a:pathLst>
                  <a:path w="199" h="177">
                    <a:moveTo>
                      <a:pt x="102" y="0"/>
                    </a:moveTo>
                    <a:lnTo>
                      <a:pt x="199" y="0"/>
                    </a:lnTo>
                    <a:lnTo>
                      <a:pt x="97" y="177"/>
                    </a:lnTo>
                    <a:lnTo>
                      <a:pt x="0" y="177"/>
                    </a:lnTo>
                    <a:lnTo>
                      <a:pt x="102" y="0"/>
                    </a:lnTo>
                    <a:close/>
                  </a:path>
                </a:pathLst>
              </a:custGeom>
              <a:solidFill>
                <a:srgbClr val="FFFFFF"/>
              </a:solidFill>
              <a:ln w="3175" cap="flat" cmpd="sng">
                <a:noFill/>
                <a:prstDash val="solid"/>
                <a:round/>
                <a:headEnd type="none" w="med" len="med"/>
                <a:tailEnd type="none" w="med" len="me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a typeface="+mn-ea"/>
                  <a:cs typeface="+mn-cs"/>
                </a:endParaRPr>
              </a:p>
            </p:txBody>
          </p:sp>
          <p:sp>
            <p:nvSpPr>
              <p:cNvPr id="12" name="Line 39">
                <a:extLst>
                  <a:ext uri="{FF2B5EF4-FFF2-40B4-BE49-F238E27FC236}">
                    <a16:creationId xmlns:a16="http://schemas.microsoft.com/office/drawing/2014/main" id="{4AABB291-A38A-412A-B495-724D45AE1CE3}"/>
                  </a:ext>
                </a:extLst>
              </p:cNvPr>
              <p:cNvSpPr>
                <a:spLocks noChangeShapeType="1"/>
              </p:cNvSpPr>
              <p:nvPr/>
            </p:nvSpPr>
            <p:spPr bwMode="auto">
              <a:xfrm flipV="1">
                <a:off x="4332" y="2562"/>
                <a:ext cx="180" cy="289"/>
              </a:xfrm>
              <a:prstGeom prst="line">
                <a:avLst/>
              </a:prstGeom>
              <a:noFill/>
              <a:ln w="6350">
                <a:solidFill>
                  <a:srgbClr val="666666"/>
                </a:solid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a typeface="+mn-ea"/>
                  <a:cs typeface="+mn-cs"/>
                </a:endParaRPr>
              </a:p>
            </p:txBody>
          </p:sp>
          <p:sp>
            <p:nvSpPr>
              <p:cNvPr id="13" name="Line 40">
                <a:extLst>
                  <a:ext uri="{FF2B5EF4-FFF2-40B4-BE49-F238E27FC236}">
                    <a16:creationId xmlns:a16="http://schemas.microsoft.com/office/drawing/2014/main" id="{91794621-179F-4E1D-BB4C-F4AB66B70F3F}"/>
                  </a:ext>
                </a:extLst>
              </p:cNvPr>
              <p:cNvSpPr>
                <a:spLocks noChangeShapeType="1"/>
              </p:cNvSpPr>
              <p:nvPr/>
            </p:nvSpPr>
            <p:spPr bwMode="auto">
              <a:xfrm flipV="1">
                <a:off x="4420" y="2562"/>
                <a:ext cx="180" cy="289"/>
              </a:xfrm>
              <a:prstGeom prst="line">
                <a:avLst/>
              </a:prstGeom>
              <a:noFill/>
              <a:ln w="6350">
                <a:solidFill>
                  <a:srgbClr val="666666"/>
                </a:solid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a typeface="+mn-ea"/>
                  <a:cs typeface="+mn-cs"/>
                </a:endParaRPr>
              </a:p>
            </p:txBody>
          </p:sp>
        </p:grpSp>
      </p:grpSp>
      <p:grpSp>
        <p:nvGrpSpPr>
          <p:cNvPr id="36" name="Group 35" descr="Example 2">
            <a:extLst>
              <a:ext uri="{FF2B5EF4-FFF2-40B4-BE49-F238E27FC236}">
                <a16:creationId xmlns:a16="http://schemas.microsoft.com/office/drawing/2014/main" id="{876F4384-4AB4-43D2-B2C0-39F2DCC220B2}"/>
              </a:ext>
            </a:extLst>
          </p:cNvPr>
          <p:cNvGrpSpPr/>
          <p:nvPr/>
        </p:nvGrpSpPr>
        <p:grpSpPr>
          <a:xfrm>
            <a:off x="4343226" y="2429148"/>
            <a:ext cx="1098550" cy="3090862"/>
            <a:chOff x="4343226" y="2429148"/>
            <a:chExt cx="1098550" cy="3090862"/>
          </a:xfrm>
        </p:grpSpPr>
        <p:sp>
          <p:nvSpPr>
            <p:cNvPr id="5" name="Line 14">
              <a:extLst>
                <a:ext uri="{FF2B5EF4-FFF2-40B4-BE49-F238E27FC236}">
                  <a16:creationId xmlns:a16="http://schemas.microsoft.com/office/drawing/2014/main" id="{F8FD6ADE-C840-483C-9563-7C620019961A}"/>
                </a:ext>
              </a:extLst>
            </p:cNvPr>
            <p:cNvSpPr>
              <a:spLocks noChangeShapeType="1"/>
            </p:cNvSpPr>
            <p:nvPr/>
          </p:nvSpPr>
          <p:spPr bwMode="auto">
            <a:xfrm>
              <a:off x="4540076" y="2429148"/>
              <a:ext cx="0" cy="3090862"/>
            </a:xfrm>
            <a:prstGeom prst="line">
              <a:avLst/>
            </a:prstGeom>
            <a:noFill/>
            <a:ln w="6350">
              <a:solidFill>
                <a:srgbClr val="666666"/>
              </a:solidFill>
              <a:round/>
              <a:headEnd type="triangle" w="med" len="me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a typeface="+mn-ea"/>
                <a:cs typeface="+mn-cs"/>
              </a:endParaRPr>
            </a:p>
          </p:txBody>
        </p:sp>
        <p:sp>
          <p:nvSpPr>
            <p:cNvPr id="14" name="Line 60">
              <a:extLst>
                <a:ext uri="{FF2B5EF4-FFF2-40B4-BE49-F238E27FC236}">
                  <a16:creationId xmlns:a16="http://schemas.microsoft.com/office/drawing/2014/main" id="{D3BB85D6-469C-4B7C-B42B-89B746379A8D}"/>
                </a:ext>
              </a:extLst>
            </p:cNvPr>
            <p:cNvSpPr>
              <a:spLocks noChangeShapeType="1"/>
            </p:cNvSpPr>
            <p:nvPr/>
          </p:nvSpPr>
          <p:spPr bwMode="auto">
            <a:xfrm>
              <a:off x="5246514" y="2429148"/>
              <a:ext cx="0" cy="3090862"/>
            </a:xfrm>
            <a:prstGeom prst="line">
              <a:avLst/>
            </a:prstGeom>
            <a:noFill/>
            <a:ln w="6350">
              <a:solidFill>
                <a:srgbClr val="666666"/>
              </a:solidFill>
              <a:round/>
              <a:headEnd type="triangle" w="med" len="me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a typeface="+mn-ea"/>
                <a:cs typeface="+mn-cs"/>
              </a:endParaRPr>
            </a:p>
          </p:txBody>
        </p:sp>
        <p:grpSp>
          <p:nvGrpSpPr>
            <p:cNvPr id="15" name="Group 65">
              <a:extLst>
                <a:ext uri="{FF2B5EF4-FFF2-40B4-BE49-F238E27FC236}">
                  <a16:creationId xmlns:a16="http://schemas.microsoft.com/office/drawing/2014/main" id="{874FD133-DF97-4F98-87A5-17A46994B12F}"/>
                </a:ext>
              </a:extLst>
            </p:cNvPr>
            <p:cNvGrpSpPr>
              <a:grpSpLocks/>
            </p:cNvGrpSpPr>
            <p:nvPr/>
          </p:nvGrpSpPr>
          <p:grpSpPr bwMode="auto">
            <a:xfrm rot="16200000" flipH="1">
              <a:off x="5017120" y="3761854"/>
              <a:ext cx="425450" cy="423862"/>
              <a:chOff x="4332" y="2562"/>
              <a:chExt cx="268" cy="289"/>
            </a:xfrm>
          </p:grpSpPr>
          <p:sp>
            <p:nvSpPr>
              <p:cNvPr id="16" name="Freeform 66">
                <a:extLst>
                  <a:ext uri="{FF2B5EF4-FFF2-40B4-BE49-F238E27FC236}">
                    <a16:creationId xmlns:a16="http://schemas.microsoft.com/office/drawing/2014/main" id="{98F17DEC-574A-42E6-AFFF-AC6F84889F11}"/>
                  </a:ext>
                </a:extLst>
              </p:cNvPr>
              <p:cNvSpPr>
                <a:spLocks/>
              </p:cNvSpPr>
              <p:nvPr/>
            </p:nvSpPr>
            <p:spPr bwMode="auto">
              <a:xfrm>
                <a:off x="4381" y="2619"/>
                <a:ext cx="184" cy="152"/>
              </a:xfrm>
              <a:custGeom>
                <a:avLst/>
                <a:gdLst/>
                <a:ahLst/>
                <a:cxnLst>
                  <a:cxn ang="0">
                    <a:pos x="102" y="0"/>
                  </a:cxn>
                  <a:cxn ang="0">
                    <a:pos x="199" y="0"/>
                  </a:cxn>
                  <a:cxn ang="0">
                    <a:pos x="97" y="177"/>
                  </a:cxn>
                  <a:cxn ang="0">
                    <a:pos x="0" y="177"/>
                  </a:cxn>
                  <a:cxn ang="0">
                    <a:pos x="102" y="0"/>
                  </a:cxn>
                </a:cxnLst>
                <a:rect l="0" t="0" r="r" b="b"/>
                <a:pathLst>
                  <a:path w="199" h="177">
                    <a:moveTo>
                      <a:pt x="102" y="0"/>
                    </a:moveTo>
                    <a:lnTo>
                      <a:pt x="199" y="0"/>
                    </a:lnTo>
                    <a:lnTo>
                      <a:pt x="97" y="177"/>
                    </a:lnTo>
                    <a:lnTo>
                      <a:pt x="0" y="177"/>
                    </a:lnTo>
                    <a:lnTo>
                      <a:pt x="102" y="0"/>
                    </a:lnTo>
                    <a:close/>
                  </a:path>
                </a:pathLst>
              </a:custGeom>
              <a:solidFill>
                <a:srgbClr val="FFFFFF"/>
              </a:solidFill>
              <a:ln w="3175" cap="flat" cmpd="sng">
                <a:noFill/>
                <a:prstDash val="solid"/>
                <a:round/>
                <a:headEnd type="none" w="med" len="med"/>
                <a:tailEnd type="none" w="med" len="me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a typeface="+mn-ea"/>
                  <a:cs typeface="+mn-cs"/>
                </a:endParaRPr>
              </a:p>
            </p:txBody>
          </p:sp>
          <p:sp>
            <p:nvSpPr>
              <p:cNvPr id="17" name="Line 67">
                <a:extLst>
                  <a:ext uri="{FF2B5EF4-FFF2-40B4-BE49-F238E27FC236}">
                    <a16:creationId xmlns:a16="http://schemas.microsoft.com/office/drawing/2014/main" id="{F94D76A0-A0B0-4BAF-B76D-EC37B25EEA97}"/>
                  </a:ext>
                </a:extLst>
              </p:cNvPr>
              <p:cNvSpPr>
                <a:spLocks noChangeShapeType="1"/>
              </p:cNvSpPr>
              <p:nvPr/>
            </p:nvSpPr>
            <p:spPr bwMode="auto">
              <a:xfrm flipV="1">
                <a:off x="4332" y="2562"/>
                <a:ext cx="180" cy="289"/>
              </a:xfrm>
              <a:prstGeom prst="line">
                <a:avLst/>
              </a:prstGeom>
              <a:noFill/>
              <a:ln w="6350">
                <a:solidFill>
                  <a:srgbClr val="666666"/>
                </a:solid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a typeface="+mn-ea"/>
                  <a:cs typeface="+mn-cs"/>
                </a:endParaRPr>
              </a:p>
            </p:txBody>
          </p:sp>
          <p:sp>
            <p:nvSpPr>
              <p:cNvPr id="18" name="Line 68">
                <a:extLst>
                  <a:ext uri="{FF2B5EF4-FFF2-40B4-BE49-F238E27FC236}">
                    <a16:creationId xmlns:a16="http://schemas.microsoft.com/office/drawing/2014/main" id="{D4D99F52-E18C-4B59-90F5-A0C01256A54A}"/>
                  </a:ext>
                </a:extLst>
              </p:cNvPr>
              <p:cNvSpPr>
                <a:spLocks noChangeShapeType="1"/>
              </p:cNvSpPr>
              <p:nvPr/>
            </p:nvSpPr>
            <p:spPr bwMode="auto">
              <a:xfrm flipV="1">
                <a:off x="4420" y="2562"/>
                <a:ext cx="180" cy="289"/>
              </a:xfrm>
              <a:prstGeom prst="line">
                <a:avLst/>
              </a:prstGeom>
              <a:noFill/>
              <a:ln w="6350">
                <a:solidFill>
                  <a:srgbClr val="666666"/>
                </a:solid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31" name="Group 15">
              <a:extLst>
                <a:ext uri="{FF2B5EF4-FFF2-40B4-BE49-F238E27FC236}">
                  <a16:creationId xmlns:a16="http://schemas.microsoft.com/office/drawing/2014/main" id="{144AB9D3-1FD2-4F79-BF7B-50F80E269EEF}"/>
                </a:ext>
              </a:extLst>
            </p:cNvPr>
            <p:cNvGrpSpPr>
              <a:grpSpLocks/>
            </p:cNvGrpSpPr>
            <p:nvPr/>
          </p:nvGrpSpPr>
          <p:grpSpPr bwMode="auto">
            <a:xfrm>
              <a:off x="4343226" y="3745185"/>
              <a:ext cx="392113" cy="457200"/>
              <a:chOff x="3130" y="2080"/>
              <a:chExt cx="268" cy="288"/>
            </a:xfrm>
          </p:grpSpPr>
          <p:sp>
            <p:nvSpPr>
              <p:cNvPr id="32" name="Freeform 16">
                <a:extLst>
                  <a:ext uri="{FF2B5EF4-FFF2-40B4-BE49-F238E27FC236}">
                    <a16:creationId xmlns:a16="http://schemas.microsoft.com/office/drawing/2014/main" id="{116C7D2B-A56B-47C2-AD88-2B7DE86A2376}"/>
                  </a:ext>
                </a:extLst>
              </p:cNvPr>
              <p:cNvSpPr>
                <a:spLocks/>
              </p:cNvSpPr>
              <p:nvPr/>
            </p:nvSpPr>
            <p:spPr bwMode="auto">
              <a:xfrm>
                <a:off x="3179" y="2137"/>
                <a:ext cx="184" cy="151"/>
              </a:xfrm>
              <a:custGeom>
                <a:avLst/>
                <a:gdLst/>
                <a:ahLst/>
                <a:cxnLst>
                  <a:cxn ang="0">
                    <a:pos x="102" y="0"/>
                  </a:cxn>
                  <a:cxn ang="0">
                    <a:pos x="199" y="0"/>
                  </a:cxn>
                  <a:cxn ang="0">
                    <a:pos x="97" y="177"/>
                  </a:cxn>
                  <a:cxn ang="0">
                    <a:pos x="0" y="177"/>
                  </a:cxn>
                  <a:cxn ang="0">
                    <a:pos x="102" y="0"/>
                  </a:cxn>
                </a:cxnLst>
                <a:rect l="0" t="0" r="r" b="b"/>
                <a:pathLst>
                  <a:path w="199" h="177">
                    <a:moveTo>
                      <a:pt x="102" y="0"/>
                    </a:moveTo>
                    <a:lnTo>
                      <a:pt x="199" y="0"/>
                    </a:lnTo>
                    <a:lnTo>
                      <a:pt x="97" y="177"/>
                    </a:lnTo>
                    <a:lnTo>
                      <a:pt x="0" y="177"/>
                    </a:lnTo>
                    <a:lnTo>
                      <a:pt x="102" y="0"/>
                    </a:lnTo>
                    <a:close/>
                  </a:path>
                </a:pathLst>
              </a:custGeom>
              <a:solidFill>
                <a:srgbClr val="FFFFFF"/>
              </a:solidFill>
              <a:ln w="3175" cap="flat" cmpd="sng">
                <a:noFill/>
                <a:prstDash val="solid"/>
                <a:round/>
                <a:headEnd type="none" w="med" len="med"/>
                <a:tailEnd type="none" w="med" len="me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a typeface="+mn-ea"/>
                  <a:cs typeface="+mn-cs"/>
                </a:endParaRPr>
              </a:p>
            </p:txBody>
          </p:sp>
          <p:sp>
            <p:nvSpPr>
              <p:cNvPr id="33" name="Line 17">
                <a:extLst>
                  <a:ext uri="{FF2B5EF4-FFF2-40B4-BE49-F238E27FC236}">
                    <a16:creationId xmlns:a16="http://schemas.microsoft.com/office/drawing/2014/main" id="{52B2CE2F-8A6D-406C-B7BA-EF68C36B8E16}"/>
                  </a:ext>
                </a:extLst>
              </p:cNvPr>
              <p:cNvSpPr>
                <a:spLocks noChangeShapeType="1"/>
              </p:cNvSpPr>
              <p:nvPr/>
            </p:nvSpPr>
            <p:spPr bwMode="auto">
              <a:xfrm flipV="1">
                <a:off x="3130" y="2080"/>
                <a:ext cx="180" cy="288"/>
              </a:xfrm>
              <a:prstGeom prst="line">
                <a:avLst/>
              </a:prstGeom>
              <a:noFill/>
              <a:ln w="6350">
                <a:solidFill>
                  <a:srgbClr val="666666"/>
                </a:solid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a typeface="+mn-ea"/>
                  <a:cs typeface="+mn-cs"/>
                </a:endParaRPr>
              </a:p>
            </p:txBody>
          </p:sp>
          <p:sp>
            <p:nvSpPr>
              <p:cNvPr id="34" name="Line 18">
                <a:extLst>
                  <a:ext uri="{FF2B5EF4-FFF2-40B4-BE49-F238E27FC236}">
                    <a16:creationId xmlns:a16="http://schemas.microsoft.com/office/drawing/2014/main" id="{C9EE60B0-06DF-4829-A4F4-AE3D08259D12}"/>
                  </a:ext>
                </a:extLst>
              </p:cNvPr>
              <p:cNvSpPr>
                <a:spLocks noChangeShapeType="1"/>
              </p:cNvSpPr>
              <p:nvPr/>
            </p:nvSpPr>
            <p:spPr bwMode="auto">
              <a:xfrm flipV="1">
                <a:off x="3218" y="2080"/>
                <a:ext cx="180" cy="288"/>
              </a:xfrm>
              <a:prstGeom prst="line">
                <a:avLst/>
              </a:prstGeom>
              <a:noFill/>
              <a:ln w="6350">
                <a:solidFill>
                  <a:srgbClr val="666666"/>
                </a:solid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a typeface="+mn-ea"/>
                  <a:cs typeface="+mn-cs"/>
                </a:endParaRPr>
              </a:p>
            </p:txBody>
          </p:sp>
        </p:grpSp>
      </p:grpSp>
      <p:grpSp>
        <p:nvGrpSpPr>
          <p:cNvPr id="19" name="Group 18" descr="Example 3">
            <a:extLst>
              <a:ext uri="{FF2B5EF4-FFF2-40B4-BE49-F238E27FC236}">
                <a16:creationId xmlns:a16="http://schemas.microsoft.com/office/drawing/2014/main" id="{CA3ECE89-BA94-4C86-A790-9E84DDC018E8}"/>
              </a:ext>
            </a:extLst>
          </p:cNvPr>
          <p:cNvGrpSpPr/>
          <p:nvPr/>
        </p:nvGrpSpPr>
        <p:grpSpPr>
          <a:xfrm>
            <a:off x="6831005" y="2427329"/>
            <a:ext cx="1837690" cy="3087920"/>
            <a:chOff x="6831005" y="2427329"/>
            <a:chExt cx="1837690" cy="3087920"/>
          </a:xfrm>
        </p:grpSpPr>
        <p:sp>
          <p:nvSpPr>
            <p:cNvPr id="20" name="Rectangle 47">
              <a:extLst>
                <a:ext uri="{FF2B5EF4-FFF2-40B4-BE49-F238E27FC236}">
                  <a16:creationId xmlns:a16="http://schemas.microsoft.com/office/drawing/2014/main" id="{1AF5AEB1-5C82-4901-8C15-767388E5B7B9}"/>
                </a:ext>
              </a:extLst>
            </p:cNvPr>
            <p:cNvSpPr>
              <a:spLocks noChangeArrowheads="1"/>
            </p:cNvSpPr>
            <p:nvPr/>
          </p:nvSpPr>
          <p:spPr bwMode="auto">
            <a:xfrm>
              <a:off x="7447030" y="4392534"/>
              <a:ext cx="396398" cy="1122715"/>
            </a:xfrm>
            <a:prstGeom prst="rect">
              <a:avLst/>
            </a:prstGeom>
            <a:solidFill>
              <a:srgbClr val="A100FF"/>
            </a:solidFill>
            <a:ln w="6350">
              <a:noFill/>
              <a:miter lim="800000"/>
              <a:headEnd type="none" w="sm" len="sm"/>
              <a:tailEnd type="none" w="sm" len="sm"/>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a typeface="+mn-ea"/>
                <a:cs typeface="+mn-cs"/>
              </a:endParaRPr>
            </a:p>
          </p:txBody>
        </p:sp>
        <p:sp>
          <p:nvSpPr>
            <p:cNvPr id="21" name="Text Box 54">
              <a:extLst>
                <a:ext uri="{FF2B5EF4-FFF2-40B4-BE49-F238E27FC236}">
                  <a16:creationId xmlns:a16="http://schemas.microsoft.com/office/drawing/2014/main" id="{B9163689-BE72-4401-B707-8A2D7A9EDFD7}"/>
                </a:ext>
              </a:extLst>
            </p:cNvPr>
            <p:cNvSpPr txBox="1">
              <a:spLocks noChangeArrowheads="1"/>
            </p:cNvSpPr>
            <p:nvPr/>
          </p:nvSpPr>
          <p:spPr bwMode="auto">
            <a:xfrm>
              <a:off x="6831005" y="4617132"/>
              <a:ext cx="394613" cy="183783"/>
            </a:xfrm>
            <a:prstGeom prst="rect">
              <a:avLst/>
            </a:prstGeom>
            <a:noFill/>
            <a:ln w="6350">
              <a:noFill/>
              <a:miter lim="800000"/>
              <a:headEnd type="none" w="sm" len="sm"/>
              <a:tailEnd type="none" w="sm" len="sm"/>
            </a:ln>
            <a:effectLst/>
          </p:spPr>
          <p:txBody>
            <a:bodyPr lIns="0" tIns="0" rIns="0" bIns="0" anchor="b">
              <a:spAutoFit/>
            </a:body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mn-ea"/>
                  <a:cs typeface="+mn-cs"/>
                </a:rPr>
                <a:t>30</a:t>
              </a:r>
            </a:p>
          </p:txBody>
        </p:sp>
        <p:sp>
          <p:nvSpPr>
            <p:cNvPr id="22" name="Rectangle 55">
              <a:extLst>
                <a:ext uri="{FF2B5EF4-FFF2-40B4-BE49-F238E27FC236}">
                  <a16:creationId xmlns:a16="http://schemas.microsoft.com/office/drawing/2014/main" id="{4541AE24-D18E-4580-8BD7-3ABD0A7563DA}"/>
                </a:ext>
              </a:extLst>
            </p:cNvPr>
            <p:cNvSpPr>
              <a:spLocks noChangeArrowheads="1"/>
            </p:cNvSpPr>
            <p:nvPr/>
          </p:nvSpPr>
          <p:spPr bwMode="auto">
            <a:xfrm>
              <a:off x="6831005" y="4816509"/>
              <a:ext cx="394613" cy="698740"/>
            </a:xfrm>
            <a:prstGeom prst="rect">
              <a:avLst/>
            </a:prstGeom>
            <a:solidFill>
              <a:srgbClr val="A100FF"/>
            </a:solidFill>
            <a:ln w="6350">
              <a:noFill/>
              <a:miter lim="800000"/>
              <a:headEnd type="none" w="sm" len="sm"/>
              <a:tailEnd type="none" w="sm" len="sm"/>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a typeface="+mn-ea"/>
                <a:cs typeface="+mn-cs"/>
              </a:endParaRPr>
            </a:p>
          </p:txBody>
        </p:sp>
        <p:sp>
          <p:nvSpPr>
            <p:cNvPr id="23" name="Text Box 56">
              <a:extLst>
                <a:ext uri="{FF2B5EF4-FFF2-40B4-BE49-F238E27FC236}">
                  <a16:creationId xmlns:a16="http://schemas.microsoft.com/office/drawing/2014/main" id="{3B3E4034-A99A-4FAB-AB9F-46FC92746840}"/>
                </a:ext>
              </a:extLst>
            </p:cNvPr>
            <p:cNvSpPr txBox="1">
              <a:spLocks noChangeArrowheads="1"/>
            </p:cNvSpPr>
            <p:nvPr/>
          </p:nvSpPr>
          <p:spPr bwMode="auto">
            <a:xfrm>
              <a:off x="7447030" y="4185084"/>
              <a:ext cx="396398" cy="183783"/>
            </a:xfrm>
            <a:prstGeom prst="rect">
              <a:avLst/>
            </a:prstGeom>
            <a:noFill/>
            <a:ln w="6350">
              <a:noFill/>
              <a:miter lim="800000"/>
              <a:headEnd type="none" w="sm" len="sm"/>
              <a:tailEnd type="none" w="sm" len="sm"/>
            </a:ln>
            <a:effectLst/>
          </p:spPr>
          <p:txBody>
            <a:bodyPr lIns="0" tIns="0" rIns="0" bIns="0" anchor="b">
              <a:spAutoFit/>
            </a:body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mn-ea"/>
                  <a:cs typeface="+mn-cs"/>
                </a:rPr>
                <a:t>50</a:t>
              </a:r>
            </a:p>
          </p:txBody>
        </p:sp>
        <p:grpSp>
          <p:nvGrpSpPr>
            <p:cNvPr id="24" name="Group 23">
              <a:extLst>
                <a:ext uri="{FF2B5EF4-FFF2-40B4-BE49-F238E27FC236}">
                  <a16:creationId xmlns:a16="http://schemas.microsoft.com/office/drawing/2014/main" id="{F1651FE4-CDF5-4125-8844-367B7D8B8C2D}"/>
                </a:ext>
              </a:extLst>
            </p:cNvPr>
            <p:cNvGrpSpPr/>
            <p:nvPr/>
          </p:nvGrpSpPr>
          <p:grpSpPr>
            <a:xfrm>
              <a:off x="7881255" y="2427329"/>
              <a:ext cx="787440" cy="3087920"/>
              <a:chOff x="8018415" y="2427329"/>
              <a:chExt cx="787440" cy="3087920"/>
            </a:xfrm>
          </p:grpSpPr>
          <p:sp>
            <p:nvSpPr>
              <p:cNvPr id="25" name="Rectangle 48">
                <a:extLst>
                  <a:ext uri="{FF2B5EF4-FFF2-40B4-BE49-F238E27FC236}">
                    <a16:creationId xmlns:a16="http://schemas.microsoft.com/office/drawing/2014/main" id="{B1D65C59-E41F-406A-93E6-4BF4E5F33508}"/>
                  </a:ext>
                </a:extLst>
              </p:cNvPr>
              <p:cNvSpPr>
                <a:spLocks noChangeArrowheads="1"/>
              </p:cNvSpPr>
              <p:nvPr/>
            </p:nvSpPr>
            <p:spPr bwMode="auto">
              <a:xfrm>
                <a:off x="8213936" y="2611112"/>
                <a:ext cx="396398" cy="2904137"/>
              </a:xfrm>
              <a:prstGeom prst="rect">
                <a:avLst/>
              </a:prstGeom>
              <a:solidFill>
                <a:srgbClr val="A100FF"/>
              </a:solidFill>
              <a:ln w="6350">
                <a:noFill/>
                <a:miter lim="800000"/>
                <a:headEnd type="none" w="sm" len="sm"/>
                <a:tailEnd type="none" w="sm" len="sm"/>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a typeface="+mn-ea"/>
                  <a:cs typeface="+mn-cs"/>
                </a:endParaRPr>
              </a:p>
            </p:txBody>
          </p:sp>
          <p:sp>
            <p:nvSpPr>
              <p:cNvPr id="26" name="Text Box 57">
                <a:extLst>
                  <a:ext uri="{FF2B5EF4-FFF2-40B4-BE49-F238E27FC236}">
                    <a16:creationId xmlns:a16="http://schemas.microsoft.com/office/drawing/2014/main" id="{35647525-243A-4C0F-B202-A9256699BC51}"/>
                  </a:ext>
                </a:extLst>
              </p:cNvPr>
              <p:cNvSpPr txBox="1">
                <a:spLocks noChangeArrowheads="1"/>
              </p:cNvSpPr>
              <p:nvPr/>
            </p:nvSpPr>
            <p:spPr bwMode="auto">
              <a:xfrm>
                <a:off x="8213936" y="2427329"/>
                <a:ext cx="396398" cy="183783"/>
              </a:xfrm>
              <a:prstGeom prst="rect">
                <a:avLst/>
              </a:prstGeom>
              <a:noFill/>
              <a:ln w="6350">
                <a:noFill/>
                <a:miter lim="800000"/>
                <a:headEnd type="none" w="sm" len="sm"/>
                <a:tailEnd type="none" w="sm" len="sm"/>
              </a:ln>
              <a:effectLst/>
            </p:spPr>
            <p:txBody>
              <a:bodyPr lIns="0" tIns="0" rIns="0" bIns="0" anchor="b">
                <a:spAutoFit/>
              </a:body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mn-ea"/>
                    <a:cs typeface="+mn-cs"/>
                  </a:rPr>
                  <a:t>300</a:t>
                </a:r>
              </a:p>
            </p:txBody>
          </p:sp>
          <p:grpSp>
            <p:nvGrpSpPr>
              <p:cNvPr id="27" name="Group 69">
                <a:extLst>
                  <a:ext uri="{FF2B5EF4-FFF2-40B4-BE49-F238E27FC236}">
                    <a16:creationId xmlns:a16="http://schemas.microsoft.com/office/drawing/2014/main" id="{6F000997-D926-476E-A21B-A856DEFAE410}"/>
                  </a:ext>
                </a:extLst>
              </p:cNvPr>
              <p:cNvGrpSpPr>
                <a:grpSpLocks/>
              </p:cNvGrpSpPr>
              <p:nvPr/>
            </p:nvGrpSpPr>
            <p:grpSpPr bwMode="auto">
              <a:xfrm rot="16200000" flipH="1">
                <a:off x="8009086" y="3073530"/>
                <a:ext cx="806098" cy="787440"/>
                <a:chOff x="4332" y="2562"/>
                <a:chExt cx="268" cy="289"/>
              </a:xfrm>
            </p:grpSpPr>
            <p:sp>
              <p:nvSpPr>
                <p:cNvPr id="28" name="Freeform 70">
                  <a:extLst>
                    <a:ext uri="{FF2B5EF4-FFF2-40B4-BE49-F238E27FC236}">
                      <a16:creationId xmlns:a16="http://schemas.microsoft.com/office/drawing/2014/main" id="{64755462-AA99-4A1F-B095-0689E85F8D7C}"/>
                    </a:ext>
                  </a:extLst>
                </p:cNvPr>
                <p:cNvSpPr>
                  <a:spLocks/>
                </p:cNvSpPr>
                <p:nvPr/>
              </p:nvSpPr>
              <p:spPr bwMode="auto">
                <a:xfrm>
                  <a:off x="4374" y="2630"/>
                  <a:ext cx="184" cy="152"/>
                </a:xfrm>
                <a:custGeom>
                  <a:avLst/>
                  <a:gdLst/>
                  <a:ahLst/>
                  <a:cxnLst>
                    <a:cxn ang="0">
                      <a:pos x="102" y="0"/>
                    </a:cxn>
                    <a:cxn ang="0">
                      <a:pos x="199" y="0"/>
                    </a:cxn>
                    <a:cxn ang="0">
                      <a:pos x="97" y="177"/>
                    </a:cxn>
                    <a:cxn ang="0">
                      <a:pos x="0" y="177"/>
                    </a:cxn>
                    <a:cxn ang="0">
                      <a:pos x="102" y="0"/>
                    </a:cxn>
                  </a:cxnLst>
                  <a:rect l="0" t="0" r="r" b="b"/>
                  <a:pathLst>
                    <a:path w="199" h="177">
                      <a:moveTo>
                        <a:pt x="102" y="0"/>
                      </a:moveTo>
                      <a:lnTo>
                        <a:pt x="199" y="0"/>
                      </a:lnTo>
                      <a:lnTo>
                        <a:pt x="97" y="177"/>
                      </a:lnTo>
                      <a:lnTo>
                        <a:pt x="0" y="177"/>
                      </a:lnTo>
                      <a:lnTo>
                        <a:pt x="102" y="0"/>
                      </a:lnTo>
                      <a:close/>
                    </a:path>
                  </a:pathLst>
                </a:custGeom>
                <a:solidFill>
                  <a:srgbClr val="FFFFFF"/>
                </a:solidFill>
                <a:ln w="3175" cap="flat" cmpd="sng">
                  <a:noFill/>
                  <a:prstDash val="solid"/>
                  <a:round/>
                  <a:headEnd type="none" w="med" len="med"/>
                  <a:tailEnd type="none" w="med" len="me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a typeface="+mn-ea"/>
                    <a:cs typeface="+mn-cs"/>
                  </a:endParaRPr>
                </a:p>
              </p:txBody>
            </p:sp>
            <p:sp>
              <p:nvSpPr>
                <p:cNvPr id="29" name="Line 71">
                  <a:extLst>
                    <a:ext uri="{FF2B5EF4-FFF2-40B4-BE49-F238E27FC236}">
                      <a16:creationId xmlns:a16="http://schemas.microsoft.com/office/drawing/2014/main" id="{F9DA9FF5-9B1F-459F-984F-45DF6CC58D8E}"/>
                    </a:ext>
                  </a:extLst>
                </p:cNvPr>
                <p:cNvSpPr>
                  <a:spLocks noChangeShapeType="1"/>
                </p:cNvSpPr>
                <p:nvPr/>
              </p:nvSpPr>
              <p:spPr bwMode="auto">
                <a:xfrm flipV="1">
                  <a:off x="4332" y="2562"/>
                  <a:ext cx="180" cy="289"/>
                </a:xfrm>
                <a:prstGeom prst="line">
                  <a:avLst/>
                </a:prstGeom>
                <a:noFill/>
                <a:ln w="6350">
                  <a:solidFill>
                    <a:srgbClr val="666666"/>
                  </a:solidFill>
                  <a:round/>
                  <a:headEnd/>
                  <a:tailEnd/>
                </a:ln>
                <a:effectLst/>
              </p:spPr>
              <p:txBody>
                <a:bodyPr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a typeface="+mn-ea"/>
                    <a:cs typeface="+mn-cs"/>
                  </a:endParaRPr>
                </a:p>
              </p:txBody>
            </p:sp>
            <p:sp>
              <p:nvSpPr>
                <p:cNvPr id="30" name="Line 72">
                  <a:extLst>
                    <a:ext uri="{FF2B5EF4-FFF2-40B4-BE49-F238E27FC236}">
                      <a16:creationId xmlns:a16="http://schemas.microsoft.com/office/drawing/2014/main" id="{EC010467-B1A1-4B55-B3EA-1B4B105E6EB1}"/>
                    </a:ext>
                  </a:extLst>
                </p:cNvPr>
                <p:cNvSpPr>
                  <a:spLocks noChangeShapeType="1"/>
                </p:cNvSpPr>
                <p:nvPr/>
              </p:nvSpPr>
              <p:spPr bwMode="auto">
                <a:xfrm flipV="1">
                  <a:off x="4420" y="2562"/>
                  <a:ext cx="180" cy="289"/>
                </a:xfrm>
                <a:prstGeom prst="line">
                  <a:avLst/>
                </a:prstGeom>
                <a:noFill/>
                <a:ln w="6350">
                  <a:solidFill>
                    <a:srgbClr val="666666"/>
                  </a:solid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a typeface="+mn-ea"/>
                    <a:cs typeface="+mn-cs"/>
                  </a:endParaRPr>
                </a:p>
              </p:txBody>
            </p:sp>
          </p:grpSp>
        </p:grpSp>
      </p:grpSp>
      <p:sp>
        <p:nvSpPr>
          <p:cNvPr id="35" name="Footer Placeholder 34">
            <a:extLst>
              <a:ext uri="{FF2B5EF4-FFF2-40B4-BE49-F238E27FC236}">
                <a16:creationId xmlns:a16="http://schemas.microsoft.com/office/drawing/2014/main" id="{E33029BD-5635-4D79-920E-F4B3F3C074FA}"/>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38" name="Slide Number Placeholder 37">
            <a:extLst>
              <a:ext uri="{FF2B5EF4-FFF2-40B4-BE49-F238E27FC236}">
                <a16:creationId xmlns:a16="http://schemas.microsoft.com/office/drawing/2014/main" id="{6D0AD734-B638-4420-891C-FA6B86C170DE}"/>
              </a:ext>
            </a:extLst>
          </p:cNvPr>
          <p:cNvSpPr>
            <a:spLocks noGrp="1"/>
          </p:cNvSpPr>
          <p:nvPr>
            <p:ph type="sldNum" sz="quarter" idx="10"/>
          </p:nvPr>
        </p:nvSpPr>
        <p:spPr/>
        <p:txBody>
          <a:bodyPr/>
          <a:lstStyle/>
          <a:p>
            <a:fld id="{1F90F471-3972-4120-B8B3-0237DE626C35}" type="slidenum">
              <a:rPr lang="en-US" smtClean="0"/>
              <a:pPr/>
              <a:t>444</a:t>
            </a:fld>
            <a:endParaRPr lang="en-US" dirty="0"/>
          </a:p>
        </p:txBody>
      </p:sp>
    </p:spTree>
    <p:extLst>
      <p:ext uri="{BB962C8B-B14F-4D97-AF65-F5344CB8AC3E}">
        <p14:creationId xmlns:p14="http://schemas.microsoft.com/office/powerpoint/2010/main" val="624769909"/>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Legends</a:t>
            </a:r>
          </a:p>
        </p:txBody>
      </p:sp>
      <p:sp>
        <p:nvSpPr>
          <p:cNvPr id="3" name="TextBox 2">
            <a:extLst>
              <a:ext uri="{FF2B5EF4-FFF2-40B4-BE49-F238E27FC236}">
                <a16:creationId xmlns:a16="http://schemas.microsoft.com/office/drawing/2014/main" id="{F187DF5F-91DD-4740-99AB-AC3E12936420}"/>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N.B. Avoid legends by placing text on chart if possible</a:t>
            </a:r>
          </a:p>
        </p:txBody>
      </p:sp>
      <p:grpSp>
        <p:nvGrpSpPr>
          <p:cNvPr id="4" name="Group 3" descr="Text 1">
            <a:extLst>
              <a:ext uri="{FF2B5EF4-FFF2-40B4-BE49-F238E27FC236}">
                <a16:creationId xmlns:a16="http://schemas.microsoft.com/office/drawing/2014/main" id="{A5EB4032-2F2F-4104-AB92-8C42A73D03E2}"/>
              </a:ext>
            </a:extLst>
          </p:cNvPr>
          <p:cNvGrpSpPr/>
          <p:nvPr/>
        </p:nvGrpSpPr>
        <p:grpSpPr>
          <a:xfrm>
            <a:off x="381000" y="1736494"/>
            <a:ext cx="6777667" cy="141869"/>
            <a:chOff x="381000" y="1736494"/>
            <a:chExt cx="6777667" cy="141869"/>
          </a:xfrm>
        </p:grpSpPr>
        <p:sp>
          <p:nvSpPr>
            <p:cNvPr id="29" name="Rectangle 45">
              <a:extLst>
                <a:ext uri="{FF2B5EF4-FFF2-40B4-BE49-F238E27FC236}">
                  <a16:creationId xmlns:a16="http://schemas.microsoft.com/office/drawing/2014/main" id="{120E0B2B-942F-46D6-8B14-7DF128048A5B}"/>
                </a:ext>
              </a:extLst>
            </p:cNvPr>
            <p:cNvSpPr>
              <a:spLocks noChangeArrowheads="1"/>
            </p:cNvSpPr>
            <p:nvPr/>
          </p:nvSpPr>
          <p:spPr bwMode="auto">
            <a:xfrm>
              <a:off x="2025457" y="1736494"/>
              <a:ext cx="138818" cy="138818"/>
            </a:xfrm>
            <a:prstGeom prst="rect">
              <a:avLst/>
            </a:prstGeom>
            <a:solidFill>
              <a:schemeClr val="accent3"/>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dirty="0">
                  <a:ln>
                    <a:noFill/>
                  </a:ln>
                  <a:solidFill>
                    <a:schemeClr val="accent3"/>
                  </a:solidFill>
                  <a:effectLst/>
                  <a:uLnTx/>
                  <a:uFillTx/>
                  <a:ea typeface="+mn-ea"/>
                  <a:cs typeface="+mn-cs"/>
                </a:rPr>
                <a:t>Text </a:t>
              </a:r>
              <a:r>
                <a:rPr kumimoji="0" lang="en-US" sz="1100" b="0" i="0" u="none" strike="noStrike" kern="0" cap="none" spc="0" normalizeH="0" baseline="0" noProof="0" dirty="0" err="1">
                  <a:ln>
                    <a:noFill/>
                  </a:ln>
                  <a:solidFill>
                    <a:schemeClr val="accent3"/>
                  </a:solidFill>
                  <a:effectLst/>
                  <a:uLnTx/>
                  <a:uFillTx/>
                  <a:ea typeface="+mn-ea"/>
                  <a:cs typeface="+mn-cs"/>
                </a:rPr>
                <a:t>text</a:t>
              </a:r>
              <a:r>
                <a:rPr kumimoji="0" lang="en-US" sz="1100" b="0" i="0" u="none" strike="noStrike" kern="0" cap="none" spc="0" normalizeH="0" baseline="0" noProof="0" dirty="0">
                  <a:ln>
                    <a:noFill/>
                  </a:ln>
                  <a:solidFill>
                    <a:schemeClr val="accent3"/>
                  </a:solidFill>
                  <a:effectLst/>
                  <a:uLnTx/>
                  <a:uFillTx/>
                  <a:ea typeface="+mn-ea"/>
                  <a:cs typeface="+mn-cs"/>
                </a:rPr>
                <a:t> </a:t>
              </a:r>
              <a:r>
                <a:rPr kumimoji="0" lang="en-US" sz="1100" b="0" i="0" u="none" strike="noStrike" kern="0" cap="none" spc="0" normalizeH="0" baseline="0" noProof="0" dirty="0" err="1">
                  <a:ln>
                    <a:noFill/>
                  </a:ln>
                  <a:solidFill>
                    <a:schemeClr val="accent3"/>
                  </a:solidFill>
                  <a:effectLst/>
                  <a:uLnTx/>
                  <a:uFillTx/>
                  <a:ea typeface="+mn-ea"/>
                  <a:cs typeface="+mn-cs"/>
                </a:rPr>
                <a:t>text</a:t>
              </a:r>
              <a:r>
                <a:rPr kumimoji="0" lang="en-US" sz="1100" b="0" i="0" u="none" strike="noStrike" kern="0" cap="none" spc="0" normalizeH="0" baseline="0" noProof="0" dirty="0">
                  <a:ln>
                    <a:noFill/>
                  </a:ln>
                  <a:solidFill>
                    <a:schemeClr val="accent3"/>
                  </a:solidFill>
                  <a:effectLst/>
                  <a:uLnTx/>
                  <a:uFillTx/>
                  <a:ea typeface="+mn-ea"/>
                  <a:cs typeface="+mn-cs"/>
                </a:rPr>
                <a:t> </a:t>
              </a:r>
              <a:r>
                <a:rPr kumimoji="0" lang="en-US" sz="1100" b="0" i="0" u="none" strike="noStrike" kern="0" cap="none" spc="0" normalizeH="0" baseline="0" noProof="0" dirty="0" err="1">
                  <a:ln>
                    <a:noFill/>
                  </a:ln>
                  <a:solidFill>
                    <a:schemeClr val="accent3"/>
                  </a:solidFill>
                  <a:effectLst/>
                  <a:uLnTx/>
                  <a:uFillTx/>
                  <a:ea typeface="+mn-ea"/>
                  <a:cs typeface="+mn-cs"/>
                </a:rPr>
                <a:t>text</a:t>
              </a:r>
              <a:r>
                <a:rPr kumimoji="0" lang="en-US" sz="1100" b="0" i="0" u="none" strike="noStrike" kern="0" cap="none" spc="0" normalizeH="0" baseline="0" noProof="0" dirty="0">
                  <a:ln>
                    <a:noFill/>
                  </a:ln>
                  <a:solidFill>
                    <a:schemeClr val="accent3"/>
                  </a:solidFill>
                  <a:effectLst/>
                  <a:uLnTx/>
                  <a:uFillTx/>
                  <a:ea typeface="+mn-ea"/>
                  <a:cs typeface="+mn-cs"/>
                </a:rPr>
                <a:t> text</a:t>
              </a:r>
            </a:p>
          </p:txBody>
        </p:sp>
        <p:sp>
          <p:nvSpPr>
            <p:cNvPr id="30" name="Rectangle 46">
              <a:extLst>
                <a:ext uri="{FF2B5EF4-FFF2-40B4-BE49-F238E27FC236}">
                  <a16:creationId xmlns:a16="http://schemas.microsoft.com/office/drawing/2014/main" id="{45BB5EA4-1145-467E-A6A5-061FE219C1E2}"/>
                </a:ext>
              </a:extLst>
            </p:cNvPr>
            <p:cNvSpPr>
              <a:spLocks noChangeArrowheads="1"/>
            </p:cNvSpPr>
            <p:nvPr/>
          </p:nvSpPr>
          <p:spPr bwMode="auto">
            <a:xfrm>
              <a:off x="5335729" y="1736494"/>
              <a:ext cx="128140" cy="141869"/>
            </a:xfrm>
            <a:prstGeom prst="rect">
              <a:avLst/>
            </a:prstGeom>
            <a:solidFill>
              <a:schemeClr val="accent2"/>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ea typeface="+mn-ea"/>
                  <a:cs typeface="+mn-cs"/>
                </a:rPr>
                <a:t>Tex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text</a:t>
              </a:r>
            </a:p>
          </p:txBody>
        </p:sp>
        <p:sp>
          <p:nvSpPr>
            <p:cNvPr id="31" name="Rectangle 47">
              <a:extLst>
                <a:ext uri="{FF2B5EF4-FFF2-40B4-BE49-F238E27FC236}">
                  <a16:creationId xmlns:a16="http://schemas.microsoft.com/office/drawing/2014/main" id="{90DBEF92-0F30-4082-AE96-FBD6E495C714}"/>
                </a:ext>
              </a:extLst>
            </p:cNvPr>
            <p:cNvSpPr>
              <a:spLocks noChangeArrowheads="1"/>
            </p:cNvSpPr>
            <p:nvPr/>
          </p:nvSpPr>
          <p:spPr bwMode="auto">
            <a:xfrm>
              <a:off x="3683645" y="1736494"/>
              <a:ext cx="138817" cy="138818"/>
            </a:xfrm>
            <a:prstGeom prst="rect">
              <a:avLst/>
            </a:prstGeom>
            <a:solidFill>
              <a:srgbClr val="B455AA"/>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ea typeface="+mn-ea"/>
                  <a:cs typeface="+mn-cs"/>
                </a:rPr>
                <a:t>Tex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endParaRPr kumimoji="0" lang="en-US" sz="1100" b="0" i="0" u="none" strike="noStrike" kern="0" cap="none" spc="0" normalizeH="0" baseline="0" noProof="0" dirty="0">
                <a:ln>
                  <a:noFill/>
                </a:ln>
                <a:solidFill>
                  <a:srgbClr val="000000"/>
                </a:solidFill>
                <a:effectLst/>
                <a:uLnTx/>
                <a:uFillTx/>
                <a:ea typeface="+mn-ea"/>
                <a:cs typeface="+mn-cs"/>
              </a:endParaRPr>
            </a:p>
          </p:txBody>
        </p:sp>
        <p:sp>
          <p:nvSpPr>
            <p:cNvPr id="32" name="Rectangle 48">
              <a:extLst>
                <a:ext uri="{FF2B5EF4-FFF2-40B4-BE49-F238E27FC236}">
                  <a16:creationId xmlns:a16="http://schemas.microsoft.com/office/drawing/2014/main" id="{A9A96B53-D384-49D6-99C7-5F6C880EFFF6}"/>
                </a:ext>
              </a:extLst>
            </p:cNvPr>
            <p:cNvSpPr>
              <a:spLocks noChangeArrowheads="1"/>
            </p:cNvSpPr>
            <p:nvPr/>
          </p:nvSpPr>
          <p:spPr bwMode="auto">
            <a:xfrm>
              <a:off x="381000" y="1736494"/>
              <a:ext cx="138818" cy="138818"/>
            </a:xfrm>
            <a:prstGeom prst="rect">
              <a:avLst/>
            </a:prstGeom>
            <a:solidFill>
              <a:srgbClr val="A100FF"/>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ea typeface="+mn-ea"/>
                  <a:cs typeface="+mn-cs"/>
                </a:rPr>
                <a:t>Tex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endParaRPr kumimoji="0" lang="en-US" sz="1100" b="0" i="0" u="none" strike="noStrike" kern="0" cap="none" spc="0" normalizeH="0" baseline="0" noProof="0" dirty="0">
                <a:ln>
                  <a:noFill/>
                </a:ln>
                <a:solidFill>
                  <a:srgbClr val="000000"/>
                </a:solidFill>
                <a:effectLst/>
                <a:uLnTx/>
                <a:uFillTx/>
                <a:ea typeface="+mn-ea"/>
                <a:cs typeface="+mn-cs"/>
              </a:endParaRPr>
            </a:p>
          </p:txBody>
        </p:sp>
        <p:sp>
          <p:nvSpPr>
            <p:cNvPr id="33" name="Rectangle 49">
              <a:extLst>
                <a:ext uri="{FF2B5EF4-FFF2-40B4-BE49-F238E27FC236}">
                  <a16:creationId xmlns:a16="http://schemas.microsoft.com/office/drawing/2014/main" id="{FE42A8F1-C5AB-4DB6-B340-F921683426C6}"/>
                </a:ext>
              </a:extLst>
            </p:cNvPr>
            <p:cNvSpPr>
              <a:spLocks noChangeArrowheads="1"/>
            </p:cNvSpPr>
            <p:nvPr/>
          </p:nvSpPr>
          <p:spPr bwMode="auto">
            <a:xfrm>
              <a:off x="7019849" y="1736494"/>
              <a:ext cx="138818" cy="138818"/>
            </a:xfrm>
            <a:prstGeom prst="rect">
              <a:avLst/>
            </a:prstGeom>
            <a:solidFill>
              <a:schemeClr val="accent6"/>
            </a:solidFill>
            <a:ln w="6350">
              <a:noFill/>
              <a:prstDash val="dash"/>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ea typeface="+mn-ea"/>
                  <a:cs typeface="+mn-cs"/>
                </a:rPr>
                <a:t>Tex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endParaRPr kumimoji="0" lang="en-US" sz="1100" b="0" i="0" u="none" strike="noStrike" kern="0" cap="none" spc="0" normalizeH="0" baseline="0" noProof="0" dirty="0">
                <a:ln>
                  <a:noFill/>
                </a:ln>
                <a:solidFill>
                  <a:srgbClr val="000000"/>
                </a:solidFill>
                <a:effectLst/>
                <a:uLnTx/>
                <a:uFillTx/>
                <a:ea typeface="+mn-ea"/>
                <a:cs typeface="+mn-cs"/>
              </a:endParaRPr>
            </a:p>
          </p:txBody>
        </p:sp>
      </p:grpSp>
      <p:grpSp>
        <p:nvGrpSpPr>
          <p:cNvPr id="35" name="Group 34" descr="Text 2">
            <a:extLst>
              <a:ext uri="{FF2B5EF4-FFF2-40B4-BE49-F238E27FC236}">
                <a16:creationId xmlns:a16="http://schemas.microsoft.com/office/drawing/2014/main" id="{BABA917F-0BB2-405D-BDAC-03EA099EFDFA}"/>
              </a:ext>
            </a:extLst>
          </p:cNvPr>
          <p:cNvGrpSpPr/>
          <p:nvPr/>
        </p:nvGrpSpPr>
        <p:grpSpPr>
          <a:xfrm>
            <a:off x="381000" y="2566350"/>
            <a:ext cx="5081344" cy="141869"/>
            <a:chOff x="381000" y="2566350"/>
            <a:chExt cx="5081344" cy="141869"/>
          </a:xfrm>
        </p:grpSpPr>
        <p:sp>
          <p:nvSpPr>
            <p:cNvPr id="5" name="Rectangle 4">
              <a:extLst>
                <a:ext uri="{FF2B5EF4-FFF2-40B4-BE49-F238E27FC236}">
                  <a16:creationId xmlns:a16="http://schemas.microsoft.com/office/drawing/2014/main" id="{CB1DAE2B-BA6F-41DF-83BE-A33FD7FC0026}"/>
                </a:ext>
              </a:extLst>
            </p:cNvPr>
            <p:cNvSpPr>
              <a:spLocks noChangeArrowheads="1"/>
            </p:cNvSpPr>
            <p:nvPr/>
          </p:nvSpPr>
          <p:spPr bwMode="auto">
            <a:xfrm>
              <a:off x="2025457" y="2566350"/>
              <a:ext cx="138818" cy="138818"/>
            </a:xfrm>
            <a:prstGeom prst="rect">
              <a:avLst/>
            </a:prstGeom>
            <a:solidFill>
              <a:schemeClr val="accent3"/>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dirty="0">
                  <a:ln>
                    <a:noFill/>
                  </a:ln>
                  <a:solidFill>
                    <a:schemeClr val="accent3"/>
                  </a:solidFill>
                  <a:effectLst/>
                  <a:uLnTx/>
                  <a:uFillTx/>
                  <a:ea typeface="+mn-ea"/>
                  <a:cs typeface="+mn-cs"/>
                </a:rPr>
                <a:t>Text </a:t>
              </a:r>
              <a:r>
                <a:rPr kumimoji="0" lang="en-US" sz="1100" b="0" i="0" u="none" strike="noStrike" kern="0" cap="none" spc="0" normalizeH="0" baseline="0" noProof="0" dirty="0" err="1">
                  <a:ln>
                    <a:noFill/>
                  </a:ln>
                  <a:solidFill>
                    <a:schemeClr val="accent3"/>
                  </a:solidFill>
                  <a:effectLst/>
                  <a:uLnTx/>
                  <a:uFillTx/>
                  <a:ea typeface="+mn-ea"/>
                  <a:cs typeface="+mn-cs"/>
                </a:rPr>
                <a:t>text</a:t>
              </a:r>
              <a:r>
                <a:rPr kumimoji="0" lang="en-US" sz="1100" b="0" i="0" u="none" strike="noStrike" kern="0" cap="none" spc="0" normalizeH="0" baseline="0" noProof="0" dirty="0">
                  <a:ln>
                    <a:noFill/>
                  </a:ln>
                  <a:solidFill>
                    <a:schemeClr val="accent3"/>
                  </a:solidFill>
                  <a:effectLst/>
                  <a:uLnTx/>
                  <a:uFillTx/>
                  <a:ea typeface="+mn-ea"/>
                  <a:cs typeface="+mn-cs"/>
                </a:rPr>
                <a:t> </a:t>
              </a:r>
              <a:r>
                <a:rPr kumimoji="0" lang="en-US" sz="1100" b="0" i="0" u="none" strike="noStrike" kern="0" cap="none" spc="0" normalizeH="0" baseline="0" noProof="0" dirty="0" err="1">
                  <a:ln>
                    <a:noFill/>
                  </a:ln>
                  <a:solidFill>
                    <a:schemeClr val="accent3"/>
                  </a:solidFill>
                  <a:effectLst/>
                  <a:uLnTx/>
                  <a:uFillTx/>
                  <a:ea typeface="+mn-ea"/>
                  <a:cs typeface="+mn-cs"/>
                </a:rPr>
                <a:t>text</a:t>
              </a:r>
              <a:r>
                <a:rPr kumimoji="0" lang="en-US" sz="1100" b="0" i="0" u="none" strike="noStrike" kern="0" cap="none" spc="0" normalizeH="0" baseline="0" noProof="0" dirty="0">
                  <a:ln>
                    <a:noFill/>
                  </a:ln>
                  <a:solidFill>
                    <a:schemeClr val="accent3"/>
                  </a:solidFill>
                  <a:effectLst/>
                  <a:uLnTx/>
                  <a:uFillTx/>
                  <a:ea typeface="+mn-ea"/>
                  <a:cs typeface="+mn-cs"/>
                </a:rPr>
                <a:t> </a:t>
              </a:r>
              <a:r>
                <a:rPr kumimoji="0" lang="en-US" sz="1100" b="0" i="0" u="none" strike="noStrike" kern="0" cap="none" spc="0" normalizeH="0" baseline="0" noProof="0" dirty="0" err="1">
                  <a:ln>
                    <a:noFill/>
                  </a:ln>
                  <a:solidFill>
                    <a:schemeClr val="accent3"/>
                  </a:solidFill>
                  <a:effectLst/>
                  <a:uLnTx/>
                  <a:uFillTx/>
                  <a:ea typeface="+mn-ea"/>
                  <a:cs typeface="+mn-cs"/>
                </a:rPr>
                <a:t>text</a:t>
              </a:r>
              <a:r>
                <a:rPr kumimoji="0" lang="en-US" sz="1100" b="0" i="0" u="none" strike="noStrike" kern="0" cap="none" spc="0" normalizeH="0" baseline="0" noProof="0" dirty="0">
                  <a:ln>
                    <a:noFill/>
                  </a:ln>
                  <a:solidFill>
                    <a:schemeClr val="accent3"/>
                  </a:solidFill>
                  <a:effectLst/>
                  <a:uLnTx/>
                  <a:uFillTx/>
                  <a:ea typeface="+mn-ea"/>
                  <a:cs typeface="+mn-cs"/>
                </a:rPr>
                <a:t> </a:t>
              </a:r>
              <a:r>
                <a:rPr kumimoji="0" lang="en-US" sz="1100" b="0" i="0" u="none" strike="noStrike" kern="0" cap="none" spc="0" normalizeH="0" baseline="0" noProof="0" dirty="0" err="1">
                  <a:ln>
                    <a:noFill/>
                  </a:ln>
                  <a:solidFill>
                    <a:schemeClr val="accent3"/>
                  </a:solidFill>
                  <a:effectLst/>
                  <a:uLnTx/>
                  <a:uFillTx/>
                  <a:ea typeface="+mn-ea"/>
                  <a:cs typeface="+mn-cs"/>
                </a:rPr>
                <a:t>text</a:t>
              </a:r>
              <a:endParaRPr kumimoji="0" lang="en-US" sz="1100" b="0" i="0" u="none" strike="noStrike" kern="0" cap="none" spc="0" normalizeH="0" baseline="0" noProof="0" dirty="0">
                <a:ln>
                  <a:noFill/>
                </a:ln>
                <a:solidFill>
                  <a:schemeClr val="accent3"/>
                </a:solidFill>
                <a:effectLst/>
                <a:uLnTx/>
                <a:uFillTx/>
                <a:ea typeface="+mn-ea"/>
                <a:cs typeface="+mn-cs"/>
              </a:endParaRPr>
            </a:p>
          </p:txBody>
        </p:sp>
        <p:sp>
          <p:nvSpPr>
            <p:cNvPr id="6" name="Rectangle 5">
              <a:extLst>
                <a:ext uri="{FF2B5EF4-FFF2-40B4-BE49-F238E27FC236}">
                  <a16:creationId xmlns:a16="http://schemas.microsoft.com/office/drawing/2014/main" id="{6BDA3409-3379-426B-B613-4427727A8DE2}"/>
                </a:ext>
              </a:extLst>
            </p:cNvPr>
            <p:cNvSpPr>
              <a:spLocks noChangeArrowheads="1"/>
            </p:cNvSpPr>
            <p:nvPr/>
          </p:nvSpPr>
          <p:spPr bwMode="auto">
            <a:xfrm>
              <a:off x="5334204" y="2566350"/>
              <a:ext cx="128140" cy="141869"/>
            </a:xfrm>
            <a:prstGeom prst="rect">
              <a:avLst/>
            </a:prstGeom>
            <a:solidFill>
              <a:schemeClr val="accent2"/>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ea typeface="+mn-ea"/>
                  <a:cs typeface="+mn-cs"/>
                </a:rPr>
                <a:t>Tex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endParaRPr kumimoji="0" lang="en-US" sz="1100" b="0" i="0" u="none" strike="noStrike" kern="0" cap="none" spc="0" normalizeH="0" baseline="0" noProof="0" dirty="0">
                <a:ln>
                  <a:noFill/>
                </a:ln>
                <a:solidFill>
                  <a:srgbClr val="000000"/>
                </a:solidFill>
                <a:effectLst/>
                <a:uLnTx/>
                <a:uFillTx/>
                <a:ea typeface="+mn-ea"/>
                <a:cs typeface="+mn-cs"/>
              </a:endParaRPr>
            </a:p>
          </p:txBody>
        </p:sp>
        <p:sp>
          <p:nvSpPr>
            <p:cNvPr id="7" name="Rectangle 6">
              <a:extLst>
                <a:ext uri="{FF2B5EF4-FFF2-40B4-BE49-F238E27FC236}">
                  <a16:creationId xmlns:a16="http://schemas.microsoft.com/office/drawing/2014/main" id="{60DB0850-BCE2-4790-A8D7-60EBBA539C5F}"/>
                </a:ext>
              </a:extLst>
            </p:cNvPr>
            <p:cNvSpPr>
              <a:spLocks noChangeArrowheads="1"/>
            </p:cNvSpPr>
            <p:nvPr/>
          </p:nvSpPr>
          <p:spPr bwMode="auto">
            <a:xfrm>
              <a:off x="3683645" y="2566350"/>
              <a:ext cx="138817" cy="138818"/>
            </a:xfrm>
            <a:prstGeom prst="rect">
              <a:avLst/>
            </a:prstGeom>
            <a:solidFill>
              <a:srgbClr val="B455AA"/>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ea typeface="+mn-ea"/>
                  <a:cs typeface="+mn-cs"/>
                </a:rPr>
                <a:t>Tex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endParaRPr kumimoji="0" lang="en-US" sz="1100" b="0" i="0" u="none" strike="noStrike" kern="0" cap="none" spc="0" normalizeH="0" baseline="0" noProof="0" dirty="0">
                <a:ln>
                  <a:noFill/>
                </a:ln>
                <a:solidFill>
                  <a:srgbClr val="000000"/>
                </a:solidFill>
                <a:effectLst/>
                <a:uLnTx/>
                <a:uFillTx/>
                <a:ea typeface="+mn-ea"/>
                <a:cs typeface="+mn-cs"/>
              </a:endParaRPr>
            </a:p>
          </p:txBody>
        </p:sp>
        <p:sp>
          <p:nvSpPr>
            <p:cNvPr id="8" name="Rectangle 7">
              <a:extLst>
                <a:ext uri="{FF2B5EF4-FFF2-40B4-BE49-F238E27FC236}">
                  <a16:creationId xmlns:a16="http://schemas.microsoft.com/office/drawing/2014/main" id="{879ABCB0-BB5D-4AE9-B541-A986BA3ECE0E}"/>
                </a:ext>
              </a:extLst>
            </p:cNvPr>
            <p:cNvSpPr>
              <a:spLocks noChangeArrowheads="1"/>
            </p:cNvSpPr>
            <p:nvPr/>
          </p:nvSpPr>
          <p:spPr bwMode="auto">
            <a:xfrm>
              <a:off x="381000" y="2566350"/>
              <a:ext cx="138818" cy="138818"/>
            </a:xfrm>
            <a:prstGeom prst="rect">
              <a:avLst/>
            </a:prstGeom>
            <a:solidFill>
              <a:srgbClr val="A100FF"/>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ea typeface="+mn-ea"/>
                  <a:cs typeface="+mn-cs"/>
                </a:rPr>
                <a:t>Tex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0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text</a:t>
              </a:r>
            </a:p>
          </p:txBody>
        </p:sp>
      </p:grpSp>
      <p:grpSp>
        <p:nvGrpSpPr>
          <p:cNvPr id="38" name="Group 37" descr="Text 3">
            <a:extLst>
              <a:ext uri="{FF2B5EF4-FFF2-40B4-BE49-F238E27FC236}">
                <a16:creationId xmlns:a16="http://schemas.microsoft.com/office/drawing/2014/main" id="{05086012-FC97-488D-865C-4757E0629A7F}"/>
              </a:ext>
            </a:extLst>
          </p:cNvPr>
          <p:cNvGrpSpPr/>
          <p:nvPr/>
        </p:nvGrpSpPr>
        <p:grpSpPr>
          <a:xfrm>
            <a:off x="381000" y="3347391"/>
            <a:ext cx="3441462" cy="138818"/>
            <a:chOff x="381000" y="3347391"/>
            <a:chExt cx="3441462" cy="138818"/>
          </a:xfrm>
        </p:grpSpPr>
        <p:sp>
          <p:nvSpPr>
            <p:cNvPr id="9" name="Rectangle 11">
              <a:extLst>
                <a:ext uri="{FF2B5EF4-FFF2-40B4-BE49-F238E27FC236}">
                  <a16:creationId xmlns:a16="http://schemas.microsoft.com/office/drawing/2014/main" id="{BFADD4C8-49BD-4938-95D3-CFEE0CF9E5E0}"/>
                </a:ext>
              </a:extLst>
            </p:cNvPr>
            <p:cNvSpPr>
              <a:spLocks noChangeArrowheads="1"/>
            </p:cNvSpPr>
            <p:nvPr/>
          </p:nvSpPr>
          <p:spPr bwMode="auto">
            <a:xfrm>
              <a:off x="2025457" y="3347391"/>
              <a:ext cx="138818" cy="138818"/>
            </a:xfrm>
            <a:prstGeom prst="rect">
              <a:avLst/>
            </a:prstGeom>
            <a:solidFill>
              <a:schemeClr val="accent3"/>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dirty="0">
                  <a:ln>
                    <a:noFill/>
                  </a:ln>
                  <a:solidFill>
                    <a:schemeClr val="accent3"/>
                  </a:solidFill>
                  <a:effectLst/>
                  <a:uLnTx/>
                  <a:uFillTx/>
                  <a:ea typeface="+mn-ea"/>
                  <a:cs typeface="+mn-cs"/>
                </a:rPr>
                <a:t>Text </a:t>
              </a:r>
              <a:r>
                <a:rPr kumimoji="0" lang="en-US" sz="1100" b="0" i="0" u="none" strike="noStrike" kern="0" cap="none" spc="0" normalizeH="0" baseline="0" noProof="0" dirty="0" err="1">
                  <a:ln>
                    <a:noFill/>
                  </a:ln>
                  <a:solidFill>
                    <a:schemeClr val="accent3"/>
                  </a:solidFill>
                  <a:effectLst/>
                  <a:uLnTx/>
                  <a:uFillTx/>
                  <a:ea typeface="+mn-ea"/>
                  <a:cs typeface="+mn-cs"/>
                </a:rPr>
                <a:t>text</a:t>
              </a:r>
              <a:r>
                <a:rPr kumimoji="0" lang="en-US" sz="1100" b="0" i="0" u="none" strike="noStrike" kern="0" cap="none" spc="0" normalizeH="0" baseline="0" noProof="0" dirty="0">
                  <a:ln>
                    <a:noFill/>
                  </a:ln>
                  <a:solidFill>
                    <a:schemeClr val="accent3"/>
                  </a:solidFill>
                  <a:effectLst/>
                  <a:uLnTx/>
                  <a:uFillTx/>
                  <a:ea typeface="+mn-ea"/>
                  <a:cs typeface="+mn-cs"/>
                </a:rPr>
                <a:t> </a:t>
              </a:r>
              <a:r>
                <a:rPr kumimoji="0" lang="en-US" sz="1100" b="0" i="0" u="none" strike="noStrike" kern="0" cap="none" spc="0" normalizeH="0" baseline="0" noProof="0" dirty="0" err="1">
                  <a:ln>
                    <a:noFill/>
                  </a:ln>
                  <a:solidFill>
                    <a:schemeClr val="accent3"/>
                  </a:solidFill>
                  <a:effectLst/>
                  <a:uLnTx/>
                  <a:uFillTx/>
                  <a:ea typeface="+mn-ea"/>
                  <a:cs typeface="+mn-cs"/>
                </a:rPr>
                <a:t>text</a:t>
              </a:r>
              <a:r>
                <a:rPr kumimoji="0" lang="en-US" sz="1100" b="0" i="0" u="none" strike="noStrike" kern="0" cap="none" spc="0" normalizeH="0" baseline="0" noProof="0" dirty="0">
                  <a:ln>
                    <a:noFill/>
                  </a:ln>
                  <a:solidFill>
                    <a:schemeClr val="accent3"/>
                  </a:solidFill>
                  <a:effectLst/>
                  <a:uLnTx/>
                  <a:uFillTx/>
                  <a:ea typeface="+mn-ea"/>
                  <a:cs typeface="+mn-cs"/>
                </a:rPr>
                <a:t> </a:t>
              </a:r>
              <a:r>
                <a:rPr kumimoji="0" lang="en-US" sz="1100" b="0" i="0" u="none" strike="noStrike" kern="0" cap="none" spc="0" normalizeH="0" baseline="0" noProof="0" dirty="0" err="1">
                  <a:ln>
                    <a:noFill/>
                  </a:ln>
                  <a:solidFill>
                    <a:schemeClr val="accent3"/>
                  </a:solidFill>
                  <a:effectLst/>
                  <a:uLnTx/>
                  <a:uFillTx/>
                  <a:ea typeface="+mn-ea"/>
                  <a:cs typeface="+mn-cs"/>
                </a:rPr>
                <a:t>text</a:t>
              </a:r>
              <a:r>
                <a:rPr kumimoji="0" lang="en-US" sz="1100" b="0" i="0" u="none" strike="noStrike" kern="0" cap="none" spc="0" normalizeH="0" baseline="0" noProof="0" dirty="0">
                  <a:ln>
                    <a:noFill/>
                  </a:ln>
                  <a:solidFill>
                    <a:schemeClr val="accent3"/>
                  </a:solidFill>
                  <a:effectLst/>
                  <a:uLnTx/>
                  <a:uFillTx/>
                  <a:ea typeface="+mn-ea"/>
                  <a:cs typeface="+mn-cs"/>
                </a:rPr>
                <a:t> </a:t>
              </a:r>
              <a:r>
                <a:rPr kumimoji="0" lang="en-US" sz="1100" b="0" i="0" u="none" strike="noStrike" kern="0" cap="none" spc="0" normalizeH="0" baseline="0" noProof="0" dirty="0" err="1">
                  <a:ln>
                    <a:noFill/>
                  </a:ln>
                  <a:solidFill>
                    <a:schemeClr val="accent3"/>
                  </a:solidFill>
                  <a:effectLst/>
                  <a:uLnTx/>
                  <a:uFillTx/>
                  <a:ea typeface="+mn-ea"/>
                  <a:cs typeface="+mn-cs"/>
                </a:rPr>
                <a:t>text</a:t>
              </a:r>
              <a:endParaRPr kumimoji="0" lang="en-US" sz="1100" b="0" i="0" u="none" strike="noStrike" kern="0" cap="none" spc="0" normalizeH="0" baseline="0" noProof="0" dirty="0">
                <a:ln>
                  <a:noFill/>
                </a:ln>
                <a:solidFill>
                  <a:schemeClr val="accent3"/>
                </a:solidFill>
                <a:effectLst/>
                <a:uLnTx/>
                <a:uFillTx/>
                <a:ea typeface="+mn-ea"/>
                <a:cs typeface="+mn-cs"/>
              </a:endParaRPr>
            </a:p>
          </p:txBody>
        </p:sp>
        <p:sp>
          <p:nvSpPr>
            <p:cNvPr id="10" name="Rectangle 12">
              <a:extLst>
                <a:ext uri="{FF2B5EF4-FFF2-40B4-BE49-F238E27FC236}">
                  <a16:creationId xmlns:a16="http://schemas.microsoft.com/office/drawing/2014/main" id="{0A741705-4181-4ADE-9B4F-BD8516BDAE82}"/>
                </a:ext>
              </a:extLst>
            </p:cNvPr>
            <p:cNvSpPr>
              <a:spLocks noChangeArrowheads="1"/>
            </p:cNvSpPr>
            <p:nvPr/>
          </p:nvSpPr>
          <p:spPr bwMode="auto">
            <a:xfrm>
              <a:off x="3683645" y="3347391"/>
              <a:ext cx="138817" cy="138818"/>
            </a:xfrm>
            <a:prstGeom prst="rect">
              <a:avLst/>
            </a:prstGeom>
            <a:solidFill>
              <a:srgbClr val="B455AA"/>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ea typeface="+mn-ea"/>
                  <a:cs typeface="+mn-cs"/>
                </a:rPr>
                <a:t>Tex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text</a:t>
              </a:r>
            </a:p>
          </p:txBody>
        </p:sp>
        <p:sp>
          <p:nvSpPr>
            <p:cNvPr id="11" name="Rectangle 13">
              <a:extLst>
                <a:ext uri="{FF2B5EF4-FFF2-40B4-BE49-F238E27FC236}">
                  <a16:creationId xmlns:a16="http://schemas.microsoft.com/office/drawing/2014/main" id="{72711EED-5F6C-45FB-A5CE-2C01C6ACFE0E}"/>
                </a:ext>
              </a:extLst>
            </p:cNvPr>
            <p:cNvSpPr>
              <a:spLocks noChangeArrowheads="1"/>
            </p:cNvSpPr>
            <p:nvPr/>
          </p:nvSpPr>
          <p:spPr bwMode="auto">
            <a:xfrm>
              <a:off x="381000" y="3347391"/>
              <a:ext cx="138818" cy="138818"/>
            </a:xfrm>
            <a:prstGeom prst="rect">
              <a:avLst/>
            </a:prstGeom>
            <a:solidFill>
              <a:srgbClr val="A100FF"/>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ea typeface="+mn-ea"/>
                  <a:cs typeface="+mn-cs"/>
                </a:rPr>
                <a:t>Tex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endParaRPr kumimoji="0" lang="en-US" sz="1100" b="0" i="0" u="none" strike="noStrike" kern="0" cap="none" spc="0" normalizeH="0" baseline="0" noProof="0" dirty="0">
                <a:ln>
                  <a:noFill/>
                </a:ln>
                <a:solidFill>
                  <a:srgbClr val="000000"/>
                </a:solidFill>
                <a:effectLst/>
                <a:uLnTx/>
                <a:uFillTx/>
                <a:ea typeface="+mn-ea"/>
                <a:cs typeface="+mn-cs"/>
              </a:endParaRPr>
            </a:p>
          </p:txBody>
        </p:sp>
      </p:grpSp>
      <p:grpSp>
        <p:nvGrpSpPr>
          <p:cNvPr id="39" name="Group 38" descr="Text 4">
            <a:extLst>
              <a:ext uri="{FF2B5EF4-FFF2-40B4-BE49-F238E27FC236}">
                <a16:creationId xmlns:a16="http://schemas.microsoft.com/office/drawing/2014/main" id="{C9F79E8E-BBF0-49FE-8052-9ECE4C926121}"/>
              </a:ext>
            </a:extLst>
          </p:cNvPr>
          <p:cNvGrpSpPr/>
          <p:nvPr/>
        </p:nvGrpSpPr>
        <p:grpSpPr>
          <a:xfrm>
            <a:off x="381000" y="4177247"/>
            <a:ext cx="1783275" cy="138818"/>
            <a:chOff x="381000" y="4177247"/>
            <a:chExt cx="1783275" cy="138818"/>
          </a:xfrm>
        </p:grpSpPr>
        <p:sp>
          <p:nvSpPr>
            <p:cNvPr id="12" name="Rectangle 16">
              <a:extLst>
                <a:ext uri="{FF2B5EF4-FFF2-40B4-BE49-F238E27FC236}">
                  <a16:creationId xmlns:a16="http://schemas.microsoft.com/office/drawing/2014/main" id="{7657760D-7E3F-4166-B86F-0B548AD08995}"/>
                </a:ext>
              </a:extLst>
            </p:cNvPr>
            <p:cNvSpPr>
              <a:spLocks noChangeArrowheads="1"/>
            </p:cNvSpPr>
            <p:nvPr/>
          </p:nvSpPr>
          <p:spPr bwMode="auto">
            <a:xfrm>
              <a:off x="2025457" y="4177247"/>
              <a:ext cx="138818" cy="138818"/>
            </a:xfrm>
            <a:prstGeom prst="rect">
              <a:avLst/>
            </a:prstGeom>
            <a:solidFill>
              <a:schemeClr val="accent3"/>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dirty="0">
                  <a:ln>
                    <a:noFill/>
                  </a:ln>
                  <a:solidFill>
                    <a:schemeClr val="accent3"/>
                  </a:solidFill>
                  <a:effectLst/>
                  <a:uLnTx/>
                  <a:uFillTx/>
                  <a:ea typeface="+mn-ea"/>
                  <a:cs typeface="+mn-cs"/>
                </a:rPr>
                <a:t>Text </a:t>
              </a:r>
              <a:r>
                <a:rPr kumimoji="0" lang="en-US" sz="1100" b="0" i="0" u="none" strike="noStrike" kern="0" cap="none" spc="0" normalizeH="0" baseline="0" noProof="0" dirty="0" err="1">
                  <a:ln>
                    <a:noFill/>
                  </a:ln>
                  <a:solidFill>
                    <a:schemeClr val="accent3"/>
                  </a:solidFill>
                  <a:effectLst/>
                  <a:uLnTx/>
                  <a:uFillTx/>
                  <a:ea typeface="+mn-ea"/>
                  <a:cs typeface="+mn-cs"/>
                </a:rPr>
                <a:t>text</a:t>
              </a:r>
              <a:r>
                <a:rPr kumimoji="0" lang="en-US" sz="1100" b="0" i="0" u="none" strike="noStrike" kern="0" cap="none" spc="0" normalizeH="0" baseline="0" noProof="0" dirty="0">
                  <a:ln>
                    <a:noFill/>
                  </a:ln>
                  <a:solidFill>
                    <a:schemeClr val="accent3"/>
                  </a:solidFill>
                  <a:effectLst/>
                  <a:uLnTx/>
                  <a:uFillTx/>
                  <a:ea typeface="+mn-ea"/>
                  <a:cs typeface="+mn-cs"/>
                </a:rPr>
                <a:t> </a:t>
              </a:r>
              <a:r>
                <a:rPr kumimoji="0" lang="en-US" sz="1100" b="0" i="0" u="none" strike="noStrike" kern="0" cap="none" spc="0" normalizeH="0" baseline="0" noProof="0" dirty="0" err="1">
                  <a:ln>
                    <a:noFill/>
                  </a:ln>
                  <a:solidFill>
                    <a:schemeClr val="accent3"/>
                  </a:solidFill>
                  <a:effectLst/>
                  <a:uLnTx/>
                  <a:uFillTx/>
                  <a:ea typeface="+mn-ea"/>
                  <a:cs typeface="+mn-cs"/>
                </a:rPr>
                <a:t>text</a:t>
              </a:r>
              <a:r>
                <a:rPr kumimoji="0" lang="en-US" sz="1100" b="0" i="0" u="none" strike="noStrike" kern="0" cap="none" spc="0" normalizeH="0" baseline="0" noProof="0" dirty="0">
                  <a:ln>
                    <a:noFill/>
                  </a:ln>
                  <a:solidFill>
                    <a:schemeClr val="accent3"/>
                  </a:solidFill>
                  <a:effectLst/>
                  <a:uLnTx/>
                  <a:uFillTx/>
                  <a:ea typeface="+mn-ea"/>
                  <a:cs typeface="+mn-cs"/>
                </a:rPr>
                <a:t> text </a:t>
              </a:r>
              <a:r>
                <a:rPr kumimoji="0" lang="en-US" sz="1100" b="0" i="0" u="none" strike="noStrike" kern="0" cap="none" spc="0" normalizeH="0" baseline="0" noProof="0" dirty="0" err="1">
                  <a:ln>
                    <a:noFill/>
                  </a:ln>
                  <a:solidFill>
                    <a:schemeClr val="accent3"/>
                  </a:solidFill>
                  <a:effectLst/>
                  <a:uLnTx/>
                  <a:uFillTx/>
                  <a:ea typeface="+mn-ea"/>
                  <a:cs typeface="+mn-cs"/>
                </a:rPr>
                <a:t>text</a:t>
              </a:r>
              <a:endParaRPr kumimoji="0" lang="en-US" sz="1100" b="0" i="0" u="none" strike="noStrike" kern="0" cap="none" spc="0" normalizeH="0" baseline="0" noProof="0" dirty="0">
                <a:ln>
                  <a:noFill/>
                </a:ln>
                <a:solidFill>
                  <a:schemeClr val="accent3"/>
                </a:solidFill>
                <a:effectLst/>
                <a:uLnTx/>
                <a:uFillTx/>
                <a:ea typeface="+mn-ea"/>
                <a:cs typeface="+mn-cs"/>
              </a:endParaRPr>
            </a:p>
          </p:txBody>
        </p:sp>
        <p:sp>
          <p:nvSpPr>
            <p:cNvPr id="13" name="Rectangle 17">
              <a:extLst>
                <a:ext uri="{FF2B5EF4-FFF2-40B4-BE49-F238E27FC236}">
                  <a16:creationId xmlns:a16="http://schemas.microsoft.com/office/drawing/2014/main" id="{AEC1040A-BA94-4180-A6CB-B0BD6736187B}"/>
                </a:ext>
              </a:extLst>
            </p:cNvPr>
            <p:cNvSpPr>
              <a:spLocks noChangeArrowheads="1"/>
            </p:cNvSpPr>
            <p:nvPr/>
          </p:nvSpPr>
          <p:spPr bwMode="auto">
            <a:xfrm>
              <a:off x="381000" y="4177247"/>
              <a:ext cx="138818" cy="138818"/>
            </a:xfrm>
            <a:prstGeom prst="rect">
              <a:avLst/>
            </a:prstGeom>
            <a:solidFill>
              <a:srgbClr val="A100FF"/>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ea typeface="+mn-ea"/>
                  <a:cs typeface="+mn-cs"/>
                </a:rPr>
                <a:t>Tex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text</a:t>
              </a:r>
            </a:p>
          </p:txBody>
        </p:sp>
      </p:grpSp>
      <p:grpSp>
        <p:nvGrpSpPr>
          <p:cNvPr id="40" name="Group 39" descr="Text 5">
            <a:extLst>
              <a:ext uri="{FF2B5EF4-FFF2-40B4-BE49-F238E27FC236}">
                <a16:creationId xmlns:a16="http://schemas.microsoft.com/office/drawing/2014/main" id="{865A03B8-CA52-460E-AD0A-9CD5340AA990}"/>
              </a:ext>
            </a:extLst>
          </p:cNvPr>
          <p:cNvGrpSpPr/>
          <p:nvPr/>
        </p:nvGrpSpPr>
        <p:grpSpPr>
          <a:xfrm>
            <a:off x="381000" y="4403017"/>
            <a:ext cx="6777667" cy="970199"/>
            <a:chOff x="381000" y="4403017"/>
            <a:chExt cx="6777667" cy="970199"/>
          </a:xfrm>
        </p:grpSpPr>
        <p:sp>
          <p:nvSpPr>
            <p:cNvPr id="14" name="Rectangle 20">
              <a:extLst>
                <a:ext uri="{FF2B5EF4-FFF2-40B4-BE49-F238E27FC236}">
                  <a16:creationId xmlns:a16="http://schemas.microsoft.com/office/drawing/2014/main" id="{0A74F864-2F10-459D-9F04-06437F21A4DB}"/>
                </a:ext>
              </a:extLst>
            </p:cNvPr>
            <p:cNvSpPr>
              <a:spLocks noChangeArrowheads="1"/>
            </p:cNvSpPr>
            <p:nvPr/>
          </p:nvSpPr>
          <p:spPr bwMode="auto">
            <a:xfrm>
              <a:off x="381000" y="5234399"/>
              <a:ext cx="138817" cy="138817"/>
            </a:xfrm>
            <a:prstGeom prst="rect">
              <a:avLst/>
            </a:prstGeom>
            <a:solidFill>
              <a:srgbClr val="A100FF"/>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ea typeface="+mn-ea"/>
                  <a:cs typeface="+mn-cs"/>
                </a:rPr>
                <a:t>Tex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endParaRPr kumimoji="0" lang="en-US" sz="1100" b="0" i="0" u="none" strike="noStrike" kern="0" cap="none" spc="0" normalizeH="0" baseline="0" noProof="0" dirty="0">
                <a:ln>
                  <a:noFill/>
                </a:ln>
                <a:solidFill>
                  <a:srgbClr val="000000"/>
                </a:solidFill>
                <a:effectLst/>
                <a:uLnTx/>
                <a:uFillTx/>
                <a:ea typeface="+mn-ea"/>
                <a:cs typeface="+mn-cs"/>
              </a:endParaRPr>
            </a:p>
          </p:txBody>
        </p:sp>
        <p:sp>
          <p:nvSpPr>
            <p:cNvPr id="15" name="Rectangle 23">
              <a:extLst>
                <a:ext uri="{FF2B5EF4-FFF2-40B4-BE49-F238E27FC236}">
                  <a16:creationId xmlns:a16="http://schemas.microsoft.com/office/drawing/2014/main" id="{830C4FED-5B2A-435D-B26C-5D294FDBADA0}"/>
                </a:ext>
              </a:extLst>
            </p:cNvPr>
            <p:cNvSpPr>
              <a:spLocks noChangeArrowheads="1"/>
            </p:cNvSpPr>
            <p:nvPr/>
          </p:nvSpPr>
          <p:spPr bwMode="auto">
            <a:xfrm>
              <a:off x="2025457" y="5026553"/>
              <a:ext cx="138818" cy="138818"/>
            </a:xfrm>
            <a:prstGeom prst="rect">
              <a:avLst/>
            </a:prstGeom>
            <a:solidFill>
              <a:srgbClr val="A100FF"/>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ea typeface="+mn-ea"/>
                  <a:cs typeface="+mn-cs"/>
                </a:rPr>
                <a:t>Tex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endParaRPr kumimoji="0" lang="en-US" sz="1100" b="0" i="0" u="none" strike="noStrike" kern="0" cap="none" spc="0" normalizeH="0" baseline="0" noProof="0" dirty="0">
                <a:ln>
                  <a:noFill/>
                </a:ln>
                <a:solidFill>
                  <a:srgbClr val="000000"/>
                </a:solidFill>
                <a:effectLst/>
                <a:uLnTx/>
                <a:uFillTx/>
                <a:ea typeface="+mn-ea"/>
                <a:cs typeface="+mn-cs"/>
              </a:endParaRPr>
            </a:p>
          </p:txBody>
        </p:sp>
        <p:sp>
          <p:nvSpPr>
            <p:cNvPr id="16" name="Rectangle 24">
              <a:extLst>
                <a:ext uri="{FF2B5EF4-FFF2-40B4-BE49-F238E27FC236}">
                  <a16:creationId xmlns:a16="http://schemas.microsoft.com/office/drawing/2014/main" id="{DEA880A9-B377-42F9-92CA-E85795D6755F}"/>
                </a:ext>
              </a:extLst>
            </p:cNvPr>
            <p:cNvSpPr>
              <a:spLocks noChangeArrowheads="1"/>
            </p:cNvSpPr>
            <p:nvPr/>
          </p:nvSpPr>
          <p:spPr bwMode="auto">
            <a:xfrm>
              <a:off x="2025457" y="5234399"/>
              <a:ext cx="138818" cy="138817"/>
            </a:xfrm>
            <a:prstGeom prst="rect">
              <a:avLst/>
            </a:prstGeom>
            <a:solidFill>
              <a:schemeClr val="accent3"/>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dirty="0">
                  <a:ln>
                    <a:noFill/>
                  </a:ln>
                  <a:solidFill>
                    <a:schemeClr val="accent3"/>
                  </a:solidFill>
                  <a:effectLst/>
                  <a:uLnTx/>
                  <a:uFillTx/>
                  <a:ea typeface="+mn-ea"/>
                  <a:cs typeface="+mn-cs"/>
                </a:rPr>
                <a:t>Text </a:t>
              </a:r>
              <a:r>
                <a:rPr kumimoji="0" lang="en-US" sz="1100" b="0" i="0" u="none" strike="noStrike" kern="0" cap="none" spc="0" normalizeH="0" baseline="0" noProof="0" dirty="0" err="1">
                  <a:ln>
                    <a:noFill/>
                  </a:ln>
                  <a:solidFill>
                    <a:schemeClr val="accent3"/>
                  </a:solidFill>
                  <a:effectLst/>
                  <a:uLnTx/>
                  <a:uFillTx/>
                  <a:ea typeface="+mn-ea"/>
                  <a:cs typeface="+mn-cs"/>
                </a:rPr>
                <a:t>text</a:t>
              </a:r>
              <a:r>
                <a:rPr kumimoji="0" lang="en-US" sz="1100" b="0" i="0" u="none" strike="noStrike" kern="0" cap="none" spc="0" normalizeH="0" baseline="0" noProof="0" dirty="0">
                  <a:ln>
                    <a:noFill/>
                  </a:ln>
                  <a:solidFill>
                    <a:schemeClr val="accent3"/>
                  </a:solidFill>
                  <a:effectLst/>
                  <a:uLnTx/>
                  <a:uFillTx/>
                  <a:ea typeface="+mn-ea"/>
                  <a:cs typeface="+mn-cs"/>
                </a:rPr>
                <a:t> </a:t>
              </a:r>
              <a:r>
                <a:rPr kumimoji="0" lang="en-US" sz="1100" b="0" i="0" u="none" strike="noStrike" kern="0" cap="none" spc="0" normalizeH="0" baseline="0" noProof="0" dirty="0" err="1">
                  <a:ln>
                    <a:noFill/>
                  </a:ln>
                  <a:solidFill>
                    <a:schemeClr val="accent3"/>
                  </a:solidFill>
                  <a:effectLst/>
                  <a:uLnTx/>
                  <a:uFillTx/>
                  <a:ea typeface="+mn-ea"/>
                  <a:cs typeface="+mn-cs"/>
                </a:rPr>
                <a:t>text</a:t>
              </a:r>
              <a:r>
                <a:rPr kumimoji="0" lang="en-US" sz="1100" b="0" i="0" u="none" strike="noStrike" kern="0" cap="none" spc="0" normalizeH="0" baseline="0" noProof="0" dirty="0">
                  <a:ln>
                    <a:noFill/>
                  </a:ln>
                  <a:solidFill>
                    <a:schemeClr val="accent3"/>
                  </a:solidFill>
                  <a:effectLst/>
                  <a:uLnTx/>
                  <a:uFillTx/>
                  <a:ea typeface="+mn-ea"/>
                  <a:cs typeface="+mn-cs"/>
                </a:rPr>
                <a:t> </a:t>
              </a:r>
              <a:r>
                <a:rPr kumimoji="0" lang="en-US" sz="1100" b="0" i="0" u="none" strike="noStrike" kern="0" cap="none" spc="0" normalizeH="0" baseline="0" noProof="0" dirty="0" err="1">
                  <a:ln>
                    <a:noFill/>
                  </a:ln>
                  <a:solidFill>
                    <a:schemeClr val="accent3"/>
                  </a:solidFill>
                  <a:effectLst/>
                  <a:uLnTx/>
                  <a:uFillTx/>
                  <a:ea typeface="+mn-ea"/>
                  <a:cs typeface="+mn-cs"/>
                </a:rPr>
                <a:t>text</a:t>
              </a:r>
              <a:r>
                <a:rPr kumimoji="0" lang="en-US" sz="1100" b="0" i="0" u="none" strike="noStrike" kern="0" cap="none" spc="0" normalizeH="0" baseline="0" noProof="0" dirty="0">
                  <a:ln>
                    <a:noFill/>
                  </a:ln>
                  <a:solidFill>
                    <a:schemeClr val="accent3"/>
                  </a:solidFill>
                  <a:effectLst/>
                  <a:uLnTx/>
                  <a:uFillTx/>
                  <a:ea typeface="+mn-ea"/>
                  <a:cs typeface="+mn-cs"/>
                </a:rPr>
                <a:t> </a:t>
              </a:r>
              <a:r>
                <a:rPr kumimoji="0" lang="en-US" sz="1100" b="0" i="0" u="none" strike="noStrike" kern="0" cap="none" spc="0" normalizeH="0" baseline="0" noProof="0" dirty="0" err="1">
                  <a:ln>
                    <a:noFill/>
                  </a:ln>
                  <a:solidFill>
                    <a:schemeClr val="accent3"/>
                  </a:solidFill>
                  <a:effectLst/>
                  <a:uLnTx/>
                  <a:uFillTx/>
                  <a:ea typeface="+mn-ea"/>
                  <a:cs typeface="+mn-cs"/>
                </a:rPr>
                <a:t>text</a:t>
              </a:r>
              <a:endParaRPr kumimoji="0" lang="en-US" sz="1100" b="0" i="0" u="none" strike="noStrike" kern="0" cap="none" spc="0" normalizeH="0" baseline="0" noProof="0" dirty="0">
                <a:ln>
                  <a:noFill/>
                </a:ln>
                <a:solidFill>
                  <a:schemeClr val="accent3"/>
                </a:solidFill>
                <a:effectLst/>
                <a:uLnTx/>
                <a:uFillTx/>
                <a:ea typeface="+mn-ea"/>
                <a:cs typeface="+mn-cs"/>
              </a:endParaRPr>
            </a:p>
          </p:txBody>
        </p:sp>
        <p:sp>
          <p:nvSpPr>
            <p:cNvPr id="17" name="Rectangle 27">
              <a:extLst>
                <a:ext uri="{FF2B5EF4-FFF2-40B4-BE49-F238E27FC236}">
                  <a16:creationId xmlns:a16="http://schemas.microsoft.com/office/drawing/2014/main" id="{DA55F043-23EF-4197-997C-55F3EFCC373D}"/>
                </a:ext>
              </a:extLst>
            </p:cNvPr>
            <p:cNvSpPr>
              <a:spLocks noChangeArrowheads="1"/>
            </p:cNvSpPr>
            <p:nvPr/>
          </p:nvSpPr>
          <p:spPr bwMode="auto">
            <a:xfrm>
              <a:off x="3685170" y="4818708"/>
              <a:ext cx="138818" cy="138817"/>
            </a:xfrm>
            <a:prstGeom prst="rect">
              <a:avLst/>
            </a:prstGeom>
            <a:solidFill>
              <a:srgbClr val="A100FF"/>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ea typeface="+mn-ea"/>
                  <a:cs typeface="+mn-cs"/>
                </a:rPr>
                <a:t>Tex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endParaRPr kumimoji="0" lang="en-US" sz="1100" b="0" i="0" u="none" strike="noStrike" kern="0" cap="none" spc="0" normalizeH="0" baseline="0" noProof="0" dirty="0">
                <a:ln>
                  <a:noFill/>
                </a:ln>
                <a:solidFill>
                  <a:srgbClr val="000000"/>
                </a:solidFill>
                <a:effectLst/>
                <a:uLnTx/>
                <a:uFillTx/>
                <a:ea typeface="+mn-ea"/>
                <a:cs typeface="+mn-cs"/>
              </a:endParaRPr>
            </a:p>
          </p:txBody>
        </p:sp>
        <p:sp>
          <p:nvSpPr>
            <p:cNvPr id="18" name="Rectangle 28">
              <a:extLst>
                <a:ext uri="{FF2B5EF4-FFF2-40B4-BE49-F238E27FC236}">
                  <a16:creationId xmlns:a16="http://schemas.microsoft.com/office/drawing/2014/main" id="{A68753CF-53F2-4CA4-A388-782ADCFF301F}"/>
                </a:ext>
              </a:extLst>
            </p:cNvPr>
            <p:cNvSpPr>
              <a:spLocks noChangeArrowheads="1"/>
            </p:cNvSpPr>
            <p:nvPr/>
          </p:nvSpPr>
          <p:spPr bwMode="auto">
            <a:xfrm>
              <a:off x="3685170" y="5026553"/>
              <a:ext cx="138818" cy="138818"/>
            </a:xfrm>
            <a:prstGeom prst="rect">
              <a:avLst/>
            </a:prstGeom>
            <a:solidFill>
              <a:schemeClr val="accent3"/>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dirty="0">
                  <a:ln>
                    <a:noFill/>
                  </a:ln>
                  <a:solidFill>
                    <a:schemeClr val="accent3"/>
                  </a:solidFill>
                  <a:effectLst/>
                  <a:uLnTx/>
                  <a:uFillTx/>
                  <a:ea typeface="+mn-ea"/>
                  <a:cs typeface="+mn-cs"/>
                </a:rPr>
                <a:t>Text </a:t>
              </a:r>
              <a:r>
                <a:rPr kumimoji="0" lang="en-US" sz="1100" b="0" i="0" u="none" strike="noStrike" kern="0" cap="none" spc="0" normalizeH="0" baseline="0" noProof="0" dirty="0" err="1">
                  <a:ln>
                    <a:noFill/>
                  </a:ln>
                  <a:solidFill>
                    <a:schemeClr val="accent3"/>
                  </a:solidFill>
                  <a:effectLst/>
                  <a:uLnTx/>
                  <a:uFillTx/>
                  <a:ea typeface="+mn-ea"/>
                  <a:cs typeface="+mn-cs"/>
                </a:rPr>
                <a:t>text</a:t>
              </a:r>
              <a:r>
                <a:rPr kumimoji="0" lang="en-US" sz="1100" b="0" i="0" u="none" strike="noStrike" kern="0" cap="none" spc="0" normalizeH="0" baseline="0" noProof="0" dirty="0">
                  <a:ln>
                    <a:noFill/>
                  </a:ln>
                  <a:solidFill>
                    <a:schemeClr val="accent3"/>
                  </a:solidFill>
                  <a:effectLst/>
                  <a:uLnTx/>
                  <a:uFillTx/>
                  <a:ea typeface="+mn-ea"/>
                  <a:cs typeface="+mn-cs"/>
                </a:rPr>
                <a:t> </a:t>
              </a:r>
              <a:r>
                <a:rPr kumimoji="0" lang="en-US" sz="1100" b="0" i="0" u="none" strike="noStrike" kern="0" cap="none" spc="0" normalizeH="0" baseline="0" noProof="0" dirty="0" err="1">
                  <a:ln>
                    <a:noFill/>
                  </a:ln>
                  <a:solidFill>
                    <a:schemeClr val="accent3"/>
                  </a:solidFill>
                  <a:effectLst/>
                  <a:uLnTx/>
                  <a:uFillTx/>
                  <a:ea typeface="+mn-ea"/>
                  <a:cs typeface="+mn-cs"/>
                </a:rPr>
                <a:t>text</a:t>
              </a:r>
              <a:r>
                <a:rPr kumimoji="0" lang="en-US" sz="1100" b="0" i="0" u="none" strike="noStrike" kern="0" cap="none" spc="0" normalizeH="0" baseline="0" noProof="0" dirty="0">
                  <a:ln>
                    <a:noFill/>
                  </a:ln>
                  <a:solidFill>
                    <a:schemeClr val="accent3"/>
                  </a:solidFill>
                  <a:effectLst/>
                  <a:uLnTx/>
                  <a:uFillTx/>
                  <a:ea typeface="+mn-ea"/>
                  <a:cs typeface="+mn-cs"/>
                </a:rPr>
                <a:t> </a:t>
              </a:r>
              <a:r>
                <a:rPr kumimoji="0" lang="en-US" sz="1100" b="0" i="0" u="none" strike="noStrike" kern="0" cap="none" spc="0" normalizeH="0" baseline="0" noProof="0" dirty="0" err="1">
                  <a:ln>
                    <a:noFill/>
                  </a:ln>
                  <a:solidFill>
                    <a:schemeClr val="accent3"/>
                  </a:solidFill>
                  <a:effectLst/>
                  <a:uLnTx/>
                  <a:uFillTx/>
                  <a:ea typeface="+mn-ea"/>
                  <a:cs typeface="+mn-cs"/>
                </a:rPr>
                <a:t>text</a:t>
              </a:r>
              <a:r>
                <a:rPr kumimoji="0" lang="en-US" sz="1100" b="0" i="0" u="none" strike="noStrike" kern="0" cap="none" spc="0" normalizeH="0" baseline="0" noProof="0" dirty="0">
                  <a:ln>
                    <a:noFill/>
                  </a:ln>
                  <a:solidFill>
                    <a:schemeClr val="accent3"/>
                  </a:solidFill>
                  <a:effectLst/>
                  <a:uLnTx/>
                  <a:uFillTx/>
                  <a:ea typeface="+mn-ea"/>
                  <a:cs typeface="+mn-cs"/>
                </a:rPr>
                <a:t> </a:t>
              </a:r>
              <a:r>
                <a:rPr kumimoji="0" lang="en-US" sz="1100" b="0" i="0" u="none" strike="noStrike" kern="0" cap="none" spc="0" normalizeH="0" baseline="0" noProof="0" dirty="0" err="1">
                  <a:ln>
                    <a:noFill/>
                  </a:ln>
                  <a:solidFill>
                    <a:schemeClr val="accent3"/>
                  </a:solidFill>
                  <a:effectLst/>
                  <a:uLnTx/>
                  <a:uFillTx/>
                  <a:ea typeface="+mn-ea"/>
                  <a:cs typeface="+mn-cs"/>
                </a:rPr>
                <a:t>text</a:t>
              </a:r>
              <a:endParaRPr kumimoji="0" lang="en-US" sz="1100" b="0" i="0" u="none" strike="noStrike" kern="0" cap="none" spc="0" normalizeH="0" baseline="0" noProof="0" dirty="0">
                <a:ln>
                  <a:noFill/>
                </a:ln>
                <a:solidFill>
                  <a:schemeClr val="accent3"/>
                </a:solidFill>
                <a:effectLst/>
                <a:uLnTx/>
                <a:uFillTx/>
                <a:ea typeface="+mn-ea"/>
                <a:cs typeface="+mn-cs"/>
              </a:endParaRPr>
            </a:p>
          </p:txBody>
        </p:sp>
        <p:sp>
          <p:nvSpPr>
            <p:cNvPr id="19" name="Rectangle 29">
              <a:extLst>
                <a:ext uri="{FF2B5EF4-FFF2-40B4-BE49-F238E27FC236}">
                  <a16:creationId xmlns:a16="http://schemas.microsoft.com/office/drawing/2014/main" id="{F934E16C-BAA3-454B-A5C7-AEA0108FA97E}"/>
                </a:ext>
              </a:extLst>
            </p:cNvPr>
            <p:cNvSpPr>
              <a:spLocks noChangeArrowheads="1"/>
            </p:cNvSpPr>
            <p:nvPr/>
          </p:nvSpPr>
          <p:spPr bwMode="auto">
            <a:xfrm>
              <a:off x="3685170" y="5234399"/>
              <a:ext cx="138818" cy="138817"/>
            </a:xfrm>
            <a:prstGeom prst="rect">
              <a:avLst/>
            </a:prstGeom>
            <a:solidFill>
              <a:srgbClr val="B455AA"/>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ea typeface="+mn-ea"/>
                  <a:cs typeface="+mn-cs"/>
                </a:rPr>
                <a:t>Tex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endParaRPr kumimoji="0" lang="en-US" sz="1100" b="0" i="0" u="none" strike="noStrike" kern="0" cap="none" spc="0" normalizeH="0" baseline="0" noProof="0" dirty="0">
                <a:ln>
                  <a:noFill/>
                </a:ln>
                <a:solidFill>
                  <a:srgbClr val="000000"/>
                </a:solidFill>
                <a:effectLst/>
                <a:uLnTx/>
                <a:uFillTx/>
                <a:ea typeface="+mn-ea"/>
                <a:cs typeface="+mn-cs"/>
              </a:endParaRPr>
            </a:p>
          </p:txBody>
        </p:sp>
        <p:sp>
          <p:nvSpPr>
            <p:cNvPr id="20" name="Rectangle 32">
              <a:extLst>
                <a:ext uri="{FF2B5EF4-FFF2-40B4-BE49-F238E27FC236}">
                  <a16:creationId xmlns:a16="http://schemas.microsoft.com/office/drawing/2014/main" id="{7475B090-8EDB-4649-A362-D7F7FC4A5A15}"/>
                </a:ext>
              </a:extLst>
            </p:cNvPr>
            <p:cNvSpPr>
              <a:spLocks noChangeArrowheads="1"/>
            </p:cNvSpPr>
            <p:nvPr/>
          </p:nvSpPr>
          <p:spPr bwMode="auto">
            <a:xfrm>
              <a:off x="5335729" y="4610862"/>
              <a:ext cx="138818" cy="138817"/>
            </a:xfrm>
            <a:prstGeom prst="rect">
              <a:avLst/>
            </a:prstGeom>
            <a:solidFill>
              <a:srgbClr val="A100FF"/>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ea typeface="+mn-ea"/>
                  <a:cs typeface="+mn-cs"/>
                </a:rPr>
                <a:t>Tex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endParaRPr kumimoji="0" lang="en-US" sz="1100" b="0" i="0" u="none" strike="noStrike" kern="0" cap="none" spc="0" normalizeH="0" baseline="0" noProof="0" dirty="0">
                <a:ln>
                  <a:noFill/>
                </a:ln>
                <a:solidFill>
                  <a:srgbClr val="000000"/>
                </a:solidFill>
                <a:effectLst/>
                <a:uLnTx/>
                <a:uFillTx/>
                <a:ea typeface="+mn-ea"/>
                <a:cs typeface="+mn-cs"/>
              </a:endParaRPr>
            </a:p>
          </p:txBody>
        </p:sp>
        <p:sp>
          <p:nvSpPr>
            <p:cNvPr id="21" name="Rectangle 33">
              <a:extLst>
                <a:ext uri="{FF2B5EF4-FFF2-40B4-BE49-F238E27FC236}">
                  <a16:creationId xmlns:a16="http://schemas.microsoft.com/office/drawing/2014/main" id="{39545C35-071D-49D9-AC3C-CBF7D72C8FEC}"/>
                </a:ext>
              </a:extLst>
            </p:cNvPr>
            <p:cNvSpPr>
              <a:spLocks noChangeArrowheads="1"/>
            </p:cNvSpPr>
            <p:nvPr/>
          </p:nvSpPr>
          <p:spPr bwMode="auto">
            <a:xfrm>
              <a:off x="5335729" y="4818708"/>
              <a:ext cx="138818" cy="138817"/>
            </a:xfrm>
            <a:prstGeom prst="rect">
              <a:avLst/>
            </a:prstGeom>
            <a:solidFill>
              <a:schemeClr val="accent3"/>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dirty="0">
                  <a:ln>
                    <a:noFill/>
                  </a:ln>
                  <a:solidFill>
                    <a:schemeClr val="accent3"/>
                  </a:solidFill>
                  <a:effectLst/>
                  <a:uLnTx/>
                  <a:uFillTx/>
                  <a:ea typeface="+mn-ea"/>
                  <a:cs typeface="+mn-cs"/>
                </a:rPr>
                <a:t>Text </a:t>
              </a:r>
              <a:r>
                <a:rPr kumimoji="0" lang="en-US" sz="1100" b="0" i="0" u="none" strike="noStrike" kern="0" cap="none" spc="0" normalizeH="0" baseline="0" noProof="0" dirty="0" err="1">
                  <a:ln>
                    <a:noFill/>
                  </a:ln>
                  <a:solidFill>
                    <a:schemeClr val="accent3"/>
                  </a:solidFill>
                  <a:effectLst/>
                  <a:uLnTx/>
                  <a:uFillTx/>
                  <a:ea typeface="+mn-ea"/>
                  <a:cs typeface="+mn-cs"/>
                </a:rPr>
                <a:t>text</a:t>
              </a:r>
              <a:r>
                <a:rPr kumimoji="0" lang="en-US" sz="1100" b="0" i="0" u="none" strike="noStrike" kern="0" cap="none" spc="0" normalizeH="0" baseline="0" noProof="0" dirty="0">
                  <a:ln>
                    <a:noFill/>
                  </a:ln>
                  <a:solidFill>
                    <a:schemeClr val="accent3"/>
                  </a:solidFill>
                  <a:effectLst/>
                  <a:uLnTx/>
                  <a:uFillTx/>
                  <a:ea typeface="+mn-ea"/>
                  <a:cs typeface="+mn-cs"/>
                </a:rPr>
                <a:t> </a:t>
              </a:r>
              <a:r>
                <a:rPr kumimoji="0" lang="en-US" sz="1100" b="0" i="0" u="none" strike="noStrike" kern="0" cap="none" spc="0" normalizeH="0" baseline="0" noProof="0" dirty="0" err="1">
                  <a:ln>
                    <a:noFill/>
                  </a:ln>
                  <a:solidFill>
                    <a:schemeClr val="accent3"/>
                  </a:solidFill>
                  <a:effectLst/>
                  <a:uLnTx/>
                  <a:uFillTx/>
                  <a:ea typeface="+mn-ea"/>
                  <a:cs typeface="+mn-cs"/>
                </a:rPr>
                <a:t>text</a:t>
              </a:r>
              <a:r>
                <a:rPr kumimoji="0" lang="en-US" sz="1100" b="0" i="0" u="none" strike="noStrike" kern="0" cap="none" spc="0" normalizeH="0" baseline="0" noProof="0" dirty="0">
                  <a:ln>
                    <a:noFill/>
                  </a:ln>
                  <a:solidFill>
                    <a:schemeClr val="accent3"/>
                  </a:solidFill>
                  <a:effectLst/>
                  <a:uLnTx/>
                  <a:uFillTx/>
                  <a:ea typeface="+mn-ea"/>
                  <a:cs typeface="+mn-cs"/>
                </a:rPr>
                <a:t> </a:t>
              </a:r>
              <a:r>
                <a:rPr kumimoji="0" lang="en-US" sz="1100" b="0" i="0" u="none" strike="noStrike" kern="0" cap="none" spc="0" normalizeH="0" baseline="0" noProof="0" dirty="0" err="1">
                  <a:ln>
                    <a:noFill/>
                  </a:ln>
                  <a:solidFill>
                    <a:schemeClr val="accent3"/>
                  </a:solidFill>
                  <a:effectLst/>
                  <a:uLnTx/>
                  <a:uFillTx/>
                  <a:ea typeface="+mn-ea"/>
                  <a:cs typeface="+mn-cs"/>
                </a:rPr>
                <a:t>text</a:t>
              </a:r>
              <a:r>
                <a:rPr kumimoji="0" lang="en-US" sz="1100" b="0" i="0" u="none" strike="noStrike" kern="0" cap="none" spc="0" normalizeH="0" baseline="0" noProof="0" dirty="0">
                  <a:ln>
                    <a:noFill/>
                  </a:ln>
                  <a:solidFill>
                    <a:schemeClr val="accent3"/>
                  </a:solidFill>
                  <a:effectLst/>
                  <a:uLnTx/>
                  <a:uFillTx/>
                  <a:ea typeface="+mn-ea"/>
                  <a:cs typeface="+mn-cs"/>
                </a:rPr>
                <a:t> </a:t>
              </a:r>
              <a:r>
                <a:rPr kumimoji="0" lang="en-US" sz="1100" b="0" i="0" u="none" strike="noStrike" kern="0" cap="none" spc="0" normalizeH="0" baseline="0" noProof="0" dirty="0" err="1">
                  <a:ln>
                    <a:noFill/>
                  </a:ln>
                  <a:solidFill>
                    <a:schemeClr val="accent3"/>
                  </a:solidFill>
                  <a:effectLst/>
                  <a:uLnTx/>
                  <a:uFillTx/>
                  <a:ea typeface="+mn-ea"/>
                  <a:cs typeface="+mn-cs"/>
                </a:rPr>
                <a:t>text</a:t>
              </a:r>
              <a:endParaRPr kumimoji="0" lang="en-US" sz="1100" b="0" i="0" u="none" strike="noStrike" kern="0" cap="none" spc="0" normalizeH="0" baseline="0" noProof="0" dirty="0">
                <a:ln>
                  <a:noFill/>
                </a:ln>
                <a:solidFill>
                  <a:schemeClr val="accent3"/>
                </a:solidFill>
                <a:effectLst/>
                <a:uLnTx/>
                <a:uFillTx/>
                <a:ea typeface="+mn-ea"/>
                <a:cs typeface="+mn-cs"/>
              </a:endParaRPr>
            </a:p>
          </p:txBody>
        </p:sp>
        <p:sp>
          <p:nvSpPr>
            <p:cNvPr id="22" name="Rectangle 34">
              <a:extLst>
                <a:ext uri="{FF2B5EF4-FFF2-40B4-BE49-F238E27FC236}">
                  <a16:creationId xmlns:a16="http://schemas.microsoft.com/office/drawing/2014/main" id="{60491620-C2D4-4536-BE6F-7B505495FE94}"/>
                </a:ext>
              </a:extLst>
            </p:cNvPr>
            <p:cNvSpPr>
              <a:spLocks noChangeArrowheads="1"/>
            </p:cNvSpPr>
            <p:nvPr/>
          </p:nvSpPr>
          <p:spPr bwMode="auto">
            <a:xfrm>
              <a:off x="5335729" y="5026553"/>
              <a:ext cx="138818" cy="138818"/>
            </a:xfrm>
            <a:prstGeom prst="rect">
              <a:avLst/>
            </a:prstGeom>
            <a:solidFill>
              <a:srgbClr val="B455AA"/>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ea typeface="+mn-ea"/>
                  <a:cs typeface="+mn-cs"/>
                </a:rPr>
                <a:t>Tex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endParaRPr kumimoji="0" lang="en-US" sz="1100" b="0" i="0" u="none" strike="noStrike" kern="0" cap="none" spc="0" normalizeH="0" baseline="0" noProof="0" dirty="0">
                <a:ln>
                  <a:noFill/>
                </a:ln>
                <a:solidFill>
                  <a:srgbClr val="000000"/>
                </a:solidFill>
                <a:effectLst/>
                <a:uLnTx/>
                <a:uFillTx/>
                <a:ea typeface="+mn-ea"/>
                <a:cs typeface="+mn-cs"/>
              </a:endParaRPr>
            </a:p>
          </p:txBody>
        </p:sp>
        <p:sp>
          <p:nvSpPr>
            <p:cNvPr id="23" name="Rectangle 35">
              <a:extLst>
                <a:ext uri="{FF2B5EF4-FFF2-40B4-BE49-F238E27FC236}">
                  <a16:creationId xmlns:a16="http://schemas.microsoft.com/office/drawing/2014/main" id="{5933B0B9-E700-4E77-BD4E-2B9E39231B82}"/>
                </a:ext>
              </a:extLst>
            </p:cNvPr>
            <p:cNvSpPr>
              <a:spLocks noChangeArrowheads="1"/>
            </p:cNvSpPr>
            <p:nvPr/>
          </p:nvSpPr>
          <p:spPr bwMode="auto">
            <a:xfrm>
              <a:off x="5335729" y="5234399"/>
              <a:ext cx="138818" cy="138817"/>
            </a:xfrm>
            <a:prstGeom prst="rect">
              <a:avLst/>
            </a:prstGeom>
            <a:solidFill>
              <a:srgbClr val="A055F5"/>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ea typeface="+mn-ea"/>
                  <a:cs typeface="+mn-cs"/>
                </a:rPr>
                <a:t>Tex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endParaRPr kumimoji="0" lang="en-US" sz="1100" b="0" i="0" u="none" strike="noStrike" kern="0" cap="none" spc="0" normalizeH="0" baseline="0" noProof="0" dirty="0">
                <a:ln>
                  <a:noFill/>
                </a:ln>
                <a:solidFill>
                  <a:srgbClr val="000000"/>
                </a:solidFill>
                <a:effectLst/>
                <a:uLnTx/>
                <a:uFillTx/>
                <a:ea typeface="+mn-ea"/>
                <a:cs typeface="+mn-cs"/>
              </a:endParaRPr>
            </a:p>
          </p:txBody>
        </p:sp>
        <p:sp>
          <p:nvSpPr>
            <p:cNvPr id="24" name="Rectangle 38">
              <a:extLst>
                <a:ext uri="{FF2B5EF4-FFF2-40B4-BE49-F238E27FC236}">
                  <a16:creationId xmlns:a16="http://schemas.microsoft.com/office/drawing/2014/main" id="{8D3C283A-6A90-4EBC-9A5B-0354DD602FE6}"/>
                </a:ext>
              </a:extLst>
            </p:cNvPr>
            <p:cNvSpPr>
              <a:spLocks noChangeArrowheads="1"/>
            </p:cNvSpPr>
            <p:nvPr/>
          </p:nvSpPr>
          <p:spPr bwMode="auto">
            <a:xfrm>
              <a:off x="7019849" y="4403017"/>
              <a:ext cx="138818" cy="138818"/>
            </a:xfrm>
            <a:prstGeom prst="rect">
              <a:avLst/>
            </a:prstGeom>
            <a:solidFill>
              <a:srgbClr val="A100FF"/>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ea typeface="+mn-ea"/>
                  <a:cs typeface="+mn-cs"/>
                </a:rPr>
                <a:t>Tex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r>
                <a:rPr kumimoji="0" lang="en-US" sz="1100" b="0" i="0" u="none" strike="noStrike" kern="0" cap="none" spc="0" normalizeH="0" baseline="0" noProof="0" dirty="0">
                  <a:ln>
                    <a:noFill/>
                  </a:ln>
                  <a:solidFill>
                    <a:srgbClr val="000000"/>
                  </a:solidFill>
                  <a:effectLst/>
                  <a:uLnTx/>
                  <a:uFillTx/>
                  <a:ea typeface="+mn-ea"/>
                  <a:cs typeface="+mn-cs"/>
                </a:rPr>
                <a:t> </a:t>
              </a:r>
              <a:r>
                <a:rPr kumimoji="0" lang="en-US" sz="1100" b="0" i="0" u="none" strike="noStrike" kern="0" cap="none" spc="0" normalizeH="0" baseline="0" noProof="0" dirty="0" err="1">
                  <a:ln>
                    <a:noFill/>
                  </a:ln>
                  <a:solidFill>
                    <a:srgbClr val="000000"/>
                  </a:solidFill>
                  <a:effectLst/>
                  <a:uLnTx/>
                  <a:uFillTx/>
                  <a:ea typeface="+mn-ea"/>
                  <a:cs typeface="+mn-cs"/>
                </a:rPr>
                <a:t>text</a:t>
              </a:r>
              <a:endParaRPr kumimoji="0" lang="en-US" sz="1100" b="0" i="0" u="none" strike="noStrike" kern="0" cap="none" spc="0" normalizeH="0" baseline="0" noProof="0" dirty="0">
                <a:ln>
                  <a:noFill/>
                </a:ln>
                <a:solidFill>
                  <a:srgbClr val="000000"/>
                </a:solidFill>
                <a:effectLst/>
                <a:uLnTx/>
                <a:uFillTx/>
                <a:ea typeface="+mn-ea"/>
                <a:cs typeface="+mn-cs"/>
              </a:endParaRPr>
            </a:p>
          </p:txBody>
        </p:sp>
        <p:sp>
          <p:nvSpPr>
            <p:cNvPr id="25" name="Rectangle 39">
              <a:extLst>
                <a:ext uri="{FF2B5EF4-FFF2-40B4-BE49-F238E27FC236}">
                  <a16:creationId xmlns:a16="http://schemas.microsoft.com/office/drawing/2014/main" id="{90A99BD5-0D70-4ECE-829A-C4BFFAB7B90A}"/>
                </a:ext>
              </a:extLst>
            </p:cNvPr>
            <p:cNvSpPr>
              <a:spLocks noChangeArrowheads="1"/>
            </p:cNvSpPr>
            <p:nvPr/>
          </p:nvSpPr>
          <p:spPr bwMode="auto">
            <a:xfrm>
              <a:off x="7019849" y="4610862"/>
              <a:ext cx="138818" cy="138818"/>
            </a:xfrm>
            <a:prstGeom prst="rect">
              <a:avLst/>
            </a:prstGeom>
            <a:solidFill>
              <a:schemeClr val="accent3"/>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dirty="0">
                  <a:ln>
                    <a:noFill/>
                  </a:ln>
                  <a:solidFill>
                    <a:schemeClr val="accent3"/>
                  </a:solidFill>
                  <a:effectLst/>
                  <a:uLnTx/>
                  <a:uFillTx/>
                  <a:ea typeface="+mn-ea"/>
                  <a:cs typeface="+mn-cs"/>
                </a:rPr>
                <a:t>Text </a:t>
              </a:r>
              <a:r>
                <a:rPr kumimoji="0" lang="en-US" sz="1100" b="0" i="0" u="none" strike="noStrike" kern="0" cap="none" spc="0" normalizeH="0" baseline="0" noProof="0" dirty="0" err="1">
                  <a:ln>
                    <a:noFill/>
                  </a:ln>
                  <a:solidFill>
                    <a:schemeClr val="accent3"/>
                  </a:solidFill>
                  <a:effectLst/>
                  <a:uLnTx/>
                  <a:uFillTx/>
                  <a:ea typeface="+mn-ea"/>
                  <a:cs typeface="+mn-cs"/>
                </a:rPr>
                <a:t>text</a:t>
              </a:r>
              <a:r>
                <a:rPr kumimoji="0" lang="en-US" sz="1100" b="0" i="0" u="none" strike="noStrike" kern="0" cap="none" spc="0" normalizeH="0" baseline="0" noProof="0" dirty="0">
                  <a:ln>
                    <a:noFill/>
                  </a:ln>
                  <a:solidFill>
                    <a:schemeClr val="accent3"/>
                  </a:solidFill>
                  <a:effectLst/>
                  <a:uLnTx/>
                  <a:uFillTx/>
                  <a:ea typeface="+mn-ea"/>
                  <a:cs typeface="+mn-cs"/>
                </a:rPr>
                <a:t> </a:t>
              </a:r>
              <a:r>
                <a:rPr kumimoji="0" lang="en-US" sz="1100" b="0" i="0" u="none" strike="noStrike" kern="0" cap="none" spc="0" normalizeH="0" baseline="0" noProof="0" dirty="0" err="1">
                  <a:ln>
                    <a:noFill/>
                  </a:ln>
                  <a:solidFill>
                    <a:schemeClr val="accent3"/>
                  </a:solidFill>
                  <a:effectLst/>
                  <a:uLnTx/>
                  <a:uFillTx/>
                  <a:ea typeface="+mn-ea"/>
                  <a:cs typeface="+mn-cs"/>
                </a:rPr>
                <a:t>text</a:t>
              </a:r>
              <a:r>
                <a:rPr kumimoji="0" lang="en-US" sz="1100" b="0" i="0" u="none" strike="noStrike" kern="0" cap="none" spc="0" normalizeH="0" baseline="0" noProof="0" dirty="0">
                  <a:ln>
                    <a:noFill/>
                  </a:ln>
                  <a:solidFill>
                    <a:schemeClr val="accent3"/>
                  </a:solidFill>
                  <a:effectLst/>
                  <a:uLnTx/>
                  <a:uFillTx/>
                  <a:ea typeface="+mn-ea"/>
                  <a:cs typeface="+mn-cs"/>
                </a:rPr>
                <a:t> </a:t>
              </a:r>
              <a:r>
                <a:rPr kumimoji="0" lang="en-US" sz="1100" b="0" i="0" u="none" strike="noStrike" kern="0" cap="none" spc="0" normalizeH="0" baseline="0" noProof="0" dirty="0" err="1">
                  <a:ln>
                    <a:noFill/>
                  </a:ln>
                  <a:solidFill>
                    <a:schemeClr val="accent3"/>
                  </a:solidFill>
                  <a:effectLst/>
                  <a:uLnTx/>
                  <a:uFillTx/>
                  <a:ea typeface="+mn-ea"/>
                  <a:cs typeface="+mn-cs"/>
                </a:rPr>
                <a:t>text</a:t>
              </a:r>
              <a:r>
                <a:rPr kumimoji="0" lang="en-US" sz="1100" b="0" i="0" u="none" strike="noStrike" kern="0" cap="none" spc="0" normalizeH="0" baseline="0" noProof="0" dirty="0">
                  <a:ln>
                    <a:noFill/>
                  </a:ln>
                  <a:solidFill>
                    <a:schemeClr val="accent3"/>
                  </a:solidFill>
                  <a:effectLst/>
                  <a:uLnTx/>
                  <a:uFillTx/>
                  <a:ea typeface="+mn-ea"/>
                  <a:cs typeface="+mn-cs"/>
                </a:rPr>
                <a:t> </a:t>
              </a:r>
              <a:r>
                <a:rPr kumimoji="0" lang="en-US" sz="1100" b="0" i="0" u="none" strike="noStrike" kern="0" cap="none" spc="0" normalizeH="0" baseline="0" noProof="0" dirty="0" err="1">
                  <a:ln>
                    <a:noFill/>
                  </a:ln>
                  <a:solidFill>
                    <a:schemeClr val="accent3"/>
                  </a:solidFill>
                  <a:effectLst/>
                  <a:uLnTx/>
                  <a:uFillTx/>
                  <a:ea typeface="+mn-ea"/>
                  <a:cs typeface="+mn-cs"/>
                </a:rPr>
                <a:t>text</a:t>
              </a:r>
              <a:r>
                <a:rPr kumimoji="0" lang="en-US" sz="1100" b="0" i="0" u="none" strike="noStrike" kern="0" cap="none" spc="0" normalizeH="0" baseline="0" noProof="0" dirty="0">
                  <a:ln>
                    <a:noFill/>
                  </a:ln>
                  <a:solidFill>
                    <a:schemeClr val="accent3"/>
                  </a:solidFill>
                  <a:effectLst/>
                  <a:uLnTx/>
                  <a:uFillTx/>
                  <a:ea typeface="+mn-ea"/>
                  <a:cs typeface="+mn-cs"/>
                </a:rPr>
                <a:t> </a:t>
              </a:r>
              <a:r>
                <a:rPr kumimoji="0" lang="en-US" sz="1100" b="0" i="0" u="none" strike="noStrike" kern="0" cap="none" spc="0" normalizeH="0" baseline="0" noProof="0" dirty="0" err="1">
                  <a:ln>
                    <a:noFill/>
                  </a:ln>
                  <a:solidFill>
                    <a:schemeClr val="accent3"/>
                  </a:solidFill>
                  <a:effectLst/>
                  <a:uLnTx/>
                  <a:uFillTx/>
                  <a:ea typeface="+mn-ea"/>
                  <a:cs typeface="+mn-cs"/>
                </a:rPr>
                <a:t>text</a:t>
              </a:r>
              <a:endParaRPr kumimoji="0" lang="en-US" sz="1100" b="0" i="0" u="none" strike="noStrike" kern="0" cap="none" spc="0" normalizeH="0" baseline="0" noProof="0" dirty="0">
                <a:ln>
                  <a:noFill/>
                </a:ln>
                <a:solidFill>
                  <a:schemeClr val="accent3"/>
                </a:solidFill>
                <a:effectLst/>
                <a:uLnTx/>
                <a:uFillTx/>
                <a:ea typeface="+mn-ea"/>
                <a:cs typeface="+mn-cs"/>
              </a:endParaRPr>
            </a:p>
          </p:txBody>
        </p:sp>
        <p:sp>
          <p:nvSpPr>
            <p:cNvPr id="26" name="Rectangle 40">
              <a:extLst>
                <a:ext uri="{FF2B5EF4-FFF2-40B4-BE49-F238E27FC236}">
                  <a16:creationId xmlns:a16="http://schemas.microsoft.com/office/drawing/2014/main" id="{C802AE80-4F25-452F-94CB-7E2FBCC8C175}"/>
                </a:ext>
              </a:extLst>
            </p:cNvPr>
            <p:cNvSpPr>
              <a:spLocks noChangeArrowheads="1"/>
            </p:cNvSpPr>
            <p:nvPr/>
          </p:nvSpPr>
          <p:spPr bwMode="auto">
            <a:xfrm>
              <a:off x="7019849" y="4818708"/>
              <a:ext cx="138818" cy="138817"/>
            </a:xfrm>
            <a:prstGeom prst="rect">
              <a:avLst/>
            </a:prstGeom>
            <a:solidFill>
              <a:srgbClr val="B455AA"/>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ea typeface="+mn-ea"/>
                  <a:cs typeface="+mn-cs"/>
                </a:rPr>
                <a:t>Text text text text text text</a:t>
              </a:r>
            </a:p>
          </p:txBody>
        </p:sp>
        <p:sp>
          <p:nvSpPr>
            <p:cNvPr id="27" name="Rectangle 41">
              <a:extLst>
                <a:ext uri="{FF2B5EF4-FFF2-40B4-BE49-F238E27FC236}">
                  <a16:creationId xmlns:a16="http://schemas.microsoft.com/office/drawing/2014/main" id="{8821F56F-3D8C-4909-93BB-4C3DCFA81B3C}"/>
                </a:ext>
              </a:extLst>
            </p:cNvPr>
            <p:cNvSpPr>
              <a:spLocks noChangeArrowheads="1"/>
            </p:cNvSpPr>
            <p:nvPr/>
          </p:nvSpPr>
          <p:spPr bwMode="auto">
            <a:xfrm>
              <a:off x="7019849" y="5026552"/>
              <a:ext cx="138818" cy="138818"/>
            </a:xfrm>
            <a:prstGeom prst="rect">
              <a:avLst/>
            </a:prstGeom>
            <a:solidFill>
              <a:srgbClr val="A055F5"/>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ea typeface="+mn-ea"/>
                  <a:cs typeface="+mn-cs"/>
                </a:rPr>
                <a:t>Text text text text text text</a:t>
              </a:r>
            </a:p>
          </p:txBody>
        </p:sp>
        <p:sp>
          <p:nvSpPr>
            <p:cNvPr id="28" name="Rectangle 42">
              <a:extLst>
                <a:ext uri="{FF2B5EF4-FFF2-40B4-BE49-F238E27FC236}">
                  <a16:creationId xmlns:a16="http://schemas.microsoft.com/office/drawing/2014/main" id="{3E6BB8C3-0013-4E13-91A8-9F52DE8FBC1B}"/>
                </a:ext>
              </a:extLst>
            </p:cNvPr>
            <p:cNvSpPr>
              <a:spLocks noChangeArrowheads="1"/>
            </p:cNvSpPr>
            <p:nvPr/>
          </p:nvSpPr>
          <p:spPr bwMode="auto">
            <a:xfrm>
              <a:off x="7019849" y="5234399"/>
              <a:ext cx="138818" cy="138817"/>
            </a:xfrm>
            <a:prstGeom prst="rect">
              <a:avLst/>
            </a:prstGeom>
            <a:solidFill>
              <a:srgbClr val="BE82FF"/>
            </a:solidFill>
            <a:ln w="6350">
              <a:noFill/>
              <a:prstDash val="dash"/>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ea typeface="+mn-ea"/>
                  <a:cs typeface="+mn-cs"/>
                </a:rPr>
                <a:t>Text text text text text text</a:t>
              </a:r>
            </a:p>
          </p:txBody>
        </p:sp>
      </p:grpSp>
      <p:sp>
        <p:nvSpPr>
          <p:cNvPr id="34" name="Footer Placeholder 33">
            <a:extLst>
              <a:ext uri="{FF2B5EF4-FFF2-40B4-BE49-F238E27FC236}">
                <a16:creationId xmlns:a16="http://schemas.microsoft.com/office/drawing/2014/main" id="{371E00E6-E805-48C7-9531-A4BFEEB3960E}"/>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37" name="Slide Number Placeholder 36">
            <a:extLst>
              <a:ext uri="{FF2B5EF4-FFF2-40B4-BE49-F238E27FC236}">
                <a16:creationId xmlns:a16="http://schemas.microsoft.com/office/drawing/2014/main" id="{B4AA6BA5-9C6C-427B-B940-0D4702989C76}"/>
              </a:ext>
            </a:extLst>
          </p:cNvPr>
          <p:cNvSpPr>
            <a:spLocks noGrp="1"/>
          </p:cNvSpPr>
          <p:nvPr>
            <p:ph type="sldNum" sz="quarter" idx="10"/>
          </p:nvPr>
        </p:nvSpPr>
        <p:spPr/>
        <p:txBody>
          <a:bodyPr/>
          <a:lstStyle/>
          <a:p>
            <a:fld id="{1F90F471-3972-4120-B8B3-0237DE626C35}" type="slidenum">
              <a:rPr lang="en-US" smtClean="0"/>
              <a:pPr/>
              <a:t>445</a:t>
            </a:fld>
            <a:endParaRPr lang="en-US" dirty="0"/>
          </a:p>
        </p:txBody>
      </p:sp>
    </p:spTree>
    <p:extLst>
      <p:ext uri="{BB962C8B-B14F-4D97-AF65-F5344CB8AC3E}">
        <p14:creationId xmlns:p14="http://schemas.microsoft.com/office/powerpoint/2010/main" val="2655571277"/>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Harvey Ball Legends</a:t>
            </a:r>
          </a:p>
        </p:txBody>
      </p:sp>
      <p:sp>
        <p:nvSpPr>
          <p:cNvPr id="3" name="TextBox 2">
            <a:extLst>
              <a:ext uri="{FF2B5EF4-FFF2-40B4-BE49-F238E27FC236}">
                <a16:creationId xmlns:a16="http://schemas.microsoft.com/office/drawing/2014/main" id="{3A28C293-5B39-486E-BD09-ABD0BA9EA4E5}"/>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Place one of these legend boxes next to a Harvey Ball chart; rename if required</a:t>
            </a:r>
          </a:p>
        </p:txBody>
      </p:sp>
      <p:sp>
        <p:nvSpPr>
          <p:cNvPr id="52" name="Rectangle 85">
            <a:extLst>
              <a:ext uri="{FF2B5EF4-FFF2-40B4-BE49-F238E27FC236}">
                <a16:creationId xmlns:a16="http://schemas.microsoft.com/office/drawing/2014/main" id="{961536DA-43E3-4AC4-AE42-A33868426FDB}"/>
              </a:ext>
            </a:extLst>
          </p:cNvPr>
          <p:cNvSpPr>
            <a:spLocks noChangeArrowheads="1"/>
          </p:cNvSpPr>
          <p:nvPr/>
        </p:nvSpPr>
        <p:spPr bwMode="auto">
          <a:xfrm>
            <a:off x="380999" y="1702080"/>
            <a:ext cx="2624801" cy="448584"/>
          </a:xfrm>
          <a:prstGeom prst="rect">
            <a:avLst/>
          </a:prstGeom>
          <a:noFill/>
          <a:ln w="12700">
            <a:noFill/>
            <a:miter lim="800000"/>
            <a:headEnd/>
            <a:tailEnd/>
          </a:ln>
          <a:effectLst/>
        </p:spPr>
        <p:txBody>
          <a:bodyPr wrap="square" lIns="0" tIns="0" rIns="0" bIns="0">
            <a:spAutoFit/>
          </a:bodyPr>
          <a:lstStyle/>
          <a:p>
            <a:pPr algn="l">
              <a:lnSpc>
                <a:spcPct val="80000"/>
              </a:lnSpc>
              <a:spcBef>
                <a:spcPct val="0"/>
              </a:spcBef>
            </a:pPr>
            <a:r>
              <a:rPr lang="en-US" b="1" dirty="0">
                <a:latin typeface="+mj-lt"/>
              </a:rPr>
              <a:t>Excellent – </a:t>
            </a:r>
            <a:br>
              <a:rPr lang="en-US" b="1" dirty="0">
                <a:latin typeface="+mj-lt"/>
              </a:rPr>
            </a:br>
            <a:r>
              <a:rPr lang="en-US" b="1" dirty="0">
                <a:latin typeface="+mj-lt"/>
              </a:rPr>
              <a:t>very poor</a:t>
            </a:r>
          </a:p>
        </p:txBody>
      </p:sp>
      <p:grpSp>
        <p:nvGrpSpPr>
          <p:cNvPr id="4" name="Group 3" descr="Score 1">
            <a:extLst>
              <a:ext uri="{FF2B5EF4-FFF2-40B4-BE49-F238E27FC236}">
                <a16:creationId xmlns:a16="http://schemas.microsoft.com/office/drawing/2014/main" id="{9C18511B-E7A4-4CC9-BF5F-B399CF761E88}"/>
              </a:ext>
            </a:extLst>
          </p:cNvPr>
          <p:cNvGrpSpPr/>
          <p:nvPr/>
        </p:nvGrpSpPr>
        <p:grpSpPr>
          <a:xfrm>
            <a:off x="3374424" y="1709652"/>
            <a:ext cx="1535292" cy="1970927"/>
            <a:chOff x="3374424" y="1709652"/>
            <a:chExt cx="1535292" cy="1970927"/>
          </a:xfrm>
        </p:grpSpPr>
        <p:grpSp>
          <p:nvGrpSpPr>
            <p:cNvPr id="54" name="Group 53">
              <a:extLst>
                <a:ext uri="{FF2B5EF4-FFF2-40B4-BE49-F238E27FC236}">
                  <a16:creationId xmlns:a16="http://schemas.microsoft.com/office/drawing/2014/main" id="{AEB34B58-9717-4B1E-A75B-EABC6FD58035}"/>
                </a:ext>
              </a:extLst>
            </p:cNvPr>
            <p:cNvGrpSpPr/>
            <p:nvPr/>
          </p:nvGrpSpPr>
          <p:grpSpPr>
            <a:xfrm>
              <a:off x="3374424" y="2127863"/>
              <a:ext cx="983859" cy="293238"/>
              <a:chOff x="3314238" y="2168620"/>
              <a:chExt cx="983859" cy="293238"/>
            </a:xfrm>
          </p:grpSpPr>
          <p:sp>
            <p:nvSpPr>
              <p:cNvPr id="55" name="Rectangle 10">
                <a:extLst>
                  <a:ext uri="{FF2B5EF4-FFF2-40B4-BE49-F238E27FC236}">
                    <a16:creationId xmlns:a16="http://schemas.microsoft.com/office/drawing/2014/main" id="{0370A3CE-2A21-44D6-B510-9660B5ED757B}"/>
                  </a:ext>
                </a:extLst>
              </p:cNvPr>
              <p:cNvSpPr>
                <a:spLocks noChangeAspect="1" noChangeArrowheads="1"/>
              </p:cNvSpPr>
              <p:nvPr/>
            </p:nvSpPr>
            <p:spPr bwMode="auto">
              <a:xfrm>
                <a:off x="3822005" y="2207517"/>
                <a:ext cx="476092"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400" dirty="0"/>
                  <a:t>Good</a:t>
                </a:r>
              </a:p>
            </p:txBody>
          </p:sp>
          <p:grpSp>
            <p:nvGrpSpPr>
              <p:cNvPr id="56" name="Group 55">
                <a:extLst>
                  <a:ext uri="{FF2B5EF4-FFF2-40B4-BE49-F238E27FC236}">
                    <a16:creationId xmlns:a16="http://schemas.microsoft.com/office/drawing/2014/main" id="{98361F34-B7B1-4DEB-9055-6487C65E120E}"/>
                  </a:ext>
                </a:extLst>
              </p:cNvPr>
              <p:cNvGrpSpPr>
                <a:grpSpLocks noChangeAspect="1"/>
              </p:cNvGrpSpPr>
              <p:nvPr/>
            </p:nvGrpSpPr>
            <p:grpSpPr bwMode="auto">
              <a:xfrm>
                <a:off x="3314238" y="2168620"/>
                <a:ext cx="293238" cy="293238"/>
                <a:chOff x="4465638" y="3322638"/>
                <a:chExt cx="212725" cy="212725"/>
              </a:xfrm>
            </p:grpSpPr>
            <p:sp>
              <p:nvSpPr>
                <p:cNvPr id="57" name="Oval 56">
                  <a:extLst>
                    <a:ext uri="{FF2B5EF4-FFF2-40B4-BE49-F238E27FC236}">
                      <a16:creationId xmlns:a16="http://schemas.microsoft.com/office/drawing/2014/main" id="{57242F43-2DC5-4043-A3AA-09FB4CBBBD5E}"/>
                    </a:ext>
                  </a:extLst>
                </p:cNvPr>
                <p:cNvSpPr/>
                <p:nvPr/>
              </p:nvSpPr>
              <p:spPr bwMode="auto">
                <a:xfrm>
                  <a:off x="4465638" y="3322638"/>
                  <a:ext cx="212725" cy="212725"/>
                </a:xfrm>
                <a:prstGeom prst="ellipse">
                  <a:avLst/>
                </a:prstGeom>
                <a:solidFill>
                  <a:schemeClr val="bg1"/>
                </a:solidFill>
                <a:ln w="6350" cmpd="sng">
                  <a:solidFill>
                    <a:schemeClr val="accent1"/>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400" kern="0" dirty="0" err="1">
                    <a:solidFill>
                      <a:sysClr val="windowText" lastClr="000000"/>
                    </a:solidFill>
                    <a:cs typeface="Arial" pitchFamily="34" charset="0"/>
                  </a:endParaRPr>
                </a:p>
              </p:txBody>
            </p:sp>
            <p:sp>
              <p:nvSpPr>
                <p:cNvPr id="58" name="Arc 57">
                  <a:extLst>
                    <a:ext uri="{FF2B5EF4-FFF2-40B4-BE49-F238E27FC236}">
                      <a16:creationId xmlns:a16="http://schemas.microsoft.com/office/drawing/2014/main" id="{32D8EB8C-CEF2-4DC8-86FB-B61C9FABAFC3}"/>
                    </a:ext>
                  </a:extLst>
                </p:cNvPr>
                <p:cNvSpPr/>
                <p:nvPr/>
              </p:nvSpPr>
              <p:spPr bwMode="auto">
                <a:xfrm>
                  <a:off x="4465638" y="3322638"/>
                  <a:ext cx="212725" cy="212725"/>
                </a:xfrm>
                <a:prstGeom prst="arc">
                  <a:avLst>
                    <a:gd name="adj1" fmla="val 16200000"/>
                    <a:gd name="adj2" fmla="val 10800000"/>
                  </a:avLst>
                </a:prstGeom>
                <a:solidFill>
                  <a:schemeClr val="accent1"/>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59" name="Group 58">
              <a:extLst>
                <a:ext uri="{FF2B5EF4-FFF2-40B4-BE49-F238E27FC236}">
                  <a16:creationId xmlns:a16="http://schemas.microsoft.com/office/drawing/2014/main" id="{4C34A0E6-6F11-44E8-B559-6577FF505C5C}"/>
                </a:ext>
              </a:extLst>
            </p:cNvPr>
            <p:cNvGrpSpPr/>
            <p:nvPr/>
          </p:nvGrpSpPr>
          <p:grpSpPr>
            <a:xfrm>
              <a:off x="3374424" y="1709652"/>
              <a:ext cx="1291636" cy="293238"/>
              <a:chOff x="3314238" y="1767247"/>
              <a:chExt cx="1291636" cy="293238"/>
            </a:xfrm>
          </p:grpSpPr>
          <p:sp>
            <p:nvSpPr>
              <p:cNvPr id="60" name="Rectangle 23">
                <a:extLst>
                  <a:ext uri="{FF2B5EF4-FFF2-40B4-BE49-F238E27FC236}">
                    <a16:creationId xmlns:a16="http://schemas.microsoft.com/office/drawing/2014/main" id="{BA50DE27-15B6-47B8-842E-8F2185A3AB8E}"/>
                  </a:ext>
                </a:extLst>
              </p:cNvPr>
              <p:cNvSpPr>
                <a:spLocks noChangeAspect="1" noChangeArrowheads="1"/>
              </p:cNvSpPr>
              <p:nvPr/>
            </p:nvSpPr>
            <p:spPr bwMode="auto">
              <a:xfrm>
                <a:off x="3822005" y="1806144"/>
                <a:ext cx="783869"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400" dirty="0"/>
                  <a:t>Excellent</a:t>
                </a:r>
              </a:p>
            </p:txBody>
          </p:sp>
          <p:grpSp>
            <p:nvGrpSpPr>
              <p:cNvPr id="61" name="Group 60">
                <a:extLst>
                  <a:ext uri="{FF2B5EF4-FFF2-40B4-BE49-F238E27FC236}">
                    <a16:creationId xmlns:a16="http://schemas.microsoft.com/office/drawing/2014/main" id="{3114BFDE-2211-44AB-B94A-011489FDC198}"/>
                  </a:ext>
                </a:extLst>
              </p:cNvPr>
              <p:cNvGrpSpPr>
                <a:grpSpLocks noChangeAspect="1"/>
              </p:cNvGrpSpPr>
              <p:nvPr/>
            </p:nvGrpSpPr>
            <p:grpSpPr bwMode="auto">
              <a:xfrm>
                <a:off x="3314238" y="1767247"/>
                <a:ext cx="293238" cy="293238"/>
                <a:chOff x="4465638" y="3322638"/>
                <a:chExt cx="212725" cy="212725"/>
              </a:xfrm>
            </p:grpSpPr>
            <p:sp>
              <p:nvSpPr>
                <p:cNvPr id="62" name="Oval 61">
                  <a:extLst>
                    <a:ext uri="{FF2B5EF4-FFF2-40B4-BE49-F238E27FC236}">
                      <a16:creationId xmlns:a16="http://schemas.microsoft.com/office/drawing/2014/main" id="{8AE18158-33A3-403F-A50B-3A4B71E7164A}"/>
                    </a:ext>
                  </a:extLst>
                </p:cNvPr>
                <p:cNvSpPr/>
                <p:nvPr/>
              </p:nvSpPr>
              <p:spPr bwMode="auto">
                <a:xfrm>
                  <a:off x="4465638" y="3322638"/>
                  <a:ext cx="212725" cy="212725"/>
                </a:xfrm>
                <a:prstGeom prst="ellipse">
                  <a:avLst/>
                </a:prstGeom>
                <a:solidFill>
                  <a:schemeClr val="bg1"/>
                </a:solidFill>
                <a:ln w="6350" cmpd="sng">
                  <a:solidFill>
                    <a:schemeClr val="accent1"/>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400" kern="0" dirty="0" err="1">
                    <a:solidFill>
                      <a:sysClr val="windowText" lastClr="000000"/>
                    </a:solidFill>
                    <a:cs typeface="Arial" pitchFamily="34" charset="0"/>
                  </a:endParaRPr>
                </a:p>
              </p:txBody>
            </p:sp>
            <p:sp>
              <p:nvSpPr>
                <p:cNvPr id="63" name="Arc 62">
                  <a:extLst>
                    <a:ext uri="{FF2B5EF4-FFF2-40B4-BE49-F238E27FC236}">
                      <a16:creationId xmlns:a16="http://schemas.microsoft.com/office/drawing/2014/main" id="{86A07939-DF29-4E8E-A80A-14DCA512B27E}"/>
                    </a:ext>
                  </a:extLst>
                </p:cNvPr>
                <p:cNvSpPr/>
                <p:nvPr/>
              </p:nvSpPr>
              <p:spPr bwMode="auto">
                <a:xfrm>
                  <a:off x="4465638" y="3322638"/>
                  <a:ext cx="212725" cy="212725"/>
                </a:xfrm>
                <a:prstGeom prst="arc">
                  <a:avLst>
                    <a:gd name="adj1" fmla="val 16200000"/>
                    <a:gd name="adj2" fmla="val 16200000"/>
                  </a:avLst>
                </a:prstGeom>
                <a:solidFill>
                  <a:schemeClr val="accent1"/>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64" name="Group 63">
              <a:extLst>
                <a:ext uri="{FF2B5EF4-FFF2-40B4-BE49-F238E27FC236}">
                  <a16:creationId xmlns:a16="http://schemas.microsoft.com/office/drawing/2014/main" id="{3CC3227E-AED8-4899-946F-EFC38B0CCA3F}"/>
                </a:ext>
              </a:extLst>
            </p:cNvPr>
            <p:cNvGrpSpPr/>
            <p:nvPr/>
          </p:nvGrpSpPr>
          <p:grpSpPr>
            <a:xfrm>
              <a:off x="3374424" y="2546074"/>
              <a:ext cx="1535292" cy="293238"/>
              <a:chOff x="3314238" y="2550545"/>
              <a:chExt cx="1535292" cy="293238"/>
            </a:xfrm>
          </p:grpSpPr>
          <p:sp>
            <p:nvSpPr>
              <p:cNvPr id="65" name="Rectangle 5">
                <a:extLst>
                  <a:ext uri="{FF2B5EF4-FFF2-40B4-BE49-F238E27FC236}">
                    <a16:creationId xmlns:a16="http://schemas.microsoft.com/office/drawing/2014/main" id="{238D27AF-4F48-4D3D-BE8F-EB6DCA470BA0}"/>
                  </a:ext>
                </a:extLst>
              </p:cNvPr>
              <p:cNvSpPr>
                <a:spLocks noChangeAspect="1" noChangeArrowheads="1"/>
              </p:cNvSpPr>
              <p:nvPr/>
            </p:nvSpPr>
            <p:spPr bwMode="auto">
              <a:xfrm>
                <a:off x="3822005" y="2589442"/>
                <a:ext cx="1027525"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400" dirty="0"/>
                  <a:t>Satisfactory</a:t>
                </a:r>
              </a:p>
            </p:txBody>
          </p:sp>
          <p:grpSp>
            <p:nvGrpSpPr>
              <p:cNvPr id="66" name="Group 65">
                <a:extLst>
                  <a:ext uri="{FF2B5EF4-FFF2-40B4-BE49-F238E27FC236}">
                    <a16:creationId xmlns:a16="http://schemas.microsoft.com/office/drawing/2014/main" id="{613D8F64-5C04-4B5E-B455-7DE2FF2C8C3C}"/>
                  </a:ext>
                </a:extLst>
              </p:cNvPr>
              <p:cNvGrpSpPr>
                <a:grpSpLocks noChangeAspect="1"/>
              </p:cNvGrpSpPr>
              <p:nvPr/>
            </p:nvGrpSpPr>
            <p:grpSpPr bwMode="auto">
              <a:xfrm>
                <a:off x="3314238" y="2550545"/>
                <a:ext cx="293238" cy="293238"/>
                <a:chOff x="4465638" y="3322638"/>
                <a:chExt cx="212725" cy="212725"/>
              </a:xfrm>
            </p:grpSpPr>
            <p:sp>
              <p:nvSpPr>
                <p:cNvPr id="67" name="Oval 66">
                  <a:extLst>
                    <a:ext uri="{FF2B5EF4-FFF2-40B4-BE49-F238E27FC236}">
                      <a16:creationId xmlns:a16="http://schemas.microsoft.com/office/drawing/2014/main" id="{11FA59C1-C76D-4F5C-A14F-0A2EFC60D352}"/>
                    </a:ext>
                  </a:extLst>
                </p:cNvPr>
                <p:cNvSpPr/>
                <p:nvPr/>
              </p:nvSpPr>
              <p:spPr bwMode="auto">
                <a:xfrm>
                  <a:off x="4465638" y="3322638"/>
                  <a:ext cx="212725" cy="212725"/>
                </a:xfrm>
                <a:prstGeom prst="ellipse">
                  <a:avLst/>
                </a:prstGeom>
                <a:solidFill>
                  <a:schemeClr val="bg1"/>
                </a:solidFill>
                <a:ln w="6350" cmpd="sng">
                  <a:solidFill>
                    <a:schemeClr val="accent1"/>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400" kern="0" dirty="0" err="1">
                    <a:solidFill>
                      <a:sysClr val="windowText" lastClr="000000"/>
                    </a:solidFill>
                    <a:cs typeface="Arial" pitchFamily="34" charset="0"/>
                  </a:endParaRPr>
                </a:p>
              </p:txBody>
            </p:sp>
            <p:sp>
              <p:nvSpPr>
                <p:cNvPr id="68" name="Arc 67">
                  <a:extLst>
                    <a:ext uri="{FF2B5EF4-FFF2-40B4-BE49-F238E27FC236}">
                      <a16:creationId xmlns:a16="http://schemas.microsoft.com/office/drawing/2014/main" id="{7174484B-E0EB-481A-AADA-D3E0A3FAC2D2}"/>
                    </a:ext>
                  </a:extLst>
                </p:cNvPr>
                <p:cNvSpPr/>
                <p:nvPr/>
              </p:nvSpPr>
              <p:spPr bwMode="auto">
                <a:xfrm>
                  <a:off x="4465638" y="3322638"/>
                  <a:ext cx="212725" cy="212725"/>
                </a:xfrm>
                <a:prstGeom prst="arc">
                  <a:avLst>
                    <a:gd name="adj1" fmla="val 16200000"/>
                    <a:gd name="adj2" fmla="val 5400000"/>
                  </a:avLst>
                </a:prstGeom>
                <a:solidFill>
                  <a:schemeClr val="accent1"/>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69" name="Group 68">
              <a:extLst>
                <a:ext uri="{FF2B5EF4-FFF2-40B4-BE49-F238E27FC236}">
                  <a16:creationId xmlns:a16="http://schemas.microsoft.com/office/drawing/2014/main" id="{387A724F-6772-449B-82BB-D5EF9FCE7CC3}"/>
                </a:ext>
              </a:extLst>
            </p:cNvPr>
            <p:cNvGrpSpPr/>
            <p:nvPr/>
          </p:nvGrpSpPr>
          <p:grpSpPr>
            <a:xfrm>
              <a:off x="3374424" y="2964285"/>
              <a:ext cx="903709" cy="293238"/>
              <a:chOff x="3314238" y="2932470"/>
              <a:chExt cx="903709" cy="293238"/>
            </a:xfrm>
          </p:grpSpPr>
          <p:sp>
            <p:nvSpPr>
              <p:cNvPr id="70" name="Rectangle 18">
                <a:extLst>
                  <a:ext uri="{FF2B5EF4-FFF2-40B4-BE49-F238E27FC236}">
                    <a16:creationId xmlns:a16="http://schemas.microsoft.com/office/drawing/2014/main" id="{39CB1574-1968-48A3-8D38-6A4AD3E3AF86}"/>
                  </a:ext>
                </a:extLst>
              </p:cNvPr>
              <p:cNvSpPr>
                <a:spLocks noChangeAspect="1" noChangeArrowheads="1"/>
              </p:cNvSpPr>
              <p:nvPr/>
            </p:nvSpPr>
            <p:spPr bwMode="auto">
              <a:xfrm>
                <a:off x="3822005" y="2971367"/>
                <a:ext cx="395942"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400"/>
                  <a:t>Poor</a:t>
                </a:r>
              </a:p>
            </p:txBody>
          </p:sp>
          <p:grpSp>
            <p:nvGrpSpPr>
              <p:cNvPr id="71" name="Group 70">
                <a:extLst>
                  <a:ext uri="{FF2B5EF4-FFF2-40B4-BE49-F238E27FC236}">
                    <a16:creationId xmlns:a16="http://schemas.microsoft.com/office/drawing/2014/main" id="{93B78028-4D9E-4C46-BC6F-BEC5156D951A}"/>
                  </a:ext>
                </a:extLst>
              </p:cNvPr>
              <p:cNvGrpSpPr>
                <a:grpSpLocks noChangeAspect="1"/>
              </p:cNvGrpSpPr>
              <p:nvPr/>
            </p:nvGrpSpPr>
            <p:grpSpPr bwMode="auto">
              <a:xfrm>
                <a:off x="3314238" y="2932470"/>
                <a:ext cx="293238" cy="293238"/>
                <a:chOff x="4465638" y="3322638"/>
                <a:chExt cx="212725" cy="212725"/>
              </a:xfrm>
            </p:grpSpPr>
            <p:sp>
              <p:nvSpPr>
                <p:cNvPr id="72" name="Oval 71">
                  <a:extLst>
                    <a:ext uri="{FF2B5EF4-FFF2-40B4-BE49-F238E27FC236}">
                      <a16:creationId xmlns:a16="http://schemas.microsoft.com/office/drawing/2014/main" id="{4C19CC65-87AF-4277-B37E-842AE34556DE}"/>
                    </a:ext>
                  </a:extLst>
                </p:cNvPr>
                <p:cNvSpPr/>
                <p:nvPr/>
              </p:nvSpPr>
              <p:spPr bwMode="auto">
                <a:xfrm>
                  <a:off x="4465638" y="3322638"/>
                  <a:ext cx="212725" cy="212725"/>
                </a:xfrm>
                <a:prstGeom prst="ellipse">
                  <a:avLst/>
                </a:prstGeom>
                <a:solidFill>
                  <a:schemeClr val="bg1"/>
                </a:solidFill>
                <a:ln w="6350" cmpd="sng">
                  <a:solidFill>
                    <a:schemeClr val="accent1"/>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400" kern="0" dirty="0" err="1">
                    <a:solidFill>
                      <a:sysClr val="windowText" lastClr="000000"/>
                    </a:solidFill>
                    <a:cs typeface="Arial" pitchFamily="34" charset="0"/>
                  </a:endParaRPr>
                </a:p>
              </p:txBody>
            </p:sp>
            <p:sp>
              <p:nvSpPr>
                <p:cNvPr id="73" name="Arc 72">
                  <a:extLst>
                    <a:ext uri="{FF2B5EF4-FFF2-40B4-BE49-F238E27FC236}">
                      <a16:creationId xmlns:a16="http://schemas.microsoft.com/office/drawing/2014/main" id="{BFE244A7-8D96-40F0-B0BF-65BD0D27B9DF}"/>
                    </a:ext>
                  </a:extLst>
                </p:cNvPr>
                <p:cNvSpPr/>
                <p:nvPr/>
              </p:nvSpPr>
              <p:spPr bwMode="auto">
                <a:xfrm>
                  <a:off x="4465638" y="3322638"/>
                  <a:ext cx="212725" cy="212725"/>
                </a:xfrm>
                <a:prstGeom prst="arc">
                  <a:avLst/>
                </a:prstGeom>
                <a:solidFill>
                  <a:schemeClr val="accent1"/>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74" name="Group 73">
              <a:extLst>
                <a:ext uri="{FF2B5EF4-FFF2-40B4-BE49-F238E27FC236}">
                  <a16:creationId xmlns:a16="http://schemas.microsoft.com/office/drawing/2014/main" id="{70302A2C-BBD2-4007-9A2C-B34E72F23C76}"/>
                </a:ext>
              </a:extLst>
            </p:cNvPr>
            <p:cNvGrpSpPr/>
            <p:nvPr/>
          </p:nvGrpSpPr>
          <p:grpSpPr>
            <a:xfrm>
              <a:off x="3374424" y="3382495"/>
              <a:ext cx="1400640" cy="298084"/>
              <a:chOff x="3314238" y="3382495"/>
              <a:chExt cx="1400640" cy="298084"/>
            </a:xfrm>
          </p:grpSpPr>
          <p:sp>
            <p:nvSpPr>
              <p:cNvPr id="75" name="Rectangle 15">
                <a:extLst>
                  <a:ext uri="{FF2B5EF4-FFF2-40B4-BE49-F238E27FC236}">
                    <a16:creationId xmlns:a16="http://schemas.microsoft.com/office/drawing/2014/main" id="{71E6F8C3-2DE7-46EE-BDDA-3742442AFB74}"/>
                  </a:ext>
                </a:extLst>
              </p:cNvPr>
              <p:cNvSpPr>
                <a:spLocks noChangeAspect="1" noChangeArrowheads="1"/>
              </p:cNvSpPr>
              <p:nvPr/>
            </p:nvSpPr>
            <p:spPr bwMode="auto">
              <a:xfrm>
                <a:off x="3822005" y="3465135"/>
                <a:ext cx="892873"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400" dirty="0"/>
                  <a:t>Very poor </a:t>
                </a:r>
              </a:p>
            </p:txBody>
          </p:sp>
          <p:sp>
            <p:nvSpPr>
              <p:cNvPr id="76" name="Oval 75">
                <a:extLst>
                  <a:ext uri="{FF2B5EF4-FFF2-40B4-BE49-F238E27FC236}">
                    <a16:creationId xmlns:a16="http://schemas.microsoft.com/office/drawing/2014/main" id="{403B7AA7-A4DD-4849-B9B6-45222B7AC033}"/>
                  </a:ext>
                </a:extLst>
              </p:cNvPr>
              <p:cNvSpPr/>
              <p:nvPr/>
            </p:nvSpPr>
            <p:spPr bwMode="auto">
              <a:xfrm>
                <a:off x="3314238" y="3382495"/>
                <a:ext cx="293238" cy="293238"/>
              </a:xfrm>
              <a:prstGeom prst="ellipse">
                <a:avLst/>
              </a:prstGeom>
              <a:solidFill>
                <a:schemeClr val="bg1"/>
              </a:solidFill>
              <a:ln w="6350" cmpd="sng">
                <a:solidFill>
                  <a:schemeClr val="accent1"/>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400" kern="0" dirty="0" err="1">
                  <a:solidFill>
                    <a:sysClr val="windowText" lastClr="000000"/>
                  </a:solidFill>
                  <a:cs typeface="Arial" pitchFamily="34" charset="0"/>
                </a:endParaRPr>
              </a:p>
            </p:txBody>
          </p:sp>
        </p:grpSp>
      </p:grpSp>
      <p:sp>
        <p:nvSpPr>
          <p:cNvPr id="53" name="Rectangle 86">
            <a:extLst>
              <a:ext uri="{FF2B5EF4-FFF2-40B4-BE49-F238E27FC236}">
                <a16:creationId xmlns:a16="http://schemas.microsoft.com/office/drawing/2014/main" id="{2B67412B-17E6-4DD3-9C34-B7C07F6F39C9}"/>
              </a:ext>
            </a:extLst>
          </p:cNvPr>
          <p:cNvSpPr>
            <a:spLocks noChangeArrowheads="1"/>
          </p:cNvSpPr>
          <p:nvPr/>
        </p:nvSpPr>
        <p:spPr bwMode="auto">
          <a:xfrm>
            <a:off x="380999" y="4107911"/>
            <a:ext cx="2623690" cy="443198"/>
          </a:xfrm>
          <a:prstGeom prst="rect">
            <a:avLst/>
          </a:prstGeom>
          <a:noFill/>
          <a:ln w="12700">
            <a:noFill/>
            <a:miter lim="800000"/>
            <a:headEnd/>
            <a:tailEnd/>
          </a:ln>
          <a:effectLst/>
        </p:spPr>
        <p:txBody>
          <a:bodyPr wrap="square" lIns="0" tIns="0" rIns="0" bIns="0">
            <a:spAutoFit/>
          </a:bodyPr>
          <a:lstStyle/>
          <a:p>
            <a:pPr algn="l">
              <a:lnSpc>
                <a:spcPct val="80000"/>
              </a:lnSpc>
              <a:spcBef>
                <a:spcPct val="0"/>
              </a:spcBef>
            </a:pPr>
            <a:r>
              <a:rPr lang="en-US" b="1" dirty="0">
                <a:latin typeface="+mj-lt"/>
              </a:rPr>
              <a:t>Very high – </a:t>
            </a:r>
            <a:br>
              <a:rPr lang="en-US" b="1" dirty="0">
                <a:latin typeface="+mj-lt"/>
              </a:rPr>
            </a:br>
            <a:r>
              <a:rPr lang="en-US" b="1" dirty="0">
                <a:latin typeface="+mj-lt"/>
              </a:rPr>
              <a:t>very low</a:t>
            </a:r>
          </a:p>
        </p:txBody>
      </p:sp>
      <p:grpSp>
        <p:nvGrpSpPr>
          <p:cNvPr id="7" name="Group 6" descr="Score 2">
            <a:extLst>
              <a:ext uri="{FF2B5EF4-FFF2-40B4-BE49-F238E27FC236}">
                <a16:creationId xmlns:a16="http://schemas.microsoft.com/office/drawing/2014/main" id="{558F9B6A-4676-4958-BC62-42B083326AE1}"/>
              </a:ext>
            </a:extLst>
          </p:cNvPr>
          <p:cNvGrpSpPr/>
          <p:nvPr/>
        </p:nvGrpSpPr>
        <p:grpSpPr>
          <a:xfrm>
            <a:off x="3374424" y="4163935"/>
            <a:ext cx="1328505" cy="1894439"/>
            <a:chOff x="3374424" y="4163935"/>
            <a:chExt cx="1328505" cy="1894439"/>
          </a:xfrm>
        </p:grpSpPr>
        <p:grpSp>
          <p:nvGrpSpPr>
            <p:cNvPr id="77" name="Group 76">
              <a:extLst>
                <a:ext uri="{FF2B5EF4-FFF2-40B4-BE49-F238E27FC236}">
                  <a16:creationId xmlns:a16="http://schemas.microsoft.com/office/drawing/2014/main" id="{9747CFE0-5F9F-4C7A-8E4F-78775534CE15}"/>
                </a:ext>
              </a:extLst>
            </p:cNvPr>
            <p:cNvGrpSpPr/>
            <p:nvPr/>
          </p:nvGrpSpPr>
          <p:grpSpPr>
            <a:xfrm>
              <a:off x="3374424" y="4564235"/>
              <a:ext cx="913327" cy="293238"/>
              <a:chOff x="3314238" y="4564235"/>
              <a:chExt cx="913327" cy="293238"/>
            </a:xfrm>
          </p:grpSpPr>
          <p:sp>
            <p:nvSpPr>
              <p:cNvPr id="78" name="Rectangle 68">
                <a:extLst>
                  <a:ext uri="{FF2B5EF4-FFF2-40B4-BE49-F238E27FC236}">
                    <a16:creationId xmlns:a16="http://schemas.microsoft.com/office/drawing/2014/main" id="{6747820A-B871-4B58-A1A7-6F9D44866322}"/>
                  </a:ext>
                </a:extLst>
              </p:cNvPr>
              <p:cNvSpPr>
                <a:spLocks noChangeAspect="1" noChangeArrowheads="1"/>
              </p:cNvSpPr>
              <p:nvPr/>
            </p:nvSpPr>
            <p:spPr bwMode="auto">
              <a:xfrm>
                <a:off x="3822005" y="4603132"/>
                <a:ext cx="405560"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400" dirty="0"/>
                  <a:t>High</a:t>
                </a:r>
              </a:p>
            </p:txBody>
          </p:sp>
          <p:sp>
            <p:nvSpPr>
              <p:cNvPr id="79" name="Oval 78">
                <a:extLst>
                  <a:ext uri="{FF2B5EF4-FFF2-40B4-BE49-F238E27FC236}">
                    <a16:creationId xmlns:a16="http://schemas.microsoft.com/office/drawing/2014/main" id="{17341D36-CAB2-493C-BC14-7090450C2F31}"/>
                  </a:ext>
                </a:extLst>
              </p:cNvPr>
              <p:cNvSpPr/>
              <p:nvPr/>
            </p:nvSpPr>
            <p:spPr bwMode="auto">
              <a:xfrm>
                <a:off x="3314238" y="4564235"/>
                <a:ext cx="293238" cy="293238"/>
              </a:xfrm>
              <a:prstGeom prst="ellipse">
                <a:avLst/>
              </a:prstGeom>
              <a:solidFill>
                <a:schemeClr val="bg1"/>
              </a:solidFill>
              <a:ln w="6350" cmpd="sng">
                <a:solidFill>
                  <a:schemeClr val="accent2"/>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400" kern="0" dirty="0" err="1">
                  <a:solidFill>
                    <a:sysClr val="windowText" lastClr="000000"/>
                  </a:solidFill>
                  <a:cs typeface="Arial" pitchFamily="34" charset="0"/>
                </a:endParaRPr>
              </a:p>
            </p:txBody>
          </p:sp>
          <p:sp>
            <p:nvSpPr>
              <p:cNvPr id="80" name="Arc 79">
                <a:extLst>
                  <a:ext uri="{FF2B5EF4-FFF2-40B4-BE49-F238E27FC236}">
                    <a16:creationId xmlns:a16="http://schemas.microsoft.com/office/drawing/2014/main" id="{26A26068-2566-4443-B1A6-F7C428B0C3A5}"/>
                  </a:ext>
                </a:extLst>
              </p:cNvPr>
              <p:cNvSpPr/>
              <p:nvPr/>
            </p:nvSpPr>
            <p:spPr bwMode="auto">
              <a:xfrm>
                <a:off x="3314238" y="4564235"/>
                <a:ext cx="293238" cy="293238"/>
              </a:xfrm>
              <a:prstGeom prst="arc">
                <a:avLst>
                  <a:gd name="adj1" fmla="val 16200000"/>
                  <a:gd name="adj2" fmla="val 10800000"/>
                </a:avLst>
              </a:prstGeom>
              <a:solidFill>
                <a:schemeClr val="accent2"/>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81" name="Group 80">
              <a:extLst>
                <a:ext uri="{FF2B5EF4-FFF2-40B4-BE49-F238E27FC236}">
                  <a16:creationId xmlns:a16="http://schemas.microsoft.com/office/drawing/2014/main" id="{265EC409-75B7-4A3E-9286-369ED15F289C}"/>
                </a:ext>
              </a:extLst>
            </p:cNvPr>
            <p:cNvGrpSpPr/>
            <p:nvPr/>
          </p:nvGrpSpPr>
          <p:grpSpPr>
            <a:xfrm>
              <a:off x="3374424" y="5765136"/>
              <a:ext cx="1249958" cy="293238"/>
              <a:chOff x="3314238" y="5765136"/>
              <a:chExt cx="1249958" cy="293238"/>
            </a:xfrm>
          </p:grpSpPr>
          <p:sp>
            <p:nvSpPr>
              <p:cNvPr id="82" name="Rectangle 73">
                <a:extLst>
                  <a:ext uri="{FF2B5EF4-FFF2-40B4-BE49-F238E27FC236}">
                    <a16:creationId xmlns:a16="http://schemas.microsoft.com/office/drawing/2014/main" id="{CB38F09A-72A2-45C7-B921-CA847955A148}"/>
                  </a:ext>
                </a:extLst>
              </p:cNvPr>
              <p:cNvSpPr>
                <a:spLocks noChangeAspect="1" noChangeArrowheads="1"/>
              </p:cNvSpPr>
              <p:nvPr/>
            </p:nvSpPr>
            <p:spPr bwMode="auto">
              <a:xfrm>
                <a:off x="3822005" y="5804033"/>
                <a:ext cx="742191"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400" dirty="0"/>
                  <a:t>Very low</a:t>
                </a:r>
              </a:p>
            </p:txBody>
          </p:sp>
          <p:sp>
            <p:nvSpPr>
              <p:cNvPr id="83" name="Oval 82">
                <a:extLst>
                  <a:ext uri="{FF2B5EF4-FFF2-40B4-BE49-F238E27FC236}">
                    <a16:creationId xmlns:a16="http://schemas.microsoft.com/office/drawing/2014/main" id="{B73715A7-815D-454F-A2A4-31B76228F460}"/>
                  </a:ext>
                </a:extLst>
              </p:cNvPr>
              <p:cNvSpPr/>
              <p:nvPr/>
            </p:nvSpPr>
            <p:spPr bwMode="auto">
              <a:xfrm>
                <a:off x="3314238" y="5765136"/>
                <a:ext cx="293238" cy="293238"/>
              </a:xfrm>
              <a:prstGeom prst="ellipse">
                <a:avLst/>
              </a:prstGeom>
              <a:solidFill>
                <a:schemeClr val="bg1"/>
              </a:solidFill>
              <a:ln w="6350" cmpd="sng">
                <a:solidFill>
                  <a:schemeClr val="accent2"/>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400" kern="0" dirty="0" err="1">
                  <a:solidFill>
                    <a:sysClr val="windowText" lastClr="000000"/>
                  </a:solidFill>
                  <a:cs typeface="Arial" pitchFamily="34" charset="0"/>
                </a:endParaRPr>
              </a:p>
            </p:txBody>
          </p:sp>
        </p:grpSp>
        <p:grpSp>
          <p:nvGrpSpPr>
            <p:cNvPr id="84" name="Group 83">
              <a:extLst>
                <a:ext uri="{FF2B5EF4-FFF2-40B4-BE49-F238E27FC236}">
                  <a16:creationId xmlns:a16="http://schemas.microsoft.com/office/drawing/2014/main" id="{E69132AD-447F-4CBE-9E83-4F5F83A753AD}"/>
                </a:ext>
              </a:extLst>
            </p:cNvPr>
            <p:cNvGrpSpPr/>
            <p:nvPr/>
          </p:nvGrpSpPr>
          <p:grpSpPr>
            <a:xfrm>
              <a:off x="3374424" y="4163935"/>
              <a:ext cx="1328505" cy="293238"/>
              <a:chOff x="3314238" y="4163935"/>
              <a:chExt cx="1328505" cy="293238"/>
            </a:xfrm>
          </p:grpSpPr>
          <p:sp>
            <p:nvSpPr>
              <p:cNvPr id="85" name="Rectangle 81">
                <a:extLst>
                  <a:ext uri="{FF2B5EF4-FFF2-40B4-BE49-F238E27FC236}">
                    <a16:creationId xmlns:a16="http://schemas.microsoft.com/office/drawing/2014/main" id="{7F994218-D7A7-4E2D-B69A-C0449322F516}"/>
                  </a:ext>
                </a:extLst>
              </p:cNvPr>
              <p:cNvSpPr>
                <a:spLocks noChangeAspect="1" noChangeArrowheads="1"/>
              </p:cNvSpPr>
              <p:nvPr/>
            </p:nvSpPr>
            <p:spPr bwMode="auto">
              <a:xfrm>
                <a:off x="3822005" y="4202832"/>
                <a:ext cx="820738"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400" dirty="0"/>
                  <a:t>Very high</a:t>
                </a:r>
              </a:p>
            </p:txBody>
          </p:sp>
          <p:grpSp>
            <p:nvGrpSpPr>
              <p:cNvPr id="86" name="Group 85">
                <a:extLst>
                  <a:ext uri="{FF2B5EF4-FFF2-40B4-BE49-F238E27FC236}">
                    <a16:creationId xmlns:a16="http://schemas.microsoft.com/office/drawing/2014/main" id="{63FC1FCB-F0DF-4D8A-BB70-C693DCBC9B22}"/>
                  </a:ext>
                </a:extLst>
              </p:cNvPr>
              <p:cNvGrpSpPr>
                <a:grpSpLocks noChangeAspect="1"/>
              </p:cNvGrpSpPr>
              <p:nvPr/>
            </p:nvGrpSpPr>
            <p:grpSpPr bwMode="auto">
              <a:xfrm>
                <a:off x="3314238" y="4163935"/>
                <a:ext cx="293238" cy="293238"/>
                <a:chOff x="4465638" y="3322638"/>
                <a:chExt cx="212725" cy="212725"/>
              </a:xfrm>
            </p:grpSpPr>
            <p:sp>
              <p:nvSpPr>
                <p:cNvPr id="87" name="Oval 86">
                  <a:extLst>
                    <a:ext uri="{FF2B5EF4-FFF2-40B4-BE49-F238E27FC236}">
                      <a16:creationId xmlns:a16="http://schemas.microsoft.com/office/drawing/2014/main" id="{A7706A92-1669-40A7-AD54-F298CB4BA507}"/>
                    </a:ext>
                  </a:extLst>
                </p:cNvPr>
                <p:cNvSpPr/>
                <p:nvPr/>
              </p:nvSpPr>
              <p:spPr bwMode="auto">
                <a:xfrm>
                  <a:off x="4465638" y="3322638"/>
                  <a:ext cx="212725" cy="212725"/>
                </a:xfrm>
                <a:prstGeom prst="ellipse">
                  <a:avLst/>
                </a:prstGeom>
                <a:solidFill>
                  <a:schemeClr val="bg1"/>
                </a:solidFill>
                <a:ln w="6350" cmpd="sng">
                  <a:solidFill>
                    <a:schemeClr val="accent2"/>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400" kern="0" dirty="0" err="1">
                    <a:solidFill>
                      <a:sysClr val="windowText" lastClr="000000"/>
                    </a:solidFill>
                    <a:cs typeface="Arial" pitchFamily="34" charset="0"/>
                  </a:endParaRPr>
                </a:p>
              </p:txBody>
            </p:sp>
            <p:sp>
              <p:nvSpPr>
                <p:cNvPr id="88" name="Arc 87">
                  <a:extLst>
                    <a:ext uri="{FF2B5EF4-FFF2-40B4-BE49-F238E27FC236}">
                      <a16:creationId xmlns:a16="http://schemas.microsoft.com/office/drawing/2014/main" id="{0665C66D-01E8-48DD-8467-05030AF7593F}"/>
                    </a:ext>
                  </a:extLst>
                </p:cNvPr>
                <p:cNvSpPr/>
                <p:nvPr/>
              </p:nvSpPr>
              <p:spPr bwMode="auto">
                <a:xfrm>
                  <a:off x="4465638" y="3322638"/>
                  <a:ext cx="212725" cy="212725"/>
                </a:xfrm>
                <a:prstGeom prst="arc">
                  <a:avLst>
                    <a:gd name="adj1" fmla="val 16200000"/>
                    <a:gd name="adj2" fmla="val 16200000"/>
                  </a:avLst>
                </a:prstGeom>
                <a:solidFill>
                  <a:schemeClr val="accent2"/>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89" name="Group 88">
              <a:extLst>
                <a:ext uri="{FF2B5EF4-FFF2-40B4-BE49-F238E27FC236}">
                  <a16:creationId xmlns:a16="http://schemas.microsoft.com/office/drawing/2014/main" id="{915202A2-A281-4D50-9B35-28CB5B0AFE56}"/>
                </a:ext>
              </a:extLst>
            </p:cNvPr>
            <p:cNvGrpSpPr/>
            <p:nvPr/>
          </p:nvGrpSpPr>
          <p:grpSpPr>
            <a:xfrm>
              <a:off x="3374424" y="4964535"/>
              <a:ext cx="1205074" cy="293238"/>
              <a:chOff x="3314238" y="4964535"/>
              <a:chExt cx="1205074" cy="293238"/>
            </a:xfrm>
          </p:grpSpPr>
          <p:sp>
            <p:nvSpPr>
              <p:cNvPr id="90" name="Rectangle 63">
                <a:extLst>
                  <a:ext uri="{FF2B5EF4-FFF2-40B4-BE49-F238E27FC236}">
                    <a16:creationId xmlns:a16="http://schemas.microsoft.com/office/drawing/2014/main" id="{1B406DA3-F177-4F74-B3AE-430D30E035F2}"/>
                  </a:ext>
                </a:extLst>
              </p:cNvPr>
              <p:cNvSpPr>
                <a:spLocks noChangeAspect="1" noChangeArrowheads="1"/>
              </p:cNvSpPr>
              <p:nvPr/>
            </p:nvSpPr>
            <p:spPr bwMode="auto">
              <a:xfrm>
                <a:off x="3822005" y="5003432"/>
                <a:ext cx="697307"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400"/>
                  <a:t>Medium</a:t>
                </a:r>
              </a:p>
            </p:txBody>
          </p:sp>
          <p:sp>
            <p:nvSpPr>
              <p:cNvPr id="91" name="Oval 90">
                <a:extLst>
                  <a:ext uri="{FF2B5EF4-FFF2-40B4-BE49-F238E27FC236}">
                    <a16:creationId xmlns:a16="http://schemas.microsoft.com/office/drawing/2014/main" id="{D06EBBED-B16E-422B-8021-412CF453681C}"/>
                  </a:ext>
                </a:extLst>
              </p:cNvPr>
              <p:cNvSpPr/>
              <p:nvPr/>
            </p:nvSpPr>
            <p:spPr bwMode="auto">
              <a:xfrm>
                <a:off x="3314238" y="4964535"/>
                <a:ext cx="293238" cy="293238"/>
              </a:xfrm>
              <a:prstGeom prst="ellipse">
                <a:avLst/>
              </a:prstGeom>
              <a:solidFill>
                <a:schemeClr val="bg1"/>
              </a:solidFill>
              <a:ln w="6350" cmpd="sng">
                <a:solidFill>
                  <a:schemeClr val="accent2"/>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400" kern="0" dirty="0" err="1">
                  <a:solidFill>
                    <a:sysClr val="windowText" lastClr="000000"/>
                  </a:solidFill>
                  <a:cs typeface="Arial" pitchFamily="34" charset="0"/>
                </a:endParaRPr>
              </a:p>
            </p:txBody>
          </p:sp>
          <p:sp>
            <p:nvSpPr>
              <p:cNvPr id="92" name="Arc 91">
                <a:extLst>
                  <a:ext uri="{FF2B5EF4-FFF2-40B4-BE49-F238E27FC236}">
                    <a16:creationId xmlns:a16="http://schemas.microsoft.com/office/drawing/2014/main" id="{D8DEC7C1-E51D-4A9B-A3D4-8C87041F3B50}"/>
                  </a:ext>
                </a:extLst>
              </p:cNvPr>
              <p:cNvSpPr/>
              <p:nvPr/>
            </p:nvSpPr>
            <p:spPr bwMode="auto">
              <a:xfrm>
                <a:off x="3314238" y="4964535"/>
                <a:ext cx="293238" cy="293238"/>
              </a:xfrm>
              <a:prstGeom prst="arc">
                <a:avLst>
                  <a:gd name="adj1" fmla="val 16200000"/>
                  <a:gd name="adj2" fmla="val 5400000"/>
                </a:avLst>
              </a:prstGeom>
              <a:solidFill>
                <a:schemeClr val="accent2"/>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93" name="Group 92">
              <a:extLst>
                <a:ext uri="{FF2B5EF4-FFF2-40B4-BE49-F238E27FC236}">
                  <a16:creationId xmlns:a16="http://schemas.microsoft.com/office/drawing/2014/main" id="{B1490169-E27E-4B12-8A21-E1413A31349F}"/>
                </a:ext>
              </a:extLst>
            </p:cNvPr>
            <p:cNvGrpSpPr/>
            <p:nvPr/>
          </p:nvGrpSpPr>
          <p:grpSpPr>
            <a:xfrm>
              <a:off x="3374424" y="5364835"/>
              <a:ext cx="860428" cy="293238"/>
              <a:chOff x="3314238" y="5364835"/>
              <a:chExt cx="860428" cy="293238"/>
            </a:xfrm>
          </p:grpSpPr>
          <p:sp>
            <p:nvSpPr>
              <p:cNvPr id="94" name="Rectangle 76">
                <a:extLst>
                  <a:ext uri="{FF2B5EF4-FFF2-40B4-BE49-F238E27FC236}">
                    <a16:creationId xmlns:a16="http://schemas.microsoft.com/office/drawing/2014/main" id="{D42C0615-951E-4A41-9BF5-1D5A380B2DC2}"/>
                  </a:ext>
                </a:extLst>
              </p:cNvPr>
              <p:cNvSpPr>
                <a:spLocks noChangeAspect="1" noChangeArrowheads="1"/>
              </p:cNvSpPr>
              <p:nvPr/>
            </p:nvSpPr>
            <p:spPr bwMode="auto">
              <a:xfrm>
                <a:off x="3822005" y="5403732"/>
                <a:ext cx="352661"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400" dirty="0"/>
                  <a:t>Low</a:t>
                </a:r>
              </a:p>
            </p:txBody>
          </p:sp>
          <p:sp>
            <p:nvSpPr>
              <p:cNvPr id="95" name="Oval 94">
                <a:extLst>
                  <a:ext uri="{FF2B5EF4-FFF2-40B4-BE49-F238E27FC236}">
                    <a16:creationId xmlns:a16="http://schemas.microsoft.com/office/drawing/2014/main" id="{D73F8BC1-FD49-46A2-868E-2460A6DEE8F4}"/>
                  </a:ext>
                </a:extLst>
              </p:cNvPr>
              <p:cNvSpPr/>
              <p:nvPr/>
            </p:nvSpPr>
            <p:spPr bwMode="auto">
              <a:xfrm>
                <a:off x="3314238" y="5364835"/>
                <a:ext cx="293238" cy="293238"/>
              </a:xfrm>
              <a:prstGeom prst="ellipse">
                <a:avLst/>
              </a:prstGeom>
              <a:solidFill>
                <a:schemeClr val="bg1"/>
              </a:solidFill>
              <a:ln w="6350" cmpd="sng">
                <a:solidFill>
                  <a:schemeClr val="accent2"/>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400" kern="0" dirty="0" err="1">
                  <a:solidFill>
                    <a:sysClr val="windowText" lastClr="000000"/>
                  </a:solidFill>
                  <a:cs typeface="Arial" pitchFamily="34" charset="0"/>
                </a:endParaRPr>
              </a:p>
            </p:txBody>
          </p:sp>
          <p:sp>
            <p:nvSpPr>
              <p:cNvPr id="96" name="Arc 95">
                <a:extLst>
                  <a:ext uri="{FF2B5EF4-FFF2-40B4-BE49-F238E27FC236}">
                    <a16:creationId xmlns:a16="http://schemas.microsoft.com/office/drawing/2014/main" id="{0648516F-DF46-4768-A3DC-FA78BF2AB330}"/>
                  </a:ext>
                </a:extLst>
              </p:cNvPr>
              <p:cNvSpPr/>
              <p:nvPr/>
            </p:nvSpPr>
            <p:spPr bwMode="auto">
              <a:xfrm>
                <a:off x="3314238" y="5364835"/>
                <a:ext cx="293238" cy="293238"/>
              </a:xfrm>
              <a:prstGeom prst="arc">
                <a:avLst/>
              </a:prstGeom>
              <a:solidFill>
                <a:schemeClr val="accent2"/>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sp>
        <p:nvSpPr>
          <p:cNvPr id="5" name="Footer Placeholder 4">
            <a:extLst>
              <a:ext uri="{FF2B5EF4-FFF2-40B4-BE49-F238E27FC236}">
                <a16:creationId xmlns:a16="http://schemas.microsoft.com/office/drawing/2014/main" id="{678285F6-8277-4761-9365-2265F56B337B}"/>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29D9B2FA-5464-4232-8F4A-C44B628B5F5B}"/>
              </a:ext>
            </a:extLst>
          </p:cNvPr>
          <p:cNvSpPr>
            <a:spLocks noGrp="1"/>
          </p:cNvSpPr>
          <p:nvPr>
            <p:ph type="sldNum" sz="quarter" idx="10"/>
          </p:nvPr>
        </p:nvSpPr>
        <p:spPr/>
        <p:txBody>
          <a:bodyPr/>
          <a:lstStyle/>
          <a:p>
            <a:fld id="{1F90F471-3972-4120-B8B3-0237DE626C35}" type="slidenum">
              <a:rPr lang="en-US" smtClean="0"/>
              <a:pPr/>
              <a:t>446</a:t>
            </a:fld>
            <a:endParaRPr lang="en-US" dirty="0"/>
          </a:p>
        </p:txBody>
      </p:sp>
    </p:spTree>
    <p:extLst>
      <p:ext uri="{BB962C8B-B14F-4D97-AF65-F5344CB8AC3E}">
        <p14:creationId xmlns:p14="http://schemas.microsoft.com/office/powerpoint/2010/main" val="2568889040"/>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Puzzle Pieces 1</a:t>
            </a:r>
          </a:p>
        </p:txBody>
      </p:sp>
      <p:grpSp>
        <p:nvGrpSpPr>
          <p:cNvPr id="3" name="Group 2" descr="Text 1">
            <a:extLst>
              <a:ext uri="{FF2B5EF4-FFF2-40B4-BE49-F238E27FC236}">
                <a16:creationId xmlns:a16="http://schemas.microsoft.com/office/drawing/2014/main" id="{5A20E096-44E1-433D-A8D2-1E4E26056AC4}"/>
              </a:ext>
            </a:extLst>
          </p:cNvPr>
          <p:cNvGrpSpPr/>
          <p:nvPr/>
        </p:nvGrpSpPr>
        <p:grpSpPr>
          <a:xfrm>
            <a:off x="746287" y="1888793"/>
            <a:ext cx="3347303" cy="630942"/>
            <a:chOff x="746287" y="1888793"/>
            <a:chExt cx="3347303" cy="630942"/>
          </a:xfrm>
        </p:grpSpPr>
        <p:cxnSp>
          <p:nvCxnSpPr>
            <p:cNvPr id="16" name="Straight Connector 15">
              <a:extLst>
                <a:ext uri="{FF2B5EF4-FFF2-40B4-BE49-F238E27FC236}">
                  <a16:creationId xmlns:a16="http://schemas.microsoft.com/office/drawing/2014/main" id="{FECB67CC-A98F-4158-88C1-C367727BD935}"/>
                </a:ext>
              </a:extLst>
            </p:cNvPr>
            <p:cNvCxnSpPr/>
            <p:nvPr/>
          </p:nvCxnSpPr>
          <p:spPr bwMode="auto">
            <a:xfrm>
              <a:off x="746287" y="1891543"/>
              <a:ext cx="3347303" cy="0"/>
            </a:xfrm>
            <a:prstGeom prst="line">
              <a:avLst/>
            </a:prstGeom>
            <a:noFill/>
            <a:ln w="12700" cap="flat" cmpd="sng" algn="ctr">
              <a:solidFill>
                <a:srgbClr val="000000"/>
              </a:solidFill>
              <a:prstDash val="solid"/>
              <a:headEnd type="none" w="med" len="med"/>
              <a:tailEnd type="oval" w="med" len="med"/>
            </a:ln>
            <a:effectLst/>
          </p:spPr>
        </p:cxnSp>
        <p:sp>
          <p:nvSpPr>
            <p:cNvPr id="15" name="TextBox 14">
              <a:extLst>
                <a:ext uri="{FF2B5EF4-FFF2-40B4-BE49-F238E27FC236}">
                  <a16:creationId xmlns:a16="http://schemas.microsoft.com/office/drawing/2014/main" id="{9E7F1B9C-6067-44E2-8278-CA675229A6C0}"/>
                </a:ext>
              </a:extLst>
            </p:cNvPr>
            <p:cNvSpPr txBox="1"/>
            <p:nvPr/>
          </p:nvSpPr>
          <p:spPr bwMode="auto">
            <a:xfrm flipH="1">
              <a:off x="746288" y="1888793"/>
              <a:ext cx="2323947" cy="630942"/>
            </a:xfrm>
            <a:prstGeom prst="rect">
              <a:avLst/>
            </a:prstGeom>
            <a:noFill/>
          </p:spPr>
          <p:txBody>
            <a:bodyPr wrap="square" lIns="0" rIns="0" rtlCol="0">
              <a:spAutoFit/>
            </a:bodyPr>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400" b="0" i="0" u="none" strike="noStrike" kern="0" cap="none" spc="0" normalizeH="0" baseline="0" noProof="0" dirty="0">
                  <a:ln>
                    <a:noFill/>
                  </a:ln>
                  <a:solidFill>
                    <a:srgbClr val="000000"/>
                  </a:solidFill>
                  <a:effectLst/>
                  <a:uLnTx/>
                  <a:uFillTx/>
                  <a:ea typeface="Arial Unicode MS" pitchFamily="34" charset="-128"/>
                  <a:cs typeface="Arial Unicode MS" pitchFamily="34" charset="-128"/>
                </a:rPr>
                <a:t>Text</a:t>
              </a:r>
            </a:p>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400" b="0" i="0" u="none" strike="noStrike" kern="0" cap="none" spc="0" normalizeH="0" baseline="0" noProof="0" dirty="0">
                <a:ln>
                  <a:noFill/>
                </a:ln>
                <a:solidFill>
                  <a:srgbClr val="000000"/>
                </a:solidFill>
                <a:effectLst/>
                <a:uLnTx/>
                <a:uFillTx/>
                <a:ea typeface="Arial Unicode MS" pitchFamily="34" charset="-128"/>
                <a:cs typeface="Arial Unicode MS" pitchFamily="34" charset="-128"/>
              </a:endParaRPr>
            </a:p>
          </p:txBody>
        </p:sp>
      </p:grpSp>
      <p:grpSp>
        <p:nvGrpSpPr>
          <p:cNvPr id="4" name="Group 3" descr="Text 2">
            <a:extLst>
              <a:ext uri="{FF2B5EF4-FFF2-40B4-BE49-F238E27FC236}">
                <a16:creationId xmlns:a16="http://schemas.microsoft.com/office/drawing/2014/main" id="{B3EA2E7A-C10E-4108-A03D-910F513F651A}"/>
              </a:ext>
            </a:extLst>
          </p:cNvPr>
          <p:cNvGrpSpPr/>
          <p:nvPr/>
        </p:nvGrpSpPr>
        <p:grpSpPr>
          <a:xfrm>
            <a:off x="746286" y="4077455"/>
            <a:ext cx="3347303" cy="630942"/>
            <a:chOff x="746286" y="4077455"/>
            <a:chExt cx="3347303" cy="630942"/>
          </a:xfrm>
        </p:grpSpPr>
        <p:cxnSp>
          <p:nvCxnSpPr>
            <p:cNvPr id="18" name="Straight Connector 17">
              <a:extLst>
                <a:ext uri="{FF2B5EF4-FFF2-40B4-BE49-F238E27FC236}">
                  <a16:creationId xmlns:a16="http://schemas.microsoft.com/office/drawing/2014/main" id="{749D51E9-85D6-4D12-AAF2-DBB60CD61931}"/>
                </a:ext>
              </a:extLst>
            </p:cNvPr>
            <p:cNvCxnSpPr/>
            <p:nvPr/>
          </p:nvCxnSpPr>
          <p:spPr bwMode="auto">
            <a:xfrm>
              <a:off x="746286" y="4080205"/>
              <a:ext cx="3347303" cy="0"/>
            </a:xfrm>
            <a:prstGeom prst="line">
              <a:avLst/>
            </a:prstGeom>
            <a:noFill/>
            <a:ln w="12700" cap="flat" cmpd="sng" algn="ctr">
              <a:solidFill>
                <a:srgbClr val="000000"/>
              </a:solidFill>
              <a:prstDash val="solid"/>
              <a:headEnd type="none" w="med" len="med"/>
              <a:tailEnd type="oval" w="med" len="med"/>
            </a:ln>
            <a:effectLst/>
          </p:spPr>
        </p:cxnSp>
        <p:sp>
          <p:nvSpPr>
            <p:cNvPr id="17" name="TextBox 16">
              <a:extLst>
                <a:ext uri="{FF2B5EF4-FFF2-40B4-BE49-F238E27FC236}">
                  <a16:creationId xmlns:a16="http://schemas.microsoft.com/office/drawing/2014/main" id="{4ECBD28B-D0C3-4137-B099-6CA621ACC423}"/>
                </a:ext>
              </a:extLst>
            </p:cNvPr>
            <p:cNvSpPr txBox="1"/>
            <p:nvPr/>
          </p:nvSpPr>
          <p:spPr bwMode="auto">
            <a:xfrm flipH="1">
              <a:off x="746287" y="4077455"/>
              <a:ext cx="2323947" cy="630942"/>
            </a:xfrm>
            <a:prstGeom prst="rect">
              <a:avLst/>
            </a:prstGeom>
            <a:noFill/>
          </p:spPr>
          <p:txBody>
            <a:bodyPr wrap="square" lIns="0" rIns="0" rtlCol="0">
              <a:spAutoFit/>
            </a:bodyPr>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400" b="0" i="0" u="none" strike="noStrike" kern="0" cap="none" spc="0" normalizeH="0" baseline="0" noProof="0" dirty="0">
                  <a:ln>
                    <a:noFill/>
                  </a:ln>
                  <a:solidFill>
                    <a:srgbClr val="000000"/>
                  </a:solidFill>
                  <a:effectLst/>
                  <a:uLnTx/>
                  <a:uFillTx/>
                  <a:ea typeface="Arial Unicode MS" pitchFamily="34" charset="-128"/>
                  <a:cs typeface="Arial Unicode MS" pitchFamily="34" charset="-128"/>
                </a:rPr>
                <a:t>Text</a:t>
              </a:r>
            </a:p>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400" b="0" i="0" u="none" strike="noStrike" kern="0" cap="none" spc="0" normalizeH="0" baseline="0" noProof="0" dirty="0">
                <a:ln>
                  <a:noFill/>
                </a:ln>
                <a:solidFill>
                  <a:srgbClr val="000000"/>
                </a:solidFill>
                <a:effectLst/>
                <a:uLnTx/>
                <a:uFillTx/>
                <a:ea typeface="Arial Unicode MS" pitchFamily="34" charset="-128"/>
                <a:cs typeface="Arial Unicode MS" pitchFamily="34" charset="-128"/>
              </a:endParaRPr>
            </a:p>
          </p:txBody>
        </p:sp>
      </p:grpSp>
      <p:grpSp>
        <p:nvGrpSpPr>
          <p:cNvPr id="28" name="Group 27" descr="Puzzle Pieces 1">
            <a:extLst>
              <a:ext uri="{FF2B5EF4-FFF2-40B4-BE49-F238E27FC236}">
                <a16:creationId xmlns:a16="http://schemas.microsoft.com/office/drawing/2014/main" id="{173D6B8B-B22F-431A-9973-715EFE1F06D7}"/>
              </a:ext>
            </a:extLst>
          </p:cNvPr>
          <p:cNvGrpSpPr/>
          <p:nvPr/>
        </p:nvGrpSpPr>
        <p:grpSpPr>
          <a:xfrm>
            <a:off x="4159565" y="1499684"/>
            <a:ext cx="3872871" cy="3858632"/>
            <a:chOff x="4159565" y="1499684"/>
            <a:chExt cx="3872871" cy="3858632"/>
          </a:xfrm>
        </p:grpSpPr>
        <p:sp>
          <p:nvSpPr>
            <p:cNvPr id="11" name="Freeform 19">
              <a:extLst>
                <a:ext uri="{FF2B5EF4-FFF2-40B4-BE49-F238E27FC236}">
                  <a16:creationId xmlns:a16="http://schemas.microsoft.com/office/drawing/2014/main" id="{412EF9DE-BB0F-408B-A76E-C70FF216C8BF}"/>
                </a:ext>
              </a:extLst>
            </p:cNvPr>
            <p:cNvSpPr>
              <a:spLocks/>
            </p:cNvSpPr>
            <p:nvPr/>
          </p:nvSpPr>
          <p:spPr bwMode="auto">
            <a:xfrm rot="5400000" flipH="1">
              <a:off x="4449619" y="1215240"/>
              <a:ext cx="1618195" cy="2198303"/>
            </a:xfrm>
            <a:custGeom>
              <a:avLst/>
              <a:gdLst/>
              <a:ahLst/>
              <a:cxnLst>
                <a:cxn ang="0">
                  <a:pos x="346" y="216"/>
                </a:cxn>
                <a:cxn ang="0">
                  <a:pos x="342" y="208"/>
                </a:cxn>
                <a:cxn ang="0">
                  <a:pos x="342" y="158"/>
                </a:cxn>
                <a:cxn ang="0">
                  <a:pos x="352" y="146"/>
                </a:cxn>
                <a:cxn ang="0">
                  <a:pos x="378" y="108"/>
                </a:cxn>
                <a:cxn ang="0">
                  <a:pos x="384" y="84"/>
                </a:cxn>
                <a:cxn ang="0">
                  <a:pos x="370" y="38"/>
                </a:cxn>
                <a:cxn ang="0">
                  <a:pos x="334" y="6"/>
                </a:cxn>
                <a:cxn ang="0">
                  <a:pos x="300" y="0"/>
                </a:cxn>
                <a:cxn ang="0">
                  <a:pos x="252" y="14"/>
                </a:cxn>
                <a:cxn ang="0">
                  <a:pos x="222" y="52"/>
                </a:cxn>
                <a:cxn ang="0">
                  <a:pos x="216" y="84"/>
                </a:cxn>
                <a:cxn ang="0">
                  <a:pos x="228" y="120"/>
                </a:cxn>
                <a:cxn ang="0">
                  <a:pos x="254" y="152"/>
                </a:cxn>
                <a:cxn ang="0">
                  <a:pos x="260" y="166"/>
                </a:cxn>
                <a:cxn ang="0">
                  <a:pos x="258" y="214"/>
                </a:cxn>
                <a:cxn ang="0">
                  <a:pos x="256" y="216"/>
                </a:cxn>
                <a:cxn ang="0">
                  <a:pos x="8" y="216"/>
                </a:cxn>
                <a:cxn ang="0">
                  <a:pos x="2" y="220"/>
                </a:cxn>
                <a:cxn ang="0">
                  <a:pos x="0" y="464"/>
                </a:cxn>
                <a:cxn ang="0">
                  <a:pos x="6" y="472"/>
                </a:cxn>
                <a:cxn ang="0">
                  <a:pos x="58" y="472"/>
                </a:cxn>
                <a:cxn ang="0">
                  <a:pos x="72" y="468"/>
                </a:cxn>
                <a:cxn ang="0">
                  <a:pos x="106" y="442"/>
                </a:cxn>
                <a:cxn ang="0">
                  <a:pos x="142" y="430"/>
                </a:cxn>
                <a:cxn ang="0">
                  <a:pos x="178" y="436"/>
                </a:cxn>
                <a:cxn ang="0">
                  <a:pos x="216" y="466"/>
                </a:cxn>
                <a:cxn ang="0">
                  <a:pos x="232" y="514"/>
                </a:cxn>
                <a:cxn ang="0">
                  <a:pos x="224" y="546"/>
                </a:cxn>
                <a:cxn ang="0">
                  <a:pos x="192" y="584"/>
                </a:cxn>
                <a:cxn ang="0">
                  <a:pos x="142" y="598"/>
                </a:cxn>
                <a:cxn ang="0">
                  <a:pos x="118" y="592"/>
                </a:cxn>
                <a:cxn ang="0">
                  <a:pos x="78" y="566"/>
                </a:cxn>
                <a:cxn ang="0">
                  <a:pos x="64" y="556"/>
                </a:cxn>
                <a:cxn ang="0">
                  <a:pos x="8" y="554"/>
                </a:cxn>
                <a:cxn ang="0">
                  <a:pos x="2" y="560"/>
                </a:cxn>
                <a:cxn ang="0">
                  <a:pos x="0" y="802"/>
                </a:cxn>
                <a:cxn ang="0">
                  <a:pos x="6" y="810"/>
                </a:cxn>
                <a:cxn ang="0">
                  <a:pos x="588" y="810"/>
                </a:cxn>
                <a:cxn ang="0">
                  <a:pos x="594" y="806"/>
                </a:cxn>
                <a:cxn ang="0">
                  <a:pos x="596" y="224"/>
                </a:cxn>
                <a:cxn ang="0">
                  <a:pos x="590" y="216"/>
                </a:cxn>
              </a:cxnLst>
              <a:rect l="0" t="0" r="r" b="b"/>
              <a:pathLst>
                <a:path w="596" h="810">
                  <a:moveTo>
                    <a:pt x="350" y="216"/>
                  </a:moveTo>
                  <a:lnTo>
                    <a:pt x="350" y="216"/>
                  </a:lnTo>
                  <a:lnTo>
                    <a:pt x="346" y="216"/>
                  </a:lnTo>
                  <a:lnTo>
                    <a:pt x="344" y="214"/>
                  </a:lnTo>
                  <a:lnTo>
                    <a:pt x="342" y="210"/>
                  </a:lnTo>
                  <a:lnTo>
                    <a:pt x="342" y="208"/>
                  </a:lnTo>
                  <a:lnTo>
                    <a:pt x="342" y="166"/>
                  </a:lnTo>
                  <a:lnTo>
                    <a:pt x="342" y="166"/>
                  </a:lnTo>
                  <a:lnTo>
                    <a:pt x="342" y="158"/>
                  </a:lnTo>
                  <a:lnTo>
                    <a:pt x="348" y="152"/>
                  </a:lnTo>
                  <a:lnTo>
                    <a:pt x="348" y="152"/>
                  </a:lnTo>
                  <a:lnTo>
                    <a:pt x="352" y="146"/>
                  </a:lnTo>
                  <a:lnTo>
                    <a:pt x="366" y="130"/>
                  </a:lnTo>
                  <a:lnTo>
                    <a:pt x="372" y="120"/>
                  </a:lnTo>
                  <a:lnTo>
                    <a:pt x="378" y="108"/>
                  </a:lnTo>
                  <a:lnTo>
                    <a:pt x="384" y="96"/>
                  </a:lnTo>
                  <a:lnTo>
                    <a:pt x="384" y="84"/>
                  </a:lnTo>
                  <a:lnTo>
                    <a:pt x="384" y="84"/>
                  </a:lnTo>
                  <a:lnTo>
                    <a:pt x="384" y="68"/>
                  </a:lnTo>
                  <a:lnTo>
                    <a:pt x="378" y="52"/>
                  </a:lnTo>
                  <a:lnTo>
                    <a:pt x="370" y="38"/>
                  </a:lnTo>
                  <a:lnTo>
                    <a:pt x="360" y="24"/>
                  </a:lnTo>
                  <a:lnTo>
                    <a:pt x="348" y="14"/>
                  </a:lnTo>
                  <a:lnTo>
                    <a:pt x="334" y="6"/>
                  </a:lnTo>
                  <a:lnTo>
                    <a:pt x="318" y="2"/>
                  </a:lnTo>
                  <a:lnTo>
                    <a:pt x="300" y="0"/>
                  </a:lnTo>
                  <a:lnTo>
                    <a:pt x="300" y="0"/>
                  </a:lnTo>
                  <a:lnTo>
                    <a:pt x="284" y="2"/>
                  </a:lnTo>
                  <a:lnTo>
                    <a:pt x="268" y="6"/>
                  </a:lnTo>
                  <a:lnTo>
                    <a:pt x="252" y="14"/>
                  </a:lnTo>
                  <a:lnTo>
                    <a:pt x="240" y="24"/>
                  </a:lnTo>
                  <a:lnTo>
                    <a:pt x="230" y="38"/>
                  </a:lnTo>
                  <a:lnTo>
                    <a:pt x="222" y="52"/>
                  </a:lnTo>
                  <a:lnTo>
                    <a:pt x="218" y="68"/>
                  </a:lnTo>
                  <a:lnTo>
                    <a:pt x="216" y="84"/>
                  </a:lnTo>
                  <a:lnTo>
                    <a:pt x="216" y="84"/>
                  </a:lnTo>
                  <a:lnTo>
                    <a:pt x="218" y="96"/>
                  </a:lnTo>
                  <a:lnTo>
                    <a:pt x="222" y="108"/>
                  </a:lnTo>
                  <a:lnTo>
                    <a:pt x="228" y="120"/>
                  </a:lnTo>
                  <a:lnTo>
                    <a:pt x="234" y="130"/>
                  </a:lnTo>
                  <a:lnTo>
                    <a:pt x="248" y="146"/>
                  </a:lnTo>
                  <a:lnTo>
                    <a:pt x="254" y="152"/>
                  </a:lnTo>
                  <a:lnTo>
                    <a:pt x="254" y="152"/>
                  </a:lnTo>
                  <a:lnTo>
                    <a:pt x="258" y="158"/>
                  </a:lnTo>
                  <a:lnTo>
                    <a:pt x="260" y="166"/>
                  </a:lnTo>
                  <a:lnTo>
                    <a:pt x="260" y="206"/>
                  </a:lnTo>
                  <a:lnTo>
                    <a:pt x="260" y="206"/>
                  </a:lnTo>
                  <a:lnTo>
                    <a:pt x="258" y="214"/>
                  </a:lnTo>
                  <a:lnTo>
                    <a:pt x="258" y="214"/>
                  </a:lnTo>
                  <a:lnTo>
                    <a:pt x="256" y="216"/>
                  </a:lnTo>
                  <a:lnTo>
                    <a:pt x="256" y="216"/>
                  </a:lnTo>
                  <a:lnTo>
                    <a:pt x="248" y="216"/>
                  </a:lnTo>
                  <a:lnTo>
                    <a:pt x="8" y="216"/>
                  </a:lnTo>
                  <a:lnTo>
                    <a:pt x="8" y="216"/>
                  </a:lnTo>
                  <a:lnTo>
                    <a:pt x="6" y="216"/>
                  </a:lnTo>
                  <a:lnTo>
                    <a:pt x="4" y="218"/>
                  </a:lnTo>
                  <a:lnTo>
                    <a:pt x="2" y="220"/>
                  </a:lnTo>
                  <a:lnTo>
                    <a:pt x="0" y="224"/>
                  </a:lnTo>
                  <a:lnTo>
                    <a:pt x="0" y="464"/>
                  </a:lnTo>
                  <a:lnTo>
                    <a:pt x="0" y="464"/>
                  </a:lnTo>
                  <a:lnTo>
                    <a:pt x="2" y="468"/>
                  </a:lnTo>
                  <a:lnTo>
                    <a:pt x="4" y="470"/>
                  </a:lnTo>
                  <a:lnTo>
                    <a:pt x="6" y="472"/>
                  </a:lnTo>
                  <a:lnTo>
                    <a:pt x="8" y="472"/>
                  </a:lnTo>
                  <a:lnTo>
                    <a:pt x="58" y="472"/>
                  </a:lnTo>
                  <a:lnTo>
                    <a:pt x="58" y="472"/>
                  </a:lnTo>
                  <a:lnTo>
                    <a:pt x="64" y="472"/>
                  </a:lnTo>
                  <a:lnTo>
                    <a:pt x="72" y="468"/>
                  </a:lnTo>
                  <a:lnTo>
                    <a:pt x="72" y="468"/>
                  </a:lnTo>
                  <a:lnTo>
                    <a:pt x="78" y="462"/>
                  </a:lnTo>
                  <a:lnTo>
                    <a:pt x="94" y="448"/>
                  </a:lnTo>
                  <a:lnTo>
                    <a:pt x="106" y="442"/>
                  </a:lnTo>
                  <a:lnTo>
                    <a:pt x="118" y="436"/>
                  </a:lnTo>
                  <a:lnTo>
                    <a:pt x="130" y="430"/>
                  </a:lnTo>
                  <a:lnTo>
                    <a:pt x="142" y="430"/>
                  </a:lnTo>
                  <a:lnTo>
                    <a:pt x="142" y="430"/>
                  </a:lnTo>
                  <a:lnTo>
                    <a:pt x="160" y="430"/>
                  </a:lnTo>
                  <a:lnTo>
                    <a:pt x="178" y="436"/>
                  </a:lnTo>
                  <a:lnTo>
                    <a:pt x="192" y="444"/>
                  </a:lnTo>
                  <a:lnTo>
                    <a:pt x="206" y="454"/>
                  </a:lnTo>
                  <a:lnTo>
                    <a:pt x="216" y="466"/>
                  </a:lnTo>
                  <a:lnTo>
                    <a:pt x="224" y="480"/>
                  </a:lnTo>
                  <a:lnTo>
                    <a:pt x="230" y="496"/>
                  </a:lnTo>
                  <a:lnTo>
                    <a:pt x="232" y="514"/>
                  </a:lnTo>
                  <a:lnTo>
                    <a:pt x="232" y="514"/>
                  </a:lnTo>
                  <a:lnTo>
                    <a:pt x="230" y="530"/>
                  </a:lnTo>
                  <a:lnTo>
                    <a:pt x="224" y="546"/>
                  </a:lnTo>
                  <a:lnTo>
                    <a:pt x="216" y="562"/>
                  </a:lnTo>
                  <a:lnTo>
                    <a:pt x="206" y="574"/>
                  </a:lnTo>
                  <a:lnTo>
                    <a:pt x="192" y="584"/>
                  </a:lnTo>
                  <a:lnTo>
                    <a:pt x="178" y="592"/>
                  </a:lnTo>
                  <a:lnTo>
                    <a:pt x="160" y="596"/>
                  </a:lnTo>
                  <a:lnTo>
                    <a:pt x="142" y="598"/>
                  </a:lnTo>
                  <a:lnTo>
                    <a:pt x="142" y="598"/>
                  </a:lnTo>
                  <a:lnTo>
                    <a:pt x="130" y="596"/>
                  </a:lnTo>
                  <a:lnTo>
                    <a:pt x="118" y="592"/>
                  </a:lnTo>
                  <a:lnTo>
                    <a:pt x="106" y="586"/>
                  </a:lnTo>
                  <a:lnTo>
                    <a:pt x="94" y="580"/>
                  </a:lnTo>
                  <a:lnTo>
                    <a:pt x="78" y="566"/>
                  </a:lnTo>
                  <a:lnTo>
                    <a:pt x="72" y="560"/>
                  </a:lnTo>
                  <a:lnTo>
                    <a:pt x="72" y="560"/>
                  </a:lnTo>
                  <a:lnTo>
                    <a:pt x="64" y="556"/>
                  </a:lnTo>
                  <a:lnTo>
                    <a:pt x="58" y="554"/>
                  </a:lnTo>
                  <a:lnTo>
                    <a:pt x="8" y="554"/>
                  </a:lnTo>
                  <a:lnTo>
                    <a:pt x="8" y="554"/>
                  </a:lnTo>
                  <a:lnTo>
                    <a:pt x="6" y="556"/>
                  </a:lnTo>
                  <a:lnTo>
                    <a:pt x="4" y="558"/>
                  </a:lnTo>
                  <a:lnTo>
                    <a:pt x="2" y="560"/>
                  </a:lnTo>
                  <a:lnTo>
                    <a:pt x="0" y="562"/>
                  </a:lnTo>
                  <a:lnTo>
                    <a:pt x="0" y="802"/>
                  </a:lnTo>
                  <a:lnTo>
                    <a:pt x="0" y="802"/>
                  </a:lnTo>
                  <a:lnTo>
                    <a:pt x="2" y="806"/>
                  </a:lnTo>
                  <a:lnTo>
                    <a:pt x="4" y="808"/>
                  </a:lnTo>
                  <a:lnTo>
                    <a:pt x="6" y="810"/>
                  </a:lnTo>
                  <a:lnTo>
                    <a:pt x="8" y="810"/>
                  </a:lnTo>
                  <a:lnTo>
                    <a:pt x="588" y="810"/>
                  </a:lnTo>
                  <a:lnTo>
                    <a:pt x="588" y="810"/>
                  </a:lnTo>
                  <a:lnTo>
                    <a:pt x="590" y="810"/>
                  </a:lnTo>
                  <a:lnTo>
                    <a:pt x="592" y="808"/>
                  </a:lnTo>
                  <a:lnTo>
                    <a:pt x="594" y="806"/>
                  </a:lnTo>
                  <a:lnTo>
                    <a:pt x="596" y="802"/>
                  </a:lnTo>
                  <a:lnTo>
                    <a:pt x="596" y="224"/>
                  </a:lnTo>
                  <a:lnTo>
                    <a:pt x="596" y="224"/>
                  </a:lnTo>
                  <a:lnTo>
                    <a:pt x="594" y="220"/>
                  </a:lnTo>
                  <a:lnTo>
                    <a:pt x="592" y="218"/>
                  </a:lnTo>
                  <a:lnTo>
                    <a:pt x="590" y="216"/>
                  </a:lnTo>
                  <a:lnTo>
                    <a:pt x="588" y="216"/>
                  </a:lnTo>
                  <a:lnTo>
                    <a:pt x="350" y="216"/>
                  </a:lnTo>
                  <a:close/>
                </a:path>
              </a:pathLst>
            </a:custGeom>
            <a:solidFill>
              <a:schemeClr val="accent3"/>
            </a:solidFill>
            <a:ln w="3175" cap="flat" cmpd="sng">
              <a:no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dirty="0">
                <a:ln>
                  <a:noFill/>
                </a:ln>
                <a:solidFill>
                  <a:sysClr val="windowText" lastClr="000000">
                    <a:lumMod val="95000"/>
                    <a:lumOff val="5000"/>
                  </a:sysClr>
                </a:solidFill>
                <a:effectLst/>
                <a:uLnTx/>
                <a:uFillTx/>
                <a:latin typeface="Arial"/>
                <a:ea typeface="+mn-ea"/>
                <a:cs typeface="Arial" charset="0"/>
              </a:endParaRPr>
            </a:p>
          </p:txBody>
        </p:sp>
        <p:sp>
          <p:nvSpPr>
            <p:cNvPr id="9" name="Tekstboks 10">
              <a:extLst>
                <a:ext uri="{FF2B5EF4-FFF2-40B4-BE49-F238E27FC236}">
                  <a16:creationId xmlns:a16="http://schemas.microsoft.com/office/drawing/2014/main" id="{345D0949-FF67-48F1-BF55-E83C7A50AABD}"/>
                </a:ext>
              </a:extLst>
            </p:cNvPr>
            <p:cNvSpPr txBox="1">
              <a:spLocks noChangeArrowheads="1"/>
            </p:cNvSpPr>
            <p:nvPr/>
          </p:nvSpPr>
          <p:spPr bwMode="auto">
            <a:xfrm>
              <a:off x="4281351" y="1607697"/>
              <a:ext cx="585418" cy="307777"/>
            </a:xfrm>
            <a:prstGeom prst="rect">
              <a:avLst/>
            </a:prstGeom>
            <a:noFill/>
            <a:ln w="9525">
              <a:noFill/>
              <a:miter lim="800000"/>
              <a:headEnd/>
              <a:tailEnd/>
            </a:ln>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a-DK" sz="1400" b="1" i="0" u="none" strike="noStrike" kern="0" cap="none" spc="0" normalizeH="0" baseline="0" noProof="0" dirty="0">
                  <a:ln>
                    <a:noFill/>
                  </a:ln>
                  <a:solidFill>
                    <a:prstClr val="white"/>
                  </a:solidFill>
                  <a:effectLst/>
                  <a:uLnTx/>
                  <a:uFillTx/>
                  <a:latin typeface="+mj-lt"/>
                  <a:ea typeface="+mn-ea"/>
                  <a:cs typeface="Arial" charset="0"/>
                </a:rPr>
                <a:t>Text</a:t>
              </a:r>
            </a:p>
          </p:txBody>
        </p:sp>
        <p:sp>
          <p:nvSpPr>
            <p:cNvPr id="12" name="Freeform 24">
              <a:extLst>
                <a:ext uri="{FF2B5EF4-FFF2-40B4-BE49-F238E27FC236}">
                  <a16:creationId xmlns:a16="http://schemas.microsoft.com/office/drawing/2014/main" id="{DD67D0CC-5711-4825-BF16-614D2C83C64D}"/>
                </a:ext>
              </a:extLst>
            </p:cNvPr>
            <p:cNvSpPr>
              <a:spLocks/>
            </p:cNvSpPr>
            <p:nvPr/>
          </p:nvSpPr>
          <p:spPr bwMode="auto">
            <a:xfrm>
              <a:off x="4159565" y="3169654"/>
              <a:ext cx="1613375" cy="2188662"/>
            </a:xfrm>
            <a:custGeom>
              <a:avLst/>
              <a:gdLst/>
              <a:ahLst/>
              <a:cxnLst>
                <a:cxn ang="0">
                  <a:pos x="452" y="426"/>
                </a:cxn>
                <a:cxn ang="0">
                  <a:pos x="478" y="432"/>
                </a:cxn>
                <a:cxn ang="0">
                  <a:pos x="500" y="444"/>
                </a:cxn>
                <a:cxn ang="0">
                  <a:pos x="524" y="464"/>
                </a:cxn>
                <a:cxn ang="0">
                  <a:pos x="530" y="468"/>
                </a:cxn>
                <a:cxn ang="0">
                  <a:pos x="586" y="468"/>
                </a:cxn>
                <a:cxn ang="0">
                  <a:pos x="590" y="468"/>
                </a:cxn>
                <a:cxn ang="0">
                  <a:pos x="594" y="464"/>
                </a:cxn>
                <a:cxn ang="0">
                  <a:pos x="594" y="220"/>
                </a:cxn>
                <a:cxn ang="0">
                  <a:pos x="594" y="216"/>
                </a:cxn>
                <a:cxn ang="0">
                  <a:pos x="590" y="212"/>
                </a:cxn>
                <a:cxn ang="0">
                  <a:pos x="346" y="212"/>
                </a:cxn>
                <a:cxn ang="0">
                  <a:pos x="338" y="212"/>
                </a:cxn>
                <a:cxn ang="0">
                  <a:pos x="338" y="202"/>
                </a:cxn>
                <a:cxn ang="0">
                  <a:pos x="338" y="166"/>
                </a:cxn>
                <a:cxn ang="0">
                  <a:pos x="344" y="152"/>
                </a:cxn>
                <a:cxn ang="0">
                  <a:pos x="350" y="146"/>
                </a:cxn>
                <a:cxn ang="0">
                  <a:pos x="370" y="120"/>
                </a:cxn>
                <a:cxn ang="0">
                  <a:pos x="380" y="96"/>
                </a:cxn>
                <a:cxn ang="0">
                  <a:pos x="382" y="84"/>
                </a:cxn>
                <a:cxn ang="0">
                  <a:pos x="376" y="50"/>
                </a:cxn>
                <a:cxn ang="0">
                  <a:pos x="358" y="24"/>
                </a:cxn>
                <a:cxn ang="0">
                  <a:pos x="330" y="6"/>
                </a:cxn>
                <a:cxn ang="0">
                  <a:pos x="298" y="0"/>
                </a:cxn>
                <a:cxn ang="0">
                  <a:pos x="280" y="0"/>
                </a:cxn>
                <a:cxn ang="0">
                  <a:pos x="250" y="14"/>
                </a:cxn>
                <a:cxn ang="0">
                  <a:pos x="228" y="36"/>
                </a:cxn>
                <a:cxn ang="0">
                  <a:pos x="214" y="66"/>
                </a:cxn>
                <a:cxn ang="0">
                  <a:pos x="212" y="84"/>
                </a:cxn>
                <a:cxn ang="0">
                  <a:pos x="218" y="108"/>
                </a:cxn>
                <a:cxn ang="0">
                  <a:pos x="232" y="130"/>
                </a:cxn>
                <a:cxn ang="0">
                  <a:pos x="250" y="152"/>
                </a:cxn>
                <a:cxn ang="0">
                  <a:pos x="254" y="158"/>
                </a:cxn>
                <a:cxn ang="0">
                  <a:pos x="256" y="202"/>
                </a:cxn>
                <a:cxn ang="0">
                  <a:pos x="256" y="212"/>
                </a:cxn>
                <a:cxn ang="0">
                  <a:pos x="248" y="212"/>
                </a:cxn>
                <a:cxn ang="0">
                  <a:pos x="8" y="212"/>
                </a:cxn>
                <a:cxn ang="0">
                  <a:pos x="2" y="214"/>
                </a:cxn>
                <a:cxn ang="0">
                  <a:pos x="0" y="220"/>
                </a:cxn>
                <a:cxn ang="0">
                  <a:pos x="0" y="798"/>
                </a:cxn>
                <a:cxn ang="0">
                  <a:pos x="2" y="804"/>
                </a:cxn>
                <a:cxn ang="0">
                  <a:pos x="8" y="806"/>
                </a:cxn>
                <a:cxn ang="0">
                  <a:pos x="586" y="806"/>
                </a:cxn>
                <a:cxn ang="0">
                  <a:pos x="592" y="804"/>
                </a:cxn>
                <a:cxn ang="0">
                  <a:pos x="594" y="798"/>
                </a:cxn>
                <a:cxn ang="0">
                  <a:pos x="594" y="558"/>
                </a:cxn>
                <a:cxn ang="0">
                  <a:pos x="592" y="554"/>
                </a:cxn>
                <a:cxn ang="0">
                  <a:pos x="586" y="550"/>
                </a:cxn>
                <a:cxn ang="0">
                  <a:pos x="538" y="550"/>
                </a:cxn>
                <a:cxn ang="0">
                  <a:pos x="524" y="556"/>
                </a:cxn>
                <a:cxn ang="0">
                  <a:pos x="518" y="562"/>
                </a:cxn>
                <a:cxn ang="0">
                  <a:pos x="490" y="582"/>
                </a:cxn>
                <a:cxn ang="0">
                  <a:pos x="466" y="592"/>
                </a:cxn>
                <a:cxn ang="0">
                  <a:pos x="452" y="594"/>
                </a:cxn>
                <a:cxn ang="0">
                  <a:pos x="418" y="588"/>
                </a:cxn>
                <a:cxn ang="0">
                  <a:pos x="390" y="570"/>
                </a:cxn>
                <a:cxn ang="0">
                  <a:pos x="370" y="542"/>
                </a:cxn>
                <a:cxn ang="0">
                  <a:pos x="364" y="510"/>
                </a:cxn>
                <a:cxn ang="0">
                  <a:pos x="366" y="492"/>
                </a:cxn>
                <a:cxn ang="0">
                  <a:pos x="380" y="462"/>
                </a:cxn>
                <a:cxn ang="0">
                  <a:pos x="404" y="440"/>
                </a:cxn>
                <a:cxn ang="0">
                  <a:pos x="434" y="426"/>
                </a:cxn>
                <a:cxn ang="0">
                  <a:pos x="452" y="426"/>
                </a:cxn>
              </a:cxnLst>
              <a:rect l="0" t="0" r="r" b="b"/>
              <a:pathLst>
                <a:path w="594" h="806">
                  <a:moveTo>
                    <a:pt x="452" y="426"/>
                  </a:moveTo>
                  <a:lnTo>
                    <a:pt x="452" y="426"/>
                  </a:lnTo>
                  <a:lnTo>
                    <a:pt x="466" y="426"/>
                  </a:lnTo>
                  <a:lnTo>
                    <a:pt x="478" y="432"/>
                  </a:lnTo>
                  <a:lnTo>
                    <a:pt x="490" y="438"/>
                  </a:lnTo>
                  <a:lnTo>
                    <a:pt x="500" y="444"/>
                  </a:lnTo>
                  <a:lnTo>
                    <a:pt x="518" y="458"/>
                  </a:lnTo>
                  <a:lnTo>
                    <a:pt x="524" y="464"/>
                  </a:lnTo>
                  <a:lnTo>
                    <a:pt x="524" y="464"/>
                  </a:lnTo>
                  <a:lnTo>
                    <a:pt x="530" y="468"/>
                  </a:lnTo>
                  <a:lnTo>
                    <a:pt x="538" y="468"/>
                  </a:lnTo>
                  <a:lnTo>
                    <a:pt x="586" y="468"/>
                  </a:lnTo>
                  <a:lnTo>
                    <a:pt x="586" y="468"/>
                  </a:lnTo>
                  <a:lnTo>
                    <a:pt x="590" y="468"/>
                  </a:lnTo>
                  <a:lnTo>
                    <a:pt x="592" y="466"/>
                  </a:lnTo>
                  <a:lnTo>
                    <a:pt x="594" y="464"/>
                  </a:lnTo>
                  <a:lnTo>
                    <a:pt x="594" y="460"/>
                  </a:lnTo>
                  <a:lnTo>
                    <a:pt x="594" y="220"/>
                  </a:lnTo>
                  <a:lnTo>
                    <a:pt x="594" y="220"/>
                  </a:lnTo>
                  <a:lnTo>
                    <a:pt x="594" y="216"/>
                  </a:lnTo>
                  <a:lnTo>
                    <a:pt x="592" y="214"/>
                  </a:lnTo>
                  <a:lnTo>
                    <a:pt x="590" y="212"/>
                  </a:lnTo>
                  <a:lnTo>
                    <a:pt x="586" y="212"/>
                  </a:lnTo>
                  <a:lnTo>
                    <a:pt x="346" y="212"/>
                  </a:lnTo>
                  <a:lnTo>
                    <a:pt x="346" y="212"/>
                  </a:lnTo>
                  <a:lnTo>
                    <a:pt x="338" y="212"/>
                  </a:lnTo>
                  <a:lnTo>
                    <a:pt x="338" y="212"/>
                  </a:lnTo>
                  <a:lnTo>
                    <a:pt x="338" y="202"/>
                  </a:lnTo>
                  <a:lnTo>
                    <a:pt x="338" y="166"/>
                  </a:lnTo>
                  <a:lnTo>
                    <a:pt x="338" y="166"/>
                  </a:lnTo>
                  <a:lnTo>
                    <a:pt x="340" y="158"/>
                  </a:lnTo>
                  <a:lnTo>
                    <a:pt x="344" y="152"/>
                  </a:lnTo>
                  <a:lnTo>
                    <a:pt x="344" y="152"/>
                  </a:lnTo>
                  <a:lnTo>
                    <a:pt x="350" y="146"/>
                  </a:lnTo>
                  <a:lnTo>
                    <a:pt x="364" y="130"/>
                  </a:lnTo>
                  <a:lnTo>
                    <a:pt x="370" y="120"/>
                  </a:lnTo>
                  <a:lnTo>
                    <a:pt x="376" y="108"/>
                  </a:lnTo>
                  <a:lnTo>
                    <a:pt x="380" y="96"/>
                  </a:lnTo>
                  <a:lnTo>
                    <a:pt x="382" y="84"/>
                  </a:lnTo>
                  <a:lnTo>
                    <a:pt x="382" y="84"/>
                  </a:lnTo>
                  <a:lnTo>
                    <a:pt x="380" y="66"/>
                  </a:lnTo>
                  <a:lnTo>
                    <a:pt x="376" y="50"/>
                  </a:lnTo>
                  <a:lnTo>
                    <a:pt x="368" y="36"/>
                  </a:lnTo>
                  <a:lnTo>
                    <a:pt x="358" y="24"/>
                  </a:lnTo>
                  <a:lnTo>
                    <a:pt x="344" y="14"/>
                  </a:lnTo>
                  <a:lnTo>
                    <a:pt x="330" y="6"/>
                  </a:lnTo>
                  <a:lnTo>
                    <a:pt x="314" y="0"/>
                  </a:lnTo>
                  <a:lnTo>
                    <a:pt x="298" y="0"/>
                  </a:lnTo>
                  <a:lnTo>
                    <a:pt x="298" y="0"/>
                  </a:lnTo>
                  <a:lnTo>
                    <a:pt x="280" y="0"/>
                  </a:lnTo>
                  <a:lnTo>
                    <a:pt x="264" y="6"/>
                  </a:lnTo>
                  <a:lnTo>
                    <a:pt x="250" y="14"/>
                  </a:lnTo>
                  <a:lnTo>
                    <a:pt x="238" y="24"/>
                  </a:lnTo>
                  <a:lnTo>
                    <a:pt x="228" y="36"/>
                  </a:lnTo>
                  <a:lnTo>
                    <a:pt x="220" y="50"/>
                  </a:lnTo>
                  <a:lnTo>
                    <a:pt x="214" y="66"/>
                  </a:lnTo>
                  <a:lnTo>
                    <a:pt x="212" y="84"/>
                  </a:lnTo>
                  <a:lnTo>
                    <a:pt x="212" y="84"/>
                  </a:lnTo>
                  <a:lnTo>
                    <a:pt x="214" y="96"/>
                  </a:lnTo>
                  <a:lnTo>
                    <a:pt x="218" y="108"/>
                  </a:lnTo>
                  <a:lnTo>
                    <a:pt x="224" y="120"/>
                  </a:lnTo>
                  <a:lnTo>
                    <a:pt x="232" y="130"/>
                  </a:lnTo>
                  <a:lnTo>
                    <a:pt x="244" y="146"/>
                  </a:lnTo>
                  <a:lnTo>
                    <a:pt x="250" y="152"/>
                  </a:lnTo>
                  <a:lnTo>
                    <a:pt x="250" y="152"/>
                  </a:lnTo>
                  <a:lnTo>
                    <a:pt x="254" y="158"/>
                  </a:lnTo>
                  <a:lnTo>
                    <a:pt x="256" y="166"/>
                  </a:lnTo>
                  <a:lnTo>
                    <a:pt x="256" y="202"/>
                  </a:lnTo>
                  <a:lnTo>
                    <a:pt x="256" y="202"/>
                  </a:lnTo>
                  <a:lnTo>
                    <a:pt x="256" y="212"/>
                  </a:lnTo>
                  <a:lnTo>
                    <a:pt x="256" y="212"/>
                  </a:lnTo>
                  <a:lnTo>
                    <a:pt x="248" y="212"/>
                  </a:lnTo>
                  <a:lnTo>
                    <a:pt x="8" y="212"/>
                  </a:lnTo>
                  <a:lnTo>
                    <a:pt x="8" y="212"/>
                  </a:lnTo>
                  <a:lnTo>
                    <a:pt x="6" y="212"/>
                  </a:lnTo>
                  <a:lnTo>
                    <a:pt x="2" y="214"/>
                  </a:lnTo>
                  <a:lnTo>
                    <a:pt x="0" y="216"/>
                  </a:lnTo>
                  <a:lnTo>
                    <a:pt x="0" y="220"/>
                  </a:lnTo>
                  <a:lnTo>
                    <a:pt x="0" y="798"/>
                  </a:lnTo>
                  <a:lnTo>
                    <a:pt x="0" y="798"/>
                  </a:lnTo>
                  <a:lnTo>
                    <a:pt x="0" y="802"/>
                  </a:lnTo>
                  <a:lnTo>
                    <a:pt x="2" y="804"/>
                  </a:lnTo>
                  <a:lnTo>
                    <a:pt x="6" y="806"/>
                  </a:lnTo>
                  <a:lnTo>
                    <a:pt x="8" y="806"/>
                  </a:lnTo>
                  <a:lnTo>
                    <a:pt x="586" y="806"/>
                  </a:lnTo>
                  <a:lnTo>
                    <a:pt x="586" y="806"/>
                  </a:lnTo>
                  <a:lnTo>
                    <a:pt x="590" y="806"/>
                  </a:lnTo>
                  <a:lnTo>
                    <a:pt x="592" y="804"/>
                  </a:lnTo>
                  <a:lnTo>
                    <a:pt x="594" y="802"/>
                  </a:lnTo>
                  <a:lnTo>
                    <a:pt x="594" y="798"/>
                  </a:lnTo>
                  <a:lnTo>
                    <a:pt x="594" y="558"/>
                  </a:lnTo>
                  <a:lnTo>
                    <a:pt x="594" y="558"/>
                  </a:lnTo>
                  <a:lnTo>
                    <a:pt x="594" y="556"/>
                  </a:lnTo>
                  <a:lnTo>
                    <a:pt x="592" y="554"/>
                  </a:lnTo>
                  <a:lnTo>
                    <a:pt x="590" y="552"/>
                  </a:lnTo>
                  <a:lnTo>
                    <a:pt x="586" y="550"/>
                  </a:lnTo>
                  <a:lnTo>
                    <a:pt x="538" y="550"/>
                  </a:lnTo>
                  <a:lnTo>
                    <a:pt x="538" y="550"/>
                  </a:lnTo>
                  <a:lnTo>
                    <a:pt x="530" y="552"/>
                  </a:lnTo>
                  <a:lnTo>
                    <a:pt x="524" y="556"/>
                  </a:lnTo>
                  <a:lnTo>
                    <a:pt x="524" y="556"/>
                  </a:lnTo>
                  <a:lnTo>
                    <a:pt x="518" y="562"/>
                  </a:lnTo>
                  <a:lnTo>
                    <a:pt x="500" y="576"/>
                  </a:lnTo>
                  <a:lnTo>
                    <a:pt x="490" y="582"/>
                  </a:lnTo>
                  <a:lnTo>
                    <a:pt x="478" y="588"/>
                  </a:lnTo>
                  <a:lnTo>
                    <a:pt x="466" y="592"/>
                  </a:lnTo>
                  <a:lnTo>
                    <a:pt x="452" y="594"/>
                  </a:lnTo>
                  <a:lnTo>
                    <a:pt x="452" y="594"/>
                  </a:lnTo>
                  <a:lnTo>
                    <a:pt x="434" y="592"/>
                  </a:lnTo>
                  <a:lnTo>
                    <a:pt x="418" y="588"/>
                  </a:lnTo>
                  <a:lnTo>
                    <a:pt x="404" y="580"/>
                  </a:lnTo>
                  <a:lnTo>
                    <a:pt x="390" y="570"/>
                  </a:lnTo>
                  <a:lnTo>
                    <a:pt x="380" y="558"/>
                  </a:lnTo>
                  <a:lnTo>
                    <a:pt x="370" y="542"/>
                  </a:lnTo>
                  <a:lnTo>
                    <a:pt x="366" y="526"/>
                  </a:lnTo>
                  <a:lnTo>
                    <a:pt x="364" y="510"/>
                  </a:lnTo>
                  <a:lnTo>
                    <a:pt x="364" y="510"/>
                  </a:lnTo>
                  <a:lnTo>
                    <a:pt x="366" y="492"/>
                  </a:lnTo>
                  <a:lnTo>
                    <a:pt x="370" y="476"/>
                  </a:lnTo>
                  <a:lnTo>
                    <a:pt x="380" y="462"/>
                  </a:lnTo>
                  <a:lnTo>
                    <a:pt x="390" y="450"/>
                  </a:lnTo>
                  <a:lnTo>
                    <a:pt x="404" y="440"/>
                  </a:lnTo>
                  <a:lnTo>
                    <a:pt x="418" y="432"/>
                  </a:lnTo>
                  <a:lnTo>
                    <a:pt x="434" y="426"/>
                  </a:lnTo>
                  <a:lnTo>
                    <a:pt x="452" y="426"/>
                  </a:lnTo>
                  <a:lnTo>
                    <a:pt x="452" y="426"/>
                  </a:lnTo>
                  <a:close/>
                </a:path>
              </a:pathLst>
            </a:custGeom>
            <a:solidFill>
              <a:schemeClr val="accent5"/>
            </a:solidFill>
            <a:ln w="19050" cap="flat" cmpd="sng">
              <a:no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lumMod val="95000"/>
                    <a:lumOff val="5000"/>
                  </a:prstClr>
                </a:solidFill>
                <a:effectLst/>
                <a:uLnTx/>
                <a:uFillTx/>
                <a:latin typeface="Arial"/>
                <a:ea typeface="+mn-ea"/>
                <a:cs typeface="Arial" charset="0"/>
              </a:endParaRPr>
            </a:p>
          </p:txBody>
        </p:sp>
        <p:sp>
          <p:nvSpPr>
            <p:cNvPr id="7" name="Tekstboks 8">
              <a:extLst>
                <a:ext uri="{FF2B5EF4-FFF2-40B4-BE49-F238E27FC236}">
                  <a16:creationId xmlns:a16="http://schemas.microsoft.com/office/drawing/2014/main" id="{363BF185-9BE8-424E-A92E-F736E9D8F57E}"/>
                </a:ext>
              </a:extLst>
            </p:cNvPr>
            <p:cNvSpPr txBox="1"/>
            <p:nvPr/>
          </p:nvSpPr>
          <p:spPr bwMode="auto">
            <a:xfrm>
              <a:off x="4281351" y="4992073"/>
              <a:ext cx="585418" cy="307777"/>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1" i="0" u="none" strike="noStrike" kern="0" cap="none" spc="0" normalizeH="0" baseline="0" noProof="0" dirty="0">
                  <a:ln>
                    <a:noFill/>
                  </a:ln>
                  <a:solidFill>
                    <a:srgbClr val="FFFFFF"/>
                  </a:solidFill>
                  <a:effectLst/>
                  <a:uLnTx/>
                  <a:uFillTx/>
                  <a:latin typeface="+mj-lt"/>
                  <a:ea typeface="+mn-ea"/>
                  <a:cs typeface="Arial" charset="0"/>
                </a:rPr>
                <a:t>Text</a:t>
              </a:r>
            </a:p>
          </p:txBody>
        </p:sp>
        <p:sp>
          <p:nvSpPr>
            <p:cNvPr id="14" name="Freeform 24">
              <a:extLst>
                <a:ext uri="{FF2B5EF4-FFF2-40B4-BE49-F238E27FC236}">
                  <a16:creationId xmlns:a16="http://schemas.microsoft.com/office/drawing/2014/main" id="{2AC5D0AB-071F-4AC2-BED9-B4B980D5C971}"/>
                </a:ext>
              </a:extLst>
            </p:cNvPr>
            <p:cNvSpPr>
              <a:spLocks/>
            </p:cNvSpPr>
            <p:nvPr/>
          </p:nvSpPr>
          <p:spPr bwMode="auto">
            <a:xfrm rot="10800000">
              <a:off x="6420669" y="1499684"/>
              <a:ext cx="1611767" cy="2188662"/>
            </a:xfrm>
            <a:custGeom>
              <a:avLst/>
              <a:gdLst/>
              <a:ahLst/>
              <a:cxnLst>
                <a:cxn ang="0">
                  <a:pos x="452" y="426"/>
                </a:cxn>
                <a:cxn ang="0">
                  <a:pos x="478" y="432"/>
                </a:cxn>
                <a:cxn ang="0">
                  <a:pos x="500" y="444"/>
                </a:cxn>
                <a:cxn ang="0">
                  <a:pos x="524" y="464"/>
                </a:cxn>
                <a:cxn ang="0">
                  <a:pos x="530" y="468"/>
                </a:cxn>
                <a:cxn ang="0">
                  <a:pos x="586" y="468"/>
                </a:cxn>
                <a:cxn ang="0">
                  <a:pos x="590" y="468"/>
                </a:cxn>
                <a:cxn ang="0">
                  <a:pos x="594" y="464"/>
                </a:cxn>
                <a:cxn ang="0">
                  <a:pos x="594" y="220"/>
                </a:cxn>
                <a:cxn ang="0">
                  <a:pos x="594" y="216"/>
                </a:cxn>
                <a:cxn ang="0">
                  <a:pos x="590" y="212"/>
                </a:cxn>
                <a:cxn ang="0">
                  <a:pos x="346" y="212"/>
                </a:cxn>
                <a:cxn ang="0">
                  <a:pos x="338" y="212"/>
                </a:cxn>
                <a:cxn ang="0">
                  <a:pos x="338" y="202"/>
                </a:cxn>
                <a:cxn ang="0">
                  <a:pos x="338" y="166"/>
                </a:cxn>
                <a:cxn ang="0">
                  <a:pos x="344" y="152"/>
                </a:cxn>
                <a:cxn ang="0">
                  <a:pos x="350" y="146"/>
                </a:cxn>
                <a:cxn ang="0">
                  <a:pos x="370" y="120"/>
                </a:cxn>
                <a:cxn ang="0">
                  <a:pos x="380" y="96"/>
                </a:cxn>
                <a:cxn ang="0">
                  <a:pos x="382" y="84"/>
                </a:cxn>
                <a:cxn ang="0">
                  <a:pos x="376" y="50"/>
                </a:cxn>
                <a:cxn ang="0">
                  <a:pos x="358" y="24"/>
                </a:cxn>
                <a:cxn ang="0">
                  <a:pos x="330" y="6"/>
                </a:cxn>
                <a:cxn ang="0">
                  <a:pos x="298" y="0"/>
                </a:cxn>
                <a:cxn ang="0">
                  <a:pos x="280" y="0"/>
                </a:cxn>
                <a:cxn ang="0">
                  <a:pos x="250" y="14"/>
                </a:cxn>
                <a:cxn ang="0">
                  <a:pos x="228" y="36"/>
                </a:cxn>
                <a:cxn ang="0">
                  <a:pos x="214" y="66"/>
                </a:cxn>
                <a:cxn ang="0">
                  <a:pos x="212" y="84"/>
                </a:cxn>
                <a:cxn ang="0">
                  <a:pos x="218" y="108"/>
                </a:cxn>
                <a:cxn ang="0">
                  <a:pos x="232" y="130"/>
                </a:cxn>
                <a:cxn ang="0">
                  <a:pos x="250" y="152"/>
                </a:cxn>
                <a:cxn ang="0">
                  <a:pos x="254" y="158"/>
                </a:cxn>
                <a:cxn ang="0">
                  <a:pos x="256" y="202"/>
                </a:cxn>
                <a:cxn ang="0">
                  <a:pos x="256" y="212"/>
                </a:cxn>
                <a:cxn ang="0">
                  <a:pos x="248" y="212"/>
                </a:cxn>
                <a:cxn ang="0">
                  <a:pos x="8" y="212"/>
                </a:cxn>
                <a:cxn ang="0">
                  <a:pos x="2" y="214"/>
                </a:cxn>
                <a:cxn ang="0">
                  <a:pos x="0" y="220"/>
                </a:cxn>
                <a:cxn ang="0">
                  <a:pos x="0" y="798"/>
                </a:cxn>
                <a:cxn ang="0">
                  <a:pos x="2" y="804"/>
                </a:cxn>
                <a:cxn ang="0">
                  <a:pos x="8" y="806"/>
                </a:cxn>
                <a:cxn ang="0">
                  <a:pos x="586" y="806"/>
                </a:cxn>
                <a:cxn ang="0">
                  <a:pos x="592" y="804"/>
                </a:cxn>
                <a:cxn ang="0">
                  <a:pos x="594" y="798"/>
                </a:cxn>
                <a:cxn ang="0">
                  <a:pos x="594" y="558"/>
                </a:cxn>
                <a:cxn ang="0">
                  <a:pos x="592" y="554"/>
                </a:cxn>
                <a:cxn ang="0">
                  <a:pos x="586" y="550"/>
                </a:cxn>
                <a:cxn ang="0">
                  <a:pos x="538" y="550"/>
                </a:cxn>
                <a:cxn ang="0">
                  <a:pos x="524" y="556"/>
                </a:cxn>
                <a:cxn ang="0">
                  <a:pos x="518" y="562"/>
                </a:cxn>
                <a:cxn ang="0">
                  <a:pos x="490" y="582"/>
                </a:cxn>
                <a:cxn ang="0">
                  <a:pos x="466" y="592"/>
                </a:cxn>
                <a:cxn ang="0">
                  <a:pos x="452" y="594"/>
                </a:cxn>
                <a:cxn ang="0">
                  <a:pos x="418" y="588"/>
                </a:cxn>
                <a:cxn ang="0">
                  <a:pos x="390" y="570"/>
                </a:cxn>
                <a:cxn ang="0">
                  <a:pos x="370" y="542"/>
                </a:cxn>
                <a:cxn ang="0">
                  <a:pos x="364" y="510"/>
                </a:cxn>
                <a:cxn ang="0">
                  <a:pos x="366" y="492"/>
                </a:cxn>
                <a:cxn ang="0">
                  <a:pos x="380" y="462"/>
                </a:cxn>
                <a:cxn ang="0">
                  <a:pos x="404" y="440"/>
                </a:cxn>
                <a:cxn ang="0">
                  <a:pos x="434" y="426"/>
                </a:cxn>
                <a:cxn ang="0">
                  <a:pos x="452" y="426"/>
                </a:cxn>
              </a:cxnLst>
              <a:rect l="0" t="0" r="r" b="b"/>
              <a:pathLst>
                <a:path w="594" h="806">
                  <a:moveTo>
                    <a:pt x="452" y="426"/>
                  </a:moveTo>
                  <a:lnTo>
                    <a:pt x="452" y="426"/>
                  </a:lnTo>
                  <a:lnTo>
                    <a:pt x="466" y="426"/>
                  </a:lnTo>
                  <a:lnTo>
                    <a:pt x="478" y="432"/>
                  </a:lnTo>
                  <a:lnTo>
                    <a:pt x="490" y="438"/>
                  </a:lnTo>
                  <a:lnTo>
                    <a:pt x="500" y="444"/>
                  </a:lnTo>
                  <a:lnTo>
                    <a:pt x="518" y="458"/>
                  </a:lnTo>
                  <a:lnTo>
                    <a:pt x="524" y="464"/>
                  </a:lnTo>
                  <a:lnTo>
                    <a:pt x="524" y="464"/>
                  </a:lnTo>
                  <a:lnTo>
                    <a:pt x="530" y="468"/>
                  </a:lnTo>
                  <a:lnTo>
                    <a:pt x="538" y="468"/>
                  </a:lnTo>
                  <a:lnTo>
                    <a:pt x="586" y="468"/>
                  </a:lnTo>
                  <a:lnTo>
                    <a:pt x="586" y="468"/>
                  </a:lnTo>
                  <a:lnTo>
                    <a:pt x="590" y="468"/>
                  </a:lnTo>
                  <a:lnTo>
                    <a:pt x="592" y="466"/>
                  </a:lnTo>
                  <a:lnTo>
                    <a:pt x="594" y="464"/>
                  </a:lnTo>
                  <a:lnTo>
                    <a:pt x="594" y="460"/>
                  </a:lnTo>
                  <a:lnTo>
                    <a:pt x="594" y="220"/>
                  </a:lnTo>
                  <a:lnTo>
                    <a:pt x="594" y="220"/>
                  </a:lnTo>
                  <a:lnTo>
                    <a:pt x="594" y="216"/>
                  </a:lnTo>
                  <a:lnTo>
                    <a:pt x="592" y="214"/>
                  </a:lnTo>
                  <a:lnTo>
                    <a:pt x="590" y="212"/>
                  </a:lnTo>
                  <a:lnTo>
                    <a:pt x="586" y="212"/>
                  </a:lnTo>
                  <a:lnTo>
                    <a:pt x="346" y="212"/>
                  </a:lnTo>
                  <a:lnTo>
                    <a:pt x="346" y="212"/>
                  </a:lnTo>
                  <a:lnTo>
                    <a:pt x="338" y="212"/>
                  </a:lnTo>
                  <a:lnTo>
                    <a:pt x="338" y="212"/>
                  </a:lnTo>
                  <a:lnTo>
                    <a:pt x="338" y="202"/>
                  </a:lnTo>
                  <a:lnTo>
                    <a:pt x="338" y="166"/>
                  </a:lnTo>
                  <a:lnTo>
                    <a:pt x="338" y="166"/>
                  </a:lnTo>
                  <a:lnTo>
                    <a:pt x="340" y="158"/>
                  </a:lnTo>
                  <a:lnTo>
                    <a:pt x="344" y="152"/>
                  </a:lnTo>
                  <a:lnTo>
                    <a:pt x="344" y="152"/>
                  </a:lnTo>
                  <a:lnTo>
                    <a:pt x="350" y="146"/>
                  </a:lnTo>
                  <a:lnTo>
                    <a:pt x="364" y="130"/>
                  </a:lnTo>
                  <a:lnTo>
                    <a:pt x="370" y="120"/>
                  </a:lnTo>
                  <a:lnTo>
                    <a:pt x="376" y="108"/>
                  </a:lnTo>
                  <a:lnTo>
                    <a:pt x="380" y="96"/>
                  </a:lnTo>
                  <a:lnTo>
                    <a:pt x="382" y="84"/>
                  </a:lnTo>
                  <a:lnTo>
                    <a:pt x="382" y="84"/>
                  </a:lnTo>
                  <a:lnTo>
                    <a:pt x="380" y="66"/>
                  </a:lnTo>
                  <a:lnTo>
                    <a:pt x="376" y="50"/>
                  </a:lnTo>
                  <a:lnTo>
                    <a:pt x="368" y="36"/>
                  </a:lnTo>
                  <a:lnTo>
                    <a:pt x="358" y="24"/>
                  </a:lnTo>
                  <a:lnTo>
                    <a:pt x="344" y="14"/>
                  </a:lnTo>
                  <a:lnTo>
                    <a:pt x="330" y="6"/>
                  </a:lnTo>
                  <a:lnTo>
                    <a:pt x="314" y="0"/>
                  </a:lnTo>
                  <a:lnTo>
                    <a:pt x="298" y="0"/>
                  </a:lnTo>
                  <a:lnTo>
                    <a:pt x="298" y="0"/>
                  </a:lnTo>
                  <a:lnTo>
                    <a:pt x="280" y="0"/>
                  </a:lnTo>
                  <a:lnTo>
                    <a:pt x="264" y="6"/>
                  </a:lnTo>
                  <a:lnTo>
                    <a:pt x="250" y="14"/>
                  </a:lnTo>
                  <a:lnTo>
                    <a:pt x="238" y="24"/>
                  </a:lnTo>
                  <a:lnTo>
                    <a:pt x="228" y="36"/>
                  </a:lnTo>
                  <a:lnTo>
                    <a:pt x="220" y="50"/>
                  </a:lnTo>
                  <a:lnTo>
                    <a:pt x="214" y="66"/>
                  </a:lnTo>
                  <a:lnTo>
                    <a:pt x="212" y="84"/>
                  </a:lnTo>
                  <a:lnTo>
                    <a:pt x="212" y="84"/>
                  </a:lnTo>
                  <a:lnTo>
                    <a:pt x="214" y="96"/>
                  </a:lnTo>
                  <a:lnTo>
                    <a:pt x="218" y="108"/>
                  </a:lnTo>
                  <a:lnTo>
                    <a:pt x="224" y="120"/>
                  </a:lnTo>
                  <a:lnTo>
                    <a:pt x="232" y="130"/>
                  </a:lnTo>
                  <a:lnTo>
                    <a:pt x="244" y="146"/>
                  </a:lnTo>
                  <a:lnTo>
                    <a:pt x="250" y="152"/>
                  </a:lnTo>
                  <a:lnTo>
                    <a:pt x="250" y="152"/>
                  </a:lnTo>
                  <a:lnTo>
                    <a:pt x="254" y="158"/>
                  </a:lnTo>
                  <a:lnTo>
                    <a:pt x="256" y="166"/>
                  </a:lnTo>
                  <a:lnTo>
                    <a:pt x="256" y="202"/>
                  </a:lnTo>
                  <a:lnTo>
                    <a:pt x="256" y="202"/>
                  </a:lnTo>
                  <a:lnTo>
                    <a:pt x="256" y="212"/>
                  </a:lnTo>
                  <a:lnTo>
                    <a:pt x="256" y="212"/>
                  </a:lnTo>
                  <a:lnTo>
                    <a:pt x="248" y="212"/>
                  </a:lnTo>
                  <a:lnTo>
                    <a:pt x="8" y="212"/>
                  </a:lnTo>
                  <a:lnTo>
                    <a:pt x="8" y="212"/>
                  </a:lnTo>
                  <a:lnTo>
                    <a:pt x="6" y="212"/>
                  </a:lnTo>
                  <a:lnTo>
                    <a:pt x="2" y="214"/>
                  </a:lnTo>
                  <a:lnTo>
                    <a:pt x="0" y="216"/>
                  </a:lnTo>
                  <a:lnTo>
                    <a:pt x="0" y="220"/>
                  </a:lnTo>
                  <a:lnTo>
                    <a:pt x="0" y="798"/>
                  </a:lnTo>
                  <a:lnTo>
                    <a:pt x="0" y="798"/>
                  </a:lnTo>
                  <a:lnTo>
                    <a:pt x="0" y="802"/>
                  </a:lnTo>
                  <a:lnTo>
                    <a:pt x="2" y="804"/>
                  </a:lnTo>
                  <a:lnTo>
                    <a:pt x="6" y="806"/>
                  </a:lnTo>
                  <a:lnTo>
                    <a:pt x="8" y="806"/>
                  </a:lnTo>
                  <a:lnTo>
                    <a:pt x="586" y="806"/>
                  </a:lnTo>
                  <a:lnTo>
                    <a:pt x="586" y="806"/>
                  </a:lnTo>
                  <a:lnTo>
                    <a:pt x="590" y="806"/>
                  </a:lnTo>
                  <a:lnTo>
                    <a:pt x="592" y="804"/>
                  </a:lnTo>
                  <a:lnTo>
                    <a:pt x="594" y="802"/>
                  </a:lnTo>
                  <a:lnTo>
                    <a:pt x="594" y="798"/>
                  </a:lnTo>
                  <a:lnTo>
                    <a:pt x="594" y="558"/>
                  </a:lnTo>
                  <a:lnTo>
                    <a:pt x="594" y="558"/>
                  </a:lnTo>
                  <a:lnTo>
                    <a:pt x="594" y="556"/>
                  </a:lnTo>
                  <a:lnTo>
                    <a:pt x="592" y="554"/>
                  </a:lnTo>
                  <a:lnTo>
                    <a:pt x="590" y="552"/>
                  </a:lnTo>
                  <a:lnTo>
                    <a:pt x="586" y="550"/>
                  </a:lnTo>
                  <a:lnTo>
                    <a:pt x="538" y="550"/>
                  </a:lnTo>
                  <a:lnTo>
                    <a:pt x="538" y="550"/>
                  </a:lnTo>
                  <a:lnTo>
                    <a:pt x="530" y="552"/>
                  </a:lnTo>
                  <a:lnTo>
                    <a:pt x="524" y="556"/>
                  </a:lnTo>
                  <a:lnTo>
                    <a:pt x="524" y="556"/>
                  </a:lnTo>
                  <a:lnTo>
                    <a:pt x="518" y="562"/>
                  </a:lnTo>
                  <a:lnTo>
                    <a:pt x="500" y="576"/>
                  </a:lnTo>
                  <a:lnTo>
                    <a:pt x="490" y="582"/>
                  </a:lnTo>
                  <a:lnTo>
                    <a:pt x="478" y="588"/>
                  </a:lnTo>
                  <a:lnTo>
                    <a:pt x="466" y="592"/>
                  </a:lnTo>
                  <a:lnTo>
                    <a:pt x="452" y="594"/>
                  </a:lnTo>
                  <a:lnTo>
                    <a:pt x="452" y="594"/>
                  </a:lnTo>
                  <a:lnTo>
                    <a:pt x="434" y="592"/>
                  </a:lnTo>
                  <a:lnTo>
                    <a:pt x="418" y="588"/>
                  </a:lnTo>
                  <a:lnTo>
                    <a:pt x="404" y="580"/>
                  </a:lnTo>
                  <a:lnTo>
                    <a:pt x="390" y="570"/>
                  </a:lnTo>
                  <a:lnTo>
                    <a:pt x="380" y="558"/>
                  </a:lnTo>
                  <a:lnTo>
                    <a:pt x="370" y="542"/>
                  </a:lnTo>
                  <a:lnTo>
                    <a:pt x="366" y="526"/>
                  </a:lnTo>
                  <a:lnTo>
                    <a:pt x="364" y="510"/>
                  </a:lnTo>
                  <a:lnTo>
                    <a:pt x="364" y="510"/>
                  </a:lnTo>
                  <a:lnTo>
                    <a:pt x="366" y="492"/>
                  </a:lnTo>
                  <a:lnTo>
                    <a:pt x="370" y="476"/>
                  </a:lnTo>
                  <a:lnTo>
                    <a:pt x="380" y="462"/>
                  </a:lnTo>
                  <a:lnTo>
                    <a:pt x="390" y="450"/>
                  </a:lnTo>
                  <a:lnTo>
                    <a:pt x="404" y="440"/>
                  </a:lnTo>
                  <a:lnTo>
                    <a:pt x="418" y="432"/>
                  </a:lnTo>
                  <a:lnTo>
                    <a:pt x="434" y="426"/>
                  </a:lnTo>
                  <a:lnTo>
                    <a:pt x="452" y="426"/>
                  </a:lnTo>
                  <a:lnTo>
                    <a:pt x="452" y="426"/>
                  </a:lnTo>
                  <a:close/>
                </a:path>
              </a:pathLst>
            </a:custGeom>
            <a:solidFill>
              <a:schemeClr val="accent2"/>
            </a:solidFill>
            <a:ln w="3175" cap="flat" cmpd="sng">
              <a:no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sysClr val="windowText" lastClr="000000">
                    <a:lumMod val="95000"/>
                    <a:lumOff val="5000"/>
                  </a:sysClr>
                </a:solidFill>
                <a:effectLst/>
                <a:uLnTx/>
                <a:uFillTx/>
                <a:latin typeface="Arial"/>
                <a:ea typeface="+mn-ea"/>
                <a:cs typeface="Arial" charset="0"/>
              </a:endParaRPr>
            </a:p>
          </p:txBody>
        </p:sp>
        <p:sp>
          <p:nvSpPr>
            <p:cNvPr id="10" name="Tekstboks 11">
              <a:extLst>
                <a:ext uri="{FF2B5EF4-FFF2-40B4-BE49-F238E27FC236}">
                  <a16:creationId xmlns:a16="http://schemas.microsoft.com/office/drawing/2014/main" id="{180EABBC-4FEE-4A63-A470-08D39932B798}"/>
                </a:ext>
              </a:extLst>
            </p:cNvPr>
            <p:cNvSpPr txBox="1">
              <a:spLocks noChangeArrowheads="1"/>
            </p:cNvSpPr>
            <p:nvPr/>
          </p:nvSpPr>
          <p:spPr bwMode="auto">
            <a:xfrm>
              <a:off x="6531831" y="1607697"/>
              <a:ext cx="585418" cy="307777"/>
            </a:xfrm>
            <a:prstGeom prst="rect">
              <a:avLst/>
            </a:prstGeom>
            <a:noFill/>
            <a:ln w="9525">
              <a:noFill/>
              <a:miter lim="800000"/>
              <a:headEnd/>
              <a:tailEnd/>
            </a:ln>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a-DK" sz="1400" b="1" i="0" u="none" strike="noStrike" kern="0" cap="none" spc="0" normalizeH="0" baseline="0" noProof="0" dirty="0">
                  <a:ln>
                    <a:noFill/>
                  </a:ln>
                  <a:solidFill>
                    <a:prstClr val="white"/>
                  </a:solidFill>
                  <a:effectLst/>
                  <a:uLnTx/>
                  <a:uFillTx/>
                  <a:latin typeface="+mj-lt"/>
                  <a:ea typeface="+mn-ea"/>
                  <a:cs typeface="Arial" charset="0"/>
                </a:rPr>
                <a:t>Text</a:t>
              </a:r>
            </a:p>
          </p:txBody>
        </p:sp>
        <p:sp>
          <p:nvSpPr>
            <p:cNvPr id="13" name="Freeform 19">
              <a:extLst>
                <a:ext uri="{FF2B5EF4-FFF2-40B4-BE49-F238E27FC236}">
                  <a16:creationId xmlns:a16="http://schemas.microsoft.com/office/drawing/2014/main" id="{20A21351-F9ED-4A8D-B76B-A56651A95C1E}"/>
                </a:ext>
              </a:extLst>
            </p:cNvPr>
            <p:cNvSpPr>
              <a:spLocks/>
            </p:cNvSpPr>
            <p:nvPr/>
          </p:nvSpPr>
          <p:spPr bwMode="auto">
            <a:xfrm rot="16200000" flipH="1">
              <a:off x="6123381" y="3449261"/>
              <a:ext cx="1618197" cy="2199912"/>
            </a:xfrm>
            <a:custGeom>
              <a:avLst/>
              <a:gdLst/>
              <a:ahLst/>
              <a:cxnLst>
                <a:cxn ang="0">
                  <a:pos x="346" y="216"/>
                </a:cxn>
                <a:cxn ang="0">
                  <a:pos x="342" y="208"/>
                </a:cxn>
                <a:cxn ang="0">
                  <a:pos x="342" y="158"/>
                </a:cxn>
                <a:cxn ang="0">
                  <a:pos x="352" y="146"/>
                </a:cxn>
                <a:cxn ang="0">
                  <a:pos x="378" y="108"/>
                </a:cxn>
                <a:cxn ang="0">
                  <a:pos x="384" y="84"/>
                </a:cxn>
                <a:cxn ang="0">
                  <a:pos x="370" y="38"/>
                </a:cxn>
                <a:cxn ang="0">
                  <a:pos x="334" y="6"/>
                </a:cxn>
                <a:cxn ang="0">
                  <a:pos x="300" y="0"/>
                </a:cxn>
                <a:cxn ang="0">
                  <a:pos x="252" y="14"/>
                </a:cxn>
                <a:cxn ang="0">
                  <a:pos x="222" y="52"/>
                </a:cxn>
                <a:cxn ang="0">
                  <a:pos x="216" y="84"/>
                </a:cxn>
                <a:cxn ang="0">
                  <a:pos x="228" y="120"/>
                </a:cxn>
                <a:cxn ang="0">
                  <a:pos x="254" y="152"/>
                </a:cxn>
                <a:cxn ang="0">
                  <a:pos x="260" y="166"/>
                </a:cxn>
                <a:cxn ang="0">
                  <a:pos x="258" y="214"/>
                </a:cxn>
                <a:cxn ang="0">
                  <a:pos x="256" y="216"/>
                </a:cxn>
                <a:cxn ang="0">
                  <a:pos x="8" y="216"/>
                </a:cxn>
                <a:cxn ang="0">
                  <a:pos x="2" y="220"/>
                </a:cxn>
                <a:cxn ang="0">
                  <a:pos x="0" y="464"/>
                </a:cxn>
                <a:cxn ang="0">
                  <a:pos x="6" y="472"/>
                </a:cxn>
                <a:cxn ang="0">
                  <a:pos x="58" y="472"/>
                </a:cxn>
                <a:cxn ang="0">
                  <a:pos x="72" y="468"/>
                </a:cxn>
                <a:cxn ang="0">
                  <a:pos x="106" y="442"/>
                </a:cxn>
                <a:cxn ang="0">
                  <a:pos x="142" y="430"/>
                </a:cxn>
                <a:cxn ang="0">
                  <a:pos x="178" y="436"/>
                </a:cxn>
                <a:cxn ang="0">
                  <a:pos x="216" y="466"/>
                </a:cxn>
                <a:cxn ang="0">
                  <a:pos x="232" y="514"/>
                </a:cxn>
                <a:cxn ang="0">
                  <a:pos x="224" y="546"/>
                </a:cxn>
                <a:cxn ang="0">
                  <a:pos x="192" y="584"/>
                </a:cxn>
                <a:cxn ang="0">
                  <a:pos x="142" y="598"/>
                </a:cxn>
                <a:cxn ang="0">
                  <a:pos x="118" y="592"/>
                </a:cxn>
                <a:cxn ang="0">
                  <a:pos x="78" y="566"/>
                </a:cxn>
                <a:cxn ang="0">
                  <a:pos x="64" y="556"/>
                </a:cxn>
                <a:cxn ang="0">
                  <a:pos x="8" y="554"/>
                </a:cxn>
                <a:cxn ang="0">
                  <a:pos x="2" y="560"/>
                </a:cxn>
                <a:cxn ang="0">
                  <a:pos x="0" y="802"/>
                </a:cxn>
                <a:cxn ang="0">
                  <a:pos x="6" y="810"/>
                </a:cxn>
                <a:cxn ang="0">
                  <a:pos x="588" y="810"/>
                </a:cxn>
                <a:cxn ang="0">
                  <a:pos x="594" y="806"/>
                </a:cxn>
                <a:cxn ang="0">
                  <a:pos x="596" y="224"/>
                </a:cxn>
                <a:cxn ang="0">
                  <a:pos x="590" y="216"/>
                </a:cxn>
              </a:cxnLst>
              <a:rect l="0" t="0" r="r" b="b"/>
              <a:pathLst>
                <a:path w="596" h="810">
                  <a:moveTo>
                    <a:pt x="350" y="216"/>
                  </a:moveTo>
                  <a:lnTo>
                    <a:pt x="350" y="216"/>
                  </a:lnTo>
                  <a:lnTo>
                    <a:pt x="346" y="216"/>
                  </a:lnTo>
                  <a:lnTo>
                    <a:pt x="344" y="214"/>
                  </a:lnTo>
                  <a:lnTo>
                    <a:pt x="342" y="210"/>
                  </a:lnTo>
                  <a:lnTo>
                    <a:pt x="342" y="208"/>
                  </a:lnTo>
                  <a:lnTo>
                    <a:pt x="342" y="166"/>
                  </a:lnTo>
                  <a:lnTo>
                    <a:pt x="342" y="166"/>
                  </a:lnTo>
                  <a:lnTo>
                    <a:pt x="342" y="158"/>
                  </a:lnTo>
                  <a:lnTo>
                    <a:pt x="348" y="152"/>
                  </a:lnTo>
                  <a:lnTo>
                    <a:pt x="348" y="152"/>
                  </a:lnTo>
                  <a:lnTo>
                    <a:pt x="352" y="146"/>
                  </a:lnTo>
                  <a:lnTo>
                    <a:pt x="366" y="130"/>
                  </a:lnTo>
                  <a:lnTo>
                    <a:pt x="372" y="120"/>
                  </a:lnTo>
                  <a:lnTo>
                    <a:pt x="378" y="108"/>
                  </a:lnTo>
                  <a:lnTo>
                    <a:pt x="384" y="96"/>
                  </a:lnTo>
                  <a:lnTo>
                    <a:pt x="384" y="84"/>
                  </a:lnTo>
                  <a:lnTo>
                    <a:pt x="384" y="84"/>
                  </a:lnTo>
                  <a:lnTo>
                    <a:pt x="384" y="68"/>
                  </a:lnTo>
                  <a:lnTo>
                    <a:pt x="378" y="52"/>
                  </a:lnTo>
                  <a:lnTo>
                    <a:pt x="370" y="38"/>
                  </a:lnTo>
                  <a:lnTo>
                    <a:pt x="360" y="24"/>
                  </a:lnTo>
                  <a:lnTo>
                    <a:pt x="348" y="14"/>
                  </a:lnTo>
                  <a:lnTo>
                    <a:pt x="334" y="6"/>
                  </a:lnTo>
                  <a:lnTo>
                    <a:pt x="318" y="2"/>
                  </a:lnTo>
                  <a:lnTo>
                    <a:pt x="300" y="0"/>
                  </a:lnTo>
                  <a:lnTo>
                    <a:pt x="300" y="0"/>
                  </a:lnTo>
                  <a:lnTo>
                    <a:pt x="284" y="2"/>
                  </a:lnTo>
                  <a:lnTo>
                    <a:pt x="268" y="6"/>
                  </a:lnTo>
                  <a:lnTo>
                    <a:pt x="252" y="14"/>
                  </a:lnTo>
                  <a:lnTo>
                    <a:pt x="240" y="24"/>
                  </a:lnTo>
                  <a:lnTo>
                    <a:pt x="230" y="38"/>
                  </a:lnTo>
                  <a:lnTo>
                    <a:pt x="222" y="52"/>
                  </a:lnTo>
                  <a:lnTo>
                    <a:pt x="218" y="68"/>
                  </a:lnTo>
                  <a:lnTo>
                    <a:pt x="216" y="84"/>
                  </a:lnTo>
                  <a:lnTo>
                    <a:pt x="216" y="84"/>
                  </a:lnTo>
                  <a:lnTo>
                    <a:pt x="218" y="96"/>
                  </a:lnTo>
                  <a:lnTo>
                    <a:pt x="222" y="108"/>
                  </a:lnTo>
                  <a:lnTo>
                    <a:pt x="228" y="120"/>
                  </a:lnTo>
                  <a:lnTo>
                    <a:pt x="234" y="130"/>
                  </a:lnTo>
                  <a:lnTo>
                    <a:pt x="248" y="146"/>
                  </a:lnTo>
                  <a:lnTo>
                    <a:pt x="254" y="152"/>
                  </a:lnTo>
                  <a:lnTo>
                    <a:pt x="254" y="152"/>
                  </a:lnTo>
                  <a:lnTo>
                    <a:pt x="258" y="158"/>
                  </a:lnTo>
                  <a:lnTo>
                    <a:pt x="260" y="166"/>
                  </a:lnTo>
                  <a:lnTo>
                    <a:pt x="260" y="206"/>
                  </a:lnTo>
                  <a:lnTo>
                    <a:pt x="260" y="206"/>
                  </a:lnTo>
                  <a:lnTo>
                    <a:pt x="258" y="214"/>
                  </a:lnTo>
                  <a:lnTo>
                    <a:pt x="258" y="214"/>
                  </a:lnTo>
                  <a:lnTo>
                    <a:pt x="256" y="216"/>
                  </a:lnTo>
                  <a:lnTo>
                    <a:pt x="256" y="216"/>
                  </a:lnTo>
                  <a:lnTo>
                    <a:pt x="248" y="216"/>
                  </a:lnTo>
                  <a:lnTo>
                    <a:pt x="8" y="216"/>
                  </a:lnTo>
                  <a:lnTo>
                    <a:pt x="8" y="216"/>
                  </a:lnTo>
                  <a:lnTo>
                    <a:pt x="6" y="216"/>
                  </a:lnTo>
                  <a:lnTo>
                    <a:pt x="4" y="218"/>
                  </a:lnTo>
                  <a:lnTo>
                    <a:pt x="2" y="220"/>
                  </a:lnTo>
                  <a:lnTo>
                    <a:pt x="0" y="224"/>
                  </a:lnTo>
                  <a:lnTo>
                    <a:pt x="0" y="464"/>
                  </a:lnTo>
                  <a:lnTo>
                    <a:pt x="0" y="464"/>
                  </a:lnTo>
                  <a:lnTo>
                    <a:pt x="2" y="468"/>
                  </a:lnTo>
                  <a:lnTo>
                    <a:pt x="4" y="470"/>
                  </a:lnTo>
                  <a:lnTo>
                    <a:pt x="6" y="472"/>
                  </a:lnTo>
                  <a:lnTo>
                    <a:pt x="8" y="472"/>
                  </a:lnTo>
                  <a:lnTo>
                    <a:pt x="58" y="472"/>
                  </a:lnTo>
                  <a:lnTo>
                    <a:pt x="58" y="472"/>
                  </a:lnTo>
                  <a:lnTo>
                    <a:pt x="64" y="472"/>
                  </a:lnTo>
                  <a:lnTo>
                    <a:pt x="72" y="468"/>
                  </a:lnTo>
                  <a:lnTo>
                    <a:pt x="72" y="468"/>
                  </a:lnTo>
                  <a:lnTo>
                    <a:pt x="78" y="462"/>
                  </a:lnTo>
                  <a:lnTo>
                    <a:pt x="94" y="448"/>
                  </a:lnTo>
                  <a:lnTo>
                    <a:pt x="106" y="442"/>
                  </a:lnTo>
                  <a:lnTo>
                    <a:pt x="118" y="436"/>
                  </a:lnTo>
                  <a:lnTo>
                    <a:pt x="130" y="430"/>
                  </a:lnTo>
                  <a:lnTo>
                    <a:pt x="142" y="430"/>
                  </a:lnTo>
                  <a:lnTo>
                    <a:pt x="142" y="430"/>
                  </a:lnTo>
                  <a:lnTo>
                    <a:pt x="160" y="430"/>
                  </a:lnTo>
                  <a:lnTo>
                    <a:pt x="178" y="436"/>
                  </a:lnTo>
                  <a:lnTo>
                    <a:pt x="192" y="444"/>
                  </a:lnTo>
                  <a:lnTo>
                    <a:pt x="206" y="454"/>
                  </a:lnTo>
                  <a:lnTo>
                    <a:pt x="216" y="466"/>
                  </a:lnTo>
                  <a:lnTo>
                    <a:pt x="224" y="480"/>
                  </a:lnTo>
                  <a:lnTo>
                    <a:pt x="230" y="496"/>
                  </a:lnTo>
                  <a:lnTo>
                    <a:pt x="232" y="514"/>
                  </a:lnTo>
                  <a:lnTo>
                    <a:pt x="232" y="514"/>
                  </a:lnTo>
                  <a:lnTo>
                    <a:pt x="230" y="530"/>
                  </a:lnTo>
                  <a:lnTo>
                    <a:pt x="224" y="546"/>
                  </a:lnTo>
                  <a:lnTo>
                    <a:pt x="216" y="562"/>
                  </a:lnTo>
                  <a:lnTo>
                    <a:pt x="206" y="574"/>
                  </a:lnTo>
                  <a:lnTo>
                    <a:pt x="192" y="584"/>
                  </a:lnTo>
                  <a:lnTo>
                    <a:pt x="178" y="592"/>
                  </a:lnTo>
                  <a:lnTo>
                    <a:pt x="160" y="596"/>
                  </a:lnTo>
                  <a:lnTo>
                    <a:pt x="142" y="598"/>
                  </a:lnTo>
                  <a:lnTo>
                    <a:pt x="142" y="598"/>
                  </a:lnTo>
                  <a:lnTo>
                    <a:pt x="130" y="596"/>
                  </a:lnTo>
                  <a:lnTo>
                    <a:pt x="118" y="592"/>
                  </a:lnTo>
                  <a:lnTo>
                    <a:pt x="106" y="586"/>
                  </a:lnTo>
                  <a:lnTo>
                    <a:pt x="94" y="580"/>
                  </a:lnTo>
                  <a:lnTo>
                    <a:pt x="78" y="566"/>
                  </a:lnTo>
                  <a:lnTo>
                    <a:pt x="72" y="560"/>
                  </a:lnTo>
                  <a:lnTo>
                    <a:pt x="72" y="560"/>
                  </a:lnTo>
                  <a:lnTo>
                    <a:pt x="64" y="556"/>
                  </a:lnTo>
                  <a:lnTo>
                    <a:pt x="58" y="554"/>
                  </a:lnTo>
                  <a:lnTo>
                    <a:pt x="8" y="554"/>
                  </a:lnTo>
                  <a:lnTo>
                    <a:pt x="8" y="554"/>
                  </a:lnTo>
                  <a:lnTo>
                    <a:pt x="6" y="556"/>
                  </a:lnTo>
                  <a:lnTo>
                    <a:pt x="4" y="558"/>
                  </a:lnTo>
                  <a:lnTo>
                    <a:pt x="2" y="560"/>
                  </a:lnTo>
                  <a:lnTo>
                    <a:pt x="0" y="562"/>
                  </a:lnTo>
                  <a:lnTo>
                    <a:pt x="0" y="802"/>
                  </a:lnTo>
                  <a:lnTo>
                    <a:pt x="0" y="802"/>
                  </a:lnTo>
                  <a:lnTo>
                    <a:pt x="2" y="806"/>
                  </a:lnTo>
                  <a:lnTo>
                    <a:pt x="4" y="808"/>
                  </a:lnTo>
                  <a:lnTo>
                    <a:pt x="6" y="810"/>
                  </a:lnTo>
                  <a:lnTo>
                    <a:pt x="8" y="810"/>
                  </a:lnTo>
                  <a:lnTo>
                    <a:pt x="588" y="810"/>
                  </a:lnTo>
                  <a:lnTo>
                    <a:pt x="588" y="810"/>
                  </a:lnTo>
                  <a:lnTo>
                    <a:pt x="590" y="810"/>
                  </a:lnTo>
                  <a:lnTo>
                    <a:pt x="592" y="808"/>
                  </a:lnTo>
                  <a:lnTo>
                    <a:pt x="594" y="806"/>
                  </a:lnTo>
                  <a:lnTo>
                    <a:pt x="596" y="802"/>
                  </a:lnTo>
                  <a:lnTo>
                    <a:pt x="596" y="224"/>
                  </a:lnTo>
                  <a:lnTo>
                    <a:pt x="596" y="224"/>
                  </a:lnTo>
                  <a:lnTo>
                    <a:pt x="594" y="220"/>
                  </a:lnTo>
                  <a:lnTo>
                    <a:pt x="592" y="218"/>
                  </a:lnTo>
                  <a:lnTo>
                    <a:pt x="590" y="216"/>
                  </a:lnTo>
                  <a:lnTo>
                    <a:pt x="588" y="216"/>
                  </a:lnTo>
                  <a:lnTo>
                    <a:pt x="350" y="216"/>
                  </a:lnTo>
                  <a:close/>
                </a:path>
              </a:pathLst>
            </a:custGeom>
            <a:solidFill>
              <a:schemeClr val="accent1"/>
            </a:solidFill>
            <a:ln w="3175" cap="flat" cmpd="sng">
              <a:no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sysClr val="windowText" lastClr="000000">
                    <a:lumMod val="95000"/>
                    <a:lumOff val="5000"/>
                  </a:sysClr>
                </a:solidFill>
                <a:effectLst/>
                <a:uLnTx/>
                <a:uFillTx/>
                <a:latin typeface="Arial"/>
                <a:ea typeface="+mn-ea"/>
                <a:cs typeface="Arial" charset="0"/>
              </a:endParaRPr>
            </a:p>
          </p:txBody>
        </p:sp>
        <p:sp>
          <p:nvSpPr>
            <p:cNvPr id="8" name="Tekstboks 9">
              <a:extLst>
                <a:ext uri="{FF2B5EF4-FFF2-40B4-BE49-F238E27FC236}">
                  <a16:creationId xmlns:a16="http://schemas.microsoft.com/office/drawing/2014/main" id="{0B4E4DF4-8380-458F-98EE-A2D1C01662B0}"/>
                </a:ext>
              </a:extLst>
            </p:cNvPr>
            <p:cNvSpPr txBox="1">
              <a:spLocks noChangeArrowheads="1"/>
            </p:cNvSpPr>
            <p:nvPr/>
          </p:nvSpPr>
          <p:spPr bwMode="auto">
            <a:xfrm>
              <a:off x="6531038" y="4992073"/>
              <a:ext cx="585418" cy="307777"/>
            </a:xfrm>
            <a:prstGeom prst="rect">
              <a:avLst/>
            </a:prstGeom>
            <a:noFill/>
            <a:ln w="9525">
              <a:noFill/>
              <a:miter lim="800000"/>
              <a:headEnd/>
              <a:tailEnd/>
            </a:ln>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a-DK" sz="1400" b="1" i="0" u="none" strike="noStrike" kern="0" cap="none" spc="0" normalizeH="0" baseline="0" noProof="0" dirty="0">
                  <a:ln>
                    <a:noFill/>
                  </a:ln>
                  <a:solidFill>
                    <a:prstClr val="white"/>
                  </a:solidFill>
                  <a:effectLst/>
                  <a:uLnTx/>
                  <a:uFillTx/>
                  <a:latin typeface="+mj-lt"/>
                  <a:ea typeface="+mn-ea"/>
                  <a:cs typeface="Arial" charset="0"/>
                </a:rPr>
                <a:t>Text</a:t>
              </a:r>
            </a:p>
          </p:txBody>
        </p:sp>
      </p:grpSp>
      <p:grpSp>
        <p:nvGrpSpPr>
          <p:cNvPr id="26" name="Group 25" descr="Text 3">
            <a:extLst>
              <a:ext uri="{FF2B5EF4-FFF2-40B4-BE49-F238E27FC236}">
                <a16:creationId xmlns:a16="http://schemas.microsoft.com/office/drawing/2014/main" id="{61FBE9F9-1839-4E6C-A380-3E2738EF3277}"/>
              </a:ext>
            </a:extLst>
          </p:cNvPr>
          <p:cNvGrpSpPr/>
          <p:nvPr/>
        </p:nvGrpSpPr>
        <p:grpSpPr>
          <a:xfrm>
            <a:off x="8092019" y="1888793"/>
            <a:ext cx="3347303" cy="630942"/>
            <a:chOff x="8092019" y="1888793"/>
            <a:chExt cx="3347303" cy="630942"/>
          </a:xfrm>
        </p:grpSpPr>
        <p:cxnSp>
          <p:nvCxnSpPr>
            <p:cNvPr id="20" name="Straight Connector 19">
              <a:extLst>
                <a:ext uri="{FF2B5EF4-FFF2-40B4-BE49-F238E27FC236}">
                  <a16:creationId xmlns:a16="http://schemas.microsoft.com/office/drawing/2014/main" id="{BA18DDDF-0186-4BEA-99DA-BEAD3E93A2B1}"/>
                </a:ext>
              </a:extLst>
            </p:cNvPr>
            <p:cNvCxnSpPr/>
            <p:nvPr/>
          </p:nvCxnSpPr>
          <p:spPr bwMode="auto">
            <a:xfrm flipH="1">
              <a:off x="8092019" y="1891543"/>
              <a:ext cx="3347303" cy="0"/>
            </a:xfrm>
            <a:prstGeom prst="line">
              <a:avLst/>
            </a:prstGeom>
            <a:noFill/>
            <a:ln w="12700" cap="flat" cmpd="sng" algn="ctr">
              <a:solidFill>
                <a:srgbClr val="000000"/>
              </a:solidFill>
              <a:prstDash val="solid"/>
              <a:headEnd type="none" w="med" len="med"/>
              <a:tailEnd type="oval" w="med" len="med"/>
            </a:ln>
            <a:effectLst/>
          </p:spPr>
        </p:cxnSp>
        <p:sp>
          <p:nvSpPr>
            <p:cNvPr id="19" name="TextBox 18">
              <a:extLst>
                <a:ext uri="{FF2B5EF4-FFF2-40B4-BE49-F238E27FC236}">
                  <a16:creationId xmlns:a16="http://schemas.microsoft.com/office/drawing/2014/main" id="{55A95C27-CA91-4D8A-A863-AC4A05778E3C}"/>
                </a:ext>
              </a:extLst>
            </p:cNvPr>
            <p:cNvSpPr txBox="1"/>
            <p:nvPr/>
          </p:nvSpPr>
          <p:spPr bwMode="auto">
            <a:xfrm>
              <a:off x="9115374" y="1888793"/>
              <a:ext cx="2323947" cy="630942"/>
            </a:xfrm>
            <a:prstGeom prst="rect">
              <a:avLst/>
            </a:prstGeom>
            <a:noFill/>
          </p:spPr>
          <p:txBody>
            <a:bodyPr wrap="square" lIns="0" rIns="0" rtlCol="0">
              <a:spAutoFit/>
            </a:bodyP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400" b="0" i="0" u="none" strike="noStrike" kern="0" cap="none" spc="0" normalizeH="0" baseline="0" noProof="0" dirty="0">
                  <a:ln>
                    <a:noFill/>
                  </a:ln>
                  <a:solidFill>
                    <a:srgbClr val="000000"/>
                  </a:solidFill>
                  <a:effectLst/>
                  <a:uLnTx/>
                  <a:uFillTx/>
                  <a:ea typeface="Arial Unicode MS" pitchFamily="34" charset="-128"/>
                  <a:cs typeface="Arial Unicode MS" pitchFamily="34" charset="-128"/>
                </a:rPr>
                <a:t>Text</a:t>
              </a:r>
            </a:p>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400" b="0" i="0" u="none" strike="noStrike" kern="0" cap="none" spc="0" normalizeH="0" baseline="0" noProof="0" dirty="0">
                <a:ln>
                  <a:noFill/>
                </a:ln>
                <a:solidFill>
                  <a:srgbClr val="000000"/>
                </a:solidFill>
                <a:effectLst/>
                <a:uLnTx/>
                <a:uFillTx/>
                <a:ea typeface="Arial Unicode MS" pitchFamily="34" charset="-128"/>
                <a:cs typeface="Arial Unicode MS" pitchFamily="34" charset="-128"/>
              </a:endParaRPr>
            </a:p>
          </p:txBody>
        </p:sp>
      </p:grpSp>
      <p:grpSp>
        <p:nvGrpSpPr>
          <p:cNvPr id="27" name="Group 26" descr="Text 4">
            <a:extLst>
              <a:ext uri="{FF2B5EF4-FFF2-40B4-BE49-F238E27FC236}">
                <a16:creationId xmlns:a16="http://schemas.microsoft.com/office/drawing/2014/main" id="{5B42F2CE-29CD-41F1-804B-8010DFAA5A89}"/>
              </a:ext>
            </a:extLst>
          </p:cNvPr>
          <p:cNvGrpSpPr/>
          <p:nvPr/>
        </p:nvGrpSpPr>
        <p:grpSpPr>
          <a:xfrm>
            <a:off x="8092020" y="4077455"/>
            <a:ext cx="3347303" cy="630942"/>
            <a:chOff x="8092020" y="4077455"/>
            <a:chExt cx="3347303" cy="630942"/>
          </a:xfrm>
        </p:grpSpPr>
        <p:cxnSp>
          <p:nvCxnSpPr>
            <p:cNvPr id="22" name="Straight Connector 21">
              <a:extLst>
                <a:ext uri="{FF2B5EF4-FFF2-40B4-BE49-F238E27FC236}">
                  <a16:creationId xmlns:a16="http://schemas.microsoft.com/office/drawing/2014/main" id="{24FA3791-59C0-41B4-951A-9087DF37A897}"/>
                </a:ext>
              </a:extLst>
            </p:cNvPr>
            <p:cNvCxnSpPr/>
            <p:nvPr/>
          </p:nvCxnSpPr>
          <p:spPr bwMode="auto">
            <a:xfrm flipH="1">
              <a:off x="8092020" y="4080205"/>
              <a:ext cx="3347303" cy="0"/>
            </a:xfrm>
            <a:prstGeom prst="line">
              <a:avLst/>
            </a:prstGeom>
            <a:noFill/>
            <a:ln w="12700" cap="flat" cmpd="sng" algn="ctr">
              <a:solidFill>
                <a:srgbClr val="000000"/>
              </a:solidFill>
              <a:prstDash val="solid"/>
              <a:headEnd type="none" w="med" len="med"/>
              <a:tailEnd type="oval" w="med" len="med"/>
            </a:ln>
            <a:effectLst/>
          </p:spPr>
        </p:cxnSp>
        <p:sp>
          <p:nvSpPr>
            <p:cNvPr id="21" name="TextBox 20">
              <a:extLst>
                <a:ext uri="{FF2B5EF4-FFF2-40B4-BE49-F238E27FC236}">
                  <a16:creationId xmlns:a16="http://schemas.microsoft.com/office/drawing/2014/main" id="{38F37D67-2C93-4230-9712-927F1CECBF88}"/>
                </a:ext>
              </a:extLst>
            </p:cNvPr>
            <p:cNvSpPr txBox="1"/>
            <p:nvPr/>
          </p:nvSpPr>
          <p:spPr bwMode="auto">
            <a:xfrm>
              <a:off x="9115375" y="4077455"/>
              <a:ext cx="2323947" cy="630942"/>
            </a:xfrm>
            <a:prstGeom prst="rect">
              <a:avLst/>
            </a:prstGeom>
            <a:noFill/>
          </p:spPr>
          <p:txBody>
            <a:bodyPr wrap="square" lIns="0" rIns="0" rtlCol="0">
              <a:spAutoFit/>
            </a:bodyP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400" b="0" i="0" u="none" strike="noStrike" kern="0" cap="none" spc="0" normalizeH="0" baseline="0" noProof="0" dirty="0">
                  <a:ln>
                    <a:noFill/>
                  </a:ln>
                  <a:solidFill>
                    <a:srgbClr val="000000"/>
                  </a:solidFill>
                  <a:effectLst/>
                  <a:uLnTx/>
                  <a:uFillTx/>
                  <a:ea typeface="Arial Unicode MS" pitchFamily="34" charset="-128"/>
                  <a:cs typeface="Arial Unicode MS" pitchFamily="34" charset="-128"/>
                </a:rPr>
                <a:t>Text</a:t>
              </a:r>
            </a:p>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400" b="0" i="0" u="none" strike="noStrike" kern="0" cap="none" spc="0" normalizeH="0" baseline="0" noProof="0" dirty="0">
                <a:ln>
                  <a:noFill/>
                </a:ln>
                <a:solidFill>
                  <a:srgbClr val="000000"/>
                </a:solidFill>
                <a:effectLst/>
                <a:uLnTx/>
                <a:uFillTx/>
                <a:ea typeface="Arial Unicode MS" pitchFamily="34" charset="-128"/>
                <a:cs typeface="Arial Unicode MS" pitchFamily="34" charset="-128"/>
              </a:endParaRPr>
            </a:p>
          </p:txBody>
        </p:sp>
      </p:grpSp>
      <p:sp>
        <p:nvSpPr>
          <p:cNvPr id="24" name="Footer Placeholder 23">
            <a:extLst>
              <a:ext uri="{FF2B5EF4-FFF2-40B4-BE49-F238E27FC236}">
                <a16:creationId xmlns:a16="http://schemas.microsoft.com/office/drawing/2014/main" id="{F1F8819E-BB89-4043-BF5A-2A61105127C3}"/>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5" name="Slide Number Placeholder 24">
            <a:extLst>
              <a:ext uri="{FF2B5EF4-FFF2-40B4-BE49-F238E27FC236}">
                <a16:creationId xmlns:a16="http://schemas.microsoft.com/office/drawing/2014/main" id="{8E9A894E-4BA2-4768-8D27-04906FFD1B8F}"/>
              </a:ext>
            </a:extLst>
          </p:cNvPr>
          <p:cNvSpPr>
            <a:spLocks noGrp="1"/>
          </p:cNvSpPr>
          <p:nvPr>
            <p:ph type="sldNum" sz="quarter" idx="10"/>
          </p:nvPr>
        </p:nvSpPr>
        <p:spPr/>
        <p:txBody>
          <a:bodyPr/>
          <a:lstStyle/>
          <a:p>
            <a:fld id="{1F90F471-3972-4120-B8B3-0237DE626C35}" type="slidenum">
              <a:rPr lang="en-US" smtClean="0"/>
              <a:pPr/>
              <a:t>447</a:t>
            </a:fld>
            <a:endParaRPr lang="en-US" dirty="0"/>
          </a:p>
        </p:txBody>
      </p:sp>
    </p:spTree>
    <p:extLst>
      <p:ext uri="{BB962C8B-B14F-4D97-AF65-F5344CB8AC3E}">
        <p14:creationId xmlns:p14="http://schemas.microsoft.com/office/powerpoint/2010/main" val="3445297692"/>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Puzzle Pieces 2</a:t>
            </a:r>
          </a:p>
        </p:txBody>
      </p:sp>
      <p:grpSp>
        <p:nvGrpSpPr>
          <p:cNvPr id="4" name="Group 3" descr="Text 1">
            <a:extLst>
              <a:ext uri="{FF2B5EF4-FFF2-40B4-BE49-F238E27FC236}">
                <a16:creationId xmlns:a16="http://schemas.microsoft.com/office/drawing/2014/main" id="{3FF6C6FD-C4B2-4951-978B-ECD70AE83A17}"/>
              </a:ext>
            </a:extLst>
          </p:cNvPr>
          <p:cNvGrpSpPr/>
          <p:nvPr/>
        </p:nvGrpSpPr>
        <p:grpSpPr>
          <a:xfrm>
            <a:off x="746287" y="2222168"/>
            <a:ext cx="3347303" cy="630942"/>
            <a:chOff x="746287" y="2222168"/>
            <a:chExt cx="3347303" cy="630942"/>
          </a:xfrm>
        </p:grpSpPr>
        <p:cxnSp>
          <p:nvCxnSpPr>
            <p:cNvPr id="11" name="Straight Connector 10">
              <a:extLst>
                <a:ext uri="{FF2B5EF4-FFF2-40B4-BE49-F238E27FC236}">
                  <a16:creationId xmlns:a16="http://schemas.microsoft.com/office/drawing/2014/main" id="{E6C7ABD0-5309-43F8-B025-0C463EE99F3E}"/>
                </a:ext>
              </a:extLst>
            </p:cNvPr>
            <p:cNvCxnSpPr/>
            <p:nvPr/>
          </p:nvCxnSpPr>
          <p:spPr bwMode="auto">
            <a:xfrm>
              <a:off x="746287" y="2224918"/>
              <a:ext cx="3347303" cy="0"/>
            </a:xfrm>
            <a:prstGeom prst="line">
              <a:avLst/>
            </a:prstGeom>
            <a:noFill/>
            <a:ln w="12700" cap="flat" cmpd="sng" algn="ctr">
              <a:solidFill>
                <a:srgbClr val="000000"/>
              </a:solidFill>
              <a:prstDash val="solid"/>
              <a:headEnd type="none" w="med" len="med"/>
              <a:tailEnd type="oval" w="med" len="med"/>
            </a:ln>
            <a:effectLst/>
          </p:spPr>
        </p:cxnSp>
        <p:sp>
          <p:nvSpPr>
            <p:cNvPr id="10" name="TextBox 9">
              <a:extLst>
                <a:ext uri="{FF2B5EF4-FFF2-40B4-BE49-F238E27FC236}">
                  <a16:creationId xmlns:a16="http://schemas.microsoft.com/office/drawing/2014/main" id="{38599026-7630-40E1-93AE-0C1ED572EC1C}"/>
                </a:ext>
              </a:extLst>
            </p:cNvPr>
            <p:cNvSpPr txBox="1"/>
            <p:nvPr/>
          </p:nvSpPr>
          <p:spPr bwMode="auto">
            <a:xfrm flipH="1">
              <a:off x="746288" y="2222168"/>
              <a:ext cx="2323947" cy="630942"/>
            </a:xfrm>
            <a:prstGeom prst="rect">
              <a:avLst/>
            </a:prstGeom>
            <a:noFill/>
          </p:spPr>
          <p:txBody>
            <a:bodyPr wrap="square" lIns="0" rIns="0" rtlCol="0">
              <a:spAutoFit/>
            </a:bodyPr>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400" b="0" i="0" u="none" strike="noStrike" kern="0" cap="none" spc="0" normalizeH="0" baseline="0" noProof="0" dirty="0">
                  <a:ln>
                    <a:noFill/>
                  </a:ln>
                  <a:solidFill>
                    <a:srgbClr val="000000"/>
                  </a:solidFill>
                  <a:effectLst/>
                  <a:uLnTx/>
                  <a:uFillTx/>
                  <a:ea typeface="Arial Unicode MS" pitchFamily="34" charset="-128"/>
                  <a:cs typeface="Arial Unicode MS" pitchFamily="34" charset="-128"/>
                </a:rPr>
                <a:t>Text</a:t>
              </a:r>
            </a:p>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400" b="0" i="0" u="none" strike="noStrike" kern="0" cap="none" spc="0" normalizeH="0" baseline="0" noProof="0" dirty="0">
                <a:ln>
                  <a:noFill/>
                </a:ln>
                <a:solidFill>
                  <a:srgbClr val="000000"/>
                </a:solidFill>
                <a:effectLst/>
                <a:uLnTx/>
                <a:uFillTx/>
                <a:ea typeface="Arial Unicode MS" pitchFamily="34" charset="-128"/>
                <a:cs typeface="Arial Unicode MS" pitchFamily="34" charset="-128"/>
              </a:endParaRPr>
            </a:p>
          </p:txBody>
        </p:sp>
      </p:grpSp>
      <p:grpSp>
        <p:nvGrpSpPr>
          <p:cNvPr id="21" name="Group 20" descr="Text 2">
            <a:extLst>
              <a:ext uri="{FF2B5EF4-FFF2-40B4-BE49-F238E27FC236}">
                <a16:creationId xmlns:a16="http://schemas.microsoft.com/office/drawing/2014/main" id="{7C8CFF36-B65B-48C0-8E9B-989445A59316}"/>
              </a:ext>
            </a:extLst>
          </p:cNvPr>
          <p:cNvGrpSpPr/>
          <p:nvPr/>
        </p:nvGrpSpPr>
        <p:grpSpPr>
          <a:xfrm>
            <a:off x="746286" y="3934580"/>
            <a:ext cx="3347303" cy="630942"/>
            <a:chOff x="746286" y="3934580"/>
            <a:chExt cx="3347303" cy="630942"/>
          </a:xfrm>
        </p:grpSpPr>
        <p:cxnSp>
          <p:nvCxnSpPr>
            <p:cNvPr id="13" name="Straight Connector 12">
              <a:extLst>
                <a:ext uri="{FF2B5EF4-FFF2-40B4-BE49-F238E27FC236}">
                  <a16:creationId xmlns:a16="http://schemas.microsoft.com/office/drawing/2014/main" id="{4A84E1F7-FABA-4D27-AB85-16DE919CB685}"/>
                </a:ext>
              </a:extLst>
            </p:cNvPr>
            <p:cNvCxnSpPr/>
            <p:nvPr/>
          </p:nvCxnSpPr>
          <p:spPr bwMode="auto">
            <a:xfrm>
              <a:off x="746286" y="3937330"/>
              <a:ext cx="3347303" cy="0"/>
            </a:xfrm>
            <a:prstGeom prst="line">
              <a:avLst/>
            </a:prstGeom>
            <a:noFill/>
            <a:ln w="12700" cap="flat" cmpd="sng" algn="ctr">
              <a:solidFill>
                <a:srgbClr val="000000"/>
              </a:solidFill>
              <a:prstDash val="solid"/>
              <a:headEnd type="none" w="med" len="med"/>
              <a:tailEnd type="oval" w="med" len="med"/>
            </a:ln>
            <a:effectLst/>
          </p:spPr>
        </p:cxnSp>
        <p:sp>
          <p:nvSpPr>
            <p:cNvPr id="12" name="TextBox 11">
              <a:extLst>
                <a:ext uri="{FF2B5EF4-FFF2-40B4-BE49-F238E27FC236}">
                  <a16:creationId xmlns:a16="http://schemas.microsoft.com/office/drawing/2014/main" id="{5D2A541C-B511-42F2-9567-4134898BF9A4}"/>
                </a:ext>
              </a:extLst>
            </p:cNvPr>
            <p:cNvSpPr txBox="1"/>
            <p:nvPr/>
          </p:nvSpPr>
          <p:spPr bwMode="auto">
            <a:xfrm flipH="1">
              <a:off x="746287" y="3934580"/>
              <a:ext cx="2323947" cy="630942"/>
            </a:xfrm>
            <a:prstGeom prst="rect">
              <a:avLst/>
            </a:prstGeom>
            <a:noFill/>
          </p:spPr>
          <p:txBody>
            <a:bodyPr wrap="square" lIns="0" rIns="0" rtlCol="0">
              <a:spAutoFit/>
            </a:bodyPr>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400" b="0" i="0" u="none" strike="noStrike" kern="0" cap="none" spc="0" normalizeH="0" baseline="0" noProof="0" dirty="0">
                  <a:ln>
                    <a:noFill/>
                  </a:ln>
                  <a:solidFill>
                    <a:srgbClr val="000000"/>
                  </a:solidFill>
                  <a:effectLst/>
                  <a:uLnTx/>
                  <a:uFillTx/>
                  <a:ea typeface="Arial Unicode MS" pitchFamily="34" charset="-128"/>
                  <a:cs typeface="Arial Unicode MS" pitchFamily="34" charset="-128"/>
                </a:rPr>
                <a:t>Text</a:t>
              </a:r>
            </a:p>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400" b="0" i="0" u="none" strike="noStrike" kern="0" cap="none" spc="0" normalizeH="0" baseline="0" noProof="0" dirty="0">
                <a:ln>
                  <a:noFill/>
                </a:ln>
                <a:solidFill>
                  <a:srgbClr val="000000"/>
                </a:solidFill>
                <a:effectLst/>
                <a:uLnTx/>
                <a:uFillTx/>
                <a:ea typeface="Arial Unicode MS" pitchFamily="34" charset="-128"/>
                <a:cs typeface="Arial Unicode MS" pitchFamily="34" charset="-128"/>
              </a:endParaRPr>
            </a:p>
          </p:txBody>
        </p:sp>
      </p:grpSp>
      <p:grpSp>
        <p:nvGrpSpPr>
          <p:cNvPr id="24" name="Group 23" descr="Puzzle Pieces 2">
            <a:extLst>
              <a:ext uri="{FF2B5EF4-FFF2-40B4-BE49-F238E27FC236}">
                <a16:creationId xmlns:a16="http://schemas.microsoft.com/office/drawing/2014/main" id="{E14ED4B8-D4B3-4095-83E9-EFB73801957B}"/>
              </a:ext>
            </a:extLst>
          </p:cNvPr>
          <p:cNvGrpSpPr/>
          <p:nvPr/>
        </p:nvGrpSpPr>
        <p:grpSpPr>
          <a:xfrm>
            <a:off x="4126523" y="1336070"/>
            <a:ext cx="3938954" cy="4343400"/>
            <a:chOff x="4126523" y="1336070"/>
            <a:chExt cx="3938954" cy="4343400"/>
          </a:xfrm>
        </p:grpSpPr>
        <p:sp>
          <p:nvSpPr>
            <p:cNvPr id="9" name="Puzzle1">
              <a:extLst>
                <a:ext uri="{FF2B5EF4-FFF2-40B4-BE49-F238E27FC236}">
                  <a16:creationId xmlns:a16="http://schemas.microsoft.com/office/drawing/2014/main" id="{E3FB56B0-F0C9-48AD-A310-2C34F4A029D6}"/>
                </a:ext>
              </a:extLst>
            </p:cNvPr>
            <p:cNvSpPr>
              <a:spLocks noEditPoints="1" noChangeArrowheads="1"/>
            </p:cNvSpPr>
            <p:nvPr/>
          </p:nvSpPr>
          <p:spPr bwMode="auto">
            <a:xfrm>
              <a:off x="4126523" y="2034568"/>
              <a:ext cx="2502877" cy="1601788"/>
            </a:xfrm>
            <a:custGeom>
              <a:avLst/>
              <a:gdLst>
                <a:gd name="T0" fmla="*/ 2101374 w 21600"/>
                <a:gd name="T1" fmla="*/ 1563078 h 21600"/>
                <a:gd name="T2" fmla="*/ 2130999 w 21600"/>
                <a:gd name="T3" fmla="*/ 38636 h 21600"/>
                <a:gd name="T4" fmla="*/ 593130 w 21600"/>
                <a:gd name="T5" fmla="*/ 63478 h 21600"/>
                <a:gd name="T6" fmla="*/ 632672 w 21600"/>
                <a:gd name="T7" fmla="*/ 1557591 h 21600"/>
                <a:gd name="T8" fmla="*/ 1357106 w 21600"/>
                <a:gd name="T9" fmla="*/ 955511 h 21600"/>
                <a:gd name="T10" fmla="*/ 1361374 w 21600"/>
                <a:gd name="T11" fmla="*/ 646203 h 21600"/>
                <a:gd name="T12" fmla="*/ 2711450 w 21600"/>
                <a:gd name="T13" fmla="*/ 741569 h 21600"/>
                <a:gd name="T14" fmla="*/ 7030 w 21600"/>
                <a:gd name="T15" fmla="*/ 741569 h 21600"/>
                <a:gd name="T16" fmla="*/ 0 60000 65536"/>
                <a:gd name="T17" fmla="*/ 0 60000 65536"/>
                <a:gd name="T18" fmla="*/ 0 60000 65536"/>
                <a:gd name="T19" fmla="*/ 0 60000 65536"/>
                <a:gd name="T20" fmla="*/ 0 60000 65536"/>
                <a:gd name="T21" fmla="*/ 0 60000 65536"/>
                <a:gd name="T22" fmla="*/ 0 60000 65536"/>
                <a:gd name="T23" fmla="*/ 0 60000 65536"/>
                <a:gd name="T24" fmla="*/ 6086 w 21600"/>
                <a:gd name="T25" fmla="*/ 2569 h 21600"/>
                <a:gd name="T26" fmla="*/ 16132 w 21600"/>
                <a:gd name="T27" fmla="*/ 19552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9360" y="20836"/>
                  </a:moveTo>
                  <a:lnTo>
                    <a:pt x="9528" y="20836"/>
                  </a:lnTo>
                  <a:lnTo>
                    <a:pt x="9686" y="20762"/>
                  </a:lnTo>
                  <a:lnTo>
                    <a:pt x="9810" y="20687"/>
                  </a:lnTo>
                  <a:lnTo>
                    <a:pt x="9922" y="20575"/>
                  </a:lnTo>
                  <a:lnTo>
                    <a:pt x="10012" y="20426"/>
                  </a:lnTo>
                  <a:lnTo>
                    <a:pt x="10068" y="20296"/>
                  </a:lnTo>
                  <a:lnTo>
                    <a:pt x="10113" y="20110"/>
                  </a:lnTo>
                  <a:lnTo>
                    <a:pt x="10136" y="19905"/>
                  </a:lnTo>
                  <a:lnTo>
                    <a:pt x="10136" y="19682"/>
                  </a:lnTo>
                  <a:lnTo>
                    <a:pt x="10113" y="19440"/>
                  </a:lnTo>
                  <a:lnTo>
                    <a:pt x="10068" y="19142"/>
                  </a:lnTo>
                  <a:lnTo>
                    <a:pt x="10012" y="18900"/>
                  </a:lnTo>
                  <a:lnTo>
                    <a:pt x="9900" y="18620"/>
                  </a:lnTo>
                  <a:lnTo>
                    <a:pt x="9787" y="18285"/>
                  </a:lnTo>
                  <a:lnTo>
                    <a:pt x="9641" y="17968"/>
                  </a:lnTo>
                  <a:lnTo>
                    <a:pt x="9472" y="17652"/>
                  </a:lnTo>
                  <a:lnTo>
                    <a:pt x="9382" y="17466"/>
                  </a:lnTo>
                  <a:lnTo>
                    <a:pt x="9315" y="17298"/>
                  </a:lnTo>
                  <a:lnTo>
                    <a:pt x="9258" y="17112"/>
                  </a:lnTo>
                  <a:lnTo>
                    <a:pt x="9191" y="16926"/>
                  </a:lnTo>
                  <a:lnTo>
                    <a:pt x="9123" y="16535"/>
                  </a:lnTo>
                  <a:lnTo>
                    <a:pt x="9101" y="16144"/>
                  </a:lnTo>
                  <a:lnTo>
                    <a:pt x="9101" y="15753"/>
                  </a:lnTo>
                  <a:lnTo>
                    <a:pt x="9168" y="15362"/>
                  </a:lnTo>
                  <a:lnTo>
                    <a:pt x="9236" y="14971"/>
                  </a:lnTo>
                  <a:lnTo>
                    <a:pt x="9360" y="14580"/>
                  </a:lnTo>
                  <a:lnTo>
                    <a:pt x="9495" y="14244"/>
                  </a:lnTo>
                  <a:lnTo>
                    <a:pt x="9663" y="13891"/>
                  </a:lnTo>
                  <a:lnTo>
                    <a:pt x="9855" y="13611"/>
                  </a:lnTo>
                  <a:lnTo>
                    <a:pt x="10068" y="13351"/>
                  </a:lnTo>
                  <a:lnTo>
                    <a:pt x="10293" y="13146"/>
                  </a:lnTo>
                  <a:lnTo>
                    <a:pt x="10552" y="12997"/>
                  </a:lnTo>
                  <a:lnTo>
                    <a:pt x="10811" y="12885"/>
                  </a:lnTo>
                  <a:lnTo>
                    <a:pt x="11069" y="12866"/>
                  </a:lnTo>
                  <a:lnTo>
                    <a:pt x="11351" y="12885"/>
                  </a:lnTo>
                  <a:lnTo>
                    <a:pt x="11610" y="12997"/>
                  </a:lnTo>
                  <a:lnTo>
                    <a:pt x="11846" y="13183"/>
                  </a:lnTo>
                  <a:lnTo>
                    <a:pt x="12060" y="13388"/>
                  </a:lnTo>
                  <a:lnTo>
                    <a:pt x="12251" y="13648"/>
                  </a:lnTo>
                  <a:lnTo>
                    <a:pt x="12419" y="13928"/>
                  </a:lnTo>
                  <a:lnTo>
                    <a:pt x="12555" y="14244"/>
                  </a:lnTo>
                  <a:lnTo>
                    <a:pt x="12690" y="14617"/>
                  </a:lnTo>
                  <a:lnTo>
                    <a:pt x="12768" y="15008"/>
                  </a:lnTo>
                  <a:lnTo>
                    <a:pt x="12836" y="15399"/>
                  </a:lnTo>
                  <a:lnTo>
                    <a:pt x="12858" y="15753"/>
                  </a:lnTo>
                  <a:lnTo>
                    <a:pt x="12858" y="16144"/>
                  </a:lnTo>
                  <a:lnTo>
                    <a:pt x="12813" y="16535"/>
                  </a:lnTo>
                  <a:lnTo>
                    <a:pt x="12746" y="16888"/>
                  </a:lnTo>
                  <a:lnTo>
                    <a:pt x="12667" y="17224"/>
                  </a:lnTo>
                  <a:lnTo>
                    <a:pt x="12510" y="17503"/>
                  </a:lnTo>
                  <a:lnTo>
                    <a:pt x="12228" y="18043"/>
                  </a:lnTo>
                  <a:lnTo>
                    <a:pt x="11970" y="18546"/>
                  </a:lnTo>
                  <a:lnTo>
                    <a:pt x="11868" y="18751"/>
                  </a:lnTo>
                  <a:lnTo>
                    <a:pt x="11778" y="18974"/>
                  </a:lnTo>
                  <a:lnTo>
                    <a:pt x="11711" y="19179"/>
                  </a:lnTo>
                  <a:lnTo>
                    <a:pt x="11666" y="19365"/>
                  </a:lnTo>
                  <a:lnTo>
                    <a:pt x="11632" y="19570"/>
                  </a:lnTo>
                  <a:lnTo>
                    <a:pt x="11632" y="19756"/>
                  </a:lnTo>
                  <a:lnTo>
                    <a:pt x="11632" y="19942"/>
                  </a:lnTo>
                  <a:lnTo>
                    <a:pt x="11643" y="20110"/>
                  </a:lnTo>
                  <a:lnTo>
                    <a:pt x="11711" y="20296"/>
                  </a:lnTo>
                  <a:lnTo>
                    <a:pt x="11801" y="20464"/>
                  </a:lnTo>
                  <a:lnTo>
                    <a:pt x="11891" y="20650"/>
                  </a:lnTo>
                  <a:lnTo>
                    <a:pt x="12037" y="20836"/>
                  </a:lnTo>
                  <a:lnTo>
                    <a:pt x="12206" y="21004"/>
                  </a:lnTo>
                  <a:lnTo>
                    <a:pt x="12419" y="21190"/>
                  </a:lnTo>
                  <a:lnTo>
                    <a:pt x="12667" y="21320"/>
                  </a:lnTo>
                  <a:lnTo>
                    <a:pt x="12960" y="21432"/>
                  </a:lnTo>
                  <a:lnTo>
                    <a:pt x="13286" y="21544"/>
                  </a:lnTo>
                  <a:lnTo>
                    <a:pt x="13612" y="21655"/>
                  </a:lnTo>
                  <a:lnTo>
                    <a:pt x="13983" y="21693"/>
                  </a:lnTo>
                  <a:lnTo>
                    <a:pt x="14343" y="21730"/>
                  </a:lnTo>
                  <a:lnTo>
                    <a:pt x="14715" y="21730"/>
                  </a:lnTo>
                  <a:lnTo>
                    <a:pt x="15075" y="21730"/>
                  </a:lnTo>
                  <a:lnTo>
                    <a:pt x="15446" y="21655"/>
                  </a:lnTo>
                  <a:lnTo>
                    <a:pt x="15794" y="21581"/>
                  </a:lnTo>
                  <a:lnTo>
                    <a:pt x="16132" y="21432"/>
                  </a:lnTo>
                  <a:lnTo>
                    <a:pt x="16458" y="21302"/>
                  </a:lnTo>
                  <a:lnTo>
                    <a:pt x="16740" y="21078"/>
                  </a:lnTo>
                  <a:lnTo>
                    <a:pt x="16976" y="20836"/>
                  </a:lnTo>
                  <a:lnTo>
                    <a:pt x="17043" y="20650"/>
                  </a:lnTo>
                  <a:lnTo>
                    <a:pt x="17088" y="20426"/>
                  </a:lnTo>
                  <a:lnTo>
                    <a:pt x="17133" y="20222"/>
                  </a:lnTo>
                  <a:lnTo>
                    <a:pt x="17156" y="19980"/>
                  </a:lnTo>
                  <a:lnTo>
                    <a:pt x="17167" y="19477"/>
                  </a:lnTo>
                  <a:lnTo>
                    <a:pt x="17167" y="18974"/>
                  </a:lnTo>
                  <a:lnTo>
                    <a:pt x="17156" y="18397"/>
                  </a:lnTo>
                  <a:lnTo>
                    <a:pt x="17111" y="17820"/>
                  </a:lnTo>
                  <a:lnTo>
                    <a:pt x="17066" y="17261"/>
                  </a:lnTo>
                  <a:lnTo>
                    <a:pt x="16998" y="16646"/>
                  </a:lnTo>
                  <a:lnTo>
                    <a:pt x="16852" y="15511"/>
                  </a:lnTo>
                  <a:lnTo>
                    <a:pt x="16740" y="14393"/>
                  </a:lnTo>
                  <a:lnTo>
                    <a:pt x="16717" y="13928"/>
                  </a:lnTo>
                  <a:lnTo>
                    <a:pt x="16695" y="13462"/>
                  </a:lnTo>
                  <a:lnTo>
                    <a:pt x="16717" y="13071"/>
                  </a:lnTo>
                  <a:lnTo>
                    <a:pt x="16785" y="12755"/>
                  </a:lnTo>
                  <a:lnTo>
                    <a:pt x="16852" y="12419"/>
                  </a:lnTo>
                  <a:lnTo>
                    <a:pt x="16953" y="12140"/>
                  </a:lnTo>
                  <a:lnTo>
                    <a:pt x="17088" y="11898"/>
                  </a:lnTo>
                  <a:lnTo>
                    <a:pt x="17212" y="11675"/>
                  </a:lnTo>
                  <a:lnTo>
                    <a:pt x="17370" y="11470"/>
                  </a:lnTo>
                  <a:lnTo>
                    <a:pt x="17516" y="11284"/>
                  </a:lnTo>
                  <a:lnTo>
                    <a:pt x="17696" y="11135"/>
                  </a:lnTo>
                  <a:lnTo>
                    <a:pt x="17865" y="11042"/>
                  </a:lnTo>
                  <a:lnTo>
                    <a:pt x="18033" y="10930"/>
                  </a:lnTo>
                  <a:lnTo>
                    <a:pt x="18213" y="10893"/>
                  </a:lnTo>
                  <a:lnTo>
                    <a:pt x="18382" y="10893"/>
                  </a:lnTo>
                  <a:lnTo>
                    <a:pt x="18551" y="10967"/>
                  </a:lnTo>
                  <a:lnTo>
                    <a:pt x="18708" y="11042"/>
                  </a:lnTo>
                  <a:lnTo>
                    <a:pt x="18855" y="11172"/>
                  </a:lnTo>
                  <a:lnTo>
                    <a:pt x="19012" y="11358"/>
                  </a:lnTo>
                  <a:lnTo>
                    <a:pt x="19136" y="11600"/>
                  </a:lnTo>
                  <a:lnTo>
                    <a:pt x="19271" y="11861"/>
                  </a:lnTo>
                  <a:lnTo>
                    <a:pt x="19440" y="12028"/>
                  </a:lnTo>
                  <a:lnTo>
                    <a:pt x="19608" y="12177"/>
                  </a:lnTo>
                  <a:lnTo>
                    <a:pt x="19822" y="12289"/>
                  </a:lnTo>
                  <a:lnTo>
                    <a:pt x="20025" y="12289"/>
                  </a:lnTo>
                  <a:lnTo>
                    <a:pt x="20238" y="12289"/>
                  </a:lnTo>
                  <a:lnTo>
                    <a:pt x="20452" y="12215"/>
                  </a:lnTo>
                  <a:lnTo>
                    <a:pt x="20643" y="12103"/>
                  </a:lnTo>
                  <a:lnTo>
                    <a:pt x="20846" y="11973"/>
                  </a:lnTo>
                  <a:lnTo>
                    <a:pt x="21037" y="11786"/>
                  </a:lnTo>
                  <a:lnTo>
                    <a:pt x="21206" y="11563"/>
                  </a:lnTo>
                  <a:lnTo>
                    <a:pt x="21363" y="11321"/>
                  </a:lnTo>
                  <a:lnTo>
                    <a:pt x="21465" y="11079"/>
                  </a:lnTo>
                  <a:lnTo>
                    <a:pt x="21577" y="10744"/>
                  </a:lnTo>
                  <a:lnTo>
                    <a:pt x="21622" y="10427"/>
                  </a:lnTo>
                  <a:lnTo>
                    <a:pt x="21645" y="10111"/>
                  </a:lnTo>
                  <a:lnTo>
                    <a:pt x="21622" y="9608"/>
                  </a:lnTo>
                  <a:lnTo>
                    <a:pt x="21577" y="9142"/>
                  </a:lnTo>
                  <a:lnTo>
                    <a:pt x="21465" y="8751"/>
                  </a:lnTo>
                  <a:lnTo>
                    <a:pt x="21363" y="8397"/>
                  </a:lnTo>
                  <a:lnTo>
                    <a:pt x="21206" y="8062"/>
                  </a:lnTo>
                  <a:lnTo>
                    <a:pt x="21037" y="7820"/>
                  </a:lnTo>
                  <a:lnTo>
                    <a:pt x="20846" y="7597"/>
                  </a:lnTo>
                  <a:lnTo>
                    <a:pt x="20643" y="7429"/>
                  </a:lnTo>
                  <a:lnTo>
                    <a:pt x="20452" y="7317"/>
                  </a:lnTo>
                  <a:lnTo>
                    <a:pt x="20238" y="7206"/>
                  </a:lnTo>
                  <a:lnTo>
                    <a:pt x="20025" y="7168"/>
                  </a:lnTo>
                  <a:lnTo>
                    <a:pt x="19822" y="7206"/>
                  </a:lnTo>
                  <a:lnTo>
                    <a:pt x="19608" y="7243"/>
                  </a:lnTo>
                  <a:lnTo>
                    <a:pt x="19440" y="7355"/>
                  </a:lnTo>
                  <a:lnTo>
                    <a:pt x="19271" y="7504"/>
                  </a:lnTo>
                  <a:lnTo>
                    <a:pt x="19136" y="7708"/>
                  </a:lnTo>
                  <a:lnTo>
                    <a:pt x="19012" y="7895"/>
                  </a:lnTo>
                  <a:lnTo>
                    <a:pt x="18832" y="8025"/>
                  </a:lnTo>
                  <a:lnTo>
                    <a:pt x="18663" y="8174"/>
                  </a:lnTo>
                  <a:lnTo>
                    <a:pt x="18472" y="8248"/>
                  </a:lnTo>
                  <a:lnTo>
                    <a:pt x="18270" y="8286"/>
                  </a:lnTo>
                  <a:lnTo>
                    <a:pt x="18078" y="8323"/>
                  </a:lnTo>
                  <a:lnTo>
                    <a:pt x="17887" y="8323"/>
                  </a:lnTo>
                  <a:lnTo>
                    <a:pt x="17696" y="8248"/>
                  </a:lnTo>
                  <a:lnTo>
                    <a:pt x="17493" y="8174"/>
                  </a:lnTo>
                  <a:lnTo>
                    <a:pt x="17302" y="8062"/>
                  </a:lnTo>
                  <a:lnTo>
                    <a:pt x="17133" y="7969"/>
                  </a:lnTo>
                  <a:lnTo>
                    <a:pt x="16976" y="7783"/>
                  </a:lnTo>
                  <a:lnTo>
                    <a:pt x="16852" y="7597"/>
                  </a:lnTo>
                  <a:lnTo>
                    <a:pt x="16740" y="7429"/>
                  </a:lnTo>
                  <a:lnTo>
                    <a:pt x="16672" y="7168"/>
                  </a:lnTo>
                  <a:lnTo>
                    <a:pt x="16638" y="6926"/>
                  </a:lnTo>
                  <a:lnTo>
                    <a:pt x="16616" y="6498"/>
                  </a:lnTo>
                  <a:lnTo>
                    <a:pt x="16616" y="5772"/>
                  </a:lnTo>
                  <a:lnTo>
                    <a:pt x="16650" y="4915"/>
                  </a:lnTo>
                  <a:lnTo>
                    <a:pt x="16695" y="3928"/>
                  </a:lnTo>
                  <a:lnTo>
                    <a:pt x="16762" y="2960"/>
                  </a:lnTo>
                  <a:lnTo>
                    <a:pt x="16830" y="1992"/>
                  </a:lnTo>
                  <a:lnTo>
                    <a:pt x="16908" y="1173"/>
                  </a:lnTo>
                  <a:lnTo>
                    <a:pt x="16976" y="521"/>
                  </a:lnTo>
                  <a:lnTo>
                    <a:pt x="16953" y="521"/>
                  </a:lnTo>
                  <a:lnTo>
                    <a:pt x="16931" y="521"/>
                  </a:lnTo>
                  <a:lnTo>
                    <a:pt x="16267" y="484"/>
                  </a:lnTo>
                  <a:lnTo>
                    <a:pt x="15637" y="428"/>
                  </a:lnTo>
                  <a:lnTo>
                    <a:pt x="15063" y="353"/>
                  </a:lnTo>
                  <a:lnTo>
                    <a:pt x="14523" y="279"/>
                  </a:lnTo>
                  <a:lnTo>
                    <a:pt x="14040" y="167"/>
                  </a:lnTo>
                  <a:lnTo>
                    <a:pt x="13635" y="93"/>
                  </a:lnTo>
                  <a:lnTo>
                    <a:pt x="13331" y="18"/>
                  </a:lnTo>
                  <a:lnTo>
                    <a:pt x="13117" y="18"/>
                  </a:lnTo>
                  <a:lnTo>
                    <a:pt x="12982" y="18"/>
                  </a:lnTo>
                  <a:lnTo>
                    <a:pt x="12858" y="130"/>
                  </a:lnTo>
                  <a:lnTo>
                    <a:pt x="12723" y="279"/>
                  </a:lnTo>
                  <a:lnTo>
                    <a:pt x="12622" y="446"/>
                  </a:lnTo>
                  <a:lnTo>
                    <a:pt x="12510" y="670"/>
                  </a:lnTo>
                  <a:lnTo>
                    <a:pt x="12419" y="912"/>
                  </a:lnTo>
                  <a:lnTo>
                    <a:pt x="12363" y="1210"/>
                  </a:lnTo>
                  <a:lnTo>
                    <a:pt x="12318" y="1526"/>
                  </a:lnTo>
                  <a:lnTo>
                    <a:pt x="12273" y="1843"/>
                  </a:lnTo>
                  <a:lnTo>
                    <a:pt x="12251" y="2215"/>
                  </a:lnTo>
                  <a:lnTo>
                    <a:pt x="12273" y="2532"/>
                  </a:lnTo>
                  <a:lnTo>
                    <a:pt x="12318" y="2886"/>
                  </a:lnTo>
                  <a:lnTo>
                    <a:pt x="12386" y="3240"/>
                  </a:lnTo>
                  <a:lnTo>
                    <a:pt x="12464" y="3556"/>
                  </a:lnTo>
                  <a:lnTo>
                    <a:pt x="12577" y="3891"/>
                  </a:lnTo>
                  <a:lnTo>
                    <a:pt x="12746" y="4171"/>
                  </a:lnTo>
                  <a:lnTo>
                    <a:pt x="12926" y="4487"/>
                  </a:lnTo>
                  <a:lnTo>
                    <a:pt x="13050" y="4860"/>
                  </a:lnTo>
                  <a:lnTo>
                    <a:pt x="13162" y="5251"/>
                  </a:lnTo>
                  <a:lnTo>
                    <a:pt x="13218" y="5604"/>
                  </a:lnTo>
                  <a:lnTo>
                    <a:pt x="13263" y="5995"/>
                  </a:lnTo>
                  <a:lnTo>
                    <a:pt x="13241" y="6386"/>
                  </a:lnTo>
                  <a:lnTo>
                    <a:pt x="13218" y="6740"/>
                  </a:lnTo>
                  <a:lnTo>
                    <a:pt x="13139" y="7094"/>
                  </a:lnTo>
                  <a:lnTo>
                    <a:pt x="13050" y="7429"/>
                  </a:lnTo>
                  <a:lnTo>
                    <a:pt x="12903" y="7746"/>
                  </a:lnTo>
                  <a:lnTo>
                    <a:pt x="12723" y="8025"/>
                  </a:lnTo>
                  <a:lnTo>
                    <a:pt x="12532" y="8286"/>
                  </a:lnTo>
                  <a:lnTo>
                    <a:pt x="12318" y="8491"/>
                  </a:lnTo>
                  <a:lnTo>
                    <a:pt x="12060" y="8677"/>
                  </a:lnTo>
                  <a:lnTo>
                    <a:pt x="11756" y="8788"/>
                  </a:lnTo>
                  <a:lnTo>
                    <a:pt x="11452" y="8826"/>
                  </a:lnTo>
                  <a:lnTo>
                    <a:pt x="11283" y="8826"/>
                  </a:lnTo>
                  <a:lnTo>
                    <a:pt x="11126" y="8826"/>
                  </a:lnTo>
                  <a:lnTo>
                    <a:pt x="11002" y="8788"/>
                  </a:lnTo>
                  <a:lnTo>
                    <a:pt x="10845" y="8714"/>
                  </a:lnTo>
                  <a:lnTo>
                    <a:pt x="10721" y="8640"/>
                  </a:lnTo>
                  <a:lnTo>
                    <a:pt x="10608" y="8565"/>
                  </a:lnTo>
                  <a:lnTo>
                    <a:pt x="10485" y="8453"/>
                  </a:lnTo>
                  <a:lnTo>
                    <a:pt x="10372" y="8323"/>
                  </a:lnTo>
                  <a:lnTo>
                    <a:pt x="10181" y="8062"/>
                  </a:lnTo>
                  <a:lnTo>
                    <a:pt x="10035" y="7746"/>
                  </a:lnTo>
                  <a:lnTo>
                    <a:pt x="9900" y="7392"/>
                  </a:lnTo>
                  <a:lnTo>
                    <a:pt x="9787" y="7001"/>
                  </a:lnTo>
                  <a:lnTo>
                    <a:pt x="9731" y="6610"/>
                  </a:lnTo>
                  <a:lnTo>
                    <a:pt x="9686" y="6219"/>
                  </a:lnTo>
                  <a:lnTo>
                    <a:pt x="9663" y="5772"/>
                  </a:lnTo>
                  <a:lnTo>
                    <a:pt x="9686" y="5381"/>
                  </a:lnTo>
                  <a:lnTo>
                    <a:pt x="9753" y="4990"/>
                  </a:lnTo>
                  <a:lnTo>
                    <a:pt x="9832" y="4636"/>
                  </a:lnTo>
                  <a:lnTo>
                    <a:pt x="9945" y="4320"/>
                  </a:lnTo>
                  <a:lnTo>
                    <a:pt x="10068" y="4022"/>
                  </a:lnTo>
                  <a:lnTo>
                    <a:pt x="10203" y="3817"/>
                  </a:lnTo>
                  <a:lnTo>
                    <a:pt x="10316" y="3593"/>
                  </a:lnTo>
                  <a:lnTo>
                    <a:pt x="10395" y="3351"/>
                  </a:lnTo>
                  <a:lnTo>
                    <a:pt x="10462" y="3109"/>
                  </a:lnTo>
                  <a:lnTo>
                    <a:pt x="10507" y="2848"/>
                  </a:lnTo>
                  <a:lnTo>
                    <a:pt x="10530" y="2606"/>
                  </a:lnTo>
                  <a:lnTo>
                    <a:pt x="10507" y="2346"/>
                  </a:lnTo>
                  <a:lnTo>
                    <a:pt x="10462" y="2141"/>
                  </a:lnTo>
                  <a:lnTo>
                    <a:pt x="10395" y="1880"/>
                  </a:lnTo>
                  <a:lnTo>
                    <a:pt x="10293" y="1638"/>
                  </a:lnTo>
                  <a:lnTo>
                    <a:pt x="10158" y="1415"/>
                  </a:lnTo>
                  <a:lnTo>
                    <a:pt x="9967" y="1210"/>
                  </a:lnTo>
                  <a:lnTo>
                    <a:pt x="9753" y="986"/>
                  </a:lnTo>
                  <a:lnTo>
                    <a:pt x="9495" y="819"/>
                  </a:lnTo>
                  <a:lnTo>
                    <a:pt x="9191" y="670"/>
                  </a:lnTo>
                  <a:lnTo>
                    <a:pt x="8842" y="521"/>
                  </a:lnTo>
                  <a:lnTo>
                    <a:pt x="8471" y="446"/>
                  </a:lnTo>
                  <a:lnTo>
                    <a:pt x="7998" y="428"/>
                  </a:lnTo>
                  <a:lnTo>
                    <a:pt x="7413" y="428"/>
                  </a:lnTo>
                  <a:lnTo>
                    <a:pt x="6817" y="446"/>
                  </a:lnTo>
                  <a:lnTo>
                    <a:pt x="6187" y="521"/>
                  </a:lnTo>
                  <a:lnTo>
                    <a:pt x="5602" y="633"/>
                  </a:lnTo>
                  <a:lnTo>
                    <a:pt x="5107" y="744"/>
                  </a:lnTo>
                  <a:lnTo>
                    <a:pt x="4725" y="856"/>
                  </a:lnTo>
                  <a:lnTo>
                    <a:pt x="4848" y="1564"/>
                  </a:lnTo>
                  <a:lnTo>
                    <a:pt x="5028" y="2495"/>
                  </a:lnTo>
                  <a:lnTo>
                    <a:pt x="5175" y="3556"/>
                  </a:lnTo>
                  <a:lnTo>
                    <a:pt x="5298" y="4673"/>
                  </a:lnTo>
                  <a:lnTo>
                    <a:pt x="5343" y="5213"/>
                  </a:lnTo>
                  <a:lnTo>
                    <a:pt x="5388" y="5753"/>
                  </a:lnTo>
                  <a:lnTo>
                    <a:pt x="5411" y="6275"/>
                  </a:lnTo>
                  <a:lnTo>
                    <a:pt x="5411" y="6740"/>
                  </a:lnTo>
                  <a:lnTo>
                    <a:pt x="5366" y="7168"/>
                  </a:lnTo>
                  <a:lnTo>
                    <a:pt x="5321" y="7541"/>
                  </a:lnTo>
                  <a:lnTo>
                    <a:pt x="5287" y="7708"/>
                  </a:lnTo>
                  <a:lnTo>
                    <a:pt x="5242" y="7857"/>
                  </a:lnTo>
                  <a:lnTo>
                    <a:pt x="5197" y="7969"/>
                  </a:lnTo>
                  <a:lnTo>
                    <a:pt x="5130" y="8062"/>
                  </a:lnTo>
                  <a:lnTo>
                    <a:pt x="5006" y="8248"/>
                  </a:lnTo>
                  <a:lnTo>
                    <a:pt x="4848" y="8397"/>
                  </a:lnTo>
                  <a:lnTo>
                    <a:pt x="4725" y="8528"/>
                  </a:lnTo>
                  <a:lnTo>
                    <a:pt x="4567" y="8640"/>
                  </a:lnTo>
                  <a:lnTo>
                    <a:pt x="4421" y="8714"/>
                  </a:lnTo>
                  <a:lnTo>
                    <a:pt x="4263" y="8751"/>
                  </a:lnTo>
                  <a:lnTo>
                    <a:pt x="4095" y="8788"/>
                  </a:lnTo>
                  <a:lnTo>
                    <a:pt x="3948" y="8788"/>
                  </a:lnTo>
                  <a:lnTo>
                    <a:pt x="3791" y="8751"/>
                  </a:lnTo>
                  <a:lnTo>
                    <a:pt x="3667" y="8714"/>
                  </a:lnTo>
                  <a:lnTo>
                    <a:pt x="3510" y="8677"/>
                  </a:lnTo>
                  <a:lnTo>
                    <a:pt x="3386" y="8602"/>
                  </a:lnTo>
                  <a:lnTo>
                    <a:pt x="3251" y="8491"/>
                  </a:lnTo>
                  <a:lnTo>
                    <a:pt x="3127" y="8360"/>
                  </a:lnTo>
                  <a:lnTo>
                    <a:pt x="3015" y="8248"/>
                  </a:lnTo>
                  <a:lnTo>
                    <a:pt x="2925" y="8062"/>
                  </a:lnTo>
                  <a:lnTo>
                    <a:pt x="2778" y="7857"/>
                  </a:lnTo>
                  <a:lnTo>
                    <a:pt x="2610" y="7671"/>
                  </a:lnTo>
                  <a:lnTo>
                    <a:pt x="2407" y="7541"/>
                  </a:lnTo>
                  <a:lnTo>
                    <a:pt x="2171" y="7466"/>
                  </a:lnTo>
                  <a:lnTo>
                    <a:pt x="1957" y="7429"/>
                  </a:lnTo>
                  <a:lnTo>
                    <a:pt x="1698" y="7429"/>
                  </a:lnTo>
                  <a:lnTo>
                    <a:pt x="1462" y="7466"/>
                  </a:lnTo>
                  <a:lnTo>
                    <a:pt x="1226" y="7559"/>
                  </a:lnTo>
                  <a:lnTo>
                    <a:pt x="989" y="7708"/>
                  </a:lnTo>
                  <a:lnTo>
                    <a:pt x="776" y="7932"/>
                  </a:lnTo>
                  <a:lnTo>
                    <a:pt x="551" y="8211"/>
                  </a:lnTo>
                  <a:lnTo>
                    <a:pt x="382" y="8528"/>
                  </a:lnTo>
                  <a:lnTo>
                    <a:pt x="315" y="8714"/>
                  </a:lnTo>
                  <a:lnTo>
                    <a:pt x="236" y="8919"/>
                  </a:lnTo>
                  <a:lnTo>
                    <a:pt x="191" y="9142"/>
                  </a:lnTo>
                  <a:lnTo>
                    <a:pt x="123" y="9347"/>
                  </a:lnTo>
                  <a:lnTo>
                    <a:pt x="78" y="9608"/>
                  </a:lnTo>
                  <a:lnTo>
                    <a:pt x="56" y="9887"/>
                  </a:lnTo>
                  <a:lnTo>
                    <a:pt x="33" y="10185"/>
                  </a:lnTo>
                  <a:lnTo>
                    <a:pt x="33" y="10464"/>
                  </a:lnTo>
                  <a:lnTo>
                    <a:pt x="33" y="10706"/>
                  </a:lnTo>
                  <a:lnTo>
                    <a:pt x="56" y="10967"/>
                  </a:lnTo>
                  <a:lnTo>
                    <a:pt x="78" y="11172"/>
                  </a:lnTo>
                  <a:lnTo>
                    <a:pt x="123" y="11395"/>
                  </a:lnTo>
                  <a:lnTo>
                    <a:pt x="168" y="11600"/>
                  </a:lnTo>
                  <a:lnTo>
                    <a:pt x="236" y="11786"/>
                  </a:lnTo>
                  <a:lnTo>
                    <a:pt x="292" y="11973"/>
                  </a:lnTo>
                  <a:lnTo>
                    <a:pt x="382" y="12140"/>
                  </a:lnTo>
                  <a:lnTo>
                    <a:pt x="540" y="12419"/>
                  </a:lnTo>
                  <a:lnTo>
                    <a:pt x="731" y="12680"/>
                  </a:lnTo>
                  <a:lnTo>
                    <a:pt x="944" y="12866"/>
                  </a:lnTo>
                  <a:lnTo>
                    <a:pt x="1158" y="12997"/>
                  </a:lnTo>
                  <a:lnTo>
                    <a:pt x="1395" y="13108"/>
                  </a:lnTo>
                  <a:lnTo>
                    <a:pt x="1608" y="13183"/>
                  </a:lnTo>
                  <a:lnTo>
                    <a:pt x="1856" y="13183"/>
                  </a:lnTo>
                  <a:lnTo>
                    <a:pt x="2070" y="13146"/>
                  </a:lnTo>
                  <a:lnTo>
                    <a:pt x="2261" y="13071"/>
                  </a:lnTo>
                  <a:lnTo>
                    <a:pt x="2430" y="12960"/>
                  </a:lnTo>
                  <a:lnTo>
                    <a:pt x="2587" y="12792"/>
                  </a:lnTo>
                  <a:lnTo>
                    <a:pt x="2688" y="12606"/>
                  </a:lnTo>
                  <a:lnTo>
                    <a:pt x="2801" y="12419"/>
                  </a:lnTo>
                  <a:lnTo>
                    <a:pt x="2925" y="12289"/>
                  </a:lnTo>
                  <a:lnTo>
                    <a:pt x="3082" y="12177"/>
                  </a:lnTo>
                  <a:lnTo>
                    <a:pt x="3228" y="12103"/>
                  </a:lnTo>
                  <a:lnTo>
                    <a:pt x="3408" y="12103"/>
                  </a:lnTo>
                  <a:lnTo>
                    <a:pt x="3577" y="12103"/>
                  </a:lnTo>
                  <a:lnTo>
                    <a:pt x="3723" y="12177"/>
                  </a:lnTo>
                  <a:lnTo>
                    <a:pt x="3903" y="12252"/>
                  </a:lnTo>
                  <a:lnTo>
                    <a:pt x="4072" y="12364"/>
                  </a:lnTo>
                  <a:lnTo>
                    <a:pt x="4230" y="12494"/>
                  </a:lnTo>
                  <a:lnTo>
                    <a:pt x="4353" y="12643"/>
                  </a:lnTo>
                  <a:lnTo>
                    <a:pt x="4488" y="12829"/>
                  </a:lnTo>
                  <a:lnTo>
                    <a:pt x="4567" y="13034"/>
                  </a:lnTo>
                  <a:lnTo>
                    <a:pt x="4657" y="13257"/>
                  </a:lnTo>
                  <a:lnTo>
                    <a:pt x="4702" y="13462"/>
                  </a:lnTo>
                  <a:lnTo>
                    <a:pt x="4725" y="13686"/>
                  </a:lnTo>
                  <a:lnTo>
                    <a:pt x="4702" y="14282"/>
                  </a:lnTo>
                  <a:lnTo>
                    <a:pt x="4657" y="15045"/>
                  </a:lnTo>
                  <a:lnTo>
                    <a:pt x="4612" y="15976"/>
                  </a:lnTo>
                  <a:lnTo>
                    <a:pt x="4590" y="16926"/>
                  </a:lnTo>
                  <a:lnTo>
                    <a:pt x="4567" y="17968"/>
                  </a:lnTo>
                  <a:lnTo>
                    <a:pt x="4567" y="19011"/>
                  </a:lnTo>
                  <a:lnTo>
                    <a:pt x="4590" y="19514"/>
                  </a:lnTo>
                  <a:lnTo>
                    <a:pt x="4612" y="19980"/>
                  </a:lnTo>
                  <a:lnTo>
                    <a:pt x="4657" y="20426"/>
                  </a:lnTo>
                  <a:lnTo>
                    <a:pt x="4725" y="20836"/>
                  </a:lnTo>
                  <a:lnTo>
                    <a:pt x="4848" y="20929"/>
                  </a:lnTo>
                  <a:lnTo>
                    <a:pt x="5040" y="21004"/>
                  </a:lnTo>
                  <a:lnTo>
                    <a:pt x="5265" y="21078"/>
                  </a:lnTo>
                  <a:lnTo>
                    <a:pt x="5478" y="21115"/>
                  </a:lnTo>
                  <a:lnTo>
                    <a:pt x="6041" y="21115"/>
                  </a:lnTo>
                  <a:lnTo>
                    <a:pt x="6637" y="21078"/>
                  </a:lnTo>
                  <a:lnTo>
                    <a:pt x="7312" y="21004"/>
                  </a:lnTo>
                  <a:lnTo>
                    <a:pt x="7998" y="20929"/>
                  </a:lnTo>
                  <a:lnTo>
                    <a:pt x="8696" y="20855"/>
                  </a:lnTo>
                  <a:lnTo>
                    <a:pt x="9360" y="20836"/>
                  </a:lnTo>
                  <a:close/>
                </a:path>
              </a:pathLst>
            </a:custGeom>
            <a:solidFill>
              <a:schemeClr val="accent3"/>
            </a:solidFill>
            <a:ln w="28575">
              <a:solidFill>
                <a:srgbClr val="FFFFFF"/>
              </a:solidFill>
              <a:miter lim="800000"/>
              <a:headEnd/>
              <a:tailEnd/>
            </a:ln>
          </p:spPr>
          <p:txBody>
            <a:bodyPr lIns="45720" rIns="4572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 name="Puzzle3">
              <a:extLst>
                <a:ext uri="{FF2B5EF4-FFF2-40B4-BE49-F238E27FC236}">
                  <a16:creationId xmlns:a16="http://schemas.microsoft.com/office/drawing/2014/main" id="{1F023CFF-2384-4A0F-9AE0-0DFE070B8B73}"/>
                </a:ext>
              </a:extLst>
            </p:cNvPr>
            <p:cNvSpPr>
              <a:spLocks noEditPoints="1" noChangeArrowheads="1"/>
            </p:cNvSpPr>
            <p:nvPr/>
          </p:nvSpPr>
          <p:spPr bwMode="auto">
            <a:xfrm>
              <a:off x="6044711" y="1336070"/>
              <a:ext cx="1547446" cy="2308225"/>
            </a:xfrm>
            <a:custGeom>
              <a:avLst/>
              <a:gdLst>
                <a:gd name="T0" fmla="*/ 806457 w 21600"/>
                <a:gd name="T1" fmla="*/ 1689065 h 21600"/>
                <a:gd name="T2" fmla="*/ 1594986 w 21600"/>
                <a:gd name="T3" fmla="*/ 2253512 h 21600"/>
                <a:gd name="T4" fmla="*/ 1022914 w 21600"/>
                <a:gd name="T5" fmla="*/ 1474806 h 21600"/>
                <a:gd name="T6" fmla="*/ 1594986 w 21600"/>
                <a:gd name="T7" fmla="*/ 750707 h 21600"/>
                <a:gd name="T8" fmla="*/ 814917 w 21600"/>
                <a:gd name="T9" fmla="*/ 5557 h 21600"/>
                <a:gd name="T10" fmla="*/ 53707 w 21600"/>
                <a:gd name="T11" fmla="*/ 726877 h 21600"/>
                <a:gd name="T12" fmla="*/ 625856 w 21600"/>
                <a:gd name="T13" fmla="*/ 1445419 h 21600"/>
                <a:gd name="T14" fmla="*/ 53707 w 21600"/>
                <a:gd name="T15" fmla="*/ 2253512 h 21600"/>
                <a:gd name="T16" fmla="*/ 0 60000 65536"/>
                <a:gd name="T17" fmla="*/ 0 60000 65536"/>
                <a:gd name="T18" fmla="*/ 0 60000 65536"/>
                <a:gd name="T19" fmla="*/ 0 60000 65536"/>
                <a:gd name="T20" fmla="*/ 0 60000 65536"/>
                <a:gd name="T21" fmla="*/ 0 60000 65536"/>
                <a:gd name="T22" fmla="*/ 0 60000 65536"/>
                <a:gd name="T23" fmla="*/ 0 60000 65536"/>
                <a:gd name="T24" fmla="*/ 2273 w 21600"/>
                <a:gd name="T25" fmla="*/ 7719 h 21600"/>
                <a:gd name="T26" fmla="*/ 19149 w 21600"/>
                <a:gd name="T27" fmla="*/ 202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solidFill>
              <a:schemeClr val="accent2"/>
            </a:solidFill>
            <a:ln w="28575">
              <a:solidFill>
                <a:srgbClr val="FFFFFF"/>
              </a:solidFill>
              <a:miter lim="800000"/>
              <a:headEnd/>
              <a:tailEnd/>
            </a:ln>
          </p:spPr>
          <p:txBody>
            <a:bodyPr lIns="45720" rIns="4572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altLang="zh-SG" sz="1200" b="1" i="0" u="none" strike="noStrike" kern="0" cap="none" spc="0" normalizeH="0" baseline="0" noProof="0" dirty="0">
                <a:ln>
                  <a:noFill/>
                </a:ln>
                <a:solidFill>
                  <a:srgbClr val="FFFFFF"/>
                </a:solidFill>
                <a:effectLst/>
                <a:uLnTx/>
                <a:uFillTx/>
                <a:latin typeface="Arial"/>
                <a:ea typeface="SimSun" pitchFamily="2" charset="-122"/>
                <a:cs typeface="+mn-cs"/>
              </a:endParaRPr>
            </a:p>
          </p:txBody>
        </p:sp>
        <p:sp>
          <p:nvSpPr>
            <p:cNvPr id="8" name="Puzzle4">
              <a:extLst>
                <a:ext uri="{FF2B5EF4-FFF2-40B4-BE49-F238E27FC236}">
                  <a16:creationId xmlns:a16="http://schemas.microsoft.com/office/drawing/2014/main" id="{BBFC73DA-4701-4142-B50F-7CF43F85D061}"/>
                </a:ext>
              </a:extLst>
            </p:cNvPr>
            <p:cNvSpPr>
              <a:spLocks noEditPoints="1" noChangeArrowheads="1"/>
            </p:cNvSpPr>
            <p:nvPr/>
          </p:nvSpPr>
          <p:spPr bwMode="auto">
            <a:xfrm>
              <a:off x="4637942" y="2991833"/>
              <a:ext cx="1490296" cy="2687637"/>
            </a:xfrm>
            <a:custGeom>
              <a:avLst/>
              <a:gdLst>
                <a:gd name="T0" fmla="*/ 620905 w 21600"/>
                <a:gd name="T1" fmla="*/ 1442490 h 21600"/>
                <a:gd name="T2" fmla="*/ 33859 w 21600"/>
                <a:gd name="T3" fmla="*/ 2107556 h 21600"/>
                <a:gd name="T4" fmla="*/ 859565 w 21600"/>
                <a:gd name="T5" fmla="*/ 2687637 h 21600"/>
                <a:gd name="T6" fmla="*/ 1563661 w 21600"/>
                <a:gd name="T7" fmla="*/ 2084288 h 21600"/>
                <a:gd name="T8" fmla="*/ 1044334 w 21600"/>
                <a:gd name="T9" fmla="*/ 1354768 h 21600"/>
                <a:gd name="T10" fmla="*/ 1572107 w 21600"/>
                <a:gd name="T11" fmla="*/ 586801 h 21600"/>
                <a:gd name="T12" fmla="*/ 829816 w 21600"/>
                <a:gd name="T13" fmla="*/ 1369 h 21600"/>
                <a:gd name="T14" fmla="*/ 33859 w 21600"/>
                <a:gd name="T15" fmla="*/ 586801 h 21600"/>
                <a:gd name="T16" fmla="*/ 0 60000 65536"/>
                <a:gd name="T17" fmla="*/ 0 60000 65536"/>
                <a:gd name="T18" fmla="*/ 0 60000 65536"/>
                <a:gd name="T19" fmla="*/ 0 60000 65536"/>
                <a:gd name="T20" fmla="*/ 0 60000 65536"/>
                <a:gd name="T21" fmla="*/ 0 60000 65536"/>
                <a:gd name="T22" fmla="*/ 0 60000 65536"/>
                <a:gd name="T23" fmla="*/ 0 60000 65536"/>
                <a:gd name="T24" fmla="*/ 2076 w 21600"/>
                <a:gd name="T25" fmla="*/ 5664 h 21600"/>
                <a:gd name="T26" fmla="*/ 20203 w 21600"/>
                <a:gd name="T27" fmla="*/ 1598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3813" y="10590"/>
                  </a:moveTo>
                  <a:lnTo>
                    <a:pt x="3927" y="10513"/>
                  </a:lnTo>
                  <a:lnTo>
                    <a:pt x="4078" y="10425"/>
                  </a:lnTo>
                  <a:lnTo>
                    <a:pt x="4210" y="10359"/>
                  </a:lnTo>
                  <a:lnTo>
                    <a:pt x="4361" y="10315"/>
                  </a:lnTo>
                  <a:lnTo>
                    <a:pt x="4682" y="10237"/>
                  </a:lnTo>
                  <a:lnTo>
                    <a:pt x="5041" y="10193"/>
                  </a:lnTo>
                  <a:lnTo>
                    <a:pt x="5456" y="10171"/>
                  </a:lnTo>
                  <a:lnTo>
                    <a:pt x="5853" y="10193"/>
                  </a:lnTo>
                  <a:lnTo>
                    <a:pt x="6249" y="10260"/>
                  </a:lnTo>
                  <a:lnTo>
                    <a:pt x="6646" y="10337"/>
                  </a:lnTo>
                  <a:lnTo>
                    <a:pt x="7004" y="10469"/>
                  </a:lnTo>
                  <a:lnTo>
                    <a:pt x="7363" y="10612"/>
                  </a:lnTo>
                  <a:lnTo>
                    <a:pt x="7665" y="10788"/>
                  </a:lnTo>
                  <a:lnTo>
                    <a:pt x="7911" y="10998"/>
                  </a:lnTo>
                  <a:lnTo>
                    <a:pt x="8024" y="11097"/>
                  </a:lnTo>
                  <a:lnTo>
                    <a:pt x="8137" y="11207"/>
                  </a:lnTo>
                  <a:lnTo>
                    <a:pt x="8194" y="11340"/>
                  </a:lnTo>
                  <a:lnTo>
                    <a:pt x="8269" y="11461"/>
                  </a:lnTo>
                  <a:lnTo>
                    <a:pt x="8307" y="11593"/>
                  </a:lnTo>
                  <a:lnTo>
                    <a:pt x="8307" y="11714"/>
                  </a:lnTo>
                  <a:lnTo>
                    <a:pt x="8307" y="11868"/>
                  </a:lnTo>
                  <a:lnTo>
                    <a:pt x="8307" y="12012"/>
                  </a:lnTo>
                  <a:lnTo>
                    <a:pt x="8194" y="12265"/>
                  </a:lnTo>
                  <a:lnTo>
                    <a:pt x="8062" y="12519"/>
                  </a:lnTo>
                  <a:lnTo>
                    <a:pt x="7873" y="12706"/>
                  </a:lnTo>
                  <a:lnTo>
                    <a:pt x="7627" y="12904"/>
                  </a:lnTo>
                  <a:lnTo>
                    <a:pt x="7363" y="13048"/>
                  </a:lnTo>
                  <a:lnTo>
                    <a:pt x="7080" y="13180"/>
                  </a:lnTo>
                  <a:lnTo>
                    <a:pt x="6759" y="13257"/>
                  </a:lnTo>
                  <a:lnTo>
                    <a:pt x="6419" y="13345"/>
                  </a:lnTo>
                  <a:lnTo>
                    <a:pt x="6098" y="13389"/>
                  </a:lnTo>
                  <a:lnTo>
                    <a:pt x="5739" y="13389"/>
                  </a:lnTo>
                  <a:lnTo>
                    <a:pt x="5418" y="13389"/>
                  </a:lnTo>
                  <a:lnTo>
                    <a:pt x="5079" y="13345"/>
                  </a:lnTo>
                  <a:lnTo>
                    <a:pt x="4758" y="13301"/>
                  </a:lnTo>
                  <a:lnTo>
                    <a:pt x="4474" y="13213"/>
                  </a:lnTo>
                  <a:lnTo>
                    <a:pt x="4172" y="13114"/>
                  </a:lnTo>
                  <a:lnTo>
                    <a:pt x="3965" y="12982"/>
                  </a:lnTo>
                  <a:lnTo>
                    <a:pt x="3738" y="12838"/>
                  </a:lnTo>
                  <a:lnTo>
                    <a:pt x="3493" y="12706"/>
                  </a:lnTo>
                  <a:lnTo>
                    <a:pt x="3228" y="12607"/>
                  </a:lnTo>
                  <a:lnTo>
                    <a:pt x="2945" y="12519"/>
                  </a:lnTo>
                  <a:lnTo>
                    <a:pt x="2700" y="12431"/>
                  </a:lnTo>
                  <a:lnTo>
                    <a:pt x="2397" y="12375"/>
                  </a:lnTo>
                  <a:lnTo>
                    <a:pt x="2152" y="12331"/>
                  </a:lnTo>
                  <a:lnTo>
                    <a:pt x="1888" y="12309"/>
                  </a:lnTo>
                  <a:lnTo>
                    <a:pt x="1642" y="12309"/>
                  </a:lnTo>
                  <a:lnTo>
                    <a:pt x="1397" y="12331"/>
                  </a:lnTo>
                  <a:lnTo>
                    <a:pt x="1170" y="12397"/>
                  </a:lnTo>
                  <a:lnTo>
                    <a:pt x="962" y="12453"/>
                  </a:lnTo>
                  <a:lnTo>
                    <a:pt x="774" y="12563"/>
                  </a:lnTo>
                  <a:lnTo>
                    <a:pt x="623" y="12684"/>
                  </a:lnTo>
                  <a:lnTo>
                    <a:pt x="528" y="12838"/>
                  </a:lnTo>
                  <a:lnTo>
                    <a:pt x="453" y="13026"/>
                  </a:lnTo>
                  <a:lnTo>
                    <a:pt x="339" y="13477"/>
                  </a:lnTo>
                  <a:lnTo>
                    <a:pt x="226" y="13984"/>
                  </a:lnTo>
                  <a:lnTo>
                    <a:pt x="151" y="14535"/>
                  </a:lnTo>
                  <a:lnTo>
                    <a:pt x="113" y="15075"/>
                  </a:lnTo>
                  <a:lnTo>
                    <a:pt x="113" y="15626"/>
                  </a:lnTo>
                  <a:lnTo>
                    <a:pt x="151" y="16133"/>
                  </a:lnTo>
                  <a:lnTo>
                    <a:pt x="188" y="16376"/>
                  </a:lnTo>
                  <a:lnTo>
                    <a:pt x="264" y="16585"/>
                  </a:lnTo>
                  <a:lnTo>
                    <a:pt x="339" y="16773"/>
                  </a:lnTo>
                  <a:lnTo>
                    <a:pt x="453" y="16938"/>
                  </a:lnTo>
                  <a:lnTo>
                    <a:pt x="1095" y="16883"/>
                  </a:lnTo>
                  <a:lnTo>
                    <a:pt x="1963" y="16795"/>
                  </a:lnTo>
                  <a:lnTo>
                    <a:pt x="2945" y="16751"/>
                  </a:lnTo>
                  <a:lnTo>
                    <a:pt x="3965" y="16706"/>
                  </a:lnTo>
                  <a:lnTo>
                    <a:pt x="5022" y="16684"/>
                  </a:lnTo>
                  <a:lnTo>
                    <a:pt x="5947" y="16684"/>
                  </a:lnTo>
                  <a:lnTo>
                    <a:pt x="6759" y="16706"/>
                  </a:lnTo>
                  <a:lnTo>
                    <a:pt x="7363" y="16751"/>
                  </a:lnTo>
                  <a:lnTo>
                    <a:pt x="7948" y="16839"/>
                  </a:lnTo>
                  <a:lnTo>
                    <a:pt x="8458" y="16916"/>
                  </a:lnTo>
                  <a:lnTo>
                    <a:pt x="8893" y="17026"/>
                  </a:lnTo>
                  <a:lnTo>
                    <a:pt x="9289" y="17158"/>
                  </a:lnTo>
                  <a:lnTo>
                    <a:pt x="9572" y="17280"/>
                  </a:lnTo>
                  <a:lnTo>
                    <a:pt x="9799" y="17412"/>
                  </a:lnTo>
                  <a:lnTo>
                    <a:pt x="9969" y="17555"/>
                  </a:lnTo>
                  <a:lnTo>
                    <a:pt x="10120" y="17687"/>
                  </a:lnTo>
                  <a:lnTo>
                    <a:pt x="10158" y="17831"/>
                  </a:lnTo>
                  <a:lnTo>
                    <a:pt x="10195" y="17974"/>
                  </a:lnTo>
                  <a:lnTo>
                    <a:pt x="10158" y="18128"/>
                  </a:lnTo>
                  <a:lnTo>
                    <a:pt x="10082" y="18271"/>
                  </a:lnTo>
                  <a:lnTo>
                    <a:pt x="9969" y="18426"/>
                  </a:lnTo>
                  <a:lnTo>
                    <a:pt x="9837" y="18569"/>
                  </a:lnTo>
                  <a:lnTo>
                    <a:pt x="9648" y="18701"/>
                  </a:lnTo>
                  <a:lnTo>
                    <a:pt x="9440" y="18822"/>
                  </a:lnTo>
                  <a:lnTo>
                    <a:pt x="9213" y="18999"/>
                  </a:lnTo>
                  <a:lnTo>
                    <a:pt x="9044" y="19186"/>
                  </a:lnTo>
                  <a:lnTo>
                    <a:pt x="8893" y="19395"/>
                  </a:lnTo>
                  <a:lnTo>
                    <a:pt x="8817" y="19627"/>
                  </a:lnTo>
                  <a:lnTo>
                    <a:pt x="8779" y="19858"/>
                  </a:lnTo>
                  <a:lnTo>
                    <a:pt x="8779" y="20112"/>
                  </a:lnTo>
                  <a:lnTo>
                    <a:pt x="8855" y="20354"/>
                  </a:lnTo>
                  <a:lnTo>
                    <a:pt x="8968" y="20586"/>
                  </a:lnTo>
                  <a:lnTo>
                    <a:pt x="9138" y="20817"/>
                  </a:lnTo>
                  <a:lnTo>
                    <a:pt x="9365" y="21026"/>
                  </a:lnTo>
                  <a:lnTo>
                    <a:pt x="9610" y="21192"/>
                  </a:lnTo>
                  <a:lnTo>
                    <a:pt x="9950" y="21368"/>
                  </a:lnTo>
                  <a:lnTo>
                    <a:pt x="10120" y="21445"/>
                  </a:lnTo>
                  <a:lnTo>
                    <a:pt x="10346" y="21511"/>
                  </a:lnTo>
                  <a:lnTo>
                    <a:pt x="10516" y="21555"/>
                  </a:lnTo>
                  <a:lnTo>
                    <a:pt x="10743" y="21600"/>
                  </a:lnTo>
                  <a:lnTo>
                    <a:pt x="10988" y="21644"/>
                  </a:lnTo>
                  <a:lnTo>
                    <a:pt x="11215" y="21666"/>
                  </a:lnTo>
                  <a:lnTo>
                    <a:pt x="11498" y="21666"/>
                  </a:lnTo>
                  <a:lnTo>
                    <a:pt x="11762" y="21666"/>
                  </a:lnTo>
                  <a:lnTo>
                    <a:pt x="12253" y="21644"/>
                  </a:lnTo>
                  <a:lnTo>
                    <a:pt x="12763" y="21577"/>
                  </a:lnTo>
                  <a:lnTo>
                    <a:pt x="13197" y="21467"/>
                  </a:lnTo>
                  <a:lnTo>
                    <a:pt x="13556" y="21346"/>
                  </a:lnTo>
                  <a:lnTo>
                    <a:pt x="13896" y="21192"/>
                  </a:lnTo>
                  <a:lnTo>
                    <a:pt x="14179" y="21026"/>
                  </a:lnTo>
                  <a:lnTo>
                    <a:pt x="14444" y="20839"/>
                  </a:lnTo>
                  <a:lnTo>
                    <a:pt x="14576" y="20641"/>
                  </a:lnTo>
                  <a:lnTo>
                    <a:pt x="14727" y="20431"/>
                  </a:lnTo>
                  <a:lnTo>
                    <a:pt x="14765" y="20200"/>
                  </a:lnTo>
                  <a:lnTo>
                    <a:pt x="14802" y="19991"/>
                  </a:lnTo>
                  <a:lnTo>
                    <a:pt x="14727" y="19759"/>
                  </a:lnTo>
                  <a:lnTo>
                    <a:pt x="14613" y="19550"/>
                  </a:lnTo>
                  <a:lnTo>
                    <a:pt x="14444" y="19307"/>
                  </a:lnTo>
                  <a:lnTo>
                    <a:pt x="14217" y="19098"/>
                  </a:lnTo>
                  <a:lnTo>
                    <a:pt x="13934" y="18911"/>
                  </a:lnTo>
                  <a:lnTo>
                    <a:pt x="13669" y="18745"/>
                  </a:lnTo>
                  <a:lnTo>
                    <a:pt x="13462" y="18547"/>
                  </a:lnTo>
                  <a:lnTo>
                    <a:pt x="13311" y="18337"/>
                  </a:lnTo>
                  <a:lnTo>
                    <a:pt x="13197" y="18150"/>
                  </a:lnTo>
                  <a:lnTo>
                    <a:pt x="13122" y="17941"/>
                  </a:lnTo>
                  <a:lnTo>
                    <a:pt x="13122" y="17720"/>
                  </a:lnTo>
                  <a:lnTo>
                    <a:pt x="13122" y="17533"/>
                  </a:lnTo>
                  <a:lnTo>
                    <a:pt x="13197" y="17346"/>
                  </a:lnTo>
                  <a:lnTo>
                    <a:pt x="13273" y="17158"/>
                  </a:lnTo>
                  <a:lnTo>
                    <a:pt x="13386" y="16982"/>
                  </a:lnTo>
                  <a:lnTo>
                    <a:pt x="13537" y="16839"/>
                  </a:lnTo>
                  <a:lnTo>
                    <a:pt x="13707" y="16706"/>
                  </a:lnTo>
                  <a:lnTo>
                    <a:pt x="13896" y="16607"/>
                  </a:lnTo>
                  <a:lnTo>
                    <a:pt x="14104" y="16519"/>
                  </a:lnTo>
                  <a:lnTo>
                    <a:pt x="14330" y="16453"/>
                  </a:lnTo>
                  <a:lnTo>
                    <a:pt x="14538" y="16431"/>
                  </a:lnTo>
                  <a:lnTo>
                    <a:pt x="14897" y="16453"/>
                  </a:lnTo>
                  <a:lnTo>
                    <a:pt x="15406" y="16497"/>
                  </a:lnTo>
                  <a:lnTo>
                    <a:pt x="16105" y="16541"/>
                  </a:lnTo>
                  <a:lnTo>
                    <a:pt x="16898" y="16607"/>
                  </a:lnTo>
                  <a:lnTo>
                    <a:pt x="17804" y="16651"/>
                  </a:lnTo>
                  <a:lnTo>
                    <a:pt x="18786" y="16684"/>
                  </a:lnTo>
                  <a:lnTo>
                    <a:pt x="19844" y="16728"/>
                  </a:lnTo>
                  <a:lnTo>
                    <a:pt x="20920" y="16751"/>
                  </a:lnTo>
                  <a:lnTo>
                    <a:pt x="21109" y="16497"/>
                  </a:lnTo>
                  <a:lnTo>
                    <a:pt x="21241" y="16222"/>
                  </a:lnTo>
                  <a:lnTo>
                    <a:pt x="21392" y="15946"/>
                  </a:lnTo>
                  <a:lnTo>
                    <a:pt x="21467" y="15648"/>
                  </a:lnTo>
                  <a:lnTo>
                    <a:pt x="21543" y="15351"/>
                  </a:lnTo>
                  <a:lnTo>
                    <a:pt x="21618" y="15042"/>
                  </a:lnTo>
                  <a:lnTo>
                    <a:pt x="21618" y="14745"/>
                  </a:lnTo>
                  <a:lnTo>
                    <a:pt x="21618" y="14447"/>
                  </a:lnTo>
                  <a:lnTo>
                    <a:pt x="21618" y="14150"/>
                  </a:lnTo>
                  <a:lnTo>
                    <a:pt x="21581" y="13852"/>
                  </a:lnTo>
                  <a:lnTo>
                    <a:pt x="21505" y="13577"/>
                  </a:lnTo>
                  <a:lnTo>
                    <a:pt x="21430" y="13301"/>
                  </a:lnTo>
                  <a:lnTo>
                    <a:pt x="21354" y="13048"/>
                  </a:lnTo>
                  <a:lnTo>
                    <a:pt x="21241" y="12816"/>
                  </a:lnTo>
                  <a:lnTo>
                    <a:pt x="21146" y="12607"/>
                  </a:lnTo>
                  <a:lnTo>
                    <a:pt x="21033" y="12431"/>
                  </a:lnTo>
                  <a:lnTo>
                    <a:pt x="20920" y="12265"/>
                  </a:lnTo>
                  <a:lnTo>
                    <a:pt x="20769" y="12144"/>
                  </a:lnTo>
                  <a:lnTo>
                    <a:pt x="20637" y="12034"/>
                  </a:lnTo>
                  <a:lnTo>
                    <a:pt x="20486" y="11946"/>
                  </a:lnTo>
                  <a:lnTo>
                    <a:pt x="20297" y="11891"/>
                  </a:lnTo>
                  <a:lnTo>
                    <a:pt x="20165" y="11846"/>
                  </a:lnTo>
                  <a:lnTo>
                    <a:pt x="19976" y="11824"/>
                  </a:lnTo>
                  <a:lnTo>
                    <a:pt x="19806" y="11802"/>
                  </a:lnTo>
                  <a:lnTo>
                    <a:pt x="19390" y="11824"/>
                  </a:lnTo>
                  <a:lnTo>
                    <a:pt x="18956" y="11891"/>
                  </a:lnTo>
                  <a:lnTo>
                    <a:pt x="18503" y="11968"/>
                  </a:lnTo>
                  <a:lnTo>
                    <a:pt x="17993" y="12078"/>
                  </a:lnTo>
                  <a:lnTo>
                    <a:pt x="17653" y="12144"/>
                  </a:lnTo>
                  <a:lnTo>
                    <a:pt x="17332" y="12199"/>
                  </a:lnTo>
                  <a:lnTo>
                    <a:pt x="17049" y="12221"/>
                  </a:lnTo>
                  <a:lnTo>
                    <a:pt x="16747" y="12243"/>
                  </a:lnTo>
                  <a:lnTo>
                    <a:pt x="16464" y="12243"/>
                  </a:lnTo>
                  <a:lnTo>
                    <a:pt x="16218" y="12243"/>
                  </a:lnTo>
                  <a:lnTo>
                    <a:pt x="15992" y="12221"/>
                  </a:lnTo>
                  <a:lnTo>
                    <a:pt x="15746" y="12199"/>
                  </a:lnTo>
                  <a:lnTo>
                    <a:pt x="15520" y="12155"/>
                  </a:lnTo>
                  <a:lnTo>
                    <a:pt x="15350" y="12122"/>
                  </a:lnTo>
                  <a:lnTo>
                    <a:pt x="15161" y="12056"/>
                  </a:lnTo>
                  <a:lnTo>
                    <a:pt x="14972" y="11990"/>
                  </a:lnTo>
                  <a:lnTo>
                    <a:pt x="14689" y="11846"/>
                  </a:lnTo>
                  <a:lnTo>
                    <a:pt x="14444" y="11670"/>
                  </a:lnTo>
                  <a:lnTo>
                    <a:pt x="14255" y="11483"/>
                  </a:lnTo>
                  <a:lnTo>
                    <a:pt x="14104" y="11295"/>
                  </a:lnTo>
                  <a:lnTo>
                    <a:pt x="14028" y="11086"/>
                  </a:lnTo>
                  <a:lnTo>
                    <a:pt x="13972" y="10888"/>
                  </a:lnTo>
                  <a:lnTo>
                    <a:pt x="13972" y="10700"/>
                  </a:lnTo>
                  <a:lnTo>
                    <a:pt x="14009" y="10513"/>
                  </a:lnTo>
                  <a:lnTo>
                    <a:pt x="14066" y="10359"/>
                  </a:lnTo>
                  <a:lnTo>
                    <a:pt x="14179" y="10215"/>
                  </a:lnTo>
                  <a:lnTo>
                    <a:pt x="14406" y="10006"/>
                  </a:lnTo>
                  <a:lnTo>
                    <a:pt x="14651" y="9830"/>
                  </a:lnTo>
                  <a:lnTo>
                    <a:pt x="14878" y="9686"/>
                  </a:lnTo>
                  <a:lnTo>
                    <a:pt x="15123" y="9554"/>
                  </a:lnTo>
                  <a:lnTo>
                    <a:pt x="15350" y="9477"/>
                  </a:lnTo>
                  <a:lnTo>
                    <a:pt x="15558" y="9411"/>
                  </a:lnTo>
                  <a:lnTo>
                    <a:pt x="15803" y="9345"/>
                  </a:lnTo>
                  <a:lnTo>
                    <a:pt x="16030" y="9323"/>
                  </a:lnTo>
                  <a:lnTo>
                    <a:pt x="16256" y="9301"/>
                  </a:lnTo>
                  <a:lnTo>
                    <a:pt x="16464" y="9323"/>
                  </a:lnTo>
                  <a:lnTo>
                    <a:pt x="16690" y="9345"/>
                  </a:lnTo>
                  <a:lnTo>
                    <a:pt x="16898" y="9367"/>
                  </a:lnTo>
                  <a:lnTo>
                    <a:pt x="17332" y="9477"/>
                  </a:lnTo>
                  <a:lnTo>
                    <a:pt x="17767" y="9598"/>
                  </a:lnTo>
                  <a:lnTo>
                    <a:pt x="18163" y="9731"/>
                  </a:lnTo>
                  <a:lnTo>
                    <a:pt x="18597" y="9874"/>
                  </a:lnTo>
                  <a:lnTo>
                    <a:pt x="18994" y="10006"/>
                  </a:lnTo>
                  <a:lnTo>
                    <a:pt x="19428" y="10083"/>
                  </a:lnTo>
                  <a:lnTo>
                    <a:pt x="19617" y="10127"/>
                  </a:lnTo>
                  <a:lnTo>
                    <a:pt x="19844" y="10149"/>
                  </a:lnTo>
                  <a:lnTo>
                    <a:pt x="20013" y="10149"/>
                  </a:lnTo>
                  <a:lnTo>
                    <a:pt x="20240" y="10127"/>
                  </a:lnTo>
                  <a:lnTo>
                    <a:pt x="20410" y="10105"/>
                  </a:lnTo>
                  <a:lnTo>
                    <a:pt x="20637" y="10061"/>
                  </a:lnTo>
                  <a:lnTo>
                    <a:pt x="20844" y="9984"/>
                  </a:lnTo>
                  <a:lnTo>
                    <a:pt x="21033" y="9896"/>
                  </a:lnTo>
                  <a:lnTo>
                    <a:pt x="21146" y="9830"/>
                  </a:lnTo>
                  <a:lnTo>
                    <a:pt x="21203" y="9753"/>
                  </a:lnTo>
                  <a:lnTo>
                    <a:pt x="21279" y="9642"/>
                  </a:lnTo>
                  <a:lnTo>
                    <a:pt x="21354" y="9521"/>
                  </a:lnTo>
                  <a:lnTo>
                    <a:pt x="21430" y="9246"/>
                  </a:lnTo>
                  <a:lnTo>
                    <a:pt x="21430" y="8904"/>
                  </a:lnTo>
                  <a:lnTo>
                    <a:pt x="21430" y="8540"/>
                  </a:lnTo>
                  <a:lnTo>
                    <a:pt x="21392" y="8144"/>
                  </a:lnTo>
                  <a:lnTo>
                    <a:pt x="21354" y="7714"/>
                  </a:lnTo>
                  <a:lnTo>
                    <a:pt x="21279" y="7295"/>
                  </a:lnTo>
                  <a:lnTo>
                    <a:pt x="21146" y="6446"/>
                  </a:lnTo>
                  <a:lnTo>
                    <a:pt x="20995" y="5686"/>
                  </a:lnTo>
                  <a:lnTo>
                    <a:pt x="20958" y="5366"/>
                  </a:lnTo>
                  <a:lnTo>
                    <a:pt x="20958" y="5091"/>
                  </a:lnTo>
                  <a:lnTo>
                    <a:pt x="20958" y="4860"/>
                  </a:lnTo>
                  <a:lnTo>
                    <a:pt x="21033" y="4716"/>
                  </a:lnTo>
                  <a:lnTo>
                    <a:pt x="20637" y="4860"/>
                  </a:lnTo>
                  <a:lnTo>
                    <a:pt x="20127" y="4992"/>
                  </a:lnTo>
                  <a:lnTo>
                    <a:pt x="19617" y="5069"/>
                  </a:lnTo>
                  <a:lnTo>
                    <a:pt x="19032" y="5157"/>
                  </a:lnTo>
                  <a:lnTo>
                    <a:pt x="18465" y="5201"/>
                  </a:lnTo>
                  <a:lnTo>
                    <a:pt x="17842" y="5245"/>
                  </a:lnTo>
                  <a:lnTo>
                    <a:pt x="17219" y="5267"/>
                  </a:lnTo>
                  <a:lnTo>
                    <a:pt x="16615" y="5267"/>
                  </a:lnTo>
                  <a:lnTo>
                    <a:pt x="15992" y="5245"/>
                  </a:lnTo>
                  <a:lnTo>
                    <a:pt x="15369" y="5201"/>
                  </a:lnTo>
                  <a:lnTo>
                    <a:pt x="14840" y="5157"/>
                  </a:lnTo>
                  <a:lnTo>
                    <a:pt x="14293" y="5091"/>
                  </a:lnTo>
                  <a:lnTo>
                    <a:pt x="13783" y="5014"/>
                  </a:lnTo>
                  <a:lnTo>
                    <a:pt x="13386" y="4926"/>
                  </a:lnTo>
                  <a:lnTo>
                    <a:pt x="13027" y="4815"/>
                  </a:lnTo>
                  <a:lnTo>
                    <a:pt x="12725" y="4716"/>
                  </a:lnTo>
                  <a:lnTo>
                    <a:pt x="12480" y="4606"/>
                  </a:lnTo>
                  <a:lnTo>
                    <a:pt x="12291" y="4496"/>
                  </a:lnTo>
                  <a:lnTo>
                    <a:pt x="12197" y="4397"/>
                  </a:lnTo>
                  <a:lnTo>
                    <a:pt x="12083" y="4286"/>
                  </a:lnTo>
                  <a:lnTo>
                    <a:pt x="12046" y="4187"/>
                  </a:lnTo>
                  <a:lnTo>
                    <a:pt x="12008" y="4077"/>
                  </a:lnTo>
                  <a:lnTo>
                    <a:pt x="12046" y="3967"/>
                  </a:lnTo>
                  <a:lnTo>
                    <a:pt x="12121" y="3868"/>
                  </a:lnTo>
                  <a:lnTo>
                    <a:pt x="12197" y="3735"/>
                  </a:lnTo>
                  <a:lnTo>
                    <a:pt x="12291" y="3614"/>
                  </a:lnTo>
                  <a:lnTo>
                    <a:pt x="12442" y="3482"/>
                  </a:lnTo>
                  <a:lnTo>
                    <a:pt x="12631" y="3361"/>
                  </a:lnTo>
                  <a:lnTo>
                    <a:pt x="13065" y="3085"/>
                  </a:lnTo>
                  <a:lnTo>
                    <a:pt x="13537" y="2766"/>
                  </a:lnTo>
                  <a:lnTo>
                    <a:pt x="13783" y="2578"/>
                  </a:lnTo>
                  <a:lnTo>
                    <a:pt x="13934" y="2380"/>
                  </a:lnTo>
                  <a:lnTo>
                    <a:pt x="14028" y="2171"/>
                  </a:lnTo>
                  <a:lnTo>
                    <a:pt x="14104" y="1961"/>
                  </a:lnTo>
                  <a:lnTo>
                    <a:pt x="14104" y="1730"/>
                  </a:lnTo>
                  <a:lnTo>
                    <a:pt x="14066" y="1498"/>
                  </a:lnTo>
                  <a:lnTo>
                    <a:pt x="13972" y="1267"/>
                  </a:lnTo>
                  <a:lnTo>
                    <a:pt x="13820" y="1057"/>
                  </a:lnTo>
                  <a:lnTo>
                    <a:pt x="13594" y="837"/>
                  </a:lnTo>
                  <a:lnTo>
                    <a:pt x="13386" y="628"/>
                  </a:lnTo>
                  <a:lnTo>
                    <a:pt x="13103" y="462"/>
                  </a:lnTo>
                  <a:lnTo>
                    <a:pt x="12763" y="308"/>
                  </a:lnTo>
                  <a:lnTo>
                    <a:pt x="12404" y="187"/>
                  </a:lnTo>
                  <a:lnTo>
                    <a:pt x="12008" y="77"/>
                  </a:lnTo>
                  <a:lnTo>
                    <a:pt x="11574" y="33"/>
                  </a:lnTo>
                  <a:lnTo>
                    <a:pt x="11102" y="11"/>
                  </a:lnTo>
                  <a:lnTo>
                    <a:pt x="10667" y="11"/>
                  </a:lnTo>
                  <a:lnTo>
                    <a:pt x="10233" y="77"/>
                  </a:lnTo>
                  <a:lnTo>
                    <a:pt x="9837" y="187"/>
                  </a:lnTo>
                  <a:lnTo>
                    <a:pt x="9440" y="286"/>
                  </a:lnTo>
                  <a:lnTo>
                    <a:pt x="9062" y="462"/>
                  </a:lnTo>
                  <a:lnTo>
                    <a:pt x="8741" y="628"/>
                  </a:lnTo>
                  <a:lnTo>
                    <a:pt x="8458" y="815"/>
                  </a:lnTo>
                  <a:lnTo>
                    <a:pt x="8232" y="1035"/>
                  </a:lnTo>
                  <a:lnTo>
                    <a:pt x="8062" y="1245"/>
                  </a:lnTo>
                  <a:lnTo>
                    <a:pt x="7911" y="1476"/>
                  </a:lnTo>
                  <a:lnTo>
                    <a:pt x="7835" y="1708"/>
                  </a:lnTo>
                  <a:lnTo>
                    <a:pt x="7797" y="1961"/>
                  </a:lnTo>
                  <a:lnTo>
                    <a:pt x="7835" y="2193"/>
                  </a:lnTo>
                  <a:lnTo>
                    <a:pt x="7948" y="2402"/>
                  </a:lnTo>
                  <a:lnTo>
                    <a:pt x="8062" y="2534"/>
                  </a:lnTo>
                  <a:lnTo>
                    <a:pt x="8175" y="2644"/>
                  </a:lnTo>
                  <a:lnTo>
                    <a:pt x="8269" y="2744"/>
                  </a:lnTo>
                  <a:lnTo>
                    <a:pt x="8420" y="2832"/>
                  </a:lnTo>
                  <a:lnTo>
                    <a:pt x="8704" y="3019"/>
                  </a:lnTo>
                  <a:lnTo>
                    <a:pt x="8968" y="3206"/>
                  </a:lnTo>
                  <a:lnTo>
                    <a:pt x="9138" y="3405"/>
                  </a:lnTo>
                  <a:lnTo>
                    <a:pt x="9327" y="3570"/>
                  </a:lnTo>
                  <a:lnTo>
                    <a:pt x="9440" y="3735"/>
                  </a:lnTo>
                  <a:lnTo>
                    <a:pt x="9516" y="3890"/>
                  </a:lnTo>
                  <a:lnTo>
                    <a:pt x="9534" y="4033"/>
                  </a:lnTo>
                  <a:lnTo>
                    <a:pt x="9534" y="4165"/>
                  </a:lnTo>
                  <a:lnTo>
                    <a:pt x="9516" y="4286"/>
                  </a:lnTo>
                  <a:lnTo>
                    <a:pt x="9440" y="4397"/>
                  </a:lnTo>
                  <a:lnTo>
                    <a:pt x="9327" y="4496"/>
                  </a:lnTo>
                  <a:lnTo>
                    <a:pt x="9176" y="4562"/>
                  </a:lnTo>
                  <a:lnTo>
                    <a:pt x="9006" y="4628"/>
                  </a:lnTo>
                  <a:lnTo>
                    <a:pt x="8779" y="4694"/>
                  </a:lnTo>
                  <a:lnTo>
                    <a:pt x="8534" y="4716"/>
                  </a:lnTo>
                  <a:lnTo>
                    <a:pt x="8232" y="4716"/>
                  </a:lnTo>
                  <a:lnTo>
                    <a:pt x="7118" y="4738"/>
                  </a:lnTo>
                  <a:lnTo>
                    <a:pt x="5947" y="4771"/>
                  </a:lnTo>
                  <a:lnTo>
                    <a:pt x="4795" y="4815"/>
                  </a:lnTo>
                  <a:lnTo>
                    <a:pt x="3681" y="4860"/>
                  </a:lnTo>
                  <a:lnTo>
                    <a:pt x="2662" y="4882"/>
                  </a:lnTo>
                  <a:lnTo>
                    <a:pt x="1755" y="4882"/>
                  </a:lnTo>
                  <a:lnTo>
                    <a:pt x="1359" y="4860"/>
                  </a:lnTo>
                  <a:lnTo>
                    <a:pt x="981" y="4837"/>
                  </a:lnTo>
                  <a:lnTo>
                    <a:pt x="698" y="4771"/>
                  </a:lnTo>
                  <a:lnTo>
                    <a:pt x="453" y="4716"/>
                  </a:lnTo>
                  <a:lnTo>
                    <a:pt x="453" y="5322"/>
                  </a:lnTo>
                  <a:lnTo>
                    <a:pt x="453" y="6083"/>
                  </a:lnTo>
                  <a:lnTo>
                    <a:pt x="453" y="6909"/>
                  </a:lnTo>
                  <a:lnTo>
                    <a:pt x="453" y="7780"/>
                  </a:lnTo>
                  <a:lnTo>
                    <a:pt x="453" y="8606"/>
                  </a:lnTo>
                  <a:lnTo>
                    <a:pt x="453" y="9345"/>
                  </a:lnTo>
                  <a:lnTo>
                    <a:pt x="453" y="9918"/>
                  </a:lnTo>
                  <a:lnTo>
                    <a:pt x="453" y="10282"/>
                  </a:lnTo>
                  <a:lnTo>
                    <a:pt x="490" y="10381"/>
                  </a:lnTo>
                  <a:lnTo>
                    <a:pt x="547" y="10491"/>
                  </a:lnTo>
                  <a:lnTo>
                    <a:pt x="660" y="10590"/>
                  </a:lnTo>
                  <a:lnTo>
                    <a:pt x="811" y="10700"/>
                  </a:lnTo>
                  <a:lnTo>
                    <a:pt x="981" y="10811"/>
                  </a:lnTo>
                  <a:lnTo>
                    <a:pt x="1208" y="10888"/>
                  </a:lnTo>
                  <a:lnTo>
                    <a:pt x="1453" y="10954"/>
                  </a:lnTo>
                  <a:lnTo>
                    <a:pt x="1718" y="11020"/>
                  </a:lnTo>
                  <a:lnTo>
                    <a:pt x="1963" y="11064"/>
                  </a:lnTo>
                  <a:lnTo>
                    <a:pt x="2265" y="11086"/>
                  </a:lnTo>
                  <a:lnTo>
                    <a:pt x="2548" y="11064"/>
                  </a:lnTo>
                  <a:lnTo>
                    <a:pt x="2794" y="11042"/>
                  </a:lnTo>
                  <a:lnTo>
                    <a:pt x="3096" y="10976"/>
                  </a:lnTo>
                  <a:lnTo>
                    <a:pt x="3341" y="10888"/>
                  </a:lnTo>
                  <a:lnTo>
                    <a:pt x="3606" y="10766"/>
                  </a:lnTo>
                  <a:lnTo>
                    <a:pt x="3813" y="10590"/>
                  </a:lnTo>
                  <a:close/>
                </a:path>
              </a:pathLst>
            </a:custGeom>
            <a:solidFill>
              <a:schemeClr val="accent5"/>
            </a:solidFill>
            <a:ln w="28575">
              <a:solidFill>
                <a:srgbClr val="FFFFFF"/>
              </a:solidFill>
              <a:miter lim="800000"/>
              <a:headEnd/>
              <a:tailEnd/>
            </a:ln>
          </p:spPr>
          <p:txBody>
            <a:bodyPr lIns="45720" rIns="45720" bIns="18288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FFFFFF"/>
                </a:solidFill>
                <a:effectLst/>
                <a:uLnTx/>
                <a:uFillTx/>
                <a:latin typeface="Arial"/>
                <a:ea typeface="+mn-ea"/>
                <a:cs typeface="+mn-cs"/>
              </a:endParaRPr>
            </a:p>
          </p:txBody>
        </p:sp>
        <p:sp>
          <p:nvSpPr>
            <p:cNvPr id="7" name="Puzzle2">
              <a:extLst>
                <a:ext uri="{FF2B5EF4-FFF2-40B4-BE49-F238E27FC236}">
                  <a16:creationId xmlns:a16="http://schemas.microsoft.com/office/drawing/2014/main" id="{9375F3A9-0978-4A8E-85A3-466149C02C3B}"/>
                </a:ext>
              </a:extLst>
            </p:cNvPr>
            <p:cNvSpPr>
              <a:spLocks noEditPoints="1" noChangeArrowheads="1"/>
            </p:cNvSpPr>
            <p:nvPr/>
          </p:nvSpPr>
          <p:spPr bwMode="auto">
            <a:xfrm>
              <a:off x="5593374" y="3002942"/>
              <a:ext cx="2472103" cy="2101850"/>
            </a:xfrm>
            <a:custGeom>
              <a:avLst/>
              <a:gdLst>
                <a:gd name="T0" fmla="*/ 1364 w 21600"/>
                <a:gd name="T1" fmla="*/ 1302563 h 21600"/>
                <a:gd name="T2" fmla="*/ 520992 w 21600"/>
                <a:gd name="T3" fmla="*/ 2059132 h 21600"/>
                <a:gd name="T4" fmla="*/ 1289461 w 21600"/>
                <a:gd name="T5" fmla="*/ 1353455 h 21600"/>
                <a:gd name="T6" fmla="*/ 2085580 w 21600"/>
                <a:gd name="T7" fmla="*/ 2061954 h 21600"/>
                <a:gd name="T8" fmla="*/ 2678112 w 21600"/>
                <a:gd name="T9" fmla="*/ 1467694 h 21600"/>
                <a:gd name="T10" fmla="*/ 2094011 w 21600"/>
                <a:gd name="T11" fmla="*/ 558450 h 21600"/>
                <a:gd name="T12" fmla="*/ 1339056 w 21600"/>
                <a:gd name="T13" fmla="*/ 2725 h 21600"/>
                <a:gd name="T14" fmla="*/ 520992 w 21600"/>
                <a:gd name="T15" fmla="*/ 573533 h 21600"/>
                <a:gd name="T16" fmla="*/ 0 60000 65536"/>
                <a:gd name="T17" fmla="*/ 0 60000 65536"/>
                <a:gd name="T18" fmla="*/ 0 60000 65536"/>
                <a:gd name="T19" fmla="*/ 0 60000 65536"/>
                <a:gd name="T20" fmla="*/ 0 60000 65536"/>
                <a:gd name="T21" fmla="*/ 0 60000 65536"/>
                <a:gd name="T22" fmla="*/ 0 60000 65536"/>
                <a:gd name="T23" fmla="*/ 0 60000 65536"/>
                <a:gd name="T24" fmla="*/ 5388 w 21600"/>
                <a:gd name="T25" fmla="*/ 6742 h 21600"/>
                <a:gd name="T26" fmla="*/ 16177 w 21600"/>
                <a:gd name="T27" fmla="*/ 2044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4247" y="12354"/>
                  </a:moveTo>
                  <a:lnTo>
                    <a:pt x="4134" y="12468"/>
                  </a:lnTo>
                  <a:lnTo>
                    <a:pt x="4010" y="12581"/>
                  </a:lnTo>
                  <a:lnTo>
                    <a:pt x="3897" y="12637"/>
                  </a:lnTo>
                  <a:lnTo>
                    <a:pt x="3773" y="12694"/>
                  </a:lnTo>
                  <a:lnTo>
                    <a:pt x="3637" y="12694"/>
                  </a:lnTo>
                  <a:lnTo>
                    <a:pt x="3524" y="12694"/>
                  </a:lnTo>
                  <a:lnTo>
                    <a:pt x="3400" y="12665"/>
                  </a:lnTo>
                  <a:lnTo>
                    <a:pt x="3287" y="12609"/>
                  </a:lnTo>
                  <a:lnTo>
                    <a:pt x="3027" y="12496"/>
                  </a:lnTo>
                  <a:lnTo>
                    <a:pt x="2790" y="12340"/>
                  </a:lnTo>
                  <a:lnTo>
                    <a:pt x="2530" y="12142"/>
                  </a:lnTo>
                  <a:lnTo>
                    <a:pt x="2293" y="11987"/>
                  </a:lnTo>
                  <a:lnTo>
                    <a:pt x="2033" y="11817"/>
                  </a:lnTo>
                  <a:lnTo>
                    <a:pt x="1773" y="11676"/>
                  </a:lnTo>
                  <a:lnTo>
                    <a:pt x="1638" y="11662"/>
                  </a:lnTo>
                  <a:lnTo>
                    <a:pt x="1513" y="11634"/>
                  </a:lnTo>
                  <a:lnTo>
                    <a:pt x="1378" y="11634"/>
                  </a:lnTo>
                  <a:lnTo>
                    <a:pt x="1253" y="11634"/>
                  </a:lnTo>
                  <a:lnTo>
                    <a:pt x="1118" y="11662"/>
                  </a:lnTo>
                  <a:lnTo>
                    <a:pt x="971" y="11732"/>
                  </a:lnTo>
                  <a:lnTo>
                    <a:pt x="835" y="11817"/>
                  </a:lnTo>
                  <a:lnTo>
                    <a:pt x="711" y="11959"/>
                  </a:lnTo>
                  <a:lnTo>
                    <a:pt x="553" y="12086"/>
                  </a:lnTo>
                  <a:lnTo>
                    <a:pt x="429" y="12284"/>
                  </a:lnTo>
                  <a:lnTo>
                    <a:pt x="271" y="12524"/>
                  </a:lnTo>
                  <a:lnTo>
                    <a:pt x="146" y="12793"/>
                  </a:lnTo>
                  <a:lnTo>
                    <a:pt x="79" y="12962"/>
                  </a:lnTo>
                  <a:lnTo>
                    <a:pt x="33" y="13146"/>
                  </a:lnTo>
                  <a:lnTo>
                    <a:pt x="11" y="13386"/>
                  </a:lnTo>
                  <a:lnTo>
                    <a:pt x="11" y="13641"/>
                  </a:lnTo>
                  <a:lnTo>
                    <a:pt x="33" y="13881"/>
                  </a:lnTo>
                  <a:lnTo>
                    <a:pt x="101" y="14150"/>
                  </a:lnTo>
                  <a:lnTo>
                    <a:pt x="192" y="14404"/>
                  </a:lnTo>
                  <a:lnTo>
                    <a:pt x="293" y="14645"/>
                  </a:lnTo>
                  <a:lnTo>
                    <a:pt x="451" y="14857"/>
                  </a:lnTo>
                  <a:lnTo>
                    <a:pt x="621" y="15054"/>
                  </a:lnTo>
                  <a:lnTo>
                    <a:pt x="734" y="15125"/>
                  </a:lnTo>
                  <a:lnTo>
                    <a:pt x="835" y="15210"/>
                  </a:lnTo>
                  <a:lnTo>
                    <a:pt x="948" y="15267"/>
                  </a:lnTo>
                  <a:lnTo>
                    <a:pt x="1084" y="15323"/>
                  </a:lnTo>
                  <a:lnTo>
                    <a:pt x="1208" y="15351"/>
                  </a:lnTo>
                  <a:lnTo>
                    <a:pt x="1355" y="15380"/>
                  </a:lnTo>
                  <a:lnTo>
                    <a:pt x="1513" y="15380"/>
                  </a:lnTo>
                  <a:lnTo>
                    <a:pt x="1683" y="15380"/>
                  </a:lnTo>
                  <a:lnTo>
                    <a:pt x="1864" y="15351"/>
                  </a:lnTo>
                  <a:lnTo>
                    <a:pt x="2033" y="15323"/>
                  </a:lnTo>
                  <a:lnTo>
                    <a:pt x="2225" y="15238"/>
                  </a:lnTo>
                  <a:lnTo>
                    <a:pt x="2428" y="15153"/>
                  </a:lnTo>
                  <a:lnTo>
                    <a:pt x="2745" y="15026"/>
                  </a:lnTo>
                  <a:lnTo>
                    <a:pt x="3005" y="14913"/>
                  </a:lnTo>
                  <a:lnTo>
                    <a:pt x="3264" y="14828"/>
                  </a:lnTo>
                  <a:lnTo>
                    <a:pt x="3513" y="14800"/>
                  </a:lnTo>
                  <a:lnTo>
                    <a:pt x="3615" y="14828"/>
                  </a:lnTo>
                  <a:lnTo>
                    <a:pt x="3728" y="14857"/>
                  </a:lnTo>
                  <a:lnTo>
                    <a:pt x="3807" y="14913"/>
                  </a:lnTo>
                  <a:lnTo>
                    <a:pt x="3920" y="14998"/>
                  </a:lnTo>
                  <a:lnTo>
                    <a:pt x="4010" y="15097"/>
                  </a:lnTo>
                  <a:lnTo>
                    <a:pt x="4089" y="15238"/>
                  </a:lnTo>
                  <a:lnTo>
                    <a:pt x="4179" y="15408"/>
                  </a:lnTo>
                  <a:lnTo>
                    <a:pt x="4247" y="15620"/>
                  </a:lnTo>
                  <a:lnTo>
                    <a:pt x="4326" y="15860"/>
                  </a:lnTo>
                  <a:lnTo>
                    <a:pt x="4394" y="16129"/>
                  </a:lnTo>
                  <a:lnTo>
                    <a:pt x="4439" y="16440"/>
                  </a:lnTo>
                  <a:lnTo>
                    <a:pt x="4507" y="16737"/>
                  </a:lnTo>
                  <a:lnTo>
                    <a:pt x="4552" y="17090"/>
                  </a:lnTo>
                  <a:lnTo>
                    <a:pt x="4575" y="17443"/>
                  </a:lnTo>
                  <a:lnTo>
                    <a:pt x="4586" y="17825"/>
                  </a:lnTo>
                  <a:lnTo>
                    <a:pt x="4586" y="18193"/>
                  </a:lnTo>
                  <a:lnTo>
                    <a:pt x="4586" y="18574"/>
                  </a:lnTo>
                  <a:lnTo>
                    <a:pt x="4586" y="18984"/>
                  </a:lnTo>
                  <a:lnTo>
                    <a:pt x="4552" y="19366"/>
                  </a:lnTo>
                  <a:lnTo>
                    <a:pt x="4507" y="19748"/>
                  </a:lnTo>
                  <a:lnTo>
                    <a:pt x="4462" y="20129"/>
                  </a:lnTo>
                  <a:lnTo>
                    <a:pt x="4371" y="20483"/>
                  </a:lnTo>
                  <a:lnTo>
                    <a:pt x="4292" y="20836"/>
                  </a:lnTo>
                  <a:lnTo>
                    <a:pt x="4202" y="21161"/>
                  </a:lnTo>
                  <a:lnTo>
                    <a:pt x="4744" y="21161"/>
                  </a:lnTo>
                  <a:lnTo>
                    <a:pt x="5264" y="21161"/>
                  </a:lnTo>
                  <a:lnTo>
                    <a:pt x="5784" y="21161"/>
                  </a:lnTo>
                  <a:lnTo>
                    <a:pt x="6235" y="21161"/>
                  </a:lnTo>
                  <a:lnTo>
                    <a:pt x="6676" y="21161"/>
                  </a:lnTo>
                  <a:lnTo>
                    <a:pt x="7060" y="21161"/>
                  </a:lnTo>
                  <a:lnTo>
                    <a:pt x="7410" y="21161"/>
                  </a:lnTo>
                  <a:lnTo>
                    <a:pt x="7670" y="21161"/>
                  </a:lnTo>
                  <a:lnTo>
                    <a:pt x="8020" y="21020"/>
                  </a:lnTo>
                  <a:lnTo>
                    <a:pt x="8303" y="20893"/>
                  </a:lnTo>
                  <a:lnTo>
                    <a:pt x="8563" y="20695"/>
                  </a:lnTo>
                  <a:lnTo>
                    <a:pt x="8800" y="20511"/>
                  </a:lnTo>
                  <a:lnTo>
                    <a:pt x="8969" y="20285"/>
                  </a:lnTo>
                  <a:lnTo>
                    <a:pt x="9150" y="20045"/>
                  </a:lnTo>
                  <a:lnTo>
                    <a:pt x="9252" y="19804"/>
                  </a:lnTo>
                  <a:lnTo>
                    <a:pt x="9342" y="19550"/>
                  </a:lnTo>
                  <a:lnTo>
                    <a:pt x="9410" y="19281"/>
                  </a:lnTo>
                  <a:lnTo>
                    <a:pt x="9433" y="19013"/>
                  </a:lnTo>
                  <a:lnTo>
                    <a:pt x="9433" y="18744"/>
                  </a:lnTo>
                  <a:lnTo>
                    <a:pt x="9387" y="18504"/>
                  </a:lnTo>
                  <a:lnTo>
                    <a:pt x="9320" y="18221"/>
                  </a:lnTo>
                  <a:lnTo>
                    <a:pt x="9207" y="17981"/>
                  </a:lnTo>
                  <a:lnTo>
                    <a:pt x="9105" y="17740"/>
                  </a:lnTo>
                  <a:lnTo>
                    <a:pt x="8924" y="17514"/>
                  </a:lnTo>
                  <a:lnTo>
                    <a:pt x="8777" y="17274"/>
                  </a:lnTo>
                  <a:lnTo>
                    <a:pt x="8642" y="17034"/>
                  </a:lnTo>
                  <a:lnTo>
                    <a:pt x="8563" y="16765"/>
                  </a:lnTo>
                  <a:lnTo>
                    <a:pt x="8472" y="16468"/>
                  </a:lnTo>
                  <a:lnTo>
                    <a:pt x="8450" y="16157"/>
                  </a:lnTo>
                  <a:lnTo>
                    <a:pt x="8450" y="15860"/>
                  </a:lnTo>
                  <a:lnTo>
                    <a:pt x="8472" y="15563"/>
                  </a:lnTo>
                  <a:lnTo>
                    <a:pt x="8540" y="15267"/>
                  </a:lnTo>
                  <a:lnTo>
                    <a:pt x="8642" y="14998"/>
                  </a:lnTo>
                  <a:lnTo>
                    <a:pt x="8777" y="14729"/>
                  </a:lnTo>
                  <a:lnTo>
                    <a:pt x="8868" y="14616"/>
                  </a:lnTo>
                  <a:lnTo>
                    <a:pt x="8969" y="14475"/>
                  </a:lnTo>
                  <a:lnTo>
                    <a:pt x="9060" y="14376"/>
                  </a:lnTo>
                  <a:lnTo>
                    <a:pt x="9184" y="14291"/>
                  </a:lnTo>
                  <a:lnTo>
                    <a:pt x="9297" y="14206"/>
                  </a:lnTo>
                  <a:lnTo>
                    <a:pt x="9433" y="14121"/>
                  </a:lnTo>
                  <a:lnTo>
                    <a:pt x="9579" y="14051"/>
                  </a:lnTo>
                  <a:lnTo>
                    <a:pt x="9726" y="13994"/>
                  </a:lnTo>
                  <a:lnTo>
                    <a:pt x="9884" y="13938"/>
                  </a:lnTo>
                  <a:lnTo>
                    <a:pt x="10054" y="13909"/>
                  </a:lnTo>
                  <a:lnTo>
                    <a:pt x="10257" y="13881"/>
                  </a:lnTo>
                  <a:lnTo>
                    <a:pt x="10449" y="13881"/>
                  </a:lnTo>
                  <a:lnTo>
                    <a:pt x="10664" y="13881"/>
                  </a:lnTo>
                  <a:lnTo>
                    <a:pt x="10856" y="13909"/>
                  </a:lnTo>
                  <a:lnTo>
                    <a:pt x="11037" y="13966"/>
                  </a:lnTo>
                  <a:lnTo>
                    <a:pt x="11206" y="14023"/>
                  </a:lnTo>
                  <a:lnTo>
                    <a:pt x="11353" y="14093"/>
                  </a:lnTo>
                  <a:lnTo>
                    <a:pt x="11511" y="14178"/>
                  </a:lnTo>
                  <a:lnTo>
                    <a:pt x="11635" y="14263"/>
                  </a:lnTo>
                  <a:lnTo>
                    <a:pt x="11748" y="14376"/>
                  </a:lnTo>
                  <a:lnTo>
                    <a:pt x="11861" y="14475"/>
                  </a:lnTo>
                  <a:lnTo>
                    <a:pt x="11941" y="14616"/>
                  </a:lnTo>
                  <a:lnTo>
                    <a:pt x="12031" y="14758"/>
                  </a:lnTo>
                  <a:lnTo>
                    <a:pt x="12099" y="14885"/>
                  </a:lnTo>
                  <a:lnTo>
                    <a:pt x="12200" y="15210"/>
                  </a:lnTo>
                  <a:lnTo>
                    <a:pt x="12268" y="15507"/>
                  </a:lnTo>
                  <a:lnTo>
                    <a:pt x="12291" y="15832"/>
                  </a:lnTo>
                  <a:lnTo>
                    <a:pt x="12291" y="16157"/>
                  </a:lnTo>
                  <a:lnTo>
                    <a:pt x="12246" y="16482"/>
                  </a:lnTo>
                  <a:lnTo>
                    <a:pt x="12178" y="16807"/>
                  </a:lnTo>
                  <a:lnTo>
                    <a:pt x="12099" y="17090"/>
                  </a:lnTo>
                  <a:lnTo>
                    <a:pt x="12008" y="17330"/>
                  </a:lnTo>
                  <a:lnTo>
                    <a:pt x="11884" y="17542"/>
                  </a:lnTo>
                  <a:lnTo>
                    <a:pt x="11748" y="17712"/>
                  </a:lnTo>
                  <a:lnTo>
                    <a:pt x="11613" y="17839"/>
                  </a:lnTo>
                  <a:lnTo>
                    <a:pt x="11489" y="18037"/>
                  </a:lnTo>
                  <a:lnTo>
                    <a:pt x="11398" y="18221"/>
                  </a:lnTo>
                  <a:lnTo>
                    <a:pt x="11319" y="18447"/>
                  </a:lnTo>
                  <a:lnTo>
                    <a:pt x="11251" y="18659"/>
                  </a:lnTo>
                  <a:lnTo>
                    <a:pt x="11206" y="18900"/>
                  </a:lnTo>
                  <a:lnTo>
                    <a:pt x="11184" y="19154"/>
                  </a:lnTo>
                  <a:lnTo>
                    <a:pt x="11184" y="19423"/>
                  </a:lnTo>
                  <a:lnTo>
                    <a:pt x="11229" y="19663"/>
                  </a:lnTo>
                  <a:lnTo>
                    <a:pt x="11297" y="19903"/>
                  </a:lnTo>
                  <a:lnTo>
                    <a:pt x="11376" y="20158"/>
                  </a:lnTo>
                  <a:lnTo>
                    <a:pt x="11511" y="20398"/>
                  </a:lnTo>
                  <a:lnTo>
                    <a:pt x="11681" y="20610"/>
                  </a:lnTo>
                  <a:lnTo>
                    <a:pt x="11884" y="20808"/>
                  </a:lnTo>
                  <a:lnTo>
                    <a:pt x="12121" y="20992"/>
                  </a:lnTo>
                  <a:lnTo>
                    <a:pt x="12404" y="21161"/>
                  </a:lnTo>
                  <a:lnTo>
                    <a:pt x="12528" y="21190"/>
                  </a:lnTo>
                  <a:lnTo>
                    <a:pt x="12856" y="21274"/>
                  </a:lnTo>
                  <a:lnTo>
                    <a:pt x="13330" y="21373"/>
                  </a:lnTo>
                  <a:lnTo>
                    <a:pt x="13963" y="21486"/>
                  </a:lnTo>
                  <a:lnTo>
                    <a:pt x="14313" y="21543"/>
                  </a:lnTo>
                  <a:lnTo>
                    <a:pt x="14652" y="21571"/>
                  </a:lnTo>
                  <a:lnTo>
                    <a:pt x="15025" y="21600"/>
                  </a:lnTo>
                  <a:lnTo>
                    <a:pt x="15409" y="21600"/>
                  </a:lnTo>
                  <a:lnTo>
                    <a:pt x="15782" y="21600"/>
                  </a:lnTo>
                  <a:lnTo>
                    <a:pt x="16177" y="21571"/>
                  </a:lnTo>
                  <a:lnTo>
                    <a:pt x="16516" y="21486"/>
                  </a:lnTo>
                  <a:lnTo>
                    <a:pt x="16889" y="21402"/>
                  </a:lnTo>
                  <a:lnTo>
                    <a:pt x="16821" y="21190"/>
                  </a:lnTo>
                  <a:lnTo>
                    <a:pt x="16776" y="20935"/>
                  </a:lnTo>
                  <a:lnTo>
                    <a:pt x="16742" y="20667"/>
                  </a:lnTo>
                  <a:lnTo>
                    <a:pt x="16719" y="20370"/>
                  </a:lnTo>
                  <a:lnTo>
                    <a:pt x="16697" y="19719"/>
                  </a:lnTo>
                  <a:lnTo>
                    <a:pt x="16697" y="19013"/>
                  </a:lnTo>
                  <a:lnTo>
                    <a:pt x="16719" y="18306"/>
                  </a:lnTo>
                  <a:lnTo>
                    <a:pt x="16753" y="17599"/>
                  </a:lnTo>
                  <a:lnTo>
                    <a:pt x="16821" y="16949"/>
                  </a:lnTo>
                  <a:lnTo>
                    <a:pt x="16889" y="16383"/>
                  </a:lnTo>
                  <a:lnTo>
                    <a:pt x="16934" y="16129"/>
                  </a:lnTo>
                  <a:lnTo>
                    <a:pt x="17002" y="15945"/>
                  </a:lnTo>
                  <a:lnTo>
                    <a:pt x="17081" y="15790"/>
                  </a:lnTo>
                  <a:lnTo>
                    <a:pt x="17194" y="15648"/>
                  </a:lnTo>
                  <a:lnTo>
                    <a:pt x="17318" y="15563"/>
                  </a:lnTo>
                  <a:lnTo>
                    <a:pt x="17453" y="15507"/>
                  </a:lnTo>
                  <a:lnTo>
                    <a:pt x="17600" y="15450"/>
                  </a:lnTo>
                  <a:lnTo>
                    <a:pt x="17758" y="15450"/>
                  </a:lnTo>
                  <a:lnTo>
                    <a:pt x="17905" y="15479"/>
                  </a:lnTo>
                  <a:lnTo>
                    <a:pt x="18064" y="15535"/>
                  </a:lnTo>
                  <a:lnTo>
                    <a:pt x="18233" y="15620"/>
                  </a:lnTo>
                  <a:lnTo>
                    <a:pt x="18380" y="15733"/>
                  </a:lnTo>
                  <a:lnTo>
                    <a:pt x="18561" y="15832"/>
                  </a:lnTo>
                  <a:lnTo>
                    <a:pt x="18707" y="15973"/>
                  </a:lnTo>
                  <a:lnTo>
                    <a:pt x="18866" y="16129"/>
                  </a:lnTo>
                  <a:lnTo>
                    <a:pt x="18990" y="16327"/>
                  </a:lnTo>
                  <a:lnTo>
                    <a:pt x="19125" y="16482"/>
                  </a:lnTo>
                  <a:lnTo>
                    <a:pt x="19295" y="16624"/>
                  </a:lnTo>
                  <a:lnTo>
                    <a:pt x="19464" y="16737"/>
                  </a:lnTo>
                  <a:lnTo>
                    <a:pt x="19668" y="16807"/>
                  </a:lnTo>
                  <a:lnTo>
                    <a:pt x="19860" y="16836"/>
                  </a:lnTo>
                  <a:lnTo>
                    <a:pt x="20052" y="16864"/>
                  </a:lnTo>
                  <a:lnTo>
                    <a:pt x="20266" y="16836"/>
                  </a:lnTo>
                  <a:lnTo>
                    <a:pt x="20470" y="16793"/>
                  </a:lnTo>
                  <a:lnTo>
                    <a:pt x="20662" y="16708"/>
                  </a:lnTo>
                  <a:lnTo>
                    <a:pt x="20854" y="16567"/>
                  </a:lnTo>
                  <a:lnTo>
                    <a:pt x="21035" y="16412"/>
                  </a:lnTo>
                  <a:lnTo>
                    <a:pt x="21182" y="16214"/>
                  </a:lnTo>
                  <a:lnTo>
                    <a:pt x="21340" y="16002"/>
                  </a:lnTo>
                  <a:lnTo>
                    <a:pt x="21441" y="15733"/>
                  </a:lnTo>
                  <a:lnTo>
                    <a:pt x="21532" y="15436"/>
                  </a:lnTo>
                  <a:lnTo>
                    <a:pt x="21600" y="15083"/>
                  </a:lnTo>
                  <a:lnTo>
                    <a:pt x="21600" y="14885"/>
                  </a:lnTo>
                  <a:lnTo>
                    <a:pt x="21600" y="14729"/>
                  </a:lnTo>
                  <a:lnTo>
                    <a:pt x="21600" y="14531"/>
                  </a:lnTo>
                  <a:lnTo>
                    <a:pt x="21577" y="14376"/>
                  </a:lnTo>
                  <a:lnTo>
                    <a:pt x="21532" y="14206"/>
                  </a:lnTo>
                  <a:lnTo>
                    <a:pt x="21487" y="14051"/>
                  </a:lnTo>
                  <a:lnTo>
                    <a:pt x="21419" y="13909"/>
                  </a:lnTo>
                  <a:lnTo>
                    <a:pt x="21351" y="13768"/>
                  </a:lnTo>
                  <a:lnTo>
                    <a:pt x="21204" y="13500"/>
                  </a:lnTo>
                  <a:lnTo>
                    <a:pt x="21035" y="13287"/>
                  </a:lnTo>
                  <a:lnTo>
                    <a:pt x="20809" y="13090"/>
                  </a:lnTo>
                  <a:lnTo>
                    <a:pt x="20594" y="12962"/>
                  </a:lnTo>
                  <a:lnTo>
                    <a:pt x="20357" y="12821"/>
                  </a:lnTo>
                  <a:lnTo>
                    <a:pt x="20120" y="12764"/>
                  </a:lnTo>
                  <a:lnTo>
                    <a:pt x="19882" y="12708"/>
                  </a:lnTo>
                  <a:lnTo>
                    <a:pt x="19645" y="12736"/>
                  </a:lnTo>
                  <a:lnTo>
                    <a:pt x="19430" y="12793"/>
                  </a:lnTo>
                  <a:lnTo>
                    <a:pt x="19227" y="12906"/>
                  </a:lnTo>
                  <a:lnTo>
                    <a:pt x="19148" y="12962"/>
                  </a:lnTo>
                  <a:lnTo>
                    <a:pt x="19058" y="13047"/>
                  </a:lnTo>
                  <a:lnTo>
                    <a:pt x="18990" y="13146"/>
                  </a:lnTo>
                  <a:lnTo>
                    <a:pt x="18911" y="13259"/>
                  </a:lnTo>
                  <a:lnTo>
                    <a:pt x="18775" y="13471"/>
                  </a:lnTo>
                  <a:lnTo>
                    <a:pt x="18628" y="13641"/>
                  </a:lnTo>
                  <a:lnTo>
                    <a:pt x="18470" y="13740"/>
                  </a:lnTo>
                  <a:lnTo>
                    <a:pt x="18301" y="13825"/>
                  </a:lnTo>
                  <a:lnTo>
                    <a:pt x="18143" y="13853"/>
                  </a:lnTo>
                  <a:lnTo>
                    <a:pt x="17973" y="13881"/>
                  </a:lnTo>
                  <a:lnTo>
                    <a:pt x="17804" y="13853"/>
                  </a:lnTo>
                  <a:lnTo>
                    <a:pt x="17646" y="13796"/>
                  </a:lnTo>
                  <a:lnTo>
                    <a:pt x="17499" y="13726"/>
                  </a:lnTo>
                  <a:lnTo>
                    <a:pt x="17341" y="13641"/>
                  </a:lnTo>
                  <a:lnTo>
                    <a:pt x="17216" y="13528"/>
                  </a:lnTo>
                  <a:lnTo>
                    <a:pt x="17103" y="13386"/>
                  </a:lnTo>
                  <a:lnTo>
                    <a:pt x="17024" y="13259"/>
                  </a:lnTo>
                  <a:lnTo>
                    <a:pt x="16934" y="13118"/>
                  </a:lnTo>
                  <a:lnTo>
                    <a:pt x="16889" y="12991"/>
                  </a:lnTo>
                  <a:lnTo>
                    <a:pt x="16889" y="12849"/>
                  </a:lnTo>
                  <a:lnTo>
                    <a:pt x="16889" y="12383"/>
                  </a:lnTo>
                  <a:lnTo>
                    <a:pt x="16889" y="11662"/>
                  </a:lnTo>
                  <a:lnTo>
                    <a:pt x="16889" y="10701"/>
                  </a:lnTo>
                  <a:lnTo>
                    <a:pt x="16889" y="9640"/>
                  </a:lnTo>
                  <a:lnTo>
                    <a:pt x="16889" y="8566"/>
                  </a:lnTo>
                  <a:lnTo>
                    <a:pt x="16889" y="7478"/>
                  </a:lnTo>
                  <a:lnTo>
                    <a:pt x="16889" y="6502"/>
                  </a:lnTo>
                  <a:lnTo>
                    <a:pt x="16889" y="5739"/>
                  </a:lnTo>
                  <a:lnTo>
                    <a:pt x="16674" y="5894"/>
                  </a:lnTo>
                  <a:lnTo>
                    <a:pt x="16414" y="6036"/>
                  </a:lnTo>
                  <a:lnTo>
                    <a:pt x="16154" y="6177"/>
                  </a:lnTo>
                  <a:lnTo>
                    <a:pt x="15849" y="6248"/>
                  </a:lnTo>
                  <a:lnTo>
                    <a:pt x="15544" y="6304"/>
                  </a:lnTo>
                  <a:lnTo>
                    <a:pt x="15217" y="6332"/>
                  </a:lnTo>
                  <a:lnTo>
                    <a:pt x="14866" y="6361"/>
                  </a:lnTo>
                  <a:lnTo>
                    <a:pt x="14550" y="6361"/>
                  </a:lnTo>
                  <a:lnTo>
                    <a:pt x="14200" y="6332"/>
                  </a:lnTo>
                  <a:lnTo>
                    <a:pt x="13850" y="6276"/>
                  </a:lnTo>
                  <a:lnTo>
                    <a:pt x="13522" y="6219"/>
                  </a:lnTo>
                  <a:lnTo>
                    <a:pt x="13206" y="6149"/>
                  </a:lnTo>
                  <a:lnTo>
                    <a:pt x="12901" y="6064"/>
                  </a:lnTo>
                  <a:lnTo>
                    <a:pt x="12618" y="5951"/>
                  </a:lnTo>
                  <a:lnTo>
                    <a:pt x="12358" y="5838"/>
                  </a:lnTo>
                  <a:lnTo>
                    <a:pt x="12121" y="5739"/>
                  </a:lnTo>
                  <a:lnTo>
                    <a:pt x="11941" y="5626"/>
                  </a:lnTo>
                  <a:lnTo>
                    <a:pt x="11794" y="5513"/>
                  </a:lnTo>
                  <a:lnTo>
                    <a:pt x="11658" y="5414"/>
                  </a:lnTo>
                  <a:lnTo>
                    <a:pt x="11556" y="5301"/>
                  </a:lnTo>
                  <a:lnTo>
                    <a:pt x="11466" y="5187"/>
                  </a:lnTo>
                  <a:lnTo>
                    <a:pt x="11398" y="5089"/>
                  </a:lnTo>
                  <a:lnTo>
                    <a:pt x="11376" y="4947"/>
                  </a:lnTo>
                  <a:lnTo>
                    <a:pt x="11353" y="4834"/>
                  </a:lnTo>
                  <a:lnTo>
                    <a:pt x="11353" y="4707"/>
                  </a:lnTo>
                  <a:lnTo>
                    <a:pt x="11376" y="4565"/>
                  </a:lnTo>
                  <a:lnTo>
                    <a:pt x="11443" y="4410"/>
                  </a:lnTo>
                  <a:lnTo>
                    <a:pt x="11511" y="4240"/>
                  </a:lnTo>
                  <a:lnTo>
                    <a:pt x="11703" y="3887"/>
                  </a:lnTo>
                  <a:lnTo>
                    <a:pt x="11986" y="3505"/>
                  </a:lnTo>
                  <a:lnTo>
                    <a:pt x="12144" y="3265"/>
                  </a:lnTo>
                  <a:lnTo>
                    <a:pt x="12246" y="3025"/>
                  </a:lnTo>
                  <a:lnTo>
                    <a:pt x="12336" y="2756"/>
                  </a:lnTo>
                  <a:lnTo>
                    <a:pt x="12404" y="2445"/>
                  </a:lnTo>
                  <a:lnTo>
                    <a:pt x="12438" y="2176"/>
                  </a:lnTo>
                  <a:lnTo>
                    <a:pt x="12438" y="1880"/>
                  </a:lnTo>
                  <a:lnTo>
                    <a:pt x="12404" y="1583"/>
                  </a:lnTo>
                  <a:lnTo>
                    <a:pt x="12336" y="1314"/>
                  </a:lnTo>
                  <a:lnTo>
                    <a:pt x="12246" y="1046"/>
                  </a:lnTo>
                  <a:lnTo>
                    <a:pt x="12099" y="791"/>
                  </a:lnTo>
                  <a:lnTo>
                    <a:pt x="12008" y="692"/>
                  </a:lnTo>
                  <a:lnTo>
                    <a:pt x="11918" y="579"/>
                  </a:lnTo>
                  <a:lnTo>
                    <a:pt x="11816" y="466"/>
                  </a:lnTo>
                  <a:lnTo>
                    <a:pt x="11703" y="381"/>
                  </a:lnTo>
                  <a:lnTo>
                    <a:pt x="11579" y="310"/>
                  </a:lnTo>
                  <a:lnTo>
                    <a:pt x="11443" y="226"/>
                  </a:lnTo>
                  <a:lnTo>
                    <a:pt x="11297" y="169"/>
                  </a:lnTo>
                  <a:lnTo>
                    <a:pt x="11138" y="113"/>
                  </a:lnTo>
                  <a:lnTo>
                    <a:pt x="10969" y="56"/>
                  </a:lnTo>
                  <a:lnTo>
                    <a:pt x="10800" y="28"/>
                  </a:lnTo>
                  <a:lnTo>
                    <a:pt x="10619" y="28"/>
                  </a:lnTo>
                  <a:lnTo>
                    <a:pt x="10404" y="28"/>
                  </a:lnTo>
                  <a:lnTo>
                    <a:pt x="10257" y="28"/>
                  </a:lnTo>
                  <a:lnTo>
                    <a:pt x="10076" y="56"/>
                  </a:lnTo>
                  <a:lnTo>
                    <a:pt x="9952" y="84"/>
                  </a:lnTo>
                  <a:lnTo>
                    <a:pt x="9794" y="141"/>
                  </a:lnTo>
                  <a:lnTo>
                    <a:pt x="9692" y="226"/>
                  </a:lnTo>
                  <a:lnTo>
                    <a:pt x="9557" y="282"/>
                  </a:lnTo>
                  <a:lnTo>
                    <a:pt x="9455" y="381"/>
                  </a:lnTo>
                  <a:lnTo>
                    <a:pt x="9365" y="466"/>
                  </a:lnTo>
                  <a:lnTo>
                    <a:pt x="9274" y="579"/>
                  </a:lnTo>
                  <a:lnTo>
                    <a:pt x="9184" y="692"/>
                  </a:lnTo>
                  <a:lnTo>
                    <a:pt x="9128" y="791"/>
                  </a:lnTo>
                  <a:lnTo>
                    <a:pt x="9060" y="932"/>
                  </a:lnTo>
                  <a:lnTo>
                    <a:pt x="8969" y="1201"/>
                  </a:lnTo>
                  <a:lnTo>
                    <a:pt x="8913" y="1498"/>
                  </a:lnTo>
                  <a:lnTo>
                    <a:pt x="8890" y="1795"/>
                  </a:lnTo>
                  <a:lnTo>
                    <a:pt x="8890" y="2120"/>
                  </a:lnTo>
                  <a:lnTo>
                    <a:pt x="8913" y="2445"/>
                  </a:lnTo>
                  <a:lnTo>
                    <a:pt x="8969" y="2756"/>
                  </a:lnTo>
                  <a:lnTo>
                    <a:pt x="9060" y="3081"/>
                  </a:lnTo>
                  <a:lnTo>
                    <a:pt x="9173" y="3378"/>
                  </a:lnTo>
                  <a:lnTo>
                    <a:pt x="9297" y="3647"/>
                  </a:lnTo>
                  <a:lnTo>
                    <a:pt x="9466" y="3887"/>
                  </a:lnTo>
                  <a:lnTo>
                    <a:pt x="9579" y="4085"/>
                  </a:lnTo>
                  <a:lnTo>
                    <a:pt x="9670" y="4269"/>
                  </a:lnTo>
                  <a:lnTo>
                    <a:pt x="9726" y="4467"/>
                  </a:lnTo>
                  <a:lnTo>
                    <a:pt x="9771" y="4650"/>
                  </a:lnTo>
                  <a:lnTo>
                    <a:pt x="9771" y="4834"/>
                  </a:lnTo>
                  <a:lnTo>
                    <a:pt x="9749" y="5032"/>
                  </a:lnTo>
                  <a:lnTo>
                    <a:pt x="9715" y="5216"/>
                  </a:lnTo>
                  <a:lnTo>
                    <a:pt x="9625" y="5385"/>
                  </a:lnTo>
                  <a:lnTo>
                    <a:pt x="9534" y="5513"/>
                  </a:lnTo>
                  <a:lnTo>
                    <a:pt x="9410" y="5626"/>
                  </a:lnTo>
                  <a:lnTo>
                    <a:pt x="9229" y="5710"/>
                  </a:lnTo>
                  <a:lnTo>
                    <a:pt x="9060" y="5767"/>
                  </a:lnTo>
                  <a:lnTo>
                    <a:pt x="8845" y="5767"/>
                  </a:lnTo>
                  <a:lnTo>
                    <a:pt x="8585" y="5739"/>
                  </a:lnTo>
                  <a:lnTo>
                    <a:pt x="8325" y="5654"/>
                  </a:lnTo>
                  <a:lnTo>
                    <a:pt x="8020" y="5513"/>
                  </a:lnTo>
                  <a:lnTo>
                    <a:pt x="7840" y="5442"/>
                  </a:lnTo>
                  <a:lnTo>
                    <a:pt x="7648" y="5385"/>
                  </a:lnTo>
                  <a:lnTo>
                    <a:pt x="7433" y="5329"/>
                  </a:lnTo>
                  <a:lnTo>
                    <a:pt x="7241" y="5301"/>
                  </a:lnTo>
                  <a:lnTo>
                    <a:pt x="6755" y="5301"/>
                  </a:lnTo>
                  <a:lnTo>
                    <a:pt x="6281" y="5329"/>
                  </a:lnTo>
                  <a:lnTo>
                    <a:pt x="5784" y="5385"/>
                  </a:lnTo>
                  <a:lnTo>
                    <a:pt x="5264" y="5498"/>
                  </a:lnTo>
                  <a:lnTo>
                    <a:pt x="4744" y="5597"/>
                  </a:lnTo>
                  <a:lnTo>
                    <a:pt x="4247" y="5739"/>
                  </a:lnTo>
                  <a:lnTo>
                    <a:pt x="4202" y="5894"/>
                  </a:lnTo>
                  <a:lnTo>
                    <a:pt x="4202" y="6191"/>
                  </a:lnTo>
                  <a:lnTo>
                    <a:pt x="4202" y="6545"/>
                  </a:lnTo>
                  <a:lnTo>
                    <a:pt x="4225" y="6954"/>
                  </a:lnTo>
                  <a:lnTo>
                    <a:pt x="4315" y="7930"/>
                  </a:lnTo>
                  <a:lnTo>
                    <a:pt x="4394" y="9018"/>
                  </a:lnTo>
                  <a:lnTo>
                    <a:pt x="4439" y="9570"/>
                  </a:lnTo>
                  <a:lnTo>
                    <a:pt x="4462" y="10107"/>
                  </a:lnTo>
                  <a:lnTo>
                    <a:pt x="4484" y="10630"/>
                  </a:lnTo>
                  <a:lnTo>
                    <a:pt x="4507" y="11082"/>
                  </a:lnTo>
                  <a:lnTo>
                    <a:pt x="4484" y="11520"/>
                  </a:lnTo>
                  <a:lnTo>
                    <a:pt x="4439" y="11874"/>
                  </a:lnTo>
                  <a:lnTo>
                    <a:pt x="4394" y="12029"/>
                  </a:lnTo>
                  <a:lnTo>
                    <a:pt x="4349" y="12171"/>
                  </a:lnTo>
                  <a:lnTo>
                    <a:pt x="4315" y="12284"/>
                  </a:lnTo>
                  <a:lnTo>
                    <a:pt x="4247" y="12354"/>
                  </a:lnTo>
                  <a:close/>
                </a:path>
              </a:pathLst>
            </a:custGeom>
            <a:solidFill>
              <a:schemeClr val="accent1"/>
            </a:solidFill>
            <a:ln w="28575">
              <a:solidFill>
                <a:srgbClr val="FFFFFF"/>
              </a:solidFill>
              <a:miter lim="800000"/>
              <a:headEnd/>
              <a:tailEnd/>
            </a:ln>
          </p:spPr>
          <p:txBody>
            <a:bodyPr lIns="45720" rIns="45720" bIns="18288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FFFFFF"/>
                </a:solidFill>
                <a:effectLst/>
                <a:uLnTx/>
                <a:uFillTx/>
                <a:latin typeface="Arial"/>
                <a:ea typeface="+mn-ea"/>
                <a:cs typeface="+mn-cs"/>
              </a:endParaRPr>
            </a:p>
          </p:txBody>
        </p:sp>
      </p:grpSp>
      <p:grpSp>
        <p:nvGrpSpPr>
          <p:cNvPr id="22" name="Group 21" descr="Text 3">
            <a:extLst>
              <a:ext uri="{FF2B5EF4-FFF2-40B4-BE49-F238E27FC236}">
                <a16:creationId xmlns:a16="http://schemas.microsoft.com/office/drawing/2014/main" id="{306FA6FC-45CF-4911-AAAA-139383538087}"/>
              </a:ext>
            </a:extLst>
          </p:cNvPr>
          <p:cNvGrpSpPr/>
          <p:nvPr/>
        </p:nvGrpSpPr>
        <p:grpSpPr>
          <a:xfrm>
            <a:off x="8092019" y="2222168"/>
            <a:ext cx="3347303" cy="630942"/>
            <a:chOff x="8092019" y="2222168"/>
            <a:chExt cx="3347303" cy="630942"/>
          </a:xfrm>
        </p:grpSpPr>
        <p:cxnSp>
          <p:nvCxnSpPr>
            <p:cNvPr id="15" name="Straight Connector 14">
              <a:extLst>
                <a:ext uri="{FF2B5EF4-FFF2-40B4-BE49-F238E27FC236}">
                  <a16:creationId xmlns:a16="http://schemas.microsoft.com/office/drawing/2014/main" id="{11F87A7D-2ADE-4D92-A90C-AF083C326B28}"/>
                </a:ext>
              </a:extLst>
            </p:cNvPr>
            <p:cNvCxnSpPr/>
            <p:nvPr/>
          </p:nvCxnSpPr>
          <p:spPr bwMode="auto">
            <a:xfrm flipH="1">
              <a:off x="8092019" y="2224918"/>
              <a:ext cx="3347303" cy="0"/>
            </a:xfrm>
            <a:prstGeom prst="line">
              <a:avLst/>
            </a:prstGeom>
            <a:noFill/>
            <a:ln w="12700" cap="flat" cmpd="sng" algn="ctr">
              <a:solidFill>
                <a:srgbClr val="000000"/>
              </a:solidFill>
              <a:prstDash val="solid"/>
              <a:headEnd type="none" w="med" len="med"/>
              <a:tailEnd type="oval" w="med" len="med"/>
            </a:ln>
            <a:effectLst/>
          </p:spPr>
        </p:cxnSp>
        <p:sp>
          <p:nvSpPr>
            <p:cNvPr id="14" name="TextBox 13">
              <a:extLst>
                <a:ext uri="{FF2B5EF4-FFF2-40B4-BE49-F238E27FC236}">
                  <a16:creationId xmlns:a16="http://schemas.microsoft.com/office/drawing/2014/main" id="{DCB1211F-6A91-4B4A-9600-9EB5C44E3E60}"/>
                </a:ext>
              </a:extLst>
            </p:cNvPr>
            <p:cNvSpPr txBox="1"/>
            <p:nvPr/>
          </p:nvSpPr>
          <p:spPr bwMode="auto">
            <a:xfrm>
              <a:off x="9115374" y="2222168"/>
              <a:ext cx="2323947" cy="630942"/>
            </a:xfrm>
            <a:prstGeom prst="rect">
              <a:avLst/>
            </a:prstGeom>
            <a:noFill/>
          </p:spPr>
          <p:txBody>
            <a:bodyPr wrap="square" lIns="0" rIns="0" rtlCol="0">
              <a:spAutoFit/>
            </a:bodyP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400" b="0" i="0" u="none" strike="noStrike" kern="0" cap="none" spc="0" normalizeH="0" baseline="0" noProof="0" dirty="0">
                  <a:ln>
                    <a:noFill/>
                  </a:ln>
                  <a:solidFill>
                    <a:srgbClr val="000000"/>
                  </a:solidFill>
                  <a:effectLst/>
                  <a:uLnTx/>
                  <a:uFillTx/>
                  <a:ea typeface="Arial Unicode MS" pitchFamily="34" charset="-128"/>
                  <a:cs typeface="Arial Unicode MS" pitchFamily="34" charset="-128"/>
                </a:rPr>
                <a:t>Text</a:t>
              </a:r>
            </a:p>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400" b="0" i="0" u="none" strike="noStrike" kern="0" cap="none" spc="0" normalizeH="0" baseline="0" noProof="0" dirty="0">
                <a:ln>
                  <a:noFill/>
                </a:ln>
                <a:solidFill>
                  <a:srgbClr val="000000"/>
                </a:solidFill>
                <a:effectLst/>
                <a:uLnTx/>
                <a:uFillTx/>
                <a:ea typeface="Arial Unicode MS" pitchFamily="34" charset="-128"/>
                <a:cs typeface="Arial Unicode MS" pitchFamily="34" charset="-128"/>
              </a:endParaRPr>
            </a:p>
          </p:txBody>
        </p:sp>
      </p:grpSp>
      <p:grpSp>
        <p:nvGrpSpPr>
          <p:cNvPr id="23" name="Group 22" descr="Text 4">
            <a:extLst>
              <a:ext uri="{FF2B5EF4-FFF2-40B4-BE49-F238E27FC236}">
                <a16:creationId xmlns:a16="http://schemas.microsoft.com/office/drawing/2014/main" id="{24E30009-CAB7-4776-895D-21CF8743F915}"/>
              </a:ext>
            </a:extLst>
          </p:cNvPr>
          <p:cNvGrpSpPr/>
          <p:nvPr/>
        </p:nvGrpSpPr>
        <p:grpSpPr>
          <a:xfrm>
            <a:off x="8092020" y="3934580"/>
            <a:ext cx="3347303" cy="630942"/>
            <a:chOff x="8092020" y="3934580"/>
            <a:chExt cx="3347303" cy="630942"/>
          </a:xfrm>
        </p:grpSpPr>
        <p:cxnSp>
          <p:nvCxnSpPr>
            <p:cNvPr id="17" name="Straight Connector 16">
              <a:extLst>
                <a:ext uri="{FF2B5EF4-FFF2-40B4-BE49-F238E27FC236}">
                  <a16:creationId xmlns:a16="http://schemas.microsoft.com/office/drawing/2014/main" id="{75848E77-5D6E-42CF-BEA2-AF10984739C2}"/>
                </a:ext>
              </a:extLst>
            </p:cNvPr>
            <p:cNvCxnSpPr/>
            <p:nvPr/>
          </p:nvCxnSpPr>
          <p:spPr bwMode="auto">
            <a:xfrm flipH="1">
              <a:off x="8092020" y="3937330"/>
              <a:ext cx="3347303" cy="0"/>
            </a:xfrm>
            <a:prstGeom prst="line">
              <a:avLst/>
            </a:prstGeom>
            <a:noFill/>
            <a:ln w="12700" cap="flat" cmpd="sng" algn="ctr">
              <a:solidFill>
                <a:srgbClr val="000000"/>
              </a:solidFill>
              <a:prstDash val="solid"/>
              <a:headEnd type="none" w="med" len="med"/>
              <a:tailEnd type="oval" w="med" len="med"/>
            </a:ln>
            <a:effectLst/>
          </p:spPr>
        </p:cxnSp>
        <p:sp>
          <p:nvSpPr>
            <p:cNvPr id="16" name="TextBox 15">
              <a:extLst>
                <a:ext uri="{FF2B5EF4-FFF2-40B4-BE49-F238E27FC236}">
                  <a16:creationId xmlns:a16="http://schemas.microsoft.com/office/drawing/2014/main" id="{DEC5494A-A7B2-416C-A300-7DBE2473EAEB}"/>
                </a:ext>
              </a:extLst>
            </p:cNvPr>
            <p:cNvSpPr txBox="1"/>
            <p:nvPr/>
          </p:nvSpPr>
          <p:spPr bwMode="auto">
            <a:xfrm>
              <a:off x="9115375" y="3934580"/>
              <a:ext cx="2323947" cy="630942"/>
            </a:xfrm>
            <a:prstGeom prst="rect">
              <a:avLst/>
            </a:prstGeom>
            <a:noFill/>
          </p:spPr>
          <p:txBody>
            <a:bodyPr wrap="square" lIns="0" rIns="0" rtlCol="0">
              <a:spAutoFit/>
            </a:bodyP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400" b="0" i="0" u="none" strike="noStrike" kern="0" cap="none" spc="0" normalizeH="0" baseline="0" noProof="0" dirty="0">
                  <a:ln>
                    <a:noFill/>
                  </a:ln>
                  <a:solidFill>
                    <a:srgbClr val="000000"/>
                  </a:solidFill>
                  <a:effectLst/>
                  <a:uLnTx/>
                  <a:uFillTx/>
                  <a:ea typeface="Arial Unicode MS" pitchFamily="34" charset="-128"/>
                  <a:cs typeface="Arial Unicode MS" pitchFamily="34" charset="-128"/>
                </a:rPr>
                <a:t>Text</a:t>
              </a:r>
            </a:p>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400" b="0" i="0" u="none" strike="noStrike" kern="0" cap="none" spc="0" normalizeH="0" baseline="0" noProof="0" dirty="0">
                <a:ln>
                  <a:noFill/>
                </a:ln>
                <a:solidFill>
                  <a:srgbClr val="000000"/>
                </a:solidFill>
                <a:effectLst/>
                <a:uLnTx/>
                <a:uFillTx/>
                <a:ea typeface="Arial Unicode MS" pitchFamily="34" charset="-128"/>
                <a:cs typeface="Arial Unicode MS" pitchFamily="34" charset="-128"/>
              </a:endParaRPr>
            </a:p>
          </p:txBody>
        </p:sp>
      </p:grpSp>
      <p:sp>
        <p:nvSpPr>
          <p:cNvPr id="19" name="Footer Placeholder 18">
            <a:extLst>
              <a:ext uri="{FF2B5EF4-FFF2-40B4-BE49-F238E27FC236}">
                <a16:creationId xmlns:a16="http://schemas.microsoft.com/office/drawing/2014/main" id="{30DB9AE8-B577-4748-A3D9-9DED1399DC98}"/>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0" name="Slide Number Placeholder 19">
            <a:extLst>
              <a:ext uri="{FF2B5EF4-FFF2-40B4-BE49-F238E27FC236}">
                <a16:creationId xmlns:a16="http://schemas.microsoft.com/office/drawing/2014/main" id="{ED0A052A-6D46-475F-B329-0FADE72AB969}"/>
              </a:ext>
            </a:extLst>
          </p:cNvPr>
          <p:cNvSpPr>
            <a:spLocks noGrp="1"/>
          </p:cNvSpPr>
          <p:nvPr>
            <p:ph type="sldNum" sz="quarter" idx="10"/>
          </p:nvPr>
        </p:nvSpPr>
        <p:spPr/>
        <p:txBody>
          <a:bodyPr/>
          <a:lstStyle/>
          <a:p>
            <a:fld id="{1F90F471-3972-4120-B8B3-0237DE626C35}" type="slidenum">
              <a:rPr lang="en-US" smtClean="0"/>
              <a:pPr/>
              <a:t>448</a:t>
            </a:fld>
            <a:endParaRPr lang="en-US" dirty="0"/>
          </a:p>
        </p:txBody>
      </p:sp>
    </p:spTree>
    <p:extLst>
      <p:ext uri="{BB962C8B-B14F-4D97-AF65-F5344CB8AC3E}">
        <p14:creationId xmlns:p14="http://schemas.microsoft.com/office/powerpoint/2010/main" val="2905752027"/>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Puzzle Pieces 3</a:t>
            </a:r>
          </a:p>
        </p:txBody>
      </p:sp>
      <p:grpSp>
        <p:nvGrpSpPr>
          <p:cNvPr id="3" name="Group 2" descr="Puzzle Pieces 3">
            <a:extLst>
              <a:ext uri="{FF2B5EF4-FFF2-40B4-BE49-F238E27FC236}">
                <a16:creationId xmlns:a16="http://schemas.microsoft.com/office/drawing/2014/main" id="{C6E8167D-8F22-4F38-A75E-FE6D49530745}"/>
              </a:ext>
            </a:extLst>
          </p:cNvPr>
          <p:cNvGrpSpPr/>
          <p:nvPr/>
        </p:nvGrpSpPr>
        <p:grpSpPr>
          <a:xfrm>
            <a:off x="3472771" y="1310357"/>
            <a:ext cx="5246458" cy="4873901"/>
            <a:chOff x="3472771" y="1310357"/>
            <a:chExt cx="5246458" cy="4873901"/>
          </a:xfrm>
        </p:grpSpPr>
        <p:sp>
          <p:nvSpPr>
            <p:cNvPr id="30" name="Puzzle1">
              <a:extLst>
                <a:ext uri="{FF2B5EF4-FFF2-40B4-BE49-F238E27FC236}">
                  <a16:creationId xmlns:a16="http://schemas.microsoft.com/office/drawing/2014/main" id="{FE96F665-5C62-4BA0-9C9A-916A8152B4ED}"/>
                </a:ext>
              </a:extLst>
            </p:cNvPr>
            <p:cNvSpPr>
              <a:spLocks noEditPoints="1" noChangeArrowheads="1"/>
            </p:cNvSpPr>
            <p:nvPr/>
          </p:nvSpPr>
          <p:spPr bwMode="auto">
            <a:xfrm>
              <a:off x="3472771" y="1768242"/>
              <a:ext cx="1938824" cy="1058597"/>
            </a:xfrm>
            <a:custGeom>
              <a:avLst/>
              <a:gdLst>
                <a:gd name="T0" fmla="*/ 1230313 w 21600"/>
                <a:gd name="T1" fmla="*/ 780764 h 21600"/>
                <a:gd name="T2" fmla="*/ 1247658 w 21600"/>
                <a:gd name="T3" fmla="*/ 19299 h 21600"/>
                <a:gd name="T4" fmla="*/ 347266 w 21600"/>
                <a:gd name="T5" fmla="*/ 31708 h 21600"/>
                <a:gd name="T6" fmla="*/ 370417 w 21600"/>
                <a:gd name="T7" fmla="*/ 778023 h 21600"/>
                <a:gd name="T8" fmla="*/ 794558 w 21600"/>
                <a:gd name="T9" fmla="*/ 477282 h 21600"/>
                <a:gd name="T10" fmla="*/ 797057 w 21600"/>
                <a:gd name="T11" fmla="*/ 322781 h 21600"/>
                <a:gd name="T12" fmla="*/ 1587500 w 21600"/>
                <a:gd name="T13" fmla="*/ 370417 h 21600"/>
                <a:gd name="T14" fmla="*/ 4116 w 21600"/>
                <a:gd name="T15" fmla="*/ 370417 h 21600"/>
                <a:gd name="T16" fmla="*/ 0 60000 65536"/>
                <a:gd name="T17" fmla="*/ 0 60000 65536"/>
                <a:gd name="T18" fmla="*/ 0 60000 65536"/>
                <a:gd name="T19" fmla="*/ 0 60000 65536"/>
                <a:gd name="T20" fmla="*/ 0 60000 65536"/>
                <a:gd name="T21" fmla="*/ 0 60000 65536"/>
                <a:gd name="T22" fmla="*/ 0 60000 65536"/>
                <a:gd name="T23" fmla="*/ 0 60000 65536"/>
                <a:gd name="T24" fmla="*/ 6086 w 21600"/>
                <a:gd name="T25" fmla="*/ 2569 h 21600"/>
                <a:gd name="T26" fmla="*/ 16132 w 21600"/>
                <a:gd name="T27" fmla="*/ 19552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9360" y="20836"/>
                  </a:moveTo>
                  <a:lnTo>
                    <a:pt x="9528" y="20836"/>
                  </a:lnTo>
                  <a:lnTo>
                    <a:pt x="9686" y="20762"/>
                  </a:lnTo>
                  <a:lnTo>
                    <a:pt x="9810" y="20687"/>
                  </a:lnTo>
                  <a:lnTo>
                    <a:pt x="9922" y="20575"/>
                  </a:lnTo>
                  <a:lnTo>
                    <a:pt x="10012" y="20426"/>
                  </a:lnTo>
                  <a:lnTo>
                    <a:pt x="10068" y="20296"/>
                  </a:lnTo>
                  <a:lnTo>
                    <a:pt x="10113" y="20110"/>
                  </a:lnTo>
                  <a:lnTo>
                    <a:pt x="10136" y="19905"/>
                  </a:lnTo>
                  <a:lnTo>
                    <a:pt x="10136" y="19682"/>
                  </a:lnTo>
                  <a:lnTo>
                    <a:pt x="10113" y="19440"/>
                  </a:lnTo>
                  <a:lnTo>
                    <a:pt x="10068" y="19142"/>
                  </a:lnTo>
                  <a:lnTo>
                    <a:pt x="10012" y="18900"/>
                  </a:lnTo>
                  <a:lnTo>
                    <a:pt x="9900" y="18620"/>
                  </a:lnTo>
                  <a:lnTo>
                    <a:pt x="9787" y="18285"/>
                  </a:lnTo>
                  <a:lnTo>
                    <a:pt x="9641" y="17968"/>
                  </a:lnTo>
                  <a:lnTo>
                    <a:pt x="9472" y="17652"/>
                  </a:lnTo>
                  <a:lnTo>
                    <a:pt x="9382" y="17466"/>
                  </a:lnTo>
                  <a:lnTo>
                    <a:pt x="9315" y="17298"/>
                  </a:lnTo>
                  <a:lnTo>
                    <a:pt x="9258" y="17112"/>
                  </a:lnTo>
                  <a:lnTo>
                    <a:pt x="9191" y="16926"/>
                  </a:lnTo>
                  <a:lnTo>
                    <a:pt x="9123" y="16535"/>
                  </a:lnTo>
                  <a:lnTo>
                    <a:pt x="9101" y="16144"/>
                  </a:lnTo>
                  <a:lnTo>
                    <a:pt x="9101" y="15753"/>
                  </a:lnTo>
                  <a:lnTo>
                    <a:pt x="9168" y="15362"/>
                  </a:lnTo>
                  <a:lnTo>
                    <a:pt x="9236" y="14971"/>
                  </a:lnTo>
                  <a:lnTo>
                    <a:pt x="9360" y="14580"/>
                  </a:lnTo>
                  <a:lnTo>
                    <a:pt x="9495" y="14244"/>
                  </a:lnTo>
                  <a:lnTo>
                    <a:pt x="9663" y="13891"/>
                  </a:lnTo>
                  <a:lnTo>
                    <a:pt x="9855" y="13611"/>
                  </a:lnTo>
                  <a:lnTo>
                    <a:pt x="10068" y="13351"/>
                  </a:lnTo>
                  <a:lnTo>
                    <a:pt x="10293" y="13146"/>
                  </a:lnTo>
                  <a:lnTo>
                    <a:pt x="10552" y="12997"/>
                  </a:lnTo>
                  <a:lnTo>
                    <a:pt x="10811" y="12885"/>
                  </a:lnTo>
                  <a:lnTo>
                    <a:pt x="11069" y="12866"/>
                  </a:lnTo>
                  <a:lnTo>
                    <a:pt x="11351" y="12885"/>
                  </a:lnTo>
                  <a:lnTo>
                    <a:pt x="11610" y="12997"/>
                  </a:lnTo>
                  <a:lnTo>
                    <a:pt x="11846" y="13183"/>
                  </a:lnTo>
                  <a:lnTo>
                    <a:pt x="12060" y="13388"/>
                  </a:lnTo>
                  <a:lnTo>
                    <a:pt x="12251" y="13648"/>
                  </a:lnTo>
                  <a:lnTo>
                    <a:pt x="12419" y="13928"/>
                  </a:lnTo>
                  <a:lnTo>
                    <a:pt x="12555" y="14244"/>
                  </a:lnTo>
                  <a:lnTo>
                    <a:pt x="12690" y="14617"/>
                  </a:lnTo>
                  <a:lnTo>
                    <a:pt x="12768" y="15008"/>
                  </a:lnTo>
                  <a:lnTo>
                    <a:pt x="12836" y="15399"/>
                  </a:lnTo>
                  <a:lnTo>
                    <a:pt x="12858" y="15753"/>
                  </a:lnTo>
                  <a:lnTo>
                    <a:pt x="12858" y="16144"/>
                  </a:lnTo>
                  <a:lnTo>
                    <a:pt x="12813" y="16535"/>
                  </a:lnTo>
                  <a:lnTo>
                    <a:pt x="12746" y="16888"/>
                  </a:lnTo>
                  <a:lnTo>
                    <a:pt x="12667" y="17224"/>
                  </a:lnTo>
                  <a:lnTo>
                    <a:pt x="12510" y="17503"/>
                  </a:lnTo>
                  <a:lnTo>
                    <a:pt x="12228" y="18043"/>
                  </a:lnTo>
                  <a:lnTo>
                    <a:pt x="11970" y="18546"/>
                  </a:lnTo>
                  <a:lnTo>
                    <a:pt x="11868" y="18751"/>
                  </a:lnTo>
                  <a:lnTo>
                    <a:pt x="11778" y="18974"/>
                  </a:lnTo>
                  <a:lnTo>
                    <a:pt x="11711" y="19179"/>
                  </a:lnTo>
                  <a:lnTo>
                    <a:pt x="11666" y="19365"/>
                  </a:lnTo>
                  <a:lnTo>
                    <a:pt x="11632" y="19570"/>
                  </a:lnTo>
                  <a:lnTo>
                    <a:pt x="11632" y="19756"/>
                  </a:lnTo>
                  <a:lnTo>
                    <a:pt x="11632" y="19942"/>
                  </a:lnTo>
                  <a:lnTo>
                    <a:pt x="11643" y="20110"/>
                  </a:lnTo>
                  <a:lnTo>
                    <a:pt x="11711" y="20296"/>
                  </a:lnTo>
                  <a:lnTo>
                    <a:pt x="11801" y="20464"/>
                  </a:lnTo>
                  <a:lnTo>
                    <a:pt x="11891" y="20650"/>
                  </a:lnTo>
                  <a:lnTo>
                    <a:pt x="12037" y="20836"/>
                  </a:lnTo>
                  <a:lnTo>
                    <a:pt x="12206" y="21004"/>
                  </a:lnTo>
                  <a:lnTo>
                    <a:pt x="12419" y="21190"/>
                  </a:lnTo>
                  <a:lnTo>
                    <a:pt x="12667" y="21320"/>
                  </a:lnTo>
                  <a:lnTo>
                    <a:pt x="12960" y="21432"/>
                  </a:lnTo>
                  <a:lnTo>
                    <a:pt x="13286" y="21544"/>
                  </a:lnTo>
                  <a:lnTo>
                    <a:pt x="13612" y="21655"/>
                  </a:lnTo>
                  <a:lnTo>
                    <a:pt x="13983" y="21693"/>
                  </a:lnTo>
                  <a:lnTo>
                    <a:pt x="14343" y="21730"/>
                  </a:lnTo>
                  <a:lnTo>
                    <a:pt x="14715" y="21730"/>
                  </a:lnTo>
                  <a:lnTo>
                    <a:pt x="15075" y="21730"/>
                  </a:lnTo>
                  <a:lnTo>
                    <a:pt x="15446" y="21655"/>
                  </a:lnTo>
                  <a:lnTo>
                    <a:pt x="15794" y="21581"/>
                  </a:lnTo>
                  <a:lnTo>
                    <a:pt x="16132" y="21432"/>
                  </a:lnTo>
                  <a:lnTo>
                    <a:pt x="16458" y="21302"/>
                  </a:lnTo>
                  <a:lnTo>
                    <a:pt x="16740" y="21078"/>
                  </a:lnTo>
                  <a:lnTo>
                    <a:pt x="16976" y="20836"/>
                  </a:lnTo>
                  <a:lnTo>
                    <a:pt x="17043" y="20650"/>
                  </a:lnTo>
                  <a:lnTo>
                    <a:pt x="17088" y="20426"/>
                  </a:lnTo>
                  <a:lnTo>
                    <a:pt x="17133" y="20222"/>
                  </a:lnTo>
                  <a:lnTo>
                    <a:pt x="17156" y="19980"/>
                  </a:lnTo>
                  <a:lnTo>
                    <a:pt x="17167" y="19477"/>
                  </a:lnTo>
                  <a:lnTo>
                    <a:pt x="17167" y="18974"/>
                  </a:lnTo>
                  <a:lnTo>
                    <a:pt x="17156" y="18397"/>
                  </a:lnTo>
                  <a:lnTo>
                    <a:pt x="17111" y="17820"/>
                  </a:lnTo>
                  <a:lnTo>
                    <a:pt x="17066" y="17261"/>
                  </a:lnTo>
                  <a:lnTo>
                    <a:pt x="16998" y="16646"/>
                  </a:lnTo>
                  <a:lnTo>
                    <a:pt x="16852" y="15511"/>
                  </a:lnTo>
                  <a:lnTo>
                    <a:pt x="16740" y="14393"/>
                  </a:lnTo>
                  <a:lnTo>
                    <a:pt x="16717" y="13928"/>
                  </a:lnTo>
                  <a:lnTo>
                    <a:pt x="16695" y="13462"/>
                  </a:lnTo>
                  <a:lnTo>
                    <a:pt x="16717" y="13071"/>
                  </a:lnTo>
                  <a:lnTo>
                    <a:pt x="16785" y="12755"/>
                  </a:lnTo>
                  <a:lnTo>
                    <a:pt x="16852" y="12419"/>
                  </a:lnTo>
                  <a:lnTo>
                    <a:pt x="16953" y="12140"/>
                  </a:lnTo>
                  <a:lnTo>
                    <a:pt x="17088" y="11898"/>
                  </a:lnTo>
                  <a:lnTo>
                    <a:pt x="17212" y="11675"/>
                  </a:lnTo>
                  <a:lnTo>
                    <a:pt x="17370" y="11470"/>
                  </a:lnTo>
                  <a:lnTo>
                    <a:pt x="17516" y="11284"/>
                  </a:lnTo>
                  <a:lnTo>
                    <a:pt x="17696" y="11135"/>
                  </a:lnTo>
                  <a:lnTo>
                    <a:pt x="17865" y="11042"/>
                  </a:lnTo>
                  <a:lnTo>
                    <a:pt x="18033" y="10930"/>
                  </a:lnTo>
                  <a:lnTo>
                    <a:pt x="18213" y="10893"/>
                  </a:lnTo>
                  <a:lnTo>
                    <a:pt x="18382" y="10893"/>
                  </a:lnTo>
                  <a:lnTo>
                    <a:pt x="18551" y="10967"/>
                  </a:lnTo>
                  <a:lnTo>
                    <a:pt x="18708" y="11042"/>
                  </a:lnTo>
                  <a:lnTo>
                    <a:pt x="18855" y="11172"/>
                  </a:lnTo>
                  <a:lnTo>
                    <a:pt x="19012" y="11358"/>
                  </a:lnTo>
                  <a:lnTo>
                    <a:pt x="19136" y="11600"/>
                  </a:lnTo>
                  <a:lnTo>
                    <a:pt x="19271" y="11861"/>
                  </a:lnTo>
                  <a:lnTo>
                    <a:pt x="19440" y="12028"/>
                  </a:lnTo>
                  <a:lnTo>
                    <a:pt x="19608" y="12177"/>
                  </a:lnTo>
                  <a:lnTo>
                    <a:pt x="19822" y="12289"/>
                  </a:lnTo>
                  <a:lnTo>
                    <a:pt x="20025" y="12289"/>
                  </a:lnTo>
                  <a:lnTo>
                    <a:pt x="20238" y="12289"/>
                  </a:lnTo>
                  <a:lnTo>
                    <a:pt x="20452" y="12215"/>
                  </a:lnTo>
                  <a:lnTo>
                    <a:pt x="20643" y="12103"/>
                  </a:lnTo>
                  <a:lnTo>
                    <a:pt x="20846" y="11973"/>
                  </a:lnTo>
                  <a:lnTo>
                    <a:pt x="21037" y="11786"/>
                  </a:lnTo>
                  <a:lnTo>
                    <a:pt x="21206" y="11563"/>
                  </a:lnTo>
                  <a:lnTo>
                    <a:pt x="21363" y="11321"/>
                  </a:lnTo>
                  <a:lnTo>
                    <a:pt x="21465" y="11079"/>
                  </a:lnTo>
                  <a:lnTo>
                    <a:pt x="21577" y="10744"/>
                  </a:lnTo>
                  <a:lnTo>
                    <a:pt x="21622" y="10427"/>
                  </a:lnTo>
                  <a:lnTo>
                    <a:pt x="21645" y="10111"/>
                  </a:lnTo>
                  <a:lnTo>
                    <a:pt x="21622" y="9608"/>
                  </a:lnTo>
                  <a:lnTo>
                    <a:pt x="21577" y="9142"/>
                  </a:lnTo>
                  <a:lnTo>
                    <a:pt x="21465" y="8751"/>
                  </a:lnTo>
                  <a:lnTo>
                    <a:pt x="21363" y="8397"/>
                  </a:lnTo>
                  <a:lnTo>
                    <a:pt x="21206" y="8062"/>
                  </a:lnTo>
                  <a:lnTo>
                    <a:pt x="21037" y="7820"/>
                  </a:lnTo>
                  <a:lnTo>
                    <a:pt x="20846" y="7597"/>
                  </a:lnTo>
                  <a:lnTo>
                    <a:pt x="20643" y="7429"/>
                  </a:lnTo>
                  <a:lnTo>
                    <a:pt x="20452" y="7317"/>
                  </a:lnTo>
                  <a:lnTo>
                    <a:pt x="20238" y="7206"/>
                  </a:lnTo>
                  <a:lnTo>
                    <a:pt x="20025" y="7168"/>
                  </a:lnTo>
                  <a:lnTo>
                    <a:pt x="19822" y="7206"/>
                  </a:lnTo>
                  <a:lnTo>
                    <a:pt x="19608" y="7243"/>
                  </a:lnTo>
                  <a:lnTo>
                    <a:pt x="19440" y="7355"/>
                  </a:lnTo>
                  <a:lnTo>
                    <a:pt x="19271" y="7504"/>
                  </a:lnTo>
                  <a:lnTo>
                    <a:pt x="19136" y="7708"/>
                  </a:lnTo>
                  <a:lnTo>
                    <a:pt x="19012" y="7895"/>
                  </a:lnTo>
                  <a:lnTo>
                    <a:pt x="18832" y="8025"/>
                  </a:lnTo>
                  <a:lnTo>
                    <a:pt x="18663" y="8174"/>
                  </a:lnTo>
                  <a:lnTo>
                    <a:pt x="18472" y="8248"/>
                  </a:lnTo>
                  <a:lnTo>
                    <a:pt x="18270" y="8286"/>
                  </a:lnTo>
                  <a:lnTo>
                    <a:pt x="18078" y="8323"/>
                  </a:lnTo>
                  <a:lnTo>
                    <a:pt x="17887" y="8323"/>
                  </a:lnTo>
                  <a:lnTo>
                    <a:pt x="17696" y="8248"/>
                  </a:lnTo>
                  <a:lnTo>
                    <a:pt x="17493" y="8174"/>
                  </a:lnTo>
                  <a:lnTo>
                    <a:pt x="17302" y="8062"/>
                  </a:lnTo>
                  <a:lnTo>
                    <a:pt x="17133" y="7969"/>
                  </a:lnTo>
                  <a:lnTo>
                    <a:pt x="16976" y="7783"/>
                  </a:lnTo>
                  <a:lnTo>
                    <a:pt x="16852" y="7597"/>
                  </a:lnTo>
                  <a:lnTo>
                    <a:pt x="16740" y="7429"/>
                  </a:lnTo>
                  <a:lnTo>
                    <a:pt x="16672" y="7168"/>
                  </a:lnTo>
                  <a:lnTo>
                    <a:pt x="16638" y="6926"/>
                  </a:lnTo>
                  <a:lnTo>
                    <a:pt x="16616" y="6498"/>
                  </a:lnTo>
                  <a:lnTo>
                    <a:pt x="16616" y="5772"/>
                  </a:lnTo>
                  <a:lnTo>
                    <a:pt x="16650" y="4915"/>
                  </a:lnTo>
                  <a:lnTo>
                    <a:pt x="16695" y="3928"/>
                  </a:lnTo>
                  <a:lnTo>
                    <a:pt x="16762" y="2960"/>
                  </a:lnTo>
                  <a:lnTo>
                    <a:pt x="16830" y="1992"/>
                  </a:lnTo>
                  <a:lnTo>
                    <a:pt x="16908" y="1173"/>
                  </a:lnTo>
                  <a:lnTo>
                    <a:pt x="16976" y="521"/>
                  </a:lnTo>
                  <a:lnTo>
                    <a:pt x="16953" y="521"/>
                  </a:lnTo>
                  <a:lnTo>
                    <a:pt x="16931" y="521"/>
                  </a:lnTo>
                  <a:lnTo>
                    <a:pt x="16267" y="484"/>
                  </a:lnTo>
                  <a:lnTo>
                    <a:pt x="15637" y="428"/>
                  </a:lnTo>
                  <a:lnTo>
                    <a:pt x="15063" y="353"/>
                  </a:lnTo>
                  <a:lnTo>
                    <a:pt x="14523" y="279"/>
                  </a:lnTo>
                  <a:lnTo>
                    <a:pt x="14040" y="167"/>
                  </a:lnTo>
                  <a:lnTo>
                    <a:pt x="13635" y="93"/>
                  </a:lnTo>
                  <a:lnTo>
                    <a:pt x="13331" y="18"/>
                  </a:lnTo>
                  <a:lnTo>
                    <a:pt x="13117" y="18"/>
                  </a:lnTo>
                  <a:lnTo>
                    <a:pt x="12982" y="18"/>
                  </a:lnTo>
                  <a:lnTo>
                    <a:pt x="12858" y="130"/>
                  </a:lnTo>
                  <a:lnTo>
                    <a:pt x="12723" y="279"/>
                  </a:lnTo>
                  <a:lnTo>
                    <a:pt x="12622" y="446"/>
                  </a:lnTo>
                  <a:lnTo>
                    <a:pt x="12510" y="670"/>
                  </a:lnTo>
                  <a:lnTo>
                    <a:pt x="12419" y="912"/>
                  </a:lnTo>
                  <a:lnTo>
                    <a:pt x="12363" y="1210"/>
                  </a:lnTo>
                  <a:lnTo>
                    <a:pt x="12318" y="1526"/>
                  </a:lnTo>
                  <a:lnTo>
                    <a:pt x="12273" y="1843"/>
                  </a:lnTo>
                  <a:lnTo>
                    <a:pt x="12251" y="2215"/>
                  </a:lnTo>
                  <a:lnTo>
                    <a:pt x="12273" y="2532"/>
                  </a:lnTo>
                  <a:lnTo>
                    <a:pt x="12318" y="2886"/>
                  </a:lnTo>
                  <a:lnTo>
                    <a:pt x="12386" y="3240"/>
                  </a:lnTo>
                  <a:lnTo>
                    <a:pt x="12464" y="3556"/>
                  </a:lnTo>
                  <a:lnTo>
                    <a:pt x="12577" y="3891"/>
                  </a:lnTo>
                  <a:lnTo>
                    <a:pt x="12746" y="4171"/>
                  </a:lnTo>
                  <a:lnTo>
                    <a:pt x="12926" y="4487"/>
                  </a:lnTo>
                  <a:lnTo>
                    <a:pt x="13050" y="4860"/>
                  </a:lnTo>
                  <a:lnTo>
                    <a:pt x="13162" y="5251"/>
                  </a:lnTo>
                  <a:lnTo>
                    <a:pt x="13218" y="5604"/>
                  </a:lnTo>
                  <a:lnTo>
                    <a:pt x="13263" y="5995"/>
                  </a:lnTo>
                  <a:lnTo>
                    <a:pt x="13241" y="6386"/>
                  </a:lnTo>
                  <a:lnTo>
                    <a:pt x="13218" y="6740"/>
                  </a:lnTo>
                  <a:lnTo>
                    <a:pt x="13139" y="7094"/>
                  </a:lnTo>
                  <a:lnTo>
                    <a:pt x="13050" y="7429"/>
                  </a:lnTo>
                  <a:lnTo>
                    <a:pt x="12903" y="7746"/>
                  </a:lnTo>
                  <a:lnTo>
                    <a:pt x="12723" y="8025"/>
                  </a:lnTo>
                  <a:lnTo>
                    <a:pt x="12532" y="8286"/>
                  </a:lnTo>
                  <a:lnTo>
                    <a:pt x="12318" y="8491"/>
                  </a:lnTo>
                  <a:lnTo>
                    <a:pt x="12060" y="8677"/>
                  </a:lnTo>
                  <a:lnTo>
                    <a:pt x="11756" y="8788"/>
                  </a:lnTo>
                  <a:lnTo>
                    <a:pt x="11452" y="8826"/>
                  </a:lnTo>
                  <a:lnTo>
                    <a:pt x="11283" y="8826"/>
                  </a:lnTo>
                  <a:lnTo>
                    <a:pt x="11126" y="8826"/>
                  </a:lnTo>
                  <a:lnTo>
                    <a:pt x="11002" y="8788"/>
                  </a:lnTo>
                  <a:lnTo>
                    <a:pt x="10845" y="8714"/>
                  </a:lnTo>
                  <a:lnTo>
                    <a:pt x="10721" y="8640"/>
                  </a:lnTo>
                  <a:lnTo>
                    <a:pt x="10608" y="8565"/>
                  </a:lnTo>
                  <a:lnTo>
                    <a:pt x="10485" y="8453"/>
                  </a:lnTo>
                  <a:lnTo>
                    <a:pt x="10372" y="8323"/>
                  </a:lnTo>
                  <a:lnTo>
                    <a:pt x="10181" y="8062"/>
                  </a:lnTo>
                  <a:lnTo>
                    <a:pt x="10035" y="7746"/>
                  </a:lnTo>
                  <a:lnTo>
                    <a:pt x="9900" y="7392"/>
                  </a:lnTo>
                  <a:lnTo>
                    <a:pt x="9787" y="7001"/>
                  </a:lnTo>
                  <a:lnTo>
                    <a:pt x="9731" y="6610"/>
                  </a:lnTo>
                  <a:lnTo>
                    <a:pt x="9686" y="6219"/>
                  </a:lnTo>
                  <a:lnTo>
                    <a:pt x="9663" y="5772"/>
                  </a:lnTo>
                  <a:lnTo>
                    <a:pt x="9686" y="5381"/>
                  </a:lnTo>
                  <a:lnTo>
                    <a:pt x="9753" y="4990"/>
                  </a:lnTo>
                  <a:lnTo>
                    <a:pt x="9832" y="4636"/>
                  </a:lnTo>
                  <a:lnTo>
                    <a:pt x="9945" y="4320"/>
                  </a:lnTo>
                  <a:lnTo>
                    <a:pt x="10068" y="4022"/>
                  </a:lnTo>
                  <a:lnTo>
                    <a:pt x="10203" y="3817"/>
                  </a:lnTo>
                  <a:lnTo>
                    <a:pt x="10316" y="3593"/>
                  </a:lnTo>
                  <a:lnTo>
                    <a:pt x="10395" y="3351"/>
                  </a:lnTo>
                  <a:lnTo>
                    <a:pt x="10462" y="3109"/>
                  </a:lnTo>
                  <a:lnTo>
                    <a:pt x="10507" y="2848"/>
                  </a:lnTo>
                  <a:lnTo>
                    <a:pt x="10530" y="2606"/>
                  </a:lnTo>
                  <a:lnTo>
                    <a:pt x="10507" y="2346"/>
                  </a:lnTo>
                  <a:lnTo>
                    <a:pt x="10462" y="2141"/>
                  </a:lnTo>
                  <a:lnTo>
                    <a:pt x="10395" y="1880"/>
                  </a:lnTo>
                  <a:lnTo>
                    <a:pt x="10293" y="1638"/>
                  </a:lnTo>
                  <a:lnTo>
                    <a:pt x="10158" y="1415"/>
                  </a:lnTo>
                  <a:lnTo>
                    <a:pt x="9967" y="1210"/>
                  </a:lnTo>
                  <a:lnTo>
                    <a:pt x="9753" y="986"/>
                  </a:lnTo>
                  <a:lnTo>
                    <a:pt x="9495" y="819"/>
                  </a:lnTo>
                  <a:lnTo>
                    <a:pt x="9191" y="670"/>
                  </a:lnTo>
                  <a:lnTo>
                    <a:pt x="8842" y="521"/>
                  </a:lnTo>
                  <a:lnTo>
                    <a:pt x="8471" y="446"/>
                  </a:lnTo>
                  <a:lnTo>
                    <a:pt x="7998" y="428"/>
                  </a:lnTo>
                  <a:lnTo>
                    <a:pt x="7413" y="428"/>
                  </a:lnTo>
                  <a:lnTo>
                    <a:pt x="6817" y="446"/>
                  </a:lnTo>
                  <a:lnTo>
                    <a:pt x="6187" y="521"/>
                  </a:lnTo>
                  <a:lnTo>
                    <a:pt x="5602" y="633"/>
                  </a:lnTo>
                  <a:lnTo>
                    <a:pt x="5107" y="744"/>
                  </a:lnTo>
                  <a:lnTo>
                    <a:pt x="4725" y="856"/>
                  </a:lnTo>
                  <a:lnTo>
                    <a:pt x="4848" y="1564"/>
                  </a:lnTo>
                  <a:lnTo>
                    <a:pt x="5028" y="2495"/>
                  </a:lnTo>
                  <a:lnTo>
                    <a:pt x="5175" y="3556"/>
                  </a:lnTo>
                  <a:lnTo>
                    <a:pt x="5298" y="4673"/>
                  </a:lnTo>
                  <a:lnTo>
                    <a:pt x="5343" y="5213"/>
                  </a:lnTo>
                  <a:lnTo>
                    <a:pt x="5388" y="5753"/>
                  </a:lnTo>
                  <a:lnTo>
                    <a:pt x="5411" y="6275"/>
                  </a:lnTo>
                  <a:lnTo>
                    <a:pt x="5411" y="6740"/>
                  </a:lnTo>
                  <a:lnTo>
                    <a:pt x="5366" y="7168"/>
                  </a:lnTo>
                  <a:lnTo>
                    <a:pt x="5321" y="7541"/>
                  </a:lnTo>
                  <a:lnTo>
                    <a:pt x="5287" y="7708"/>
                  </a:lnTo>
                  <a:lnTo>
                    <a:pt x="5242" y="7857"/>
                  </a:lnTo>
                  <a:lnTo>
                    <a:pt x="5197" y="7969"/>
                  </a:lnTo>
                  <a:lnTo>
                    <a:pt x="5130" y="8062"/>
                  </a:lnTo>
                  <a:lnTo>
                    <a:pt x="5006" y="8248"/>
                  </a:lnTo>
                  <a:lnTo>
                    <a:pt x="4848" y="8397"/>
                  </a:lnTo>
                  <a:lnTo>
                    <a:pt x="4725" y="8528"/>
                  </a:lnTo>
                  <a:lnTo>
                    <a:pt x="4567" y="8640"/>
                  </a:lnTo>
                  <a:lnTo>
                    <a:pt x="4421" y="8714"/>
                  </a:lnTo>
                  <a:lnTo>
                    <a:pt x="4263" y="8751"/>
                  </a:lnTo>
                  <a:lnTo>
                    <a:pt x="4095" y="8788"/>
                  </a:lnTo>
                  <a:lnTo>
                    <a:pt x="3948" y="8788"/>
                  </a:lnTo>
                  <a:lnTo>
                    <a:pt x="3791" y="8751"/>
                  </a:lnTo>
                  <a:lnTo>
                    <a:pt x="3667" y="8714"/>
                  </a:lnTo>
                  <a:lnTo>
                    <a:pt x="3510" y="8677"/>
                  </a:lnTo>
                  <a:lnTo>
                    <a:pt x="3386" y="8602"/>
                  </a:lnTo>
                  <a:lnTo>
                    <a:pt x="3251" y="8491"/>
                  </a:lnTo>
                  <a:lnTo>
                    <a:pt x="3127" y="8360"/>
                  </a:lnTo>
                  <a:lnTo>
                    <a:pt x="3015" y="8248"/>
                  </a:lnTo>
                  <a:lnTo>
                    <a:pt x="2925" y="8062"/>
                  </a:lnTo>
                  <a:lnTo>
                    <a:pt x="2778" y="7857"/>
                  </a:lnTo>
                  <a:lnTo>
                    <a:pt x="2610" y="7671"/>
                  </a:lnTo>
                  <a:lnTo>
                    <a:pt x="2407" y="7541"/>
                  </a:lnTo>
                  <a:lnTo>
                    <a:pt x="2171" y="7466"/>
                  </a:lnTo>
                  <a:lnTo>
                    <a:pt x="1957" y="7429"/>
                  </a:lnTo>
                  <a:lnTo>
                    <a:pt x="1698" y="7429"/>
                  </a:lnTo>
                  <a:lnTo>
                    <a:pt x="1462" y="7466"/>
                  </a:lnTo>
                  <a:lnTo>
                    <a:pt x="1226" y="7559"/>
                  </a:lnTo>
                  <a:lnTo>
                    <a:pt x="989" y="7708"/>
                  </a:lnTo>
                  <a:lnTo>
                    <a:pt x="776" y="7932"/>
                  </a:lnTo>
                  <a:lnTo>
                    <a:pt x="551" y="8211"/>
                  </a:lnTo>
                  <a:lnTo>
                    <a:pt x="382" y="8528"/>
                  </a:lnTo>
                  <a:lnTo>
                    <a:pt x="315" y="8714"/>
                  </a:lnTo>
                  <a:lnTo>
                    <a:pt x="236" y="8919"/>
                  </a:lnTo>
                  <a:lnTo>
                    <a:pt x="191" y="9142"/>
                  </a:lnTo>
                  <a:lnTo>
                    <a:pt x="123" y="9347"/>
                  </a:lnTo>
                  <a:lnTo>
                    <a:pt x="78" y="9608"/>
                  </a:lnTo>
                  <a:lnTo>
                    <a:pt x="56" y="9887"/>
                  </a:lnTo>
                  <a:lnTo>
                    <a:pt x="33" y="10185"/>
                  </a:lnTo>
                  <a:lnTo>
                    <a:pt x="33" y="10464"/>
                  </a:lnTo>
                  <a:lnTo>
                    <a:pt x="33" y="10706"/>
                  </a:lnTo>
                  <a:lnTo>
                    <a:pt x="56" y="10967"/>
                  </a:lnTo>
                  <a:lnTo>
                    <a:pt x="78" y="11172"/>
                  </a:lnTo>
                  <a:lnTo>
                    <a:pt x="123" y="11395"/>
                  </a:lnTo>
                  <a:lnTo>
                    <a:pt x="168" y="11600"/>
                  </a:lnTo>
                  <a:lnTo>
                    <a:pt x="236" y="11786"/>
                  </a:lnTo>
                  <a:lnTo>
                    <a:pt x="292" y="11973"/>
                  </a:lnTo>
                  <a:lnTo>
                    <a:pt x="382" y="12140"/>
                  </a:lnTo>
                  <a:lnTo>
                    <a:pt x="540" y="12419"/>
                  </a:lnTo>
                  <a:lnTo>
                    <a:pt x="731" y="12680"/>
                  </a:lnTo>
                  <a:lnTo>
                    <a:pt x="944" y="12866"/>
                  </a:lnTo>
                  <a:lnTo>
                    <a:pt x="1158" y="12997"/>
                  </a:lnTo>
                  <a:lnTo>
                    <a:pt x="1395" y="13108"/>
                  </a:lnTo>
                  <a:lnTo>
                    <a:pt x="1608" y="13183"/>
                  </a:lnTo>
                  <a:lnTo>
                    <a:pt x="1856" y="13183"/>
                  </a:lnTo>
                  <a:lnTo>
                    <a:pt x="2070" y="13146"/>
                  </a:lnTo>
                  <a:lnTo>
                    <a:pt x="2261" y="13071"/>
                  </a:lnTo>
                  <a:lnTo>
                    <a:pt x="2430" y="12960"/>
                  </a:lnTo>
                  <a:lnTo>
                    <a:pt x="2587" y="12792"/>
                  </a:lnTo>
                  <a:lnTo>
                    <a:pt x="2688" y="12606"/>
                  </a:lnTo>
                  <a:lnTo>
                    <a:pt x="2801" y="12419"/>
                  </a:lnTo>
                  <a:lnTo>
                    <a:pt x="2925" y="12289"/>
                  </a:lnTo>
                  <a:lnTo>
                    <a:pt x="3082" y="12177"/>
                  </a:lnTo>
                  <a:lnTo>
                    <a:pt x="3228" y="12103"/>
                  </a:lnTo>
                  <a:lnTo>
                    <a:pt x="3408" y="12103"/>
                  </a:lnTo>
                  <a:lnTo>
                    <a:pt x="3577" y="12103"/>
                  </a:lnTo>
                  <a:lnTo>
                    <a:pt x="3723" y="12177"/>
                  </a:lnTo>
                  <a:lnTo>
                    <a:pt x="3903" y="12252"/>
                  </a:lnTo>
                  <a:lnTo>
                    <a:pt x="4072" y="12364"/>
                  </a:lnTo>
                  <a:lnTo>
                    <a:pt x="4230" y="12494"/>
                  </a:lnTo>
                  <a:lnTo>
                    <a:pt x="4353" y="12643"/>
                  </a:lnTo>
                  <a:lnTo>
                    <a:pt x="4488" y="12829"/>
                  </a:lnTo>
                  <a:lnTo>
                    <a:pt x="4567" y="13034"/>
                  </a:lnTo>
                  <a:lnTo>
                    <a:pt x="4657" y="13257"/>
                  </a:lnTo>
                  <a:lnTo>
                    <a:pt x="4702" y="13462"/>
                  </a:lnTo>
                  <a:lnTo>
                    <a:pt x="4725" y="13686"/>
                  </a:lnTo>
                  <a:lnTo>
                    <a:pt x="4702" y="14282"/>
                  </a:lnTo>
                  <a:lnTo>
                    <a:pt x="4657" y="15045"/>
                  </a:lnTo>
                  <a:lnTo>
                    <a:pt x="4612" y="15976"/>
                  </a:lnTo>
                  <a:lnTo>
                    <a:pt x="4590" y="16926"/>
                  </a:lnTo>
                  <a:lnTo>
                    <a:pt x="4567" y="17968"/>
                  </a:lnTo>
                  <a:lnTo>
                    <a:pt x="4567" y="19011"/>
                  </a:lnTo>
                  <a:lnTo>
                    <a:pt x="4590" y="19514"/>
                  </a:lnTo>
                  <a:lnTo>
                    <a:pt x="4612" y="19980"/>
                  </a:lnTo>
                  <a:lnTo>
                    <a:pt x="4657" y="20426"/>
                  </a:lnTo>
                  <a:lnTo>
                    <a:pt x="4725" y="20836"/>
                  </a:lnTo>
                  <a:lnTo>
                    <a:pt x="4848" y="20929"/>
                  </a:lnTo>
                  <a:lnTo>
                    <a:pt x="5040" y="21004"/>
                  </a:lnTo>
                  <a:lnTo>
                    <a:pt x="5265" y="21078"/>
                  </a:lnTo>
                  <a:lnTo>
                    <a:pt x="5478" y="21115"/>
                  </a:lnTo>
                  <a:lnTo>
                    <a:pt x="6041" y="21115"/>
                  </a:lnTo>
                  <a:lnTo>
                    <a:pt x="6637" y="21078"/>
                  </a:lnTo>
                  <a:lnTo>
                    <a:pt x="7312" y="21004"/>
                  </a:lnTo>
                  <a:lnTo>
                    <a:pt x="7998" y="20929"/>
                  </a:lnTo>
                  <a:lnTo>
                    <a:pt x="8696" y="20855"/>
                  </a:lnTo>
                  <a:lnTo>
                    <a:pt x="9360" y="20836"/>
                  </a:lnTo>
                  <a:close/>
                </a:path>
              </a:pathLst>
            </a:custGeom>
            <a:solidFill>
              <a:schemeClr val="accent5"/>
            </a:solidFill>
            <a:ln w="19050">
              <a:solidFill>
                <a:schemeClr val="bg1"/>
              </a:solidFill>
              <a:miter lim="800000"/>
              <a:headEnd/>
              <a:tailEnd/>
            </a:ln>
          </p:spPr>
          <p:txBody>
            <a:bodyPr/>
            <a:lstStyle/>
            <a:p>
              <a:endParaRPr lang="en-US"/>
            </a:p>
          </p:txBody>
        </p:sp>
        <p:sp>
          <p:nvSpPr>
            <p:cNvPr id="27" name="Puzzle3">
              <a:extLst>
                <a:ext uri="{FF2B5EF4-FFF2-40B4-BE49-F238E27FC236}">
                  <a16:creationId xmlns:a16="http://schemas.microsoft.com/office/drawing/2014/main" id="{50A29695-FED1-4F6D-8F13-5A991953069D}"/>
                </a:ext>
              </a:extLst>
            </p:cNvPr>
            <p:cNvSpPr>
              <a:spLocks noEditPoints="1" noChangeArrowheads="1"/>
            </p:cNvSpPr>
            <p:nvPr/>
          </p:nvSpPr>
          <p:spPr bwMode="auto">
            <a:xfrm>
              <a:off x="4955972" y="1310357"/>
              <a:ext cx="1200132" cy="1520684"/>
            </a:xfrm>
            <a:custGeom>
              <a:avLst/>
              <a:gdLst>
                <a:gd name="T0" fmla="*/ 472724 w 21600"/>
                <a:gd name="T1" fmla="*/ 841047 h 21600"/>
                <a:gd name="T2" fmla="*/ 934939 w 21600"/>
                <a:gd name="T3" fmla="*/ 1122106 h 21600"/>
                <a:gd name="T4" fmla="*/ 599606 w 21600"/>
                <a:gd name="T5" fmla="*/ 734360 h 21600"/>
                <a:gd name="T6" fmla="*/ 934939 w 21600"/>
                <a:gd name="T7" fmla="*/ 373805 h 21600"/>
                <a:gd name="T8" fmla="*/ 477683 w 21600"/>
                <a:gd name="T9" fmla="*/ 2767 h 21600"/>
                <a:gd name="T10" fmla="*/ 31482 w 21600"/>
                <a:gd name="T11" fmla="*/ 361939 h 21600"/>
                <a:gd name="T12" fmla="*/ 366860 w 21600"/>
                <a:gd name="T13" fmla="*/ 719727 h 21600"/>
                <a:gd name="T14" fmla="*/ 31482 w 21600"/>
                <a:gd name="T15" fmla="*/ 1122106 h 21600"/>
                <a:gd name="T16" fmla="*/ 0 60000 65536"/>
                <a:gd name="T17" fmla="*/ 0 60000 65536"/>
                <a:gd name="T18" fmla="*/ 0 60000 65536"/>
                <a:gd name="T19" fmla="*/ 0 60000 65536"/>
                <a:gd name="T20" fmla="*/ 0 60000 65536"/>
                <a:gd name="T21" fmla="*/ 0 60000 65536"/>
                <a:gd name="T22" fmla="*/ 0 60000 65536"/>
                <a:gd name="T23" fmla="*/ 0 60000 65536"/>
                <a:gd name="T24" fmla="*/ 2273 w 21600"/>
                <a:gd name="T25" fmla="*/ 7719 h 21600"/>
                <a:gd name="T26" fmla="*/ 19149 w 21600"/>
                <a:gd name="T27" fmla="*/ 202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solidFill>
              <a:schemeClr val="tx2">
                <a:lumMod val="40000"/>
                <a:lumOff val="60000"/>
              </a:schemeClr>
            </a:solidFill>
            <a:ln w="19050">
              <a:solidFill>
                <a:schemeClr val="bg1"/>
              </a:solidFill>
              <a:miter lim="800000"/>
              <a:headEnd/>
              <a:tailEnd/>
            </a:ln>
          </p:spPr>
          <p:txBody>
            <a:bodyPr/>
            <a:lstStyle/>
            <a:p>
              <a:endParaRPr lang="en-US"/>
            </a:p>
          </p:txBody>
        </p:sp>
        <p:sp>
          <p:nvSpPr>
            <p:cNvPr id="33" name="Puzzle1">
              <a:extLst>
                <a:ext uri="{FF2B5EF4-FFF2-40B4-BE49-F238E27FC236}">
                  <a16:creationId xmlns:a16="http://schemas.microsoft.com/office/drawing/2014/main" id="{C947B1AB-1C75-4537-B129-4918B37C20B2}"/>
                </a:ext>
              </a:extLst>
            </p:cNvPr>
            <p:cNvSpPr>
              <a:spLocks noEditPoints="1" noChangeArrowheads="1"/>
            </p:cNvSpPr>
            <p:nvPr/>
          </p:nvSpPr>
          <p:spPr bwMode="auto">
            <a:xfrm>
              <a:off x="5681092" y="1768242"/>
              <a:ext cx="1938824" cy="1058597"/>
            </a:xfrm>
            <a:custGeom>
              <a:avLst/>
              <a:gdLst>
                <a:gd name="T0" fmla="*/ 1230313 w 21600"/>
                <a:gd name="T1" fmla="*/ 780764 h 21600"/>
                <a:gd name="T2" fmla="*/ 1247658 w 21600"/>
                <a:gd name="T3" fmla="*/ 19299 h 21600"/>
                <a:gd name="T4" fmla="*/ 347266 w 21600"/>
                <a:gd name="T5" fmla="*/ 31708 h 21600"/>
                <a:gd name="T6" fmla="*/ 370417 w 21600"/>
                <a:gd name="T7" fmla="*/ 778023 h 21600"/>
                <a:gd name="T8" fmla="*/ 794558 w 21600"/>
                <a:gd name="T9" fmla="*/ 477282 h 21600"/>
                <a:gd name="T10" fmla="*/ 797057 w 21600"/>
                <a:gd name="T11" fmla="*/ 322781 h 21600"/>
                <a:gd name="T12" fmla="*/ 1587500 w 21600"/>
                <a:gd name="T13" fmla="*/ 370417 h 21600"/>
                <a:gd name="T14" fmla="*/ 4116 w 21600"/>
                <a:gd name="T15" fmla="*/ 370417 h 21600"/>
                <a:gd name="T16" fmla="*/ 0 60000 65536"/>
                <a:gd name="T17" fmla="*/ 0 60000 65536"/>
                <a:gd name="T18" fmla="*/ 0 60000 65536"/>
                <a:gd name="T19" fmla="*/ 0 60000 65536"/>
                <a:gd name="T20" fmla="*/ 0 60000 65536"/>
                <a:gd name="T21" fmla="*/ 0 60000 65536"/>
                <a:gd name="T22" fmla="*/ 0 60000 65536"/>
                <a:gd name="T23" fmla="*/ 0 60000 65536"/>
                <a:gd name="T24" fmla="*/ 6086 w 21600"/>
                <a:gd name="T25" fmla="*/ 2569 h 21600"/>
                <a:gd name="T26" fmla="*/ 16132 w 21600"/>
                <a:gd name="T27" fmla="*/ 19552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9360" y="20836"/>
                  </a:moveTo>
                  <a:lnTo>
                    <a:pt x="9528" y="20836"/>
                  </a:lnTo>
                  <a:lnTo>
                    <a:pt x="9686" y="20762"/>
                  </a:lnTo>
                  <a:lnTo>
                    <a:pt x="9810" y="20687"/>
                  </a:lnTo>
                  <a:lnTo>
                    <a:pt x="9922" y="20575"/>
                  </a:lnTo>
                  <a:lnTo>
                    <a:pt x="10012" y="20426"/>
                  </a:lnTo>
                  <a:lnTo>
                    <a:pt x="10068" y="20296"/>
                  </a:lnTo>
                  <a:lnTo>
                    <a:pt x="10113" y="20110"/>
                  </a:lnTo>
                  <a:lnTo>
                    <a:pt x="10136" y="19905"/>
                  </a:lnTo>
                  <a:lnTo>
                    <a:pt x="10136" y="19682"/>
                  </a:lnTo>
                  <a:lnTo>
                    <a:pt x="10113" y="19440"/>
                  </a:lnTo>
                  <a:lnTo>
                    <a:pt x="10068" y="19142"/>
                  </a:lnTo>
                  <a:lnTo>
                    <a:pt x="10012" y="18900"/>
                  </a:lnTo>
                  <a:lnTo>
                    <a:pt x="9900" y="18620"/>
                  </a:lnTo>
                  <a:lnTo>
                    <a:pt x="9787" y="18285"/>
                  </a:lnTo>
                  <a:lnTo>
                    <a:pt x="9641" y="17968"/>
                  </a:lnTo>
                  <a:lnTo>
                    <a:pt x="9472" y="17652"/>
                  </a:lnTo>
                  <a:lnTo>
                    <a:pt x="9382" y="17466"/>
                  </a:lnTo>
                  <a:lnTo>
                    <a:pt x="9315" y="17298"/>
                  </a:lnTo>
                  <a:lnTo>
                    <a:pt x="9258" y="17112"/>
                  </a:lnTo>
                  <a:lnTo>
                    <a:pt x="9191" y="16926"/>
                  </a:lnTo>
                  <a:lnTo>
                    <a:pt x="9123" y="16535"/>
                  </a:lnTo>
                  <a:lnTo>
                    <a:pt x="9101" y="16144"/>
                  </a:lnTo>
                  <a:lnTo>
                    <a:pt x="9101" y="15753"/>
                  </a:lnTo>
                  <a:lnTo>
                    <a:pt x="9168" y="15362"/>
                  </a:lnTo>
                  <a:lnTo>
                    <a:pt x="9236" y="14971"/>
                  </a:lnTo>
                  <a:lnTo>
                    <a:pt x="9360" y="14580"/>
                  </a:lnTo>
                  <a:lnTo>
                    <a:pt x="9495" y="14244"/>
                  </a:lnTo>
                  <a:lnTo>
                    <a:pt x="9663" y="13891"/>
                  </a:lnTo>
                  <a:lnTo>
                    <a:pt x="9855" y="13611"/>
                  </a:lnTo>
                  <a:lnTo>
                    <a:pt x="10068" y="13351"/>
                  </a:lnTo>
                  <a:lnTo>
                    <a:pt x="10293" y="13146"/>
                  </a:lnTo>
                  <a:lnTo>
                    <a:pt x="10552" y="12997"/>
                  </a:lnTo>
                  <a:lnTo>
                    <a:pt x="10811" y="12885"/>
                  </a:lnTo>
                  <a:lnTo>
                    <a:pt x="11069" y="12866"/>
                  </a:lnTo>
                  <a:lnTo>
                    <a:pt x="11351" y="12885"/>
                  </a:lnTo>
                  <a:lnTo>
                    <a:pt x="11610" y="12997"/>
                  </a:lnTo>
                  <a:lnTo>
                    <a:pt x="11846" y="13183"/>
                  </a:lnTo>
                  <a:lnTo>
                    <a:pt x="12060" y="13388"/>
                  </a:lnTo>
                  <a:lnTo>
                    <a:pt x="12251" y="13648"/>
                  </a:lnTo>
                  <a:lnTo>
                    <a:pt x="12419" y="13928"/>
                  </a:lnTo>
                  <a:lnTo>
                    <a:pt x="12555" y="14244"/>
                  </a:lnTo>
                  <a:lnTo>
                    <a:pt x="12690" y="14617"/>
                  </a:lnTo>
                  <a:lnTo>
                    <a:pt x="12768" y="15008"/>
                  </a:lnTo>
                  <a:lnTo>
                    <a:pt x="12836" y="15399"/>
                  </a:lnTo>
                  <a:lnTo>
                    <a:pt x="12858" y="15753"/>
                  </a:lnTo>
                  <a:lnTo>
                    <a:pt x="12858" y="16144"/>
                  </a:lnTo>
                  <a:lnTo>
                    <a:pt x="12813" y="16535"/>
                  </a:lnTo>
                  <a:lnTo>
                    <a:pt x="12746" y="16888"/>
                  </a:lnTo>
                  <a:lnTo>
                    <a:pt x="12667" y="17224"/>
                  </a:lnTo>
                  <a:lnTo>
                    <a:pt x="12510" y="17503"/>
                  </a:lnTo>
                  <a:lnTo>
                    <a:pt x="12228" y="18043"/>
                  </a:lnTo>
                  <a:lnTo>
                    <a:pt x="11970" y="18546"/>
                  </a:lnTo>
                  <a:lnTo>
                    <a:pt x="11868" y="18751"/>
                  </a:lnTo>
                  <a:lnTo>
                    <a:pt x="11778" y="18974"/>
                  </a:lnTo>
                  <a:lnTo>
                    <a:pt x="11711" y="19179"/>
                  </a:lnTo>
                  <a:lnTo>
                    <a:pt x="11666" y="19365"/>
                  </a:lnTo>
                  <a:lnTo>
                    <a:pt x="11632" y="19570"/>
                  </a:lnTo>
                  <a:lnTo>
                    <a:pt x="11632" y="19756"/>
                  </a:lnTo>
                  <a:lnTo>
                    <a:pt x="11632" y="19942"/>
                  </a:lnTo>
                  <a:lnTo>
                    <a:pt x="11643" y="20110"/>
                  </a:lnTo>
                  <a:lnTo>
                    <a:pt x="11711" y="20296"/>
                  </a:lnTo>
                  <a:lnTo>
                    <a:pt x="11801" y="20464"/>
                  </a:lnTo>
                  <a:lnTo>
                    <a:pt x="11891" y="20650"/>
                  </a:lnTo>
                  <a:lnTo>
                    <a:pt x="12037" y="20836"/>
                  </a:lnTo>
                  <a:lnTo>
                    <a:pt x="12206" y="21004"/>
                  </a:lnTo>
                  <a:lnTo>
                    <a:pt x="12419" y="21190"/>
                  </a:lnTo>
                  <a:lnTo>
                    <a:pt x="12667" y="21320"/>
                  </a:lnTo>
                  <a:lnTo>
                    <a:pt x="12960" y="21432"/>
                  </a:lnTo>
                  <a:lnTo>
                    <a:pt x="13286" y="21544"/>
                  </a:lnTo>
                  <a:lnTo>
                    <a:pt x="13612" y="21655"/>
                  </a:lnTo>
                  <a:lnTo>
                    <a:pt x="13983" y="21693"/>
                  </a:lnTo>
                  <a:lnTo>
                    <a:pt x="14343" y="21730"/>
                  </a:lnTo>
                  <a:lnTo>
                    <a:pt x="14715" y="21730"/>
                  </a:lnTo>
                  <a:lnTo>
                    <a:pt x="15075" y="21730"/>
                  </a:lnTo>
                  <a:lnTo>
                    <a:pt x="15446" y="21655"/>
                  </a:lnTo>
                  <a:lnTo>
                    <a:pt x="15794" y="21581"/>
                  </a:lnTo>
                  <a:lnTo>
                    <a:pt x="16132" y="21432"/>
                  </a:lnTo>
                  <a:lnTo>
                    <a:pt x="16458" y="21302"/>
                  </a:lnTo>
                  <a:lnTo>
                    <a:pt x="16740" y="21078"/>
                  </a:lnTo>
                  <a:lnTo>
                    <a:pt x="16976" y="20836"/>
                  </a:lnTo>
                  <a:lnTo>
                    <a:pt x="17043" y="20650"/>
                  </a:lnTo>
                  <a:lnTo>
                    <a:pt x="17088" y="20426"/>
                  </a:lnTo>
                  <a:lnTo>
                    <a:pt x="17133" y="20222"/>
                  </a:lnTo>
                  <a:lnTo>
                    <a:pt x="17156" y="19980"/>
                  </a:lnTo>
                  <a:lnTo>
                    <a:pt x="17167" y="19477"/>
                  </a:lnTo>
                  <a:lnTo>
                    <a:pt x="17167" y="18974"/>
                  </a:lnTo>
                  <a:lnTo>
                    <a:pt x="17156" y="18397"/>
                  </a:lnTo>
                  <a:lnTo>
                    <a:pt x="17111" y="17820"/>
                  </a:lnTo>
                  <a:lnTo>
                    <a:pt x="17066" y="17261"/>
                  </a:lnTo>
                  <a:lnTo>
                    <a:pt x="16998" y="16646"/>
                  </a:lnTo>
                  <a:lnTo>
                    <a:pt x="16852" y="15511"/>
                  </a:lnTo>
                  <a:lnTo>
                    <a:pt x="16740" y="14393"/>
                  </a:lnTo>
                  <a:lnTo>
                    <a:pt x="16717" y="13928"/>
                  </a:lnTo>
                  <a:lnTo>
                    <a:pt x="16695" y="13462"/>
                  </a:lnTo>
                  <a:lnTo>
                    <a:pt x="16717" y="13071"/>
                  </a:lnTo>
                  <a:lnTo>
                    <a:pt x="16785" y="12755"/>
                  </a:lnTo>
                  <a:lnTo>
                    <a:pt x="16852" y="12419"/>
                  </a:lnTo>
                  <a:lnTo>
                    <a:pt x="16953" y="12140"/>
                  </a:lnTo>
                  <a:lnTo>
                    <a:pt x="17088" y="11898"/>
                  </a:lnTo>
                  <a:lnTo>
                    <a:pt x="17212" y="11675"/>
                  </a:lnTo>
                  <a:lnTo>
                    <a:pt x="17370" y="11470"/>
                  </a:lnTo>
                  <a:lnTo>
                    <a:pt x="17516" y="11284"/>
                  </a:lnTo>
                  <a:lnTo>
                    <a:pt x="17696" y="11135"/>
                  </a:lnTo>
                  <a:lnTo>
                    <a:pt x="17865" y="11042"/>
                  </a:lnTo>
                  <a:lnTo>
                    <a:pt x="18033" y="10930"/>
                  </a:lnTo>
                  <a:lnTo>
                    <a:pt x="18213" y="10893"/>
                  </a:lnTo>
                  <a:lnTo>
                    <a:pt x="18382" y="10893"/>
                  </a:lnTo>
                  <a:lnTo>
                    <a:pt x="18551" y="10967"/>
                  </a:lnTo>
                  <a:lnTo>
                    <a:pt x="18708" y="11042"/>
                  </a:lnTo>
                  <a:lnTo>
                    <a:pt x="18855" y="11172"/>
                  </a:lnTo>
                  <a:lnTo>
                    <a:pt x="19012" y="11358"/>
                  </a:lnTo>
                  <a:lnTo>
                    <a:pt x="19136" y="11600"/>
                  </a:lnTo>
                  <a:lnTo>
                    <a:pt x="19271" y="11861"/>
                  </a:lnTo>
                  <a:lnTo>
                    <a:pt x="19440" y="12028"/>
                  </a:lnTo>
                  <a:lnTo>
                    <a:pt x="19608" y="12177"/>
                  </a:lnTo>
                  <a:lnTo>
                    <a:pt x="19822" y="12289"/>
                  </a:lnTo>
                  <a:lnTo>
                    <a:pt x="20025" y="12289"/>
                  </a:lnTo>
                  <a:lnTo>
                    <a:pt x="20238" y="12289"/>
                  </a:lnTo>
                  <a:lnTo>
                    <a:pt x="20452" y="12215"/>
                  </a:lnTo>
                  <a:lnTo>
                    <a:pt x="20643" y="12103"/>
                  </a:lnTo>
                  <a:lnTo>
                    <a:pt x="20846" y="11973"/>
                  </a:lnTo>
                  <a:lnTo>
                    <a:pt x="21037" y="11786"/>
                  </a:lnTo>
                  <a:lnTo>
                    <a:pt x="21206" y="11563"/>
                  </a:lnTo>
                  <a:lnTo>
                    <a:pt x="21363" y="11321"/>
                  </a:lnTo>
                  <a:lnTo>
                    <a:pt x="21465" y="11079"/>
                  </a:lnTo>
                  <a:lnTo>
                    <a:pt x="21577" y="10744"/>
                  </a:lnTo>
                  <a:lnTo>
                    <a:pt x="21622" y="10427"/>
                  </a:lnTo>
                  <a:lnTo>
                    <a:pt x="21645" y="10111"/>
                  </a:lnTo>
                  <a:lnTo>
                    <a:pt x="21622" y="9608"/>
                  </a:lnTo>
                  <a:lnTo>
                    <a:pt x="21577" y="9142"/>
                  </a:lnTo>
                  <a:lnTo>
                    <a:pt x="21465" y="8751"/>
                  </a:lnTo>
                  <a:lnTo>
                    <a:pt x="21363" y="8397"/>
                  </a:lnTo>
                  <a:lnTo>
                    <a:pt x="21206" y="8062"/>
                  </a:lnTo>
                  <a:lnTo>
                    <a:pt x="21037" y="7820"/>
                  </a:lnTo>
                  <a:lnTo>
                    <a:pt x="20846" y="7597"/>
                  </a:lnTo>
                  <a:lnTo>
                    <a:pt x="20643" y="7429"/>
                  </a:lnTo>
                  <a:lnTo>
                    <a:pt x="20452" y="7317"/>
                  </a:lnTo>
                  <a:lnTo>
                    <a:pt x="20238" y="7206"/>
                  </a:lnTo>
                  <a:lnTo>
                    <a:pt x="20025" y="7168"/>
                  </a:lnTo>
                  <a:lnTo>
                    <a:pt x="19822" y="7206"/>
                  </a:lnTo>
                  <a:lnTo>
                    <a:pt x="19608" y="7243"/>
                  </a:lnTo>
                  <a:lnTo>
                    <a:pt x="19440" y="7355"/>
                  </a:lnTo>
                  <a:lnTo>
                    <a:pt x="19271" y="7504"/>
                  </a:lnTo>
                  <a:lnTo>
                    <a:pt x="19136" y="7708"/>
                  </a:lnTo>
                  <a:lnTo>
                    <a:pt x="19012" y="7895"/>
                  </a:lnTo>
                  <a:lnTo>
                    <a:pt x="18832" y="8025"/>
                  </a:lnTo>
                  <a:lnTo>
                    <a:pt x="18663" y="8174"/>
                  </a:lnTo>
                  <a:lnTo>
                    <a:pt x="18472" y="8248"/>
                  </a:lnTo>
                  <a:lnTo>
                    <a:pt x="18270" y="8286"/>
                  </a:lnTo>
                  <a:lnTo>
                    <a:pt x="18078" y="8323"/>
                  </a:lnTo>
                  <a:lnTo>
                    <a:pt x="17887" y="8323"/>
                  </a:lnTo>
                  <a:lnTo>
                    <a:pt x="17696" y="8248"/>
                  </a:lnTo>
                  <a:lnTo>
                    <a:pt x="17493" y="8174"/>
                  </a:lnTo>
                  <a:lnTo>
                    <a:pt x="17302" y="8062"/>
                  </a:lnTo>
                  <a:lnTo>
                    <a:pt x="17133" y="7969"/>
                  </a:lnTo>
                  <a:lnTo>
                    <a:pt x="16976" y="7783"/>
                  </a:lnTo>
                  <a:lnTo>
                    <a:pt x="16852" y="7597"/>
                  </a:lnTo>
                  <a:lnTo>
                    <a:pt x="16740" y="7429"/>
                  </a:lnTo>
                  <a:lnTo>
                    <a:pt x="16672" y="7168"/>
                  </a:lnTo>
                  <a:lnTo>
                    <a:pt x="16638" y="6926"/>
                  </a:lnTo>
                  <a:lnTo>
                    <a:pt x="16616" y="6498"/>
                  </a:lnTo>
                  <a:lnTo>
                    <a:pt x="16616" y="5772"/>
                  </a:lnTo>
                  <a:lnTo>
                    <a:pt x="16650" y="4915"/>
                  </a:lnTo>
                  <a:lnTo>
                    <a:pt x="16695" y="3928"/>
                  </a:lnTo>
                  <a:lnTo>
                    <a:pt x="16762" y="2960"/>
                  </a:lnTo>
                  <a:lnTo>
                    <a:pt x="16830" y="1992"/>
                  </a:lnTo>
                  <a:lnTo>
                    <a:pt x="16908" y="1173"/>
                  </a:lnTo>
                  <a:lnTo>
                    <a:pt x="16976" y="521"/>
                  </a:lnTo>
                  <a:lnTo>
                    <a:pt x="16953" y="521"/>
                  </a:lnTo>
                  <a:lnTo>
                    <a:pt x="16931" y="521"/>
                  </a:lnTo>
                  <a:lnTo>
                    <a:pt x="16267" y="484"/>
                  </a:lnTo>
                  <a:lnTo>
                    <a:pt x="15637" y="428"/>
                  </a:lnTo>
                  <a:lnTo>
                    <a:pt x="15063" y="353"/>
                  </a:lnTo>
                  <a:lnTo>
                    <a:pt x="14523" y="279"/>
                  </a:lnTo>
                  <a:lnTo>
                    <a:pt x="14040" y="167"/>
                  </a:lnTo>
                  <a:lnTo>
                    <a:pt x="13635" y="93"/>
                  </a:lnTo>
                  <a:lnTo>
                    <a:pt x="13331" y="18"/>
                  </a:lnTo>
                  <a:lnTo>
                    <a:pt x="13117" y="18"/>
                  </a:lnTo>
                  <a:lnTo>
                    <a:pt x="12982" y="18"/>
                  </a:lnTo>
                  <a:lnTo>
                    <a:pt x="12858" y="130"/>
                  </a:lnTo>
                  <a:lnTo>
                    <a:pt x="12723" y="279"/>
                  </a:lnTo>
                  <a:lnTo>
                    <a:pt x="12622" y="446"/>
                  </a:lnTo>
                  <a:lnTo>
                    <a:pt x="12510" y="670"/>
                  </a:lnTo>
                  <a:lnTo>
                    <a:pt x="12419" y="912"/>
                  </a:lnTo>
                  <a:lnTo>
                    <a:pt x="12363" y="1210"/>
                  </a:lnTo>
                  <a:lnTo>
                    <a:pt x="12318" y="1526"/>
                  </a:lnTo>
                  <a:lnTo>
                    <a:pt x="12273" y="1843"/>
                  </a:lnTo>
                  <a:lnTo>
                    <a:pt x="12251" y="2215"/>
                  </a:lnTo>
                  <a:lnTo>
                    <a:pt x="12273" y="2532"/>
                  </a:lnTo>
                  <a:lnTo>
                    <a:pt x="12318" y="2886"/>
                  </a:lnTo>
                  <a:lnTo>
                    <a:pt x="12386" y="3240"/>
                  </a:lnTo>
                  <a:lnTo>
                    <a:pt x="12464" y="3556"/>
                  </a:lnTo>
                  <a:lnTo>
                    <a:pt x="12577" y="3891"/>
                  </a:lnTo>
                  <a:lnTo>
                    <a:pt x="12746" y="4171"/>
                  </a:lnTo>
                  <a:lnTo>
                    <a:pt x="12926" y="4487"/>
                  </a:lnTo>
                  <a:lnTo>
                    <a:pt x="13050" y="4860"/>
                  </a:lnTo>
                  <a:lnTo>
                    <a:pt x="13162" y="5251"/>
                  </a:lnTo>
                  <a:lnTo>
                    <a:pt x="13218" y="5604"/>
                  </a:lnTo>
                  <a:lnTo>
                    <a:pt x="13263" y="5995"/>
                  </a:lnTo>
                  <a:lnTo>
                    <a:pt x="13241" y="6386"/>
                  </a:lnTo>
                  <a:lnTo>
                    <a:pt x="13218" y="6740"/>
                  </a:lnTo>
                  <a:lnTo>
                    <a:pt x="13139" y="7094"/>
                  </a:lnTo>
                  <a:lnTo>
                    <a:pt x="13050" y="7429"/>
                  </a:lnTo>
                  <a:lnTo>
                    <a:pt x="12903" y="7746"/>
                  </a:lnTo>
                  <a:lnTo>
                    <a:pt x="12723" y="8025"/>
                  </a:lnTo>
                  <a:lnTo>
                    <a:pt x="12532" y="8286"/>
                  </a:lnTo>
                  <a:lnTo>
                    <a:pt x="12318" y="8491"/>
                  </a:lnTo>
                  <a:lnTo>
                    <a:pt x="12060" y="8677"/>
                  </a:lnTo>
                  <a:lnTo>
                    <a:pt x="11756" y="8788"/>
                  </a:lnTo>
                  <a:lnTo>
                    <a:pt x="11452" y="8826"/>
                  </a:lnTo>
                  <a:lnTo>
                    <a:pt x="11283" y="8826"/>
                  </a:lnTo>
                  <a:lnTo>
                    <a:pt x="11126" y="8826"/>
                  </a:lnTo>
                  <a:lnTo>
                    <a:pt x="11002" y="8788"/>
                  </a:lnTo>
                  <a:lnTo>
                    <a:pt x="10845" y="8714"/>
                  </a:lnTo>
                  <a:lnTo>
                    <a:pt x="10721" y="8640"/>
                  </a:lnTo>
                  <a:lnTo>
                    <a:pt x="10608" y="8565"/>
                  </a:lnTo>
                  <a:lnTo>
                    <a:pt x="10485" y="8453"/>
                  </a:lnTo>
                  <a:lnTo>
                    <a:pt x="10372" y="8323"/>
                  </a:lnTo>
                  <a:lnTo>
                    <a:pt x="10181" y="8062"/>
                  </a:lnTo>
                  <a:lnTo>
                    <a:pt x="10035" y="7746"/>
                  </a:lnTo>
                  <a:lnTo>
                    <a:pt x="9900" y="7392"/>
                  </a:lnTo>
                  <a:lnTo>
                    <a:pt x="9787" y="7001"/>
                  </a:lnTo>
                  <a:lnTo>
                    <a:pt x="9731" y="6610"/>
                  </a:lnTo>
                  <a:lnTo>
                    <a:pt x="9686" y="6219"/>
                  </a:lnTo>
                  <a:lnTo>
                    <a:pt x="9663" y="5772"/>
                  </a:lnTo>
                  <a:lnTo>
                    <a:pt x="9686" y="5381"/>
                  </a:lnTo>
                  <a:lnTo>
                    <a:pt x="9753" y="4990"/>
                  </a:lnTo>
                  <a:lnTo>
                    <a:pt x="9832" y="4636"/>
                  </a:lnTo>
                  <a:lnTo>
                    <a:pt x="9945" y="4320"/>
                  </a:lnTo>
                  <a:lnTo>
                    <a:pt x="10068" y="4022"/>
                  </a:lnTo>
                  <a:lnTo>
                    <a:pt x="10203" y="3817"/>
                  </a:lnTo>
                  <a:lnTo>
                    <a:pt x="10316" y="3593"/>
                  </a:lnTo>
                  <a:lnTo>
                    <a:pt x="10395" y="3351"/>
                  </a:lnTo>
                  <a:lnTo>
                    <a:pt x="10462" y="3109"/>
                  </a:lnTo>
                  <a:lnTo>
                    <a:pt x="10507" y="2848"/>
                  </a:lnTo>
                  <a:lnTo>
                    <a:pt x="10530" y="2606"/>
                  </a:lnTo>
                  <a:lnTo>
                    <a:pt x="10507" y="2346"/>
                  </a:lnTo>
                  <a:lnTo>
                    <a:pt x="10462" y="2141"/>
                  </a:lnTo>
                  <a:lnTo>
                    <a:pt x="10395" y="1880"/>
                  </a:lnTo>
                  <a:lnTo>
                    <a:pt x="10293" y="1638"/>
                  </a:lnTo>
                  <a:lnTo>
                    <a:pt x="10158" y="1415"/>
                  </a:lnTo>
                  <a:lnTo>
                    <a:pt x="9967" y="1210"/>
                  </a:lnTo>
                  <a:lnTo>
                    <a:pt x="9753" y="986"/>
                  </a:lnTo>
                  <a:lnTo>
                    <a:pt x="9495" y="819"/>
                  </a:lnTo>
                  <a:lnTo>
                    <a:pt x="9191" y="670"/>
                  </a:lnTo>
                  <a:lnTo>
                    <a:pt x="8842" y="521"/>
                  </a:lnTo>
                  <a:lnTo>
                    <a:pt x="8471" y="446"/>
                  </a:lnTo>
                  <a:lnTo>
                    <a:pt x="7998" y="428"/>
                  </a:lnTo>
                  <a:lnTo>
                    <a:pt x="7413" y="428"/>
                  </a:lnTo>
                  <a:lnTo>
                    <a:pt x="6817" y="446"/>
                  </a:lnTo>
                  <a:lnTo>
                    <a:pt x="6187" y="521"/>
                  </a:lnTo>
                  <a:lnTo>
                    <a:pt x="5602" y="633"/>
                  </a:lnTo>
                  <a:lnTo>
                    <a:pt x="5107" y="744"/>
                  </a:lnTo>
                  <a:lnTo>
                    <a:pt x="4725" y="856"/>
                  </a:lnTo>
                  <a:lnTo>
                    <a:pt x="4848" y="1564"/>
                  </a:lnTo>
                  <a:lnTo>
                    <a:pt x="5028" y="2495"/>
                  </a:lnTo>
                  <a:lnTo>
                    <a:pt x="5175" y="3556"/>
                  </a:lnTo>
                  <a:lnTo>
                    <a:pt x="5298" y="4673"/>
                  </a:lnTo>
                  <a:lnTo>
                    <a:pt x="5343" y="5213"/>
                  </a:lnTo>
                  <a:lnTo>
                    <a:pt x="5388" y="5753"/>
                  </a:lnTo>
                  <a:lnTo>
                    <a:pt x="5411" y="6275"/>
                  </a:lnTo>
                  <a:lnTo>
                    <a:pt x="5411" y="6740"/>
                  </a:lnTo>
                  <a:lnTo>
                    <a:pt x="5366" y="7168"/>
                  </a:lnTo>
                  <a:lnTo>
                    <a:pt x="5321" y="7541"/>
                  </a:lnTo>
                  <a:lnTo>
                    <a:pt x="5287" y="7708"/>
                  </a:lnTo>
                  <a:lnTo>
                    <a:pt x="5242" y="7857"/>
                  </a:lnTo>
                  <a:lnTo>
                    <a:pt x="5197" y="7969"/>
                  </a:lnTo>
                  <a:lnTo>
                    <a:pt x="5130" y="8062"/>
                  </a:lnTo>
                  <a:lnTo>
                    <a:pt x="5006" y="8248"/>
                  </a:lnTo>
                  <a:lnTo>
                    <a:pt x="4848" y="8397"/>
                  </a:lnTo>
                  <a:lnTo>
                    <a:pt x="4725" y="8528"/>
                  </a:lnTo>
                  <a:lnTo>
                    <a:pt x="4567" y="8640"/>
                  </a:lnTo>
                  <a:lnTo>
                    <a:pt x="4421" y="8714"/>
                  </a:lnTo>
                  <a:lnTo>
                    <a:pt x="4263" y="8751"/>
                  </a:lnTo>
                  <a:lnTo>
                    <a:pt x="4095" y="8788"/>
                  </a:lnTo>
                  <a:lnTo>
                    <a:pt x="3948" y="8788"/>
                  </a:lnTo>
                  <a:lnTo>
                    <a:pt x="3791" y="8751"/>
                  </a:lnTo>
                  <a:lnTo>
                    <a:pt x="3667" y="8714"/>
                  </a:lnTo>
                  <a:lnTo>
                    <a:pt x="3510" y="8677"/>
                  </a:lnTo>
                  <a:lnTo>
                    <a:pt x="3386" y="8602"/>
                  </a:lnTo>
                  <a:lnTo>
                    <a:pt x="3251" y="8491"/>
                  </a:lnTo>
                  <a:lnTo>
                    <a:pt x="3127" y="8360"/>
                  </a:lnTo>
                  <a:lnTo>
                    <a:pt x="3015" y="8248"/>
                  </a:lnTo>
                  <a:lnTo>
                    <a:pt x="2925" y="8062"/>
                  </a:lnTo>
                  <a:lnTo>
                    <a:pt x="2778" y="7857"/>
                  </a:lnTo>
                  <a:lnTo>
                    <a:pt x="2610" y="7671"/>
                  </a:lnTo>
                  <a:lnTo>
                    <a:pt x="2407" y="7541"/>
                  </a:lnTo>
                  <a:lnTo>
                    <a:pt x="2171" y="7466"/>
                  </a:lnTo>
                  <a:lnTo>
                    <a:pt x="1957" y="7429"/>
                  </a:lnTo>
                  <a:lnTo>
                    <a:pt x="1698" y="7429"/>
                  </a:lnTo>
                  <a:lnTo>
                    <a:pt x="1462" y="7466"/>
                  </a:lnTo>
                  <a:lnTo>
                    <a:pt x="1226" y="7559"/>
                  </a:lnTo>
                  <a:lnTo>
                    <a:pt x="989" y="7708"/>
                  </a:lnTo>
                  <a:lnTo>
                    <a:pt x="776" y="7932"/>
                  </a:lnTo>
                  <a:lnTo>
                    <a:pt x="551" y="8211"/>
                  </a:lnTo>
                  <a:lnTo>
                    <a:pt x="382" y="8528"/>
                  </a:lnTo>
                  <a:lnTo>
                    <a:pt x="315" y="8714"/>
                  </a:lnTo>
                  <a:lnTo>
                    <a:pt x="236" y="8919"/>
                  </a:lnTo>
                  <a:lnTo>
                    <a:pt x="191" y="9142"/>
                  </a:lnTo>
                  <a:lnTo>
                    <a:pt x="123" y="9347"/>
                  </a:lnTo>
                  <a:lnTo>
                    <a:pt x="78" y="9608"/>
                  </a:lnTo>
                  <a:lnTo>
                    <a:pt x="56" y="9887"/>
                  </a:lnTo>
                  <a:lnTo>
                    <a:pt x="33" y="10185"/>
                  </a:lnTo>
                  <a:lnTo>
                    <a:pt x="33" y="10464"/>
                  </a:lnTo>
                  <a:lnTo>
                    <a:pt x="33" y="10706"/>
                  </a:lnTo>
                  <a:lnTo>
                    <a:pt x="56" y="10967"/>
                  </a:lnTo>
                  <a:lnTo>
                    <a:pt x="78" y="11172"/>
                  </a:lnTo>
                  <a:lnTo>
                    <a:pt x="123" y="11395"/>
                  </a:lnTo>
                  <a:lnTo>
                    <a:pt x="168" y="11600"/>
                  </a:lnTo>
                  <a:lnTo>
                    <a:pt x="236" y="11786"/>
                  </a:lnTo>
                  <a:lnTo>
                    <a:pt x="292" y="11973"/>
                  </a:lnTo>
                  <a:lnTo>
                    <a:pt x="382" y="12140"/>
                  </a:lnTo>
                  <a:lnTo>
                    <a:pt x="540" y="12419"/>
                  </a:lnTo>
                  <a:lnTo>
                    <a:pt x="731" y="12680"/>
                  </a:lnTo>
                  <a:lnTo>
                    <a:pt x="944" y="12866"/>
                  </a:lnTo>
                  <a:lnTo>
                    <a:pt x="1158" y="12997"/>
                  </a:lnTo>
                  <a:lnTo>
                    <a:pt x="1395" y="13108"/>
                  </a:lnTo>
                  <a:lnTo>
                    <a:pt x="1608" y="13183"/>
                  </a:lnTo>
                  <a:lnTo>
                    <a:pt x="1856" y="13183"/>
                  </a:lnTo>
                  <a:lnTo>
                    <a:pt x="2070" y="13146"/>
                  </a:lnTo>
                  <a:lnTo>
                    <a:pt x="2261" y="13071"/>
                  </a:lnTo>
                  <a:lnTo>
                    <a:pt x="2430" y="12960"/>
                  </a:lnTo>
                  <a:lnTo>
                    <a:pt x="2587" y="12792"/>
                  </a:lnTo>
                  <a:lnTo>
                    <a:pt x="2688" y="12606"/>
                  </a:lnTo>
                  <a:lnTo>
                    <a:pt x="2801" y="12419"/>
                  </a:lnTo>
                  <a:lnTo>
                    <a:pt x="2925" y="12289"/>
                  </a:lnTo>
                  <a:lnTo>
                    <a:pt x="3082" y="12177"/>
                  </a:lnTo>
                  <a:lnTo>
                    <a:pt x="3228" y="12103"/>
                  </a:lnTo>
                  <a:lnTo>
                    <a:pt x="3408" y="12103"/>
                  </a:lnTo>
                  <a:lnTo>
                    <a:pt x="3577" y="12103"/>
                  </a:lnTo>
                  <a:lnTo>
                    <a:pt x="3723" y="12177"/>
                  </a:lnTo>
                  <a:lnTo>
                    <a:pt x="3903" y="12252"/>
                  </a:lnTo>
                  <a:lnTo>
                    <a:pt x="4072" y="12364"/>
                  </a:lnTo>
                  <a:lnTo>
                    <a:pt x="4230" y="12494"/>
                  </a:lnTo>
                  <a:lnTo>
                    <a:pt x="4353" y="12643"/>
                  </a:lnTo>
                  <a:lnTo>
                    <a:pt x="4488" y="12829"/>
                  </a:lnTo>
                  <a:lnTo>
                    <a:pt x="4567" y="13034"/>
                  </a:lnTo>
                  <a:lnTo>
                    <a:pt x="4657" y="13257"/>
                  </a:lnTo>
                  <a:lnTo>
                    <a:pt x="4702" y="13462"/>
                  </a:lnTo>
                  <a:lnTo>
                    <a:pt x="4725" y="13686"/>
                  </a:lnTo>
                  <a:lnTo>
                    <a:pt x="4702" y="14282"/>
                  </a:lnTo>
                  <a:lnTo>
                    <a:pt x="4657" y="15045"/>
                  </a:lnTo>
                  <a:lnTo>
                    <a:pt x="4612" y="15976"/>
                  </a:lnTo>
                  <a:lnTo>
                    <a:pt x="4590" y="16926"/>
                  </a:lnTo>
                  <a:lnTo>
                    <a:pt x="4567" y="17968"/>
                  </a:lnTo>
                  <a:lnTo>
                    <a:pt x="4567" y="19011"/>
                  </a:lnTo>
                  <a:lnTo>
                    <a:pt x="4590" y="19514"/>
                  </a:lnTo>
                  <a:lnTo>
                    <a:pt x="4612" y="19980"/>
                  </a:lnTo>
                  <a:lnTo>
                    <a:pt x="4657" y="20426"/>
                  </a:lnTo>
                  <a:lnTo>
                    <a:pt x="4725" y="20836"/>
                  </a:lnTo>
                  <a:lnTo>
                    <a:pt x="4848" y="20929"/>
                  </a:lnTo>
                  <a:lnTo>
                    <a:pt x="5040" y="21004"/>
                  </a:lnTo>
                  <a:lnTo>
                    <a:pt x="5265" y="21078"/>
                  </a:lnTo>
                  <a:lnTo>
                    <a:pt x="5478" y="21115"/>
                  </a:lnTo>
                  <a:lnTo>
                    <a:pt x="6041" y="21115"/>
                  </a:lnTo>
                  <a:lnTo>
                    <a:pt x="6637" y="21078"/>
                  </a:lnTo>
                  <a:lnTo>
                    <a:pt x="7312" y="21004"/>
                  </a:lnTo>
                  <a:lnTo>
                    <a:pt x="7998" y="20929"/>
                  </a:lnTo>
                  <a:lnTo>
                    <a:pt x="8696" y="20855"/>
                  </a:lnTo>
                  <a:lnTo>
                    <a:pt x="9360" y="20836"/>
                  </a:lnTo>
                  <a:close/>
                </a:path>
              </a:pathLst>
            </a:custGeom>
            <a:solidFill>
              <a:schemeClr val="accent1"/>
            </a:solidFill>
            <a:ln w="19050">
              <a:solidFill>
                <a:schemeClr val="bg1"/>
              </a:solidFill>
              <a:miter lim="800000"/>
              <a:headEnd/>
              <a:tailEnd/>
            </a:ln>
          </p:spPr>
          <p:txBody>
            <a:bodyPr/>
            <a:lstStyle/>
            <a:p>
              <a:endParaRPr lang="en-US"/>
            </a:p>
          </p:txBody>
        </p:sp>
        <p:sp>
          <p:nvSpPr>
            <p:cNvPr id="31" name="Puzzle3">
              <a:extLst>
                <a:ext uri="{FF2B5EF4-FFF2-40B4-BE49-F238E27FC236}">
                  <a16:creationId xmlns:a16="http://schemas.microsoft.com/office/drawing/2014/main" id="{DC817484-8936-4558-8497-5A5149CB4597}"/>
                </a:ext>
              </a:extLst>
            </p:cNvPr>
            <p:cNvSpPr>
              <a:spLocks noEditPoints="1" noChangeArrowheads="1"/>
            </p:cNvSpPr>
            <p:nvPr/>
          </p:nvSpPr>
          <p:spPr bwMode="auto">
            <a:xfrm>
              <a:off x="7168168" y="1310357"/>
              <a:ext cx="1196255" cy="1520684"/>
            </a:xfrm>
            <a:custGeom>
              <a:avLst/>
              <a:gdLst>
                <a:gd name="T0" fmla="*/ 471197 w 21600"/>
                <a:gd name="T1" fmla="*/ 841047 h 21600"/>
                <a:gd name="T2" fmla="*/ 931919 w 21600"/>
                <a:gd name="T3" fmla="*/ 1122106 h 21600"/>
                <a:gd name="T4" fmla="*/ 597669 w 21600"/>
                <a:gd name="T5" fmla="*/ 734360 h 21600"/>
                <a:gd name="T6" fmla="*/ 931919 w 21600"/>
                <a:gd name="T7" fmla="*/ 373805 h 21600"/>
                <a:gd name="T8" fmla="*/ 476140 w 21600"/>
                <a:gd name="T9" fmla="*/ 2767 h 21600"/>
                <a:gd name="T10" fmla="*/ 31380 w 21600"/>
                <a:gd name="T11" fmla="*/ 361939 h 21600"/>
                <a:gd name="T12" fmla="*/ 365675 w 21600"/>
                <a:gd name="T13" fmla="*/ 719727 h 21600"/>
                <a:gd name="T14" fmla="*/ 31380 w 21600"/>
                <a:gd name="T15" fmla="*/ 1122106 h 21600"/>
                <a:gd name="T16" fmla="*/ 0 60000 65536"/>
                <a:gd name="T17" fmla="*/ 0 60000 65536"/>
                <a:gd name="T18" fmla="*/ 0 60000 65536"/>
                <a:gd name="T19" fmla="*/ 0 60000 65536"/>
                <a:gd name="T20" fmla="*/ 0 60000 65536"/>
                <a:gd name="T21" fmla="*/ 0 60000 65536"/>
                <a:gd name="T22" fmla="*/ 0 60000 65536"/>
                <a:gd name="T23" fmla="*/ 0 60000 65536"/>
                <a:gd name="T24" fmla="*/ 2273 w 21600"/>
                <a:gd name="T25" fmla="*/ 7719 h 21600"/>
                <a:gd name="T26" fmla="*/ 19149 w 21600"/>
                <a:gd name="T27" fmla="*/ 202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solidFill>
              <a:schemeClr val="tx2">
                <a:lumMod val="40000"/>
                <a:lumOff val="60000"/>
              </a:schemeClr>
            </a:solidFill>
            <a:ln w="19050">
              <a:solidFill>
                <a:schemeClr val="bg1"/>
              </a:solidFill>
              <a:miter lim="800000"/>
              <a:headEnd/>
              <a:tailEnd/>
            </a:ln>
          </p:spPr>
          <p:txBody>
            <a:bodyPr/>
            <a:lstStyle/>
            <a:p>
              <a:endParaRPr lang="en-US"/>
            </a:p>
          </p:txBody>
        </p:sp>
        <p:sp>
          <p:nvSpPr>
            <p:cNvPr id="29" name="Puzzle4">
              <a:extLst>
                <a:ext uri="{FF2B5EF4-FFF2-40B4-BE49-F238E27FC236}">
                  <a16:creationId xmlns:a16="http://schemas.microsoft.com/office/drawing/2014/main" id="{68DC6292-D78D-4A5B-B0A4-4FBFA5CA8C49}"/>
                </a:ext>
              </a:extLst>
            </p:cNvPr>
            <p:cNvSpPr>
              <a:spLocks noEditPoints="1" noChangeArrowheads="1"/>
            </p:cNvSpPr>
            <p:nvPr/>
          </p:nvSpPr>
          <p:spPr bwMode="auto">
            <a:xfrm>
              <a:off x="3876047" y="2409854"/>
              <a:ext cx="1147784" cy="1770630"/>
            </a:xfrm>
            <a:custGeom>
              <a:avLst/>
              <a:gdLst>
                <a:gd name="T0" fmla="*/ 361431 w 21600"/>
                <a:gd name="T1" fmla="*/ 718263 h 21600"/>
                <a:gd name="T2" fmla="*/ 19710 w 21600"/>
                <a:gd name="T3" fmla="*/ 1049421 h 21600"/>
                <a:gd name="T4" fmla="*/ 500356 w 21600"/>
                <a:gd name="T5" fmla="*/ 1338262 h 21600"/>
                <a:gd name="T6" fmla="*/ 910214 w 21600"/>
                <a:gd name="T7" fmla="*/ 1037835 h 21600"/>
                <a:gd name="T8" fmla="*/ 607911 w 21600"/>
                <a:gd name="T9" fmla="*/ 674583 h 21600"/>
                <a:gd name="T10" fmla="*/ 915130 w 21600"/>
                <a:gd name="T11" fmla="*/ 292187 h 21600"/>
                <a:gd name="T12" fmla="*/ 483040 w 21600"/>
                <a:gd name="T13" fmla="*/ 682 h 21600"/>
                <a:gd name="T14" fmla="*/ 19710 w 21600"/>
                <a:gd name="T15" fmla="*/ 292187 h 21600"/>
                <a:gd name="T16" fmla="*/ 0 60000 65536"/>
                <a:gd name="T17" fmla="*/ 0 60000 65536"/>
                <a:gd name="T18" fmla="*/ 0 60000 65536"/>
                <a:gd name="T19" fmla="*/ 0 60000 65536"/>
                <a:gd name="T20" fmla="*/ 0 60000 65536"/>
                <a:gd name="T21" fmla="*/ 0 60000 65536"/>
                <a:gd name="T22" fmla="*/ 0 60000 65536"/>
                <a:gd name="T23" fmla="*/ 0 60000 65536"/>
                <a:gd name="T24" fmla="*/ 2076 w 21600"/>
                <a:gd name="T25" fmla="*/ 5664 h 21600"/>
                <a:gd name="T26" fmla="*/ 20203 w 21600"/>
                <a:gd name="T27" fmla="*/ 1598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3813" y="10590"/>
                  </a:moveTo>
                  <a:lnTo>
                    <a:pt x="3927" y="10513"/>
                  </a:lnTo>
                  <a:lnTo>
                    <a:pt x="4078" y="10425"/>
                  </a:lnTo>
                  <a:lnTo>
                    <a:pt x="4210" y="10359"/>
                  </a:lnTo>
                  <a:lnTo>
                    <a:pt x="4361" y="10315"/>
                  </a:lnTo>
                  <a:lnTo>
                    <a:pt x="4682" y="10237"/>
                  </a:lnTo>
                  <a:lnTo>
                    <a:pt x="5041" y="10193"/>
                  </a:lnTo>
                  <a:lnTo>
                    <a:pt x="5456" y="10171"/>
                  </a:lnTo>
                  <a:lnTo>
                    <a:pt x="5853" y="10193"/>
                  </a:lnTo>
                  <a:lnTo>
                    <a:pt x="6249" y="10260"/>
                  </a:lnTo>
                  <a:lnTo>
                    <a:pt x="6646" y="10337"/>
                  </a:lnTo>
                  <a:lnTo>
                    <a:pt x="7004" y="10469"/>
                  </a:lnTo>
                  <a:lnTo>
                    <a:pt x="7363" y="10612"/>
                  </a:lnTo>
                  <a:lnTo>
                    <a:pt x="7665" y="10788"/>
                  </a:lnTo>
                  <a:lnTo>
                    <a:pt x="7911" y="10998"/>
                  </a:lnTo>
                  <a:lnTo>
                    <a:pt x="8024" y="11097"/>
                  </a:lnTo>
                  <a:lnTo>
                    <a:pt x="8137" y="11207"/>
                  </a:lnTo>
                  <a:lnTo>
                    <a:pt x="8194" y="11340"/>
                  </a:lnTo>
                  <a:lnTo>
                    <a:pt x="8269" y="11461"/>
                  </a:lnTo>
                  <a:lnTo>
                    <a:pt x="8307" y="11593"/>
                  </a:lnTo>
                  <a:lnTo>
                    <a:pt x="8307" y="11714"/>
                  </a:lnTo>
                  <a:lnTo>
                    <a:pt x="8307" y="11868"/>
                  </a:lnTo>
                  <a:lnTo>
                    <a:pt x="8307" y="12012"/>
                  </a:lnTo>
                  <a:lnTo>
                    <a:pt x="8194" y="12265"/>
                  </a:lnTo>
                  <a:lnTo>
                    <a:pt x="8062" y="12519"/>
                  </a:lnTo>
                  <a:lnTo>
                    <a:pt x="7873" y="12706"/>
                  </a:lnTo>
                  <a:lnTo>
                    <a:pt x="7627" y="12904"/>
                  </a:lnTo>
                  <a:lnTo>
                    <a:pt x="7363" y="13048"/>
                  </a:lnTo>
                  <a:lnTo>
                    <a:pt x="7080" y="13180"/>
                  </a:lnTo>
                  <a:lnTo>
                    <a:pt x="6759" y="13257"/>
                  </a:lnTo>
                  <a:lnTo>
                    <a:pt x="6419" y="13345"/>
                  </a:lnTo>
                  <a:lnTo>
                    <a:pt x="6098" y="13389"/>
                  </a:lnTo>
                  <a:lnTo>
                    <a:pt x="5739" y="13389"/>
                  </a:lnTo>
                  <a:lnTo>
                    <a:pt x="5418" y="13389"/>
                  </a:lnTo>
                  <a:lnTo>
                    <a:pt x="5079" y="13345"/>
                  </a:lnTo>
                  <a:lnTo>
                    <a:pt x="4758" y="13301"/>
                  </a:lnTo>
                  <a:lnTo>
                    <a:pt x="4474" y="13213"/>
                  </a:lnTo>
                  <a:lnTo>
                    <a:pt x="4172" y="13114"/>
                  </a:lnTo>
                  <a:lnTo>
                    <a:pt x="3965" y="12982"/>
                  </a:lnTo>
                  <a:lnTo>
                    <a:pt x="3738" y="12838"/>
                  </a:lnTo>
                  <a:lnTo>
                    <a:pt x="3493" y="12706"/>
                  </a:lnTo>
                  <a:lnTo>
                    <a:pt x="3228" y="12607"/>
                  </a:lnTo>
                  <a:lnTo>
                    <a:pt x="2945" y="12519"/>
                  </a:lnTo>
                  <a:lnTo>
                    <a:pt x="2700" y="12431"/>
                  </a:lnTo>
                  <a:lnTo>
                    <a:pt x="2397" y="12375"/>
                  </a:lnTo>
                  <a:lnTo>
                    <a:pt x="2152" y="12331"/>
                  </a:lnTo>
                  <a:lnTo>
                    <a:pt x="1888" y="12309"/>
                  </a:lnTo>
                  <a:lnTo>
                    <a:pt x="1642" y="12309"/>
                  </a:lnTo>
                  <a:lnTo>
                    <a:pt x="1397" y="12331"/>
                  </a:lnTo>
                  <a:lnTo>
                    <a:pt x="1170" y="12397"/>
                  </a:lnTo>
                  <a:lnTo>
                    <a:pt x="962" y="12453"/>
                  </a:lnTo>
                  <a:lnTo>
                    <a:pt x="774" y="12563"/>
                  </a:lnTo>
                  <a:lnTo>
                    <a:pt x="623" y="12684"/>
                  </a:lnTo>
                  <a:lnTo>
                    <a:pt x="528" y="12838"/>
                  </a:lnTo>
                  <a:lnTo>
                    <a:pt x="453" y="13026"/>
                  </a:lnTo>
                  <a:lnTo>
                    <a:pt x="339" y="13477"/>
                  </a:lnTo>
                  <a:lnTo>
                    <a:pt x="226" y="13984"/>
                  </a:lnTo>
                  <a:lnTo>
                    <a:pt x="151" y="14535"/>
                  </a:lnTo>
                  <a:lnTo>
                    <a:pt x="113" y="15075"/>
                  </a:lnTo>
                  <a:lnTo>
                    <a:pt x="113" y="15626"/>
                  </a:lnTo>
                  <a:lnTo>
                    <a:pt x="151" y="16133"/>
                  </a:lnTo>
                  <a:lnTo>
                    <a:pt x="188" y="16376"/>
                  </a:lnTo>
                  <a:lnTo>
                    <a:pt x="264" y="16585"/>
                  </a:lnTo>
                  <a:lnTo>
                    <a:pt x="339" y="16773"/>
                  </a:lnTo>
                  <a:lnTo>
                    <a:pt x="453" y="16938"/>
                  </a:lnTo>
                  <a:lnTo>
                    <a:pt x="1095" y="16883"/>
                  </a:lnTo>
                  <a:lnTo>
                    <a:pt x="1963" y="16795"/>
                  </a:lnTo>
                  <a:lnTo>
                    <a:pt x="2945" y="16751"/>
                  </a:lnTo>
                  <a:lnTo>
                    <a:pt x="3965" y="16706"/>
                  </a:lnTo>
                  <a:lnTo>
                    <a:pt x="5022" y="16684"/>
                  </a:lnTo>
                  <a:lnTo>
                    <a:pt x="5947" y="16684"/>
                  </a:lnTo>
                  <a:lnTo>
                    <a:pt x="6759" y="16706"/>
                  </a:lnTo>
                  <a:lnTo>
                    <a:pt x="7363" y="16751"/>
                  </a:lnTo>
                  <a:lnTo>
                    <a:pt x="7948" y="16839"/>
                  </a:lnTo>
                  <a:lnTo>
                    <a:pt x="8458" y="16916"/>
                  </a:lnTo>
                  <a:lnTo>
                    <a:pt x="8893" y="17026"/>
                  </a:lnTo>
                  <a:lnTo>
                    <a:pt x="9289" y="17158"/>
                  </a:lnTo>
                  <a:lnTo>
                    <a:pt x="9572" y="17280"/>
                  </a:lnTo>
                  <a:lnTo>
                    <a:pt x="9799" y="17412"/>
                  </a:lnTo>
                  <a:lnTo>
                    <a:pt x="9969" y="17555"/>
                  </a:lnTo>
                  <a:lnTo>
                    <a:pt x="10120" y="17687"/>
                  </a:lnTo>
                  <a:lnTo>
                    <a:pt x="10158" y="17831"/>
                  </a:lnTo>
                  <a:lnTo>
                    <a:pt x="10195" y="17974"/>
                  </a:lnTo>
                  <a:lnTo>
                    <a:pt x="10158" y="18128"/>
                  </a:lnTo>
                  <a:lnTo>
                    <a:pt x="10082" y="18271"/>
                  </a:lnTo>
                  <a:lnTo>
                    <a:pt x="9969" y="18426"/>
                  </a:lnTo>
                  <a:lnTo>
                    <a:pt x="9837" y="18569"/>
                  </a:lnTo>
                  <a:lnTo>
                    <a:pt x="9648" y="18701"/>
                  </a:lnTo>
                  <a:lnTo>
                    <a:pt x="9440" y="18822"/>
                  </a:lnTo>
                  <a:lnTo>
                    <a:pt x="9213" y="18999"/>
                  </a:lnTo>
                  <a:lnTo>
                    <a:pt x="9044" y="19186"/>
                  </a:lnTo>
                  <a:lnTo>
                    <a:pt x="8893" y="19395"/>
                  </a:lnTo>
                  <a:lnTo>
                    <a:pt x="8817" y="19627"/>
                  </a:lnTo>
                  <a:lnTo>
                    <a:pt x="8779" y="19858"/>
                  </a:lnTo>
                  <a:lnTo>
                    <a:pt x="8779" y="20112"/>
                  </a:lnTo>
                  <a:lnTo>
                    <a:pt x="8855" y="20354"/>
                  </a:lnTo>
                  <a:lnTo>
                    <a:pt x="8968" y="20586"/>
                  </a:lnTo>
                  <a:lnTo>
                    <a:pt x="9138" y="20817"/>
                  </a:lnTo>
                  <a:lnTo>
                    <a:pt x="9365" y="21026"/>
                  </a:lnTo>
                  <a:lnTo>
                    <a:pt x="9610" y="21192"/>
                  </a:lnTo>
                  <a:lnTo>
                    <a:pt x="9950" y="21368"/>
                  </a:lnTo>
                  <a:lnTo>
                    <a:pt x="10120" y="21445"/>
                  </a:lnTo>
                  <a:lnTo>
                    <a:pt x="10346" y="21511"/>
                  </a:lnTo>
                  <a:lnTo>
                    <a:pt x="10516" y="21555"/>
                  </a:lnTo>
                  <a:lnTo>
                    <a:pt x="10743" y="21600"/>
                  </a:lnTo>
                  <a:lnTo>
                    <a:pt x="10988" y="21644"/>
                  </a:lnTo>
                  <a:lnTo>
                    <a:pt x="11215" y="21666"/>
                  </a:lnTo>
                  <a:lnTo>
                    <a:pt x="11498" y="21666"/>
                  </a:lnTo>
                  <a:lnTo>
                    <a:pt x="11762" y="21666"/>
                  </a:lnTo>
                  <a:lnTo>
                    <a:pt x="12253" y="21644"/>
                  </a:lnTo>
                  <a:lnTo>
                    <a:pt x="12763" y="21577"/>
                  </a:lnTo>
                  <a:lnTo>
                    <a:pt x="13197" y="21467"/>
                  </a:lnTo>
                  <a:lnTo>
                    <a:pt x="13556" y="21346"/>
                  </a:lnTo>
                  <a:lnTo>
                    <a:pt x="13896" y="21192"/>
                  </a:lnTo>
                  <a:lnTo>
                    <a:pt x="14179" y="21026"/>
                  </a:lnTo>
                  <a:lnTo>
                    <a:pt x="14444" y="20839"/>
                  </a:lnTo>
                  <a:lnTo>
                    <a:pt x="14576" y="20641"/>
                  </a:lnTo>
                  <a:lnTo>
                    <a:pt x="14727" y="20431"/>
                  </a:lnTo>
                  <a:lnTo>
                    <a:pt x="14765" y="20200"/>
                  </a:lnTo>
                  <a:lnTo>
                    <a:pt x="14802" y="19991"/>
                  </a:lnTo>
                  <a:lnTo>
                    <a:pt x="14727" y="19759"/>
                  </a:lnTo>
                  <a:lnTo>
                    <a:pt x="14613" y="19550"/>
                  </a:lnTo>
                  <a:lnTo>
                    <a:pt x="14444" y="19307"/>
                  </a:lnTo>
                  <a:lnTo>
                    <a:pt x="14217" y="19098"/>
                  </a:lnTo>
                  <a:lnTo>
                    <a:pt x="13934" y="18911"/>
                  </a:lnTo>
                  <a:lnTo>
                    <a:pt x="13669" y="18745"/>
                  </a:lnTo>
                  <a:lnTo>
                    <a:pt x="13462" y="18547"/>
                  </a:lnTo>
                  <a:lnTo>
                    <a:pt x="13311" y="18337"/>
                  </a:lnTo>
                  <a:lnTo>
                    <a:pt x="13197" y="18150"/>
                  </a:lnTo>
                  <a:lnTo>
                    <a:pt x="13122" y="17941"/>
                  </a:lnTo>
                  <a:lnTo>
                    <a:pt x="13122" y="17720"/>
                  </a:lnTo>
                  <a:lnTo>
                    <a:pt x="13122" y="17533"/>
                  </a:lnTo>
                  <a:lnTo>
                    <a:pt x="13197" y="17346"/>
                  </a:lnTo>
                  <a:lnTo>
                    <a:pt x="13273" y="17158"/>
                  </a:lnTo>
                  <a:lnTo>
                    <a:pt x="13386" y="16982"/>
                  </a:lnTo>
                  <a:lnTo>
                    <a:pt x="13537" y="16839"/>
                  </a:lnTo>
                  <a:lnTo>
                    <a:pt x="13707" y="16706"/>
                  </a:lnTo>
                  <a:lnTo>
                    <a:pt x="13896" y="16607"/>
                  </a:lnTo>
                  <a:lnTo>
                    <a:pt x="14104" y="16519"/>
                  </a:lnTo>
                  <a:lnTo>
                    <a:pt x="14330" y="16453"/>
                  </a:lnTo>
                  <a:lnTo>
                    <a:pt x="14538" y="16431"/>
                  </a:lnTo>
                  <a:lnTo>
                    <a:pt x="14897" y="16453"/>
                  </a:lnTo>
                  <a:lnTo>
                    <a:pt x="15406" y="16497"/>
                  </a:lnTo>
                  <a:lnTo>
                    <a:pt x="16105" y="16541"/>
                  </a:lnTo>
                  <a:lnTo>
                    <a:pt x="16898" y="16607"/>
                  </a:lnTo>
                  <a:lnTo>
                    <a:pt x="17804" y="16651"/>
                  </a:lnTo>
                  <a:lnTo>
                    <a:pt x="18786" y="16684"/>
                  </a:lnTo>
                  <a:lnTo>
                    <a:pt x="19844" y="16728"/>
                  </a:lnTo>
                  <a:lnTo>
                    <a:pt x="20920" y="16751"/>
                  </a:lnTo>
                  <a:lnTo>
                    <a:pt x="21109" y="16497"/>
                  </a:lnTo>
                  <a:lnTo>
                    <a:pt x="21241" y="16222"/>
                  </a:lnTo>
                  <a:lnTo>
                    <a:pt x="21392" y="15946"/>
                  </a:lnTo>
                  <a:lnTo>
                    <a:pt x="21467" y="15648"/>
                  </a:lnTo>
                  <a:lnTo>
                    <a:pt x="21543" y="15351"/>
                  </a:lnTo>
                  <a:lnTo>
                    <a:pt x="21618" y="15042"/>
                  </a:lnTo>
                  <a:lnTo>
                    <a:pt x="21618" y="14745"/>
                  </a:lnTo>
                  <a:lnTo>
                    <a:pt x="21618" y="14447"/>
                  </a:lnTo>
                  <a:lnTo>
                    <a:pt x="21618" y="14150"/>
                  </a:lnTo>
                  <a:lnTo>
                    <a:pt x="21581" y="13852"/>
                  </a:lnTo>
                  <a:lnTo>
                    <a:pt x="21505" y="13577"/>
                  </a:lnTo>
                  <a:lnTo>
                    <a:pt x="21430" y="13301"/>
                  </a:lnTo>
                  <a:lnTo>
                    <a:pt x="21354" y="13048"/>
                  </a:lnTo>
                  <a:lnTo>
                    <a:pt x="21241" y="12816"/>
                  </a:lnTo>
                  <a:lnTo>
                    <a:pt x="21146" y="12607"/>
                  </a:lnTo>
                  <a:lnTo>
                    <a:pt x="21033" y="12431"/>
                  </a:lnTo>
                  <a:lnTo>
                    <a:pt x="20920" y="12265"/>
                  </a:lnTo>
                  <a:lnTo>
                    <a:pt x="20769" y="12144"/>
                  </a:lnTo>
                  <a:lnTo>
                    <a:pt x="20637" y="12034"/>
                  </a:lnTo>
                  <a:lnTo>
                    <a:pt x="20486" y="11946"/>
                  </a:lnTo>
                  <a:lnTo>
                    <a:pt x="20297" y="11891"/>
                  </a:lnTo>
                  <a:lnTo>
                    <a:pt x="20165" y="11846"/>
                  </a:lnTo>
                  <a:lnTo>
                    <a:pt x="19976" y="11824"/>
                  </a:lnTo>
                  <a:lnTo>
                    <a:pt x="19806" y="11802"/>
                  </a:lnTo>
                  <a:lnTo>
                    <a:pt x="19390" y="11824"/>
                  </a:lnTo>
                  <a:lnTo>
                    <a:pt x="18956" y="11891"/>
                  </a:lnTo>
                  <a:lnTo>
                    <a:pt x="18503" y="11968"/>
                  </a:lnTo>
                  <a:lnTo>
                    <a:pt x="17993" y="12078"/>
                  </a:lnTo>
                  <a:lnTo>
                    <a:pt x="17653" y="12144"/>
                  </a:lnTo>
                  <a:lnTo>
                    <a:pt x="17332" y="12199"/>
                  </a:lnTo>
                  <a:lnTo>
                    <a:pt x="17049" y="12221"/>
                  </a:lnTo>
                  <a:lnTo>
                    <a:pt x="16747" y="12243"/>
                  </a:lnTo>
                  <a:lnTo>
                    <a:pt x="16464" y="12243"/>
                  </a:lnTo>
                  <a:lnTo>
                    <a:pt x="16218" y="12243"/>
                  </a:lnTo>
                  <a:lnTo>
                    <a:pt x="15992" y="12221"/>
                  </a:lnTo>
                  <a:lnTo>
                    <a:pt x="15746" y="12199"/>
                  </a:lnTo>
                  <a:lnTo>
                    <a:pt x="15520" y="12155"/>
                  </a:lnTo>
                  <a:lnTo>
                    <a:pt x="15350" y="12122"/>
                  </a:lnTo>
                  <a:lnTo>
                    <a:pt x="15161" y="12056"/>
                  </a:lnTo>
                  <a:lnTo>
                    <a:pt x="14972" y="11990"/>
                  </a:lnTo>
                  <a:lnTo>
                    <a:pt x="14689" y="11846"/>
                  </a:lnTo>
                  <a:lnTo>
                    <a:pt x="14444" y="11670"/>
                  </a:lnTo>
                  <a:lnTo>
                    <a:pt x="14255" y="11483"/>
                  </a:lnTo>
                  <a:lnTo>
                    <a:pt x="14104" y="11295"/>
                  </a:lnTo>
                  <a:lnTo>
                    <a:pt x="14028" y="11086"/>
                  </a:lnTo>
                  <a:lnTo>
                    <a:pt x="13972" y="10888"/>
                  </a:lnTo>
                  <a:lnTo>
                    <a:pt x="13972" y="10700"/>
                  </a:lnTo>
                  <a:lnTo>
                    <a:pt x="14009" y="10513"/>
                  </a:lnTo>
                  <a:lnTo>
                    <a:pt x="14066" y="10359"/>
                  </a:lnTo>
                  <a:lnTo>
                    <a:pt x="14179" y="10215"/>
                  </a:lnTo>
                  <a:lnTo>
                    <a:pt x="14406" y="10006"/>
                  </a:lnTo>
                  <a:lnTo>
                    <a:pt x="14651" y="9830"/>
                  </a:lnTo>
                  <a:lnTo>
                    <a:pt x="14878" y="9686"/>
                  </a:lnTo>
                  <a:lnTo>
                    <a:pt x="15123" y="9554"/>
                  </a:lnTo>
                  <a:lnTo>
                    <a:pt x="15350" y="9477"/>
                  </a:lnTo>
                  <a:lnTo>
                    <a:pt x="15558" y="9411"/>
                  </a:lnTo>
                  <a:lnTo>
                    <a:pt x="15803" y="9345"/>
                  </a:lnTo>
                  <a:lnTo>
                    <a:pt x="16030" y="9323"/>
                  </a:lnTo>
                  <a:lnTo>
                    <a:pt x="16256" y="9301"/>
                  </a:lnTo>
                  <a:lnTo>
                    <a:pt x="16464" y="9323"/>
                  </a:lnTo>
                  <a:lnTo>
                    <a:pt x="16690" y="9345"/>
                  </a:lnTo>
                  <a:lnTo>
                    <a:pt x="16898" y="9367"/>
                  </a:lnTo>
                  <a:lnTo>
                    <a:pt x="17332" y="9477"/>
                  </a:lnTo>
                  <a:lnTo>
                    <a:pt x="17767" y="9598"/>
                  </a:lnTo>
                  <a:lnTo>
                    <a:pt x="18163" y="9731"/>
                  </a:lnTo>
                  <a:lnTo>
                    <a:pt x="18597" y="9874"/>
                  </a:lnTo>
                  <a:lnTo>
                    <a:pt x="18994" y="10006"/>
                  </a:lnTo>
                  <a:lnTo>
                    <a:pt x="19428" y="10083"/>
                  </a:lnTo>
                  <a:lnTo>
                    <a:pt x="19617" y="10127"/>
                  </a:lnTo>
                  <a:lnTo>
                    <a:pt x="19844" y="10149"/>
                  </a:lnTo>
                  <a:lnTo>
                    <a:pt x="20013" y="10149"/>
                  </a:lnTo>
                  <a:lnTo>
                    <a:pt x="20240" y="10127"/>
                  </a:lnTo>
                  <a:lnTo>
                    <a:pt x="20410" y="10105"/>
                  </a:lnTo>
                  <a:lnTo>
                    <a:pt x="20637" y="10061"/>
                  </a:lnTo>
                  <a:lnTo>
                    <a:pt x="20844" y="9984"/>
                  </a:lnTo>
                  <a:lnTo>
                    <a:pt x="21033" y="9896"/>
                  </a:lnTo>
                  <a:lnTo>
                    <a:pt x="21146" y="9830"/>
                  </a:lnTo>
                  <a:lnTo>
                    <a:pt x="21203" y="9753"/>
                  </a:lnTo>
                  <a:lnTo>
                    <a:pt x="21279" y="9642"/>
                  </a:lnTo>
                  <a:lnTo>
                    <a:pt x="21354" y="9521"/>
                  </a:lnTo>
                  <a:lnTo>
                    <a:pt x="21430" y="9246"/>
                  </a:lnTo>
                  <a:lnTo>
                    <a:pt x="21430" y="8904"/>
                  </a:lnTo>
                  <a:lnTo>
                    <a:pt x="21430" y="8540"/>
                  </a:lnTo>
                  <a:lnTo>
                    <a:pt x="21392" y="8144"/>
                  </a:lnTo>
                  <a:lnTo>
                    <a:pt x="21354" y="7714"/>
                  </a:lnTo>
                  <a:lnTo>
                    <a:pt x="21279" y="7295"/>
                  </a:lnTo>
                  <a:lnTo>
                    <a:pt x="21146" y="6446"/>
                  </a:lnTo>
                  <a:lnTo>
                    <a:pt x="20995" y="5686"/>
                  </a:lnTo>
                  <a:lnTo>
                    <a:pt x="20958" y="5366"/>
                  </a:lnTo>
                  <a:lnTo>
                    <a:pt x="20958" y="5091"/>
                  </a:lnTo>
                  <a:lnTo>
                    <a:pt x="20958" y="4860"/>
                  </a:lnTo>
                  <a:lnTo>
                    <a:pt x="21033" y="4716"/>
                  </a:lnTo>
                  <a:lnTo>
                    <a:pt x="20637" y="4860"/>
                  </a:lnTo>
                  <a:lnTo>
                    <a:pt x="20127" y="4992"/>
                  </a:lnTo>
                  <a:lnTo>
                    <a:pt x="19617" y="5069"/>
                  </a:lnTo>
                  <a:lnTo>
                    <a:pt x="19032" y="5157"/>
                  </a:lnTo>
                  <a:lnTo>
                    <a:pt x="18465" y="5201"/>
                  </a:lnTo>
                  <a:lnTo>
                    <a:pt x="17842" y="5245"/>
                  </a:lnTo>
                  <a:lnTo>
                    <a:pt x="17219" y="5267"/>
                  </a:lnTo>
                  <a:lnTo>
                    <a:pt x="16615" y="5267"/>
                  </a:lnTo>
                  <a:lnTo>
                    <a:pt x="15992" y="5245"/>
                  </a:lnTo>
                  <a:lnTo>
                    <a:pt x="15369" y="5201"/>
                  </a:lnTo>
                  <a:lnTo>
                    <a:pt x="14840" y="5157"/>
                  </a:lnTo>
                  <a:lnTo>
                    <a:pt x="14293" y="5091"/>
                  </a:lnTo>
                  <a:lnTo>
                    <a:pt x="13783" y="5014"/>
                  </a:lnTo>
                  <a:lnTo>
                    <a:pt x="13386" y="4926"/>
                  </a:lnTo>
                  <a:lnTo>
                    <a:pt x="13027" y="4815"/>
                  </a:lnTo>
                  <a:lnTo>
                    <a:pt x="12725" y="4716"/>
                  </a:lnTo>
                  <a:lnTo>
                    <a:pt x="12480" y="4606"/>
                  </a:lnTo>
                  <a:lnTo>
                    <a:pt x="12291" y="4496"/>
                  </a:lnTo>
                  <a:lnTo>
                    <a:pt x="12197" y="4397"/>
                  </a:lnTo>
                  <a:lnTo>
                    <a:pt x="12083" y="4286"/>
                  </a:lnTo>
                  <a:lnTo>
                    <a:pt x="12046" y="4187"/>
                  </a:lnTo>
                  <a:lnTo>
                    <a:pt x="12008" y="4077"/>
                  </a:lnTo>
                  <a:lnTo>
                    <a:pt x="12046" y="3967"/>
                  </a:lnTo>
                  <a:lnTo>
                    <a:pt x="12121" y="3868"/>
                  </a:lnTo>
                  <a:lnTo>
                    <a:pt x="12197" y="3735"/>
                  </a:lnTo>
                  <a:lnTo>
                    <a:pt x="12291" y="3614"/>
                  </a:lnTo>
                  <a:lnTo>
                    <a:pt x="12442" y="3482"/>
                  </a:lnTo>
                  <a:lnTo>
                    <a:pt x="12631" y="3361"/>
                  </a:lnTo>
                  <a:lnTo>
                    <a:pt x="13065" y="3085"/>
                  </a:lnTo>
                  <a:lnTo>
                    <a:pt x="13537" y="2766"/>
                  </a:lnTo>
                  <a:lnTo>
                    <a:pt x="13783" y="2578"/>
                  </a:lnTo>
                  <a:lnTo>
                    <a:pt x="13934" y="2380"/>
                  </a:lnTo>
                  <a:lnTo>
                    <a:pt x="14028" y="2171"/>
                  </a:lnTo>
                  <a:lnTo>
                    <a:pt x="14104" y="1961"/>
                  </a:lnTo>
                  <a:lnTo>
                    <a:pt x="14104" y="1730"/>
                  </a:lnTo>
                  <a:lnTo>
                    <a:pt x="14066" y="1498"/>
                  </a:lnTo>
                  <a:lnTo>
                    <a:pt x="13972" y="1267"/>
                  </a:lnTo>
                  <a:lnTo>
                    <a:pt x="13820" y="1057"/>
                  </a:lnTo>
                  <a:lnTo>
                    <a:pt x="13594" y="837"/>
                  </a:lnTo>
                  <a:lnTo>
                    <a:pt x="13386" y="628"/>
                  </a:lnTo>
                  <a:lnTo>
                    <a:pt x="13103" y="462"/>
                  </a:lnTo>
                  <a:lnTo>
                    <a:pt x="12763" y="308"/>
                  </a:lnTo>
                  <a:lnTo>
                    <a:pt x="12404" y="187"/>
                  </a:lnTo>
                  <a:lnTo>
                    <a:pt x="12008" y="77"/>
                  </a:lnTo>
                  <a:lnTo>
                    <a:pt x="11574" y="33"/>
                  </a:lnTo>
                  <a:lnTo>
                    <a:pt x="11102" y="11"/>
                  </a:lnTo>
                  <a:lnTo>
                    <a:pt x="10667" y="11"/>
                  </a:lnTo>
                  <a:lnTo>
                    <a:pt x="10233" y="77"/>
                  </a:lnTo>
                  <a:lnTo>
                    <a:pt x="9837" y="187"/>
                  </a:lnTo>
                  <a:lnTo>
                    <a:pt x="9440" y="286"/>
                  </a:lnTo>
                  <a:lnTo>
                    <a:pt x="9062" y="462"/>
                  </a:lnTo>
                  <a:lnTo>
                    <a:pt x="8741" y="628"/>
                  </a:lnTo>
                  <a:lnTo>
                    <a:pt x="8458" y="815"/>
                  </a:lnTo>
                  <a:lnTo>
                    <a:pt x="8232" y="1035"/>
                  </a:lnTo>
                  <a:lnTo>
                    <a:pt x="8062" y="1245"/>
                  </a:lnTo>
                  <a:lnTo>
                    <a:pt x="7911" y="1476"/>
                  </a:lnTo>
                  <a:lnTo>
                    <a:pt x="7835" y="1708"/>
                  </a:lnTo>
                  <a:lnTo>
                    <a:pt x="7797" y="1961"/>
                  </a:lnTo>
                  <a:lnTo>
                    <a:pt x="7835" y="2193"/>
                  </a:lnTo>
                  <a:lnTo>
                    <a:pt x="7948" y="2402"/>
                  </a:lnTo>
                  <a:lnTo>
                    <a:pt x="8062" y="2534"/>
                  </a:lnTo>
                  <a:lnTo>
                    <a:pt x="8175" y="2644"/>
                  </a:lnTo>
                  <a:lnTo>
                    <a:pt x="8269" y="2744"/>
                  </a:lnTo>
                  <a:lnTo>
                    <a:pt x="8420" y="2832"/>
                  </a:lnTo>
                  <a:lnTo>
                    <a:pt x="8704" y="3019"/>
                  </a:lnTo>
                  <a:lnTo>
                    <a:pt x="8968" y="3206"/>
                  </a:lnTo>
                  <a:lnTo>
                    <a:pt x="9138" y="3405"/>
                  </a:lnTo>
                  <a:lnTo>
                    <a:pt x="9327" y="3570"/>
                  </a:lnTo>
                  <a:lnTo>
                    <a:pt x="9440" y="3735"/>
                  </a:lnTo>
                  <a:lnTo>
                    <a:pt x="9516" y="3890"/>
                  </a:lnTo>
                  <a:lnTo>
                    <a:pt x="9534" y="4033"/>
                  </a:lnTo>
                  <a:lnTo>
                    <a:pt x="9534" y="4165"/>
                  </a:lnTo>
                  <a:lnTo>
                    <a:pt x="9516" y="4286"/>
                  </a:lnTo>
                  <a:lnTo>
                    <a:pt x="9440" y="4397"/>
                  </a:lnTo>
                  <a:lnTo>
                    <a:pt x="9327" y="4496"/>
                  </a:lnTo>
                  <a:lnTo>
                    <a:pt x="9176" y="4562"/>
                  </a:lnTo>
                  <a:lnTo>
                    <a:pt x="9006" y="4628"/>
                  </a:lnTo>
                  <a:lnTo>
                    <a:pt x="8779" y="4694"/>
                  </a:lnTo>
                  <a:lnTo>
                    <a:pt x="8534" y="4716"/>
                  </a:lnTo>
                  <a:lnTo>
                    <a:pt x="8232" y="4716"/>
                  </a:lnTo>
                  <a:lnTo>
                    <a:pt x="7118" y="4738"/>
                  </a:lnTo>
                  <a:lnTo>
                    <a:pt x="5947" y="4771"/>
                  </a:lnTo>
                  <a:lnTo>
                    <a:pt x="4795" y="4815"/>
                  </a:lnTo>
                  <a:lnTo>
                    <a:pt x="3681" y="4860"/>
                  </a:lnTo>
                  <a:lnTo>
                    <a:pt x="2662" y="4882"/>
                  </a:lnTo>
                  <a:lnTo>
                    <a:pt x="1755" y="4882"/>
                  </a:lnTo>
                  <a:lnTo>
                    <a:pt x="1359" y="4860"/>
                  </a:lnTo>
                  <a:lnTo>
                    <a:pt x="981" y="4837"/>
                  </a:lnTo>
                  <a:lnTo>
                    <a:pt x="698" y="4771"/>
                  </a:lnTo>
                  <a:lnTo>
                    <a:pt x="453" y="4716"/>
                  </a:lnTo>
                  <a:lnTo>
                    <a:pt x="453" y="5322"/>
                  </a:lnTo>
                  <a:lnTo>
                    <a:pt x="453" y="6083"/>
                  </a:lnTo>
                  <a:lnTo>
                    <a:pt x="453" y="6909"/>
                  </a:lnTo>
                  <a:lnTo>
                    <a:pt x="453" y="7780"/>
                  </a:lnTo>
                  <a:lnTo>
                    <a:pt x="453" y="8606"/>
                  </a:lnTo>
                  <a:lnTo>
                    <a:pt x="453" y="9345"/>
                  </a:lnTo>
                  <a:lnTo>
                    <a:pt x="453" y="9918"/>
                  </a:lnTo>
                  <a:lnTo>
                    <a:pt x="453" y="10282"/>
                  </a:lnTo>
                  <a:lnTo>
                    <a:pt x="490" y="10381"/>
                  </a:lnTo>
                  <a:lnTo>
                    <a:pt x="547" y="10491"/>
                  </a:lnTo>
                  <a:lnTo>
                    <a:pt x="660" y="10590"/>
                  </a:lnTo>
                  <a:lnTo>
                    <a:pt x="811" y="10700"/>
                  </a:lnTo>
                  <a:lnTo>
                    <a:pt x="981" y="10811"/>
                  </a:lnTo>
                  <a:lnTo>
                    <a:pt x="1208" y="10888"/>
                  </a:lnTo>
                  <a:lnTo>
                    <a:pt x="1453" y="10954"/>
                  </a:lnTo>
                  <a:lnTo>
                    <a:pt x="1718" y="11020"/>
                  </a:lnTo>
                  <a:lnTo>
                    <a:pt x="1963" y="11064"/>
                  </a:lnTo>
                  <a:lnTo>
                    <a:pt x="2265" y="11086"/>
                  </a:lnTo>
                  <a:lnTo>
                    <a:pt x="2548" y="11064"/>
                  </a:lnTo>
                  <a:lnTo>
                    <a:pt x="2794" y="11042"/>
                  </a:lnTo>
                  <a:lnTo>
                    <a:pt x="3096" y="10976"/>
                  </a:lnTo>
                  <a:lnTo>
                    <a:pt x="3341" y="10888"/>
                  </a:lnTo>
                  <a:lnTo>
                    <a:pt x="3606" y="10766"/>
                  </a:lnTo>
                  <a:lnTo>
                    <a:pt x="3813" y="10590"/>
                  </a:lnTo>
                  <a:close/>
                </a:path>
              </a:pathLst>
            </a:custGeom>
            <a:solidFill>
              <a:schemeClr val="accent1"/>
            </a:solidFill>
            <a:ln w="19050">
              <a:solidFill>
                <a:schemeClr val="bg1"/>
              </a:solidFill>
              <a:miter lim="800000"/>
              <a:headEnd/>
              <a:tailEnd/>
            </a:ln>
          </p:spPr>
          <p:txBody>
            <a:bodyPr/>
            <a:lstStyle/>
            <a:p>
              <a:endParaRPr lang="en-US"/>
            </a:p>
          </p:txBody>
        </p:sp>
        <p:sp>
          <p:nvSpPr>
            <p:cNvPr id="28" name="Puzzle2">
              <a:extLst>
                <a:ext uri="{FF2B5EF4-FFF2-40B4-BE49-F238E27FC236}">
                  <a16:creationId xmlns:a16="http://schemas.microsoft.com/office/drawing/2014/main" id="{22603BAB-589B-492D-AEA0-F12FD5C69DB3}"/>
                </a:ext>
              </a:extLst>
            </p:cNvPr>
            <p:cNvSpPr>
              <a:spLocks noEditPoints="1" noChangeArrowheads="1"/>
            </p:cNvSpPr>
            <p:nvPr/>
          </p:nvSpPr>
          <p:spPr bwMode="auto">
            <a:xfrm>
              <a:off x="4608922" y="2423565"/>
              <a:ext cx="1911679" cy="1381858"/>
            </a:xfrm>
            <a:custGeom>
              <a:avLst/>
              <a:gdLst>
                <a:gd name="T0" fmla="*/ 797 w 21600"/>
                <a:gd name="T1" fmla="*/ 646363 h 21600"/>
                <a:gd name="T2" fmla="*/ 304504 w 21600"/>
                <a:gd name="T3" fmla="*/ 1021790 h 21600"/>
                <a:gd name="T4" fmla="*/ 753651 w 21600"/>
                <a:gd name="T5" fmla="*/ 671617 h 21600"/>
                <a:gd name="T6" fmla="*/ 1218958 w 21600"/>
                <a:gd name="T7" fmla="*/ 1023191 h 21600"/>
                <a:gd name="T8" fmla="*/ 1565275 w 21600"/>
                <a:gd name="T9" fmla="*/ 728305 h 21600"/>
                <a:gd name="T10" fmla="*/ 1223886 w 21600"/>
                <a:gd name="T11" fmla="*/ 277116 h 21600"/>
                <a:gd name="T12" fmla="*/ 782638 w 21600"/>
                <a:gd name="T13" fmla="*/ 1352 h 21600"/>
                <a:gd name="T14" fmla="*/ 304504 w 21600"/>
                <a:gd name="T15" fmla="*/ 284601 h 21600"/>
                <a:gd name="T16" fmla="*/ 0 60000 65536"/>
                <a:gd name="T17" fmla="*/ 0 60000 65536"/>
                <a:gd name="T18" fmla="*/ 0 60000 65536"/>
                <a:gd name="T19" fmla="*/ 0 60000 65536"/>
                <a:gd name="T20" fmla="*/ 0 60000 65536"/>
                <a:gd name="T21" fmla="*/ 0 60000 65536"/>
                <a:gd name="T22" fmla="*/ 0 60000 65536"/>
                <a:gd name="T23" fmla="*/ 0 60000 65536"/>
                <a:gd name="T24" fmla="*/ 5388 w 21600"/>
                <a:gd name="T25" fmla="*/ 6742 h 21600"/>
                <a:gd name="T26" fmla="*/ 16177 w 21600"/>
                <a:gd name="T27" fmla="*/ 2044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4247" y="12354"/>
                  </a:moveTo>
                  <a:lnTo>
                    <a:pt x="4134" y="12468"/>
                  </a:lnTo>
                  <a:lnTo>
                    <a:pt x="4010" y="12581"/>
                  </a:lnTo>
                  <a:lnTo>
                    <a:pt x="3897" y="12637"/>
                  </a:lnTo>
                  <a:lnTo>
                    <a:pt x="3773" y="12694"/>
                  </a:lnTo>
                  <a:lnTo>
                    <a:pt x="3637" y="12694"/>
                  </a:lnTo>
                  <a:lnTo>
                    <a:pt x="3524" y="12694"/>
                  </a:lnTo>
                  <a:lnTo>
                    <a:pt x="3400" y="12665"/>
                  </a:lnTo>
                  <a:lnTo>
                    <a:pt x="3287" y="12609"/>
                  </a:lnTo>
                  <a:lnTo>
                    <a:pt x="3027" y="12496"/>
                  </a:lnTo>
                  <a:lnTo>
                    <a:pt x="2790" y="12340"/>
                  </a:lnTo>
                  <a:lnTo>
                    <a:pt x="2530" y="12142"/>
                  </a:lnTo>
                  <a:lnTo>
                    <a:pt x="2293" y="11987"/>
                  </a:lnTo>
                  <a:lnTo>
                    <a:pt x="2033" y="11817"/>
                  </a:lnTo>
                  <a:lnTo>
                    <a:pt x="1773" y="11676"/>
                  </a:lnTo>
                  <a:lnTo>
                    <a:pt x="1638" y="11662"/>
                  </a:lnTo>
                  <a:lnTo>
                    <a:pt x="1513" y="11634"/>
                  </a:lnTo>
                  <a:lnTo>
                    <a:pt x="1378" y="11634"/>
                  </a:lnTo>
                  <a:lnTo>
                    <a:pt x="1253" y="11634"/>
                  </a:lnTo>
                  <a:lnTo>
                    <a:pt x="1118" y="11662"/>
                  </a:lnTo>
                  <a:lnTo>
                    <a:pt x="971" y="11732"/>
                  </a:lnTo>
                  <a:lnTo>
                    <a:pt x="835" y="11817"/>
                  </a:lnTo>
                  <a:lnTo>
                    <a:pt x="711" y="11959"/>
                  </a:lnTo>
                  <a:lnTo>
                    <a:pt x="553" y="12086"/>
                  </a:lnTo>
                  <a:lnTo>
                    <a:pt x="429" y="12284"/>
                  </a:lnTo>
                  <a:lnTo>
                    <a:pt x="271" y="12524"/>
                  </a:lnTo>
                  <a:lnTo>
                    <a:pt x="146" y="12793"/>
                  </a:lnTo>
                  <a:lnTo>
                    <a:pt x="79" y="12962"/>
                  </a:lnTo>
                  <a:lnTo>
                    <a:pt x="33" y="13146"/>
                  </a:lnTo>
                  <a:lnTo>
                    <a:pt x="11" y="13386"/>
                  </a:lnTo>
                  <a:lnTo>
                    <a:pt x="11" y="13641"/>
                  </a:lnTo>
                  <a:lnTo>
                    <a:pt x="33" y="13881"/>
                  </a:lnTo>
                  <a:lnTo>
                    <a:pt x="101" y="14150"/>
                  </a:lnTo>
                  <a:lnTo>
                    <a:pt x="192" y="14404"/>
                  </a:lnTo>
                  <a:lnTo>
                    <a:pt x="293" y="14645"/>
                  </a:lnTo>
                  <a:lnTo>
                    <a:pt x="451" y="14857"/>
                  </a:lnTo>
                  <a:lnTo>
                    <a:pt x="621" y="15054"/>
                  </a:lnTo>
                  <a:lnTo>
                    <a:pt x="734" y="15125"/>
                  </a:lnTo>
                  <a:lnTo>
                    <a:pt x="835" y="15210"/>
                  </a:lnTo>
                  <a:lnTo>
                    <a:pt x="948" y="15267"/>
                  </a:lnTo>
                  <a:lnTo>
                    <a:pt x="1084" y="15323"/>
                  </a:lnTo>
                  <a:lnTo>
                    <a:pt x="1208" y="15351"/>
                  </a:lnTo>
                  <a:lnTo>
                    <a:pt x="1355" y="15380"/>
                  </a:lnTo>
                  <a:lnTo>
                    <a:pt x="1513" y="15380"/>
                  </a:lnTo>
                  <a:lnTo>
                    <a:pt x="1683" y="15380"/>
                  </a:lnTo>
                  <a:lnTo>
                    <a:pt x="1864" y="15351"/>
                  </a:lnTo>
                  <a:lnTo>
                    <a:pt x="2033" y="15323"/>
                  </a:lnTo>
                  <a:lnTo>
                    <a:pt x="2225" y="15238"/>
                  </a:lnTo>
                  <a:lnTo>
                    <a:pt x="2428" y="15153"/>
                  </a:lnTo>
                  <a:lnTo>
                    <a:pt x="2745" y="15026"/>
                  </a:lnTo>
                  <a:lnTo>
                    <a:pt x="3005" y="14913"/>
                  </a:lnTo>
                  <a:lnTo>
                    <a:pt x="3264" y="14828"/>
                  </a:lnTo>
                  <a:lnTo>
                    <a:pt x="3513" y="14800"/>
                  </a:lnTo>
                  <a:lnTo>
                    <a:pt x="3615" y="14828"/>
                  </a:lnTo>
                  <a:lnTo>
                    <a:pt x="3728" y="14857"/>
                  </a:lnTo>
                  <a:lnTo>
                    <a:pt x="3807" y="14913"/>
                  </a:lnTo>
                  <a:lnTo>
                    <a:pt x="3920" y="14998"/>
                  </a:lnTo>
                  <a:lnTo>
                    <a:pt x="4010" y="15097"/>
                  </a:lnTo>
                  <a:lnTo>
                    <a:pt x="4089" y="15238"/>
                  </a:lnTo>
                  <a:lnTo>
                    <a:pt x="4179" y="15408"/>
                  </a:lnTo>
                  <a:lnTo>
                    <a:pt x="4247" y="15620"/>
                  </a:lnTo>
                  <a:lnTo>
                    <a:pt x="4326" y="15860"/>
                  </a:lnTo>
                  <a:lnTo>
                    <a:pt x="4394" y="16129"/>
                  </a:lnTo>
                  <a:lnTo>
                    <a:pt x="4439" y="16440"/>
                  </a:lnTo>
                  <a:lnTo>
                    <a:pt x="4507" y="16737"/>
                  </a:lnTo>
                  <a:lnTo>
                    <a:pt x="4552" y="17090"/>
                  </a:lnTo>
                  <a:lnTo>
                    <a:pt x="4575" y="17443"/>
                  </a:lnTo>
                  <a:lnTo>
                    <a:pt x="4586" y="17825"/>
                  </a:lnTo>
                  <a:lnTo>
                    <a:pt x="4586" y="18193"/>
                  </a:lnTo>
                  <a:lnTo>
                    <a:pt x="4586" y="18574"/>
                  </a:lnTo>
                  <a:lnTo>
                    <a:pt x="4586" y="18984"/>
                  </a:lnTo>
                  <a:lnTo>
                    <a:pt x="4552" y="19366"/>
                  </a:lnTo>
                  <a:lnTo>
                    <a:pt x="4507" y="19748"/>
                  </a:lnTo>
                  <a:lnTo>
                    <a:pt x="4462" y="20129"/>
                  </a:lnTo>
                  <a:lnTo>
                    <a:pt x="4371" y="20483"/>
                  </a:lnTo>
                  <a:lnTo>
                    <a:pt x="4292" y="20836"/>
                  </a:lnTo>
                  <a:lnTo>
                    <a:pt x="4202" y="21161"/>
                  </a:lnTo>
                  <a:lnTo>
                    <a:pt x="4744" y="21161"/>
                  </a:lnTo>
                  <a:lnTo>
                    <a:pt x="5264" y="21161"/>
                  </a:lnTo>
                  <a:lnTo>
                    <a:pt x="5784" y="21161"/>
                  </a:lnTo>
                  <a:lnTo>
                    <a:pt x="6235" y="21161"/>
                  </a:lnTo>
                  <a:lnTo>
                    <a:pt x="6676" y="21161"/>
                  </a:lnTo>
                  <a:lnTo>
                    <a:pt x="7060" y="21161"/>
                  </a:lnTo>
                  <a:lnTo>
                    <a:pt x="7410" y="21161"/>
                  </a:lnTo>
                  <a:lnTo>
                    <a:pt x="7670" y="21161"/>
                  </a:lnTo>
                  <a:lnTo>
                    <a:pt x="8020" y="21020"/>
                  </a:lnTo>
                  <a:lnTo>
                    <a:pt x="8303" y="20893"/>
                  </a:lnTo>
                  <a:lnTo>
                    <a:pt x="8563" y="20695"/>
                  </a:lnTo>
                  <a:lnTo>
                    <a:pt x="8800" y="20511"/>
                  </a:lnTo>
                  <a:lnTo>
                    <a:pt x="8969" y="20285"/>
                  </a:lnTo>
                  <a:lnTo>
                    <a:pt x="9150" y="20045"/>
                  </a:lnTo>
                  <a:lnTo>
                    <a:pt x="9252" y="19804"/>
                  </a:lnTo>
                  <a:lnTo>
                    <a:pt x="9342" y="19550"/>
                  </a:lnTo>
                  <a:lnTo>
                    <a:pt x="9410" y="19281"/>
                  </a:lnTo>
                  <a:lnTo>
                    <a:pt x="9433" y="19013"/>
                  </a:lnTo>
                  <a:lnTo>
                    <a:pt x="9433" y="18744"/>
                  </a:lnTo>
                  <a:lnTo>
                    <a:pt x="9387" y="18504"/>
                  </a:lnTo>
                  <a:lnTo>
                    <a:pt x="9320" y="18221"/>
                  </a:lnTo>
                  <a:lnTo>
                    <a:pt x="9207" y="17981"/>
                  </a:lnTo>
                  <a:lnTo>
                    <a:pt x="9105" y="17740"/>
                  </a:lnTo>
                  <a:lnTo>
                    <a:pt x="8924" y="17514"/>
                  </a:lnTo>
                  <a:lnTo>
                    <a:pt x="8777" y="17274"/>
                  </a:lnTo>
                  <a:lnTo>
                    <a:pt x="8642" y="17034"/>
                  </a:lnTo>
                  <a:lnTo>
                    <a:pt x="8563" y="16765"/>
                  </a:lnTo>
                  <a:lnTo>
                    <a:pt x="8472" y="16468"/>
                  </a:lnTo>
                  <a:lnTo>
                    <a:pt x="8450" y="16157"/>
                  </a:lnTo>
                  <a:lnTo>
                    <a:pt x="8450" y="15860"/>
                  </a:lnTo>
                  <a:lnTo>
                    <a:pt x="8472" y="15563"/>
                  </a:lnTo>
                  <a:lnTo>
                    <a:pt x="8540" y="15267"/>
                  </a:lnTo>
                  <a:lnTo>
                    <a:pt x="8642" y="14998"/>
                  </a:lnTo>
                  <a:lnTo>
                    <a:pt x="8777" y="14729"/>
                  </a:lnTo>
                  <a:lnTo>
                    <a:pt x="8868" y="14616"/>
                  </a:lnTo>
                  <a:lnTo>
                    <a:pt x="8969" y="14475"/>
                  </a:lnTo>
                  <a:lnTo>
                    <a:pt x="9060" y="14376"/>
                  </a:lnTo>
                  <a:lnTo>
                    <a:pt x="9184" y="14291"/>
                  </a:lnTo>
                  <a:lnTo>
                    <a:pt x="9297" y="14206"/>
                  </a:lnTo>
                  <a:lnTo>
                    <a:pt x="9433" y="14121"/>
                  </a:lnTo>
                  <a:lnTo>
                    <a:pt x="9579" y="14051"/>
                  </a:lnTo>
                  <a:lnTo>
                    <a:pt x="9726" y="13994"/>
                  </a:lnTo>
                  <a:lnTo>
                    <a:pt x="9884" y="13938"/>
                  </a:lnTo>
                  <a:lnTo>
                    <a:pt x="10054" y="13909"/>
                  </a:lnTo>
                  <a:lnTo>
                    <a:pt x="10257" y="13881"/>
                  </a:lnTo>
                  <a:lnTo>
                    <a:pt x="10449" y="13881"/>
                  </a:lnTo>
                  <a:lnTo>
                    <a:pt x="10664" y="13881"/>
                  </a:lnTo>
                  <a:lnTo>
                    <a:pt x="10856" y="13909"/>
                  </a:lnTo>
                  <a:lnTo>
                    <a:pt x="11037" y="13966"/>
                  </a:lnTo>
                  <a:lnTo>
                    <a:pt x="11206" y="14023"/>
                  </a:lnTo>
                  <a:lnTo>
                    <a:pt x="11353" y="14093"/>
                  </a:lnTo>
                  <a:lnTo>
                    <a:pt x="11511" y="14178"/>
                  </a:lnTo>
                  <a:lnTo>
                    <a:pt x="11635" y="14263"/>
                  </a:lnTo>
                  <a:lnTo>
                    <a:pt x="11748" y="14376"/>
                  </a:lnTo>
                  <a:lnTo>
                    <a:pt x="11861" y="14475"/>
                  </a:lnTo>
                  <a:lnTo>
                    <a:pt x="11941" y="14616"/>
                  </a:lnTo>
                  <a:lnTo>
                    <a:pt x="12031" y="14758"/>
                  </a:lnTo>
                  <a:lnTo>
                    <a:pt x="12099" y="14885"/>
                  </a:lnTo>
                  <a:lnTo>
                    <a:pt x="12200" y="15210"/>
                  </a:lnTo>
                  <a:lnTo>
                    <a:pt x="12268" y="15507"/>
                  </a:lnTo>
                  <a:lnTo>
                    <a:pt x="12291" y="15832"/>
                  </a:lnTo>
                  <a:lnTo>
                    <a:pt x="12291" y="16157"/>
                  </a:lnTo>
                  <a:lnTo>
                    <a:pt x="12246" y="16482"/>
                  </a:lnTo>
                  <a:lnTo>
                    <a:pt x="12178" y="16807"/>
                  </a:lnTo>
                  <a:lnTo>
                    <a:pt x="12099" y="17090"/>
                  </a:lnTo>
                  <a:lnTo>
                    <a:pt x="12008" y="17330"/>
                  </a:lnTo>
                  <a:lnTo>
                    <a:pt x="11884" y="17542"/>
                  </a:lnTo>
                  <a:lnTo>
                    <a:pt x="11748" y="17712"/>
                  </a:lnTo>
                  <a:lnTo>
                    <a:pt x="11613" y="17839"/>
                  </a:lnTo>
                  <a:lnTo>
                    <a:pt x="11489" y="18037"/>
                  </a:lnTo>
                  <a:lnTo>
                    <a:pt x="11398" y="18221"/>
                  </a:lnTo>
                  <a:lnTo>
                    <a:pt x="11319" y="18447"/>
                  </a:lnTo>
                  <a:lnTo>
                    <a:pt x="11251" y="18659"/>
                  </a:lnTo>
                  <a:lnTo>
                    <a:pt x="11206" y="18900"/>
                  </a:lnTo>
                  <a:lnTo>
                    <a:pt x="11184" y="19154"/>
                  </a:lnTo>
                  <a:lnTo>
                    <a:pt x="11184" y="19423"/>
                  </a:lnTo>
                  <a:lnTo>
                    <a:pt x="11229" y="19663"/>
                  </a:lnTo>
                  <a:lnTo>
                    <a:pt x="11297" y="19903"/>
                  </a:lnTo>
                  <a:lnTo>
                    <a:pt x="11376" y="20158"/>
                  </a:lnTo>
                  <a:lnTo>
                    <a:pt x="11511" y="20398"/>
                  </a:lnTo>
                  <a:lnTo>
                    <a:pt x="11681" y="20610"/>
                  </a:lnTo>
                  <a:lnTo>
                    <a:pt x="11884" y="20808"/>
                  </a:lnTo>
                  <a:lnTo>
                    <a:pt x="12121" y="20992"/>
                  </a:lnTo>
                  <a:lnTo>
                    <a:pt x="12404" y="21161"/>
                  </a:lnTo>
                  <a:lnTo>
                    <a:pt x="12528" y="21190"/>
                  </a:lnTo>
                  <a:lnTo>
                    <a:pt x="12856" y="21274"/>
                  </a:lnTo>
                  <a:lnTo>
                    <a:pt x="13330" y="21373"/>
                  </a:lnTo>
                  <a:lnTo>
                    <a:pt x="13963" y="21486"/>
                  </a:lnTo>
                  <a:lnTo>
                    <a:pt x="14313" y="21543"/>
                  </a:lnTo>
                  <a:lnTo>
                    <a:pt x="14652" y="21571"/>
                  </a:lnTo>
                  <a:lnTo>
                    <a:pt x="15025" y="21600"/>
                  </a:lnTo>
                  <a:lnTo>
                    <a:pt x="15409" y="21600"/>
                  </a:lnTo>
                  <a:lnTo>
                    <a:pt x="15782" y="21600"/>
                  </a:lnTo>
                  <a:lnTo>
                    <a:pt x="16177" y="21571"/>
                  </a:lnTo>
                  <a:lnTo>
                    <a:pt x="16516" y="21486"/>
                  </a:lnTo>
                  <a:lnTo>
                    <a:pt x="16889" y="21402"/>
                  </a:lnTo>
                  <a:lnTo>
                    <a:pt x="16821" y="21190"/>
                  </a:lnTo>
                  <a:lnTo>
                    <a:pt x="16776" y="20935"/>
                  </a:lnTo>
                  <a:lnTo>
                    <a:pt x="16742" y="20667"/>
                  </a:lnTo>
                  <a:lnTo>
                    <a:pt x="16719" y="20370"/>
                  </a:lnTo>
                  <a:lnTo>
                    <a:pt x="16697" y="19719"/>
                  </a:lnTo>
                  <a:lnTo>
                    <a:pt x="16697" y="19013"/>
                  </a:lnTo>
                  <a:lnTo>
                    <a:pt x="16719" y="18306"/>
                  </a:lnTo>
                  <a:lnTo>
                    <a:pt x="16753" y="17599"/>
                  </a:lnTo>
                  <a:lnTo>
                    <a:pt x="16821" y="16949"/>
                  </a:lnTo>
                  <a:lnTo>
                    <a:pt x="16889" y="16383"/>
                  </a:lnTo>
                  <a:lnTo>
                    <a:pt x="16934" y="16129"/>
                  </a:lnTo>
                  <a:lnTo>
                    <a:pt x="17002" y="15945"/>
                  </a:lnTo>
                  <a:lnTo>
                    <a:pt x="17081" y="15790"/>
                  </a:lnTo>
                  <a:lnTo>
                    <a:pt x="17194" y="15648"/>
                  </a:lnTo>
                  <a:lnTo>
                    <a:pt x="17318" y="15563"/>
                  </a:lnTo>
                  <a:lnTo>
                    <a:pt x="17453" y="15507"/>
                  </a:lnTo>
                  <a:lnTo>
                    <a:pt x="17600" y="15450"/>
                  </a:lnTo>
                  <a:lnTo>
                    <a:pt x="17758" y="15450"/>
                  </a:lnTo>
                  <a:lnTo>
                    <a:pt x="17905" y="15479"/>
                  </a:lnTo>
                  <a:lnTo>
                    <a:pt x="18064" y="15535"/>
                  </a:lnTo>
                  <a:lnTo>
                    <a:pt x="18233" y="15620"/>
                  </a:lnTo>
                  <a:lnTo>
                    <a:pt x="18380" y="15733"/>
                  </a:lnTo>
                  <a:lnTo>
                    <a:pt x="18561" y="15832"/>
                  </a:lnTo>
                  <a:lnTo>
                    <a:pt x="18707" y="15973"/>
                  </a:lnTo>
                  <a:lnTo>
                    <a:pt x="18866" y="16129"/>
                  </a:lnTo>
                  <a:lnTo>
                    <a:pt x="18990" y="16327"/>
                  </a:lnTo>
                  <a:lnTo>
                    <a:pt x="19125" y="16482"/>
                  </a:lnTo>
                  <a:lnTo>
                    <a:pt x="19295" y="16624"/>
                  </a:lnTo>
                  <a:lnTo>
                    <a:pt x="19464" y="16737"/>
                  </a:lnTo>
                  <a:lnTo>
                    <a:pt x="19668" y="16807"/>
                  </a:lnTo>
                  <a:lnTo>
                    <a:pt x="19860" y="16836"/>
                  </a:lnTo>
                  <a:lnTo>
                    <a:pt x="20052" y="16864"/>
                  </a:lnTo>
                  <a:lnTo>
                    <a:pt x="20266" y="16836"/>
                  </a:lnTo>
                  <a:lnTo>
                    <a:pt x="20470" y="16793"/>
                  </a:lnTo>
                  <a:lnTo>
                    <a:pt x="20662" y="16708"/>
                  </a:lnTo>
                  <a:lnTo>
                    <a:pt x="20854" y="16567"/>
                  </a:lnTo>
                  <a:lnTo>
                    <a:pt x="21035" y="16412"/>
                  </a:lnTo>
                  <a:lnTo>
                    <a:pt x="21182" y="16214"/>
                  </a:lnTo>
                  <a:lnTo>
                    <a:pt x="21340" y="16002"/>
                  </a:lnTo>
                  <a:lnTo>
                    <a:pt x="21441" y="15733"/>
                  </a:lnTo>
                  <a:lnTo>
                    <a:pt x="21532" y="15436"/>
                  </a:lnTo>
                  <a:lnTo>
                    <a:pt x="21600" y="15083"/>
                  </a:lnTo>
                  <a:lnTo>
                    <a:pt x="21600" y="14885"/>
                  </a:lnTo>
                  <a:lnTo>
                    <a:pt x="21600" y="14729"/>
                  </a:lnTo>
                  <a:lnTo>
                    <a:pt x="21600" y="14531"/>
                  </a:lnTo>
                  <a:lnTo>
                    <a:pt x="21577" y="14376"/>
                  </a:lnTo>
                  <a:lnTo>
                    <a:pt x="21532" y="14206"/>
                  </a:lnTo>
                  <a:lnTo>
                    <a:pt x="21487" y="14051"/>
                  </a:lnTo>
                  <a:lnTo>
                    <a:pt x="21419" y="13909"/>
                  </a:lnTo>
                  <a:lnTo>
                    <a:pt x="21351" y="13768"/>
                  </a:lnTo>
                  <a:lnTo>
                    <a:pt x="21204" y="13500"/>
                  </a:lnTo>
                  <a:lnTo>
                    <a:pt x="21035" y="13287"/>
                  </a:lnTo>
                  <a:lnTo>
                    <a:pt x="20809" y="13090"/>
                  </a:lnTo>
                  <a:lnTo>
                    <a:pt x="20594" y="12962"/>
                  </a:lnTo>
                  <a:lnTo>
                    <a:pt x="20357" y="12821"/>
                  </a:lnTo>
                  <a:lnTo>
                    <a:pt x="20120" y="12764"/>
                  </a:lnTo>
                  <a:lnTo>
                    <a:pt x="19882" y="12708"/>
                  </a:lnTo>
                  <a:lnTo>
                    <a:pt x="19645" y="12736"/>
                  </a:lnTo>
                  <a:lnTo>
                    <a:pt x="19430" y="12793"/>
                  </a:lnTo>
                  <a:lnTo>
                    <a:pt x="19227" y="12906"/>
                  </a:lnTo>
                  <a:lnTo>
                    <a:pt x="19148" y="12962"/>
                  </a:lnTo>
                  <a:lnTo>
                    <a:pt x="19058" y="13047"/>
                  </a:lnTo>
                  <a:lnTo>
                    <a:pt x="18990" y="13146"/>
                  </a:lnTo>
                  <a:lnTo>
                    <a:pt x="18911" y="13259"/>
                  </a:lnTo>
                  <a:lnTo>
                    <a:pt x="18775" y="13471"/>
                  </a:lnTo>
                  <a:lnTo>
                    <a:pt x="18628" y="13641"/>
                  </a:lnTo>
                  <a:lnTo>
                    <a:pt x="18470" y="13740"/>
                  </a:lnTo>
                  <a:lnTo>
                    <a:pt x="18301" y="13825"/>
                  </a:lnTo>
                  <a:lnTo>
                    <a:pt x="18143" y="13853"/>
                  </a:lnTo>
                  <a:lnTo>
                    <a:pt x="17973" y="13881"/>
                  </a:lnTo>
                  <a:lnTo>
                    <a:pt x="17804" y="13853"/>
                  </a:lnTo>
                  <a:lnTo>
                    <a:pt x="17646" y="13796"/>
                  </a:lnTo>
                  <a:lnTo>
                    <a:pt x="17499" y="13726"/>
                  </a:lnTo>
                  <a:lnTo>
                    <a:pt x="17341" y="13641"/>
                  </a:lnTo>
                  <a:lnTo>
                    <a:pt x="17216" y="13528"/>
                  </a:lnTo>
                  <a:lnTo>
                    <a:pt x="17103" y="13386"/>
                  </a:lnTo>
                  <a:lnTo>
                    <a:pt x="17024" y="13259"/>
                  </a:lnTo>
                  <a:lnTo>
                    <a:pt x="16934" y="13118"/>
                  </a:lnTo>
                  <a:lnTo>
                    <a:pt x="16889" y="12991"/>
                  </a:lnTo>
                  <a:lnTo>
                    <a:pt x="16889" y="12849"/>
                  </a:lnTo>
                  <a:lnTo>
                    <a:pt x="16889" y="12383"/>
                  </a:lnTo>
                  <a:lnTo>
                    <a:pt x="16889" y="11662"/>
                  </a:lnTo>
                  <a:lnTo>
                    <a:pt x="16889" y="10701"/>
                  </a:lnTo>
                  <a:lnTo>
                    <a:pt x="16889" y="9640"/>
                  </a:lnTo>
                  <a:lnTo>
                    <a:pt x="16889" y="8566"/>
                  </a:lnTo>
                  <a:lnTo>
                    <a:pt x="16889" y="7478"/>
                  </a:lnTo>
                  <a:lnTo>
                    <a:pt x="16889" y="6502"/>
                  </a:lnTo>
                  <a:lnTo>
                    <a:pt x="16889" y="5739"/>
                  </a:lnTo>
                  <a:lnTo>
                    <a:pt x="16674" y="5894"/>
                  </a:lnTo>
                  <a:lnTo>
                    <a:pt x="16414" y="6036"/>
                  </a:lnTo>
                  <a:lnTo>
                    <a:pt x="16154" y="6177"/>
                  </a:lnTo>
                  <a:lnTo>
                    <a:pt x="15849" y="6248"/>
                  </a:lnTo>
                  <a:lnTo>
                    <a:pt x="15544" y="6304"/>
                  </a:lnTo>
                  <a:lnTo>
                    <a:pt x="15217" y="6332"/>
                  </a:lnTo>
                  <a:lnTo>
                    <a:pt x="14866" y="6361"/>
                  </a:lnTo>
                  <a:lnTo>
                    <a:pt x="14550" y="6361"/>
                  </a:lnTo>
                  <a:lnTo>
                    <a:pt x="14200" y="6332"/>
                  </a:lnTo>
                  <a:lnTo>
                    <a:pt x="13850" y="6276"/>
                  </a:lnTo>
                  <a:lnTo>
                    <a:pt x="13522" y="6219"/>
                  </a:lnTo>
                  <a:lnTo>
                    <a:pt x="13206" y="6149"/>
                  </a:lnTo>
                  <a:lnTo>
                    <a:pt x="12901" y="6064"/>
                  </a:lnTo>
                  <a:lnTo>
                    <a:pt x="12618" y="5951"/>
                  </a:lnTo>
                  <a:lnTo>
                    <a:pt x="12358" y="5838"/>
                  </a:lnTo>
                  <a:lnTo>
                    <a:pt x="12121" y="5739"/>
                  </a:lnTo>
                  <a:lnTo>
                    <a:pt x="11941" y="5626"/>
                  </a:lnTo>
                  <a:lnTo>
                    <a:pt x="11794" y="5513"/>
                  </a:lnTo>
                  <a:lnTo>
                    <a:pt x="11658" y="5414"/>
                  </a:lnTo>
                  <a:lnTo>
                    <a:pt x="11556" y="5301"/>
                  </a:lnTo>
                  <a:lnTo>
                    <a:pt x="11466" y="5187"/>
                  </a:lnTo>
                  <a:lnTo>
                    <a:pt x="11398" y="5089"/>
                  </a:lnTo>
                  <a:lnTo>
                    <a:pt x="11376" y="4947"/>
                  </a:lnTo>
                  <a:lnTo>
                    <a:pt x="11353" y="4834"/>
                  </a:lnTo>
                  <a:lnTo>
                    <a:pt x="11353" y="4707"/>
                  </a:lnTo>
                  <a:lnTo>
                    <a:pt x="11376" y="4565"/>
                  </a:lnTo>
                  <a:lnTo>
                    <a:pt x="11443" y="4410"/>
                  </a:lnTo>
                  <a:lnTo>
                    <a:pt x="11511" y="4240"/>
                  </a:lnTo>
                  <a:lnTo>
                    <a:pt x="11703" y="3887"/>
                  </a:lnTo>
                  <a:lnTo>
                    <a:pt x="11986" y="3505"/>
                  </a:lnTo>
                  <a:lnTo>
                    <a:pt x="12144" y="3265"/>
                  </a:lnTo>
                  <a:lnTo>
                    <a:pt x="12246" y="3025"/>
                  </a:lnTo>
                  <a:lnTo>
                    <a:pt x="12336" y="2756"/>
                  </a:lnTo>
                  <a:lnTo>
                    <a:pt x="12404" y="2445"/>
                  </a:lnTo>
                  <a:lnTo>
                    <a:pt x="12438" y="2176"/>
                  </a:lnTo>
                  <a:lnTo>
                    <a:pt x="12438" y="1880"/>
                  </a:lnTo>
                  <a:lnTo>
                    <a:pt x="12404" y="1583"/>
                  </a:lnTo>
                  <a:lnTo>
                    <a:pt x="12336" y="1314"/>
                  </a:lnTo>
                  <a:lnTo>
                    <a:pt x="12246" y="1046"/>
                  </a:lnTo>
                  <a:lnTo>
                    <a:pt x="12099" y="791"/>
                  </a:lnTo>
                  <a:lnTo>
                    <a:pt x="12008" y="692"/>
                  </a:lnTo>
                  <a:lnTo>
                    <a:pt x="11918" y="579"/>
                  </a:lnTo>
                  <a:lnTo>
                    <a:pt x="11816" y="466"/>
                  </a:lnTo>
                  <a:lnTo>
                    <a:pt x="11703" y="381"/>
                  </a:lnTo>
                  <a:lnTo>
                    <a:pt x="11579" y="310"/>
                  </a:lnTo>
                  <a:lnTo>
                    <a:pt x="11443" y="226"/>
                  </a:lnTo>
                  <a:lnTo>
                    <a:pt x="11297" y="169"/>
                  </a:lnTo>
                  <a:lnTo>
                    <a:pt x="11138" y="113"/>
                  </a:lnTo>
                  <a:lnTo>
                    <a:pt x="10969" y="56"/>
                  </a:lnTo>
                  <a:lnTo>
                    <a:pt x="10800" y="28"/>
                  </a:lnTo>
                  <a:lnTo>
                    <a:pt x="10619" y="28"/>
                  </a:lnTo>
                  <a:lnTo>
                    <a:pt x="10404" y="28"/>
                  </a:lnTo>
                  <a:lnTo>
                    <a:pt x="10257" y="28"/>
                  </a:lnTo>
                  <a:lnTo>
                    <a:pt x="10076" y="56"/>
                  </a:lnTo>
                  <a:lnTo>
                    <a:pt x="9952" y="84"/>
                  </a:lnTo>
                  <a:lnTo>
                    <a:pt x="9794" y="141"/>
                  </a:lnTo>
                  <a:lnTo>
                    <a:pt x="9692" y="226"/>
                  </a:lnTo>
                  <a:lnTo>
                    <a:pt x="9557" y="282"/>
                  </a:lnTo>
                  <a:lnTo>
                    <a:pt x="9455" y="381"/>
                  </a:lnTo>
                  <a:lnTo>
                    <a:pt x="9365" y="466"/>
                  </a:lnTo>
                  <a:lnTo>
                    <a:pt x="9274" y="579"/>
                  </a:lnTo>
                  <a:lnTo>
                    <a:pt x="9184" y="692"/>
                  </a:lnTo>
                  <a:lnTo>
                    <a:pt x="9128" y="791"/>
                  </a:lnTo>
                  <a:lnTo>
                    <a:pt x="9060" y="932"/>
                  </a:lnTo>
                  <a:lnTo>
                    <a:pt x="8969" y="1201"/>
                  </a:lnTo>
                  <a:lnTo>
                    <a:pt x="8913" y="1498"/>
                  </a:lnTo>
                  <a:lnTo>
                    <a:pt x="8890" y="1795"/>
                  </a:lnTo>
                  <a:lnTo>
                    <a:pt x="8890" y="2120"/>
                  </a:lnTo>
                  <a:lnTo>
                    <a:pt x="8913" y="2445"/>
                  </a:lnTo>
                  <a:lnTo>
                    <a:pt x="8969" y="2756"/>
                  </a:lnTo>
                  <a:lnTo>
                    <a:pt x="9060" y="3081"/>
                  </a:lnTo>
                  <a:lnTo>
                    <a:pt x="9173" y="3378"/>
                  </a:lnTo>
                  <a:lnTo>
                    <a:pt x="9297" y="3647"/>
                  </a:lnTo>
                  <a:lnTo>
                    <a:pt x="9466" y="3887"/>
                  </a:lnTo>
                  <a:lnTo>
                    <a:pt x="9579" y="4085"/>
                  </a:lnTo>
                  <a:lnTo>
                    <a:pt x="9670" y="4269"/>
                  </a:lnTo>
                  <a:lnTo>
                    <a:pt x="9726" y="4467"/>
                  </a:lnTo>
                  <a:lnTo>
                    <a:pt x="9771" y="4650"/>
                  </a:lnTo>
                  <a:lnTo>
                    <a:pt x="9771" y="4834"/>
                  </a:lnTo>
                  <a:lnTo>
                    <a:pt x="9749" y="5032"/>
                  </a:lnTo>
                  <a:lnTo>
                    <a:pt x="9715" y="5216"/>
                  </a:lnTo>
                  <a:lnTo>
                    <a:pt x="9625" y="5385"/>
                  </a:lnTo>
                  <a:lnTo>
                    <a:pt x="9534" y="5513"/>
                  </a:lnTo>
                  <a:lnTo>
                    <a:pt x="9410" y="5626"/>
                  </a:lnTo>
                  <a:lnTo>
                    <a:pt x="9229" y="5710"/>
                  </a:lnTo>
                  <a:lnTo>
                    <a:pt x="9060" y="5767"/>
                  </a:lnTo>
                  <a:lnTo>
                    <a:pt x="8845" y="5767"/>
                  </a:lnTo>
                  <a:lnTo>
                    <a:pt x="8585" y="5739"/>
                  </a:lnTo>
                  <a:lnTo>
                    <a:pt x="8325" y="5654"/>
                  </a:lnTo>
                  <a:lnTo>
                    <a:pt x="8020" y="5513"/>
                  </a:lnTo>
                  <a:lnTo>
                    <a:pt x="7840" y="5442"/>
                  </a:lnTo>
                  <a:lnTo>
                    <a:pt x="7648" y="5385"/>
                  </a:lnTo>
                  <a:lnTo>
                    <a:pt x="7433" y="5329"/>
                  </a:lnTo>
                  <a:lnTo>
                    <a:pt x="7241" y="5301"/>
                  </a:lnTo>
                  <a:lnTo>
                    <a:pt x="6755" y="5301"/>
                  </a:lnTo>
                  <a:lnTo>
                    <a:pt x="6281" y="5329"/>
                  </a:lnTo>
                  <a:lnTo>
                    <a:pt x="5784" y="5385"/>
                  </a:lnTo>
                  <a:lnTo>
                    <a:pt x="5264" y="5498"/>
                  </a:lnTo>
                  <a:lnTo>
                    <a:pt x="4744" y="5597"/>
                  </a:lnTo>
                  <a:lnTo>
                    <a:pt x="4247" y="5739"/>
                  </a:lnTo>
                  <a:lnTo>
                    <a:pt x="4202" y="5894"/>
                  </a:lnTo>
                  <a:lnTo>
                    <a:pt x="4202" y="6191"/>
                  </a:lnTo>
                  <a:lnTo>
                    <a:pt x="4202" y="6545"/>
                  </a:lnTo>
                  <a:lnTo>
                    <a:pt x="4225" y="6954"/>
                  </a:lnTo>
                  <a:lnTo>
                    <a:pt x="4315" y="7930"/>
                  </a:lnTo>
                  <a:lnTo>
                    <a:pt x="4394" y="9018"/>
                  </a:lnTo>
                  <a:lnTo>
                    <a:pt x="4439" y="9570"/>
                  </a:lnTo>
                  <a:lnTo>
                    <a:pt x="4462" y="10107"/>
                  </a:lnTo>
                  <a:lnTo>
                    <a:pt x="4484" y="10630"/>
                  </a:lnTo>
                  <a:lnTo>
                    <a:pt x="4507" y="11082"/>
                  </a:lnTo>
                  <a:lnTo>
                    <a:pt x="4484" y="11520"/>
                  </a:lnTo>
                  <a:lnTo>
                    <a:pt x="4439" y="11874"/>
                  </a:lnTo>
                  <a:lnTo>
                    <a:pt x="4394" y="12029"/>
                  </a:lnTo>
                  <a:lnTo>
                    <a:pt x="4349" y="12171"/>
                  </a:lnTo>
                  <a:lnTo>
                    <a:pt x="4315" y="12284"/>
                  </a:lnTo>
                  <a:lnTo>
                    <a:pt x="4247" y="12354"/>
                  </a:lnTo>
                  <a:close/>
                </a:path>
              </a:pathLst>
            </a:custGeom>
            <a:solidFill>
              <a:schemeClr val="accent2"/>
            </a:solidFill>
            <a:ln w="19050">
              <a:solidFill>
                <a:schemeClr val="bg1"/>
              </a:solidFill>
              <a:miter lim="800000"/>
              <a:headEnd/>
              <a:tailEnd/>
            </a:ln>
          </p:spPr>
          <p:txBody>
            <a:bodyPr/>
            <a:lstStyle/>
            <a:p>
              <a:endParaRPr lang="en-US"/>
            </a:p>
          </p:txBody>
        </p:sp>
        <p:sp>
          <p:nvSpPr>
            <p:cNvPr id="32" name="Puzzle4">
              <a:extLst>
                <a:ext uri="{FF2B5EF4-FFF2-40B4-BE49-F238E27FC236}">
                  <a16:creationId xmlns:a16="http://schemas.microsoft.com/office/drawing/2014/main" id="{4D124686-651E-4C97-A0B4-55D5FF5E4318}"/>
                </a:ext>
              </a:extLst>
            </p:cNvPr>
            <p:cNvSpPr>
              <a:spLocks noEditPoints="1" noChangeArrowheads="1"/>
            </p:cNvSpPr>
            <p:nvPr/>
          </p:nvSpPr>
          <p:spPr bwMode="auto">
            <a:xfrm>
              <a:off x="6078549" y="2409854"/>
              <a:ext cx="1149724" cy="1770630"/>
            </a:xfrm>
            <a:custGeom>
              <a:avLst/>
              <a:gdLst>
                <a:gd name="T0" fmla="*/ 362042 w 21600"/>
                <a:gd name="T1" fmla="*/ 718263 h 21600"/>
                <a:gd name="T2" fmla="*/ 19743 w 21600"/>
                <a:gd name="T3" fmla="*/ 1049421 h 21600"/>
                <a:gd name="T4" fmla="*/ 501202 w 21600"/>
                <a:gd name="T5" fmla="*/ 1338262 h 21600"/>
                <a:gd name="T6" fmla="*/ 911752 w 21600"/>
                <a:gd name="T7" fmla="*/ 1037835 h 21600"/>
                <a:gd name="T8" fmla="*/ 608939 w 21600"/>
                <a:gd name="T9" fmla="*/ 674583 h 21600"/>
                <a:gd name="T10" fmla="*/ 916677 w 21600"/>
                <a:gd name="T11" fmla="*/ 292187 h 21600"/>
                <a:gd name="T12" fmla="*/ 483856 w 21600"/>
                <a:gd name="T13" fmla="*/ 682 h 21600"/>
                <a:gd name="T14" fmla="*/ 19743 w 21600"/>
                <a:gd name="T15" fmla="*/ 292187 h 21600"/>
                <a:gd name="T16" fmla="*/ 0 60000 65536"/>
                <a:gd name="T17" fmla="*/ 0 60000 65536"/>
                <a:gd name="T18" fmla="*/ 0 60000 65536"/>
                <a:gd name="T19" fmla="*/ 0 60000 65536"/>
                <a:gd name="T20" fmla="*/ 0 60000 65536"/>
                <a:gd name="T21" fmla="*/ 0 60000 65536"/>
                <a:gd name="T22" fmla="*/ 0 60000 65536"/>
                <a:gd name="T23" fmla="*/ 0 60000 65536"/>
                <a:gd name="T24" fmla="*/ 2076 w 21600"/>
                <a:gd name="T25" fmla="*/ 5664 h 21600"/>
                <a:gd name="T26" fmla="*/ 20203 w 21600"/>
                <a:gd name="T27" fmla="*/ 1598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3813" y="10590"/>
                  </a:moveTo>
                  <a:lnTo>
                    <a:pt x="3927" y="10513"/>
                  </a:lnTo>
                  <a:lnTo>
                    <a:pt x="4078" y="10425"/>
                  </a:lnTo>
                  <a:lnTo>
                    <a:pt x="4210" y="10359"/>
                  </a:lnTo>
                  <a:lnTo>
                    <a:pt x="4361" y="10315"/>
                  </a:lnTo>
                  <a:lnTo>
                    <a:pt x="4682" y="10237"/>
                  </a:lnTo>
                  <a:lnTo>
                    <a:pt x="5041" y="10193"/>
                  </a:lnTo>
                  <a:lnTo>
                    <a:pt x="5456" y="10171"/>
                  </a:lnTo>
                  <a:lnTo>
                    <a:pt x="5853" y="10193"/>
                  </a:lnTo>
                  <a:lnTo>
                    <a:pt x="6249" y="10260"/>
                  </a:lnTo>
                  <a:lnTo>
                    <a:pt x="6646" y="10337"/>
                  </a:lnTo>
                  <a:lnTo>
                    <a:pt x="7004" y="10469"/>
                  </a:lnTo>
                  <a:lnTo>
                    <a:pt x="7363" y="10612"/>
                  </a:lnTo>
                  <a:lnTo>
                    <a:pt x="7665" y="10788"/>
                  </a:lnTo>
                  <a:lnTo>
                    <a:pt x="7911" y="10998"/>
                  </a:lnTo>
                  <a:lnTo>
                    <a:pt x="8024" y="11097"/>
                  </a:lnTo>
                  <a:lnTo>
                    <a:pt x="8137" y="11207"/>
                  </a:lnTo>
                  <a:lnTo>
                    <a:pt x="8194" y="11340"/>
                  </a:lnTo>
                  <a:lnTo>
                    <a:pt x="8269" y="11461"/>
                  </a:lnTo>
                  <a:lnTo>
                    <a:pt x="8307" y="11593"/>
                  </a:lnTo>
                  <a:lnTo>
                    <a:pt x="8307" y="11714"/>
                  </a:lnTo>
                  <a:lnTo>
                    <a:pt x="8307" y="11868"/>
                  </a:lnTo>
                  <a:lnTo>
                    <a:pt x="8307" y="12012"/>
                  </a:lnTo>
                  <a:lnTo>
                    <a:pt x="8194" y="12265"/>
                  </a:lnTo>
                  <a:lnTo>
                    <a:pt x="8062" y="12519"/>
                  </a:lnTo>
                  <a:lnTo>
                    <a:pt x="7873" y="12706"/>
                  </a:lnTo>
                  <a:lnTo>
                    <a:pt x="7627" y="12904"/>
                  </a:lnTo>
                  <a:lnTo>
                    <a:pt x="7363" y="13048"/>
                  </a:lnTo>
                  <a:lnTo>
                    <a:pt x="7080" y="13180"/>
                  </a:lnTo>
                  <a:lnTo>
                    <a:pt x="6759" y="13257"/>
                  </a:lnTo>
                  <a:lnTo>
                    <a:pt x="6419" y="13345"/>
                  </a:lnTo>
                  <a:lnTo>
                    <a:pt x="6098" y="13389"/>
                  </a:lnTo>
                  <a:lnTo>
                    <a:pt x="5739" y="13389"/>
                  </a:lnTo>
                  <a:lnTo>
                    <a:pt x="5418" y="13389"/>
                  </a:lnTo>
                  <a:lnTo>
                    <a:pt x="5079" y="13345"/>
                  </a:lnTo>
                  <a:lnTo>
                    <a:pt x="4758" y="13301"/>
                  </a:lnTo>
                  <a:lnTo>
                    <a:pt x="4474" y="13213"/>
                  </a:lnTo>
                  <a:lnTo>
                    <a:pt x="4172" y="13114"/>
                  </a:lnTo>
                  <a:lnTo>
                    <a:pt x="3965" y="12982"/>
                  </a:lnTo>
                  <a:lnTo>
                    <a:pt x="3738" y="12838"/>
                  </a:lnTo>
                  <a:lnTo>
                    <a:pt x="3493" y="12706"/>
                  </a:lnTo>
                  <a:lnTo>
                    <a:pt x="3228" y="12607"/>
                  </a:lnTo>
                  <a:lnTo>
                    <a:pt x="2945" y="12519"/>
                  </a:lnTo>
                  <a:lnTo>
                    <a:pt x="2700" y="12431"/>
                  </a:lnTo>
                  <a:lnTo>
                    <a:pt x="2397" y="12375"/>
                  </a:lnTo>
                  <a:lnTo>
                    <a:pt x="2152" y="12331"/>
                  </a:lnTo>
                  <a:lnTo>
                    <a:pt x="1888" y="12309"/>
                  </a:lnTo>
                  <a:lnTo>
                    <a:pt x="1642" y="12309"/>
                  </a:lnTo>
                  <a:lnTo>
                    <a:pt x="1397" y="12331"/>
                  </a:lnTo>
                  <a:lnTo>
                    <a:pt x="1170" y="12397"/>
                  </a:lnTo>
                  <a:lnTo>
                    <a:pt x="962" y="12453"/>
                  </a:lnTo>
                  <a:lnTo>
                    <a:pt x="774" y="12563"/>
                  </a:lnTo>
                  <a:lnTo>
                    <a:pt x="623" y="12684"/>
                  </a:lnTo>
                  <a:lnTo>
                    <a:pt x="528" y="12838"/>
                  </a:lnTo>
                  <a:lnTo>
                    <a:pt x="453" y="13026"/>
                  </a:lnTo>
                  <a:lnTo>
                    <a:pt x="339" y="13477"/>
                  </a:lnTo>
                  <a:lnTo>
                    <a:pt x="226" y="13984"/>
                  </a:lnTo>
                  <a:lnTo>
                    <a:pt x="151" y="14535"/>
                  </a:lnTo>
                  <a:lnTo>
                    <a:pt x="113" y="15075"/>
                  </a:lnTo>
                  <a:lnTo>
                    <a:pt x="113" y="15626"/>
                  </a:lnTo>
                  <a:lnTo>
                    <a:pt x="151" y="16133"/>
                  </a:lnTo>
                  <a:lnTo>
                    <a:pt x="188" y="16376"/>
                  </a:lnTo>
                  <a:lnTo>
                    <a:pt x="264" y="16585"/>
                  </a:lnTo>
                  <a:lnTo>
                    <a:pt x="339" y="16773"/>
                  </a:lnTo>
                  <a:lnTo>
                    <a:pt x="453" y="16938"/>
                  </a:lnTo>
                  <a:lnTo>
                    <a:pt x="1095" y="16883"/>
                  </a:lnTo>
                  <a:lnTo>
                    <a:pt x="1963" y="16795"/>
                  </a:lnTo>
                  <a:lnTo>
                    <a:pt x="2945" y="16751"/>
                  </a:lnTo>
                  <a:lnTo>
                    <a:pt x="3965" y="16706"/>
                  </a:lnTo>
                  <a:lnTo>
                    <a:pt x="5022" y="16684"/>
                  </a:lnTo>
                  <a:lnTo>
                    <a:pt x="5947" y="16684"/>
                  </a:lnTo>
                  <a:lnTo>
                    <a:pt x="6759" y="16706"/>
                  </a:lnTo>
                  <a:lnTo>
                    <a:pt x="7363" y="16751"/>
                  </a:lnTo>
                  <a:lnTo>
                    <a:pt x="7948" y="16839"/>
                  </a:lnTo>
                  <a:lnTo>
                    <a:pt x="8458" y="16916"/>
                  </a:lnTo>
                  <a:lnTo>
                    <a:pt x="8893" y="17026"/>
                  </a:lnTo>
                  <a:lnTo>
                    <a:pt x="9289" y="17158"/>
                  </a:lnTo>
                  <a:lnTo>
                    <a:pt x="9572" y="17280"/>
                  </a:lnTo>
                  <a:lnTo>
                    <a:pt x="9799" y="17412"/>
                  </a:lnTo>
                  <a:lnTo>
                    <a:pt x="9969" y="17555"/>
                  </a:lnTo>
                  <a:lnTo>
                    <a:pt x="10120" y="17687"/>
                  </a:lnTo>
                  <a:lnTo>
                    <a:pt x="10158" y="17831"/>
                  </a:lnTo>
                  <a:lnTo>
                    <a:pt x="10195" y="17974"/>
                  </a:lnTo>
                  <a:lnTo>
                    <a:pt x="10158" y="18128"/>
                  </a:lnTo>
                  <a:lnTo>
                    <a:pt x="10082" y="18271"/>
                  </a:lnTo>
                  <a:lnTo>
                    <a:pt x="9969" y="18426"/>
                  </a:lnTo>
                  <a:lnTo>
                    <a:pt x="9837" y="18569"/>
                  </a:lnTo>
                  <a:lnTo>
                    <a:pt x="9648" y="18701"/>
                  </a:lnTo>
                  <a:lnTo>
                    <a:pt x="9440" y="18822"/>
                  </a:lnTo>
                  <a:lnTo>
                    <a:pt x="9213" y="18999"/>
                  </a:lnTo>
                  <a:lnTo>
                    <a:pt x="9044" y="19186"/>
                  </a:lnTo>
                  <a:lnTo>
                    <a:pt x="8893" y="19395"/>
                  </a:lnTo>
                  <a:lnTo>
                    <a:pt x="8817" y="19627"/>
                  </a:lnTo>
                  <a:lnTo>
                    <a:pt x="8779" y="19858"/>
                  </a:lnTo>
                  <a:lnTo>
                    <a:pt x="8779" y="20112"/>
                  </a:lnTo>
                  <a:lnTo>
                    <a:pt x="8855" y="20354"/>
                  </a:lnTo>
                  <a:lnTo>
                    <a:pt x="8968" y="20586"/>
                  </a:lnTo>
                  <a:lnTo>
                    <a:pt x="9138" y="20817"/>
                  </a:lnTo>
                  <a:lnTo>
                    <a:pt x="9365" y="21026"/>
                  </a:lnTo>
                  <a:lnTo>
                    <a:pt x="9610" y="21192"/>
                  </a:lnTo>
                  <a:lnTo>
                    <a:pt x="9950" y="21368"/>
                  </a:lnTo>
                  <a:lnTo>
                    <a:pt x="10120" y="21445"/>
                  </a:lnTo>
                  <a:lnTo>
                    <a:pt x="10346" y="21511"/>
                  </a:lnTo>
                  <a:lnTo>
                    <a:pt x="10516" y="21555"/>
                  </a:lnTo>
                  <a:lnTo>
                    <a:pt x="10743" y="21600"/>
                  </a:lnTo>
                  <a:lnTo>
                    <a:pt x="10988" y="21644"/>
                  </a:lnTo>
                  <a:lnTo>
                    <a:pt x="11215" y="21666"/>
                  </a:lnTo>
                  <a:lnTo>
                    <a:pt x="11498" y="21666"/>
                  </a:lnTo>
                  <a:lnTo>
                    <a:pt x="11762" y="21666"/>
                  </a:lnTo>
                  <a:lnTo>
                    <a:pt x="12253" y="21644"/>
                  </a:lnTo>
                  <a:lnTo>
                    <a:pt x="12763" y="21577"/>
                  </a:lnTo>
                  <a:lnTo>
                    <a:pt x="13197" y="21467"/>
                  </a:lnTo>
                  <a:lnTo>
                    <a:pt x="13556" y="21346"/>
                  </a:lnTo>
                  <a:lnTo>
                    <a:pt x="13896" y="21192"/>
                  </a:lnTo>
                  <a:lnTo>
                    <a:pt x="14179" y="21026"/>
                  </a:lnTo>
                  <a:lnTo>
                    <a:pt x="14444" y="20839"/>
                  </a:lnTo>
                  <a:lnTo>
                    <a:pt x="14576" y="20641"/>
                  </a:lnTo>
                  <a:lnTo>
                    <a:pt x="14727" y="20431"/>
                  </a:lnTo>
                  <a:lnTo>
                    <a:pt x="14765" y="20200"/>
                  </a:lnTo>
                  <a:lnTo>
                    <a:pt x="14802" y="19991"/>
                  </a:lnTo>
                  <a:lnTo>
                    <a:pt x="14727" y="19759"/>
                  </a:lnTo>
                  <a:lnTo>
                    <a:pt x="14613" y="19550"/>
                  </a:lnTo>
                  <a:lnTo>
                    <a:pt x="14444" y="19307"/>
                  </a:lnTo>
                  <a:lnTo>
                    <a:pt x="14217" y="19098"/>
                  </a:lnTo>
                  <a:lnTo>
                    <a:pt x="13934" y="18911"/>
                  </a:lnTo>
                  <a:lnTo>
                    <a:pt x="13669" y="18745"/>
                  </a:lnTo>
                  <a:lnTo>
                    <a:pt x="13462" y="18547"/>
                  </a:lnTo>
                  <a:lnTo>
                    <a:pt x="13311" y="18337"/>
                  </a:lnTo>
                  <a:lnTo>
                    <a:pt x="13197" y="18150"/>
                  </a:lnTo>
                  <a:lnTo>
                    <a:pt x="13122" y="17941"/>
                  </a:lnTo>
                  <a:lnTo>
                    <a:pt x="13122" y="17720"/>
                  </a:lnTo>
                  <a:lnTo>
                    <a:pt x="13122" y="17533"/>
                  </a:lnTo>
                  <a:lnTo>
                    <a:pt x="13197" y="17346"/>
                  </a:lnTo>
                  <a:lnTo>
                    <a:pt x="13273" y="17158"/>
                  </a:lnTo>
                  <a:lnTo>
                    <a:pt x="13386" y="16982"/>
                  </a:lnTo>
                  <a:lnTo>
                    <a:pt x="13537" y="16839"/>
                  </a:lnTo>
                  <a:lnTo>
                    <a:pt x="13707" y="16706"/>
                  </a:lnTo>
                  <a:lnTo>
                    <a:pt x="13896" y="16607"/>
                  </a:lnTo>
                  <a:lnTo>
                    <a:pt x="14104" y="16519"/>
                  </a:lnTo>
                  <a:lnTo>
                    <a:pt x="14330" y="16453"/>
                  </a:lnTo>
                  <a:lnTo>
                    <a:pt x="14538" y="16431"/>
                  </a:lnTo>
                  <a:lnTo>
                    <a:pt x="14897" y="16453"/>
                  </a:lnTo>
                  <a:lnTo>
                    <a:pt x="15406" y="16497"/>
                  </a:lnTo>
                  <a:lnTo>
                    <a:pt x="16105" y="16541"/>
                  </a:lnTo>
                  <a:lnTo>
                    <a:pt x="16898" y="16607"/>
                  </a:lnTo>
                  <a:lnTo>
                    <a:pt x="17804" y="16651"/>
                  </a:lnTo>
                  <a:lnTo>
                    <a:pt x="18786" y="16684"/>
                  </a:lnTo>
                  <a:lnTo>
                    <a:pt x="19844" y="16728"/>
                  </a:lnTo>
                  <a:lnTo>
                    <a:pt x="20920" y="16751"/>
                  </a:lnTo>
                  <a:lnTo>
                    <a:pt x="21109" y="16497"/>
                  </a:lnTo>
                  <a:lnTo>
                    <a:pt x="21241" y="16222"/>
                  </a:lnTo>
                  <a:lnTo>
                    <a:pt x="21392" y="15946"/>
                  </a:lnTo>
                  <a:lnTo>
                    <a:pt x="21467" y="15648"/>
                  </a:lnTo>
                  <a:lnTo>
                    <a:pt x="21543" y="15351"/>
                  </a:lnTo>
                  <a:lnTo>
                    <a:pt x="21618" y="15042"/>
                  </a:lnTo>
                  <a:lnTo>
                    <a:pt x="21618" y="14745"/>
                  </a:lnTo>
                  <a:lnTo>
                    <a:pt x="21618" y="14447"/>
                  </a:lnTo>
                  <a:lnTo>
                    <a:pt x="21618" y="14150"/>
                  </a:lnTo>
                  <a:lnTo>
                    <a:pt x="21581" y="13852"/>
                  </a:lnTo>
                  <a:lnTo>
                    <a:pt x="21505" y="13577"/>
                  </a:lnTo>
                  <a:lnTo>
                    <a:pt x="21430" y="13301"/>
                  </a:lnTo>
                  <a:lnTo>
                    <a:pt x="21354" y="13048"/>
                  </a:lnTo>
                  <a:lnTo>
                    <a:pt x="21241" y="12816"/>
                  </a:lnTo>
                  <a:lnTo>
                    <a:pt x="21146" y="12607"/>
                  </a:lnTo>
                  <a:lnTo>
                    <a:pt x="21033" y="12431"/>
                  </a:lnTo>
                  <a:lnTo>
                    <a:pt x="20920" y="12265"/>
                  </a:lnTo>
                  <a:lnTo>
                    <a:pt x="20769" y="12144"/>
                  </a:lnTo>
                  <a:lnTo>
                    <a:pt x="20637" y="12034"/>
                  </a:lnTo>
                  <a:lnTo>
                    <a:pt x="20486" y="11946"/>
                  </a:lnTo>
                  <a:lnTo>
                    <a:pt x="20297" y="11891"/>
                  </a:lnTo>
                  <a:lnTo>
                    <a:pt x="20165" y="11846"/>
                  </a:lnTo>
                  <a:lnTo>
                    <a:pt x="19976" y="11824"/>
                  </a:lnTo>
                  <a:lnTo>
                    <a:pt x="19806" y="11802"/>
                  </a:lnTo>
                  <a:lnTo>
                    <a:pt x="19390" y="11824"/>
                  </a:lnTo>
                  <a:lnTo>
                    <a:pt x="18956" y="11891"/>
                  </a:lnTo>
                  <a:lnTo>
                    <a:pt x="18503" y="11968"/>
                  </a:lnTo>
                  <a:lnTo>
                    <a:pt x="17993" y="12078"/>
                  </a:lnTo>
                  <a:lnTo>
                    <a:pt x="17653" y="12144"/>
                  </a:lnTo>
                  <a:lnTo>
                    <a:pt x="17332" y="12199"/>
                  </a:lnTo>
                  <a:lnTo>
                    <a:pt x="17049" y="12221"/>
                  </a:lnTo>
                  <a:lnTo>
                    <a:pt x="16747" y="12243"/>
                  </a:lnTo>
                  <a:lnTo>
                    <a:pt x="16464" y="12243"/>
                  </a:lnTo>
                  <a:lnTo>
                    <a:pt x="16218" y="12243"/>
                  </a:lnTo>
                  <a:lnTo>
                    <a:pt x="15992" y="12221"/>
                  </a:lnTo>
                  <a:lnTo>
                    <a:pt x="15746" y="12199"/>
                  </a:lnTo>
                  <a:lnTo>
                    <a:pt x="15520" y="12155"/>
                  </a:lnTo>
                  <a:lnTo>
                    <a:pt x="15350" y="12122"/>
                  </a:lnTo>
                  <a:lnTo>
                    <a:pt x="15161" y="12056"/>
                  </a:lnTo>
                  <a:lnTo>
                    <a:pt x="14972" y="11990"/>
                  </a:lnTo>
                  <a:lnTo>
                    <a:pt x="14689" y="11846"/>
                  </a:lnTo>
                  <a:lnTo>
                    <a:pt x="14444" y="11670"/>
                  </a:lnTo>
                  <a:lnTo>
                    <a:pt x="14255" y="11483"/>
                  </a:lnTo>
                  <a:lnTo>
                    <a:pt x="14104" y="11295"/>
                  </a:lnTo>
                  <a:lnTo>
                    <a:pt x="14028" y="11086"/>
                  </a:lnTo>
                  <a:lnTo>
                    <a:pt x="13972" y="10888"/>
                  </a:lnTo>
                  <a:lnTo>
                    <a:pt x="13972" y="10700"/>
                  </a:lnTo>
                  <a:lnTo>
                    <a:pt x="14009" y="10513"/>
                  </a:lnTo>
                  <a:lnTo>
                    <a:pt x="14066" y="10359"/>
                  </a:lnTo>
                  <a:lnTo>
                    <a:pt x="14179" y="10215"/>
                  </a:lnTo>
                  <a:lnTo>
                    <a:pt x="14406" y="10006"/>
                  </a:lnTo>
                  <a:lnTo>
                    <a:pt x="14651" y="9830"/>
                  </a:lnTo>
                  <a:lnTo>
                    <a:pt x="14878" y="9686"/>
                  </a:lnTo>
                  <a:lnTo>
                    <a:pt x="15123" y="9554"/>
                  </a:lnTo>
                  <a:lnTo>
                    <a:pt x="15350" y="9477"/>
                  </a:lnTo>
                  <a:lnTo>
                    <a:pt x="15558" y="9411"/>
                  </a:lnTo>
                  <a:lnTo>
                    <a:pt x="15803" y="9345"/>
                  </a:lnTo>
                  <a:lnTo>
                    <a:pt x="16030" y="9323"/>
                  </a:lnTo>
                  <a:lnTo>
                    <a:pt x="16256" y="9301"/>
                  </a:lnTo>
                  <a:lnTo>
                    <a:pt x="16464" y="9323"/>
                  </a:lnTo>
                  <a:lnTo>
                    <a:pt x="16690" y="9345"/>
                  </a:lnTo>
                  <a:lnTo>
                    <a:pt x="16898" y="9367"/>
                  </a:lnTo>
                  <a:lnTo>
                    <a:pt x="17332" y="9477"/>
                  </a:lnTo>
                  <a:lnTo>
                    <a:pt x="17767" y="9598"/>
                  </a:lnTo>
                  <a:lnTo>
                    <a:pt x="18163" y="9731"/>
                  </a:lnTo>
                  <a:lnTo>
                    <a:pt x="18597" y="9874"/>
                  </a:lnTo>
                  <a:lnTo>
                    <a:pt x="18994" y="10006"/>
                  </a:lnTo>
                  <a:lnTo>
                    <a:pt x="19428" y="10083"/>
                  </a:lnTo>
                  <a:lnTo>
                    <a:pt x="19617" y="10127"/>
                  </a:lnTo>
                  <a:lnTo>
                    <a:pt x="19844" y="10149"/>
                  </a:lnTo>
                  <a:lnTo>
                    <a:pt x="20013" y="10149"/>
                  </a:lnTo>
                  <a:lnTo>
                    <a:pt x="20240" y="10127"/>
                  </a:lnTo>
                  <a:lnTo>
                    <a:pt x="20410" y="10105"/>
                  </a:lnTo>
                  <a:lnTo>
                    <a:pt x="20637" y="10061"/>
                  </a:lnTo>
                  <a:lnTo>
                    <a:pt x="20844" y="9984"/>
                  </a:lnTo>
                  <a:lnTo>
                    <a:pt x="21033" y="9896"/>
                  </a:lnTo>
                  <a:lnTo>
                    <a:pt x="21146" y="9830"/>
                  </a:lnTo>
                  <a:lnTo>
                    <a:pt x="21203" y="9753"/>
                  </a:lnTo>
                  <a:lnTo>
                    <a:pt x="21279" y="9642"/>
                  </a:lnTo>
                  <a:lnTo>
                    <a:pt x="21354" y="9521"/>
                  </a:lnTo>
                  <a:lnTo>
                    <a:pt x="21430" y="9246"/>
                  </a:lnTo>
                  <a:lnTo>
                    <a:pt x="21430" y="8904"/>
                  </a:lnTo>
                  <a:lnTo>
                    <a:pt x="21430" y="8540"/>
                  </a:lnTo>
                  <a:lnTo>
                    <a:pt x="21392" y="8144"/>
                  </a:lnTo>
                  <a:lnTo>
                    <a:pt x="21354" y="7714"/>
                  </a:lnTo>
                  <a:lnTo>
                    <a:pt x="21279" y="7295"/>
                  </a:lnTo>
                  <a:lnTo>
                    <a:pt x="21146" y="6446"/>
                  </a:lnTo>
                  <a:lnTo>
                    <a:pt x="20995" y="5686"/>
                  </a:lnTo>
                  <a:lnTo>
                    <a:pt x="20958" y="5366"/>
                  </a:lnTo>
                  <a:lnTo>
                    <a:pt x="20958" y="5091"/>
                  </a:lnTo>
                  <a:lnTo>
                    <a:pt x="20958" y="4860"/>
                  </a:lnTo>
                  <a:lnTo>
                    <a:pt x="21033" y="4716"/>
                  </a:lnTo>
                  <a:lnTo>
                    <a:pt x="20637" y="4860"/>
                  </a:lnTo>
                  <a:lnTo>
                    <a:pt x="20127" y="4992"/>
                  </a:lnTo>
                  <a:lnTo>
                    <a:pt x="19617" y="5069"/>
                  </a:lnTo>
                  <a:lnTo>
                    <a:pt x="19032" y="5157"/>
                  </a:lnTo>
                  <a:lnTo>
                    <a:pt x="18465" y="5201"/>
                  </a:lnTo>
                  <a:lnTo>
                    <a:pt x="17842" y="5245"/>
                  </a:lnTo>
                  <a:lnTo>
                    <a:pt x="17219" y="5267"/>
                  </a:lnTo>
                  <a:lnTo>
                    <a:pt x="16615" y="5267"/>
                  </a:lnTo>
                  <a:lnTo>
                    <a:pt x="15992" y="5245"/>
                  </a:lnTo>
                  <a:lnTo>
                    <a:pt x="15369" y="5201"/>
                  </a:lnTo>
                  <a:lnTo>
                    <a:pt x="14840" y="5157"/>
                  </a:lnTo>
                  <a:lnTo>
                    <a:pt x="14293" y="5091"/>
                  </a:lnTo>
                  <a:lnTo>
                    <a:pt x="13783" y="5014"/>
                  </a:lnTo>
                  <a:lnTo>
                    <a:pt x="13386" y="4926"/>
                  </a:lnTo>
                  <a:lnTo>
                    <a:pt x="13027" y="4815"/>
                  </a:lnTo>
                  <a:lnTo>
                    <a:pt x="12725" y="4716"/>
                  </a:lnTo>
                  <a:lnTo>
                    <a:pt x="12480" y="4606"/>
                  </a:lnTo>
                  <a:lnTo>
                    <a:pt x="12291" y="4496"/>
                  </a:lnTo>
                  <a:lnTo>
                    <a:pt x="12197" y="4397"/>
                  </a:lnTo>
                  <a:lnTo>
                    <a:pt x="12083" y="4286"/>
                  </a:lnTo>
                  <a:lnTo>
                    <a:pt x="12046" y="4187"/>
                  </a:lnTo>
                  <a:lnTo>
                    <a:pt x="12008" y="4077"/>
                  </a:lnTo>
                  <a:lnTo>
                    <a:pt x="12046" y="3967"/>
                  </a:lnTo>
                  <a:lnTo>
                    <a:pt x="12121" y="3868"/>
                  </a:lnTo>
                  <a:lnTo>
                    <a:pt x="12197" y="3735"/>
                  </a:lnTo>
                  <a:lnTo>
                    <a:pt x="12291" y="3614"/>
                  </a:lnTo>
                  <a:lnTo>
                    <a:pt x="12442" y="3482"/>
                  </a:lnTo>
                  <a:lnTo>
                    <a:pt x="12631" y="3361"/>
                  </a:lnTo>
                  <a:lnTo>
                    <a:pt x="13065" y="3085"/>
                  </a:lnTo>
                  <a:lnTo>
                    <a:pt x="13537" y="2766"/>
                  </a:lnTo>
                  <a:lnTo>
                    <a:pt x="13783" y="2578"/>
                  </a:lnTo>
                  <a:lnTo>
                    <a:pt x="13934" y="2380"/>
                  </a:lnTo>
                  <a:lnTo>
                    <a:pt x="14028" y="2171"/>
                  </a:lnTo>
                  <a:lnTo>
                    <a:pt x="14104" y="1961"/>
                  </a:lnTo>
                  <a:lnTo>
                    <a:pt x="14104" y="1730"/>
                  </a:lnTo>
                  <a:lnTo>
                    <a:pt x="14066" y="1498"/>
                  </a:lnTo>
                  <a:lnTo>
                    <a:pt x="13972" y="1267"/>
                  </a:lnTo>
                  <a:lnTo>
                    <a:pt x="13820" y="1057"/>
                  </a:lnTo>
                  <a:lnTo>
                    <a:pt x="13594" y="837"/>
                  </a:lnTo>
                  <a:lnTo>
                    <a:pt x="13386" y="628"/>
                  </a:lnTo>
                  <a:lnTo>
                    <a:pt x="13103" y="462"/>
                  </a:lnTo>
                  <a:lnTo>
                    <a:pt x="12763" y="308"/>
                  </a:lnTo>
                  <a:lnTo>
                    <a:pt x="12404" y="187"/>
                  </a:lnTo>
                  <a:lnTo>
                    <a:pt x="12008" y="77"/>
                  </a:lnTo>
                  <a:lnTo>
                    <a:pt x="11574" y="33"/>
                  </a:lnTo>
                  <a:lnTo>
                    <a:pt x="11102" y="11"/>
                  </a:lnTo>
                  <a:lnTo>
                    <a:pt x="10667" y="11"/>
                  </a:lnTo>
                  <a:lnTo>
                    <a:pt x="10233" y="77"/>
                  </a:lnTo>
                  <a:lnTo>
                    <a:pt x="9837" y="187"/>
                  </a:lnTo>
                  <a:lnTo>
                    <a:pt x="9440" y="286"/>
                  </a:lnTo>
                  <a:lnTo>
                    <a:pt x="9062" y="462"/>
                  </a:lnTo>
                  <a:lnTo>
                    <a:pt x="8741" y="628"/>
                  </a:lnTo>
                  <a:lnTo>
                    <a:pt x="8458" y="815"/>
                  </a:lnTo>
                  <a:lnTo>
                    <a:pt x="8232" y="1035"/>
                  </a:lnTo>
                  <a:lnTo>
                    <a:pt x="8062" y="1245"/>
                  </a:lnTo>
                  <a:lnTo>
                    <a:pt x="7911" y="1476"/>
                  </a:lnTo>
                  <a:lnTo>
                    <a:pt x="7835" y="1708"/>
                  </a:lnTo>
                  <a:lnTo>
                    <a:pt x="7797" y="1961"/>
                  </a:lnTo>
                  <a:lnTo>
                    <a:pt x="7835" y="2193"/>
                  </a:lnTo>
                  <a:lnTo>
                    <a:pt x="7948" y="2402"/>
                  </a:lnTo>
                  <a:lnTo>
                    <a:pt x="8062" y="2534"/>
                  </a:lnTo>
                  <a:lnTo>
                    <a:pt x="8175" y="2644"/>
                  </a:lnTo>
                  <a:lnTo>
                    <a:pt x="8269" y="2744"/>
                  </a:lnTo>
                  <a:lnTo>
                    <a:pt x="8420" y="2832"/>
                  </a:lnTo>
                  <a:lnTo>
                    <a:pt x="8704" y="3019"/>
                  </a:lnTo>
                  <a:lnTo>
                    <a:pt x="8968" y="3206"/>
                  </a:lnTo>
                  <a:lnTo>
                    <a:pt x="9138" y="3405"/>
                  </a:lnTo>
                  <a:lnTo>
                    <a:pt x="9327" y="3570"/>
                  </a:lnTo>
                  <a:lnTo>
                    <a:pt x="9440" y="3735"/>
                  </a:lnTo>
                  <a:lnTo>
                    <a:pt x="9516" y="3890"/>
                  </a:lnTo>
                  <a:lnTo>
                    <a:pt x="9534" y="4033"/>
                  </a:lnTo>
                  <a:lnTo>
                    <a:pt x="9534" y="4165"/>
                  </a:lnTo>
                  <a:lnTo>
                    <a:pt x="9516" y="4286"/>
                  </a:lnTo>
                  <a:lnTo>
                    <a:pt x="9440" y="4397"/>
                  </a:lnTo>
                  <a:lnTo>
                    <a:pt x="9327" y="4496"/>
                  </a:lnTo>
                  <a:lnTo>
                    <a:pt x="9176" y="4562"/>
                  </a:lnTo>
                  <a:lnTo>
                    <a:pt x="9006" y="4628"/>
                  </a:lnTo>
                  <a:lnTo>
                    <a:pt x="8779" y="4694"/>
                  </a:lnTo>
                  <a:lnTo>
                    <a:pt x="8534" y="4716"/>
                  </a:lnTo>
                  <a:lnTo>
                    <a:pt x="8232" y="4716"/>
                  </a:lnTo>
                  <a:lnTo>
                    <a:pt x="7118" y="4738"/>
                  </a:lnTo>
                  <a:lnTo>
                    <a:pt x="5947" y="4771"/>
                  </a:lnTo>
                  <a:lnTo>
                    <a:pt x="4795" y="4815"/>
                  </a:lnTo>
                  <a:lnTo>
                    <a:pt x="3681" y="4860"/>
                  </a:lnTo>
                  <a:lnTo>
                    <a:pt x="2662" y="4882"/>
                  </a:lnTo>
                  <a:lnTo>
                    <a:pt x="1755" y="4882"/>
                  </a:lnTo>
                  <a:lnTo>
                    <a:pt x="1359" y="4860"/>
                  </a:lnTo>
                  <a:lnTo>
                    <a:pt x="981" y="4837"/>
                  </a:lnTo>
                  <a:lnTo>
                    <a:pt x="698" y="4771"/>
                  </a:lnTo>
                  <a:lnTo>
                    <a:pt x="453" y="4716"/>
                  </a:lnTo>
                  <a:lnTo>
                    <a:pt x="453" y="5322"/>
                  </a:lnTo>
                  <a:lnTo>
                    <a:pt x="453" y="6083"/>
                  </a:lnTo>
                  <a:lnTo>
                    <a:pt x="453" y="6909"/>
                  </a:lnTo>
                  <a:lnTo>
                    <a:pt x="453" y="7780"/>
                  </a:lnTo>
                  <a:lnTo>
                    <a:pt x="453" y="8606"/>
                  </a:lnTo>
                  <a:lnTo>
                    <a:pt x="453" y="9345"/>
                  </a:lnTo>
                  <a:lnTo>
                    <a:pt x="453" y="9918"/>
                  </a:lnTo>
                  <a:lnTo>
                    <a:pt x="453" y="10282"/>
                  </a:lnTo>
                  <a:lnTo>
                    <a:pt x="490" y="10381"/>
                  </a:lnTo>
                  <a:lnTo>
                    <a:pt x="547" y="10491"/>
                  </a:lnTo>
                  <a:lnTo>
                    <a:pt x="660" y="10590"/>
                  </a:lnTo>
                  <a:lnTo>
                    <a:pt x="811" y="10700"/>
                  </a:lnTo>
                  <a:lnTo>
                    <a:pt x="981" y="10811"/>
                  </a:lnTo>
                  <a:lnTo>
                    <a:pt x="1208" y="10888"/>
                  </a:lnTo>
                  <a:lnTo>
                    <a:pt x="1453" y="10954"/>
                  </a:lnTo>
                  <a:lnTo>
                    <a:pt x="1718" y="11020"/>
                  </a:lnTo>
                  <a:lnTo>
                    <a:pt x="1963" y="11064"/>
                  </a:lnTo>
                  <a:lnTo>
                    <a:pt x="2265" y="11086"/>
                  </a:lnTo>
                  <a:lnTo>
                    <a:pt x="2548" y="11064"/>
                  </a:lnTo>
                  <a:lnTo>
                    <a:pt x="2794" y="11042"/>
                  </a:lnTo>
                  <a:lnTo>
                    <a:pt x="3096" y="10976"/>
                  </a:lnTo>
                  <a:lnTo>
                    <a:pt x="3341" y="10888"/>
                  </a:lnTo>
                  <a:lnTo>
                    <a:pt x="3606" y="10766"/>
                  </a:lnTo>
                  <a:lnTo>
                    <a:pt x="3813" y="10590"/>
                  </a:lnTo>
                  <a:close/>
                </a:path>
              </a:pathLst>
            </a:custGeom>
            <a:solidFill>
              <a:schemeClr val="accent5"/>
            </a:solidFill>
            <a:ln w="19050">
              <a:solidFill>
                <a:schemeClr val="bg1"/>
              </a:solidFill>
              <a:miter lim="800000"/>
              <a:headEnd/>
              <a:tailEnd/>
            </a:ln>
          </p:spPr>
          <p:txBody>
            <a:bodyPr/>
            <a:lstStyle/>
            <a:p>
              <a:endParaRPr lang="en-US"/>
            </a:p>
          </p:txBody>
        </p:sp>
        <p:sp>
          <p:nvSpPr>
            <p:cNvPr id="38" name="Puzzle2">
              <a:extLst>
                <a:ext uri="{FF2B5EF4-FFF2-40B4-BE49-F238E27FC236}">
                  <a16:creationId xmlns:a16="http://schemas.microsoft.com/office/drawing/2014/main" id="{134636D4-7F67-405D-B0C1-A9E689E45FAE}"/>
                </a:ext>
              </a:extLst>
            </p:cNvPr>
            <p:cNvSpPr>
              <a:spLocks noEditPoints="1" noChangeArrowheads="1"/>
            </p:cNvSpPr>
            <p:nvPr/>
          </p:nvSpPr>
          <p:spPr bwMode="auto">
            <a:xfrm>
              <a:off x="6807550" y="2425465"/>
              <a:ext cx="1911679" cy="1379958"/>
            </a:xfrm>
            <a:custGeom>
              <a:avLst/>
              <a:gdLst>
                <a:gd name="T0" fmla="*/ 797 w 21600"/>
                <a:gd name="T1" fmla="*/ 646363 h 21600"/>
                <a:gd name="T2" fmla="*/ 304504 w 21600"/>
                <a:gd name="T3" fmla="*/ 1021790 h 21600"/>
                <a:gd name="T4" fmla="*/ 753651 w 21600"/>
                <a:gd name="T5" fmla="*/ 671617 h 21600"/>
                <a:gd name="T6" fmla="*/ 1218958 w 21600"/>
                <a:gd name="T7" fmla="*/ 1023191 h 21600"/>
                <a:gd name="T8" fmla="*/ 1565275 w 21600"/>
                <a:gd name="T9" fmla="*/ 728305 h 21600"/>
                <a:gd name="T10" fmla="*/ 1223886 w 21600"/>
                <a:gd name="T11" fmla="*/ 277116 h 21600"/>
                <a:gd name="T12" fmla="*/ 782638 w 21600"/>
                <a:gd name="T13" fmla="*/ 1352 h 21600"/>
                <a:gd name="T14" fmla="*/ 304504 w 21600"/>
                <a:gd name="T15" fmla="*/ 284601 h 21600"/>
                <a:gd name="T16" fmla="*/ 0 60000 65536"/>
                <a:gd name="T17" fmla="*/ 0 60000 65536"/>
                <a:gd name="T18" fmla="*/ 0 60000 65536"/>
                <a:gd name="T19" fmla="*/ 0 60000 65536"/>
                <a:gd name="T20" fmla="*/ 0 60000 65536"/>
                <a:gd name="T21" fmla="*/ 0 60000 65536"/>
                <a:gd name="T22" fmla="*/ 0 60000 65536"/>
                <a:gd name="T23" fmla="*/ 0 60000 65536"/>
                <a:gd name="T24" fmla="*/ 5388 w 21600"/>
                <a:gd name="T25" fmla="*/ 6742 h 21600"/>
                <a:gd name="T26" fmla="*/ 16177 w 21600"/>
                <a:gd name="T27" fmla="*/ 2044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4247" y="12354"/>
                  </a:moveTo>
                  <a:lnTo>
                    <a:pt x="4134" y="12468"/>
                  </a:lnTo>
                  <a:lnTo>
                    <a:pt x="4010" y="12581"/>
                  </a:lnTo>
                  <a:lnTo>
                    <a:pt x="3897" y="12637"/>
                  </a:lnTo>
                  <a:lnTo>
                    <a:pt x="3773" y="12694"/>
                  </a:lnTo>
                  <a:lnTo>
                    <a:pt x="3637" y="12694"/>
                  </a:lnTo>
                  <a:lnTo>
                    <a:pt x="3524" y="12694"/>
                  </a:lnTo>
                  <a:lnTo>
                    <a:pt x="3400" y="12665"/>
                  </a:lnTo>
                  <a:lnTo>
                    <a:pt x="3287" y="12609"/>
                  </a:lnTo>
                  <a:lnTo>
                    <a:pt x="3027" y="12496"/>
                  </a:lnTo>
                  <a:lnTo>
                    <a:pt x="2790" y="12340"/>
                  </a:lnTo>
                  <a:lnTo>
                    <a:pt x="2530" y="12142"/>
                  </a:lnTo>
                  <a:lnTo>
                    <a:pt x="2293" y="11987"/>
                  </a:lnTo>
                  <a:lnTo>
                    <a:pt x="2033" y="11817"/>
                  </a:lnTo>
                  <a:lnTo>
                    <a:pt x="1773" y="11676"/>
                  </a:lnTo>
                  <a:lnTo>
                    <a:pt x="1638" y="11662"/>
                  </a:lnTo>
                  <a:lnTo>
                    <a:pt x="1513" y="11634"/>
                  </a:lnTo>
                  <a:lnTo>
                    <a:pt x="1378" y="11634"/>
                  </a:lnTo>
                  <a:lnTo>
                    <a:pt x="1253" y="11634"/>
                  </a:lnTo>
                  <a:lnTo>
                    <a:pt x="1118" y="11662"/>
                  </a:lnTo>
                  <a:lnTo>
                    <a:pt x="971" y="11732"/>
                  </a:lnTo>
                  <a:lnTo>
                    <a:pt x="835" y="11817"/>
                  </a:lnTo>
                  <a:lnTo>
                    <a:pt x="711" y="11959"/>
                  </a:lnTo>
                  <a:lnTo>
                    <a:pt x="553" y="12086"/>
                  </a:lnTo>
                  <a:lnTo>
                    <a:pt x="429" y="12284"/>
                  </a:lnTo>
                  <a:lnTo>
                    <a:pt x="271" y="12524"/>
                  </a:lnTo>
                  <a:lnTo>
                    <a:pt x="146" y="12793"/>
                  </a:lnTo>
                  <a:lnTo>
                    <a:pt x="79" y="12962"/>
                  </a:lnTo>
                  <a:lnTo>
                    <a:pt x="33" y="13146"/>
                  </a:lnTo>
                  <a:lnTo>
                    <a:pt x="11" y="13386"/>
                  </a:lnTo>
                  <a:lnTo>
                    <a:pt x="11" y="13641"/>
                  </a:lnTo>
                  <a:lnTo>
                    <a:pt x="33" y="13881"/>
                  </a:lnTo>
                  <a:lnTo>
                    <a:pt x="101" y="14150"/>
                  </a:lnTo>
                  <a:lnTo>
                    <a:pt x="192" y="14404"/>
                  </a:lnTo>
                  <a:lnTo>
                    <a:pt x="293" y="14645"/>
                  </a:lnTo>
                  <a:lnTo>
                    <a:pt x="451" y="14857"/>
                  </a:lnTo>
                  <a:lnTo>
                    <a:pt x="621" y="15054"/>
                  </a:lnTo>
                  <a:lnTo>
                    <a:pt x="734" y="15125"/>
                  </a:lnTo>
                  <a:lnTo>
                    <a:pt x="835" y="15210"/>
                  </a:lnTo>
                  <a:lnTo>
                    <a:pt x="948" y="15267"/>
                  </a:lnTo>
                  <a:lnTo>
                    <a:pt x="1084" y="15323"/>
                  </a:lnTo>
                  <a:lnTo>
                    <a:pt x="1208" y="15351"/>
                  </a:lnTo>
                  <a:lnTo>
                    <a:pt x="1355" y="15380"/>
                  </a:lnTo>
                  <a:lnTo>
                    <a:pt x="1513" y="15380"/>
                  </a:lnTo>
                  <a:lnTo>
                    <a:pt x="1683" y="15380"/>
                  </a:lnTo>
                  <a:lnTo>
                    <a:pt x="1864" y="15351"/>
                  </a:lnTo>
                  <a:lnTo>
                    <a:pt x="2033" y="15323"/>
                  </a:lnTo>
                  <a:lnTo>
                    <a:pt x="2225" y="15238"/>
                  </a:lnTo>
                  <a:lnTo>
                    <a:pt x="2428" y="15153"/>
                  </a:lnTo>
                  <a:lnTo>
                    <a:pt x="2745" y="15026"/>
                  </a:lnTo>
                  <a:lnTo>
                    <a:pt x="3005" y="14913"/>
                  </a:lnTo>
                  <a:lnTo>
                    <a:pt x="3264" y="14828"/>
                  </a:lnTo>
                  <a:lnTo>
                    <a:pt x="3513" y="14800"/>
                  </a:lnTo>
                  <a:lnTo>
                    <a:pt x="3615" y="14828"/>
                  </a:lnTo>
                  <a:lnTo>
                    <a:pt x="3728" y="14857"/>
                  </a:lnTo>
                  <a:lnTo>
                    <a:pt x="3807" y="14913"/>
                  </a:lnTo>
                  <a:lnTo>
                    <a:pt x="3920" y="14998"/>
                  </a:lnTo>
                  <a:lnTo>
                    <a:pt x="4010" y="15097"/>
                  </a:lnTo>
                  <a:lnTo>
                    <a:pt x="4089" y="15238"/>
                  </a:lnTo>
                  <a:lnTo>
                    <a:pt x="4179" y="15408"/>
                  </a:lnTo>
                  <a:lnTo>
                    <a:pt x="4247" y="15620"/>
                  </a:lnTo>
                  <a:lnTo>
                    <a:pt x="4326" y="15860"/>
                  </a:lnTo>
                  <a:lnTo>
                    <a:pt x="4394" y="16129"/>
                  </a:lnTo>
                  <a:lnTo>
                    <a:pt x="4439" y="16440"/>
                  </a:lnTo>
                  <a:lnTo>
                    <a:pt x="4507" y="16737"/>
                  </a:lnTo>
                  <a:lnTo>
                    <a:pt x="4552" y="17090"/>
                  </a:lnTo>
                  <a:lnTo>
                    <a:pt x="4575" y="17443"/>
                  </a:lnTo>
                  <a:lnTo>
                    <a:pt x="4586" y="17825"/>
                  </a:lnTo>
                  <a:lnTo>
                    <a:pt x="4586" y="18193"/>
                  </a:lnTo>
                  <a:lnTo>
                    <a:pt x="4586" y="18574"/>
                  </a:lnTo>
                  <a:lnTo>
                    <a:pt x="4586" y="18984"/>
                  </a:lnTo>
                  <a:lnTo>
                    <a:pt x="4552" y="19366"/>
                  </a:lnTo>
                  <a:lnTo>
                    <a:pt x="4507" y="19748"/>
                  </a:lnTo>
                  <a:lnTo>
                    <a:pt x="4462" y="20129"/>
                  </a:lnTo>
                  <a:lnTo>
                    <a:pt x="4371" y="20483"/>
                  </a:lnTo>
                  <a:lnTo>
                    <a:pt x="4292" y="20836"/>
                  </a:lnTo>
                  <a:lnTo>
                    <a:pt x="4202" y="21161"/>
                  </a:lnTo>
                  <a:lnTo>
                    <a:pt x="4744" y="21161"/>
                  </a:lnTo>
                  <a:lnTo>
                    <a:pt x="5264" y="21161"/>
                  </a:lnTo>
                  <a:lnTo>
                    <a:pt x="5784" y="21161"/>
                  </a:lnTo>
                  <a:lnTo>
                    <a:pt x="6235" y="21161"/>
                  </a:lnTo>
                  <a:lnTo>
                    <a:pt x="6676" y="21161"/>
                  </a:lnTo>
                  <a:lnTo>
                    <a:pt x="7060" y="21161"/>
                  </a:lnTo>
                  <a:lnTo>
                    <a:pt x="7410" y="21161"/>
                  </a:lnTo>
                  <a:lnTo>
                    <a:pt x="7670" y="21161"/>
                  </a:lnTo>
                  <a:lnTo>
                    <a:pt x="8020" y="21020"/>
                  </a:lnTo>
                  <a:lnTo>
                    <a:pt x="8303" y="20893"/>
                  </a:lnTo>
                  <a:lnTo>
                    <a:pt x="8563" y="20695"/>
                  </a:lnTo>
                  <a:lnTo>
                    <a:pt x="8800" y="20511"/>
                  </a:lnTo>
                  <a:lnTo>
                    <a:pt x="8969" y="20285"/>
                  </a:lnTo>
                  <a:lnTo>
                    <a:pt x="9150" y="20045"/>
                  </a:lnTo>
                  <a:lnTo>
                    <a:pt x="9252" y="19804"/>
                  </a:lnTo>
                  <a:lnTo>
                    <a:pt x="9342" y="19550"/>
                  </a:lnTo>
                  <a:lnTo>
                    <a:pt x="9410" y="19281"/>
                  </a:lnTo>
                  <a:lnTo>
                    <a:pt x="9433" y="19013"/>
                  </a:lnTo>
                  <a:lnTo>
                    <a:pt x="9433" y="18744"/>
                  </a:lnTo>
                  <a:lnTo>
                    <a:pt x="9387" y="18504"/>
                  </a:lnTo>
                  <a:lnTo>
                    <a:pt x="9320" y="18221"/>
                  </a:lnTo>
                  <a:lnTo>
                    <a:pt x="9207" y="17981"/>
                  </a:lnTo>
                  <a:lnTo>
                    <a:pt x="9105" y="17740"/>
                  </a:lnTo>
                  <a:lnTo>
                    <a:pt x="8924" y="17514"/>
                  </a:lnTo>
                  <a:lnTo>
                    <a:pt x="8777" y="17274"/>
                  </a:lnTo>
                  <a:lnTo>
                    <a:pt x="8642" y="17034"/>
                  </a:lnTo>
                  <a:lnTo>
                    <a:pt x="8563" y="16765"/>
                  </a:lnTo>
                  <a:lnTo>
                    <a:pt x="8472" y="16468"/>
                  </a:lnTo>
                  <a:lnTo>
                    <a:pt x="8450" y="16157"/>
                  </a:lnTo>
                  <a:lnTo>
                    <a:pt x="8450" y="15860"/>
                  </a:lnTo>
                  <a:lnTo>
                    <a:pt x="8472" y="15563"/>
                  </a:lnTo>
                  <a:lnTo>
                    <a:pt x="8540" y="15267"/>
                  </a:lnTo>
                  <a:lnTo>
                    <a:pt x="8642" y="14998"/>
                  </a:lnTo>
                  <a:lnTo>
                    <a:pt x="8777" y="14729"/>
                  </a:lnTo>
                  <a:lnTo>
                    <a:pt x="8868" y="14616"/>
                  </a:lnTo>
                  <a:lnTo>
                    <a:pt x="8969" y="14475"/>
                  </a:lnTo>
                  <a:lnTo>
                    <a:pt x="9060" y="14376"/>
                  </a:lnTo>
                  <a:lnTo>
                    <a:pt x="9184" y="14291"/>
                  </a:lnTo>
                  <a:lnTo>
                    <a:pt x="9297" y="14206"/>
                  </a:lnTo>
                  <a:lnTo>
                    <a:pt x="9433" y="14121"/>
                  </a:lnTo>
                  <a:lnTo>
                    <a:pt x="9579" y="14051"/>
                  </a:lnTo>
                  <a:lnTo>
                    <a:pt x="9726" y="13994"/>
                  </a:lnTo>
                  <a:lnTo>
                    <a:pt x="9884" y="13938"/>
                  </a:lnTo>
                  <a:lnTo>
                    <a:pt x="10054" y="13909"/>
                  </a:lnTo>
                  <a:lnTo>
                    <a:pt x="10257" y="13881"/>
                  </a:lnTo>
                  <a:lnTo>
                    <a:pt x="10449" y="13881"/>
                  </a:lnTo>
                  <a:lnTo>
                    <a:pt x="10664" y="13881"/>
                  </a:lnTo>
                  <a:lnTo>
                    <a:pt x="10856" y="13909"/>
                  </a:lnTo>
                  <a:lnTo>
                    <a:pt x="11037" y="13966"/>
                  </a:lnTo>
                  <a:lnTo>
                    <a:pt x="11206" y="14023"/>
                  </a:lnTo>
                  <a:lnTo>
                    <a:pt x="11353" y="14093"/>
                  </a:lnTo>
                  <a:lnTo>
                    <a:pt x="11511" y="14178"/>
                  </a:lnTo>
                  <a:lnTo>
                    <a:pt x="11635" y="14263"/>
                  </a:lnTo>
                  <a:lnTo>
                    <a:pt x="11748" y="14376"/>
                  </a:lnTo>
                  <a:lnTo>
                    <a:pt x="11861" y="14475"/>
                  </a:lnTo>
                  <a:lnTo>
                    <a:pt x="11941" y="14616"/>
                  </a:lnTo>
                  <a:lnTo>
                    <a:pt x="12031" y="14758"/>
                  </a:lnTo>
                  <a:lnTo>
                    <a:pt x="12099" y="14885"/>
                  </a:lnTo>
                  <a:lnTo>
                    <a:pt x="12200" y="15210"/>
                  </a:lnTo>
                  <a:lnTo>
                    <a:pt x="12268" y="15507"/>
                  </a:lnTo>
                  <a:lnTo>
                    <a:pt x="12291" y="15832"/>
                  </a:lnTo>
                  <a:lnTo>
                    <a:pt x="12291" y="16157"/>
                  </a:lnTo>
                  <a:lnTo>
                    <a:pt x="12246" y="16482"/>
                  </a:lnTo>
                  <a:lnTo>
                    <a:pt x="12178" y="16807"/>
                  </a:lnTo>
                  <a:lnTo>
                    <a:pt x="12099" y="17090"/>
                  </a:lnTo>
                  <a:lnTo>
                    <a:pt x="12008" y="17330"/>
                  </a:lnTo>
                  <a:lnTo>
                    <a:pt x="11884" y="17542"/>
                  </a:lnTo>
                  <a:lnTo>
                    <a:pt x="11748" y="17712"/>
                  </a:lnTo>
                  <a:lnTo>
                    <a:pt x="11613" y="17839"/>
                  </a:lnTo>
                  <a:lnTo>
                    <a:pt x="11489" y="18037"/>
                  </a:lnTo>
                  <a:lnTo>
                    <a:pt x="11398" y="18221"/>
                  </a:lnTo>
                  <a:lnTo>
                    <a:pt x="11319" y="18447"/>
                  </a:lnTo>
                  <a:lnTo>
                    <a:pt x="11251" y="18659"/>
                  </a:lnTo>
                  <a:lnTo>
                    <a:pt x="11206" y="18900"/>
                  </a:lnTo>
                  <a:lnTo>
                    <a:pt x="11184" y="19154"/>
                  </a:lnTo>
                  <a:lnTo>
                    <a:pt x="11184" y="19423"/>
                  </a:lnTo>
                  <a:lnTo>
                    <a:pt x="11229" y="19663"/>
                  </a:lnTo>
                  <a:lnTo>
                    <a:pt x="11297" y="19903"/>
                  </a:lnTo>
                  <a:lnTo>
                    <a:pt x="11376" y="20158"/>
                  </a:lnTo>
                  <a:lnTo>
                    <a:pt x="11511" y="20398"/>
                  </a:lnTo>
                  <a:lnTo>
                    <a:pt x="11681" y="20610"/>
                  </a:lnTo>
                  <a:lnTo>
                    <a:pt x="11884" y="20808"/>
                  </a:lnTo>
                  <a:lnTo>
                    <a:pt x="12121" y="20992"/>
                  </a:lnTo>
                  <a:lnTo>
                    <a:pt x="12404" y="21161"/>
                  </a:lnTo>
                  <a:lnTo>
                    <a:pt x="12528" y="21190"/>
                  </a:lnTo>
                  <a:lnTo>
                    <a:pt x="12856" y="21274"/>
                  </a:lnTo>
                  <a:lnTo>
                    <a:pt x="13330" y="21373"/>
                  </a:lnTo>
                  <a:lnTo>
                    <a:pt x="13963" y="21486"/>
                  </a:lnTo>
                  <a:lnTo>
                    <a:pt x="14313" y="21543"/>
                  </a:lnTo>
                  <a:lnTo>
                    <a:pt x="14652" y="21571"/>
                  </a:lnTo>
                  <a:lnTo>
                    <a:pt x="15025" y="21600"/>
                  </a:lnTo>
                  <a:lnTo>
                    <a:pt x="15409" y="21600"/>
                  </a:lnTo>
                  <a:lnTo>
                    <a:pt x="15782" y="21600"/>
                  </a:lnTo>
                  <a:lnTo>
                    <a:pt x="16177" y="21571"/>
                  </a:lnTo>
                  <a:lnTo>
                    <a:pt x="16516" y="21486"/>
                  </a:lnTo>
                  <a:lnTo>
                    <a:pt x="16889" y="21402"/>
                  </a:lnTo>
                  <a:lnTo>
                    <a:pt x="16821" y="21190"/>
                  </a:lnTo>
                  <a:lnTo>
                    <a:pt x="16776" y="20935"/>
                  </a:lnTo>
                  <a:lnTo>
                    <a:pt x="16742" y="20667"/>
                  </a:lnTo>
                  <a:lnTo>
                    <a:pt x="16719" y="20370"/>
                  </a:lnTo>
                  <a:lnTo>
                    <a:pt x="16697" y="19719"/>
                  </a:lnTo>
                  <a:lnTo>
                    <a:pt x="16697" y="19013"/>
                  </a:lnTo>
                  <a:lnTo>
                    <a:pt x="16719" y="18306"/>
                  </a:lnTo>
                  <a:lnTo>
                    <a:pt x="16753" y="17599"/>
                  </a:lnTo>
                  <a:lnTo>
                    <a:pt x="16821" y="16949"/>
                  </a:lnTo>
                  <a:lnTo>
                    <a:pt x="16889" y="16383"/>
                  </a:lnTo>
                  <a:lnTo>
                    <a:pt x="16934" y="16129"/>
                  </a:lnTo>
                  <a:lnTo>
                    <a:pt x="17002" y="15945"/>
                  </a:lnTo>
                  <a:lnTo>
                    <a:pt x="17081" y="15790"/>
                  </a:lnTo>
                  <a:lnTo>
                    <a:pt x="17194" y="15648"/>
                  </a:lnTo>
                  <a:lnTo>
                    <a:pt x="17318" y="15563"/>
                  </a:lnTo>
                  <a:lnTo>
                    <a:pt x="17453" y="15507"/>
                  </a:lnTo>
                  <a:lnTo>
                    <a:pt x="17600" y="15450"/>
                  </a:lnTo>
                  <a:lnTo>
                    <a:pt x="17758" y="15450"/>
                  </a:lnTo>
                  <a:lnTo>
                    <a:pt x="17905" y="15479"/>
                  </a:lnTo>
                  <a:lnTo>
                    <a:pt x="18064" y="15535"/>
                  </a:lnTo>
                  <a:lnTo>
                    <a:pt x="18233" y="15620"/>
                  </a:lnTo>
                  <a:lnTo>
                    <a:pt x="18380" y="15733"/>
                  </a:lnTo>
                  <a:lnTo>
                    <a:pt x="18561" y="15832"/>
                  </a:lnTo>
                  <a:lnTo>
                    <a:pt x="18707" y="15973"/>
                  </a:lnTo>
                  <a:lnTo>
                    <a:pt x="18866" y="16129"/>
                  </a:lnTo>
                  <a:lnTo>
                    <a:pt x="18990" y="16327"/>
                  </a:lnTo>
                  <a:lnTo>
                    <a:pt x="19125" y="16482"/>
                  </a:lnTo>
                  <a:lnTo>
                    <a:pt x="19295" y="16624"/>
                  </a:lnTo>
                  <a:lnTo>
                    <a:pt x="19464" y="16737"/>
                  </a:lnTo>
                  <a:lnTo>
                    <a:pt x="19668" y="16807"/>
                  </a:lnTo>
                  <a:lnTo>
                    <a:pt x="19860" y="16836"/>
                  </a:lnTo>
                  <a:lnTo>
                    <a:pt x="20052" y="16864"/>
                  </a:lnTo>
                  <a:lnTo>
                    <a:pt x="20266" y="16836"/>
                  </a:lnTo>
                  <a:lnTo>
                    <a:pt x="20470" y="16793"/>
                  </a:lnTo>
                  <a:lnTo>
                    <a:pt x="20662" y="16708"/>
                  </a:lnTo>
                  <a:lnTo>
                    <a:pt x="20854" y="16567"/>
                  </a:lnTo>
                  <a:lnTo>
                    <a:pt x="21035" y="16412"/>
                  </a:lnTo>
                  <a:lnTo>
                    <a:pt x="21182" y="16214"/>
                  </a:lnTo>
                  <a:lnTo>
                    <a:pt x="21340" y="16002"/>
                  </a:lnTo>
                  <a:lnTo>
                    <a:pt x="21441" y="15733"/>
                  </a:lnTo>
                  <a:lnTo>
                    <a:pt x="21532" y="15436"/>
                  </a:lnTo>
                  <a:lnTo>
                    <a:pt x="21600" y="15083"/>
                  </a:lnTo>
                  <a:lnTo>
                    <a:pt x="21600" y="14885"/>
                  </a:lnTo>
                  <a:lnTo>
                    <a:pt x="21600" y="14729"/>
                  </a:lnTo>
                  <a:lnTo>
                    <a:pt x="21600" y="14531"/>
                  </a:lnTo>
                  <a:lnTo>
                    <a:pt x="21577" y="14376"/>
                  </a:lnTo>
                  <a:lnTo>
                    <a:pt x="21532" y="14206"/>
                  </a:lnTo>
                  <a:lnTo>
                    <a:pt x="21487" y="14051"/>
                  </a:lnTo>
                  <a:lnTo>
                    <a:pt x="21419" y="13909"/>
                  </a:lnTo>
                  <a:lnTo>
                    <a:pt x="21351" y="13768"/>
                  </a:lnTo>
                  <a:lnTo>
                    <a:pt x="21204" y="13500"/>
                  </a:lnTo>
                  <a:lnTo>
                    <a:pt x="21035" y="13287"/>
                  </a:lnTo>
                  <a:lnTo>
                    <a:pt x="20809" y="13090"/>
                  </a:lnTo>
                  <a:lnTo>
                    <a:pt x="20594" y="12962"/>
                  </a:lnTo>
                  <a:lnTo>
                    <a:pt x="20357" y="12821"/>
                  </a:lnTo>
                  <a:lnTo>
                    <a:pt x="20120" y="12764"/>
                  </a:lnTo>
                  <a:lnTo>
                    <a:pt x="19882" y="12708"/>
                  </a:lnTo>
                  <a:lnTo>
                    <a:pt x="19645" y="12736"/>
                  </a:lnTo>
                  <a:lnTo>
                    <a:pt x="19430" y="12793"/>
                  </a:lnTo>
                  <a:lnTo>
                    <a:pt x="19227" y="12906"/>
                  </a:lnTo>
                  <a:lnTo>
                    <a:pt x="19148" y="12962"/>
                  </a:lnTo>
                  <a:lnTo>
                    <a:pt x="19058" y="13047"/>
                  </a:lnTo>
                  <a:lnTo>
                    <a:pt x="18990" y="13146"/>
                  </a:lnTo>
                  <a:lnTo>
                    <a:pt x="18911" y="13259"/>
                  </a:lnTo>
                  <a:lnTo>
                    <a:pt x="18775" y="13471"/>
                  </a:lnTo>
                  <a:lnTo>
                    <a:pt x="18628" y="13641"/>
                  </a:lnTo>
                  <a:lnTo>
                    <a:pt x="18470" y="13740"/>
                  </a:lnTo>
                  <a:lnTo>
                    <a:pt x="18301" y="13825"/>
                  </a:lnTo>
                  <a:lnTo>
                    <a:pt x="18143" y="13853"/>
                  </a:lnTo>
                  <a:lnTo>
                    <a:pt x="17973" y="13881"/>
                  </a:lnTo>
                  <a:lnTo>
                    <a:pt x="17804" y="13853"/>
                  </a:lnTo>
                  <a:lnTo>
                    <a:pt x="17646" y="13796"/>
                  </a:lnTo>
                  <a:lnTo>
                    <a:pt x="17499" y="13726"/>
                  </a:lnTo>
                  <a:lnTo>
                    <a:pt x="17341" y="13641"/>
                  </a:lnTo>
                  <a:lnTo>
                    <a:pt x="17216" y="13528"/>
                  </a:lnTo>
                  <a:lnTo>
                    <a:pt x="17103" y="13386"/>
                  </a:lnTo>
                  <a:lnTo>
                    <a:pt x="17024" y="13259"/>
                  </a:lnTo>
                  <a:lnTo>
                    <a:pt x="16934" y="13118"/>
                  </a:lnTo>
                  <a:lnTo>
                    <a:pt x="16889" y="12991"/>
                  </a:lnTo>
                  <a:lnTo>
                    <a:pt x="16889" y="12849"/>
                  </a:lnTo>
                  <a:lnTo>
                    <a:pt x="16889" y="12383"/>
                  </a:lnTo>
                  <a:lnTo>
                    <a:pt x="16889" y="11662"/>
                  </a:lnTo>
                  <a:lnTo>
                    <a:pt x="16889" y="10701"/>
                  </a:lnTo>
                  <a:lnTo>
                    <a:pt x="16889" y="9640"/>
                  </a:lnTo>
                  <a:lnTo>
                    <a:pt x="16889" y="8566"/>
                  </a:lnTo>
                  <a:lnTo>
                    <a:pt x="16889" y="7478"/>
                  </a:lnTo>
                  <a:lnTo>
                    <a:pt x="16889" y="6502"/>
                  </a:lnTo>
                  <a:lnTo>
                    <a:pt x="16889" y="5739"/>
                  </a:lnTo>
                  <a:lnTo>
                    <a:pt x="16674" y="5894"/>
                  </a:lnTo>
                  <a:lnTo>
                    <a:pt x="16414" y="6036"/>
                  </a:lnTo>
                  <a:lnTo>
                    <a:pt x="16154" y="6177"/>
                  </a:lnTo>
                  <a:lnTo>
                    <a:pt x="15849" y="6248"/>
                  </a:lnTo>
                  <a:lnTo>
                    <a:pt x="15544" y="6304"/>
                  </a:lnTo>
                  <a:lnTo>
                    <a:pt x="15217" y="6332"/>
                  </a:lnTo>
                  <a:lnTo>
                    <a:pt x="14866" y="6361"/>
                  </a:lnTo>
                  <a:lnTo>
                    <a:pt x="14550" y="6361"/>
                  </a:lnTo>
                  <a:lnTo>
                    <a:pt x="14200" y="6332"/>
                  </a:lnTo>
                  <a:lnTo>
                    <a:pt x="13850" y="6276"/>
                  </a:lnTo>
                  <a:lnTo>
                    <a:pt x="13522" y="6219"/>
                  </a:lnTo>
                  <a:lnTo>
                    <a:pt x="13206" y="6149"/>
                  </a:lnTo>
                  <a:lnTo>
                    <a:pt x="12901" y="6064"/>
                  </a:lnTo>
                  <a:lnTo>
                    <a:pt x="12618" y="5951"/>
                  </a:lnTo>
                  <a:lnTo>
                    <a:pt x="12358" y="5838"/>
                  </a:lnTo>
                  <a:lnTo>
                    <a:pt x="12121" y="5739"/>
                  </a:lnTo>
                  <a:lnTo>
                    <a:pt x="11941" y="5626"/>
                  </a:lnTo>
                  <a:lnTo>
                    <a:pt x="11794" y="5513"/>
                  </a:lnTo>
                  <a:lnTo>
                    <a:pt x="11658" y="5414"/>
                  </a:lnTo>
                  <a:lnTo>
                    <a:pt x="11556" y="5301"/>
                  </a:lnTo>
                  <a:lnTo>
                    <a:pt x="11466" y="5187"/>
                  </a:lnTo>
                  <a:lnTo>
                    <a:pt x="11398" y="5089"/>
                  </a:lnTo>
                  <a:lnTo>
                    <a:pt x="11376" y="4947"/>
                  </a:lnTo>
                  <a:lnTo>
                    <a:pt x="11353" y="4834"/>
                  </a:lnTo>
                  <a:lnTo>
                    <a:pt x="11353" y="4707"/>
                  </a:lnTo>
                  <a:lnTo>
                    <a:pt x="11376" y="4565"/>
                  </a:lnTo>
                  <a:lnTo>
                    <a:pt x="11443" y="4410"/>
                  </a:lnTo>
                  <a:lnTo>
                    <a:pt x="11511" y="4240"/>
                  </a:lnTo>
                  <a:lnTo>
                    <a:pt x="11703" y="3887"/>
                  </a:lnTo>
                  <a:lnTo>
                    <a:pt x="11986" y="3505"/>
                  </a:lnTo>
                  <a:lnTo>
                    <a:pt x="12144" y="3265"/>
                  </a:lnTo>
                  <a:lnTo>
                    <a:pt x="12246" y="3025"/>
                  </a:lnTo>
                  <a:lnTo>
                    <a:pt x="12336" y="2756"/>
                  </a:lnTo>
                  <a:lnTo>
                    <a:pt x="12404" y="2445"/>
                  </a:lnTo>
                  <a:lnTo>
                    <a:pt x="12438" y="2176"/>
                  </a:lnTo>
                  <a:lnTo>
                    <a:pt x="12438" y="1880"/>
                  </a:lnTo>
                  <a:lnTo>
                    <a:pt x="12404" y="1583"/>
                  </a:lnTo>
                  <a:lnTo>
                    <a:pt x="12336" y="1314"/>
                  </a:lnTo>
                  <a:lnTo>
                    <a:pt x="12246" y="1046"/>
                  </a:lnTo>
                  <a:lnTo>
                    <a:pt x="12099" y="791"/>
                  </a:lnTo>
                  <a:lnTo>
                    <a:pt x="12008" y="692"/>
                  </a:lnTo>
                  <a:lnTo>
                    <a:pt x="11918" y="579"/>
                  </a:lnTo>
                  <a:lnTo>
                    <a:pt x="11816" y="466"/>
                  </a:lnTo>
                  <a:lnTo>
                    <a:pt x="11703" y="381"/>
                  </a:lnTo>
                  <a:lnTo>
                    <a:pt x="11579" y="310"/>
                  </a:lnTo>
                  <a:lnTo>
                    <a:pt x="11443" y="226"/>
                  </a:lnTo>
                  <a:lnTo>
                    <a:pt x="11297" y="169"/>
                  </a:lnTo>
                  <a:lnTo>
                    <a:pt x="11138" y="113"/>
                  </a:lnTo>
                  <a:lnTo>
                    <a:pt x="10969" y="56"/>
                  </a:lnTo>
                  <a:lnTo>
                    <a:pt x="10800" y="28"/>
                  </a:lnTo>
                  <a:lnTo>
                    <a:pt x="10619" y="28"/>
                  </a:lnTo>
                  <a:lnTo>
                    <a:pt x="10404" y="28"/>
                  </a:lnTo>
                  <a:lnTo>
                    <a:pt x="10257" y="28"/>
                  </a:lnTo>
                  <a:lnTo>
                    <a:pt x="10076" y="56"/>
                  </a:lnTo>
                  <a:lnTo>
                    <a:pt x="9952" y="84"/>
                  </a:lnTo>
                  <a:lnTo>
                    <a:pt x="9794" y="141"/>
                  </a:lnTo>
                  <a:lnTo>
                    <a:pt x="9692" y="226"/>
                  </a:lnTo>
                  <a:lnTo>
                    <a:pt x="9557" y="282"/>
                  </a:lnTo>
                  <a:lnTo>
                    <a:pt x="9455" y="381"/>
                  </a:lnTo>
                  <a:lnTo>
                    <a:pt x="9365" y="466"/>
                  </a:lnTo>
                  <a:lnTo>
                    <a:pt x="9274" y="579"/>
                  </a:lnTo>
                  <a:lnTo>
                    <a:pt x="9184" y="692"/>
                  </a:lnTo>
                  <a:lnTo>
                    <a:pt x="9128" y="791"/>
                  </a:lnTo>
                  <a:lnTo>
                    <a:pt x="9060" y="932"/>
                  </a:lnTo>
                  <a:lnTo>
                    <a:pt x="8969" y="1201"/>
                  </a:lnTo>
                  <a:lnTo>
                    <a:pt x="8913" y="1498"/>
                  </a:lnTo>
                  <a:lnTo>
                    <a:pt x="8890" y="1795"/>
                  </a:lnTo>
                  <a:lnTo>
                    <a:pt x="8890" y="2120"/>
                  </a:lnTo>
                  <a:lnTo>
                    <a:pt x="8913" y="2445"/>
                  </a:lnTo>
                  <a:lnTo>
                    <a:pt x="8969" y="2756"/>
                  </a:lnTo>
                  <a:lnTo>
                    <a:pt x="9060" y="3081"/>
                  </a:lnTo>
                  <a:lnTo>
                    <a:pt x="9173" y="3378"/>
                  </a:lnTo>
                  <a:lnTo>
                    <a:pt x="9297" y="3647"/>
                  </a:lnTo>
                  <a:lnTo>
                    <a:pt x="9466" y="3887"/>
                  </a:lnTo>
                  <a:lnTo>
                    <a:pt x="9579" y="4085"/>
                  </a:lnTo>
                  <a:lnTo>
                    <a:pt x="9670" y="4269"/>
                  </a:lnTo>
                  <a:lnTo>
                    <a:pt x="9726" y="4467"/>
                  </a:lnTo>
                  <a:lnTo>
                    <a:pt x="9771" y="4650"/>
                  </a:lnTo>
                  <a:lnTo>
                    <a:pt x="9771" y="4834"/>
                  </a:lnTo>
                  <a:lnTo>
                    <a:pt x="9749" y="5032"/>
                  </a:lnTo>
                  <a:lnTo>
                    <a:pt x="9715" y="5216"/>
                  </a:lnTo>
                  <a:lnTo>
                    <a:pt x="9625" y="5385"/>
                  </a:lnTo>
                  <a:lnTo>
                    <a:pt x="9534" y="5513"/>
                  </a:lnTo>
                  <a:lnTo>
                    <a:pt x="9410" y="5626"/>
                  </a:lnTo>
                  <a:lnTo>
                    <a:pt x="9229" y="5710"/>
                  </a:lnTo>
                  <a:lnTo>
                    <a:pt x="9060" y="5767"/>
                  </a:lnTo>
                  <a:lnTo>
                    <a:pt x="8845" y="5767"/>
                  </a:lnTo>
                  <a:lnTo>
                    <a:pt x="8585" y="5739"/>
                  </a:lnTo>
                  <a:lnTo>
                    <a:pt x="8325" y="5654"/>
                  </a:lnTo>
                  <a:lnTo>
                    <a:pt x="8020" y="5513"/>
                  </a:lnTo>
                  <a:lnTo>
                    <a:pt x="7840" y="5442"/>
                  </a:lnTo>
                  <a:lnTo>
                    <a:pt x="7648" y="5385"/>
                  </a:lnTo>
                  <a:lnTo>
                    <a:pt x="7433" y="5329"/>
                  </a:lnTo>
                  <a:lnTo>
                    <a:pt x="7241" y="5301"/>
                  </a:lnTo>
                  <a:lnTo>
                    <a:pt x="6755" y="5301"/>
                  </a:lnTo>
                  <a:lnTo>
                    <a:pt x="6281" y="5329"/>
                  </a:lnTo>
                  <a:lnTo>
                    <a:pt x="5784" y="5385"/>
                  </a:lnTo>
                  <a:lnTo>
                    <a:pt x="5264" y="5498"/>
                  </a:lnTo>
                  <a:lnTo>
                    <a:pt x="4744" y="5597"/>
                  </a:lnTo>
                  <a:lnTo>
                    <a:pt x="4247" y="5739"/>
                  </a:lnTo>
                  <a:lnTo>
                    <a:pt x="4202" y="5894"/>
                  </a:lnTo>
                  <a:lnTo>
                    <a:pt x="4202" y="6191"/>
                  </a:lnTo>
                  <a:lnTo>
                    <a:pt x="4202" y="6545"/>
                  </a:lnTo>
                  <a:lnTo>
                    <a:pt x="4225" y="6954"/>
                  </a:lnTo>
                  <a:lnTo>
                    <a:pt x="4315" y="7930"/>
                  </a:lnTo>
                  <a:lnTo>
                    <a:pt x="4394" y="9018"/>
                  </a:lnTo>
                  <a:lnTo>
                    <a:pt x="4439" y="9570"/>
                  </a:lnTo>
                  <a:lnTo>
                    <a:pt x="4462" y="10107"/>
                  </a:lnTo>
                  <a:lnTo>
                    <a:pt x="4484" y="10630"/>
                  </a:lnTo>
                  <a:lnTo>
                    <a:pt x="4507" y="11082"/>
                  </a:lnTo>
                  <a:lnTo>
                    <a:pt x="4484" y="11520"/>
                  </a:lnTo>
                  <a:lnTo>
                    <a:pt x="4439" y="11874"/>
                  </a:lnTo>
                  <a:lnTo>
                    <a:pt x="4394" y="12029"/>
                  </a:lnTo>
                  <a:lnTo>
                    <a:pt x="4349" y="12171"/>
                  </a:lnTo>
                  <a:lnTo>
                    <a:pt x="4315" y="12284"/>
                  </a:lnTo>
                  <a:lnTo>
                    <a:pt x="4247" y="12354"/>
                  </a:lnTo>
                  <a:close/>
                </a:path>
              </a:pathLst>
            </a:custGeom>
            <a:solidFill>
              <a:schemeClr val="accent2"/>
            </a:solidFill>
            <a:ln w="19050">
              <a:solidFill>
                <a:schemeClr val="bg1"/>
              </a:solidFill>
              <a:miter lim="800000"/>
              <a:headEnd/>
              <a:tailEnd/>
            </a:ln>
          </p:spPr>
          <p:txBody>
            <a:bodyPr/>
            <a:lstStyle/>
            <a:p>
              <a:endParaRPr lang="en-US"/>
            </a:p>
          </p:txBody>
        </p:sp>
        <p:sp>
          <p:nvSpPr>
            <p:cNvPr id="26" name="Puzzle1">
              <a:extLst>
                <a:ext uri="{FF2B5EF4-FFF2-40B4-BE49-F238E27FC236}">
                  <a16:creationId xmlns:a16="http://schemas.microsoft.com/office/drawing/2014/main" id="{B9774F1A-96D1-400B-A230-7A4F995AEE22}"/>
                </a:ext>
              </a:extLst>
            </p:cNvPr>
            <p:cNvSpPr>
              <a:spLocks noEditPoints="1" noChangeArrowheads="1"/>
            </p:cNvSpPr>
            <p:nvPr/>
          </p:nvSpPr>
          <p:spPr bwMode="auto">
            <a:xfrm>
              <a:off x="3478588" y="3747804"/>
              <a:ext cx="1934946" cy="1073301"/>
            </a:xfrm>
            <a:custGeom>
              <a:avLst/>
              <a:gdLst>
                <a:gd name="T0" fmla="*/ 1227852 w 21600"/>
                <a:gd name="T1" fmla="*/ 791609 h 21600"/>
                <a:gd name="T2" fmla="*/ 1245162 w 21600"/>
                <a:gd name="T3" fmla="*/ 19567 h 21600"/>
                <a:gd name="T4" fmla="*/ 346571 w 21600"/>
                <a:gd name="T5" fmla="*/ 32148 h 21600"/>
                <a:gd name="T6" fmla="*/ 369676 w 21600"/>
                <a:gd name="T7" fmla="*/ 788830 h 21600"/>
                <a:gd name="T8" fmla="*/ 792969 w 21600"/>
                <a:gd name="T9" fmla="*/ 483911 h 21600"/>
                <a:gd name="T10" fmla="*/ 795463 w 21600"/>
                <a:gd name="T11" fmla="*/ 327264 h 21600"/>
                <a:gd name="T12" fmla="*/ 1584325 w 21600"/>
                <a:gd name="T13" fmla="*/ 375562 h 21600"/>
                <a:gd name="T14" fmla="*/ 4108 w 21600"/>
                <a:gd name="T15" fmla="*/ 375562 h 21600"/>
                <a:gd name="T16" fmla="*/ 0 60000 65536"/>
                <a:gd name="T17" fmla="*/ 0 60000 65536"/>
                <a:gd name="T18" fmla="*/ 0 60000 65536"/>
                <a:gd name="T19" fmla="*/ 0 60000 65536"/>
                <a:gd name="T20" fmla="*/ 0 60000 65536"/>
                <a:gd name="T21" fmla="*/ 0 60000 65536"/>
                <a:gd name="T22" fmla="*/ 0 60000 65536"/>
                <a:gd name="T23" fmla="*/ 0 60000 65536"/>
                <a:gd name="T24" fmla="*/ 6086 w 21600"/>
                <a:gd name="T25" fmla="*/ 2569 h 21600"/>
                <a:gd name="T26" fmla="*/ 16132 w 21600"/>
                <a:gd name="T27" fmla="*/ 19552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9360" y="20836"/>
                  </a:moveTo>
                  <a:lnTo>
                    <a:pt x="9528" y="20836"/>
                  </a:lnTo>
                  <a:lnTo>
                    <a:pt x="9686" y="20762"/>
                  </a:lnTo>
                  <a:lnTo>
                    <a:pt x="9810" y="20687"/>
                  </a:lnTo>
                  <a:lnTo>
                    <a:pt x="9922" y="20575"/>
                  </a:lnTo>
                  <a:lnTo>
                    <a:pt x="10012" y="20426"/>
                  </a:lnTo>
                  <a:lnTo>
                    <a:pt x="10068" y="20296"/>
                  </a:lnTo>
                  <a:lnTo>
                    <a:pt x="10113" y="20110"/>
                  </a:lnTo>
                  <a:lnTo>
                    <a:pt x="10136" y="19905"/>
                  </a:lnTo>
                  <a:lnTo>
                    <a:pt x="10136" y="19682"/>
                  </a:lnTo>
                  <a:lnTo>
                    <a:pt x="10113" y="19440"/>
                  </a:lnTo>
                  <a:lnTo>
                    <a:pt x="10068" y="19142"/>
                  </a:lnTo>
                  <a:lnTo>
                    <a:pt x="10012" y="18900"/>
                  </a:lnTo>
                  <a:lnTo>
                    <a:pt x="9900" y="18620"/>
                  </a:lnTo>
                  <a:lnTo>
                    <a:pt x="9787" y="18285"/>
                  </a:lnTo>
                  <a:lnTo>
                    <a:pt x="9641" y="17968"/>
                  </a:lnTo>
                  <a:lnTo>
                    <a:pt x="9472" y="17652"/>
                  </a:lnTo>
                  <a:lnTo>
                    <a:pt x="9382" y="17466"/>
                  </a:lnTo>
                  <a:lnTo>
                    <a:pt x="9315" y="17298"/>
                  </a:lnTo>
                  <a:lnTo>
                    <a:pt x="9258" y="17112"/>
                  </a:lnTo>
                  <a:lnTo>
                    <a:pt x="9191" y="16926"/>
                  </a:lnTo>
                  <a:lnTo>
                    <a:pt x="9123" y="16535"/>
                  </a:lnTo>
                  <a:lnTo>
                    <a:pt x="9101" y="16144"/>
                  </a:lnTo>
                  <a:lnTo>
                    <a:pt x="9101" y="15753"/>
                  </a:lnTo>
                  <a:lnTo>
                    <a:pt x="9168" y="15362"/>
                  </a:lnTo>
                  <a:lnTo>
                    <a:pt x="9236" y="14971"/>
                  </a:lnTo>
                  <a:lnTo>
                    <a:pt x="9360" y="14580"/>
                  </a:lnTo>
                  <a:lnTo>
                    <a:pt x="9495" y="14244"/>
                  </a:lnTo>
                  <a:lnTo>
                    <a:pt x="9663" y="13891"/>
                  </a:lnTo>
                  <a:lnTo>
                    <a:pt x="9855" y="13611"/>
                  </a:lnTo>
                  <a:lnTo>
                    <a:pt x="10068" y="13351"/>
                  </a:lnTo>
                  <a:lnTo>
                    <a:pt x="10293" y="13146"/>
                  </a:lnTo>
                  <a:lnTo>
                    <a:pt x="10552" y="12997"/>
                  </a:lnTo>
                  <a:lnTo>
                    <a:pt x="10811" y="12885"/>
                  </a:lnTo>
                  <a:lnTo>
                    <a:pt x="11069" y="12866"/>
                  </a:lnTo>
                  <a:lnTo>
                    <a:pt x="11351" y="12885"/>
                  </a:lnTo>
                  <a:lnTo>
                    <a:pt x="11610" y="12997"/>
                  </a:lnTo>
                  <a:lnTo>
                    <a:pt x="11846" y="13183"/>
                  </a:lnTo>
                  <a:lnTo>
                    <a:pt x="12060" y="13388"/>
                  </a:lnTo>
                  <a:lnTo>
                    <a:pt x="12251" y="13648"/>
                  </a:lnTo>
                  <a:lnTo>
                    <a:pt x="12419" y="13928"/>
                  </a:lnTo>
                  <a:lnTo>
                    <a:pt x="12555" y="14244"/>
                  </a:lnTo>
                  <a:lnTo>
                    <a:pt x="12690" y="14617"/>
                  </a:lnTo>
                  <a:lnTo>
                    <a:pt x="12768" y="15008"/>
                  </a:lnTo>
                  <a:lnTo>
                    <a:pt x="12836" y="15399"/>
                  </a:lnTo>
                  <a:lnTo>
                    <a:pt x="12858" y="15753"/>
                  </a:lnTo>
                  <a:lnTo>
                    <a:pt x="12858" y="16144"/>
                  </a:lnTo>
                  <a:lnTo>
                    <a:pt x="12813" y="16535"/>
                  </a:lnTo>
                  <a:lnTo>
                    <a:pt x="12746" y="16888"/>
                  </a:lnTo>
                  <a:lnTo>
                    <a:pt x="12667" y="17224"/>
                  </a:lnTo>
                  <a:lnTo>
                    <a:pt x="12510" y="17503"/>
                  </a:lnTo>
                  <a:lnTo>
                    <a:pt x="12228" y="18043"/>
                  </a:lnTo>
                  <a:lnTo>
                    <a:pt x="11970" y="18546"/>
                  </a:lnTo>
                  <a:lnTo>
                    <a:pt x="11868" y="18751"/>
                  </a:lnTo>
                  <a:lnTo>
                    <a:pt x="11778" y="18974"/>
                  </a:lnTo>
                  <a:lnTo>
                    <a:pt x="11711" y="19179"/>
                  </a:lnTo>
                  <a:lnTo>
                    <a:pt x="11666" y="19365"/>
                  </a:lnTo>
                  <a:lnTo>
                    <a:pt x="11632" y="19570"/>
                  </a:lnTo>
                  <a:lnTo>
                    <a:pt x="11632" y="19756"/>
                  </a:lnTo>
                  <a:lnTo>
                    <a:pt x="11632" y="19942"/>
                  </a:lnTo>
                  <a:lnTo>
                    <a:pt x="11643" y="20110"/>
                  </a:lnTo>
                  <a:lnTo>
                    <a:pt x="11711" y="20296"/>
                  </a:lnTo>
                  <a:lnTo>
                    <a:pt x="11801" y="20464"/>
                  </a:lnTo>
                  <a:lnTo>
                    <a:pt x="11891" y="20650"/>
                  </a:lnTo>
                  <a:lnTo>
                    <a:pt x="12037" y="20836"/>
                  </a:lnTo>
                  <a:lnTo>
                    <a:pt x="12206" y="21004"/>
                  </a:lnTo>
                  <a:lnTo>
                    <a:pt x="12419" y="21190"/>
                  </a:lnTo>
                  <a:lnTo>
                    <a:pt x="12667" y="21320"/>
                  </a:lnTo>
                  <a:lnTo>
                    <a:pt x="12960" y="21432"/>
                  </a:lnTo>
                  <a:lnTo>
                    <a:pt x="13286" y="21544"/>
                  </a:lnTo>
                  <a:lnTo>
                    <a:pt x="13612" y="21655"/>
                  </a:lnTo>
                  <a:lnTo>
                    <a:pt x="13983" y="21693"/>
                  </a:lnTo>
                  <a:lnTo>
                    <a:pt x="14343" y="21730"/>
                  </a:lnTo>
                  <a:lnTo>
                    <a:pt x="14715" y="21730"/>
                  </a:lnTo>
                  <a:lnTo>
                    <a:pt x="15075" y="21730"/>
                  </a:lnTo>
                  <a:lnTo>
                    <a:pt x="15446" y="21655"/>
                  </a:lnTo>
                  <a:lnTo>
                    <a:pt x="15794" y="21581"/>
                  </a:lnTo>
                  <a:lnTo>
                    <a:pt x="16132" y="21432"/>
                  </a:lnTo>
                  <a:lnTo>
                    <a:pt x="16458" y="21302"/>
                  </a:lnTo>
                  <a:lnTo>
                    <a:pt x="16740" y="21078"/>
                  </a:lnTo>
                  <a:lnTo>
                    <a:pt x="16976" y="20836"/>
                  </a:lnTo>
                  <a:lnTo>
                    <a:pt x="17043" y="20650"/>
                  </a:lnTo>
                  <a:lnTo>
                    <a:pt x="17088" y="20426"/>
                  </a:lnTo>
                  <a:lnTo>
                    <a:pt x="17133" y="20222"/>
                  </a:lnTo>
                  <a:lnTo>
                    <a:pt x="17156" y="19980"/>
                  </a:lnTo>
                  <a:lnTo>
                    <a:pt x="17167" y="19477"/>
                  </a:lnTo>
                  <a:lnTo>
                    <a:pt x="17167" y="18974"/>
                  </a:lnTo>
                  <a:lnTo>
                    <a:pt x="17156" y="18397"/>
                  </a:lnTo>
                  <a:lnTo>
                    <a:pt x="17111" y="17820"/>
                  </a:lnTo>
                  <a:lnTo>
                    <a:pt x="17066" y="17261"/>
                  </a:lnTo>
                  <a:lnTo>
                    <a:pt x="16998" y="16646"/>
                  </a:lnTo>
                  <a:lnTo>
                    <a:pt x="16852" y="15511"/>
                  </a:lnTo>
                  <a:lnTo>
                    <a:pt x="16740" y="14393"/>
                  </a:lnTo>
                  <a:lnTo>
                    <a:pt x="16717" y="13928"/>
                  </a:lnTo>
                  <a:lnTo>
                    <a:pt x="16695" y="13462"/>
                  </a:lnTo>
                  <a:lnTo>
                    <a:pt x="16717" y="13071"/>
                  </a:lnTo>
                  <a:lnTo>
                    <a:pt x="16785" y="12755"/>
                  </a:lnTo>
                  <a:lnTo>
                    <a:pt x="16852" y="12419"/>
                  </a:lnTo>
                  <a:lnTo>
                    <a:pt x="16953" y="12140"/>
                  </a:lnTo>
                  <a:lnTo>
                    <a:pt x="17088" y="11898"/>
                  </a:lnTo>
                  <a:lnTo>
                    <a:pt x="17212" y="11675"/>
                  </a:lnTo>
                  <a:lnTo>
                    <a:pt x="17370" y="11470"/>
                  </a:lnTo>
                  <a:lnTo>
                    <a:pt x="17516" y="11284"/>
                  </a:lnTo>
                  <a:lnTo>
                    <a:pt x="17696" y="11135"/>
                  </a:lnTo>
                  <a:lnTo>
                    <a:pt x="17865" y="11042"/>
                  </a:lnTo>
                  <a:lnTo>
                    <a:pt x="18033" y="10930"/>
                  </a:lnTo>
                  <a:lnTo>
                    <a:pt x="18213" y="10893"/>
                  </a:lnTo>
                  <a:lnTo>
                    <a:pt x="18382" y="10893"/>
                  </a:lnTo>
                  <a:lnTo>
                    <a:pt x="18551" y="10967"/>
                  </a:lnTo>
                  <a:lnTo>
                    <a:pt x="18708" y="11042"/>
                  </a:lnTo>
                  <a:lnTo>
                    <a:pt x="18855" y="11172"/>
                  </a:lnTo>
                  <a:lnTo>
                    <a:pt x="19012" y="11358"/>
                  </a:lnTo>
                  <a:lnTo>
                    <a:pt x="19136" y="11600"/>
                  </a:lnTo>
                  <a:lnTo>
                    <a:pt x="19271" y="11861"/>
                  </a:lnTo>
                  <a:lnTo>
                    <a:pt x="19440" y="12028"/>
                  </a:lnTo>
                  <a:lnTo>
                    <a:pt x="19608" y="12177"/>
                  </a:lnTo>
                  <a:lnTo>
                    <a:pt x="19822" y="12289"/>
                  </a:lnTo>
                  <a:lnTo>
                    <a:pt x="20025" y="12289"/>
                  </a:lnTo>
                  <a:lnTo>
                    <a:pt x="20238" y="12289"/>
                  </a:lnTo>
                  <a:lnTo>
                    <a:pt x="20452" y="12215"/>
                  </a:lnTo>
                  <a:lnTo>
                    <a:pt x="20643" y="12103"/>
                  </a:lnTo>
                  <a:lnTo>
                    <a:pt x="20846" y="11973"/>
                  </a:lnTo>
                  <a:lnTo>
                    <a:pt x="21037" y="11786"/>
                  </a:lnTo>
                  <a:lnTo>
                    <a:pt x="21206" y="11563"/>
                  </a:lnTo>
                  <a:lnTo>
                    <a:pt x="21363" y="11321"/>
                  </a:lnTo>
                  <a:lnTo>
                    <a:pt x="21465" y="11079"/>
                  </a:lnTo>
                  <a:lnTo>
                    <a:pt x="21577" y="10744"/>
                  </a:lnTo>
                  <a:lnTo>
                    <a:pt x="21622" y="10427"/>
                  </a:lnTo>
                  <a:lnTo>
                    <a:pt x="21645" y="10111"/>
                  </a:lnTo>
                  <a:lnTo>
                    <a:pt x="21622" y="9608"/>
                  </a:lnTo>
                  <a:lnTo>
                    <a:pt x="21577" y="9142"/>
                  </a:lnTo>
                  <a:lnTo>
                    <a:pt x="21465" y="8751"/>
                  </a:lnTo>
                  <a:lnTo>
                    <a:pt x="21363" y="8397"/>
                  </a:lnTo>
                  <a:lnTo>
                    <a:pt x="21206" y="8062"/>
                  </a:lnTo>
                  <a:lnTo>
                    <a:pt x="21037" y="7820"/>
                  </a:lnTo>
                  <a:lnTo>
                    <a:pt x="20846" y="7597"/>
                  </a:lnTo>
                  <a:lnTo>
                    <a:pt x="20643" y="7429"/>
                  </a:lnTo>
                  <a:lnTo>
                    <a:pt x="20452" y="7317"/>
                  </a:lnTo>
                  <a:lnTo>
                    <a:pt x="20238" y="7206"/>
                  </a:lnTo>
                  <a:lnTo>
                    <a:pt x="20025" y="7168"/>
                  </a:lnTo>
                  <a:lnTo>
                    <a:pt x="19822" y="7206"/>
                  </a:lnTo>
                  <a:lnTo>
                    <a:pt x="19608" y="7243"/>
                  </a:lnTo>
                  <a:lnTo>
                    <a:pt x="19440" y="7355"/>
                  </a:lnTo>
                  <a:lnTo>
                    <a:pt x="19271" y="7504"/>
                  </a:lnTo>
                  <a:lnTo>
                    <a:pt x="19136" y="7708"/>
                  </a:lnTo>
                  <a:lnTo>
                    <a:pt x="19012" y="7895"/>
                  </a:lnTo>
                  <a:lnTo>
                    <a:pt x="18832" y="8025"/>
                  </a:lnTo>
                  <a:lnTo>
                    <a:pt x="18663" y="8174"/>
                  </a:lnTo>
                  <a:lnTo>
                    <a:pt x="18472" y="8248"/>
                  </a:lnTo>
                  <a:lnTo>
                    <a:pt x="18270" y="8286"/>
                  </a:lnTo>
                  <a:lnTo>
                    <a:pt x="18078" y="8323"/>
                  </a:lnTo>
                  <a:lnTo>
                    <a:pt x="17887" y="8323"/>
                  </a:lnTo>
                  <a:lnTo>
                    <a:pt x="17696" y="8248"/>
                  </a:lnTo>
                  <a:lnTo>
                    <a:pt x="17493" y="8174"/>
                  </a:lnTo>
                  <a:lnTo>
                    <a:pt x="17302" y="8062"/>
                  </a:lnTo>
                  <a:lnTo>
                    <a:pt x="17133" y="7969"/>
                  </a:lnTo>
                  <a:lnTo>
                    <a:pt x="16976" y="7783"/>
                  </a:lnTo>
                  <a:lnTo>
                    <a:pt x="16852" y="7597"/>
                  </a:lnTo>
                  <a:lnTo>
                    <a:pt x="16740" y="7429"/>
                  </a:lnTo>
                  <a:lnTo>
                    <a:pt x="16672" y="7168"/>
                  </a:lnTo>
                  <a:lnTo>
                    <a:pt x="16638" y="6926"/>
                  </a:lnTo>
                  <a:lnTo>
                    <a:pt x="16616" y="6498"/>
                  </a:lnTo>
                  <a:lnTo>
                    <a:pt x="16616" y="5772"/>
                  </a:lnTo>
                  <a:lnTo>
                    <a:pt x="16650" y="4915"/>
                  </a:lnTo>
                  <a:lnTo>
                    <a:pt x="16695" y="3928"/>
                  </a:lnTo>
                  <a:lnTo>
                    <a:pt x="16762" y="2960"/>
                  </a:lnTo>
                  <a:lnTo>
                    <a:pt x="16830" y="1992"/>
                  </a:lnTo>
                  <a:lnTo>
                    <a:pt x="16908" y="1173"/>
                  </a:lnTo>
                  <a:lnTo>
                    <a:pt x="16976" y="521"/>
                  </a:lnTo>
                  <a:lnTo>
                    <a:pt x="16953" y="521"/>
                  </a:lnTo>
                  <a:lnTo>
                    <a:pt x="16931" y="521"/>
                  </a:lnTo>
                  <a:lnTo>
                    <a:pt x="16267" y="484"/>
                  </a:lnTo>
                  <a:lnTo>
                    <a:pt x="15637" y="428"/>
                  </a:lnTo>
                  <a:lnTo>
                    <a:pt x="15063" y="353"/>
                  </a:lnTo>
                  <a:lnTo>
                    <a:pt x="14523" y="279"/>
                  </a:lnTo>
                  <a:lnTo>
                    <a:pt x="14040" y="167"/>
                  </a:lnTo>
                  <a:lnTo>
                    <a:pt x="13635" y="93"/>
                  </a:lnTo>
                  <a:lnTo>
                    <a:pt x="13331" y="18"/>
                  </a:lnTo>
                  <a:lnTo>
                    <a:pt x="13117" y="18"/>
                  </a:lnTo>
                  <a:lnTo>
                    <a:pt x="12982" y="18"/>
                  </a:lnTo>
                  <a:lnTo>
                    <a:pt x="12858" y="130"/>
                  </a:lnTo>
                  <a:lnTo>
                    <a:pt x="12723" y="279"/>
                  </a:lnTo>
                  <a:lnTo>
                    <a:pt x="12622" y="446"/>
                  </a:lnTo>
                  <a:lnTo>
                    <a:pt x="12510" y="670"/>
                  </a:lnTo>
                  <a:lnTo>
                    <a:pt x="12419" y="912"/>
                  </a:lnTo>
                  <a:lnTo>
                    <a:pt x="12363" y="1210"/>
                  </a:lnTo>
                  <a:lnTo>
                    <a:pt x="12318" y="1526"/>
                  </a:lnTo>
                  <a:lnTo>
                    <a:pt x="12273" y="1843"/>
                  </a:lnTo>
                  <a:lnTo>
                    <a:pt x="12251" y="2215"/>
                  </a:lnTo>
                  <a:lnTo>
                    <a:pt x="12273" y="2532"/>
                  </a:lnTo>
                  <a:lnTo>
                    <a:pt x="12318" y="2886"/>
                  </a:lnTo>
                  <a:lnTo>
                    <a:pt x="12386" y="3240"/>
                  </a:lnTo>
                  <a:lnTo>
                    <a:pt x="12464" y="3556"/>
                  </a:lnTo>
                  <a:lnTo>
                    <a:pt x="12577" y="3891"/>
                  </a:lnTo>
                  <a:lnTo>
                    <a:pt x="12746" y="4171"/>
                  </a:lnTo>
                  <a:lnTo>
                    <a:pt x="12926" y="4487"/>
                  </a:lnTo>
                  <a:lnTo>
                    <a:pt x="13050" y="4860"/>
                  </a:lnTo>
                  <a:lnTo>
                    <a:pt x="13162" y="5251"/>
                  </a:lnTo>
                  <a:lnTo>
                    <a:pt x="13218" y="5604"/>
                  </a:lnTo>
                  <a:lnTo>
                    <a:pt x="13263" y="5995"/>
                  </a:lnTo>
                  <a:lnTo>
                    <a:pt x="13241" y="6386"/>
                  </a:lnTo>
                  <a:lnTo>
                    <a:pt x="13218" y="6740"/>
                  </a:lnTo>
                  <a:lnTo>
                    <a:pt x="13139" y="7094"/>
                  </a:lnTo>
                  <a:lnTo>
                    <a:pt x="13050" y="7429"/>
                  </a:lnTo>
                  <a:lnTo>
                    <a:pt x="12903" y="7746"/>
                  </a:lnTo>
                  <a:lnTo>
                    <a:pt x="12723" y="8025"/>
                  </a:lnTo>
                  <a:lnTo>
                    <a:pt x="12532" y="8286"/>
                  </a:lnTo>
                  <a:lnTo>
                    <a:pt x="12318" y="8491"/>
                  </a:lnTo>
                  <a:lnTo>
                    <a:pt x="12060" y="8677"/>
                  </a:lnTo>
                  <a:lnTo>
                    <a:pt x="11756" y="8788"/>
                  </a:lnTo>
                  <a:lnTo>
                    <a:pt x="11452" y="8826"/>
                  </a:lnTo>
                  <a:lnTo>
                    <a:pt x="11283" y="8826"/>
                  </a:lnTo>
                  <a:lnTo>
                    <a:pt x="11126" y="8826"/>
                  </a:lnTo>
                  <a:lnTo>
                    <a:pt x="11002" y="8788"/>
                  </a:lnTo>
                  <a:lnTo>
                    <a:pt x="10845" y="8714"/>
                  </a:lnTo>
                  <a:lnTo>
                    <a:pt x="10721" y="8640"/>
                  </a:lnTo>
                  <a:lnTo>
                    <a:pt x="10608" y="8565"/>
                  </a:lnTo>
                  <a:lnTo>
                    <a:pt x="10485" y="8453"/>
                  </a:lnTo>
                  <a:lnTo>
                    <a:pt x="10372" y="8323"/>
                  </a:lnTo>
                  <a:lnTo>
                    <a:pt x="10181" y="8062"/>
                  </a:lnTo>
                  <a:lnTo>
                    <a:pt x="10035" y="7746"/>
                  </a:lnTo>
                  <a:lnTo>
                    <a:pt x="9900" y="7392"/>
                  </a:lnTo>
                  <a:lnTo>
                    <a:pt x="9787" y="7001"/>
                  </a:lnTo>
                  <a:lnTo>
                    <a:pt x="9731" y="6610"/>
                  </a:lnTo>
                  <a:lnTo>
                    <a:pt x="9686" y="6219"/>
                  </a:lnTo>
                  <a:lnTo>
                    <a:pt x="9663" y="5772"/>
                  </a:lnTo>
                  <a:lnTo>
                    <a:pt x="9686" y="5381"/>
                  </a:lnTo>
                  <a:lnTo>
                    <a:pt x="9753" y="4990"/>
                  </a:lnTo>
                  <a:lnTo>
                    <a:pt x="9832" y="4636"/>
                  </a:lnTo>
                  <a:lnTo>
                    <a:pt x="9945" y="4320"/>
                  </a:lnTo>
                  <a:lnTo>
                    <a:pt x="10068" y="4022"/>
                  </a:lnTo>
                  <a:lnTo>
                    <a:pt x="10203" y="3817"/>
                  </a:lnTo>
                  <a:lnTo>
                    <a:pt x="10316" y="3593"/>
                  </a:lnTo>
                  <a:lnTo>
                    <a:pt x="10395" y="3351"/>
                  </a:lnTo>
                  <a:lnTo>
                    <a:pt x="10462" y="3109"/>
                  </a:lnTo>
                  <a:lnTo>
                    <a:pt x="10507" y="2848"/>
                  </a:lnTo>
                  <a:lnTo>
                    <a:pt x="10530" y="2606"/>
                  </a:lnTo>
                  <a:lnTo>
                    <a:pt x="10507" y="2346"/>
                  </a:lnTo>
                  <a:lnTo>
                    <a:pt x="10462" y="2141"/>
                  </a:lnTo>
                  <a:lnTo>
                    <a:pt x="10395" y="1880"/>
                  </a:lnTo>
                  <a:lnTo>
                    <a:pt x="10293" y="1638"/>
                  </a:lnTo>
                  <a:lnTo>
                    <a:pt x="10158" y="1415"/>
                  </a:lnTo>
                  <a:lnTo>
                    <a:pt x="9967" y="1210"/>
                  </a:lnTo>
                  <a:lnTo>
                    <a:pt x="9753" y="986"/>
                  </a:lnTo>
                  <a:lnTo>
                    <a:pt x="9495" y="819"/>
                  </a:lnTo>
                  <a:lnTo>
                    <a:pt x="9191" y="670"/>
                  </a:lnTo>
                  <a:lnTo>
                    <a:pt x="8842" y="521"/>
                  </a:lnTo>
                  <a:lnTo>
                    <a:pt x="8471" y="446"/>
                  </a:lnTo>
                  <a:lnTo>
                    <a:pt x="7998" y="428"/>
                  </a:lnTo>
                  <a:lnTo>
                    <a:pt x="7413" y="428"/>
                  </a:lnTo>
                  <a:lnTo>
                    <a:pt x="6817" y="446"/>
                  </a:lnTo>
                  <a:lnTo>
                    <a:pt x="6187" y="521"/>
                  </a:lnTo>
                  <a:lnTo>
                    <a:pt x="5602" y="633"/>
                  </a:lnTo>
                  <a:lnTo>
                    <a:pt x="5107" y="744"/>
                  </a:lnTo>
                  <a:lnTo>
                    <a:pt x="4725" y="856"/>
                  </a:lnTo>
                  <a:lnTo>
                    <a:pt x="4848" y="1564"/>
                  </a:lnTo>
                  <a:lnTo>
                    <a:pt x="5028" y="2495"/>
                  </a:lnTo>
                  <a:lnTo>
                    <a:pt x="5175" y="3556"/>
                  </a:lnTo>
                  <a:lnTo>
                    <a:pt x="5298" y="4673"/>
                  </a:lnTo>
                  <a:lnTo>
                    <a:pt x="5343" y="5213"/>
                  </a:lnTo>
                  <a:lnTo>
                    <a:pt x="5388" y="5753"/>
                  </a:lnTo>
                  <a:lnTo>
                    <a:pt x="5411" y="6275"/>
                  </a:lnTo>
                  <a:lnTo>
                    <a:pt x="5411" y="6740"/>
                  </a:lnTo>
                  <a:lnTo>
                    <a:pt x="5366" y="7168"/>
                  </a:lnTo>
                  <a:lnTo>
                    <a:pt x="5321" y="7541"/>
                  </a:lnTo>
                  <a:lnTo>
                    <a:pt x="5287" y="7708"/>
                  </a:lnTo>
                  <a:lnTo>
                    <a:pt x="5242" y="7857"/>
                  </a:lnTo>
                  <a:lnTo>
                    <a:pt x="5197" y="7969"/>
                  </a:lnTo>
                  <a:lnTo>
                    <a:pt x="5130" y="8062"/>
                  </a:lnTo>
                  <a:lnTo>
                    <a:pt x="5006" y="8248"/>
                  </a:lnTo>
                  <a:lnTo>
                    <a:pt x="4848" y="8397"/>
                  </a:lnTo>
                  <a:lnTo>
                    <a:pt x="4725" y="8528"/>
                  </a:lnTo>
                  <a:lnTo>
                    <a:pt x="4567" y="8640"/>
                  </a:lnTo>
                  <a:lnTo>
                    <a:pt x="4421" y="8714"/>
                  </a:lnTo>
                  <a:lnTo>
                    <a:pt x="4263" y="8751"/>
                  </a:lnTo>
                  <a:lnTo>
                    <a:pt x="4095" y="8788"/>
                  </a:lnTo>
                  <a:lnTo>
                    <a:pt x="3948" y="8788"/>
                  </a:lnTo>
                  <a:lnTo>
                    <a:pt x="3791" y="8751"/>
                  </a:lnTo>
                  <a:lnTo>
                    <a:pt x="3667" y="8714"/>
                  </a:lnTo>
                  <a:lnTo>
                    <a:pt x="3510" y="8677"/>
                  </a:lnTo>
                  <a:lnTo>
                    <a:pt x="3386" y="8602"/>
                  </a:lnTo>
                  <a:lnTo>
                    <a:pt x="3251" y="8491"/>
                  </a:lnTo>
                  <a:lnTo>
                    <a:pt x="3127" y="8360"/>
                  </a:lnTo>
                  <a:lnTo>
                    <a:pt x="3015" y="8248"/>
                  </a:lnTo>
                  <a:lnTo>
                    <a:pt x="2925" y="8062"/>
                  </a:lnTo>
                  <a:lnTo>
                    <a:pt x="2778" y="7857"/>
                  </a:lnTo>
                  <a:lnTo>
                    <a:pt x="2610" y="7671"/>
                  </a:lnTo>
                  <a:lnTo>
                    <a:pt x="2407" y="7541"/>
                  </a:lnTo>
                  <a:lnTo>
                    <a:pt x="2171" y="7466"/>
                  </a:lnTo>
                  <a:lnTo>
                    <a:pt x="1957" y="7429"/>
                  </a:lnTo>
                  <a:lnTo>
                    <a:pt x="1698" y="7429"/>
                  </a:lnTo>
                  <a:lnTo>
                    <a:pt x="1462" y="7466"/>
                  </a:lnTo>
                  <a:lnTo>
                    <a:pt x="1226" y="7559"/>
                  </a:lnTo>
                  <a:lnTo>
                    <a:pt x="989" y="7708"/>
                  </a:lnTo>
                  <a:lnTo>
                    <a:pt x="776" y="7932"/>
                  </a:lnTo>
                  <a:lnTo>
                    <a:pt x="551" y="8211"/>
                  </a:lnTo>
                  <a:lnTo>
                    <a:pt x="382" y="8528"/>
                  </a:lnTo>
                  <a:lnTo>
                    <a:pt x="315" y="8714"/>
                  </a:lnTo>
                  <a:lnTo>
                    <a:pt x="236" y="8919"/>
                  </a:lnTo>
                  <a:lnTo>
                    <a:pt x="191" y="9142"/>
                  </a:lnTo>
                  <a:lnTo>
                    <a:pt x="123" y="9347"/>
                  </a:lnTo>
                  <a:lnTo>
                    <a:pt x="78" y="9608"/>
                  </a:lnTo>
                  <a:lnTo>
                    <a:pt x="56" y="9887"/>
                  </a:lnTo>
                  <a:lnTo>
                    <a:pt x="33" y="10185"/>
                  </a:lnTo>
                  <a:lnTo>
                    <a:pt x="33" y="10464"/>
                  </a:lnTo>
                  <a:lnTo>
                    <a:pt x="33" y="10706"/>
                  </a:lnTo>
                  <a:lnTo>
                    <a:pt x="56" y="10967"/>
                  </a:lnTo>
                  <a:lnTo>
                    <a:pt x="78" y="11172"/>
                  </a:lnTo>
                  <a:lnTo>
                    <a:pt x="123" y="11395"/>
                  </a:lnTo>
                  <a:lnTo>
                    <a:pt x="168" y="11600"/>
                  </a:lnTo>
                  <a:lnTo>
                    <a:pt x="236" y="11786"/>
                  </a:lnTo>
                  <a:lnTo>
                    <a:pt x="292" y="11973"/>
                  </a:lnTo>
                  <a:lnTo>
                    <a:pt x="382" y="12140"/>
                  </a:lnTo>
                  <a:lnTo>
                    <a:pt x="540" y="12419"/>
                  </a:lnTo>
                  <a:lnTo>
                    <a:pt x="731" y="12680"/>
                  </a:lnTo>
                  <a:lnTo>
                    <a:pt x="944" y="12866"/>
                  </a:lnTo>
                  <a:lnTo>
                    <a:pt x="1158" y="12997"/>
                  </a:lnTo>
                  <a:lnTo>
                    <a:pt x="1395" y="13108"/>
                  </a:lnTo>
                  <a:lnTo>
                    <a:pt x="1608" y="13183"/>
                  </a:lnTo>
                  <a:lnTo>
                    <a:pt x="1856" y="13183"/>
                  </a:lnTo>
                  <a:lnTo>
                    <a:pt x="2070" y="13146"/>
                  </a:lnTo>
                  <a:lnTo>
                    <a:pt x="2261" y="13071"/>
                  </a:lnTo>
                  <a:lnTo>
                    <a:pt x="2430" y="12960"/>
                  </a:lnTo>
                  <a:lnTo>
                    <a:pt x="2587" y="12792"/>
                  </a:lnTo>
                  <a:lnTo>
                    <a:pt x="2688" y="12606"/>
                  </a:lnTo>
                  <a:lnTo>
                    <a:pt x="2801" y="12419"/>
                  </a:lnTo>
                  <a:lnTo>
                    <a:pt x="2925" y="12289"/>
                  </a:lnTo>
                  <a:lnTo>
                    <a:pt x="3082" y="12177"/>
                  </a:lnTo>
                  <a:lnTo>
                    <a:pt x="3228" y="12103"/>
                  </a:lnTo>
                  <a:lnTo>
                    <a:pt x="3408" y="12103"/>
                  </a:lnTo>
                  <a:lnTo>
                    <a:pt x="3577" y="12103"/>
                  </a:lnTo>
                  <a:lnTo>
                    <a:pt x="3723" y="12177"/>
                  </a:lnTo>
                  <a:lnTo>
                    <a:pt x="3903" y="12252"/>
                  </a:lnTo>
                  <a:lnTo>
                    <a:pt x="4072" y="12364"/>
                  </a:lnTo>
                  <a:lnTo>
                    <a:pt x="4230" y="12494"/>
                  </a:lnTo>
                  <a:lnTo>
                    <a:pt x="4353" y="12643"/>
                  </a:lnTo>
                  <a:lnTo>
                    <a:pt x="4488" y="12829"/>
                  </a:lnTo>
                  <a:lnTo>
                    <a:pt x="4567" y="13034"/>
                  </a:lnTo>
                  <a:lnTo>
                    <a:pt x="4657" y="13257"/>
                  </a:lnTo>
                  <a:lnTo>
                    <a:pt x="4702" y="13462"/>
                  </a:lnTo>
                  <a:lnTo>
                    <a:pt x="4725" y="13686"/>
                  </a:lnTo>
                  <a:lnTo>
                    <a:pt x="4702" y="14282"/>
                  </a:lnTo>
                  <a:lnTo>
                    <a:pt x="4657" y="15045"/>
                  </a:lnTo>
                  <a:lnTo>
                    <a:pt x="4612" y="15976"/>
                  </a:lnTo>
                  <a:lnTo>
                    <a:pt x="4590" y="16926"/>
                  </a:lnTo>
                  <a:lnTo>
                    <a:pt x="4567" y="17968"/>
                  </a:lnTo>
                  <a:lnTo>
                    <a:pt x="4567" y="19011"/>
                  </a:lnTo>
                  <a:lnTo>
                    <a:pt x="4590" y="19514"/>
                  </a:lnTo>
                  <a:lnTo>
                    <a:pt x="4612" y="19980"/>
                  </a:lnTo>
                  <a:lnTo>
                    <a:pt x="4657" y="20426"/>
                  </a:lnTo>
                  <a:lnTo>
                    <a:pt x="4725" y="20836"/>
                  </a:lnTo>
                  <a:lnTo>
                    <a:pt x="4848" y="20929"/>
                  </a:lnTo>
                  <a:lnTo>
                    <a:pt x="5040" y="21004"/>
                  </a:lnTo>
                  <a:lnTo>
                    <a:pt x="5265" y="21078"/>
                  </a:lnTo>
                  <a:lnTo>
                    <a:pt x="5478" y="21115"/>
                  </a:lnTo>
                  <a:lnTo>
                    <a:pt x="6041" y="21115"/>
                  </a:lnTo>
                  <a:lnTo>
                    <a:pt x="6637" y="21078"/>
                  </a:lnTo>
                  <a:lnTo>
                    <a:pt x="7312" y="21004"/>
                  </a:lnTo>
                  <a:lnTo>
                    <a:pt x="7998" y="20929"/>
                  </a:lnTo>
                  <a:lnTo>
                    <a:pt x="8696" y="20855"/>
                  </a:lnTo>
                  <a:lnTo>
                    <a:pt x="9360" y="20836"/>
                  </a:lnTo>
                  <a:close/>
                </a:path>
              </a:pathLst>
            </a:custGeom>
            <a:solidFill>
              <a:schemeClr val="tx2">
                <a:lumMod val="40000"/>
                <a:lumOff val="60000"/>
              </a:schemeClr>
            </a:solidFill>
            <a:ln w="19050">
              <a:solidFill>
                <a:schemeClr val="bg1"/>
              </a:solidFill>
              <a:miter lim="800000"/>
              <a:headEnd/>
              <a:tailEnd/>
            </a:ln>
          </p:spPr>
          <p:txBody>
            <a:bodyPr/>
            <a:lstStyle/>
            <a:p>
              <a:endParaRPr lang="en-US"/>
            </a:p>
          </p:txBody>
        </p:sp>
        <p:sp>
          <p:nvSpPr>
            <p:cNvPr id="23" name="Puzzle3">
              <a:extLst>
                <a:ext uri="{FF2B5EF4-FFF2-40B4-BE49-F238E27FC236}">
                  <a16:creationId xmlns:a16="http://schemas.microsoft.com/office/drawing/2014/main" id="{BBFEDF90-EB88-479C-8BA6-1331BBA52641}"/>
                </a:ext>
              </a:extLst>
            </p:cNvPr>
            <p:cNvSpPr>
              <a:spLocks noEditPoints="1" noChangeArrowheads="1"/>
            </p:cNvSpPr>
            <p:nvPr/>
          </p:nvSpPr>
          <p:spPr bwMode="auto">
            <a:xfrm>
              <a:off x="4959850" y="3296219"/>
              <a:ext cx="1196254" cy="1516484"/>
            </a:xfrm>
            <a:custGeom>
              <a:avLst/>
              <a:gdLst>
                <a:gd name="T0" fmla="*/ 471197 w 21600"/>
                <a:gd name="T1" fmla="*/ 853825 h 21600"/>
                <a:gd name="T2" fmla="*/ 931918 w 21600"/>
                <a:gd name="T3" fmla="*/ 1139154 h 21600"/>
                <a:gd name="T4" fmla="*/ 597668 w 21600"/>
                <a:gd name="T5" fmla="*/ 745517 h 21600"/>
                <a:gd name="T6" fmla="*/ 931918 w 21600"/>
                <a:gd name="T7" fmla="*/ 379484 h 21600"/>
                <a:gd name="T8" fmla="*/ 476140 w 21600"/>
                <a:gd name="T9" fmla="*/ 2809 h 21600"/>
                <a:gd name="T10" fmla="*/ 31380 w 21600"/>
                <a:gd name="T11" fmla="*/ 367438 h 21600"/>
                <a:gd name="T12" fmla="*/ 365675 w 21600"/>
                <a:gd name="T13" fmla="*/ 730662 h 21600"/>
                <a:gd name="T14" fmla="*/ 31380 w 21600"/>
                <a:gd name="T15" fmla="*/ 1139154 h 21600"/>
                <a:gd name="T16" fmla="*/ 0 60000 65536"/>
                <a:gd name="T17" fmla="*/ 0 60000 65536"/>
                <a:gd name="T18" fmla="*/ 0 60000 65536"/>
                <a:gd name="T19" fmla="*/ 0 60000 65536"/>
                <a:gd name="T20" fmla="*/ 0 60000 65536"/>
                <a:gd name="T21" fmla="*/ 0 60000 65536"/>
                <a:gd name="T22" fmla="*/ 0 60000 65536"/>
                <a:gd name="T23" fmla="*/ 0 60000 65536"/>
                <a:gd name="T24" fmla="*/ 2273 w 21600"/>
                <a:gd name="T25" fmla="*/ 7719 h 21600"/>
                <a:gd name="T26" fmla="*/ 19149 w 21600"/>
                <a:gd name="T27" fmla="*/ 202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solidFill>
              <a:schemeClr val="accent1"/>
            </a:solidFill>
            <a:ln w="19050">
              <a:solidFill>
                <a:schemeClr val="bg1"/>
              </a:solidFill>
              <a:miter lim="800000"/>
              <a:headEnd/>
              <a:tailEnd/>
            </a:ln>
          </p:spPr>
          <p:txBody>
            <a:bodyPr/>
            <a:lstStyle/>
            <a:p>
              <a:endParaRPr lang="en-US"/>
            </a:p>
          </p:txBody>
        </p:sp>
        <p:sp>
          <p:nvSpPr>
            <p:cNvPr id="37" name="Puzzle1">
              <a:extLst>
                <a:ext uri="{FF2B5EF4-FFF2-40B4-BE49-F238E27FC236}">
                  <a16:creationId xmlns:a16="http://schemas.microsoft.com/office/drawing/2014/main" id="{F3758C7A-4674-469C-B651-7DA9A58F89E6}"/>
                </a:ext>
              </a:extLst>
            </p:cNvPr>
            <p:cNvSpPr>
              <a:spLocks noEditPoints="1" noChangeArrowheads="1"/>
            </p:cNvSpPr>
            <p:nvPr/>
          </p:nvSpPr>
          <p:spPr bwMode="auto">
            <a:xfrm>
              <a:off x="5671396" y="3756206"/>
              <a:ext cx="1938824" cy="1056498"/>
            </a:xfrm>
            <a:custGeom>
              <a:avLst/>
              <a:gdLst>
                <a:gd name="T0" fmla="*/ 1230313 w 21600"/>
                <a:gd name="T1" fmla="*/ 779216 h 21600"/>
                <a:gd name="T2" fmla="*/ 1247658 w 21600"/>
                <a:gd name="T3" fmla="*/ 19260 h 21600"/>
                <a:gd name="T4" fmla="*/ 347266 w 21600"/>
                <a:gd name="T5" fmla="*/ 31645 h 21600"/>
                <a:gd name="T6" fmla="*/ 370417 w 21600"/>
                <a:gd name="T7" fmla="*/ 776480 h 21600"/>
                <a:gd name="T8" fmla="*/ 794558 w 21600"/>
                <a:gd name="T9" fmla="*/ 476335 h 21600"/>
                <a:gd name="T10" fmla="*/ 797057 w 21600"/>
                <a:gd name="T11" fmla="*/ 322141 h 21600"/>
                <a:gd name="T12" fmla="*/ 1587500 w 21600"/>
                <a:gd name="T13" fmla="*/ 369682 h 21600"/>
                <a:gd name="T14" fmla="*/ 4116 w 21600"/>
                <a:gd name="T15" fmla="*/ 369682 h 21600"/>
                <a:gd name="T16" fmla="*/ 0 60000 65536"/>
                <a:gd name="T17" fmla="*/ 0 60000 65536"/>
                <a:gd name="T18" fmla="*/ 0 60000 65536"/>
                <a:gd name="T19" fmla="*/ 0 60000 65536"/>
                <a:gd name="T20" fmla="*/ 0 60000 65536"/>
                <a:gd name="T21" fmla="*/ 0 60000 65536"/>
                <a:gd name="T22" fmla="*/ 0 60000 65536"/>
                <a:gd name="T23" fmla="*/ 0 60000 65536"/>
                <a:gd name="T24" fmla="*/ 6086 w 21600"/>
                <a:gd name="T25" fmla="*/ 2569 h 21600"/>
                <a:gd name="T26" fmla="*/ 16132 w 21600"/>
                <a:gd name="T27" fmla="*/ 19552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9360" y="20836"/>
                  </a:moveTo>
                  <a:lnTo>
                    <a:pt x="9528" y="20836"/>
                  </a:lnTo>
                  <a:lnTo>
                    <a:pt x="9686" y="20762"/>
                  </a:lnTo>
                  <a:lnTo>
                    <a:pt x="9810" y="20687"/>
                  </a:lnTo>
                  <a:lnTo>
                    <a:pt x="9922" y="20575"/>
                  </a:lnTo>
                  <a:lnTo>
                    <a:pt x="10012" y="20426"/>
                  </a:lnTo>
                  <a:lnTo>
                    <a:pt x="10068" y="20296"/>
                  </a:lnTo>
                  <a:lnTo>
                    <a:pt x="10113" y="20110"/>
                  </a:lnTo>
                  <a:lnTo>
                    <a:pt x="10136" y="19905"/>
                  </a:lnTo>
                  <a:lnTo>
                    <a:pt x="10136" y="19682"/>
                  </a:lnTo>
                  <a:lnTo>
                    <a:pt x="10113" y="19440"/>
                  </a:lnTo>
                  <a:lnTo>
                    <a:pt x="10068" y="19142"/>
                  </a:lnTo>
                  <a:lnTo>
                    <a:pt x="10012" y="18900"/>
                  </a:lnTo>
                  <a:lnTo>
                    <a:pt x="9900" y="18620"/>
                  </a:lnTo>
                  <a:lnTo>
                    <a:pt x="9787" y="18285"/>
                  </a:lnTo>
                  <a:lnTo>
                    <a:pt x="9641" y="17968"/>
                  </a:lnTo>
                  <a:lnTo>
                    <a:pt x="9472" y="17652"/>
                  </a:lnTo>
                  <a:lnTo>
                    <a:pt x="9382" y="17466"/>
                  </a:lnTo>
                  <a:lnTo>
                    <a:pt x="9315" y="17298"/>
                  </a:lnTo>
                  <a:lnTo>
                    <a:pt x="9258" y="17112"/>
                  </a:lnTo>
                  <a:lnTo>
                    <a:pt x="9191" y="16926"/>
                  </a:lnTo>
                  <a:lnTo>
                    <a:pt x="9123" y="16535"/>
                  </a:lnTo>
                  <a:lnTo>
                    <a:pt x="9101" y="16144"/>
                  </a:lnTo>
                  <a:lnTo>
                    <a:pt x="9101" y="15753"/>
                  </a:lnTo>
                  <a:lnTo>
                    <a:pt x="9168" y="15362"/>
                  </a:lnTo>
                  <a:lnTo>
                    <a:pt x="9236" y="14971"/>
                  </a:lnTo>
                  <a:lnTo>
                    <a:pt x="9360" y="14580"/>
                  </a:lnTo>
                  <a:lnTo>
                    <a:pt x="9495" y="14244"/>
                  </a:lnTo>
                  <a:lnTo>
                    <a:pt x="9663" y="13891"/>
                  </a:lnTo>
                  <a:lnTo>
                    <a:pt x="9855" y="13611"/>
                  </a:lnTo>
                  <a:lnTo>
                    <a:pt x="10068" y="13351"/>
                  </a:lnTo>
                  <a:lnTo>
                    <a:pt x="10293" y="13146"/>
                  </a:lnTo>
                  <a:lnTo>
                    <a:pt x="10552" y="12997"/>
                  </a:lnTo>
                  <a:lnTo>
                    <a:pt x="10811" y="12885"/>
                  </a:lnTo>
                  <a:lnTo>
                    <a:pt x="11069" y="12866"/>
                  </a:lnTo>
                  <a:lnTo>
                    <a:pt x="11351" y="12885"/>
                  </a:lnTo>
                  <a:lnTo>
                    <a:pt x="11610" y="12997"/>
                  </a:lnTo>
                  <a:lnTo>
                    <a:pt x="11846" y="13183"/>
                  </a:lnTo>
                  <a:lnTo>
                    <a:pt x="12060" y="13388"/>
                  </a:lnTo>
                  <a:lnTo>
                    <a:pt x="12251" y="13648"/>
                  </a:lnTo>
                  <a:lnTo>
                    <a:pt x="12419" y="13928"/>
                  </a:lnTo>
                  <a:lnTo>
                    <a:pt x="12555" y="14244"/>
                  </a:lnTo>
                  <a:lnTo>
                    <a:pt x="12690" y="14617"/>
                  </a:lnTo>
                  <a:lnTo>
                    <a:pt x="12768" y="15008"/>
                  </a:lnTo>
                  <a:lnTo>
                    <a:pt x="12836" y="15399"/>
                  </a:lnTo>
                  <a:lnTo>
                    <a:pt x="12858" y="15753"/>
                  </a:lnTo>
                  <a:lnTo>
                    <a:pt x="12858" y="16144"/>
                  </a:lnTo>
                  <a:lnTo>
                    <a:pt x="12813" y="16535"/>
                  </a:lnTo>
                  <a:lnTo>
                    <a:pt x="12746" y="16888"/>
                  </a:lnTo>
                  <a:lnTo>
                    <a:pt x="12667" y="17224"/>
                  </a:lnTo>
                  <a:lnTo>
                    <a:pt x="12510" y="17503"/>
                  </a:lnTo>
                  <a:lnTo>
                    <a:pt x="12228" y="18043"/>
                  </a:lnTo>
                  <a:lnTo>
                    <a:pt x="11970" y="18546"/>
                  </a:lnTo>
                  <a:lnTo>
                    <a:pt x="11868" y="18751"/>
                  </a:lnTo>
                  <a:lnTo>
                    <a:pt x="11778" y="18974"/>
                  </a:lnTo>
                  <a:lnTo>
                    <a:pt x="11711" y="19179"/>
                  </a:lnTo>
                  <a:lnTo>
                    <a:pt x="11666" y="19365"/>
                  </a:lnTo>
                  <a:lnTo>
                    <a:pt x="11632" y="19570"/>
                  </a:lnTo>
                  <a:lnTo>
                    <a:pt x="11632" y="19756"/>
                  </a:lnTo>
                  <a:lnTo>
                    <a:pt x="11632" y="19942"/>
                  </a:lnTo>
                  <a:lnTo>
                    <a:pt x="11643" y="20110"/>
                  </a:lnTo>
                  <a:lnTo>
                    <a:pt x="11711" y="20296"/>
                  </a:lnTo>
                  <a:lnTo>
                    <a:pt x="11801" y="20464"/>
                  </a:lnTo>
                  <a:lnTo>
                    <a:pt x="11891" y="20650"/>
                  </a:lnTo>
                  <a:lnTo>
                    <a:pt x="12037" y="20836"/>
                  </a:lnTo>
                  <a:lnTo>
                    <a:pt x="12206" y="21004"/>
                  </a:lnTo>
                  <a:lnTo>
                    <a:pt x="12419" y="21190"/>
                  </a:lnTo>
                  <a:lnTo>
                    <a:pt x="12667" y="21320"/>
                  </a:lnTo>
                  <a:lnTo>
                    <a:pt x="12960" y="21432"/>
                  </a:lnTo>
                  <a:lnTo>
                    <a:pt x="13286" y="21544"/>
                  </a:lnTo>
                  <a:lnTo>
                    <a:pt x="13612" y="21655"/>
                  </a:lnTo>
                  <a:lnTo>
                    <a:pt x="13983" y="21693"/>
                  </a:lnTo>
                  <a:lnTo>
                    <a:pt x="14343" y="21730"/>
                  </a:lnTo>
                  <a:lnTo>
                    <a:pt x="14715" y="21730"/>
                  </a:lnTo>
                  <a:lnTo>
                    <a:pt x="15075" y="21730"/>
                  </a:lnTo>
                  <a:lnTo>
                    <a:pt x="15446" y="21655"/>
                  </a:lnTo>
                  <a:lnTo>
                    <a:pt x="15794" y="21581"/>
                  </a:lnTo>
                  <a:lnTo>
                    <a:pt x="16132" y="21432"/>
                  </a:lnTo>
                  <a:lnTo>
                    <a:pt x="16458" y="21302"/>
                  </a:lnTo>
                  <a:lnTo>
                    <a:pt x="16740" y="21078"/>
                  </a:lnTo>
                  <a:lnTo>
                    <a:pt x="16976" y="20836"/>
                  </a:lnTo>
                  <a:lnTo>
                    <a:pt x="17043" y="20650"/>
                  </a:lnTo>
                  <a:lnTo>
                    <a:pt x="17088" y="20426"/>
                  </a:lnTo>
                  <a:lnTo>
                    <a:pt x="17133" y="20222"/>
                  </a:lnTo>
                  <a:lnTo>
                    <a:pt x="17156" y="19980"/>
                  </a:lnTo>
                  <a:lnTo>
                    <a:pt x="17167" y="19477"/>
                  </a:lnTo>
                  <a:lnTo>
                    <a:pt x="17167" y="18974"/>
                  </a:lnTo>
                  <a:lnTo>
                    <a:pt x="17156" y="18397"/>
                  </a:lnTo>
                  <a:lnTo>
                    <a:pt x="17111" y="17820"/>
                  </a:lnTo>
                  <a:lnTo>
                    <a:pt x="17066" y="17261"/>
                  </a:lnTo>
                  <a:lnTo>
                    <a:pt x="16998" y="16646"/>
                  </a:lnTo>
                  <a:lnTo>
                    <a:pt x="16852" y="15511"/>
                  </a:lnTo>
                  <a:lnTo>
                    <a:pt x="16740" y="14393"/>
                  </a:lnTo>
                  <a:lnTo>
                    <a:pt x="16717" y="13928"/>
                  </a:lnTo>
                  <a:lnTo>
                    <a:pt x="16695" y="13462"/>
                  </a:lnTo>
                  <a:lnTo>
                    <a:pt x="16717" y="13071"/>
                  </a:lnTo>
                  <a:lnTo>
                    <a:pt x="16785" y="12755"/>
                  </a:lnTo>
                  <a:lnTo>
                    <a:pt x="16852" y="12419"/>
                  </a:lnTo>
                  <a:lnTo>
                    <a:pt x="16953" y="12140"/>
                  </a:lnTo>
                  <a:lnTo>
                    <a:pt x="17088" y="11898"/>
                  </a:lnTo>
                  <a:lnTo>
                    <a:pt x="17212" y="11675"/>
                  </a:lnTo>
                  <a:lnTo>
                    <a:pt x="17370" y="11470"/>
                  </a:lnTo>
                  <a:lnTo>
                    <a:pt x="17516" y="11284"/>
                  </a:lnTo>
                  <a:lnTo>
                    <a:pt x="17696" y="11135"/>
                  </a:lnTo>
                  <a:lnTo>
                    <a:pt x="17865" y="11042"/>
                  </a:lnTo>
                  <a:lnTo>
                    <a:pt x="18033" y="10930"/>
                  </a:lnTo>
                  <a:lnTo>
                    <a:pt x="18213" y="10893"/>
                  </a:lnTo>
                  <a:lnTo>
                    <a:pt x="18382" y="10893"/>
                  </a:lnTo>
                  <a:lnTo>
                    <a:pt x="18551" y="10967"/>
                  </a:lnTo>
                  <a:lnTo>
                    <a:pt x="18708" y="11042"/>
                  </a:lnTo>
                  <a:lnTo>
                    <a:pt x="18855" y="11172"/>
                  </a:lnTo>
                  <a:lnTo>
                    <a:pt x="19012" y="11358"/>
                  </a:lnTo>
                  <a:lnTo>
                    <a:pt x="19136" y="11600"/>
                  </a:lnTo>
                  <a:lnTo>
                    <a:pt x="19271" y="11861"/>
                  </a:lnTo>
                  <a:lnTo>
                    <a:pt x="19440" y="12028"/>
                  </a:lnTo>
                  <a:lnTo>
                    <a:pt x="19608" y="12177"/>
                  </a:lnTo>
                  <a:lnTo>
                    <a:pt x="19822" y="12289"/>
                  </a:lnTo>
                  <a:lnTo>
                    <a:pt x="20025" y="12289"/>
                  </a:lnTo>
                  <a:lnTo>
                    <a:pt x="20238" y="12289"/>
                  </a:lnTo>
                  <a:lnTo>
                    <a:pt x="20452" y="12215"/>
                  </a:lnTo>
                  <a:lnTo>
                    <a:pt x="20643" y="12103"/>
                  </a:lnTo>
                  <a:lnTo>
                    <a:pt x="20846" y="11973"/>
                  </a:lnTo>
                  <a:lnTo>
                    <a:pt x="21037" y="11786"/>
                  </a:lnTo>
                  <a:lnTo>
                    <a:pt x="21206" y="11563"/>
                  </a:lnTo>
                  <a:lnTo>
                    <a:pt x="21363" y="11321"/>
                  </a:lnTo>
                  <a:lnTo>
                    <a:pt x="21465" y="11079"/>
                  </a:lnTo>
                  <a:lnTo>
                    <a:pt x="21577" y="10744"/>
                  </a:lnTo>
                  <a:lnTo>
                    <a:pt x="21622" y="10427"/>
                  </a:lnTo>
                  <a:lnTo>
                    <a:pt x="21645" y="10111"/>
                  </a:lnTo>
                  <a:lnTo>
                    <a:pt x="21622" y="9608"/>
                  </a:lnTo>
                  <a:lnTo>
                    <a:pt x="21577" y="9142"/>
                  </a:lnTo>
                  <a:lnTo>
                    <a:pt x="21465" y="8751"/>
                  </a:lnTo>
                  <a:lnTo>
                    <a:pt x="21363" y="8397"/>
                  </a:lnTo>
                  <a:lnTo>
                    <a:pt x="21206" y="8062"/>
                  </a:lnTo>
                  <a:lnTo>
                    <a:pt x="21037" y="7820"/>
                  </a:lnTo>
                  <a:lnTo>
                    <a:pt x="20846" y="7597"/>
                  </a:lnTo>
                  <a:lnTo>
                    <a:pt x="20643" y="7429"/>
                  </a:lnTo>
                  <a:lnTo>
                    <a:pt x="20452" y="7317"/>
                  </a:lnTo>
                  <a:lnTo>
                    <a:pt x="20238" y="7206"/>
                  </a:lnTo>
                  <a:lnTo>
                    <a:pt x="20025" y="7168"/>
                  </a:lnTo>
                  <a:lnTo>
                    <a:pt x="19822" y="7206"/>
                  </a:lnTo>
                  <a:lnTo>
                    <a:pt x="19608" y="7243"/>
                  </a:lnTo>
                  <a:lnTo>
                    <a:pt x="19440" y="7355"/>
                  </a:lnTo>
                  <a:lnTo>
                    <a:pt x="19271" y="7504"/>
                  </a:lnTo>
                  <a:lnTo>
                    <a:pt x="19136" y="7708"/>
                  </a:lnTo>
                  <a:lnTo>
                    <a:pt x="19012" y="7895"/>
                  </a:lnTo>
                  <a:lnTo>
                    <a:pt x="18832" y="8025"/>
                  </a:lnTo>
                  <a:lnTo>
                    <a:pt x="18663" y="8174"/>
                  </a:lnTo>
                  <a:lnTo>
                    <a:pt x="18472" y="8248"/>
                  </a:lnTo>
                  <a:lnTo>
                    <a:pt x="18270" y="8286"/>
                  </a:lnTo>
                  <a:lnTo>
                    <a:pt x="18078" y="8323"/>
                  </a:lnTo>
                  <a:lnTo>
                    <a:pt x="17887" y="8323"/>
                  </a:lnTo>
                  <a:lnTo>
                    <a:pt x="17696" y="8248"/>
                  </a:lnTo>
                  <a:lnTo>
                    <a:pt x="17493" y="8174"/>
                  </a:lnTo>
                  <a:lnTo>
                    <a:pt x="17302" y="8062"/>
                  </a:lnTo>
                  <a:lnTo>
                    <a:pt x="17133" y="7969"/>
                  </a:lnTo>
                  <a:lnTo>
                    <a:pt x="16976" y="7783"/>
                  </a:lnTo>
                  <a:lnTo>
                    <a:pt x="16852" y="7597"/>
                  </a:lnTo>
                  <a:lnTo>
                    <a:pt x="16740" y="7429"/>
                  </a:lnTo>
                  <a:lnTo>
                    <a:pt x="16672" y="7168"/>
                  </a:lnTo>
                  <a:lnTo>
                    <a:pt x="16638" y="6926"/>
                  </a:lnTo>
                  <a:lnTo>
                    <a:pt x="16616" y="6498"/>
                  </a:lnTo>
                  <a:lnTo>
                    <a:pt x="16616" y="5772"/>
                  </a:lnTo>
                  <a:lnTo>
                    <a:pt x="16650" y="4915"/>
                  </a:lnTo>
                  <a:lnTo>
                    <a:pt x="16695" y="3928"/>
                  </a:lnTo>
                  <a:lnTo>
                    <a:pt x="16762" y="2960"/>
                  </a:lnTo>
                  <a:lnTo>
                    <a:pt x="16830" y="1992"/>
                  </a:lnTo>
                  <a:lnTo>
                    <a:pt x="16908" y="1173"/>
                  </a:lnTo>
                  <a:lnTo>
                    <a:pt x="16976" y="521"/>
                  </a:lnTo>
                  <a:lnTo>
                    <a:pt x="16953" y="521"/>
                  </a:lnTo>
                  <a:lnTo>
                    <a:pt x="16931" y="521"/>
                  </a:lnTo>
                  <a:lnTo>
                    <a:pt x="16267" y="484"/>
                  </a:lnTo>
                  <a:lnTo>
                    <a:pt x="15637" y="428"/>
                  </a:lnTo>
                  <a:lnTo>
                    <a:pt x="15063" y="353"/>
                  </a:lnTo>
                  <a:lnTo>
                    <a:pt x="14523" y="279"/>
                  </a:lnTo>
                  <a:lnTo>
                    <a:pt x="14040" y="167"/>
                  </a:lnTo>
                  <a:lnTo>
                    <a:pt x="13635" y="93"/>
                  </a:lnTo>
                  <a:lnTo>
                    <a:pt x="13331" y="18"/>
                  </a:lnTo>
                  <a:lnTo>
                    <a:pt x="13117" y="18"/>
                  </a:lnTo>
                  <a:lnTo>
                    <a:pt x="12982" y="18"/>
                  </a:lnTo>
                  <a:lnTo>
                    <a:pt x="12858" y="130"/>
                  </a:lnTo>
                  <a:lnTo>
                    <a:pt x="12723" y="279"/>
                  </a:lnTo>
                  <a:lnTo>
                    <a:pt x="12622" y="446"/>
                  </a:lnTo>
                  <a:lnTo>
                    <a:pt x="12510" y="670"/>
                  </a:lnTo>
                  <a:lnTo>
                    <a:pt x="12419" y="912"/>
                  </a:lnTo>
                  <a:lnTo>
                    <a:pt x="12363" y="1210"/>
                  </a:lnTo>
                  <a:lnTo>
                    <a:pt x="12318" y="1526"/>
                  </a:lnTo>
                  <a:lnTo>
                    <a:pt x="12273" y="1843"/>
                  </a:lnTo>
                  <a:lnTo>
                    <a:pt x="12251" y="2215"/>
                  </a:lnTo>
                  <a:lnTo>
                    <a:pt x="12273" y="2532"/>
                  </a:lnTo>
                  <a:lnTo>
                    <a:pt x="12318" y="2886"/>
                  </a:lnTo>
                  <a:lnTo>
                    <a:pt x="12386" y="3240"/>
                  </a:lnTo>
                  <a:lnTo>
                    <a:pt x="12464" y="3556"/>
                  </a:lnTo>
                  <a:lnTo>
                    <a:pt x="12577" y="3891"/>
                  </a:lnTo>
                  <a:lnTo>
                    <a:pt x="12746" y="4171"/>
                  </a:lnTo>
                  <a:lnTo>
                    <a:pt x="12926" y="4487"/>
                  </a:lnTo>
                  <a:lnTo>
                    <a:pt x="13050" y="4860"/>
                  </a:lnTo>
                  <a:lnTo>
                    <a:pt x="13162" y="5251"/>
                  </a:lnTo>
                  <a:lnTo>
                    <a:pt x="13218" y="5604"/>
                  </a:lnTo>
                  <a:lnTo>
                    <a:pt x="13263" y="5995"/>
                  </a:lnTo>
                  <a:lnTo>
                    <a:pt x="13241" y="6386"/>
                  </a:lnTo>
                  <a:lnTo>
                    <a:pt x="13218" y="6740"/>
                  </a:lnTo>
                  <a:lnTo>
                    <a:pt x="13139" y="7094"/>
                  </a:lnTo>
                  <a:lnTo>
                    <a:pt x="13050" y="7429"/>
                  </a:lnTo>
                  <a:lnTo>
                    <a:pt x="12903" y="7746"/>
                  </a:lnTo>
                  <a:lnTo>
                    <a:pt x="12723" y="8025"/>
                  </a:lnTo>
                  <a:lnTo>
                    <a:pt x="12532" y="8286"/>
                  </a:lnTo>
                  <a:lnTo>
                    <a:pt x="12318" y="8491"/>
                  </a:lnTo>
                  <a:lnTo>
                    <a:pt x="12060" y="8677"/>
                  </a:lnTo>
                  <a:lnTo>
                    <a:pt x="11756" y="8788"/>
                  </a:lnTo>
                  <a:lnTo>
                    <a:pt x="11452" y="8826"/>
                  </a:lnTo>
                  <a:lnTo>
                    <a:pt x="11283" y="8826"/>
                  </a:lnTo>
                  <a:lnTo>
                    <a:pt x="11126" y="8826"/>
                  </a:lnTo>
                  <a:lnTo>
                    <a:pt x="11002" y="8788"/>
                  </a:lnTo>
                  <a:lnTo>
                    <a:pt x="10845" y="8714"/>
                  </a:lnTo>
                  <a:lnTo>
                    <a:pt x="10721" y="8640"/>
                  </a:lnTo>
                  <a:lnTo>
                    <a:pt x="10608" y="8565"/>
                  </a:lnTo>
                  <a:lnTo>
                    <a:pt x="10485" y="8453"/>
                  </a:lnTo>
                  <a:lnTo>
                    <a:pt x="10372" y="8323"/>
                  </a:lnTo>
                  <a:lnTo>
                    <a:pt x="10181" y="8062"/>
                  </a:lnTo>
                  <a:lnTo>
                    <a:pt x="10035" y="7746"/>
                  </a:lnTo>
                  <a:lnTo>
                    <a:pt x="9900" y="7392"/>
                  </a:lnTo>
                  <a:lnTo>
                    <a:pt x="9787" y="7001"/>
                  </a:lnTo>
                  <a:lnTo>
                    <a:pt x="9731" y="6610"/>
                  </a:lnTo>
                  <a:lnTo>
                    <a:pt x="9686" y="6219"/>
                  </a:lnTo>
                  <a:lnTo>
                    <a:pt x="9663" y="5772"/>
                  </a:lnTo>
                  <a:lnTo>
                    <a:pt x="9686" y="5381"/>
                  </a:lnTo>
                  <a:lnTo>
                    <a:pt x="9753" y="4990"/>
                  </a:lnTo>
                  <a:lnTo>
                    <a:pt x="9832" y="4636"/>
                  </a:lnTo>
                  <a:lnTo>
                    <a:pt x="9945" y="4320"/>
                  </a:lnTo>
                  <a:lnTo>
                    <a:pt x="10068" y="4022"/>
                  </a:lnTo>
                  <a:lnTo>
                    <a:pt x="10203" y="3817"/>
                  </a:lnTo>
                  <a:lnTo>
                    <a:pt x="10316" y="3593"/>
                  </a:lnTo>
                  <a:lnTo>
                    <a:pt x="10395" y="3351"/>
                  </a:lnTo>
                  <a:lnTo>
                    <a:pt x="10462" y="3109"/>
                  </a:lnTo>
                  <a:lnTo>
                    <a:pt x="10507" y="2848"/>
                  </a:lnTo>
                  <a:lnTo>
                    <a:pt x="10530" y="2606"/>
                  </a:lnTo>
                  <a:lnTo>
                    <a:pt x="10507" y="2346"/>
                  </a:lnTo>
                  <a:lnTo>
                    <a:pt x="10462" y="2141"/>
                  </a:lnTo>
                  <a:lnTo>
                    <a:pt x="10395" y="1880"/>
                  </a:lnTo>
                  <a:lnTo>
                    <a:pt x="10293" y="1638"/>
                  </a:lnTo>
                  <a:lnTo>
                    <a:pt x="10158" y="1415"/>
                  </a:lnTo>
                  <a:lnTo>
                    <a:pt x="9967" y="1210"/>
                  </a:lnTo>
                  <a:lnTo>
                    <a:pt x="9753" y="986"/>
                  </a:lnTo>
                  <a:lnTo>
                    <a:pt x="9495" y="819"/>
                  </a:lnTo>
                  <a:lnTo>
                    <a:pt x="9191" y="670"/>
                  </a:lnTo>
                  <a:lnTo>
                    <a:pt x="8842" y="521"/>
                  </a:lnTo>
                  <a:lnTo>
                    <a:pt x="8471" y="446"/>
                  </a:lnTo>
                  <a:lnTo>
                    <a:pt x="7998" y="428"/>
                  </a:lnTo>
                  <a:lnTo>
                    <a:pt x="7413" y="428"/>
                  </a:lnTo>
                  <a:lnTo>
                    <a:pt x="6817" y="446"/>
                  </a:lnTo>
                  <a:lnTo>
                    <a:pt x="6187" y="521"/>
                  </a:lnTo>
                  <a:lnTo>
                    <a:pt x="5602" y="633"/>
                  </a:lnTo>
                  <a:lnTo>
                    <a:pt x="5107" y="744"/>
                  </a:lnTo>
                  <a:lnTo>
                    <a:pt x="4725" y="856"/>
                  </a:lnTo>
                  <a:lnTo>
                    <a:pt x="4848" y="1564"/>
                  </a:lnTo>
                  <a:lnTo>
                    <a:pt x="5028" y="2495"/>
                  </a:lnTo>
                  <a:lnTo>
                    <a:pt x="5175" y="3556"/>
                  </a:lnTo>
                  <a:lnTo>
                    <a:pt x="5298" y="4673"/>
                  </a:lnTo>
                  <a:lnTo>
                    <a:pt x="5343" y="5213"/>
                  </a:lnTo>
                  <a:lnTo>
                    <a:pt x="5388" y="5753"/>
                  </a:lnTo>
                  <a:lnTo>
                    <a:pt x="5411" y="6275"/>
                  </a:lnTo>
                  <a:lnTo>
                    <a:pt x="5411" y="6740"/>
                  </a:lnTo>
                  <a:lnTo>
                    <a:pt x="5366" y="7168"/>
                  </a:lnTo>
                  <a:lnTo>
                    <a:pt x="5321" y="7541"/>
                  </a:lnTo>
                  <a:lnTo>
                    <a:pt x="5287" y="7708"/>
                  </a:lnTo>
                  <a:lnTo>
                    <a:pt x="5242" y="7857"/>
                  </a:lnTo>
                  <a:lnTo>
                    <a:pt x="5197" y="7969"/>
                  </a:lnTo>
                  <a:lnTo>
                    <a:pt x="5130" y="8062"/>
                  </a:lnTo>
                  <a:lnTo>
                    <a:pt x="5006" y="8248"/>
                  </a:lnTo>
                  <a:lnTo>
                    <a:pt x="4848" y="8397"/>
                  </a:lnTo>
                  <a:lnTo>
                    <a:pt x="4725" y="8528"/>
                  </a:lnTo>
                  <a:lnTo>
                    <a:pt x="4567" y="8640"/>
                  </a:lnTo>
                  <a:lnTo>
                    <a:pt x="4421" y="8714"/>
                  </a:lnTo>
                  <a:lnTo>
                    <a:pt x="4263" y="8751"/>
                  </a:lnTo>
                  <a:lnTo>
                    <a:pt x="4095" y="8788"/>
                  </a:lnTo>
                  <a:lnTo>
                    <a:pt x="3948" y="8788"/>
                  </a:lnTo>
                  <a:lnTo>
                    <a:pt x="3791" y="8751"/>
                  </a:lnTo>
                  <a:lnTo>
                    <a:pt x="3667" y="8714"/>
                  </a:lnTo>
                  <a:lnTo>
                    <a:pt x="3510" y="8677"/>
                  </a:lnTo>
                  <a:lnTo>
                    <a:pt x="3386" y="8602"/>
                  </a:lnTo>
                  <a:lnTo>
                    <a:pt x="3251" y="8491"/>
                  </a:lnTo>
                  <a:lnTo>
                    <a:pt x="3127" y="8360"/>
                  </a:lnTo>
                  <a:lnTo>
                    <a:pt x="3015" y="8248"/>
                  </a:lnTo>
                  <a:lnTo>
                    <a:pt x="2925" y="8062"/>
                  </a:lnTo>
                  <a:lnTo>
                    <a:pt x="2778" y="7857"/>
                  </a:lnTo>
                  <a:lnTo>
                    <a:pt x="2610" y="7671"/>
                  </a:lnTo>
                  <a:lnTo>
                    <a:pt x="2407" y="7541"/>
                  </a:lnTo>
                  <a:lnTo>
                    <a:pt x="2171" y="7466"/>
                  </a:lnTo>
                  <a:lnTo>
                    <a:pt x="1957" y="7429"/>
                  </a:lnTo>
                  <a:lnTo>
                    <a:pt x="1698" y="7429"/>
                  </a:lnTo>
                  <a:lnTo>
                    <a:pt x="1462" y="7466"/>
                  </a:lnTo>
                  <a:lnTo>
                    <a:pt x="1226" y="7559"/>
                  </a:lnTo>
                  <a:lnTo>
                    <a:pt x="989" y="7708"/>
                  </a:lnTo>
                  <a:lnTo>
                    <a:pt x="776" y="7932"/>
                  </a:lnTo>
                  <a:lnTo>
                    <a:pt x="551" y="8211"/>
                  </a:lnTo>
                  <a:lnTo>
                    <a:pt x="382" y="8528"/>
                  </a:lnTo>
                  <a:lnTo>
                    <a:pt x="315" y="8714"/>
                  </a:lnTo>
                  <a:lnTo>
                    <a:pt x="236" y="8919"/>
                  </a:lnTo>
                  <a:lnTo>
                    <a:pt x="191" y="9142"/>
                  </a:lnTo>
                  <a:lnTo>
                    <a:pt x="123" y="9347"/>
                  </a:lnTo>
                  <a:lnTo>
                    <a:pt x="78" y="9608"/>
                  </a:lnTo>
                  <a:lnTo>
                    <a:pt x="56" y="9887"/>
                  </a:lnTo>
                  <a:lnTo>
                    <a:pt x="33" y="10185"/>
                  </a:lnTo>
                  <a:lnTo>
                    <a:pt x="33" y="10464"/>
                  </a:lnTo>
                  <a:lnTo>
                    <a:pt x="33" y="10706"/>
                  </a:lnTo>
                  <a:lnTo>
                    <a:pt x="56" y="10967"/>
                  </a:lnTo>
                  <a:lnTo>
                    <a:pt x="78" y="11172"/>
                  </a:lnTo>
                  <a:lnTo>
                    <a:pt x="123" y="11395"/>
                  </a:lnTo>
                  <a:lnTo>
                    <a:pt x="168" y="11600"/>
                  </a:lnTo>
                  <a:lnTo>
                    <a:pt x="236" y="11786"/>
                  </a:lnTo>
                  <a:lnTo>
                    <a:pt x="292" y="11973"/>
                  </a:lnTo>
                  <a:lnTo>
                    <a:pt x="382" y="12140"/>
                  </a:lnTo>
                  <a:lnTo>
                    <a:pt x="540" y="12419"/>
                  </a:lnTo>
                  <a:lnTo>
                    <a:pt x="731" y="12680"/>
                  </a:lnTo>
                  <a:lnTo>
                    <a:pt x="944" y="12866"/>
                  </a:lnTo>
                  <a:lnTo>
                    <a:pt x="1158" y="12997"/>
                  </a:lnTo>
                  <a:lnTo>
                    <a:pt x="1395" y="13108"/>
                  </a:lnTo>
                  <a:lnTo>
                    <a:pt x="1608" y="13183"/>
                  </a:lnTo>
                  <a:lnTo>
                    <a:pt x="1856" y="13183"/>
                  </a:lnTo>
                  <a:lnTo>
                    <a:pt x="2070" y="13146"/>
                  </a:lnTo>
                  <a:lnTo>
                    <a:pt x="2261" y="13071"/>
                  </a:lnTo>
                  <a:lnTo>
                    <a:pt x="2430" y="12960"/>
                  </a:lnTo>
                  <a:lnTo>
                    <a:pt x="2587" y="12792"/>
                  </a:lnTo>
                  <a:lnTo>
                    <a:pt x="2688" y="12606"/>
                  </a:lnTo>
                  <a:lnTo>
                    <a:pt x="2801" y="12419"/>
                  </a:lnTo>
                  <a:lnTo>
                    <a:pt x="2925" y="12289"/>
                  </a:lnTo>
                  <a:lnTo>
                    <a:pt x="3082" y="12177"/>
                  </a:lnTo>
                  <a:lnTo>
                    <a:pt x="3228" y="12103"/>
                  </a:lnTo>
                  <a:lnTo>
                    <a:pt x="3408" y="12103"/>
                  </a:lnTo>
                  <a:lnTo>
                    <a:pt x="3577" y="12103"/>
                  </a:lnTo>
                  <a:lnTo>
                    <a:pt x="3723" y="12177"/>
                  </a:lnTo>
                  <a:lnTo>
                    <a:pt x="3903" y="12252"/>
                  </a:lnTo>
                  <a:lnTo>
                    <a:pt x="4072" y="12364"/>
                  </a:lnTo>
                  <a:lnTo>
                    <a:pt x="4230" y="12494"/>
                  </a:lnTo>
                  <a:lnTo>
                    <a:pt x="4353" y="12643"/>
                  </a:lnTo>
                  <a:lnTo>
                    <a:pt x="4488" y="12829"/>
                  </a:lnTo>
                  <a:lnTo>
                    <a:pt x="4567" y="13034"/>
                  </a:lnTo>
                  <a:lnTo>
                    <a:pt x="4657" y="13257"/>
                  </a:lnTo>
                  <a:lnTo>
                    <a:pt x="4702" y="13462"/>
                  </a:lnTo>
                  <a:lnTo>
                    <a:pt x="4725" y="13686"/>
                  </a:lnTo>
                  <a:lnTo>
                    <a:pt x="4702" y="14282"/>
                  </a:lnTo>
                  <a:lnTo>
                    <a:pt x="4657" y="15045"/>
                  </a:lnTo>
                  <a:lnTo>
                    <a:pt x="4612" y="15976"/>
                  </a:lnTo>
                  <a:lnTo>
                    <a:pt x="4590" y="16926"/>
                  </a:lnTo>
                  <a:lnTo>
                    <a:pt x="4567" y="17968"/>
                  </a:lnTo>
                  <a:lnTo>
                    <a:pt x="4567" y="19011"/>
                  </a:lnTo>
                  <a:lnTo>
                    <a:pt x="4590" y="19514"/>
                  </a:lnTo>
                  <a:lnTo>
                    <a:pt x="4612" y="19980"/>
                  </a:lnTo>
                  <a:lnTo>
                    <a:pt x="4657" y="20426"/>
                  </a:lnTo>
                  <a:lnTo>
                    <a:pt x="4725" y="20836"/>
                  </a:lnTo>
                  <a:lnTo>
                    <a:pt x="4848" y="20929"/>
                  </a:lnTo>
                  <a:lnTo>
                    <a:pt x="5040" y="21004"/>
                  </a:lnTo>
                  <a:lnTo>
                    <a:pt x="5265" y="21078"/>
                  </a:lnTo>
                  <a:lnTo>
                    <a:pt x="5478" y="21115"/>
                  </a:lnTo>
                  <a:lnTo>
                    <a:pt x="6041" y="21115"/>
                  </a:lnTo>
                  <a:lnTo>
                    <a:pt x="6637" y="21078"/>
                  </a:lnTo>
                  <a:lnTo>
                    <a:pt x="7312" y="21004"/>
                  </a:lnTo>
                  <a:lnTo>
                    <a:pt x="7998" y="20929"/>
                  </a:lnTo>
                  <a:lnTo>
                    <a:pt x="8696" y="20855"/>
                  </a:lnTo>
                  <a:lnTo>
                    <a:pt x="9360" y="20836"/>
                  </a:lnTo>
                  <a:close/>
                </a:path>
              </a:pathLst>
            </a:custGeom>
            <a:solidFill>
              <a:schemeClr val="tx2">
                <a:lumMod val="40000"/>
                <a:lumOff val="60000"/>
              </a:schemeClr>
            </a:solidFill>
            <a:ln w="19050">
              <a:solidFill>
                <a:schemeClr val="bg1"/>
              </a:solidFill>
              <a:miter lim="800000"/>
              <a:headEnd/>
              <a:tailEnd/>
            </a:ln>
          </p:spPr>
          <p:txBody>
            <a:bodyPr/>
            <a:lstStyle/>
            <a:p>
              <a:endParaRPr lang="en-US"/>
            </a:p>
          </p:txBody>
        </p:sp>
        <p:sp>
          <p:nvSpPr>
            <p:cNvPr id="34" name="Puzzle3">
              <a:extLst>
                <a:ext uri="{FF2B5EF4-FFF2-40B4-BE49-F238E27FC236}">
                  <a16:creationId xmlns:a16="http://schemas.microsoft.com/office/drawing/2014/main" id="{BE51FD06-EDD7-4BAD-9950-11BEE448108D}"/>
                </a:ext>
              </a:extLst>
            </p:cNvPr>
            <p:cNvSpPr>
              <a:spLocks noEditPoints="1" noChangeArrowheads="1"/>
            </p:cNvSpPr>
            <p:nvPr/>
          </p:nvSpPr>
          <p:spPr bwMode="auto">
            <a:xfrm>
              <a:off x="7156537" y="3296219"/>
              <a:ext cx="1198194" cy="1520684"/>
            </a:xfrm>
            <a:custGeom>
              <a:avLst/>
              <a:gdLst>
                <a:gd name="T0" fmla="*/ 471961 w 21600"/>
                <a:gd name="T1" fmla="*/ 841047 h 21600"/>
                <a:gd name="T2" fmla="*/ 933429 w 21600"/>
                <a:gd name="T3" fmla="*/ 1122106 h 21600"/>
                <a:gd name="T4" fmla="*/ 598637 w 21600"/>
                <a:gd name="T5" fmla="*/ 734360 h 21600"/>
                <a:gd name="T6" fmla="*/ 933429 w 21600"/>
                <a:gd name="T7" fmla="*/ 373805 h 21600"/>
                <a:gd name="T8" fmla="*/ 476911 w 21600"/>
                <a:gd name="T9" fmla="*/ 2767 h 21600"/>
                <a:gd name="T10" fmla="*/ 31431 w 21600"/>
                <a:gd name="T11" fmla="*/ 361939 h 21600"/>
                <a:gd name="T12" fmla="*/ 366268 w 21600"/>
                <a:gd name="T13" fmla="*/ 719727 h 21600"/>
                <a:gd name="T14" fmla="*/ 31431 w 21600"/>
                <a:gd name="T15" fmla="*/ 1122106 h 21600"/>
                <a:gd name="T16" fmla="*/ 0 60000 65536"/>
                <a:gd name="T17" fmla="*/ 0 60000 65536"/>
                <a:gd name="T18" fmla="*/ 0 60000 65536"/>
                <a:gd name="T19" fmla="*/ 0 60000 65536"/>
                <a:gd name="T20" fmla="*/ 0 60000 65536"/>
                <a:gd name="T21" fmla="*/ 0 60000 65536"/>
                <a:gd name="T22" fmla="*/ 0 60000 65536"/>
                <a:gd name="T23" fmla="*/ 0 60000 65536"/>
                <a:gd name="T24" fmla="*/ 2273 w 21600"/>
                <a:gd name="T25" fmla="*/ 7719 h 21600"/>
                <a:gd name="T26" fmla="*/ 19149 w 21600"/>
                <a:gd name="T27" fmla="*/ 202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solidFill>
              <a:schemeClr val="accent1"/>
            </a:solidFill>
            <a:ln w="19050">
              <a:solidFill>
                <a:schemeClr val="bg1"/>
              </a:solidFill>
              <a:miter lim="800000"/>
              <a:headEnd/>
              <a:tailEnd/>
            </a:ln>
          </p:spPr>
          <p:txBody>
            <a:bodyPr/>
            <a:lstStyle/>
            <a:p>
              <a:endParaRPr lang="en-US"/>
            </a:p>
          </p:txBody>
        </p:sp>
        <p:sp>
          <p:nvSpPr>
            <p:cNvPr id="25" name="Puzzle4">
              <a:extLst>
                <a:ext uri="{FF2B5EF4-FFF2-40B4-BE49-F238E27FC236}">
                  <a16:creationId xmlns:a16="http://schemas.microsoft.com/office/drawing/2014/main" id="{7357384B-2298-4807-8DF3-63FE0C3D280B}"/>
                </a:ext>
              </a:extLst>
            </p:cNvPr>
            <p:cNvSpPr>
              <a:spLocks noEditPoints="1" noChangeArrowheads="1"/>
            </p:cNvSpPr>
            <p:nvPr/>
          </p:nvSpPr>
          <p:spPr bwMode="auto">
            <a:xfrm>
              <a:off x="3874109" y="4386322"/>
              <a:ext cx="1149723" cy="1797936"/>
            </a:xfrm>
            <a:custGeom>
              <a:avLst/>
              <a:gdLst>
                <a:gd name="T0" fmla="*/ 362042 w 21600"/>
                <a:gd name="T1" fmla="*/ 729339 h 21600"/>
                <a:gd name="T2" fmla="*/ 19743 w 21600"/>
                <a:gd name="T3" fmla="*/ 1065604 h 21600"/>
                <a:gd name="T4" fmla="*/ 501201 w 21600"/>
                <a:gd name="T5" fmla="*/ 1358900 h 21600"/>
                <a:gd name="T6" fmla="*/ 911751 w 21600"/>
                <a:gd name="T7" fmla="*/ 1053840 h 21600"/>
                <a:gd name="T8" fmla="*/ 608938 w 21600"/>
                <a:gd name="T9" fmla="*/ 684986 h 21600"/>
                <a:gd name="T10" fmla="*/ 916676 w 21600"/>
                <a:gd name="T11" fmla="*/ 296693 h 21600"/>
                <a:gd name="T12" fmla="*/ 483855 w 21600"/>
                <a:gd name="T13" fmla="*/ 692 h 21600"/>
                <a:gd name="T14" fmla="*/ 19743 w 21600"/>
                <a:gd name="T15" fmla="*/ 296693 h 21600"/>
                <a:gd name="T16" fmla="*/ 0 60000 65536"/>
                <a:gd name="T17" fmla="*/ 0 60000 65536"/>
                <a:gd name="T18" fmla="*/ 0 60000 65536"/>
                <a:gd name="T19" fmla="*/ 0 60000 65536"/>
                <a:gd name="T20" fmla="*/ 0 60000 65536"/>
                <a:gd name="T21" fmla="*/ 0 60000 65536"/>
                <a:gd name="T22" fmla="*/ 0 60000 65536"/>
                <a:gd name="T23" fmla="*/ 0 60000 65536"/>
                <a:gd name="T24" fmla="*/ 2076 w 21600"/>
                <a:gd name="T25" fmla="*/ 5664 h 21600"/>
                <a:gd name="T26" fmla="*/ 20203 w 21600"/>
                <a:gd name="T27" fmla="*/ 1598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3813" y="10590"/>
                  </a:moveTo>
                  <a:lnTo>
                    <a:pt x="3927" y="10513"/>
                  </a:lnTo>
                  <a:lnTo>
                    <a:pt x="4078" y="10425"/>
                  </a:lnTo>
                  <a:lnTo>
                    <a:pt x="4210" y="10359"/>
                  </a:lnTo>
                  <a:lnTo>
                    <a:pt x="4361" y="10315"/>
                  </a:lnTo>
                  <a:lnTo>
                    <a:pt x="4682" y="10237"/>
                  </a:lnTo>
                  <a:lnTo>
                    <a:pt x="5041" y="10193"/>
                  </a:lnTo>
                  <a:lnTo>
                    <a:pt x="5456" y="10171"/>
                  </a:lnTo>
                  <a:lnTo>
                    <a:pt x="5853" y="10193"/>
                  </a:lnTo>
                  <a:lnTo>
                    <a:pt x="6249" y="10260"/>
                  </a:lnTo>
                  <a:lnTo>
                    <a:pt x="6646" y="10337"/>
                  </a:lnTo>
                  <a:lnTo>
                    <a:pt x="7004" y="10469"/>
                  </a:lnTo>
                  <a:lnTo>
                    <a:pt x="7363" y="10612"/>
                  </a:lnTo>
                  <a:lnTo>
                    <a:pt x="7665" y="10788"/>
                  </a:lnTo>
                  <a:lnTo>
                    <a:pt x="7911" y="10998"/>
                  </a:lnTo>
                  <a:lnTo>
                    <a:pt x="8024" y="11097"/>
                  </a:lnTo>
                  <a:lnTo>
                    <a:pt x="8137" y="11207"/>
                  </a:lnTo>
                  <a:lnTo>
                    <a:pt x="8194" y="11340"/>
                  </a:lnTo>
                  <a:lnTo>
                    <a:pt x="8269" y="11461"/>
                  </a:lnTo>
                  <a:lnTo>
                    <a:pt x="8307" y="11593"/>
                  </a:lnTo>
                  <a:lnTo>
                    <a:pt x="8307" y="11714"/>
                  </a:lnTo>
                  <a:lnTo>
                    <a:pt x="8307" y="11868"/>
                  </a:lnTo>
                  <a:lnTo>
                    <a:pt x="8307" y="12012"/>
                  </a:lnTo>
                  <a:lnTo>
                    <a:pt x="8194" y="12265"/>
                  </a:lnTo>
                  <a:lnTo>
                    <a:pt x="8062" y="12519"/>
                  </a:lnTo>
                  <a:lnTo>
                    <a:pt x="7873" y="12706"/>
                  </a:lnTo>
                  <a:lnTo>
                    <a:pt x="7627" y="12904"/>
                  </a:lnTo>
                  <a:lnTo>
                    <a:pt x="7363" y="13048"/>
                  </a:lnTo>
                  <a:lnTo>
                    <a:pt x="7080" y="13180"/>
                  </a:lnTo>
                  <a:lnTo>
                    <a:pt x="6759" y="13257"/>
                  </a:lnTo>
                  <a:lnTo>
                    <a:pt x="6419" y="13345"/>
                  </a:lnTo>
                  <a:lnTo>
                    <a:pt x="6098" y="13389"/>
                  </a:lnTo>
                  <a:lnTo>
                    <a:pt x="5739" y="13389"/>
                  </a:lnTo>
                  <a:lnTo>
                    <a:pt x="5418" y="13389"/>
                  </a:lnTo>
                  <a:lnTo>
                    <a:pt x="5079" y="13345"/>
                  </a:lnTo>
                  <a:lnTo>
                    <a:pt x="4758" y="13301"/>
                  </a:lnTo>
                  <a:lnTo>
                    <a:pt x="4474" y="13213"/>
                  </a:lnTo>
                  <a:lnTo>
                    <a:pt x="4172" y="13114"/>
                  </a:lnTo>
                  <a:lnTo>
                    <a:pt x="3965" y="12982"/>
                  </a:lnTo>
                  <a:lnTo>
                    <a:pt x="3738" y="12838"/>
                  </a:lnTo>
                  <a:lnTo>
                    <a:pt x="3493" y="12706"/>
                  </a:lnTo>
                  <a:lnTo>
                    <a:pt x="3228" y="12607"/>
                  </a:lnTo>
                  <a:lnTo>
                    <a:pt x="2945" y="12519"/>
                  </a:lnTo>
                  <a:lnTo>
                    <a:pt x="2700" y="12431"/>
                  </a:lnTo>
                  <a:lnTo>
                    <a:pt x="2397" y="12375"/>
                  </a:lnTo>
                  <a:lnTo>
                    <a:pt x="2152" y="12331"/>
                  </a:lnTo>
                  <a:lnTo>
                    <a:pt x="1888" y="12309"/>
                  </a:lnTo>
                  <a:lnTo>
                    <a:pt x="1642" y="12309"/>
                  </a:lnTo>
                  <a:lnTo>
                    <a:pt x="1397" y="12331"/>
                  </a:lnTo>
                  <a:lnTo>
                    <a:pt x="1170" y="12397"/>
                  </a:lnTo>
                  <a:lnTo>
                    <a:pt x="962" y="12453"/>
                  </a:lnTo>
                  <a:lnTo>
                    <a:pt x="774" y="12563"/>
                  </a:lnTo>
                  <a:lnTo>
                    <a:pt x="623" y="12684"/>
                  </a:lnTo>
                  <a:lnTo>
                    <a:pt x="528" y="12838"/>
                  </a:lnTo>
                  <a:lnTo>
                    <a:pt x="453" y="13026"/>
                  </a:lnTo>
                  <a:lnTo>
                    <a:pt x="339" y="13477"/>
                  </a:lnTo>
                  <a:lnTo>
                    <a:pt x="226" y="13984"/>
                  </a:lnTo>
                  <a:lnTo>
                    <a:pt x="151" y="14535"/>
                  </a:lnTo>
                  <a:lnTo>
                    <a:pt x="113" y="15075"/>
                  </a:lnTo>
                  <a:lnTo>
                    <a:pt x="113" y="15626"/>
                  </a:lnTo>
                  <a:lnTo>
                    <a:pt x="151" y="16133"/>
                  </a:lnTo>
                  <a:lnTo>
                    <a:pt x="188" y="16376"/>
                  </a:lnTo>
                  <a:lnTo>
                    <a:pt x="264" y="16585"/>
                  </a:lnTo>
                  <a:lnTo>
                    <a:pt x="339" y="16773"/>
                  </a:lnTo>
                  <a:lnTo>
                    <a:pt x="453" y="16938"/>
                  </a:lnTo>
                  <a:lnTo>
                    <a:pt x="1095" y="16883"/>
                  </a:lnTo>
                  <a:lnTo>
                    <a:pt x="1963" y="16795"/>
                  </a:lnTo>
                  <a:lnTo>
                    <a:pt x="2945" y="16751"/>
                  </a:lnTo>
                  <a:lnTo>
                    <a:pt x="3965" y="16706"/>
                  </a:lnTo>
                  <a:lnTo>
                    <a:pt x="5022" y="16684"/>
                  </a:lnTo>
                  <a:lnTo>
                    <a:pt x="5947" y="16684"/>
                  </a:lnTo>
                  <a:lnTo>
                    <a:pt x="6759" y="16706"/>
                  </a:lnTo>
                  <a:lnTo>
                    <a:pt x="7363" y="16751"/>
                  </a:lnTo>
                  <a:lnTo>
                    <a:pt x="7948" y="16839"/>
                  </a:lnTo>
                  <a:lnTo>
                    <a:pt x="8458" y="16916"/>
                  </a:lnTo>
                  <a:lnTo>
                    <a:pt x="8893" y="17026"/>
                  </a:lnTo>
                  <a:lnTo>
                    <a:pt x="9289" y="17158"/>
                  </a:lnTo>
                  <a:lnTo>
                    <a:pt x="9572" y="17280"/>
                  </a:lnTo>
                  <a:lnTo>
                    <a:pt x="9799" y="17412"/>
                  </a:lnTo>
                  <a:lnTo>
                    <a:pt x="9969" y="17555"/>
                  </a:lnTo>
                  <a:lnTo>
                    <a:pt x="10120" y="17687"/>
                  </a:lnTo>
                  <a:lnTo>
                    <a:pt x="10158" y="17831"/>
                  </a:lnTo>
                  <a:lnTo>
                    <a:pt x="10195" y="17974"/>
                  </a:lnTo>
                  <a:lnTo>
                    <a:pt x="10158" y="18128"/>
                  </a:lnTo>
                  <a:lnTo>
                    <a:pt x="10082" y="18271"/>
                  </a:lnTo>
                  <a:lnTo>
                    <a:pt x="9969" y="18426"/>
                  </a:lnTo>
                  <a:lnTo>
                    <a:pt x="9837" y="18569"/>
                  </a:lnTo>
                  <a:lnTo>
                    <a:pt x="9648" y="18701"/>
                  </a:lnTo>
                  <a:lnTo>
                    <a:pt x="9440" y="18822"/>
                  </a:lnTo>
                  <a:lnTo>
                    <a:pt x="9213" y="18999"/>
                  </a:lnTo>
                  <a:lnTo>
                    <a:pt x="9044" y="19186"/>
                  </a:lnTo>
                  <a:lnTo>
                    <a:pt x="8893" y="19395"/>
                  </a:lnTo>
                  <a:lnTo>
                    <a:pt x="8817" y="19627"/>
                  </a:lnTo>
                  <a:lnTo>
                    <a:pt x="8779" y="19858"/>
                  </a:lnTo>
                  <a:lnTo>
                    <a:pt x="8779" y="20112"/>
                  </a:lnTo>
                  <a:lnTo>
                    <a:pt x="8855" y="20354"/>
                  </a:lnTo>
                  <a:lnTo>
                    <a:pt x="8968" y="20586"/>
                  </a:lnTo>
                  <a:lnTo>
                    <a:pt x="9138" y="20817"/>
                  </a:lnTo>
                  <a:lnTo>
                    <a:pt x="9365" y="21026"/>
                  </a:lnTo>
                  <a:lnTo>
                    <a:pt x="9610" y="21192"/>
                  </a:lnTo>
                  <a:lnTo>
                    <a:pt x="9950" y="21368"/>
                  </a:lnTo>
                  <a:lnTo>
                    <a:pt x="10120" y="21445"/>
                  </a:lnTo>
                  <a:lnTo>
                    <a:pt x="10346" y="21511"/>
                  </a:lnTo>
                  <a:lnTo>
                    <a:pt x="10516" y="21555"/>
                  </a:lnTo>
                  <a:lnTo>
                    <a:pt x="10743" y="21600"/>
                  </a:lnTo>
                  <a:lnTo>
                    <a:pt x="10988" y="21644"/>
                  </a:lnTo>
                  <a:lnTo>
                    <a:pt x="11215" y="21666"/>
                  </a:lnTo>
                  <a:lnTo>
                    <a:pt x="11498" y="21666"/>
                  </a:lnTo>
                  <a:lnTo>
                    <a:pt x="11762" y="21666"/>
                  </a:lnTo>
                  <a:lnTo>
                    <a:pt x="12253" y="21644"/>
                  </a:lnTo>
                  <a:lnTo>
                    <a:pt x="12763" y="21577"/>
                  </a:lnTo>
                  <a:lnTo>
                    <a:pt x="13197" y="21467"/>
                  </a:lnTo>
                  <a:lnTo>
                    <a:pt x="13556" y="21346"/>
                  </a:lnTo>
                  <a:lnTo>
                    <a:pt x="13896" y="21192"/>
                  </a:lnTo>
                  <a:lnTo>
                    <a:pt x="14179" y="21026"/>
                  </a:lnTo>
                  <a:lnTo>
                    <a:pt x="14444" y="20839"/>
                  </a:lnTo>
                  <a:lnTo>
                    <a:pt x="14576" y="20641"/>
                  </a:lnTo>
                  <a:lnTo>
                    <a:pt x="14727" y="20431"/>
                  </a:lnTo>
                  <a:lnTo>
                    <a:pt x="14765" y="20200"/>
                  </a:lnTo>
                  <a:lnTo>
                    <a:pt x="14802" y="19991"/>
                  </a:lnTo>
                  <a:lnTo>
                    <a:pt x="14727" y="19759"/>
                  </a:lnTo>
                  <a:lnTo>
                    <a:pt x="14613" y="19550"/>
                  </a:lnTo>
                  <a:lnTo>
                    <a:pt x="14444" y="19307"/>
                  </a:lnTo>
                  <a:lnTo>
                    <a:pt x="14217" y="19098"/>
                  </a:lnTo>
                  <a:lnTo>
                    <a:pt x="13934" y="18911"/>
                  </a:lnTo>
                  <a:lnTo>
                    <a:pt x="13669" y="18745"/>
                  </a:lnTo>
                  <a:lnTo>
                    <a:pt x="13462" y="18547"/>
                  </a:lnTo>
                  <a:lnTo>
                    <a:pt x="13311" y="18337"/>
                  </a:lnTo>
                  <a:lnTo>
                    <a:pt x="13197" y="18150"/>
                  </a:lnTo>
                  <a:lnTo>
                    <a:pt x="13122" y="17941"/>
                  </a:lnTo>
                  <a:lnTo>
                    <a:pt x="13122" y="17720"/>
                  </a:lnTo>
                  <a:lnTo>
                    <a:pt x="13122" y="17533"/>
                  </a:lnTo>
                  <a:lnTo>
                    <a:pt x="13197" y="17346"/>
                  </a:lnTo>
                  <a:lnTo>
                    <a:pt x="13273" y="17158"/>
                  </a:lnTo>
                  <a:lnTo>
                    <a:pt x="13386" y="16982"/>
                  </a:lnTo>
                  <a:lnTo>
                    <a:pt x="13537" y="16839"/>
                  </a:lnTo>
                  <a:lnTo>
                    <a:pt x="13707" y="16706"/>
                  </a:lnTo>
                  <a:lnTo>
                    <a:pt x="13896" y="16607"/>
                  </a:lnTo>
                  <a:lnTo>
                    <a:pt x="14104" y="16519"/>
                  </a:lnTo>
                  <a:lnTo>
                    <a:pt x="14330" y="16453"/>
                  </a:lnTo>
                  <a:lnTo>
                    <a:pt x="14538" y="16431"/>
                  </a:lnTo>
                  <a:lnTo>
                    <a:pt x="14897" y="16453"/>
                  </a:lnTo>
                  <a:lnTo>
                    <a:pt x="15406" y="16497"/>
                  </a:lnTo>
                  <a:lnTo>
                    <a:pt x="16105" y="16541"/>
                  </a:lnTo>
                  <a:lnTo>
                    <a:pt x="16898" y="16607"/>
                  </a:lnTo>
                  <a:lnTo>
                    <a:pt x="17804" y="16651"/>
                  </a:lnTo>
                  <a:lnTo>
                    <a:pt x="18786" y="16684"/>
                  </a:lnTo>
                  <a:lnTo>
                    <a:pt x="19844" y="16728"/>
                  </a:lnTo>
                  <a:lnTo>
                    <a:pt x="20920" y="16751"/>
                  </a:lnTo>
                  <a:lnTo>
                    <a:pt x="21109" y="16497"/>
                  </a:lnTo>
                  <a:lnTo>
                    <a:pt x="21241" y="16222"/>
                  </a:lnTo>
                  <a:lnTo>
                    <a:pt x="21392" y="15946"/>
                  </a:lnTo>
                  <a:lnTo>
                    <a:pt x="21467" y="15648"/>
                  </a:lnTo>
                  <a:lnTo>
                    <a:pt x="21543" y="15351"/>
                  </a:lnTo>
                  <a:lnTo>
                    <a:pt x="21618" y="15042"/>
                  </a:lnTo>
                  <a:lnTo>
                    <a:pt x="21618" y="14745"/>
                  </a:lnTo>
                  <a:lnTo>
                    <a:pt x="21618" y="14447"/>
                  </a:lnTo>
                  <a:lnTo>
                    <a:pt x="21618" y="14150"/>
                  </a:lnTo>
                  <a:lnTo>
                    <a:pt x="21581" y="13852"/>
                  </a:lnTo>
                  <a:lnTo>
                    <a:pt x="21505" y="13577"/>
                  </a:lnTo>
                  <a:lnTo>
                    <a:pt x="21430" y="13301"/>
                  </a:lnTo>
                  <a:lnTo>
                    <a:pt x="21354" y="13048"/>
                  </a:lnTo>
                  <a:lnTo>
                    <a:pt x="21241" y="12816"/>
                  </a:lnTo>
                  <a:lnTo>
                    <a:pt x="21146" y="12607"/>
                  </a:lnTo>
                  <a:lnTo>
                    <a:pt x="21033" y="12431"/>
                  </a:lnTo>
                  <a:lnTo>
                    <a:pt x="20920" y="12265"/>
                  </a:lnTo>
                  <a:lnTo>
                    <a:pt x="20769" y="12144"/>
                  </a:lnTo>
                  <a:lnTo>
                    <a:pt x="20637" y="12034"/>
                  </a:lnTo>
                  <a:lnTo>
                    <a:pt x="20486" y="11946"/>
                  </a:lnTo>
                  <a:lnTo>
                    <a:pt x="20297" y="11891"/>
                  </a:lnTo>
                  <a:lnTo>
                    <a:pt x="20165" y="11846"/>
                  </a:lnTo>
                  <a:lnTo>
                    <a:pt x="19976" y="11824"/>
                  </a:lnTo>
                  <a:lnTo>
                    <a:pt x="19806" y="11802"/>
                  </a:lnTo>
                  <a:lnTo>
                    <a:pt x="19390" y="11824"/>
                  </a:lnTo>
                  <a:lnTo>
                    <a:pt x="18956" y="11891"/>
                  </a:lnTo>
                  <a:lnTo>
                    <a:pt x="18503" y="11968"/>
                  </a:lnTo>
                  <a:lnTo>
                    <a:pt x="17993" y="12078"/>
                  </a:lnTo>
                  <a:lnTo>
                    <a:pt x="17653" y="12144"/>
                  </a:lnTo>
                  <a:lnTo>
                    <a:pt x="17332" y="12199"/>
                  </a:lnTo>
                  <a:lnTo>
                    <a:pt x="17049" y="12221"/>
                  </a:lnTo>
                  <a:lnTo>
                    <a:pt x="16747" y="12243"/>
                  </a:lnTo>
                  <a:lnTo>
                    <a:pt x="16464" y="12243"/>
                  </a:lnTo>
                  <a:lnTo>
                    <a:pt x="16218" y="12243"/>
                  </a:lnTo>
                  <a:lnTo>
                    <a:pt x="15992" y="12221"/>
                  </a:lnTo>
                  <a:lnTo>
                    <a:pt x="15746" y="12199"/>
                  </a:lnTo>
                  <a:lnTo>
                    <a:pt x="15520" y="12155"/>
                  </a:lnTo>
                  <a:lnTo>
                    <a:pt x="15350" y="12122"/>
                  </a:lnTo>
                  <a:lnTo>
                    <a:pt x="15161" y="12056"/>
                  </a:lnTo>
                  <a:lnTo>
                    <a:pt x="14972" y="11990"/>
                  </a:lnTo>
                  <a:lnTo>
                    <a:pt x="14689" y="11846"/>
                  </a:lnTo>
                  <a:lnTo>
                    <a:pt x="14444" y="11670"/>
                  </a:lnTo>
                  <a:lnTo>
                    <a:pt x="14255" y="11483"/>
                  </a:lnTo>
                  <a:lnTo>
                    <a:pt x="14104" y="11295"/>
                  </a:lnTo>
                  <a:lnTo>
                    <a:pt x="14028" y="11086"/>
                  </a:lnTo>
                  <a:lnTo>
                    <a:pt x="13972" y="10888"/>
                  </a:lnTo>
                  <a:lnTo>
                    <a:pt x="13972" y="10700"/>
                  </a:lnTo>
                  <a:lnTo>
                    <a:pt x="14009" y="10513"/>
                  </a:lnTo>
                  <a:lnTo>
                    <a:pt x="14066" y="10359"/>
                  </a:lnTo>
                  <a:lnTo>
                    <a:pt x="14179" y="10215"/>
                  </a:lnTo>
                  <a:lnTo>
                    <a:pt x="14406" y="10006"/>
                  </a:lnTo>
                  <a:lnTo>
                    <a:pt x="14651" y="9830"/>
                  </a:lnTo>
                  <a:lnTo>
                    <a:pt x="14878" y="9686"/>
                  </a:lnTo>
                  <a:lnTo>
                    <a:pt x="15123" y="9554"/>
                  </a:lnTo>
                  <a:lnTo>
                    <a:pt x="15350" y="9477"/>
                  </a:lnTo>
                  <a:lnTo>
                    <a:pt x="15558" y="9411"/>
                  </a:lnTo>
                  <a:lnTo>
                    <a:pt x="15803" y="9345"/>
                  </a:lnTo>
                  <a:lnTo>
                    <a:pt x="16030" y="9323"/>
                  </a:lnTo>
                  <a:lnTo>
                    <a:pt x="16256" y="9301"/>
                  </a:lnTo>
                  <a:lnTo>
                    <a:pt x="16464" y="9323"/>
                  </a:lnTo>
                  <a:lnTo>
                    <a:pt x="16690" y="9345"/>
                  </a:lnTo>
                  <a:lnTo>
                    <a:pt x="16898" y="9367"/>
                  </a:lnTo>
                  <a:lnTo>
                    <a:pt x="17332" y="9477"/>
                  </a:lnTo>
                  <a:lnTo>
                    <a:pt x="17767" y="9598"/>
                  </a:lnTo>
                  <a:lnTo>
                    <a:pt x="18163" y="9731"/>
                  </a:lnTo>
                  <a:lnTo>
                    <a:pt x="18597" y="9874"/>
                  </a:lnTo>
                  <a:lnTo>
                    <a:pt x="18994" y="10006"/>
                  </a:lnTo>
                  <a:lnTo>
                    <a:pt x="19428" y="10083"/>
                  </a:lnTo>
                  <a:lnTo>
                    <a:pt x="19617" y="10127"/>
                  </a:lnTo>
                  <a:lnTo>
                    <a:pt x="19844" y="10149"/>
                  </a:lnTo>
                  <a:lnTo>
                    <a:pt x="20013" y="10149"/>
                  </a:lnTo>
                  <a:lnTo>
                    <a:pt x="20240" y="10127"/>
                  </a:lnTo>
                  <a:lnTo>
                    <a:pt x="20410" y="10105"/>
                  </a:lnTo>
                  <a:lnTo>
                    <a:pt x="20637" y="10061"/>
                  </a:lnTo>
                  <a:lnTo>
                    <a:pt x="20844" y="9984"/>
                  </a:lnTo>
                  <a:lnTo>
                    <a:pt x="21033" y="9896"/>
                  </a:lnTo>
                  <a:lnTo>
                    <a:pt x="21146" y="9830"/>
                  </a:lnTo>
                  <a:lnTo>
                    <a:pt x="21203" y="9753"/>
                  </a:lnTo>
                  <a:lnTo>
                    <a:pt x="21279" y="9642"/>
                  </a:lnTo>
                  <a:lnTo>
                    <a:pt x="21354" y="9521"/>
                  </a:lnTo>
                  <a:lnTo>
                    <a:pt x="21430" y="9246"/>
                  </a:lnTo>
                  <a:lnTo>
                    <a:pt x="21430" y="8904"/>
                  </a:lnTo>
                  <a:lnTo>
                    <a:pt x="21430" y="8540"/>
                  </a:lnTo>
                  <a:lnTo>
                    <a:pt x="21392" y="8144"/>
                  </a:lnTo>
                  <a:lnTo>
                    <a:pt x="21354" y="7714"/>
                  </a:lnTo>
                  <a:lnTo>
                    <a:pt x="21279" y="7295"/>
                  </a:lnTo>
                  <a:lnTo>
                    <a:pt x="21146" y="6446"/>
                  </a:lnTo>
                  <a:lnTo>
                    <a:pt x="20995" y="5686"/>
                  </a:lnTo>
                  <a:lnTo>
                    <a:pt x="20958" y="5366"/>
                  </a:lnTo>
                  <a:lnTo>
                    <a:pt x="20958" y="5091"/>
                  </a:lnTo>
                  <a:lnTo>
                    <a:pt x="20958" y="4860"/>
                  </a:lnTo>
                  <a:lnTo>
                    <a:pt x="21033" y="4716"/>
                  </a:lnTo>
                  <a:lnTo>
                    <a:pt x="20637" y="4860"/>
                  </a:lnTo>
                  <a:lnTo>
                    <a:pt x="20127" y="4992"/>
                  </a:lnTo>
                  <a:lnTo>
                    <a:pt x="19617" y="5069"/>
                  </a:lnTo>
                  <a:lnTo>
                    <a:pt x="19032" y="5157"/>
                  </a:lnTo>
                  <a:lnTo>
                    <a:pt x="18465" y="5201"/>
                  </a:lnTo>
                  <a:lnTo>
                    <a:pt x="17842" y="5245"/>
                  </a:lnTo>
                  <a:lnTo>
                    <a:pt x="17219" y="5267"/>
                  </a:lnTo>
                  <a:lnTo>
                    <a:pt x="16615" y="5267"/>
                  </a:lnTo>
                  <a:lnTo>
                    <a:pt x="15992" y="5245"/>
                  </a:lnTo>
                  <a:lnTo>
                    <a:pt x="15369" y="5201"/>
                  </a:lnTo>
                  <a:lnTo>
                    <a:pt x="14840" y="5157"/>
                  </a:lnTo>
                  <a:lnTo>
                    <a:pt x="14293" y="5091"/>
                  </a:lnTo>
                  <a:lnTo>
                    <a:pt x="13783" y="5014"/>
                  </a:lnTo>
                  <a:lnTo>
                    <a:pt x="13386" y="4926"/>
                  </a:lnTo>
                  <a:lnTo>
                    <a:pt x="13027" y="4815"/>
                  </a:lnTo>
                  <a:lnTo>
                    <a:pt x="12725" y="4716"/>
                  </a:lnTo>
                  <a:lnTo>
                    <a:pt x="12480" y="4606"/>
                  </a:lnTo>
                  <a:lnTo>
                    <a:pt x="12291" y="4496"/>
                  </a:lnTo>
                  <a:lnTo>
                    <a:pt x="12197" y="4397"/>
                  </a:lnTo>
                  <a:lnTo>
                    <a:pt x="12083" y="4286"/>
                  </a:lnTo>
                  <a:lnTo>
                    <a:pt x="12046" y="4187"/>
                  </a:lnTo>
                  <a:lnTo>
                    <a:pt x="12008" y="4077"/>
                  </a:lnTo>
                  <a:lnTo>
                    <a:pt x="12046" y="3967"/>
                  </a:lnTo>
                  <a:lnTo>
                    <a:pt x="12121" y="3868"/>
                  </a:lnTo>
                  <a:lnTo>
                    <a:pt x="12197" y="3735"/>
                  </a:lnTo>
                  <a:lnTo>
                    <a:pt x="12291" y="3614"/>
                  </a:lnTo>
                  <a:lnTo>
                    <a:pt x="12442" y="3482"/>
                  </a:lnTo>
                  <a:lnTo>
                    <a:pt x="12631" y="3361"/>
                  </a:lnTo>
                  <a:lnTo>
                    <a:pt x="13065" y="3085"/>
                  </a:lnTo>
                  <a:lnTo>
                    <a:pt x="13537" y="2766"/>
                  </a:lnTo>
                  <a:lnTo>
                    <a:pt x="13783" y="2578"/>
                  </a:lnTo>
                  <a:lnTo>
                    <a:pt x="13934" y="2380"/>
                  </a:lnTo>
                  <a:lnTo>
                    <a:pt x="14028" y="2171"/>
                  </a:lnTo>
                  <a:lnTo>
                    <a:pt x="14104" y="1961"/>
                  </a:lnTo>
                  <a:lnTo>
                    <a:pt x="14104" y="1730"/>
                  </a:lnTo>
                  <a:lnTo>
                    <a:pt x="14066" y="1498"/>
                  </a:lnTo>
                  <a:lnTo>
                    <a:pt x="13972" y="1267"/>
                  </a:lnTo>
                  <a:lnTo>
                    <a:pt x="13820" y="1057"/>
                  </a:lnTo>
                  <a:lnTo>
                    <a:pt x="13594" y="837"/>
                  </a:lnTo>
                  <a:lnTo>
                    <a:pt x="13386" y="628"/>
                  </a:lnTo>
                  <a:lnTo>
                    <a:pt x="13103" y="462"/>
                  </a:lnTo>
                  <a:lnTo>
                    <a:pt x="12763" y="308"/>
                  </a:lnTo>
                  <a:lnTo>
                    <a:pt x="12404" y="187"/>
                  </a:lnTo>
                  <a:lnTo>
                    <a:pt x="12008" y="77"/>
                  </a:lnTo>
                  <a:lnTo>
                    <a:pt x="11574" y="33"/>
                  </a:lnTo>
                  <a:lnTo>
                    <a:pt x="11102" y="11"/>
                  </a:lnTo>
                  <a:lnTo>
                    <a:pt x="10667" y="11"/>
                  </a:lnTo>
                  <a:lnTo>
                    <a:pt x="10233" y="77"/>
                  </a:lnTo>
                  <a:lnTo>
                    <a:pt x="9837" y="187"/>
                  </a:lnTo>
                  <a:lnTo>
                    <a:pt x="9440" y="286"/>
                  </a:lnTo>
                  <a:lnTo>
                    <a:pt x="9062" y="462"/>
                  </a:lnTo>
                  <a:lnTo>
                    <a:pt x="8741" y="628"/>
                  </a:lnTo>
                  <a:lnTo>
                    <a:pt x="8458" y="815"/>
                  </a:lnTo>
                  <a:lnTo>
                    <a:pt x="8232" y="1035"/>
                  </a:lnTo>
                  <a:lnTo>
                    <a:pt x="8062" y="1245"/>
                  </a:lnTo>
                  <a:lnTo>
                    <a:pt x="7911" y="1476"/>
                  </a:lnTo>
                  <a:lnTo>
                    <a:pt x="7835" y="1708"/>
                  </a:lnTo>
                  <a:lnTo>
                    <a:pt x="7797" y="1961"/>
                  </a:lnTo>
                  <a:lnTo>
                    <a:pt x="7835" y="2193"/>
                  </a:lnTo>
                  <a:lnTo>
                    <a:pt x="7948" y="2402"/>
                  </a:lnTo>
                  <a:lnTo>
                    <a:pt x="8062" y="2534"/>
                  </a:lnTo>
                  <a:lnTo>
                    <a:pt x="8175" y="2644"/>
                  </a:lnTo>
                  <a:lnTo>
                    <a:pt x="8269" y="2744"/>
                  </a:lnTo>
                  <a:lnTo>
                    <a:pt x="8420" y="2832"/>
                  </a:lnTo>
                  <a:lnTo>
                    <a:pt x="8704" y="3019"/>
                  </a:lnTo>
                  <a:lnTo>
                    <a:pt x="8968" y="3206"/>
                  </a:lnTo>
                  <a:lnTo>
                    <a:pt x="9138" y="3405"/>
                  </a:lnTo>
                  <a:lnTo>
                    <a:pt x="9327" y="3570"/>
                  </a:lnTo>
                  <a:lnTo>
                    <a:pt x="9440" y="3735"/>
                  </a:lnTo>
                  <a:lnTo>
                    <a:pt x="9516" y="3890"/>
                  </a:lnTo>
                  <a:lnTo>
                    <a:pt x="9534" y="4033"/>
                  </a:lnTo>
                  <a:lnTo>
                    <a:pt x="9534" y="4165"/>
                  </a:lnTo>
                  <a:lnTo>
                    <a:pt x="9516" y="4286"/>
                  </a:lnTo>
                  <a:lnTo>
                    <a:pt x="9440" y="4397"/>
                  </a:lnTo>
                  <a:lnTo>
                    <a:pt x="9327" y="4496"/>
                  </a:lnTo>
                  <a:lnTo>
                    <a:pt x="9176" y="4562"/>
                  </a:lnTo>
                  <a:lnTo>
                    <a:pt x="9006" y="4628"/>
                  </a:lnTo>
                  <a:lnTo>
                    <a:pt x="8779" y="4694"/>
                  </a:lnTo>
                  <a:lnTo>
                    <a:pt x="8534" y="4716"/>
                  </a:lnTo>
                  <a:lnTo>
                    <a:pt x="8232" y="4716"/>
                  </a:lnTo>
                  <a:lnTo>
                    <a:pt x="7118" y="4738"/>
                  </a:lnTo>
                  <a:lnTo>
                    <a:pt x="5947" y="4771"/>
                  </a:lnTo>
                  <a:lnTo>
                    <a:pt x="4795" y="4815"/>
                  </a:lnTo>
                  <a:lnTo>
                    <a:pt x="3681" y="4860"/>
                  </a:lnTo>
                  <a:lnTo>
                    <a:pt x="2662" y="4882"/>
                  </a:lnTo>
                  <a:lnTo>
                    <a:pt x="1755" y="4882"/>
                  </a:lnTo>
                  <a:lnTo>
                    <a:pt x="1359" y="4860"/>
                  </a:lnTo>
                  <a:lnTo>
                    <a:pt x="981" y="4837"/>
                  </a:lnTo>
                  <a:lnTo>
                    <a:pt x="698" y="4771"/>
                  </a:lnTo>
                  <a:lnTo>
                    <a:pt x="453" y="4716"/>
                  </a:lnTo>
                  <a:lnTo>
                    <a:pt x="453" y="5322"/>
                  </a:lnTo>
                  <a:lnTo>
                    <a:pt x="453" y="6083"/>
                  </a:lnTo>
                  <a:lnTo>
                    <a:pt x="453" y="6909"/>
                  </a:lnTo>
                  <a:lnTo>
                    <a:pt x="453" y="7780"/>
                  </a:lnTo>
                  <a:lnTo>
                    <a:pt x="453" y="8606"/>
                  </a:lnTo>
                  <a:lnTo>
                    <a:pt x="453" y="9345"/>
                  </a:lnTo>
                  <a:lnTo>
                    <a:pt x="453" y="9918"/>
                  </a:lnTo>
                  <a:lnTo>
                    <a:pt x="453" y="10282"/>
                  </a:lnTo>
                  <a:lnTo>
                    <a:pt x="490" y="10381"/>
                  </a:lnTo>
                  <a:lnTo>
                    <a:pt x="547" y="10491"/>
                  </a:lnTo>
                  <a:lnTo>
                    <a:pt x="660" y="10590"/>
                  </a:lnTo>
                  <a:lnTo>
                    <a:pt x="811" y="10700"/>
                  </a:lnTo>
                  <a:lnTo>
                    <a:pt x="981" y="10811"/>
                  </a:lnTo>
                  <a:lnTo>
                    <a:pt x="1208" y="10888"/>
                  </a:lnTo>
                  <a:lnTo>
                    <a:pt x="1453" y="10954"/>
                  </a:lnTo>
                  <a:lnTo>
                    <a:pt x="1718" y="11020"/>
                  </a:lnTo>
                  <a:lnTo>
                    <a:pt x="1963" y="11064"/>
                  </a:lnTo>
                  <a:lnTo>
                    <a:pt x="2265" y="11086"/>
                  </a:lnTo>
                  <a:lnTo>
                    <a:pt x="2548" y="11064"/>
                  </a:lnTo>
                  <a:lnTo>
                    <a:pt x="2794" y="11042"/>
                  </a:lnTo>
                  <a:lnTo>
                    <a:pt x="3096" y="10976"/>
                  </a:lnTo>
                  <a:lnTo>
                    <a:pt x="3341" y="10888"/>
                  </a:lnTo>
                  <a:lnTo>
                    <a:pt x="3606" y="10766"/>
                  </a:lnTo>
                  <a:lnTo>
                    <a:pt x="3813" y="10590"/>
                  </a:lnTo>
                  <a:close/>
                </a:path>
              </a:pathLst>
            </a:custGeom>
            <a:solidFill>
              <a:schemeClr val="accent1"/>
            </a:solidFill>
            <a:ln w="19050">
              <a:solidFill>
                <a:schemeClr val="bg1"/>
              </a:solidFill>
              <a:miter lim="800000"/>
              <a:headEnd/>
              <a:tailEnd/>
            </a:ln>
          </p:spPr>
          <p:txBody>
            <a:bodyPr/>
            <a:lstStyle/>
            <a:p>
              <a:endParaRPr lang="en-US"/>
            </a:p>
          </p:txBody>
        </p:sp>
        <p:sp>
          <p:nvSpPr>
            <p:cNvPr id="24" name="Puzzle2">
              <a:extLst>
                <a:ext uri="{FF2B5EF4-FFF2-40B4-BE49-F238E27FC236}">
                  <a16:creationId xmlns:a16="http://schemas.microsoft.com/office/drawing/2014/main" id="{B0D0DD53-AE30-4189-950B-6506E044139C}"/>
                </a:ext>
              </a:extLst>
            </p:cNvPr>
            <p:cNvSpPr>
              <a:spLocks noEditPoints="1" noChangeArrowheads="1"/>
            </p:cNvSpPr>
            <p:nvPr/>
          </p:nvSpPr>
          <p:spPr bwMode="auto">
            <a:xfrm>
              <a:off x="4610862" y="4393734"/>
              <a:ext cx="1909740" cy="1400962"/>
            </a:xfrm>
            <a:custGeom>
              <a:avLst/>
              <a:gdLst>
                <a:gd name="T0" fmla="*/ 796 w 21600"/>
                <a:gd name="T1" fmla="*/ 656201 h 21600"/>
                <a:gd name="T2" fmla="*/ 304195 w 21600"/>
                <a:gd name="T3" fmla="*/ 1037343 h 21600"/>
                <a:gd name="T4" fmla="*/ 752886 w 21600"/>
                <a:gd name="T5" fmla="*/ 681839 h 21600"/>
                <a:gd name="T6" fmla="*/ 1217721 w 21600"/>
                <a:gd name="T7" fmla="*/ 1038764 h 21600"/>
                <a:gd name="T8" fmla="*/ 1563687 w 21600"/>
                <a:gd name="T9" fmla="*/ 739390 h 21600"/>
                <a:gd name="T10" fmla="*/ 1222644 w 21600"/>
                <a:gd name="T11" fmla="*/ 281334 h 21600"/>
                <a:gd name="T12" fmla="*/ 781844 w 21600"/>
                <a:gd name="T13" fmla="*/ 1373 h 21600"/>
                <a:gd name="T14" fmla="*/ 304195 w 21600"/>
                <a:gd name="T15" fmla="*/ 288932 h 21600"/>
                <a:gd name="T16" fmla="*/ 0 60000 65536"/>
                <a:gd name="T17" fmla="*/ 0 60000 65536"/>
                <a:gd name="T18" fmla="*/ 0 60000 65536"/>
                <a:gd name="T19" fmla="*/ 0 60000 65536"/>
                <a:gd name="T20" fmla="*/ 0 60000 65536"/>
                <a:gd name="T21" fmla="*/ 0 60000 65536"/>
                <a:gd name="T22" fmla="*/ 0 60000 65536"/>
                <a:gd name="T23" fmla="*/ 0 60000 65536"/>
                <a:gd name="T24" fmla="*/ 5388 w 21600"/>
                <a:gd name="T25" fmla="*/ 6742 h 21600"/>
                <a:gd name="T26" fmla="*/ 16177 w 21600"/>
                <a:gd name="T27" fmla="*/ 2044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4247" y="12354"/>
                  </a:moveTo>
                  <a:lnTo>
                    <a:pt x="4134" y="12468"/>
                  </a:lnTo>
                  <a:lnTo>
                    <a:pt x="4010" y="12581"/>
                  </a:lnTo>
                  <a:lnTo>
                    <a:pt x="3897" y="12637"/>
                  </a:lnTo>
                  <a:lnTo>
                    <a:pt x="3773" y="12694"/>
                  </a:lnTo>
                  <a:lnTo>
                    <a:pt x="3637" y="12694"/>
                  </a:lnTo>
                  <a:lnTo>
                    <a:pt x="3524" y="12694"/>
                  </a:lnTo>
                  <a:lnTo>
                    <a:pt x="3400" y="12665"/>
                  </a:lnTo>
                  <a:lnTo>
                    <a:pt x="3287" y="12609"/>
                  </a:lnTo>
                  <a:lnTo>
                    <a:pt x="3027" y="12496"/>
                  </a:lnTo>
                  <a:lnTo>
                    <a:pt x="2790" y="12340"/>
                  </a:lnTo>
                  <a:lnTo>
                    <a:pt x="2530" y="12142"/>
                  </a:lnTo>
                  <a:lnTo>
                    <a:pt x="2293" y="11987"/>
                  </a:lnTo>
                  <a:lnTo>
                    <a:pt x="2033" y="11817"/>
                  </a:lnTo>
                  <a:lnTo>
                    <a:pt x="1773" y="11676"/>
                  </a:lnTo>
                  <a:lnTo>
                    <a:pt x="1638" y="11662"/>
                  </a:lnTo>
                  <a:lnTo>
                    <a:pt x="1513" y="11634"/>
                  </a:lnTo>
                  <a:lnTo>
                    <a:pt x="1378" y="11634"/>
                  </a:lnTo>
                  <a:lnTo>
                    <a:pt x="1253" y="11634"/>
                  </a:lnTo>
                  <a:lnTo>
                    <a:pt x="1118" y="11662"/>
                  </a:lnTo>
                  <a:lnTo>
                    <a:pt x="971" y="11732"/>
                  </a:lnTo>
                  <a:lnTo>
                    <a:pt x="835" y="11817"/>
                  </a:lnTo>
                  <a:lnTo>
                    <a:pt x="711" y="11959"/>
                  </a:lnTo>
                  <a:lnTo>
                    <a:pt x="553" y="12086"/>
                  </a:lnTo>
                  <a:lnTo>
                    <a:pt x="429" y="12284"/>
                  </a:lnTo>
                  <a:lnTo>
                    <a:pt x="271" y="12524"/>
                  </a:lnTo>
                  <a:lnTo>
                    <a:pt x="146" y="12793"/>
                  </a:lnTo>
                  <a:lnTo>
                    <a:pt x="79" y="12962"/>
                  </a:lnTo>
                  <a:lnTo>
                    <a:pt x="33" y="13146"/>
                  </a:lnTo>
                  <a:lnTo>
                    <a:pt x="11" y="13386"/>
                  </a:lnTo>
                  <a:lnTo>
                    <a:pt x="11" y="13641"/>
                  </a:lnTo>
                  <a:lnTo>
                    <a:pt x="33" y="13881"/>
                  </a:lnTo>
                  <a:lnTo>
                    <a:pt x="101" y="14150"/>
                  </a:lnTo>
                  <a:lnTo>
                    <a:pt x="192" y="14404"/>
                  </a:lnTo>
                  <a:lnTo>
                    <a:pt x="293" y="14645"/>
                  </a:lnTo>
                  <a:lnTo>
                    <a:pt x="451" y="14857"/>
                  </a:lnTo>
                  <a:lnTo>
                    <a:pt x="621" y="15054"/>
                  </a:lnTo>
                  <a:lnTo>
                    <a:pt x="734" y="15125"/>
                  </a:lnTo>
                  <a:lnTo>
                    <a:pt x="835" y="15210"/>
                  </a:lnTo>
                  <a:lnTo>
                    <a:pt x="948" y="15267"/>
                  </a:lnTo>
                  <a:lnTo>
                    <a:pt x="1084" y="15323"/>
                  </a:lnTo>
                  <a:lnTo>
                    <a:pt x="1208" y="15351"/>
                  </a:lnTo>
                  <a:lnTo>
                    <a:pt x="1355" y="15380"/>
                  </a:lnTo>
                  <a:lnTo>
                    <a:pt x="1513" y="15380"/>
                  </a:lnTo>
                  <a:lnTo>
                    <a:pt x="1683" y="15380"/>
                  </a:lnTo>
                  <a:lnTo>
                    <a:pt x="1864" y="15351"/>
                  </a:lnTo>
                  <a:lnTo>
                    <a:pt x="2033" y="15323"/>
                  </a:lnTo>
                  <a:lnTo>
                    <a:pt x="2225" y="15238"/>
                  </a:lnTo>
                  <a:lnTo>
                    <a:pt x="2428" y="15153"/>
                  </a:lnTo>
                  <a:lnTo>
                    <a:pt x="2745" y="15026"/>
                  </a:lnTo>
                  <a:lnTo>
                    <a:pt x="3005" y="14913"/>
                  </a:lnTo>
                  <a:lnTo>
                    <a:pt x="3264" y="14828"/>
                  </a:lnTo>
                  <a:lnTo>
                    <a:pt x="3513" y="14800"/>
                  </a:lnTo>
                  <a:lnTo>
                    <a:pt x="3615" y="14828"/>
                  </a:lnTo>
                  <a:lnTo>
                    <a:pt x="3728" y="14857"/>
                  </a:lnTo>
                  <a:lnTo>
                    <a:pt x="3807" y="14913"/>
                  </a:lnTo>
                  <a:lnTo>
                    <a:pt x="3920" y="14998"/>
                  </a:lnTo>
                  <a:lnTo>
                    <a:pt x="4010" y="15097"/>
                  </a:lnTo>
                  <a:lnTo>
                    <a:pt x="4089" y="15238"/>
                  </a:lnTo>
                  <a:lnTo>
                    <a:pt x="4179" y="15408"/>
                  </a:lnTo>
                  <a:lnTo>
                    <a:pt x="4247" y="15620"/>
                  </a:lnTo>
                  <a:lnTo>
                    <a:pt x="4326" y="15860"/>
                  </a:lnTo>
                  <a:lnTo>
                    <a:pt x="4394" y="16129"/>
                  </a:lnTo>
                  <a:lnTo>
                    <a:pt x="4439" y="16440"/>
                  </a:lnTo>
                  <a:lnTo>
                    <a:pt x="4507" y="16737"/>
                  </a:lnTo>
                  <a:lnTo>
                    <a:pt x="4552" y="17090"/>
                  </a:lnTo>
                  <a:lnTo>
                    <a:pt x="4575" y="17443"/>
                  </a:lnTo>
                  <a:lnTo>
                    <a:pt x="4586" y="17825"/>
                  </a:lnTo>
                  <a:lnTo>
                    <a:pt x="4586" y="18193"/>
                  </a:lnTo>
                  <a:lnTo>
                    <a:pt x="4586" y="18574"/>
                  </a:lnTo>
                  <a:lnTo>
                    <a:pt x="4586" y="18984"/>
                  </a:lnTo>
                  <a:lnTo>
                    <a:pt x="4552" y="19366"/>
                  </a:lnTo>
                  <a:lnTo>
                    <a:pt x="4507" y="19748"/>
                  </a:lnTo>
                  <a:lnTo>
                    <a:pt x="4462" y="20129"/>
                  </a:lnTo>
                  <a:lnTo>
                    <a:pt x="4371" y="20483"/>
                  </a:lnTo>
                  <a:lnTo>
                    <a:pt x="4292" y="20836"/>
                  </a:lnTo>
                  <a:lnTo>
                    <a:pt x="4202" y="21161"/>
                  </a:lnTo>
                  <a:lnTo>
                    <a:pt x="4744" y="21161"/>
                  </a:lnTo>
                  <a:lnTo>
                    <a:pt x="5264" y="21161"/>
                  </a:lnTo>
                  <a:lnTo>
                    <a:pt x="5784" y="21161"/>
                  </a:lnTo>
                  <a:lnTo>
                    <a:pt x="6235" y="21161"/>
                  </a:lnTo>
                  <a:lnTo>
                    <a:pt x="6676" y="21161"/>
                  </a:lnTo>
                  <a:lnTo>
                    <a:pt x="7060" y="21161"/>
                  </a:lnTo>
                  <a:lnTo>
                    <a:pt x="7410" y="21161"/>
                  </a:lnTo>
                  <a:lnTo>
                    <a:pt x="7670" y="21161"/>
                  </a:lnTo>
                  <a:lnTo>
                    <a:pt x="8020" y="21020"/>
                  </a:lnTo>
                  <a:lnTo>
                    <a:pt x="8303" y="20893"/>
                  </a:lnTo>
                  <a:lnTo>
                    <a:pt x="8563" y="20695"/>
                  </a:lnTo>
                  <a:lnTo>
                    <a:pt x="8800" y="20511"/>
                  </a:lnTo>
                  <a:lnTo>
                    <a:pt x="8969" y="20285"/>
                  </a:lnTo>
                  <a:lnTo>
                    <a:pt x="9150" y="20045"/>
                  </a:lnTo>
                  <a:lnTo>
                    <a:pt x="9252" y="19804"/>
                  </a:lnTo>
                  <a:lnTo>
                    <a:pt x="9342" y="19550"/>
                  </a:lnTo>
                  <a:lnTo>
                    <a:pt x="9410" y="19281"/>
                  </a:lnTo>
                  <a:lnTo>
                    <a:pt x="9433" y="19013"/>
                  </a:lnTo>
                  <a:lnTo>
                    <a:pt x="9433" y="18744"/>
                  </a:lnTo>
                  <a:lnTo>
                    <a:pt x="9387" y="18504"/>
                  </a:lnTo>
                  <a:lnTo>
                    <a:pt x="9320" y="18221"/>
                  </a:lnTo>
                  <a:lnTo>
                    <a:pt x="9207" y="17981"/>
                  </a:lnTo>
                  <a:lnTo>
                    <a:pt x="9105" y="17740"/>
                  </a:lnTo>
                  <a:lnTo>
                    <a:pt x="8924" y="17514"/>
                  </a:lnTo>
                  <a:lnTo>
                    <a:pt x="8777" y="17274"/>
                  </a:lnTo>
                  <a:lnTo>
                    <a:pt x="8642" y="17034"/>
                  </a:lnTo>
                  <a:lnTo>
                    <a:pt x="8563" y="16765"/>
                  </a:lnTo>
                  <a:lnTo>
                    <a:pt x="8472" y="16468"/>
                  </a:lnTo>
                  <a:lnTo>
                    <a:pt x="8450" y="16157"/>
                  </a:lnTo>
                  <a:lnTo>
                    <a:pt x="8450" y="15860"/>
                  </a:lnTo>
                  <a:lnTo>
                    <a:pt x="8472" y="15563"/>
                  </a:lnTo>
                  <a:lnTo>
                    <a:pt x="8540" y="15267"/>
                  </a:lnTo>
                  <a:lnTo>
                    <a:pt x="8642" y="14998"/>
                  </a:lnTo>
                  <a:lnTo>
                    <a:pt x="8777" y="14729"/>
                  </a:lnTo>
                  <a:lnTo>
                    <a:pt x="8868" y="14616"/>
                  </a:lnTo>
                  <a:lnTo>
                    <a:pt x="8969" y="14475"/>
                  </a:lnTo>
                  <a:lnTo>
                    <a:pt x="9060" y="14376"/>
                  </a:lnTo>
                  <a:lnTo>
                    <a:pt x="9184" y="14291"/>
                  </a:lnTo>
                  <a:lnTo>
                    <a:pt x="9297" y="14206"/>
                  </a:lnTo>
                  <a:lnTo>
                    <a:pt x="9433" y="14121"/>
                  </a:lnTo>
                  <a:lnTo>
                    <a:pt x="9579" y="14051"/>
                  </a:lnTo>
                  <a:lnTo>
                    <a:pt x="9726" y="13994"/>
                  </a:lnTo>
                  <a:lnTo>
                    <a:pt x="9884" y="13938"/>
                  </a:lnTo>
                  <a:lnTo>
                    <a:pt x="10054" y="13909"/>
                  </a:lnTo>
                  <a:lnTo>
                    <a:pt x="10257" y="13881"/>
                  </a:lnTo>
                  <a:lnTo>
                    <a:pt x="10449" y="13881"/>
                  </a:lnTo>
                  <a:lnTo>
                    <a:pt x="10664" y="13881"/>
                  </a:lnTo>
                  <a:lnTo>
                    <a:pt x="10856" y="13909"/>
                  </a:lnTo>
                  <a:lnTo>
                    <a:pt x="11037" y="13966"/>
                  </a:lnTo>
                  <a:lnTo>
                    <a:pt x="11206" y="14023"/>
                  </a:lnTo>
                  <a:lnTo>
                    <a:pt x="11353" y="14093"/>
                  </a:lnTo>
                  <a:lnTo>
                    <a:pt x="11511" y="14178"/>
                  </a:lnTo>
                  <a:lnTo>
                    <a:pt x="11635" y="14263"/>
                  </a:lnTo>
                  <a:lnTo>
                    <a:pt x="11748" y="14376"/>
                  </a:lnTo>
                  <a:lnTo>
                    <a:pt x="11861" y="14475"/>
                  </a:lnTo>
                  <a:lnTo>
                    <a:pt x="11941" y="14616"/>
                  </a:lnTo>
                  <a:lnTo>
                    <a:pt x="12031" y="14758"/>
                  </a:lnTo>
                  <a:lnTo>
                    <a:pt x="12099" y="14885"/>
                  </a:lnTo>
                  <a:lnTo>
                    <a:pt x="12200" y="15210"/>
                  </a:lnTo>
                  <a:lnTo>
                    <a:pt x="12268" y="15507"/>
                  </a:lnTo>
                  <a:lnTo>
                    <a:pt x="12291" y="15832"/>
                  </a:lnTo>
                  <a:lnTo>
                    <a:pt x="12291" y="16157"/>
                  </a:lnTo>
                  <a:lnTo>
                    <a:pt x="12246" y="16482"/>
                  </a:lnTo>
                  <a:lnTo>
                    <a:pt x="12178" y="16807"/>
                  </a:lnTo>
                  <a:lnTo>
                    <a:pt x="12099" y="17090"/>
                  </a:lnTo>
                  <a:lnTo>
                    <a:pt x="12008" y="17330"/>
                  </a:lnTo>
                  <a:lnTo>
                    <a:pt x="11884" y="17542"/>
                  </a:lnTo>
                  <a:lnTo>
                    <a:pt x="11748" y="17712"/>
                  </a:lnTo>
                  <a:lnTo>
                    <a:pt x="11613" y="17839"/>
                  </a:lnTo>
                  <a:lnTo>
                    <a:pt x="11489" y="18037"/>
                  </a:lnTo>
                  <a:lnTo>
                    <a:pt x="11398" y="18221"/>
                  </a:lnTo>
                  <a:lnTo>
                    <a:pt x="11319" y="18447"/>
                  </a:lnTo>
                  <a:lnTo>
                    <a:pt x="11251" y="18659"/>
                  </a:lnTo>
                  <a:lnTo>
                    <a:pt x="11206" y="18900"/>
                  </a:lnTo>
                  <a:lnTo>
                    <a:pt x="11184" y="19154"/>
                  </a:lnTo>
                  <a:lnTo>
                    <a:pt x="11184" y="19423"/>
                  </a:lnTo>
                  <a:lnTo>
                    <a:pt x="11229" y="19663"/>
                  </a:lnTo>
                  <a:lnTo>
                    <a:pt x="11297" y="19903"/>
                  </a:lnTo>
                  <a:lnTo>
                    <a:pt x="11376" y="20158"/>
                  </a:lnTo>
                  <a:lnTo>
                    <a:pt x="11511" y="20398"/>
                  </a:lnTo>
                  <a:lnTo>
                    <a:pt x="11681" y="20610"/>
                  </a:lnTo>
                  <a:lnTo>
                    <a:pt x="11884" y="20808"/>
                  </a:lnTo>
                  <a:lnTo>
                    <a:pt x="12121" y="20992"/>
                  </a:lnTo>
                  <a:lnTo>
                    <a:pt x="12404" y="21161"/>
                  </a:lnTo>
                  <a:lnTo>
                    <a:pt x="12528" y="21190"/>
                  </a:lnTo>
                  <a:lnTo>
                    <a:pt x="12856" y="21274"/>
                  </a:lnTo>
                  <a:lnTo>
                    <a:pt x="13330" y="21373"/>
                  </a:lnTo>
                  <a:lnTo>
                    <a:pt x="13963" y="21486"/>
                  </a:lnTo>
                  <a:lnTo>
                    <a:pt x="14313" y="21543"/>
                  </a:lnTo>
                  <a:lnTo>
                    <a:pt x="14652" y="21571"/>
                  </a:lnTo>
                  <a:lnTo>
                    <a:pt x="15025" y="21600"/>
                  </a:lnTo>
                  <a:lnTo>
                    <a:pt x="15409" y="21600"/>
                  </a:lnTo>
                  <a:lnTo>
                    <a:pt x="15782" y="21600"/>
                  </a:lnTo>
                  <a:lnTo>
                    <a:pt x="16177" y="21571"/>
                  </a:lnTo>
                  <a:lnTo>
                    <a:pt x="16516" y="21486"/>
                  </a:lnTo>
                  <a:lnTo>
                    <a:pt x="16889" y="21402"/>
                  </a:lnTo>
                  <a:lnTo>
                    <a:pt x="16821" y="21190"/>
                  </a:lnTo>
                  <a:lnTo>
                    <a:pt x="16776" y="20935"/>
                  </a:lnTo>
                  <a:lnTo>
                    <a:pt x="16742" y="20667"/>
                  </a:lnTo>
                  <a:lnTo>
                    <a:pt x="16719" y="20370"/>
                  </a:lnTo>
                  <a:lnTo>
                    <a:pt x="16697" y="19719"/>
                  </a:lnTo>
                  <a:lnTo>
                    <a:pt x="16697" y="19013"/>
                  </a:lnTo>
                  <a:lnTo>
                    <a:pt x="16719" y="18306"/>
                  </a:lnTo>
                  <a:lnTo>
                    <a:pt x="16753" y="17599"/>
                  </a:lnTo>
                  <a:lnTo>
                    <a:pt x="16821" y="16949"/>
                  </a:lnTo>
                  <a:lnTo>
                    <a:pt x="16889" y="16383"/>
                  </a:lnTo>
                  <a:lnTo>
                    <a:pt x="16934" y="16129"/>
                  </a:lnTo>
                  <a:lnTo>
                    <a:pt x="17002" y="15945"/>
                  </a:lnTo>
                  <a:lnTo>
                    <a:pt x="17081" y="15790"/>
                  </a:lnTo>
                  <a:lnTo>
                    <a:pt x="17194" y="15648"/>
                  </a:lnTo>
                  <a:lnTo>
                    <a:pt x="17318" y="15563"/>
                  </a:lnTo>
                  <a:lnTo>
                    <a:pt x="17453" y="15507"/>
                  </a:lnTo>
                  <a:lnTo>
                    <a:pt x="17600" y="15450"/>
                  </a:lnTo>
                  <a:lnTo>
                    <a:pt x="17758" y="15450"/>
                  </a:lnTo>
                  <a:lnTo>
                    <a:pt x="17905" y="15479"/>
                  </a:lnTo>
                  <a:lnTo>
                    <a:pt x="18064" y="15535"/>
                  </a:lnTo>
                  <a:lnTo>
                    <a:pt x="18233" y="15620"/>
                  </a:lnTo>
                  <a:lnTo>
                    <a:pt x="18380" y="15733"/>
                  </a:lnTo>
                  <a:lnTo>
                    <a:pt x="18561" y="15832"/>
                  </a:lnTo>
                  <a:lnTo>
                    <a:pt x="18707" y="15973"/>
                  </a:lnTo>
                  <a:lnTo>
                    <a:pt x="18866" y="16129"/>
                  </a:lnTo>
                  <a:lnTo>
                    <a:pt x="18990" y="16327"/>
                  </a:lnTo>
                  <a:lnTo>
                    <a:pt x="19125" y="16482"/>
                  </a:lnTo>
                  <a:lnTo>
                    <a:pt x="19295" y="16624"/>
                  </a:lnTo>
                  <a:lnTo>
                    <a:pt x="19464" y="16737"/>
                  </a:lnTo>
                  <a:lnTo>
                    <a:pt x="19668" y="16807"/>
                  </a:lnTo>
                  <a:lnTo>
                    <a:pt x="19860" y="16836"/>
                  </a:lnTo>
                  <a:lnTo>
                    <a:pt x="20052" y="16864"/>
                  </a:lnTo>
                  <a:lnTo>
                    <a:pt x="20266" y="16836"/>
                  </a:lnTo>
                  <a:lnTo>
                    <a:pt x="20470" y="16793"/>
                  </a:lnTo>
                  <a:lnTo>
                    <a:pt x="20662" y="16708"/>
                  </a:lnTo>
                  <a:lnTo>
                    <a:pt x="20854" y="16567"/>
                  </a:lnTo>
                  <a:lnTo>
                    <a:pt x="21035" y="16412"/>
                  </a:lnTo>
                  <a:lnTo>
                    <a:pt x="21182" y="16214"/>
                  </a:lnTo>
                  <a:lnTo>
                    <a:pt x="21340" y="16002"/>
                  </a:lnTo>
                  <a:lnTo>
                    <a:pt x="21441" y="15733"/>
                  </a:lnTo>
                  <a:lnTo>
                    <a:pt x="21532" y="15436"/>
                  </a:lnTo>
                  <a:lnTo>
                    <a:pt x="21600" y="15083"/>
                  </a:lnTo>
                  <a:lnTo>
                    <a:pt x="21600" y="14885"/>
                  </a:lnTo>
                  <a:lnTo>
                    <a:pt x="21600" y="14729"/>
                  </a:lnTo>
                  <a:lnTo>
                    <a:pt x="21600" y="14531"/>
                  </a:lnTo>
                  <a:lnTo>
                    <a:pt x="21577" y="14376"/>
                  </a:lnTo>
                  <a:lnTo>
                    <a:pt x="21532" y="14206"/>
                  </a:lnTo>
                  <a:lnTo>
                    <a:pt x="21487" y="14051"/>
                  </a:lnTo>
                  <a:lnTo>
                    <a:pt x="21419" y="13909"/>
                  </a:lnTo>
                  <a:lnTo>
                    <a:pt x="21351" y="13768"/>
                  </a:lnTo>
                  <a:lnTo>
                    <a:pt x="21204" y="13500"/>
                  </a:lnTo>
                  <a:lnTo>
                    <a:pt x="21035" y="13287"/>
                  </a:lnTo>
                  <a:lnTo>
                    <a:pt x="20809" y="13090"/>
                  </a:lnTo>
                  <a:lnTo>
                    <a:pt x="20594" y="12962"/>
                  </a:lnTo>
                  <a:lnTo>
                    <a:pt x="20357" y="12821"/>
                  </a:lnTo>
                  <a:lnTo>
                    <a:pt x="20120" y="12764"/>
                  </a:lnTo>
                  <a:lnTo>
                    <a:pt x="19882" y="12708"/>
                  </a:lnTo>
                  <a:lnTo>
                    <a:pt x="19645" y="12736"/>
                  </a:lnTo>
                  <a:lnTo>
                    <a:pt x="19430" y="12793"/>
                  </a:lnTo>
                  <a:lnTo>
                    <a:pt x="19227" y="12906"/>
                  </a:lnTo>
                  <a:lnTo>
                    <a:pt x="19148" y="12962"/>
                  </a:lnTo>
                  <a:lnTo>
                    <a:pt x="19058" y="13047"/>
                  </a:lnTo>
                  <a:lnTo>
                    <a:pt x="18990" y="13146"/>
                  </a:lnTo>
                  <a:lnTo>
                    <a:pt x="18911" y="13259"/>
                  </a:lnTo>
                  <a:lnTo>
                    <a:pt x="18775" y="13471"/>
                  </a:lnTo>
                  <a:lnTo>
                    <a:pt x="18628" y="13641"/>
                  </a:lnTo>
                  <a:lnTo>
                    <a:pt x="18470" y="13740"/>
                  </a:lnTo>
                  <a:lnTo>
                    <a:pt x="18301" y="13825"/>
                  </a:lnTo>
                  <a:lnTo>
                    <a:pt x="18143" y="13853"/>
                  </a:lnTo>
                  <a:lnTo>
                    <a:pt x="17973" y="13881"/>
                  </a:lnTo>
                  <a:lnTo>
                    <a:pt x="17804" y="13853"/>
                  </a:lnTo>
                  <a:lnTo>
                    <a:pt x="17646" y="13796"/>
                  </a:lnTo>
                  <a:lnTo>
                    <a:pt x="17499" y="13726"/>
                  </a:lnTo>
                  <a:lnTo>
                    <a:pt x="17341" y="13641"/>
                  </a:lnTo>
                  <a:lnTo>
                    <a:pt x="17216" y="13528"/>
                  </a:lnTo>
                  <a:lnTo>
                    <a:pt x="17103" y="13386"/>
                  </a:lnTo>
                  <a:lnTo>
                    <a:pt x="17024" y="13259"/>
                  </a:lnTo>
                  <a:lnTo>
                    <a:pt x="16934" y="13118"/>
                  </a:lnTo>
                  <a:lnTo>
                    <a:pt x="16889" y="12991"/>
                  </a:lnTo>
                  <a:lnTo>
                    <a:pt x="16889" y="12849"/>
                  </a:lnTo>
                  <a:lnTo>
                    <a:pt x="16889" y="12383"/>
                  </a:lnTo>
                  <a:lnTo>
                    <a:pt x="16889" y="11662"/>
                  </a:lnTo>
                  <a:lnTo>
                    <a:pt x="16889" y="10701"/>
                  </a:lnTo>
                  <a:lnTo>
                    <a:pt x="16889" y="9640"/>
                  </a:lnTo>
                  <a:lnTo>
                    <a:pt x="16889" y="8566"/>
                  </a:lnTo>
                  <a:lnTo>
                    <a:pt x="16889" y="7478"/>
                  </a:lnTo>
                  <a:lnTo>
                    <a:pt x="16889" y="6502"/>
                  </a:lnTo>
                  <a:lnTo>
                    <a:pt x="16889" y="5739"/>
                  </a:lnTo>
                  <a:lnTo>
                    <a:pt x="16674" y="5894"/>
                  </a:lnTo>
                  <a:lnTo>
                    <a:pt x="16414" y="6036"/>
                  </a:lnTo>
                  <a:lnTo>
                    <a:pt x="16154" y="6177"/>
                  </a:lnTo>
                  <a:lnTo>
                    <a:pt x="15849" y="6248"/>
                  </a:lnTo>
                  <a:lnTo>
                    <a:pt x="15544" y="6304"/>
                  </a:lnTo>
                  <a:lnTo>
                    <a:pt x="15217" y="6332"/>
                  </a:lnTo>
                  <a:lnTo>
                    <a:pt x="14866" y="6361"/>
                  </a:lnTo>
                  <a:lnTo>
                    <a:pt x="14550" y="6361"/>
                  </a:lnTo>
                  <a:lnTo>
                    <a:pt x="14200" y="6332"/>
                  </a:lnTo>
                  <a:lnTo>
                    <a:pt x="13850" y="6276"/>
                  </a:lnTo>
                  <a:lnTo>
                    <a:pt x="13522" y="6219"/>
                  </a:lnTo>
                  <a:lnTo>
                    <a:pt x="13206" y="6149"/>
                  </a:lnTo>
                  <a:lnTo>
                    <a:pt x="12901" y="6064"/>
                  </a:lnTo>
                  <a:lnTo>
                    <a:pt x="12618" y="5951"/>
                  </a:lnTo>
                  <a:lnTo>
                    <a:pt x="12358" y="5838"/>
                  </a:lnTo>
                  <a:lnTo>
                    <a:pt x="12121" y="5739"/>
                  </a:lnTo>
                  <a:lnTo>
                    <a:pt x="11941" y="5626"/>
                  </a:lnTo>
                  <a:lnTo>
                    <a:pt x="11794" y="5513"/>
                  </a:lnTo>
                  <a:lnTo>
                    <a:pt x="11658" y="5414"/>
                  </a:lnTo>
                  <a:lnTo>
                    <a:pt x="11556" y="5301"/>
                  </a:lnTo>
                  <a:lnTo>
                    <a:pt x="11466" y="5187"/>
                  </a:lnTo>
                  <a:lnTo>
                    <a:pt x="11398" y="5089"/>
                  </a:lnTo>
                  <a:lnTo>
                    <a:pt x="11376" y="4947"/>
                  </a:lnTo>
                  <a:lnTo>
                    <a:pt x="11353" y="4834"/>
                  </a:lnTo>
                  <a:lnTo>
                    <a:pt x="11353" y="4707"/>
                  </a:lnTo>
                  <a:lnTo>
                    <a:pt x="11376" y="4565"/>
                  </a:lnTo>
                  <a:lnTo>
                    <a:pt x="11443" y="4410"/>
                  </a:lnTo>
                  <a:lnTo>
                    <a:pt x="11511" y="4240"/>
                  </a:lnTo>
                  <a:lnTo>
                    <a:pt x="11703" y="3887"/>
                  </a:lnTo>
                  <a:lnTo>
                    <a:pt x="11986" y="3505"/>
                  </a:lnTo>
                  <a:lnTo>
                    <a:pt x="12144" y="3265"/>
                  </a:lnTo>
                  <a:lnTo>
                    <a:pt x="12246" y="3025"/>
                  </a:lnTo>
                  <a:lnTo>
                    <a:pt x="12336" y="2756"/>
                  </a:lnTo>
                  <a:lnTo>
                    <a:pt x="12404" y="2445"/>
                  </a:lnTo>
                  <a:lnTo>
                    <a:pt x="12438" y="2176"/>
                  </a:lnTo>
                  <a:lnTo>
                    <a:pt x="12438" y="1880"/>
                  </a:lnTo>
                  <a:lnTo>
                    <a:pt x="12404" y="1583"/>
                  </a:lnTo>
                  <a:lnTo>
                    <a:pt x="12336" y="1314"/>
                  </a:lnTo>
                  <a:lnTo>
                    <a:pt x="12246" y="1046"/>
                  </a:lnTo>
                  <a:lnTo>
                    <a:pt x="12099" y="791"/>
                  </a:lnTo>
                  <a:lnTo>
                    <a:pt x="12008" y="692"/>
                  </a:lnTo>
                  <a:lnTo>
                    <a:pt x="11918" y="579"/>
                  </a:lnTo>
                  <a:lnTo>
                    <a:pt x="11816" y="466"/>
                  </a:lnTo>
                  <a:lnTo>
                    <a:pt x="11703" y="381"/>
                  </a:lnTo>
                  <a:lnTo>
                    <a:pt x="11579" y="310"/>
                  </a:lnTo>
                  <a:lnTo>
                    <a:pt x="11443" y="226"/>
                  </a:lnTo>
                  <a:lnTo>
                    <a:pt x="11297" y="169"/>
                  </a:lnTo>
                  <a:lnTo>
                    <a:pt x="11138" y="113"/>
                  </a:lnTo>
                  <a:lnTo>
                    <a:pt x="10969" y="56"/>
                  </a:lnTo>
                  <a:lnTo>
                    <a:pt x="10800" y="28"/>
                  </a:lnTo>
                  <a:lnTo>
                    <a:pt x="10619" y="28"/>
                  </a:lnTo>
                  <a:lnTo>
                    <a:pt x="10404" y="28"/>
                  </a:lnTo>
                  <a:lnTo>
                    <a:pt x="10257" y="28"/>
                  </a:lnTo>
                  <a:lnTo>
                    <a:pt x="10076" y="56"/>
                  </a:lnTo>
                  <a:lnTo>
                    <a:pt x="9952" y="84"/>
                  </a:lnTo>
                  <a:lnTo>
                    <a:pt x="9794" y="141"/>
                  </a:lnTo>
                  <a:lnTo>
                    <a:pt x="9692" y="226"/>
                  </a:lnTo>
                  <a:lnTo>
                    <a:pt x="9557" y="282"/>
                  </a:lnTo>
                  <a:lnTo>
                    <a:pt x="9455" y="381"/>
                  </a:lnTo>
                  <a:lnTo>
                    <a:pt x="9365" y="466"/>
                  </a:lnTo>
                  <a:lnTo>
                    <a:pt x="9274" y="579"/>
                  </a:lnTo>
                  <a:lnTo>
                    <a:pt x="9184" y="692"/>
                  </a:lnTo>
                  <a:lnTo>
                    <a:pt x="9128" y="791"/>
                  </a:lnTo>
                  <a:lnTo>
                    <a:pt x="9060" y="932"/>
                  </a:lnTo>
                  <a:lnTo>
                    <a:pt x="8969" y="1201"/>
                  </a:lnTo>
                  <a:lnTo>
                    <a:pt x="8913" y="1498"/>
                  </a:lnTo>
                  <a:lnTo>
                    <a:pt x="8890" y="1795"/>
                  </a:lnTo>
                  <a:lnTo>
                    <a:pt x="8890" y="2120"/>
                  </a:lnTo>
                  <a:lnTo>
                    <a:pt x="8913" y="2445"/>
                  </a:lnTo>
                  <a:lnTo>
                    <a:pt x="8969" y="2756"/>
                  </a:lnTo>
                  <a:lnTo>
                    <a:pt x="9060" y="3081"/>
                  </a:lnTo>
                  <a:lnTo>
                    <a:pt x="9173" y="3378"/>
                  </a:lnTo>
                  <a:lnTo>
                    <a:pt x="9297" y="3647"/>
                  </a:lnTo>
                  <a:lnTo>
                    <a:pt x="9466" y="3887"/>
                  </a:lnTo>
                  <a:lnTo>
                    <a:pt x="9579" y="4085"/>
                  </a:lnTo>
                  <a:lnTo>
                    <a:pt x="9670" y="4269"/>
                  </a:lnTo>
                  <a:lnTo>
                    <a:pt x="9726" y="4467"/>
                  </a:lnTo>
                  <a:lnTo>
                    <a:pt x="9771" y="4650"/>
                  </a:lnTo>
                  <a:lnTo>
                    <a:pt x="9771" y="4834"/>
                  </a:lnTo>
                  <a:lnTo>
                    <a:pt x="9749" y="5032"/>
                  </a:lnTo>
                  <a:lnTo>
                    <a:pt x="9715" y="5216"/>
                  </a:lnTo>
                  <a:lnTo>
                    <a:pt x="9625" y="5385"/>
                  </a:lnTo>
                  <a:lnTo>
                    <a:pt x="9534" y="5513"/>
                  </a:lnTo>
                  <a:lnTo>
                    <a:pt x="9410" y="5626"/>
                  </a:lnTo>
                  <a:lnTo>
                    <a:pt x="9229" y="5710"/>
                  </a:lnTo>
                  <a:lnTo>
                    <a:pt x="9060" y="5767"/>
                  </a:lnTo>
                  <a:lnTo>
                    <a:pt x="8845" y="5767"/>
                  </a:lnTo>
                  <a:lnTo>
                    <a:pt x="8585" y="5739"/>
                  </a:lnTo>
                  <a:lnTo>
                    <a:pt x="8325" y="5654"/>
                  </a:lnTo>
                  <a:lnTo>
                    <a:pt x="8020" y="5513"/>
                  </a:lnTo>
                  <a:lnTo>
                    <a:pt x="7840" y="5442"/>
                  </a:lnTo>
                  <a:lnTo>
                    <a:pt x="7648" y="5385"/>
                  </a:lnTo>
                  <a:lnTo>
                    <a:pt x="7433" y="5329"/>
                  </a:lnTo>
                  <a:lnTo>
                    <a:pt x="7241" y="5301"/>
                  </a:lnTo>
                  <a:lnTo>
                    <a:pt x="6755" y="5301"/>
                  </a:lnTo>
                  <a:lnTo>
                    <a:pt x="6281" y="5329"/>
                  </a:lnTo>
                  <a:lnTo>
                    <a:pt x="5784" y="5385"/>
                  </a:lnTo>
                  <a:lnTo>
                    <a:pt x="5264" y="5498"/>
                  </a:lnTo>
                  <a:lnTo>
                    <a:pt x="4744" y="5597"/>
                  </a:lnTo>
                  <a:lnTo>
                    <a:pt x="4247" y="5739"/>
                  </a:lnTo>
                  <a:lnTo>
                    <a:pt x="4202" y="5894"/>
                  </a:lnTo>
                  <a:lnTo>
                    <a:pt x="4202" y="6191"/>
                  </a:lnTo>
                  <a:lnTo>
                    <a:pt x="4202" y="6545"/>
                  </a:lnTo>
                  <a:lnTo>
                    <a:pt x="4225" y="6954"/>
                  </a:lnTo>
                  <a:lnTo>
                    <a:pt x="4315" y="7930"/>
                  </a:lnTo>
                  <a:lnTo>
                    <a:pt x="4394" y="9018"/>
                  </a:lnTo>
                  <a:lnTo>
                    <a:pt x="4439" y="9570"/>
                  </a:lnTo>
                  <a:lnTo>
                    <a:pt x="4462" y="10107"/>
                  </a:lnTo>
                  <a:lnTo>
                    <a:pt x="4484" y="10630"/>
                  </a:lnTo>
                  <a:lnTo>
                    <a:pt x="4507" y="11082"/>
                  </a:lnTo>
                  <a:lnTo>
                    <a:pt x="4484" y="11520"/>
                  </a:lnTo>
                  <a:lnTo>
                    <a:pt x="4439" y="11874"/>
                  </a:lnTo>
                  <a:lnTo>
                    <a:pt x="4394" y="12029"/>
                  </a:lnTo>
                  <a:lnTo>
                    <a:pt x="4349" y="12171"/>
                  </a:lnTo>
                  <a:lnTo>
                    <a:pt x="4315" y="12284"/>
                  </a:lnTo>
                  <a:lnTo>
                    <a:pt x="4247" y="12354"/>
                  </a:lnTo>
                  <a:close/>
                </a:path>
              </a:pathLst>
            </a:custGeom>
            <a:solidFill>
              <a:schemeClr val="accent5"/>
            </a:solidFill>
            <a:ln w="19050">
              <a:solidFill>
                <a:schemeClr val="bg1"/>
              </a:solidFill>
              <a:miter lim="800000"/>
              <a:headEnd/>
              <a:tailEnd/>
            </a:ln>
          </p:spPr>
          <p:txBody>
            <a:bodyPr/>
            <a:lstStyle/>
            <a:p>
              <a:endParaRPr lang="en-US"/>
            </a:p>
          </p:txBody>
        </p:sp>
        <p:sp>
          <p:nvSpPr>
            <p:cNvPr id="36" name="Puzzle4">
              <a:extLst>
                <a:ext uri="{FF2B5EF4-FFF2-40B4-BE49-F238E27FC236}">
                  <a16:creationId xmlns:a16="http://schemas.microsoft.com/office/drawing/2014/main" id="{7186EDEA-9F8F-4C01-AB63-910A93E1CCBD}"/>
                </a:ext>
              </a:extLst>
            </p:cNvPr>
            <p:cNvSpPr>
              <a:spLocks noEditPoints="1" noChangeArrowheads="1"/>
            </p:cNvSpPr>
            <p:nvPr/>
          </p:nvSpPr>
          <p:spPr bwMode="auto">
            <a:xfrm>
              <a:off x="6070797" y="4386324"/>
              <a:ext cx="1151660" cy="1770631"/>
            </a:xfrm>
            <a:custGeom>
              <a:avLst/>
              <a:gdLst>
                <a:gd name="T0" fmla="*/ 362653 w 21600"/>
                <a:gd name="T1" fmla="*/ 718263 h 21600"/>
                <a:gd name="T2" fmla="*/ 19776 w 21600"/>
                <a:gd name="T3" fmla="*/ 1049421 h 21600"/>
                <a:gd name="T4" fmla="*/ 502047 w 21600"/>
                <a:gd name="T5" fmla="*/ 1338263 h 21600"/>
                <a:gd name="T6" fmla="*/ 913289 w 21600"/>
                <a:gd name="T7" fmla="*/ 1037835 h 21600"/>
                <a:gd name="T8" fmla="*/ 609965 w 21600"/>
                <a:gd name="T9" fmla="*/ 674584 h 21600"/>
                <a:gd name="T10" fmla="*/ 918222 w 21600"/>
                <a:gd name="T11" fmla="*/ 292187 h 21600"/>
                <a:gd name="T12" fmla="*/ 484672 w 21600"/>
                <a:gd name="T13" fmla="*/ 682 h 21600"/>
                <a:gd name="T14" fmla="*/ 19776 w 21600"/>
                <a:gd name="T15" fmla="*/ 292187 h 21600"/>
                <a:gd name="T16" fmla="*/ 0 60000 65536"/>
                <a:gd name="T17" fmla="*/ 0 60000 65536"/>
                <a:gd name="T18" fmla="*/ 0 60000 65536"/>
                <a:gd name="T19" fmla="*/ 0 60000 65536"/>
                <a:gd name="T20" fmla="*/ 0 60000 65536"/>
                <a:gd name="T21" fmla="*/ 0 60000 65536"/>
                <a:gd name="T22" fmla="*/ 0 60000 65536"/>
                <a:gd name="T23" fmla="*/ 0 60000 65536"/>
                <a:gd name="T24" fmla="*/ 2076 w 21600"/>
                <a:gd name="T25" fmla="*/ 5664 h 21600"/>
                <a:gd name="T26" fmla="*/ 20203 w 21600"/>
                <a:gd name="T27" fmla="*/ 1598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3813" y="10590"/>
                  </a:moveTo>
                  <a:lnTo>
                    <a:pt x="3927" y="10513"/>
                  </a:lnTo>
                  <a:lnTo>
                    <a:pt x="4078" y="10425"/>
                  </a:lnTo>
                  <a:lnTo>
                    <a:pt x="4210" y="10359"/>
                  </a:lnTo>
                  <a:lnTo>
                    <a:pt x="4361" y="10315"/>
                  </a:lnTo>
                  <a:lnTo>
                    <a:pt x="4682" y="10237"/>
                  </a:lnTo>
                  <a:lnTo>
                    <a:pt x="5041" y="10193"/>
                  </a:lnTo>
                  <a:lnTo>
                    <a:pt x="5456" y="10171"/>
                  </a:lnTo>
                  <a:lnTo>
                    <a:pt x="5853" y="10193"/>
                  </a:lnTo>
                  <a:lnTo>
                    <a:pt x="6249" y="10260"/>
                  </a:lnTo>
                  <a:lnTo>
                    <a:pt x="6646" y="10337"/>
                  </a:lnTo>
                  <a:lnTo>
                    <a:pt x="7004" y="10469"/>
                  </a:lnTo>
                  <a:lnTo>
                    <a:pt x="7363" y="10612"/>
                  </a:lnTo>
                  <a:lnTo>
                    <a:pt x="7665" y="10788"/>
                  </a:lnTo>
                  <a:lnTo>
                    <a:pt x="7911" y="10998"/>
                  </a:lnTo>
                  <a:lnTo>
                    <a:pt x="8024" y="11097"/>
                  </a:lnTo>
                  <a:lnTo>
                    <a:pt x="8137" y="11207"/>
                  </a:lnTo>
                  <a:lnTo>
                    <a:pt x="8194" y="11340"/>
                  </a:lnTo>
                  <a:lnTo>
                    <a:pt x="8269" y="11461"/>
                  </a:lnTo>
                  <a:lnTo>
                    <a:pt x="8307" y="11593"/>
                  </a:lnTo>
                  <a:lnTo>
                    <a:pt x="8307" y="11714"/>
                  </a:lnTo>
                  <a:lnTo>
                    <a:pt x="8307" y="11868"/>
                  </a:lnTo>
                  <a:lnTo>
                    <a:pt x="8307" y="12012"/>
                  </a:lnTo>
                  <a:lnTo>
                    <a:pt x="8194" y="12265"/>
                  </a:lnTo>
                  <a:lnTo>
                    <a:pt x="8062" y="12519"/>
                  </a:lnTo>
                  <a:lnTo>
                    <a:pt x="7873" y="12706"/>
                  </a:lnTo>
                  <a:lnTo>
                    <a:pt x="7627" y="12904"/>
                  </a:lnTo>
                  <a:lnTo>
                    <a:pt x="7363" y="13048"/>
                  </a:lnTo>
                  <a:lnTo>
                    <a:pt x="7080" y="13180"/>
                  </a:lnTo>
                  <a:lnTo>
                    <a:pt x="6759" y="13257"/>
                  </a:lnTo>
                  <a:lnTo>
                    <a:pt x="6419" y="13345"/>
                  </a:lnTo>
                  <a:lnTo>
                    <a:pt x="6098" y="13389"/>
                  </a:lnTo>
                  <a:lnTo>
                    <a:pt x="5739" y="13389"/>
                  </a:lnTo>
                  <a:lnTo>
                    <a:pt x="5418" y="13389"/>
                  </a:lnTo>
                  <a:lnTo>
                    <a:pt x="5079" y="13345"/>
                  </a:lnTo>
                  <a:lnTo>
                    <a:pt x="4758" y="13301"/>
                  </a:lnTo>
                  <a:lnTo>
                    <a:pt x="4474" y="13213"/>
                  </a:lnTo>
                  <a:lnTo>
                    <a:pt x="4172" y="13114"/>
                  </a:lnTo>
                  <a:lnTo>
                    <a:pt x="3965" y="12982"/>
                  </a:lnTo>
                  <a:lnTo>
                    <a:pt x="3738" y="12838"/>
                  </a:lnTo>
                  <a:lnTo>
                    <a:pt x="3493" y="12706"/>
                  </a:lnTo>
                  <a:lnTo>
                    <a:pt x="3228" y="12607"/>
                  </a:lnTo>
                  <a:lnTo>
                    <a:pt x="2945" y="12519"/>
                  </a:lnTo>
                  <a:lnTo>
                    <a:pt x="2700" y="12431"/>
                  </a:lnTo>
                  <a:lnTo>
                    <a:pt x="2397" y="12375"/>
                  </a:lnTo>
                  <a:lnTo>
                    <a:pt x="2152" y="12331"/>
                  </a:lnTo>
                  <a:lnTo>
                    <a:pt x="1888" y="12309"/>
                  </a:lnTo>
                  <a:lnTo>
                    <a:pt x="1642" y="12309"/>
                  </a:lnTo>
                  <a:lnTo>
                    <a:pt x="1397" y="12331"/>
                  </a:lnTo>
                  <a:lnTo>
                    <a:pt x="1170" y="12397"/>
                  </a:lnTo>
                  <a:lnTo>
                    <a:pt x="962" y="12453"/>
                  </a:lnTo>
                  <a:lnTo>
                    <a:pt x="774" y="12563"/>
                  </a:lnTo>
                  <a:lnTo>
                    <a:pt x="623" y="12684"/>
                  </a:lnTo>
                  <a:lnTo>
                    <a:pt x="528" y="12838"/>
                  </a:lnTo>
                  <a:lnTo>
                    <a:pt x="453" y="13026"/>
                  </a:lnTo>
                  <a:lnTo>
                    <a:pt x="339" y="13477"/>
                  </a:lnTo>
                  <a:lnTo>
                    <a:pt x="226" y="13984"/>
                  </a:lnTo>
                  <a:lnTo>
                    <a:pt x="151" y="14535"/>
                  </a:lnTo>
                  <a:lnTo>
                    <a:pt x="113" y="15075"/>
                  </a:lnTo>
                  <a:lnTo>
                    <a:pt x="113" y="15626"/>
                  </a:lnTo>
                  <a:lnTo>
                    <a:pt x="151" y="16133"/>
                  </a:lnTo>
                  <a:lnTo>
                    <a:pt x="188" y="16376"/>
                  </a:lnTo>
                  <a:lnTo>
                    <a:pt x="264" y="16585"/>
                  </a:lnTo>
                  <a:lnTo>
                    <a:pt x="339" y="16773"/>
                  </a:lnTo>
                  <a:lnTo>
                    <a:pt x="453" y="16938"/>
                  </a:lnTo>
                  <a:lnTo>
                    <a:pt x="1095" y="16883"/>
                  </a:lnTo>
                  <a:lnTo>
                    <a:pt x="1963" y="16795"/>
                  </a:lnTo>
                  <a:lnTo>
                    <a:pt x="2945" y="16751"/>
                  </a:lnTo>
                  <a:lnTo>
                    <a:pt x="3965" y="16706"/>
                  </a:lnTo>
                  <a:lnTo>
                    <a:pt x="5022" y="16684"/>
                  </a:lnTo>
                  <a:lnTo>
                    <a:pt x="5947" y="16684"/>
                  </a:lnTo>
                  <a:lnTo>
                    <a:pt x="6759" y="16706"/>
                  </a:lnTo>
                  <a:lnTo>
                    <a:pt x="7363" y="16751"/>
                  </a:lnTo>
                  <a:lnTo>
                    <a:pt x="7948" y="16839"/>
                  </a:lnTo>
                  <a:lnTo>
                    <a:pt x="8458" y="16916"/>
                  </a:lnTo>
                  <a:lnTo>
                    <a:pt x="8893" y="17026"/>
                  </a:lnTo>
                  <a:lnTo>
                    <a:pt x="9289" y="17158"/>
                  </a:lnTo>
                  <a:lnTo>
                    <a:pt x="9572" y="17280"/>
                  </a:lnTo>
                  <a:lnTo>
                    <a:pt x="9799" y="17412"/>
                  </a:lnTo>
                  <a:lnTo>
                    <a:pt x="9969" y="17555"/>
                  </a:lnTo>
                  <a:lnTo>
                    <a:pt x="10120" y="17687"/>
                  </a:lnTo>
                  <a:lnTo>
                    <a:pt x="10158" y="17831"/>
                  </a:lnTo>
                  <a:lnTo>
                    <a:pt x="10195" y="17974"/>
                  </a:lnTo>
                  <a:lnTo>
                    <a:pt x="10158" y="18128"/>
                  </a:lnTo>
                  <a:lnTo>
                    <a:pt x="10082" y="18271"/>
                  </a:lnTo>
                  <a:lnTo>
                    <a:pt x="9969" y="18426"/>
                  </a:lnTo>
                  <a:lnTo>
                    <a:pt x="9837" y="18569"/>
                  </a:lnTo>
                  <a:lnTo>
                    <a:pt x="9648" y="18701"/>
                  </a:lnTo>
                  <a:lnTo>
                    <a:pt x="9440" y="18822"/>
                  </a:lnTo>
                  <a:lnTo>
                    <a:pt x="9213" y="18999"/>
                  </a:lnTo>
                  <a:lnTo>
                    <a:pt x="9044" y="19186"/>
                  </a:lnTo>
                  <a:lnTo>
                    <a:pt x="8893" y="19395"/>
                  </a:lnTo>
                  <a:lnTo>
                    <a:pt x="8817" y="19627"/>
                  </a:lnTo>
                  <a:lnTo>
                    <a:pt x="8779" y="19858"/>
                  </a:lnTo>
                  <a:lnTo>
                    <a:pt x="8779" y="20112"/>
                  </a:lnTo>
                  <a:lnTo>
                    <a:pt x="8855" y="20354"/>
                  </a:lnTo>
                  <a:lnTo>
                    <a:pt x="8968" y="20586"/>
                  </a:lnTo>
                  <a:lnTo>
                    <a:pt x="9138" y="20817"/>
                  </a:lnTo>
                  <a:lnTo>
                    <a:pt x="9365" y="21026"/>
                  </a:lnTo>
                  <a:lnTo>
                    <a:pt x="9610" y="21192"/>
                  </a:lnTo>
                  <a:lnTo>
                    <a:pt x="9950" y="21368"/>
                  </a:lnTo>
                  <a:lnTo>
                    <a:pt x="10120" y="21445"/>
                  </a:lnTo>
                  <a:lnTo>
                    <a:pt x="10346" y="21511"/>
                  </a:lnTo>
                  <a:lnTo>
                    <a:pt x="10516" y="21555"/>
                  </a:lnTo>
                  <a:lnTo>
                    <a:pt x="10743" y="21600"/>
                  </a:lnTo>
                  <a:lnTo>
                    <a:pt x="10988" y="21644"/>
                  </a:lnTo>
                  <a:lnTo>
                    <a:pt x="11215" y="21666"/>
                  </a:lnTo>
                  <a:lnTo>
                    <a:pt x="11498" y="21666"/>
                  </a:lnTo>
                  <a:lnTo>
                    <a:pt x="11762" y="21666"/>
                  </a:lnTo>
                  <a:lnTo>
                    <a:pt x="12253" y="21644"/>
                  </a:lnTo>
                  <a:lnTo>
                    <a:pt x="12763" y="21577"/>
                  </a:lnTo>
                  <a:lnTo>
                    <a:pt x="13197" y="21467"/>
                  </a:lnTo>
                  <a:lnTo>
                    <a:pt x="13556" y="21346"/>
                  </a:lnTo>
                  <a:lnTo>
                    <a:pt x="13896" y="21192"/>
                  </a:lnTo>
                  <a:lnTo>
                    <a:pt x="14179" y="21026"/>
                  </a:lnTo>
                  <a:lnTo>
                    <a:pt x="14444" y="20839"/>
                  </a:lnTo>
                  <a:lnTo>
                    <a:pt x="14576" y="20641"/>
                  </a:lnTo>
                  <a:lnTo>
                    <a:pt x="14727" y="20431"/>
                  </a:lnTo>
                  <a:lnTo>
                    <a:pt x="14765" y="20200"/>
                  </a:lnTo>
                  <a:lnTo>
                    <a:pt x="14802" y="19991"/>
                  </a:lnTo>
                  <a:lnTo>
                    <a:pt x="14727" y="19759"/>
                  </a:lnTo>
                  <a:lnTo>
                    <a:pt x="14613" y="19550"/>
                  </a:lnTo>
                  <a:lnTo>
                    <a:pt x="14444" y="19307"/>
                  </a:lnTo>
                  <a:lnTo>
                    <a:pt x="14217" y="19098"/>
                  </a:lnTo>
                  <a:lnTo>
                    <a:pt x="13934" y="18911"/>
                  </a:lnTo>
                  <a:lnTo>
                    <a:pt x="13669" y="18745"/>
                  </a:lnTo>
                  <a:lnTo>
                    <a:pt x="13462" y="18547"/>
                  </a:lnTo>
                  <a:lnTo>
                    <a:pt x="13311" y="18337"/>
                  </a:lnTo>
                  <a:lnTo>
                    <a:pt x="13197" y="18150"/>
                  </a:lnTo>
                  <a:lnTo>
                    <a:pt x="13122" y="17941"/>
                  </a:lnTo>
                  <a:lnTo>
                    <a:pt x="13122" y="17720"/>
                  </a:lnTo>
                  <a:lnTo>
                    <a:pt x="13122" y="17533"/>
                  </a:lnTo>
                  <a:lnTo>
                    <a:pt x="13197" y="17346"/>
                  </a:lnTo>
                  <a:lnTo>
                    <a:pt x="13273" y="17158"/>
                  </a:lnTo>
                  <a:lnTo>
                    <a:pt x="13386" y="16982"/>
                  </a:lnTo>
                  <a:lnTo>
                    <a:pt x="13537" y="16839"/>
                  </a:lnTo>
                  <a:lnTo>
                    <a:pt x="13707" y="16706"/>
                  </a:lnTo>
                  <a:lnTo>
                    <a:pt x="13896" y="16607"/>
                  </a:lnTo>
                  <a:lnTo>
                    <a:pt x="14104" y="16519"/>
                  </a:lnTo>
                  <a:lnTo>
                    <a:pt x="14330" y="16453"/>
                  </a:lnTo>
                  <a:lnTo>
                    <a:pt x="14538" y="16431"/>
                  </a:lnTo>
                  <a:lnTo>
                    <a:pt x="14897" y="16453"/>
                  </a:lnTo>
                  <a:lnTo>
                    <a:pt x="15406" y="16497"/>
                  </a:lnTo>
                  <a:lnTo>
                    <a:pt x="16105" y="16541"/>
                  </a:lnTo>
                  <a:lnTo>
                    <a:pt x="16898" y="16607"/>
                  </a:lnTo>
                  <a:lnTo>
                    <a:pt x="17804" y="16651"/>
                  </a:lnTo>
                  <a:lnTo>
                    <a:pt x="18786" y="16684"/>
                  </a:lnTo>
                  <a:lnTo>
                    <a:pt x="19844" y="16728"/>
                  </a:lnTo>
                  <a:lnTo>
                    <a:pt x="20920" y="16751"/>
                  </a:lnTo>
                  <a:lnTo>
                    <a:pt x="21109" y="16497"/>
                  </a:lnTo>
                  <a:lnTo>
                    <a:pt x="21241" y="16222"/>
                  </a:lnTo>
                  <a:lnTo>
                    <a:pt x="21392" y="15946"/>
                  </a:lnTo>
                  <a:lnTo>
                    <a:pt x="21467" y="15648"/>
                  </a:lnTo>
                  <a:lnTo>
                    <a:pt x="21543" y="15351"/>
                  </a:lnTo>
                  <a:lnTo>
                    <a:pt x="21618" y="15042"/>
                  </a:lnTo>
                  <a:lnTo>
                    <a:pt x="21618" y="14745"/>
                  </a:lnTo>
                  <a:lnTo>
                    <a:pt x="21618" y="14447"/>
                  </a:lnTo>
                  <a:lnTo>
                    <a:pt x="21618" y="14150"/>
                  </a:lnTo>
                  <a:lnTo>
                    <a:pt x="21581" y="13852"/>
                  </a:lnTo>
                  <a:lnTo>
                    <a:pt x="21505" y="13577"/>
                  </a:lnTo>
                  <a:lnTo>
                    <a:pt x="21430" y="13301"/>
                  </a:lnTo>
                  <a:lnTo>
                    <a:pt x="21354" y="13048"/>
                  </a:lnTo>
                  <a:lnTo>
                    <a:pt x="21241" y="12816"/>
                  </a:lnTo>
                  <a:lnTo>
                    <a:pt x="21146" y="12607"/>
                  </a:lnTo>
                  <a:lnTo>
                    <a:pt x="21033" y="12431"/>
                  </a:lnTo>
                  <a:lnTo>
                    <a:pt x="20920" y="12265"/>
                  </a:lnTo>
                  <a:lnTo>
                    <a:pt x="20769" y="12144"/>
                  </a:lnTo>
                  <a:lnTo>
                    <a:pt x="20637" y="12034"/>
                  </a:lnTo>
                  <a:lnTo>
                    <a:pt x="20486" y="11946"/>
                  </a:lnTo>
                  <a:lnTo>
                    <a:pt x="20297" y="11891"/>
                  </a:lnTo>
                  <a:lnTo>
                    <a:pt x="20165" y="11846"/>
                  </a:lnTo>
                  <a:lnTo>
                    <a:pt x="19976" y="11824"/>
                  </a:lnTo>
                  <a:lnTo>
                    <a:pt x="19806" y="11802"/>
                  </a:lnTo>
                  <a:lnTo>
                    <a:pt x="19390" y="11824"/>
                  </a:lnTo>
                  <a:lnTo>
                    <a:pt x="18956" y="11891"/>
                  </a:lnTo>
                  <a:lnTo>
                    <a:pt x="18503" y="11968"/>
                  </a:lnTo>
                  <a:lnTo>
                    <a:pt x="17993" y="12078"/>
                  </a:lnTo>
                  <a:lnTo>
                    <a:pt x="17653" y="12144"/>
                  </a:lnTo>
                  <a:lnTo>
                    <a:pt x="17332" y="12199"/>
                  </a:lnTo>
                  <a:lnTo>
                    <a:pt x="17049" y="12221"/>
                  </a:lnTo>
                  <a:lnTo>
                    <a:pt x="16747" y="12243"/>
                  </a:lnTo>
                  <a:lnTo>
                    <a:pt x="16464" y="12243"/>
                  </a:lnTo>
                  <a:lnTo>
                    <a:pt x="16218" y="12243"/>
                  </a:lnTo>
                  <a:lnTo>
                    <a:pt x="15992" y="12221"/>
                  </a:lnTo>
                  <a:lnTo>
                    <a:pt x="15746" y="12199"/>
                  </a:lnTo>
                  <a:lnTo>
                    <a:pt x="15520" y="12155"/>
                  </a:lnTo>
                  <a:lnTo>
                    <a:pt x="15350" y="12122"/>
                  </a:lnTo>
                  <a:lnTo>
                    <a:pt x="15161" y="12056"/>
                  </a:lnTo>
                  <a:lnTo>
                    <a:pt x="14972" y="11990"/>
                  </a:lnTo>
                  <a:lnTo>
                    <a:pt x="14689" y="11846"/>
                  </a:lnTo>
                  <a:lnTo>
                    <a:pt x="14444" y="11670"/>
                  </a:lnTo>
                  <a:lnTo>
                    <a:pt x="14255" y="11483"/>
                  </a:lnTo>
                  <a:lnTo>
                    <a:pt x="14104" y="11295"/>
                  </a:lnTo>
                  <a:lnTo>
                    <a:pt x="14028" y="11086"/>
                  </a:lnTo>
                  <a:lnTo>
                    <a:pt x="13972" y="10888"/>
                  </a:lnTo>
                  <a:lnTo>
                    <a:pt x="13972" y="10700"/>
                  </a:lnTo>
                  <a:lnTo>
                    <a:pt x="14009" y="10513"/>
                  </a:lnTo>
                  <a:lnTo>
                    <a:pt x="14066" y="10359"/>
                  </a:lnTo>
                  <a:lnTo>
                    <a:pt x="14179" y="10215"/>
                  </a:lnTo>
                  <a:lnTo>
                    <a:pt x="14406" y="10006"/>
                  </a:lnTo>
                  <a:lnTo>
                    <a:pt x="14651" y="9830"/>
                  </a:lnTo>
                  <a:lnTo>
                    <a:pt x="14878" y="9686"/>
                  </a:lnTo>
                  <a:lnTo>
                    <a:pt x="15123" y="9554"/>
                  </a:lnTo>
                  <a:lnTo>
                    <a:pt x="15350" y="9477"/>
                  </a:lnTo>
                  <a:lnTo>
                    <a:pt x="15558" y="9411"/>
                  </a:lnTo>
                  <a:lnTo>
                    <a:pt x="15803" y="9345"/>
                  </a:lnTo>
                  <a:lnTo>
                    <a:pt x="16030" y="9323"/>
                  </a:lnTo>
                  <a:lnTo>
                    <a:pt x="16256" y="9301"/>
                  </a:lnTo>
                  <a:lnTo>
                    <a:pt x="16464" y="9323"/>
                  </a:lnTo>
                  <a:lnTo>
                    <a:pt x="16690" y="9345"/>
                  </a:lnTo>
                  <a:lnTo>
                    <a:pt x="16898" y="9367"/>
                  </a:lnTo>
                  <a:lnTo>
                    <a:pt x="17332" y="9477"/>
                  </a:lnTo>
                  <a:lnTo>
                    <a:pt x="17767" y="9598"/>
                  </a:lnTo>
                  <a:lnTo>
                    <a:pt x="18163" y="9731"/>
                  </a:lnTo>
                  <a:lnTo>
                    <a:pt x="18597" y="9874"/>
                  </a:lnTo>
                  <a:lnTo>
                    <a:pt x="18994" y="10006"/>
                  </a:lnTo>
                  <a:lnTo>
                    <a:pt x="19428" y="10083"/>
                  </a:lnTo>
                  <a:lnTo>
                    <a:pt x="19617" y="10127"/>
                  </a:lnTo>
                  <a:lnTo>
                    <a:pt x="19844" y="10149"/>
                  </a:lnTo>
                  <a:lnTo>
                    <a:pt x="20013" y="10149"/>
                  </a:lnTo>
                  <a:lnTo>
                    <a:pt x="20240" y="10127"/>
                  </a:lnTo>
                  <a:lnTo>
                    <a:pt x="20410" y="10105"/>
                  </a:lnTo>
                  <a:lnTo>
                    <a:pt x="20637" y="10061"/>
                  </a:lnTo>
                  <a:lnTo>
                    <a:pt x="20844" y="9984"/>
                  </a:lnTo>
                  <a:lnTo>
                    <a:pt x="21033" y="9896"/>
                  </a:lnTo>
                  <a:lnTo>
                    <a:pt x="21146" y="9830"/>
                  </a:lnTo>
                  <a:lnTo>
                    <a:pt x="21203" y="9753"/>
                  </a:lnTo>
                  <a:lnTo>
                    <a:pt x="21279" y="9642"/>
                  </a:lnTo>
                  <a:lnTo>
                    <a:pt x="21354" y="9521"/>
                  </a:lnTo>
                  <a:lnTo>
                    <a:pt x="21430" y="9246"/>
                  </a:lnTo>
                  <a:lnTo>
                    <a:pt x="21430" y="8904"/>
                  </a:lnTo>
                  <a:lnTo>
                    <a:pt x="21430" y="8540"/>
                  </a:lnTo>
                  <a:lnTo>
                    <a:pt x="21392" y="8144"/>
                  </a:lnTo>
                  <a:lnTo>
                    <a:pt x="21354" y="7714"/>
                  </a:lnTo>
                  <a:lnTo>
                    <a:pt x="21279" y="7295"/>
                  </a:lnTo>
                  <a:lnTo>
                    <a:pt x="21146" y="6446"/>
                  </a:lnTo>
                  <a:lnTo>
                    <a:pt x="20995" y="5686"/>
                  </a:lnTo>
                  <a:lnTo>
                    <a:pt x="20958" y="5366"/>
                  </a:lnTo>
                  <a:lnTo>
                    <a:pt x="20958" y="5091"/>
                  </a:lnTo>
                  <a:lnTo>
                    <a:pt x="20958" y="4860"/>
                  </a:lnTo>
                  <a:lnTo>
                    <a:pt x="21033" y="4716"/>
                  </a:lnTo>
                  <a:lnTo>
                    <a:pt x="20637" y="4860"/>
                  </a:lnTo>
                  <a:lnTo>
                    <a:pt x="20127" y="4992"/>
                  </a:lnTo>
                  <a:lnTo>
                    <a:pt x="19617" y="5069"/>
                  </a:lnTo>
                  <a:lnTo>
                    <a:pt x="19032" y="5157"/>
                  </a:lnTo>
                  <a:lnTo>
                    <a:pt x="18465" y="5201"/>
                  </a:lnTo>
                  <a:lnTo>
                    <a:pt x="17842" y="5245"/>
                  </a:lnTo>
                  <a:lnTo>
                    <a:pt x="17219" y="5267"/>
                  </a:lnTo>
                  <a:lnTo>
                    <a:pt x="16615" y="5267"/>
                  </a:lnTo>
                  <a:lnTo>
                    <a:pt x="15992" y="5245"/>
                  </a:lnTo>
                  <a:lnTo>
                    <a:pt x="15369" y="5201"/>
                  </a:lnTo>
                  <a:lnTo>
                    <a:pt x="14840" y="5157"/>
                  </a:lnTo>
                  <a:lnTo>
                    <a:pt x="14293" y="5091"/>
                  </a:lnTo>
                  <a:lnTo>
                    <a:pt x="13783" y="5014"/>
                  </a:lnTo>
                  <a:lnTo>
                    <a:pt x="13386" y="4926"/>
                  </a:lnTo>
                  <a:lnTo>
                    <a:pt x="13027" y="4815"/>
                  </a:lnTo>
                  <a:lnTo>
                    <a:pt x="12725" y="4716"/>
                  </a:lnTo>
                  <a:lnTo>
                    <a:pt x="12480" y="4606"/>
                  </a:lnTo>
                  <a:lnTo>
                    <a:pt x="12291" y="4496"/>
                  </a:lnTo>
                  <a:lnTo>
                    <a:pt x="12197" y="4397"/>
                  </a:lnTo>
                  <a:lnTo>
                    <a:pt x="12083" y="4286"/>
                  </a:lnTo>
                  <a:lnTo>
                    <a:pt x="12046" y="4187"/>
                  </a:lnTo>
                  <a:lnTo>
                    <a:pt x="12008" y="4077"/>
                  </a:lnTo>
                  <a:lnTo>
                    <a:pt x="12046" y="3967"/>
                  </a:lnTo>
                  <a:lnTo>
                    <a:pt x="12121" y="3868"/>
                  </a:lnTo>
                  <a:lnTo>
                    <a:pt x="12197" y="3735"/>
                  </a:lnTo>
                  <a:lnTo>
                    <a:pt x="12291" y="3614"/>
                  </a:lnTo>
                  <a:lnTo>
                    <a:pt x="12442" y="3482"/>
                  </a:lnTo>
                  <a:lnTo>
                    <a:pt x="12631" y="3361"/>
                  </a:lnTo>
                  <a:lnTo>
                    <a:pt x="13065" y="3085"/>
                  </a:lnTo>
                  <a:lnTo>
                    <a:pt x="13537" y="2766"/>
                  </a:lnTo>
                  <a:lnTo>
                    <a:pt x="13783" y="2578"/>
                  </a:lnTo>
                  <a:lnTo>
                    <a:pt x="13934" y="2380"/>
                  </a:lnTo>
                  <a:lnTo>
                    <a:pt x="14028" y="2171"/>
                  </a:lnTo>
                  <a:lnTo>
                    <a:pt x="14104" y="1961"/>
                  </a:lnTo>
                  <a:lnTo>
                    <a:pt x="14104" y="1730"/>
                  </a:lnTo>
                  <a:lnTo>
                    <a:pt x="14066" y="1498"/>
                  </a:lnTo>
                  <a:lnTo>
                    <a:pt x="13972" y="1267"/>
                  </a:lnTo>
                  <a:lnTo>
                    <a:pt x="13820" y="1057"/>
                  </a:lnTo>
                  <a:lnTo>
                    <a:pt x="13594" y="837"/>
                  </a:lnTo>
                  <a:lnTo>
                    <a:pt x="13386" y="628"/>
                  </a:lnTo>
                  <a:lnTo>
                    <a:pt x="13103" y="462"/>
                  </a:lnTo>
                  <a:lnTo>
                    <a:pt x="12763" y="308"/>
                  </a:lnTo>
                  <a:lnTo>
                    <a:pt x="12404" y="187"/>
                  </a:lnTo>
                  <a:lnTo>
                    <a:pt x="12008" y="77"/>
                  </a:lnTo>
                  <a:lnTo>
                    <a:pt x="11574" y="33"/>
                  </a:lnTo>
                  <a:lnTo>
                    <a:pt x="11102" y="11"/>
                  </a:lnTo>
                  <a:lnTo>
                    <a:pt x="10667" y="11"/>
                  </a:lnTo>
                  <a:lnTo>
                    <a:pt x="10233" y="77"/>
                  </a:lnTo>
                  <a:lnTo>
                    <a:pt x="9837" y="187"/>
                  </a:lnTo>
                  <a:lnTo>
                    <a:pt x="9440" y="286"/>
                  </a:lnTo>
                  <a:lnTo>
                    <a:pt x="9062" y="462"/>
                  </a:lnTo>
                  <a:lnTo>
                    <a:pt x="8741" y="628"/>
                  </a:lnTo>
                  <a:lnTo>
                    <a:pt x="8458" y="815"/>
                  </a:lnTo>
                  <a:lnTo>
                    <a:pt x="8232" y="1035"/>
                  </a:lnTo>
                  <a:lnTo>
                    <a:pt x="8062" y="1245"/>
                  </a:lnTo>
                  <a:lnTo>
                    <a:pt x="7911" y="1476"/>
                  </a:lnTo>
                  <a:lnTo>
                    <a:pt x="7835" y="1708"/>
                  </a:lnTo>
                  <a:lnTo>
                    <a:pt x="7797" y="1961"/>
                  </a:lnTo>
                  <a:lnTo>
                    <a:pt x="7835" y="2193"/>
                  </a:lnTo>
                  <a:lnTo>
                    <a:pt x="7948" y="2402"/>
                  </a:lnTo>
                  <a:lnTo>
                    <a:pt x="8062" y="2534"/>
                  </a:lnTo>
                  <a:lnTo>
                    <a:pt x="8175" y="2644"/>
                  </a:lnTo>
                  <a:lnTo>
                    <a:pt x="8269" y="2744"/>
                  </a:lnTo>
                  <a:lnTo>
                    <a:pt x="8420" y="2832"/>
                  </a:lnTo>
                  <a:lnTo>
                    <a:pt x="8704" y="3019"/>
                  </a:lnTo>
                  <a:lnTo>
                    <a:pt x="8968" y="3206"/>
                  </a:lnTo>
                  <a:lnTo>
                    <a:pt x="9138" y="3405"/>
                  </a:lnTo>
                  <a:lnTo>
                    <a:pt x="9327" y="3570"/>
                  </a:lnTo>
                  <a:lnTo>
                    <a:pt x="9440" y="3735"/>
                  </a:lnTo>
                  <a:lnTo>
                    <a:pt x="9516" y="3890"/>
                  </a:lnTo>
                  <a:lnTo>
                    <a:pt x="9534" y="4033"/>
                  </a:lnTo>
                  <a:lnTo>
                    <a:pt x="9534" y="4165"/>
                  </a:lnTo>
                  <a:lnTo>
                    <a:pt x="9516" y="4286"/>
                  </a:lnTo>
                  <a:lnTo>
                    <a:pt x="9440" y="4397"/>
                  </a:lnTo>
                  <a:lnTo>
                    <a:pt x="9327" y="4496"/>
                  </a:lnTo>
                  <a:lnTo>
                    <a:pt x="9176" y="4562"/>
                  </a:lnTo>
                  <a:lnTo>
                    <a:pt x="9006" y="4628"/>
                  </a:lnTo>
                  <a:lnTo>
                    <a:pt x="8779" y="4694"/>
                  </a:lnTo>
                  <a:lnTo>
                    <a:pt x="8534" y="4716"/>
                  </a:lnTo>
                  <a:lnTo>
                    <a:pt x="8232" y="4716"/>
                  </a:lnTo>
                  <a:lnTo>
                    <a:pt x="7118" y="4738"/>
                  </a:lnTo>
                  <a:lnTo>
                    <a:pt x="5947" y="4771"/>
                  </a:lnTo>
                  <a:lnTo>
                    <a:pt x="4795" y="4815"/>
                  </a:lnTo>
                  <a:lnTo>
                    <a:pt x="3681" y="4860"/>
                  </a:lnTo>
                  <a:lnTo>
                    <a:pt x="2662" y="4882"/>
                  </a:lnTo>
                  <a:lnTo>
                    <a:pt x="1755" y="4882"/>
                  </a:lnTo>
                  <a:lnTo>
                    <a:pt x="1359" y="4860"/>
                  </a:lnTo>
                  <a:lnTo>
                    <a:pt x="981" y="4837"/>
                  </a:lnTo>
                  <a:lnTo>
                    <a:pt x="698" y="4771"/>
                  </a:lnTo>
                  <a:lnTo>
                    <a:pt x="453" y="4716"/>
                  </a:lnTo>
                  <a:lnTo>
                    <a:pt x="453" y="5322"/>
                  </a:lnTo>
                  <a:lnTo>
                    <a:pt x="453" y="6083"/>
                  </a:lnTo>
                  <a:lnTo>
                    <a:pt x="453" y="6909"/>
                  </a:lnTo>
                  <a:lnTo>
                    <a:pt x="453" y="7780"/>
                  </a:lnTo>
                  <a:lnTo>
                    <a:pt x="453" y="8606"/>
                  </a:lnTo>
                  <a:lnTo>
                    <a:pt x="453" y="9345"/>
                  </a:lnTo>
                  <a:lnTo>
                    <a:pt x="453" y="9918"/>
                  </a:lnTo>
                  <a:lnTo>
                    <a:pt x="453" y="10282"/>
                  </a:lnTo>
                  <a:lnTo>
                    <a:pt x="490" y="10381"/>
                  </a:lnTo>
                  <a:lnTo>
                    <a:pt x="547" y="10491"/>
                  </a:lnTo>
                  <a:lnTo>
                    <a:pt x="660" y="10590"/>
                  </a:lnTo>
                  <a:lnTo>
                    <a:pt x="811" y="10700"/>
                  </a:lnTo>
                  <a:lnTo>
                    <a:pt x="981" y="10811"/>
                  </a:lnTo>
                  <a:lnTo>
                    <a:pt x="1208" y="10888"/>
                  </a:lnTo>
                  <a:lnTo>
                    <a:pt x="1453" y="10954"/>
                  </a:lnTo>
                  <a:lnTo>
                    <a:pt x="1718" y="11020"/>
                  </a:lnTo>
                  <a:lnTo>
                    <a:pt x="1963" y="11064"/>
                  </a:lnTo>
                  <a:lnTo>
                    <a:pt x="2265" y="11086"/>
                  </a:lnTo>
                  <a:lnTo>
                    <a:pt x="2548" y="11064"/>
                  </a:lnTo>
                  <a:lnTo>
                    <a:pt x="2794" y="11042"/>
                  </a:lnTo>
                  <a:lnTo>
                    <a:pt x="3096" y="10976"/>
                  </a:lnTo>
                  <a:lnTo>
                    <a:pt x="3341" y="10888"/>
                  </a:lnTo>
                  <a:lnTo>
                    <a:pt x="3606" y="10766"/>
                  </a:lnTo>
                  <a:lnTo>
                    <a:pt x="3813" y="10590"/>
                  </a:lnTo>
                  <a:close/>
                </a:path>
              </a:pathLst>
            </a:custGeom>
            <a:solidFill>
              <a:schemeClr val="accent1"/>
            </a:solidFill>
            <a:ln w="19050">
              <a:solidFill>
                <a:schemeClr val="bg1"/>
              </a:solidFill>
              <a:miter lim="800000"/>
              <a:headEnd/>
              <a:tailEnd/>
            </a:ln>
          </p:spPr>
          <p:txBody>
            <a:bodyPr/>
            <a:lstStyle/>
            <a:p>
              <a:endParaRPr lang="en-US"/>
            </a:p>
          </p:txBody>
        </p:sp>
        <p:sp>
          <p:nvSpPr>
            <p:cNvPr id="35" name="Puzzle2">
              <a:extLst>
                <a:ext uri="{FF2B5EF4-FFF2-40B4-BE49-F238E27FC236}">
                  <a16:creationId xmlns:a16="http://schemas.microsoft.com/office/drawing/2014/main" id="{69309C2A-C856-439B-9094-BE6B10A261EE}"/>
                </a:ext>
              </a:extLst>
            </p:cNvPr>
            <p:cNvSpPr>
              <a:spLocks noEditPoints="1" noChangeArrowheads="1"/>
            </p:cNvSpPr>
            <p:nvPr/>
          </p:nvSpPr>
          <p:spPr bwMode="auto">
            <a:xfrm>
              <a:off x="6807550" y="4386324"/>
              <a:ext cx="1911679" cy="1390460"/>
            </a:xfrm>
            <a:custGeom>
              <a:avLst/>
              <a:gdLst>
                <a:gd name="T0" fmla="*/ 797 w 21600"/>
                <a:gd name="T1" fmla="*/ 651282 h 21600"/>
                <a:gd name="T2" fmla="*/ 304504 w 21600"/>
                <a:gd name="T3" fmla="*/ 1029566 h 21600"/>
                <a:gd name="T4" fmla="*/ 753651 w 21600"/>
                <a:gd name="T5" fmla="*/ 676728 h 21600"/>
                <a:gd name="T6" fmla="*/ 1218958 w 21600"/>
                <a:gd name="T7" fmla="*/ 1030977 h 21600"/>
                <a:gd name="T8" fmla="*/ 1565275 w 21600"/>
                <a:gd name="T9" fmla="*/ 733847 h 21600"/>
                <a:gd name="T10" fmla="*/ 1223886 w 21600"/>
                <a:gd name="T11" fmla="*/ 279225 h 21600"/>
                <a:gd name="T12" fmla="*/ 782638 w 21600"/>
                <a:gd name="T13" fmla="*/ 1362 h 21600"/>
                <a:gd name="T14" fmla="*/ 304504 w 21600"/>
                <a:gd name="T15" fmla="*/ 286766 h 21600"/>
                <a:gd name="T16" fmla="*/ 0 60000 65536"/>
                <a:gd name="T17" fmla="*/ 0 60000 65536"/>
                <a:gd name="T18" fmla="*/ 0 60000 65536"/>
                <a:gd name="T19" fmla="*/ 0 60000 65536"/>
                <a:gd name="T20" fmla="*/ 0 60000 65536"/>
                <a:gd name="T21" fmla="*/ 0 60000 65536"/>
                <a:gd name="T22" fmla="*/ 0 60000 65536"/>
                <a:gd name="T23" fmla="*/ 0 60000 65536"/>
                <a:gd name="T24" fmla="*/ 5388 w 21600"/>
                <a:gd name="T25" fmla="*/ 6742 h 21600"/>
                <a:gd name="T26" fmla="*/ 16177 w 21600"/>
                <a:gd name="T27" fmla="*/ 2044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4247" y="12354"/>
                  </a:moveTo>
                  <a:lnTo>
                    <a:pt x="4134" y="12468"/>
                  </a:lnTo>
                  <a:lnTo>
                    <a:pt x="4010" y="12581"/>
                  </a:lnTo>
                  <a:lnTo>
                    <a:pt x="3897" y="12637"/>
                  </a:lnTo>
                  <a:lnTo>
                    <a:pt x="3773" y="12694"/>
                  </a:lnTo>
                  <a:lnTo>
                    <a:pt x="3637" y="12694"/>
                  </a:lnTo>
                  <a:lnTo>
                    <a:pt x="3524" y="12694"/>
                  </a:lnTo>
                  <a:lnTo>
                    <a:pt x="3400" y="12665"/>
                  </a:lnTo>
                  <a:lnTo>
                    <a:pt x="3287" y="12609"/>
                  </a:lnTo>
                  <a:lnTo>
                    <a:pt x="3027" y="12496"/>
                  </a:lnTo>
                  <a:lnTo>
                    <a:pt x="2790" y="12340"/>
                  </a:lnTo>
                  <a:lnTo>
                    <a:pt x="2530" y="12142"/>
                  </a:lnTo>
                  <a:lnTo>
                    <a:pt x="2293" y="11987"/>
                  </a:lnTo>
                  <a:lnTo>
                    <a:pt x="2033" y="11817"/>
                  </a:lnTo>
                  <a:lnTo>
                    <a:pt x="1773" y="11676"/>
                  </a:lnTo>
                  <a:lnTo>
                    <a:pt x="1638" y="11662"/>
                  </a:lnTo>
                  <a:lnTo>
                    <a:pt x="1513" y="11634"/>
                  </a:lnTo>
                  <a:lnTo>
                    <a:pt x="1378" y="11634"/>
                  </a:lnTo>
                  <a:lnTo>
                    <a:pt x="1253" y="11634"/>
                  </a:lnTo>
                  <a:lnTo>
                    <a:pt x="1118" y="11662"/>
                  </a:lnTo>
                  <a:lnTo>
                    <a:pt x="971" y="11732"/>
                  </a:lnTo>
                  <a:lnTo>
                    <a:pt x="835" y="11817"/>
                  </a:lnTo>
                  <a:lnTo>
                    <a:pt x="711" y="11959"/>
                  </a:lnTo>
                  <a:lnTo>
                    <a:pt x="553" y="12086"/>
                  </a:lnTo>
                  <a:lnTo>
                    <a:pt x="429" y="12284"/>
                  </a:lnTo>
                  <a:lnTo>
                    <a:pt x="271" y="12524"/>
                  </a:lnTo>
                  <a:lnTo>
                    <a:pt x="146" y="12793"/>
                  </a:lnTo>
                  <a:lnTo>
                    <a:pt x="79" y="12962"/>
                  </a:lnTo>
                  <a:lnTo>
                    <a:pt x="33" y="13146"/>
                  </a:lnTo>
                  <a:lnTo>
                    <a:pt x="11" y="13386"/>
                  </a:lnTo>
                  <a:lnTo>
                    <a:pt x="11" y="13641"/>
                  </a:lnTo>
                  <a:lnTo>
                    <a:pt x="33" y="13881"/>
                  </a:lnTo>
                  <a:lnTo>
                    <a:pt x="101" y="14150"/>
                  </a:lnTo>
                  <a:lnTo>
                    <a:pt x="192" y="14404"/>
                  </a:lnTo>
                  <a:lnTo>
                    <a:pt x="293" y="14645"/>
                  </a:lnTo>
                  <a:lnTo>
                    <a:pt x="451" y="14857"/>
                  </a:lnTo>
                  <a:lnTo>
                    <a:pt x="621" y="15054"/>
                  </a:lnTo>
                  <a:lnTo>
                    <a:pt x="734" y="15125"/>
                  </a:lnTo>
                  <a:lnTo>
                    <a:pt x="835" y="15210"/>
                  </a:lnTo>
                  <a:lnTo>
                    <a:pt x="948" y="15267"/>
                  </a:lnTo>
                  <a:lnTo>
                    <a:pt x="1084" y="15323"/>
                  </a:lnTo>
                  <a:lnTo>
                    <a:pt x="1208" y="15351"/>
                  </a:lnTo>
                  <a:lnTo>
                    <a:pt x="1355" y="15380"/>
                  </a:lnTo>
                  <a:lnTo>
                    <a:pt x="1513" y="15380"/>
                  </a:lnTo>
                  <a:lnTo>
                    <a:pt x="1683" y="15380"/>
                  </a:lnTo>
                  <a:lnTo>
                    <a:pt x="1864" y="15351"/>
                  </a:lnTo>
                  <a:lnTo>
                    <a:pt x="2033" y="15323"/>
                  </a:lnTo>
                  <a:lnTo>
                    <a:pt x="2225" y="15238"/>
                  </a:lnTo>
                  <a:lnTo>
                    <a:pt x="2428" y="15153"/>
                  </a:lnTo>
                  <a:lnTo>
                    <a:pt x="2745" y="15026"/>
                  </a:lnTo>
                  <a:lnTo>
                    <a:pt x="3005" y="14913"/>
                  </a:lnTo>
                  <a:lnTo>
                    <a:pt x="3264" y="14828"/>
                  </a:lnTo>
                  <a:lnTo>
                    <a:pt x="3513" y="14800"/>
                  </a:lnTo>
                  <a:lnTo>
                    <a:pt x="3615" y="14828"/>
                  </a:lnTo>
                  <a:lnTo>
                    <a:pt x="3728" y="14857"/>
                  </a:lnTo>
                  <a:lnTo>
                    <a:pt x="3807" y="14913"/>
                  </a:lnTo>
                  <a:lnTo>
                    <a:pt x="3920" y="14998"/>
                  </a:lnTo>
                  <a:lnTo>
                    <a:pt x="4010" y="15097"/>
                  </a:lnTo>
                  <a:lnTo>
                    <a:pt x="4089" y="15238"/>
                  </a:lnTo>
                  <a:lnTo>
                    <a:pt x="4179" y="15408"/>
                  </a:lnTo>
                  <a:lnTo>
                    <a:pt x="4247" y="15620"/>
                  </a:lnTo>
                  <a:lnTo>
                    <a:pt x="4326" y="15860"/>
                  </a:lnTo>
                  <a:lnTo>
                    <a:pt x="4394" y="16129"/>
                  </a:lnTo>
                  <a:lnTo>
                    <a:pt x="4439" y="16440"/>
                  </a:lnTo>
                  <a:lnTo>
                    <a:pt x="4507" y="16737"/>
                  </a:lnTo>
                  <a:lnTo>
                    <a:pt x="4552" y="17090"/>
                  </a:lnTo>
                  <a:lnTo>
                    <a:pt x="4575" y="17443"/>
                  </a:lnTo>
                  <a:lnTo>
                    <a:pt x="4586" y="17825"/>
                  </a:lnTo>
                  <a:lnTo>
                    <a:pt x="4586" y="18193"/>
                  </a:lnTo>
                  <a:lnTo>
                    <a:pt x="4586" y="18574"/>
                  </a:lnTo>
                  <a:lnTo>
                    <a:pt x="4586" y="18984"/>
                  </a:lnTo>
                  <a:lnTo>
                    <a:pt x="4552" y="19366"/>
                  </a:lnTo>
                  <a:lnTo>
                    <a:pt x="4507" y="19748"/>
                  </a:lnTo>
                  <a:lnTo>
                    <a:pt x="4462" y="20129"/>
                  </a:lnTo>
                  <a:lnTo>
                    <a:pt x="4371" y="20483"/>
                  </a:lnTo>
                  <a:lnTo>
                    <a:pt x="4292" y="20836"/>
                  </a:lnTo>
                  <a:lnTo>
                    <a:pt x="4202" y="21161"/>
                  </a:lnTo>
                  <a:lnTo>
                    <a:pt x="4744" y="21161"/>
                  </a:lnTo>
                  <a:lnTo>
                    <a:pt x="5264" y="21161"/>
                  </a:lnTo>
                  <a:lnTo>
                    <a:pt x="5784" y="21161"/>
                  </a:lnTo>
                  <a:lnTo>
                    <a:pt x="6235" y="21161"/>
                  </a:lnTo>
                  <a:lnTo>
                    <a:pt x="6676" y="21161"/>
                  </a:lnTo>
                  <a:lnTo>
                    <a:pt x="7060" y="21161"/>
                  </a:lnTo>
                  <a:lnTo>
                    <a:pt x="7410" y="21161"/>
                  </a:lnTo>
                  <a:lnTo>
                    <a:pt x="7670" y="21161"/>
                  </a:lnTo>
                  <a:lnTo>
                    <a:pt x="8020" y="21020"/>
                  </a:lnTo>
                  <a:lnTo>
                    <a:pt x="8303" y="20893"/>
                  </a:lnTo>
                  <a:lnTo>
                    <a:pt x="8563" y="20695"/>
                  </a:lnTo>
                  <a:lnTo>
                    <a:pt x="8800" y="20511"/>
                  </a:lnTo>
                  <a:lnTo>
                    <a:pt x="8969" y="20285"/>
                  </a:lnTo>
                  <a:lnTo>
                    <a:pt x="9150" y="20045"/>
                  </a:lnTo>
                  <a:lnTo>
                    <a:pt x="9252" y="19804"/>
                  </a:lnTo>
                  <a:lnTo>
                    <a:pt x="9342" y="19550"/>
                  </a:lnTo>
                  <a:lnTo>
                    <a:pt x="9410" y="19281"/>
                  </a:lnTo>
                  <a:lnTo>
                    <a:pt x="9433" y="19013"/>
                  </a:lnTo>
                  <a:lnTo>
                    <a:pt x="9433" y="18744"/>
                  </a:lnTo>
                  <a:lnTo>
                    <a:pt x="9387" y="18504"/>
                  </a:lnTo>
                  <a:lnTo>
                    <a:pt x="9320" y="18221"/>
                  </a:lnTo>
                  <a:lnTo>
                    <a:pt x="9207" y="17981"/>
                  </a:lnTo>
                  <a:lnTo>
                    <a:pt x="9105" y="17740"/>
                  </a:lnTo>
                  <a:lnTo>
                    <a:pt x="8924" y="17514"/>
                  </a:lnTo>
                  <a:lnTo>
                    <a:pt x="8777" y="17274"/>
                  </a:lnTo>
                  <a:lnTo>
                    <a:pt x="8642" y="17034"/>
                  </a:lnTo>
                  <a:lnTo>
                    <a:pt x="8563" y="16765"/>
                  </a:lnTo>
                  <a:lnTo>
                    <a:pt x="8472" y="16468"/>
                  </a:lnTo>
                  <a:lnTo>
                    <a:pt x="8450" y="16157"/>
                  </a:lnTo>
                  <a:lnTo>
                    <a:pt x="8450" y="15860"/>
                  </a:lnTo>
                  <a:lnTo>
                    <a:pt x="8472" y="15563"/>
                  </a:lnTo>
                  <a:lnTo>
                    <a:pt x="8540" y="15267"/>
                  </a:lnTo>
                  <a:lnTo>
                    <a:pt x="8642" y="14998"/>
                  </a:lnTo>
                  <a:lnTo>
                    <a:pt x="8777" y="14729"/>
                  </a:lnTo>
                  <a:lnTo>
                    <a:pt x="8868" y="14616"/>
                  </a:lnTo>
                  <a:lnTo>
                    <a:pt x="8969" y="14475"/>
                  </a:lnTo>
                  <a:lnTo>
                    <a:pt x="9060" y="14376"/>
                  </a:lnTo>
                  <a:lnTo>
                    <a:pt x="9184" y="14291"/>
                  </a:lnTo>
                  <a:lnTo>
                    <a:pt x="9297" y="14206"/>
                  </a:lnTo>
                  <a:lnTo>
                    <a:pt x="9433" y="14121"/>
                  </a:lnTo>
                  <a:lnTo>
                    <a:pt x="9579" y="14051"/>
                  </a:lnTo>
                  <a:lnTo>
                    <a:pt x="9726" y="13994"/>
                  </a:lnTo>
                  <a:lnTo>
                    <a:pt x="9884" y="13938"/>
                  </a:lnTo>
                  <a:lnTo>
                    <a:pt x="10054" y="13909"/>
                  </a:lnTo>
                  <a:lnTo>
                    <a:pt x="10257" y="13881"/>
                  </a:lnTo>
                  <a:lnTo>
                    <a:pt x="10449" y="13881"/>
                  </a:lnTo>
                  <a:lnTo>
                    <a:pt x="10664" y="13881"/>
                  </a:lnTo>
                  <a:lnTo>
                    <a:pt x="10856" y="13909"/>
                  </a:lnTo>
                  <a:lnTo>
                    <a:pt x="11037" y="13966"/>
                  </a:lnTo>
                  <a:lnTo>
                    <a:pt x="11206" y="14023"/>
                  </a:lnTo>
                  <a:lnTo>
                    <a:pt x="11353" y="14093"/>
                  </a:lnTo>
                  <a:lnTo>
                    <a:pt x="11511" y="14178"/>
                  </a:lnTo>
                  <a:lnTo>
                    <a:pt x="11635" y="14263"/>
                  </a:lnTo>
                  <a:lnTo>
                    <a:pt x="11748" y="14376"/>
                  </a:lnTo>
                  <a:lnTo>
                    <a:pt x="11861" y="14475"/>
                  </a:lnTo>
                  <a:lnTo>
                    <a:pt x="11941" y="14616"/>
                  </a:lnTo>
                  <a:lnTo>
                    <a:pt x="12031" y="14758"/>
                  </a:lnTo>
                  <a:lnTo>
                    <a:pt x="12099" y="14885"/>
                  </a:lnTo>
                  <a:lnTo>
                    <a:pt x="12200" y="15210"/>
                  </a:lnTo>
                  <a:lnTo>
                    <a:pt x="12268" y="15507"/>
                  </a:lnTo>
                  <a:lnTo>
                    <a:pt x="12291" y="15832"/>
                  </a:lnTo>
                  <a:lnTo>
                    <a:pt x="12291" y="16157"/>
                  </a:lnTo>
                  <a:lnTo>
                    <a:pt x="12246" y="16482"/>
                  </a:lnTo>
                  <a:lnTo>
                    <a:pt x="12178" y="16807"/>
                  </a:lnTo>
                  <a:lnTo>
                    <a:pt x="12099" y="17090"/>
                  </a:lnTo>
                  <a:lnTo>
                    <a:pt x="12008" y="17330"/>
                  </a:lnTo>
                  <a:lnTo>
                    <a:pt x="11884" y="17542"/>
                  </a:lnTo>
                  <a:lnTo>
                    <a:pt x="11748" y="17712"/>
                  </a:lnTo>
                  <a:lnTo>
                    <a:pt x="11613" y="17839"/>
                  </a:lnTo>
                  <a:lnTo>
                    <a:pt x="11489" y="18037"/>
                  </a:lnTo>
                  <a:lnTo>
                    <a:pt x="11398" y="18221"/>
                  </a:lnTo>
                  <a:lnTo>
                    <a:pt x="11319" y="18447"/>
                  </a:lnTo>
                  <a:lnTo>
                    <a:pt x="11251" y="18659"/>
                  </a:lnTo>
                  <a:lnTo>
                    <a:pt x="11206" y="18900"/>
                  </a:lnTo>
                  <a:lnTo>
                    <a:pt x="11184" y="19154"/>
                  </a:lnTo>
                  <a:lnTo>
                    <a:pt x="11184" y="19423"/>
                  </a:lnTo>
                  <a:lnTo>
                    <a:pt x="11229" y="19663"/>
                  </a:lnTo>
                  <a:lnTo>
                    <a:pt x="11297" y="19903"/>
                  </a:lnTo>
                  <a:lnTo>
                    <a:pt x="11376" y="20158"/>
                  </a:lnTo>
                  <a:lnTo>
                    <a:pt x="11511" y="20398"/>
                  </a:lnTo>
                  <a:lnTo>
                    <a:pt x="11681" y="20610"/>
                  </a:lnTo>
                  <a:lnTo>
                    <a:pt x="11884" y="20808"/>
                  </a:lnTo>
                  <a:lnTo>
                    <a:pt x="12121" y="20992"/>
                  </a:lnTo>
                  <a:lnTo>
                    <a:pt x="12404" y="21161"/>
                  </a:lnTo>
                  <a:lnTo>
                    <a:pt x="12528" y="21190"/>
                  </a:lnTo>
                  <a:lnTo>
                    <a:pt x="12856" y="21274"/>
                  </a:lnTo>
                  <a:lnTo>
                    <a:pt x="13330" y="21373"/>
                  </a:lnTo>
                  <a:lnTo>
                    <a:pt x="13963" y="21486"/>
                  </a:lnTo>
                  <a:lnTo>
                    <a:pt x="14313" y="21543"/>
                  </a:lnTo>
                  <a:lnTo>
                    <a:pt x="14652" y="21571"/>
                  </a:lnTo>
                  <a:lnTo>
                    <a:pt x="15025" y="21600"/>
                  </a:lnTo>
                  <a:lnTo>
                    <a:pt x="15409" y="21600"/>
                  </a:lnTo>
                  <a:lnTo>
                    <a:pt x="15782" y="21600"/>
                  </a:lnTo>
                  <a:lnTo>
                    <a:pt x="16177" y="21571"/>
                  </a:lnTo>
                  <a:lnTo>
                    <a:pt x="16516" y="21486"/>
                  </a:lnTo>
                  <a:lnTo>
                    <a:pt x="16889" y="21402"/>
                  </a:lnTo>
                  <a:lnTo>
                    <a:pt x="16821" y="21190"/>
                  </a:lnTo>
                  <a:lnTo>
                    <a:pt x="16776" y="20935"/>
                  </a:lnTo>
                  <a:lnTo>
                    <a:pt x="16742" y="20667"/>
                  </a:lnTo>
                  <a:lnTo>
                    <a:pt x="16719" y="20370"/>
                  </a:lnTo>
                  <a:lnTo>
                    <a:pt x="16697" y="19719"/>
                  </a:lnTo>
                  <a:lnTo>
                    <a:pt x="16697" y="19013"/>
                  </a:lnTo>
                  <a:lnTo>
                    <a:pt x="16719" y="18306"/>
                  </a:lnTo>
                  <a:lnTo>
                    <a:pt x="16753" y="17599"/>
                  </a:lnTo>
                  <a:lnTo>
                    <a:pt x="16821" y="16949"/>
                  </a:lnTo>
                  <a:lnTo>
                    <a:pt x="16889" y="16383"/>
                  </a:lnTo>
                  <a:lnTo>
                    <a:pt x="16934" y="16129"/>
                  </a:lnTo>
                  <a:lnTo>
                    <a:pt x="17002" y="15945"/>
                  </a:lnTo>
                  <a:lnTo>
                    <a:pt x="17081" y="15790"/>
                  </a:lnTo>
                  <a:lnTo>
                    <a:pt x="17194" y="15648"/>
                  </a:lnTo>
                  <a:lnTo>
                    <a:pt x="17318" y="15563"/>
                  </a:lnTo>
                  <a:lnTo>
                    <a:pt x="17453" y="15507"/>
                  </a:lnTo>
                  <a:lnTo>
                    <a:pt x="17600" y="15450"/>
                  </a:lnTo>
                  <a:lnTo>
                    <a:pt x="17758" y="15450"/>
                  </a:lnTo>
                  <a:lnTo>
                    <a:pt x="17905" y="15479"/>
                  </a:lnTo>
                  <a:lnTo>
                    <a:pt x="18064" y="15535"/>
                  </a:lnTo>
                  <a:lnTo>
                    <a:pt x="18233" y="15620"/>
                  </a:lnTo>
                  <a:lnTo>
                    <a:pt x="18380" y="15733"/>
                  </a:lnTo>
                  <a:lnTo>
                    <a:pt x="18561" y="15832"/>
                  </a:lnTo>
                  <a:lnTo>
                    <a:pt x="18707" y="15973"/>
                  </a:lnTo>
                  <a:lnTo>
                    <a:pt x="18866" y="16129"/>
                  </a:lnTo>
                  <a:lnTo>
                    <a:pt x="18990" y="16327"/>
                  </a:lnTo>
                  <a:lnTo>
                    <a:pt x="19125" y="16482"/>
                  </a:lnTo>
                  <a:lnTo>
                    <a:pt x="19295" y="16624"/>
                  </a:lnTo>
                  <a:lnTo>
                    <a:pt x="19464" y="16737"/>
                  </a:lnTo>
                  <a:lnTo>
                    <a:pt x="19668" y="16807"/>
                  </a:lnTo>
                  <a:lnTo>
                    <a:pt x="19860" y="16836"/>
                  </a:lnTo>
                  <a:lnTo>
                    <a:pt x="20052" y="16864"/>
                  </a:lnTo>
                  <a:lnTo>
                    <a:pt x="20266" y="16836"/>
                  </a:lnTo>
                  <a:lnTo>
                    <a:pt x="20470" y="16793"/>
                  </a:lnTo>
                  <a:lnTo>
                    <a:pt x="20662" y="16708"/>
                  </a:lnTo>
                  <a:lnTo>
                    <a:pt x="20854" y="16567"/>
                  </a:lnTo>
                  <a:lnTo>
                    <a:pt x="21035" y="16412"/>
                  </a:lnTo>
                  <a:lnTo>
                    <a:pt x="21182" y="16214"/>
                  </a:lnTo>
                  <a:lnTo>
                    <a:pt x="21340" y="16002"/>
                  </a:lnTo>
                  <a:lnTo>
                    <a:pt x="21441" y="15733"/>
                  </a:lnTo>
                  <a:lnTo>
                    <a:pt x="21532" y="15436"/>
                  </a:lnTo>
                  <a:lnTo>
                    <a:pt x="21600" y="15083"/>
                  </a:lnTo>
                  <a:lnTo>
                    <a:pt x="21600" y="14885"/>
                  </a:lnTo>
                  <a:lnTo>
                    <a:pt x="21600" y="14729"/>
                  </a:lnTo>
                  <a:lnTo>
                    <a:pt x="21600" y="14531"/>
                  </a:lnTo>
                  <a:lnTo>
                    <a:pt x="21577" y="14376"/>
                  </a:lnTo>
                  <a:lnTo>
                    <a:pt x="21532" y="14206"/>
                  </a:lnTo>
                  <a:lnTo>
                    <a:pt x="21487" y="14051"/>
                  </a:lnTo>
                  <a:lnTo>
                    <a:pt x="21419" y="13909"/>
                  </a:lnTo>
                  <a:lnTo>
                    <a:pt x="21351" y="13768"/>
                  </a:lnTo>
                  <a:lnTo>
                    <a:pt x="21204" y="13500"/>
                  </a:lnTo>
                  <a:lnTo>
                    <a:pt x="21035" y="13287"/>
                  </a:lnTo>
                  <a:lnTo>
                    <a:pt x="20809" y="13090"/>
                  </a:lnTo>
                  <a:lnTo>
                    <a:pt x="20594" y="12962"/>
                  </a:lnTo>
                  <a:lnTo>
                    <a:pt x="20357" y="12821"/>
                  </a:lnTo>
                  <a:lnTo>
                    <a:pt x="20120" y="12764"/>
                  </a:lnTo>
                  <a:lnTo>
                    <a:pt x="19882" y="12708"/>
                  </a:lnTo>
                  <a:lnTo>
                    <a:pt x="19645" y="12736"/>
                  </a:lnTo>
                  <a:lnTo>
                    <a:pt x="19430" y="12793"/>
                  </a:lnTo>
                  <a:lnTo>
                    <a:pt x="19227" y="12906"/>
                  </a:lnTo>
                  <a:lnTo>
                    <a:pt x="19148" y="12962"/>
                  </a:lnTo>
                  <a:lnTo>
                    <a:pt x="19058" y="13047"/>
                  </a:lnTo>
                  <a:lnTo>
                    <a:pt x="18990" y="13146"/>
                  </a:lnTo>
                  <a:lnTo>
                    <a:pt x="18911" y="13259"/>
                  </a:lnTo>
                  <a:lnTo>
                    <a:pt x="18775" y="13471"/>
                  </a:lnTo>
                  <a:lnTo>
                    <a:pt x="18628" y="13641"/>
                  </a:lnTo>
                  <a:lnTo>
                    <a:pt x="18470" y="13740"/>
                  </a:lnTo>
                  <a:lnTo>
                    <a:pt x="18301" y="13825"/>
                  </a:lnTo>
                  <a:lnTo>
                    <a:pt x="18143" y="13853"/>
                  </a:lnTo>
                  <a:lnTo>
                    <a:pt x="17973" y="13881"/>
                  </a:lnTo>
                  <a:lnTo>
                    <a:pt x="17804" y="13853"/>
                  </a:lnTo>
                  <a:lnTo>
                    <a:pt x="17646" y="13796"/>
                  </a:lnTo>
                  <a:lnTo>
                    <a:pt x="17499" y="13726"/>
                  </a:lnTo>
                  <a:lnTo>
                    <a:pt x="17341" y="13641"/>
                  </a:lnTo>
                  <a:lnTo>
                    <a:pt x="17216" y="13528"/>
                  </a:lnTo>
                  <a:lnTo>
                    <a:pt x="17103" y="13386"/>
                  </a:lnTo>
                  <a:lnTo>
                    <a:pt x="17024" y="13259"/>
                  </a:lnTo>
                  <a:lnTo>
                    <a:pt x="16934" y="13118"/>
                  </a:lnTo>
                  <a:lnTo>
                    <a:pt x="16889" y="12991"/>
                  </a:lnTo>
                  <a:lnTo>
                    <a:pt x="16889" y="12849"/>
                  </a:lnTo>
                  <a:lnTo>
                    <a:pt x="16889" y="12383"/>
                  </a:lnTo>
                  <a:lnTo>
                    <a:pt x="16889" y="11662"/>
                  </a:lnTo>
                  <a:lnTo>
                    <a:pt x="16889" y="10701"/>
                  </a:lnTo>
                  <a:lnTo>
                    <a:pt x="16889" y="9640"/>
                  </a:lnTo>
                  <a:lnTo>
                    <a:pt x="16889" y="8566"/>
                  </a:lnTo>
                  <a:lnTo>
                    <a:pt x="16889" y="7478"/>
                  </a:lnTo>
                  <a:lnTo>
                    <a:pt x="16889" y="6502"/>
                  </a:lnTo>
                  <a:lnTo>
                    <a:pt x="16889" y="5739"/>
                  </a:lnTo>
                  <a:lnTo>
                    <a:pt x="16674" y="5894"/>
                  </a:lnTo>
                  <a:lnTo>
                    <a:pt x="16414" y="6036"/>
                  </a:lnTo>
                  <a:lnTo>
                    <a:pt x="16154" y="6177"/>
                  </a:lnTo>
                  <a:lnTo>
                    <a:pt x="15849" y="6248"/>
                  </a:lnTo>
                  <a:lnTo>
                    <a:pt x="15544" y="6304"/>
                  </a:lnTo>
                  <a:lnTo>
                    <a:pt x="15217" y="6332"/>
                  </a:lnTo>
                  <a:lnTo>
                    <a:pt x="14866" y="6361"/>
                  </a:lnTo>
                  <a:lnTo>
                    <a:pt x="14550" y="6361"/>
                  </a:lnTo>
                  <a:lnTo>
                    <a:pt x="14200" y="6332"/>
                  </a:lnTo>
                  <a:lnTo>
                    <a:pt x="13850" y="6276"/>
                  </a:lnTo>
                  <a:lnTo>
                    <a:pt x="13522" y="6219"/>
                  </a:lnTo>
                  <a:lnTo>
                    <a:pt x="13206" y="6149"/>
                  </a:lnTo>
                  <a:lnTo>
                    <a:pt x="12901" y="6064"/>
                  </a:lnTo>
                  <a:lnTo>
                    <a:pt x="12618" y="5951"/>
                  </a:lnTo>
                  <a:lnTo>
                    <a:pt x="12358" y="5838"/>
                  </a:lnTo>
                  <a:lnTo>
                    <a:pt x="12121" y="5739"/>
                  </a:lnTo>
                  <a:lnTo>
                    <a:pt x="11941" y="5626"/>
                  </a:lnTo>
                  <a:lnTo>
                    <a:pt x="11794" y="5513"/>
                  </a:lnTo>
                  <a:lnTo>
                    <a:pt x="11658" y="5414"/>
                  </a:lnTo>
                  <a:lnTo>
                    <a:pt x="11556" y="5301"/>
                  </a:lnTo>
                  <a:lnTo>
                    <a:pt x="11466" y="5187"/>
                  </a:lnTo>
                  <a:lnTo>
                    <a:pt x="11398" y="5089"/>
                  </a:lnTo>
                  <a:lnTo>
                    <a:pt x="11376" y="4947"/>
                  </a:lnTo>
                  <a:lnTo>
                    <a:pt x="11353" y="4834"/>
                  </a:lnTo>
                  <a:lnTo>
                    <a:pt x="11353" y="4707"/>
                  </a:lnTo>
                  <a:lnTo>
                    <a:pt x="11376" y="4565"/>
                  </a:lnTo>
                  <a:lnTo>
                    <a:pt x="11443" y="4410"/>
                  </a:lnTo>
                  <a:lnTo>
                    <a:pt x="11511" y="4240"/>
                  </a:lnTo>
                  <a:lnTo>
                    <a:pt x="11703" y="3887"/>
                  </a:lnTo>
                  <a:lnTo>
                    <a:pt x="11986" y="3505"/>
                  </a:lnTo>
                  <a:lnTo>
                    <a:pt x="12144" y="3265"/>
                  </a:lnTo>
                  <a:lnTo>
                    <a:pt x="12246" y="3025"/>
                  </a:lnTo>
                  <a:lnTo>
                    <a:pt x="12336" y="2756"/>
                  </a:lnTo>
                  <a:lnTo>
                    <a:pt x="12404" y="2445"/>
                  </a:lnTo>
                  <a:lnTo>
                    <a:pt x="12438" y="2176"/>
                  </a:lnTo>
                  <a:lnTo>
                    <a:pt x="12438" y="1880"/>
                  </a:lnTo>
                  <a:lnTo>
                    <a:pt x="12404" y="1583"/>
                  </a:lnTo>
                  <a:lnTo>
                    <a:pt x="12336" y="1314"/>
                  </a:lnTo>
                  <a:lnTo>
                    <a:pt x="12246" y="1046"/>
                  </a:lnTo>
                  <a:lnTo>
                    <a:pt x="12099" y="791"/>
                  </a:lnTo>
                  <a:lnTo>
                    <a:pt x="12008" y="692"/>
                  </a:lnTo>
                  <a:lnTo>
                    <a:pt x="11918" y="579"/>
                  </a:lnTo>
                  <a:lnTo>
                    <a:pt x="11816" y="466"/>
                  </a:lnTo>
                  <a:lnTo>
                    <a:pt x="11703" y="381"/>
                  </a:lnTo>
                  <a:lnTo>
                    <a:pt x="11579" y="310"/>
                  </a:lnTo>
                  <a:lnTo>
                    <a:pt x="11443" y="226"/>
                  </a:lnTo>
                  <a:lnTo>
                    <a:pt x="11297" y="169"/>
                  </a:lnTo>
                  <a:lnTo>
                    <a:pt x="11138" y="113"/>
                  </a:lnTo>
                  <a:lnTo>
                    <a:pt x="10969" y="56"/>
                  </a:lnTo>
                  <a:lnTo>
                    <a:pt x="10800" y="28"/>
                  </a:lnTo>
                  <a:lnTo>
                    <a:pt x="10619" y="28"/>
                  </a:lnTo>
                  <a:lnTo>
                    <a:pt x="10404" y="28"/>
                  </a:lnTo>
                  <a:lnTo>
                    <a:pt x="10257" y="28"/>
                  </a:lnTo>
                  <a:lnTo>
                    <a:pt x="10076" y="56"/>
                  </a:lnTo>
                  <a:lnTo>
                    <a:pt x="9952" y="84"/>
                  </a:lnTo>
                  <a:lnTo>
                    <a:pt x="9794" y="141"/>
                  </a:lnTo>
                  <a:lnTo>
                    <a:pt x="9692" y="226"/>
                  </a:lnTo>
                  <a:lnTo>
                    <a:pt x="9557" y="282"/>
                  </a:lnTo>
                  <a:lnTo>
                    <a:pt x="9455" y="381"/>
                  </a:lnTo>
                  <a:lnTo>
                    <a:pt x="9365" y="466"/>
                  </a:lnTo>
                  <a:lnTo>
                    <a:pt x="9274" y="579"/>
                  </a:lnTo>
                  <a:lnTo>
                    <a:pt x="9184" y="692"/>
                  </a:lnTo>
                  <a:lnTo>
                    <a:pt x="9128" y="791"/>
                  </a:lnTo>
                  <a:lnTo>
                    <a:pt x="9060" y="932"/>
                  </a:lnTo>
                  <a:lnTo>
                    <a:pt x="8969" y="1201"/>
                  </a:lnTo>
                  <a:lnTo>
                    <a:pt x="8913" y="1498"/>
                  </a:lnTo>
                  <a:lnTo>
                    <a:pt x="8890" y="1795"/>
                  </a:lnTo>
                  <a:lnTo>
                    <a:pt x="8890" y="2120"/>
                  </a:lnTo>
                  <a:lnTo>
                    <a:pt x="8913" y="2445"/>
                  </a:lnTo>
                  <a:lnTo>
                    <a:pt x="8969" y="2756"/>
                  </a:lnTo>
                  <a:lnTo>
                    <a:pt x="9060" y="3081"/>
                  </a:lnTo>
                  <a:lnTo>
                    <a:pt x="9173" y="3378"/>
                  </a:lnTo>
                  <a:lnTo>
                    <a:pt x="9297" y="3647"/>
                  </a:lnTo>
                  <a:lnTo>
                    <a:pt x="9466" y="3887"/>
                  </a:lnTo>
                  <a:lnTo>
                    <a:pt x="9579" y="4085"/>
                  </a:lnTo>
                  <a:lnTo>
                    <a:pt x="9670" y="4269"/>
                  </a:lnTo>
                  <a:lnTo>
                    <a:pt x="9726" y="4467"/>
                  </a:lnTo>
                  <a:lnTo>
                    <a:pt x="9771" y="4650"/>
                  </a:lnTo>
                  <a:lnTo>
                    <a:pt x="9771" y="4834"/>
                  </a:lnTo>
                  <a:lnTo>
                    <a:pt x="9749" y="5032"/>
                  </a:lnTo>
                  <a:lnTo>
                    <a:pt x="9715" y="5216"/>
                  </a:lnTo>
                  <a:lnTo>
                    <a:pt x="9625" y="5385"/>
                  </a:lnTo>
                  <a:lnTo>
                    <a:pt x="9534" y="5513"/>
                  </a:lnTo>
                  <a:lnTo>
                    <a:pt x="9410" y="5626"/>
                  </a:lnTo>
                  <a:lnTo>
                    <a:pt x="9229" y="5710"/>
                  </a:lnTo>
                  <a:lnTo>
                    <a:pt x="9060" y="5767"/>
                  </a:lnTo>
                  <a:lnTo>
                    <a:pt x="8845" y="5767"/>
                  </a:lnTo>
                  <a:lnTo>
                    <a:pt x="8585" y="5739"/>
                  </a:lnTo>
                  <a:lnTo>
                    <a:pt x="8325" y="5654"/>
                  </a:lnTo>
                  <a:lnTo>
                    <a:pt x="8020" y="5513"/>
                  </a:lnTo>
                  <a:lnTo>
                    <a:pt x="7840" y="5442"/>
                  </a:lnTo>
                  <a:lnTo>
                    <a:pt x="7648" y="5385"/>
                  </a:lnTo>
                  <a:lnTo>
                    <a:pt x="7433" y="5329"/>
                  </a:lnTo>
                  <a:lnTo>
                    <a:pt x="7241" y="5301"/>
                  </a:lnTo>
                  <a:lnTo>
                    <a:pt x="6755" y="5301"/>
                  </a:lnTo>
                  <a:lnTo>
                    <a:pt x="6281" y="5329"/>
                  </a:lnTo>
                  <a:lnTo>
                    <a:pt x="5784" y="5385"/>
                  </a:lnTo>
                  <a:lnTo>
                    <a:pt x="5264" y="5498"/>
                  </a:lnTo>
                  <a:lnTo>
                    <a:pt x="4744" y="5597"/>
                  </a:lnTo>
                  <a:lnTo>
                    <a:pt x="4247" y="5739"/>
                  </a:lnTo>
                  <a:lnTo>
                    <a:pt x="4202" y="5894"/>
                  </a:lnTo>
                  <a:lnTo>
                    <a:pt x="4202" y="6191"/>
                  </a:lnTo>
                  <a:lnTo>
                    <a:pt x="4202" y="6545"/>
                  </a:lnTo>
                  <a:lnTo>
                    <a:pt x="4225" y="6954"/>
                  </a:lnTo>
                  <a:lnTo>
                    <a:pt x="4315" y="7930"/>
                  </a:lnTo>
                  <a:lnTo>
                    <a:pt x="4394" y="9018"/>
                  </a:lnTo>
                  <a:lnTo>
                    <a:pt x="4439" y="9570"/>
                  </a:lnTo>
                  <a:lnTo>
                    <a:pt x="4462" y="10107"/>
                  </a:lnTo>
                  <a:lnTo>
                    <a:pt x="4484" y="10630"/>
                  </a:lnTo>
                  <a:lnTo>
                    <a:pt x="4507" y="11082"/>
                  </a:lnTo>
                  <a:lnTo>
                    <a:pt x="4484" y="11520"/>
                  </a:lnTo>
                  <a:lnTo>
                    <a:pt x="4439" y="11874"/>
                  </a:lnTo>
                  <a:lnTo>
                    <a:pt x="4394" y="12029"/>
                  </a:lnTo>
                  <a:lnTo>
                    <a:pt x="4349" y="12171"/>
                  </a:lnTo>
                  <a:lnTo>
                    <a:pt x="4315" y="12284"/>
                  </a:lnTo>
                  <a:lnTo>
                    <a:pt x="4247" y="12354"/>
                  </a:lnTo>
                  <a:close/>
                </a:path>
              </a:pathLst>
            </a:custGeom>
            <a:solidFill>
              <a:schemeClr val="accent5"/>
            </a:solidFill>
            <a:ln w="19050">
              <a:solidFill>
                <a:schemeClr val="bg1"/>
              </a:solidFill>
              <a:miter lim="800000"/>
              <a:headEnd/>
              <a:tailEnd/>
            </a:ln>
          </p:spPr>
          <p:txBody>
            <a:bodyPr/>
            <a:lstStyle/>
            <a:p>
              <a:endParaRPr lang="en-US"/>
            </a:p>
          </p:txBody>
        </p:sp>
      </p:grpSp>
      <p:sp>
        <p:nvSpPr>
          <p:cNvPr id="5" name="Footer Placeholder 4">
            <a:extLst>
              <a:ext uri="{FF2B5EF4-FFF2-40B4-BE49-F238E27FC236}">
                <a16:creationId xmlns:a16="http://schemas.microsoft.com/office/drawing/2014/main" id="{517ACA47-84FC-4521-97B4-9C51D08B01EF}"/>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DD8AF915-ECE3-4073-B009-2FBD71F8E254}"/>
              </a:ext>
            </a:extLst>
          </p:cNvPr>
          <p:cNvSpPr>
            <a:spLocks noGrp="1"/>
          </p:cNvSpPr>
          <p:nvPr>
            <p:ph type="sldNum" sz="quarter" idx="10"/>
          </p:nvPr>
        </p:nvSpPr>
        <p:spPr/>
        <p:txBody>
          <a:bodyPr/>
          <a:lstStyle/>
          <a:p>
            <a:fld id="{1F90F471-3972-4120-B8B3-0237DE626C35}" type="slidenum">
              <a:rPr lang="en-US" smtClean="0"/>
              <a:pPr/>
              <a:t>449</a:t>
            </a:fld>
            <a:endParaRPr lang="en-US" dirty="0"/>
          </a:p>
        </p:txBody>
      </p:sp>
    </p:spTree>
    <p:extLst>
      <p:ext uri="{BB962C8B-B14F-4D97-AF65-F5344CB8AC3E}">
        <p14:creationId xmlns:p14="http://schemas.microsoft.com/office/powerpoint/2010/main" val="62728934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CA7B6F-3A47-4359-82F9-441F3924D1CD}"/>
              </a:ext>
            </a:extLst>
          </p:cNvPr>
          <p:cNvSpPr>
            <a:spLocks noGrp="1"/>
          </p:cNvSpPr>
          <p:nvPr>
            <p:ph type="title"/>
          </p:nvPr>
        </p:nvSpPr>
        <p:spPr/>
        <p:txBody>
          <a:bodyPr/>
          <a:lstStyle/>
          <a:p>
            <a:r>
              <a:rPr lang="en-GB" dirty="0"/>
              <a:t>Place headline here (36pt, min 30pt)</a:t>
            </a:r>
            <a:endParaRPr lang="en-US" dirty="0"/>
          </a:p>
        </p:txBody>
      </p:sp>
      <p:sp>
        <p:nvSpPr>
          <p:cNvPr id="12" name="Text Placeholder 11">
            <a:extLst>
              <a:ext uri="{FF2B5EF4-FFF2-40B4-BE49-F238E27FC236}">
                <a16:creationId xmlns:a16="http://schemas.microsoft.com/office/drawing/2014/main" id="{72DFFCDF-5552-48D6-A4B3-FB4150785A71}"/>
              </a:ext>
            </a:extLst>
          </p:cNvPr>
          <p:cNvSpPr>
            <a:spLocks noGrp="1"/>
          </p:cNvSpPr>
          <p:nvPr>
            <p:ph type="body" sz="quarter" idx="11"/>
          </p:nvPr>
        </p:nvSpPr>
        <p:spPr/>
        <p:txBody>
          <a:bodyPr/>
          <a:lstStyle/>
          <a:p>
            <a:r>
              <a:rPr lang="en-GB" dirty="0"/>
              <a:t>Place subtitle here in GT Sectra Fine </a:t>
            </a:r>
            <a:r>
              <a:rPr lang="en-GB" dirty="0" err="1"/>
              <a:t>Rg</a:t>
            </a:r>
            <a:r>
              <a:rPr lang="en-GB" dirty="0"/>
              <a:t> 20pt</a:t>
            </a:r>
            <a:endParaRPr lang="en-US" dirty="0"/>
          </a:p>
        </p:txBody>
      </p:sp>
      <p:sp>
        <p:nvSpPr>
          <p:cNvPr id="5" name="Text Placeholder 4">
            <a:extLst>
              <a:ext uri="{FF2B5EF4-FFF2-40B4-BE49-F238E27FC236}">
                <a16:creationId xmlns:a16="http://schemas.microsoft.com/office/drawing/2014/main" id="{790C0F02-034B-4ED6-BB70-C6D0A54C106B}"/>
              </a:ext>
            </a:extLst>
          </p:cNvPr>
          <p:cNvSpPr>
            <a:spLocks noGrp="1"/>
          </p:cNvSpPr>
          <p:nvPr>
            <p:ph type="body" idx="18"/>
          </p:nvPr>
        </p:nvSpPr>
        <p:spPr/>
        <p:txBody>
          <a:bodyPr/>
          <a:lstStyle/>
          <a:p>
            <a:r>
              <a:rPr lang="en-GB" dirty="0"/>
              <a:t>#</a:t>
            </a:r>
            <a:endParaRPr lang="en-US" dirty="0"/>
          </a:p>
        </p:txBody>
      </p:sp>
      <p:sp>
        <p:nvSpPr>
          <p:cNvPr id="3" name="Text Placeholder 2">
            <a:extLst>
              <a:ext uri="{FF2B5EF4-FFF2-40B4-BE49-F238E27FC236}">
                <a16:creationId xmlns:a16="http://schemas.microsoft.com/office/drawing/2014/main" id="{122897F4-B717-415A-8D4E-00CBB362C644}"/>
              </a:ext>
            </a:extLst>
          </p:cNvPr>
          <p:cNvSpPr>
            <a:spLocks noGrp="1"/>
          </p:cNvSpPr>
          <p:nvPr>
            <p:ph type="body" idx="1"/>
          </p:nvPr>
        </p:nvSpPr>
        <p:spPr/>
        <p:txBody>
          <a:bodyPr/>
          <a:lstStyle/>
          <a:p>
            <a:r>
              <a:rPr lang="en-GB" dirty="0"/>
              <a:t>Place headline here 24pt</a:t>
            </a:r>
            <a:endParaRPr lang="en-US" dirty="0"/>
          </a:p>
        </p:txBody>
      </p:sp>
      <p:sp>
        <p:nvSpPr>
          <p:cNvPr id="4" name="Content Placeholder 3">
            <a:extLst>
              <a:ext uri="{FF2B5EF4-FFF2-40B4-BE49-F238E27FC236}">
                <a16:creationId xmlns:a16="http://schemas.microsoft.com/office/drawing/2014/main" id="{3DCE904F-5ED5-42D3-B1E3-89788CFD6C5F}"/>
              </a:ext>
            </a:extLst>
          </p:cNvPr>
          <p:cNvSpPr>
            <a:spLocks noGrp="1"/>
          </p:cNvSpPr>
          <p:nvPr>
            <p:ph sz="half" idx="2"/>
          </p:nvPr>
        </p:nvSpPr>
        <p:spPr/>
        <p:txBody>
          <a:body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8" name="Text Placeholder 7">
            <a:extLst>
              <a:ext uri="{FF2B5EF4-FFF2-40B4-BE49-F238E27FC236}">
                <a16:creationId xmlns:a16="http://schemas.microsoft.com/office/drawing/2014/main" id="{9AC50572-191D-4F5B-872B-0BF334F9D8BE}"/>
              </a:ext>
            </a:extLst>
          </p:cNvPr>
          <p:cNvSpPr>
            <a:spLocks noGrp="1"/>
          </p:cNvSpPr>
          <p:nvPr>
            <p:ph type="body" idx="21"/>
          </p:nvPr>
        </p:nvSpPr>
        <p:spPr/>
        <p:txBody>
          <a:bodyPr/>
          <a:lstStyle/>
          <a:p>
            <a:r>
              <a:rPr lang="en-GB" dirty="0"/>
              <a:t>#</a:t>
            </a:r>
            <a:endParaRPr lang="en-US" dirty="0"/>
          </a:p>
        </p:txBody>
      </p:sp>
      <p:sp>
        <p:nvSpPr>
          <p:cNvPr id="6" name="Text Placeholder 5">
            <a:extLst>
              <a:ext uri="{FF2B5EF4-FFF2-40B4-BE49-F238E27FC236}">
                <a16:creationId xmlns:a16="http://schemas.microsoft.com/office/drawing/2014/main" id="{36BE2971-E116-4094-B3F3-3C2B4667B470}"/>
              </a:ext>
            </a:extLst>
          </p:cNvPr>
          <p:cNvSpPr>
            <a:spLocks noGrp="1"/>
          </p:cNvSpPr>
          <p:nvPr>
            <p:ph type="body" idx="19"/>
          </p:nvPr>
        </p:nvSpPr>
        <p:spPr/>
        <p:txBody>
          <a:bodyPr/>
          <a:lstStyle/>
          <a:p>
            <a:r>
              <a:rPr lang="en-GB" dirty="0"/>
              <a:t>Place headline here 24pt</a:t>
            </a:r>
            <a:endParaRPr lang="en-US" dirty="0"/>
          </a:p>
        </p:txBody>
      </p:sp>
      <p:sp>
        <p:nvSpPr>
          <p:cNvPr id="7" name="Content Placeholder 6">
            <a:extLst>
              <a:ext uri="{FF2B5EF4-FFF2-40B4-BE49-F238E27FC236}">
                <a16:creationId xmlns:a16="http://schemas.microsoft.com/office/drawing/2014/main" id="{5CBDB786-CC98-4180-9520-9469119F58FD}"/>
              </a:ext>
            </a:extLst>
          </p:cNvPr>
          <p:cNvSpPr>
            <a:spLocks noGrp="1"/>
          </p:cNvSpPr>
          <p:nvPr>
            <p:ph sz="half" idx="20"/>
          </p:nvPr>
        </p:nvSpPr>
        <p:spPr/>
        <p:txBody>
          <a:body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1" name="Text Placeholder 10">
            <a:extLst>
              <a:ext uri="{FF2B5EF4-FFF2-40B4-BE49-F238E27FC236}">
                <a16:creationId xmlns:a16="http://schemas.microsoft.com/office/drawing/2014/main" id="{1B8689E3-09B0-47D2-BA55-5A2B5863ED98}"/>
              </a:ext>
            </a:extLst>
          </p:cNvPr>
          <p:cNvSpPr>
            <a:spLocks noGrp="1"/>
          </p:cNvSpPr>
          <p:nvPr>
            <p:ph type="body" idx="24"/>
          </p:nvPr>
        </p:nvSpPr>
        <p:spPr/>
        <p:txBody>
          <a:bodyPr/>
          <a:lstStyle/>
          <a:p>
            <a:r>
              <a:rPr lang="en-GB" dirty="0"/>
              <a:t>#</a:t>
            </a:r>
            <a:endParaRPr lang="en-US" dirty="0"/>
          </a:p>
        </p:txBody>
      </p:sp>
      <p:sp>
        <p:nvSpPr>
          <p:cNvPr id="9" name="Text Placeholder 8">
            <a:extLst>
              <a:ext uri="{FF2B5EF4-FFF2-40B4-BE49-F238E27FC236}">
                <a16:creationId xmlns:a16="http://schemas.microsoft.com/office/drawing/2014/main" id="{0E535376-49EA-44BF-88DD-6BCC757E69D8}"/>
              </a:ext>
            </a:extLst>
          </p:cNvPr>
          <p:cNvSpPr>
            <a:spLocks noGrp="1"/>
          </p:cNvSpPr>
          <p:nvPr>
            <p:ph type="body" idx="22"/>
          </p:nvPr>
        </p:nvSpPr>
        <p:spPr/>
        <p:txBody>
          <a:bodyPr/>
          <a:lstStyle/>
          <a:p>
            <a:r>
              <a:rPr lang="en-GB" dirty="0"/>
              <a:t>Place headline here 24pt</a:t>
            </a:r>
            <a:endParaRPr lang="en-US" dirty="0"/>
          </a:p>
        </p:txBody>
      </p:sp>
      <p:sp>
        <p:nvSpPr>
          <p:cNvPr id="10" name="Content Placeholder 9">
            <a:extLst>
              <a:ext uri="{FF2B5EF4-FFF2-40B4-BE49-F238E27FC236}">
                <a16:creationId xmlns:a16="http://schemas.microsoft.com/office/drawing/2014/main" id="{3A163BD2-71D1-4004-9714-744A514CC538}"/>
              </a:ext>
            </a:extLst>
          </p:cNvPr>
          <p:cNvSpPr>
            <a:spLocks noGrp="1"/>
          </p:cNvSpPr>
          <p:nvPr>
            <p:ph sz="half" idx="23"/>
          </p:nvPr>
        </p:nvSpPr>
        <p:spPr/>
        <p:txBody>
          <a:body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3" name="Footer Placeholder 12">
            <a:extLst>
              <a:ext uri="{FF2B5EF4-FFF2-40B4-BE49-F238E27FC236}">
                <a16:creationId xmlns:a16="http://schemas.microsoft.com/office/drawing/2014/main" id="{587C7E94-57B8-4008-97AC-69FD0D1067C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4" name="Slide Number Placeholder 13">
            <a:extLst>
              <a:ext uri="{FF2B5EF4-FFF2-40B4-BE49-F238E27FC236}">
                <a16:creationId xmlns:a16="http://schemas.microsoft.com/office/drawing/2014/main" id="{8DE15CAC-62CE-4CE5-86F4-20DD3A8A140E}"/>
              </a:ext>
            </a:extLst>
          </p:cNvPr>
          <p:cNvSpPr>
            <a:spLocks noGrp="1"/>
          </p:cNvSpPr>
          <p:nvPr>
            <p:ph type="sldNum" sz="quarter" idx="26"/>
          </p:nvPr>
        </p:nvSpPr>
        <p:spPr/>
        <p:txBody>
          <a:bodyPr/>
          <a:lstStyle/>
          <a:p>
            <a:fld id="{1F90F471-3972-4120-B8B3-0237DE626C35}" type="slidenum">
              <a:rPr lang="en-US" smtClean="0"/>
              <a:pPr/>
              <a:t>45</a:t>
            </a:fld>
            <a:endParaRPr lang="en-US" dirty="0"/>
          </a:p>
        </p:txBody>
      </p:sp>
    </p:spTree>
    <p:extLst>
      <p:ext uri="{BB962C8B-B14F-4D97-AF65-F5344CB8AC3E}">
        <p14:creationId xmlns:p14="http://schemas.microsoft.com/office/powerpoint/2010/main" val="2666395333"/>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Puzzle Pieces 4</a:t>
            </a:r>
          </a:p>
        </p:txBody>
      </p:sp>
      <p:grpSp>
        <p:nvGrpSpPr>
          <p:cNvPr id="3" name="Group 2" descr="Puzzle Pieces 4">
            <a:extLst>
              <a:ext uri="{FF2B5EF4-FFF2-40B4-BE49-F238E27FC236}">
                <a16:creationId xmlns:a16="http://schemas.microsoft.com/office/drawing/2014/main" id="{150CCEF1-D5A0-466F-877D-EF2734FC7FEE}"/>
              </a:ext>
            </a:extLst>
          </p:cNvPr>
          <p:cNvGrpSpPr/>
          <p:nvPr/>
        </p:nvGrpSpPr>
        <p:grpSpPr>
          <a:xfrm>
            <a:off x="3899757" y="1628801"/>
            <a:ext cx="4364346" cy="4069499"/>
            <a:chOff x="3899757" y="1628801"/>
            <a:chExt cx="4364346" cy="4069499"/>
          </a:xfrm>
        </p:grpSpPr>
        <p:sp>
          <p:nvSpPr>
            <p:cNvPr id="20" name="Freeform: Shape 19">
              <a:extLst>
                <a:ext uri="{FF2B5EF4-FFF2-40B4-BE49-F238E27FC236}">
                  <a16:creationId xmlns:a16="http://schemas.microsoft.com/office/drawing/2014/main" id="{8EE93A8F-7192-4AA4-A42D-C576966E2BE4}"/>
                </a:ext>
              </a:extLst>
            </p:cNvPr>
            <p:cNvSpPr/>
            <p:nvPr/>
          </p:nvSpPr>
          <p:spPr>
            <a:xfrm>
              <a:off x="3899758" y="1637926"/>
              <a:ext cx="2187099" cy="2162549"/>
            </a:xfrm>
            <a:custGeom>
              <a:avLst/>
              <a:gdLst>
                <a:gd name="connsiteX0" fmla="*/ 0 w 2187099"/>
                <a:gd name="connsiteY0" fmla="*/ 0 h 2162549"/>
                <a:gd name="connsiteX1" fmla="*/ 2187099 w 2187099"/>
                <a:gd name="connsiteY1" fmla="*/ 0 h 2162549"/>
                <a:gd name="connsiteX2" fmla="*/ 2187099 w 2187099"/>
                <a:gd name="connsiteY2" fmla="*/ 521731 h 2162549"/>
                <a:gd name="connsiteX3" fmla="*/ 2153014 w 2187099"/>
                <a:gd name="connsiteY3" fmla="*/ 521731 h 2162549"/>
                <a:gd name="connsiteX4" fmla="*/ 2118930 w 2187099"/>
                <a:gd name="connsiteY4" fmla="*/ 521731 h 2162549"/>
                <a:gd name="connsiteX5" fmla="*/ 2091946 w 2187099"/>
                <a:gd name="connsiteY5" fmla="*/ 527402 h 2162549"/>
                <a:gd name="connsiteX6" fmla="*/ 2064962 w 2187099"/>
                <a:gd name="connsiteY6" fmla="*/ 534964 h 2162549"/>
                <a:gd name="connsiteX7" fmla="*/ 2037979 w 2187099"/>
                <a:gd name="connsiteY7" fmla="*/ 546306 h 2162549"/>
                <a:gd name="connsiteX8" fmla="*/ 2009575 w 2187099"/>
                <a:gd name="connsiteY8" fmla="*/ 567099 h 2162549"/>
                <a:gd name="connsiteX9" fmla="*/ 1984011 w 2187099"/>
                <a:gd name="connsiteY9" fmla="*/ 591674 h 2162549"/>
                <a:gd name="connsiteX10" fmla="*/ 1962709 w 2187099"/>
                <a:gd name="connsiteY10" fmla="*/ 620029 h 2162549"/>
                <a:gd name="connsiteX11" fmla="*/ 1949388 w 2187099"/>
                <a:gd name="connsiteY11" fmla="*/ 641850 h 2162549"/>
                <a:gd name="connsiteX12" fmla="*/ 2089742 w 2187099"/>
                <a:gd name="connsiteY12" fmla="*/ 641850 h 2162549"/>
                <a:gd name="connsiteX13" fmla="*/ 2089742 w 2187099"/>
                <a:gd name="connsiteY13" fmla="*/ 1289550 h 2162549"/>
                <a:gd name="connsiteX14" fmla="*/ 1615987 w 2187099"/>
                <a:gd name="connsiteY14" fmla="*/ 1289550 h 2162549"/>
                <a:gd name="connsiteX15" fmla="*/ 1611921 w 2187099"/>
                <a:gd name="connsiteY15" fmla="*/ 1291097 h 2162549"/>
                <a:gd name="connsiteX16" fmla="*/ 1580676 w 2187099"/>
                <a:gd name="connsiteY16" fmla="*/ 1304329 h 2162549"/>
                <a:gd name="connsiteX17" fmla="*/ 1556533 w 2187099"/>
                <a:gd name="connsiteY17" fmla="*/ 1323232 h 2162549"/>
                <a:gd name="connsiteX18" fmla="*/ 1542331 w 2187099"/>
                <a:gd name="connsiteY18" fmla="*/ 1344026 h 2162549"/>
                <a:gd name="connsiteX19" fmla="*/ 1530969 w 2187099"/>
                <a:gd name="connsiteY19" fmla="*/ 1372381 h 2162549"/>
                <a:gd name="connsiteX20" fmla="*/ 1522448 w 2187099"/>
                <a:gd name="connsiteY20" fmla="*/ 1404517 h 2162549"/>
                <a:gd name="connsiteX21" fmla="*/ 1516768 w 2187099"/>
                <a:gd name="connsiteY21" fmla="*/ 1432871 h 2162549"/>
                <a:gd name="connsiteX22" fmla="*/ 1515347 w 2187099"/>
                <a:gd name="connsiteY22" fmla="*/ 1470678 h 2162549"/>
                <a:gd name="connsiteX23" fmla="*/ 1516768 w 2187099"/>
                <a:gd name="connsiteY23" fmla="*/ 1506594 h 2162549"/>
                <a:gd name="connsiteX24" fmla="*/ 1521028 w 2187099"/>
                <a:gd name="connsiteY24" fmla="*/ 1540620 h 2162549"/>
                <a:gd name="connsiteX25" fmla="*/ 1516768 w 2187099"/>
                <a:gd name="connsiteY25" fmla="*/ 1574646 h 2162549"/>
                <a:gd name="connsiteX26" fmla="*/ 1509667 w 2187099"/>
                <a:gd name="connsiteY26" fmla="*/ 1603001 h 2162549"/>
                <a:gd name="connsiteX27" fmla="*/ 1492624 w 2187099"/>
                <a:gd name="connsiteY27" fmla="*/ 1631356 h 2162549"/>
                <a:gd name="connsiteX28" fmla="*/ 1475582 w 2187099"/>
                <a:gd name="connsiteY28" fmla="*/ 1659711 h 2162549"/>
                <a:gd name="connsiteX29" fmla="*/ 1448598 w 2187099"/>
                <a:gd name="connsiteY29" fmla="*/ 1678615 h 2162549"/>
                <a:gd name="connsiteX30" fmla="*/ 1424455 w 2187099"/>
                <a:gd name="connsiteY30" fmla="*/ 1693737 h 2162549"/>
                <a:gd name="connsiteX31" fmla="*/ 1390370 w 2187099"/>
                <a:gd name="connsiteY31" fmla="*/ 1703189 h 2162549"/>
                <a:gd name="connsiteX32" fmla="*/ 1359126 w 2187099"/>
                <a:gd name="connsiteY32" fmla="*/ 1710750 h 2162549"/>
                <a:gd name="connsiteX33" fmla="*/ 1326461 w 2187099"/>
                <a:gd name="connsiteY33" fmla="*/ 1714531 h 2162549"/>
                <a:gd name="connsiteX34" fmla="*/ 1288116 w 2187099"/>
                <a:gd name="connsiteY34" fmla="*/ 1714531 h 2162549"/>
                <a:gd name="connsiteX35" fmla="*/ 1254031 w 2187099"/>
                <a:gd name="connsiteY35" fmla="*/ 1710750 h 2162549"/>
                <a:gd name="connsiteX36" fmla="*/ 1222787 w 2187099"/>
                <a:gd name="connsiteY36" fmla="*/ 1706970 h 2162549"/>
                <a:gd name="connsiteX37" fmla="*/ 1197223 w 2187099"/>
                <a:gd name="connsiteY37" fmla="*/ 1703189 h 2162549"/>
                <a:gd name="connsiteX38" fmla="*/ 1167399 w 2187099"/>
                <a:gd name="connsiteY38" fmla="*/ 1701299 h 2162549"/>
                <a:gd name="connsiteX39" fmla="*/ 1136155 w 2187099"/>
                <a:gd name="connsiteY39" fmla="*/ 1701299 h 2162549"/>
                <a:gd name="connsiteX40" fmla="*/ 1110592 w 2187099"/>
                <a:gd name="connsiteY40" fmla="*/ 1703189 h 2162549"/>
                <a:gd name="connsiteX41" fmla="*/ 1085028 w 2187099"/>
                <a:gd name="connsiteY41" fmla="*/ 1706970 h 2162549"/>
                <a:gd name="connsiteX42" fmla="*/ 1059465 w 2187099"/>
                <a:gd name="connsiteY42" fmla="*/ 1716421 h 2162549"/>
                <a:gd name="connsiteX43" fmla="*/ 1039582 w 2187099"/>
                <a:gd name="connsiteY43" fmla="*/ 1731544 h 2162549"/>
                <a:gd name="connsiteX44" fmla="*/ 1019699 w 2187099"/>
                <a:gd name="connsiteY44" fmla="*/ 1752338 h 2162549"/>
                <a:gd name="connsiteX45" fmla="*/ 1006917 w 2187099"/>
                <a:gd name="connsiteY45" fmla="*/ 1776912 h 2162549"/>
                <a:gd name="connsiteX46" fmla="*/ 998396 w 2187099"/>
                <a:gd name="connsiteY46" fmla="*/ 1803376 h 2162549"/>
                <a:gd name="connsiteX47" fmla="*/ 989875 w 2187099"/>
                <a:gd name="connsiteY47" fmla="*/ 1844964 h 2162549"/>
                <a:gd name="connsiteX48" fmla="*/ 987035 w 2187099"/>
                <a:gd name="connsiteY48" fmla="*/ 1884661 h 2162549"/>
                <a:gd name="connsiteX49" fmla="*/ 984194 w 2187099"/>
                <a:gd name="connsiteY49" fmla="*/ 1922467 h 2162549"/>
                <a:gd name="connsiteX50" fmla="*/ 984194 w 2187099"/>
                <a:gd name="connsiteY50" fmla="*/ 1962164 h 2162549"/>
                <a:gd name="connsiteX51" fmla="*/ 981354 w 2187099"/>
                <a:gd name="connsiteY51" fmla="*/ 2015094 h 2162549"/>
                <a:gd name="connsiteX52" fmla="*/ 984194 w 2187099"/>
                <a:gd name="connsiteY52" fmla="*/ 2088817 h 2162549"/>
                <a:gd name="connsiteX53" fmla="*/ 848455 w 2187099"/>
                <a:gd name="connsiteY53" fmla="*/ 2088817 h 2162549"/>
                <a:gd name="connsiteX54" fmla="*/ 848455 w 2187099"/>
                <a:gd name="connsiteY54" fmla="*/ 2162549 h 2162549"/>
                <a:gd name="connsiteX55" fmla="*/ 86455 w 2187099"/>
                <a:gd name="connsiteY55" fmla="*/ 2162549 h 2162549"/>
                <a:gd name="connsiteX56" fmla="*/ 86455 w 2187099"/>
                <a:gd name="connsiteY56" fmla="*/ 2098268 h 2162549"/>
                <a:gd name="connsiteX57" fmla="*/ 2840 w 2187099"/>
                <a:gd name="connsiteY57" fmla="*/ 2098268 h 216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187099" h="2162549">
                  <a:moveTo>
                    <a:pt x="0" y="0"/>
                  </a:moveTo>
                  <a:lnTo>
                    <a:pt x="2187099" y="0"/>
                  </a:lnTo>
                  <a:lnTo>
                    <a:pt x="2187099" y="521731"/>
                  </a:lnTo>
                  <a:lnTo>
                    <a:pt x="2153014" y="521731"/>
                  </a:lnTo>
                  <a:lnTo>
                    <a:pt x="2118930" y="521731"/>
                  </a:lnTo>
                  <a:lnTo>
                    <a:pt x="2091946" y="527402"/>
                  </a:lnTo>
                  <a:lnTo>
                    <a:pt x="2064962" y="534964"/>
                  </a:lnTo>
                  <a:lnTo>
                    <a:pt x="2037979" y="546306"/>
                  </a:lnTo>
                  <a:lnTo>
                    <a:pt x="2009575" y="567099"/>
                  </a:lnTo>
                  <a:lnTo>
                    <a:pt x="1984011" y="591674"/>
                  </a:lnTo>
                  <a:lnTo>
                    <a:pt x="1962709" y="620029"/>
                  </a:lnTo>
                  <a:lnTo>
                    <a:pt x="1949388" y="641850"/>
                  </a:lnTo>
                  <a:lnTo>
                    <a:pt x="2089742" y="641850"/>
                  </a:lnTo>
                  <a:lnTo>
                    <a:pt x="2089742" y="1289550"/>
                  </a:lnTo>
                  <a:lnTo>
                    <a:pt x="1615987" y="1289550"/>
                  </a:lnTo>
                  <a:lnTo>
                    <a:pt x="1611921" y="1291097"/>
                  </a:lnTo>
                  <a:lnTo>
                    <a:pt x="1580676" y="1304329"/>
                  </a:lnTo>
                  <a:lnTo>
                    <a:pt x="1556533" y="1323232"/>
                  </a:lnTo>
                  <a:lnTo>
                    <a:pt x="1542331" y="1344026"/>
                  </a:lnTo>
                  <a:lnTo>
                    <a:pt x="1530969" y="1372381"/>
                  </a:lnTo>
                  <a:lnTo>
                    <a:pt x="1522448" y="1404517"/>
                  </a:lnTo>
                  <a:lnTo>
                    <a:pt x="1516768" y="1432871"/>
                  </a:lnTo>
                  <a:lnTo>
                    <a:pt x="1515347" y="1470678"/>
                  </a:lnTo>
                  <a:lnTo>
                    <a:pt x="1516768" y="1506594"/>
                  </a:lnTo>
                  <a:lnTo>
                    <a:pt x="1521028" y="1540620"/>
                  </a:lnTo>
                  <a:lnTo>
                    <a:pt x="1516768" y="1574646"/>
                  </a:lnTo>
                  <a:lnTo>
                    <a:pt x="1509667" y="1603001"/>
                  </a:lnTo>
                  <a:lnTo>
                    <a:pt x="1492624" y="1631356"/>
                  </a:lnTo>
                  <a:lnTo>
                    <a:pt x="1475582" y="1659711"/>
                  </a:lnTo>
                  <a:lnTo>
                    <a:pt x="1448598" y="1678615"/>
                  </a:lnTo>
                  <a:lnTo>
                    <a:pt x="1424455" y="1693737"/>
                  </a:lnTo>
                  <a:lnTo>
                    <a:pt x="1390370" y="1703189"/>
                  </a:lnTo>
                  <a:lnTo>
                    <a:pt x="1359126" y="1710750"/>
                  </a:lnTo>
                  <a:lnTo>
                    <a:pt x="1326461" y="1714531"/>
                  </a:lnTo>
                  <a:lnTo>
                    <a:pt x="1288116" y="1714531"/>
                  </a:lnTo>
                  <a:lnTo>
                    <a:pt x="1254031" y="1710750"/>
                  </a:lnTo>
                  <a:lnTo>
                    <a:pt x="1222787" y="1706970"/>
                  </a:lnTo>
                  <a:lnTo>
                    <a:pt x="1197223" y="1703189"/>
                  </a:lnTo>
                  <a:lnTo>
                    <a:pt x="1167399" y="1701299"/>
                  </a:lnTo>
                  <a:lnTo>
                    <a:pt x="1136155" y="1701299"/>
                  </a:lnTo>
                  <a:lnTo>
                    <a:pt x="1110592" y="1703189"/>
                  </a:lnTo>
                  <a:lnTo>
                    <a:pt x="1085028" y="1706970"/>
                  </a:lnTo>
                  <a:lnTo>
                    <a:pt x="1059465" y="1716421"/>
                  </a:lnTo>
                  <a:lnTo>
                    <a:pt x="1039582" y="1731544"/>
                  </a:lnTo>
                  <a:lnTo>
                    <a:pt x="1019699" y="1752338"/>
                  </a:lnTo>
                  <a:lnTo>
                    <a:pt x="1006917" y="1776912"/>
                  </a:lnTo>
                  <a:lnTo>
                    <a:pt x="998396" y="1803376"/>
                  </a:lnTo>
                  <a:lnTo>
                    <a:pt x="989875" y="1844964"/>
                  </a:lnTo>
                  <a:lnTo>
                    <a:pt x="987035" y="1884661"/>
                  </a:lnTo>
                  <a:lnTo>
                    <a:pt x="984194" y="1922467"/>
                  </a:lnTo>
                  <a:lnTo>
                    <a:pt x="984194" y="1962164"/>
                  </a:lnTo>
                  <a:lnTo>
                    <a:pt x="981354" y="2015094"/>
                  </a:lnTo>
                  <a:lnTo>
                    <a:pt x="984194" y="2088817"/>
                  </a:lnTo>
                  <a:lnTo>
                    <a:pt x="848455" y="2088817"/>
                  </a:lnTo>
                  <a:lnTo>
                    <a:pt x="848455" y="2162549"/>
                  </a:lnTo>
                  <a:lnTo>
                    <a:pt x="86455" y="2162549"/>
                  </a:lnTo>
                  <a:lnTo>
                    <a:pt x="86455" y="2098268"/>
                  </a:lnTo>
                  <a:lnTo>
                    <a:pt x="2840" y="2098268"/>
                  </a:lnTo>
                  <a:close/>
                </a:path>
              </a:pathLst>
            </a:cu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dirty="0"/>
            </a:p>
          </p:txBody>
        </p:sp>
        <p:sp>
          <p:nvSpPr>
            <p:cNvPr id="24" name="Text Box 8">
              <a:extLst>
                <a:ext uri="{FF2B5EF4-FFF2-40B4-BE49-F238E27FC236}">
                  <a16:creationId xmlns:a16="http://schemas.microsoft.com/office/drawing/2014/main" id="{7D49769B-45BC-437C-8740-2EF2D3C19E63}"/>
                </a:ext>
              </a:extLst>
            </p:cNvPr>
            <p:cNvSpPr txBox="1">
              <a:spLocks noChangeArrowheads="1"/>
            </p:cNvSpPr>
            <p:nvPr/>
          </p:nvSpPr>
          <p:spPr bwMode="auto">
            <a:xfrm>
              <a:off x="3899757" y="1628801"/>
              <a:ext cx="2181187" cy="1290959"/>
            </a:xfrm>
            <a:prstGeom prst="rect">
              <a:avLst/>
            </a:prstGeom>
            <a:noFill/>
            <a:ln w="6350">
              <a:noFill/>
              <a:miter lim="800000"/>
              <a:headEnd/>
              <a:tailEnd/>
            </a:ln>
          </p:spPr>
          <p:txBody>
            <a:bodyPr wrap="none" lIns="180000" tIns="144000" rIns="45720"/>
            <a:lstStyle/>
            <a:p>
              <a:pPr marL="108000" indent="-108000">
                <a:spcBef>
                  <a:spcPts val="100"/>
                </a:spcBef>
                <a:spcAft>
                  <a:spcPts val="100"/>
                </a:spcAft>
              </a:pPr>
              <a:r>
                <a:rPr lang="en-GB" sz="1400" b="1" dirty="0"/>
                <a:t>Text</a:t>
              </a:r>
              <a:endParaRPr lang="en-GB" sz="1200" b="1" dirty="0"/>
            </a:p>
            <a:p>
              <a:pPr marL="108000" indent="-108000">
                <a:spcBef>
                  <a:spcPts val="100"/>
                </a:spcBef>
                <a:spcAft>
                  <a:spcPts val="100"/>
                </a:spcAft>
                <a:buFontTx/>
                <a:buChar char="•"/>
              </a:pPr>
              <a:r>
                <a:rPr lang="en-GB" sz="1200" dirty="0"/>
                <a:t>Text</a:t>
              </a:r>
            </a:p>
            <a:p>
              <a:pPr marL="108000" indent="-108000">
                <a:spcBef>
                  <a:spcPts val="100"/>
                </a:spcBef>
                <a:spcAft>
                  <a:spcPts val="100"/>
                </a:spcAft>
                <a:buFontTx/>
                <a:buChar char="•"/>
              </a:pPr>
              <a:r>
                <a:rPr lang="en-GB" sz="1200" dirty="0"/>
                <a:t>Text</a:t>
              </a:r>
            </a:p>
            <a:p>
              <a:pPr marL="108000" indent="-108000">
                <a:spcBef>
                  <a:spcPts val="100"/>
                </a:spcBef>
                <a:spcAft>
                  <a:spcPts val="100"/>
                </a:spcAft>
                <a:buFontTx/>
                <a:buChar char="•"/>
              </a:pPr>
              <a:r>
                <a:rPr lang="en-GB" sz="1200" dirty="0"/>
                <a:t>Text</a:t>
              </a:r>
              <a:endParaRPr lang="en-AU" sz="1200" dirty="0"/>
            </a:p>
          </p:txBody>
        </p:sp>
        <p:sp>
          <p:nvSpPr>
            <p:cNvPr id="21" name="Freeform 3">
              <a:extLst>
                <a:ext uri="{FF2B5EF4-FFF2-40B4-BE49-F238E27FC236}">
                  <a16:creationId xmlns:a16="http://schemas.microsoft.com/office/drawing/2014/main" id="{F98730A0-E9EB-4538-AFC3-CF44FFC66F71}"/>
                </a:ext>
              </a:extLst>
            </p:cNvPr>
            <p:cNvSpPr>
              <a:spLocks/>
            </p:cNvSpPr>
            <p:nvPr/>
          </p:nvSpPr>
          <p:spPr bwMode="auto">
            <a:xfrm>
              <a:off x="6086856" y="1637927"/>
              <a:ext cx="2177247" cy="2505969"/>
            </a:xfrm>
            <a:custGeom>
              <a:avLst/>
              <a:gdLst>
                <a:gd name="T0" fmla="*/ 0 w 1534"/>
                <a:gd name="T1" fmla="*/ 0 h 1325"/>
                <a:gd name="T2" fmla="*/ 1534 w 1534"/>
                <a:gd name="T3" fmla="*/ 1058 h 1325"/>
                <a:gd name="T4" fmla="*/ 1395 w 1534"/>
                <a:gd name="T5" fmla="*/ 1068 h 1325"/>
                <a:gd name="T6" fmla="*/ 1391 w 1534"/>
                <a:gd name="T7" fmla="*/ 1091 h 1325"/>
                <a:gd name="T8" fmla="*/ 1398 w 1534"/>
                <a:gd name="T9" fmla="*/ 1121 h 1325"/>
                <a:gd name="T10" fmla="*/ 1409 w 1534"/>
                <a:gd name="T11" fmla="*/ 1156 h 1325"/>
                <a:gd name="T12" fmla="*/ 1415 w 1534"/>
                <a:gd name="T13" fmla="*/ 1190 h 1325"/>
                <a:gd name="T14" fmla="*/ 1413 w 1534"/>
                <a:gd name="T15" fmla="*/ 1222 h 1325"/>
                <a:gd name="T16" fmla="*/ 1402 w 1534"/>
                <a:gd name="T17" fmla="*/ 1254 h 1325"/>
                <a:gd name="T18" fmla="*/ 1377 w 1534"/>
                <a:gd name="T19" fmla="*/ 1280 h 1325"/>
                <a:gd name="T20" fmla="*/ 1349 w 1534"/>
                <a:gd name="T21" fmla="*/ 1301 h 1325"/>
                <a:gd name="T22" fmla="*/ 1314 w 1534"/>
                <a:gd name="T23" fmla="*/ 1316 h 1325"/>
                <a:gd name="T24" fmla="*/ 1270 w 1534"/>
                <a:gd name="T25" fmla="*/ 1324 h 1325"/>
                <a:gd name="T26" fmla="*/ 1232 w 1534"/>
                <a:gd name="T27" fmla="*/ 1325 h 1325"/>
                <a:gd name="T28" fmla="*/ 1199 w 1534"/>
                <a:gd name="T29" fmla="*/ 1322 h 1325"/>
                <a:gd name="T30" fmla="*/ 1164 w 1534"/>
                <a:gd name="T31" fmla="*/ 1312 h 1325"/>
                <a:gd name="T32" fmla="*/ 1136 w 1534"/>
                <a:gd name="T33" fmla="*/ 1296 h 1325"/>
                <a:gd name="T34" fmla="*/ 1109 w 1534"/>
                <a:gd name="T35" fmla="*/ 1271 h 1325"/>
                <a:gd name="T36" fmla="*/ 1088 w 1534"/>
                <a:gd name="T37" fmla="*/ 1244 h 1325"/>
                <a:gd name="T38" fmla="*/ 1076 w 1534"/>
                <a:gd name="T39" fmla="*/ 1206 h 1325"/>
                <a:gd name="T40" fmla="*/ 1082 w 1534"/>
                <a:gd name="T41" fmla="*/ 1168 h 1325"/>
                <a:gd name="T42" fmla="*/ 1092 w 1534"/>
                <a:gd name="T43" fmla="*/ 1130 h 1325"/>
                <a:gd name="T44" fmla="*/ 1102 w 1534"/>
                <a:gd name="T45" fmla="*/ 1092 h 1325"/>
                <a:gd name="T46" fmla="*/ 1100 w 1534"/>
                <a:gd name="T47" fmla="*/ 1075 h 1325"/>
                <a:gd name="T48" fmla="*/ 841 w 1534"/>
                <a:gd name="T49" fmla="*/ 1065 h 1325"/>
                <a:gd name="T50" fmla="*/ 844 w 1534"/>
                <a:gd name="T51" fmla="*/ 1003 h 1325"/>
                <a:gd name="T52" fmla="*/ 838 w 1534"/>
                <a:gd name="T53" fmla="*/ 961 h 1325"/>
                <a:gd name="T54" fmla="*/ 828 w 1534"/>
                <a:gd name="T55" fmla="*/ 937 h 1325"/>
                <a:gd name="T56" fmla="*/ 806 w 1534"/>
                <a:gd name="T57" fmla="*/ 916 h 1325"/>
                <a:gd name="T58" fmla="*/ 777 w 1534"/>
                <a:gd name="T59" fmla="*/ 903 h 1325"/>
                <a:gd name="T60" fmla="*/ 741 w 1534"/>
                <a:gd name="T61" fmla="*/ 900 h 1325"/>
                <a:gd name="T62" fmla="*/ 689 w 1534"/>
                <a:gd name="T63" fmla="*/ 902 h 1325"/>
                <a:gd name="T64" fmla="*/ 640 w 1534"/>
                <a:gd name="T65" fmla="*/ 906 h 1325"/>
                <a:gd name="T66" fmla="*/ 589 w 1534"/>
                <a:gd name="T67" fmla="*/ 906 h 1325"/>
                <a:gd name="T68" fmla="*/ 539 w 1534"/>
                <a:gd name="T69" fmla="*/ 898 h 1325"/>
                <a:gd name="T70" fmla="*/ 500 w 1534"/>
                <a:gd name="T71" fmla="*/ 878 h 1325"/>
                <a:gd name="T72" fmla="*/ 478 w 1534"/>
                <a:gd name="T73" fmla="*/ 850 h 1325"/>
                <a:gd name="T74" fmla="*/ 468 w 1534"/>
                <a:gd name="T75" fmla="*/ 814 h 1325"/>
                <a:gd name="T76" fmla="*/ 470 w 1534"/>
                <a:gd name="T77" fmla="*/ 772 h 1325"/>
                <a:gd name="T78" fmla="*/ 463 w 1534"/>
                <a:gd name="T79" fmla="*/ 735 h 1325"/>
                <a:gd name="T80" fmla="*/ 453 w 1534"/>
                <a:gd name="T81" fmla="*/ 711 h 1325"/>
                <a:gd name="T82" fmla="*/ 437 w 1534"/>
                <a:gd name="T83" fmla="*/ 696 h 1325"/>
                <a:gd name="T84" fmla="*/ 399 w 1534"/>
                <a:gd name="T85" fmla="*/ 680 h 1325"/>
                <a:gd name="T86" fmla="*/ 350 w 1534"/>
                <a:gd name="T87" fmla="*/ 668 h 1325"/>
                <a:gd name="T88" fmla="*/ 296 w 1534"/>
                <a:gd name="T89" fmla="*/ 660 h 1325"/>
                <a:gd name="T90" fmla="*/ 254 w 1534"/>
                <a:gd name="T91" fmla="*/ 648 h 1325"/>
                <a:gd name="T92" fmla="*/ 218 w 1534"/>
                <a:gd name="T93" fmla="*/ 631 h 1325"/>
                <a:gd name="T94" fmla="*/ 189 w 1534"/>
                <a:gd name="T95" fmla="*/ 606 h 1325"/>
                <a:gd name="T96" fmla="*/ 171 w 1534"/>
                <a:gd name="T97" fmla="*/ 575 h 1325"/>
                <a:gd name="T98" fmla="*/ 168 w 1534"/>
                <a:gd name="T99" fmla="*/ 541 h 1325"/>
                <a:gd name="T100" fmla="*/ 179 w 1534"/>
                <a:gd name="T101" fmla="*/ 503 h 1325"/>
                <a:gd name="T102" fmla="*/ 188 w 1534"/>
                <a:gd name="T103" fmla="*/ 461 h 1325"/>
                <a:gd name="T104" fmla="*/ 196 w 1534"/>
                <a:gd name="T105" fmla="*/ 420 h 1325"/>
                <a:gd name="T106" fmla="*/ 188 w 1534"/>
                <a:gd name="T107" fmla="*/ 380 h 1325"/>
                <a:gd name="T108" fmla="*/ 169 w 1534"/>
                <a:gd name="T109" fmla="*/ 344 h 1325"/>
                <a:gd name="T110" fmla="*/ 151 w 1534"/>
                <a:gd name="T111" fmla="*/ 321 h 1325"/>
                <a:gd name="T112" fmla="*/ 127 w 1534"/>
                <a:gd name="T113" fmla="*/ 301 h 1325"/>
                <a:gd name="T114" fmla="*/ 99 w 1534"/>
                <a:gd name="T115" fmla="*/ 287 h 1325"/>
                <a:gd name="T116" fmla="*/ 63 w 1534"/>
                <a:gd name="T117" fmla="*/ 278 h 1325"/>
                <a:gd name="T118" fmla="*/ 20 w 1534"/>
                <a:gd name="T119" fmla="*/ 276 h 132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534"/>
                <a:gd name="T181" fmla="*/ 0 h 1325"/>
                <a:gd name="T182" fmla="*/ 1534 w 1534"/>
                <a:gd name="T183" fmla="*/ 1325 h 132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534" h="1325">
                  <a:moveTo>
                    <a:pt x="0" y="276"/>
                  </a:moveTo>
                  <a:lnTo>
                    <a:pt x="0" y="0"/>
                  </a:lnTo>
                  <a:lnTo>
                    <a:pt x="1532" y="0"/>
                  </a:lnTo>
                  <a:lnTo>
                    <a:pt x="1534" y="1058"/>
                  </a:lnTo>
                  <a:lnTo>
                    <a:pt x="1401" y="1058"/>
                  </a:lnTo>
                  <a:lnTo>
                    <a:pt x="1395" y="1068"/>
                  </a:lnTo>
                  <a:lnTo>
                    <a:pt x="1391" y="1081"/>
                  </a:lnTo>
                  <a:lnTo>
                    <a:pt x="1391" y="1091"/>
                  </a:lnTo>
                  <a:lnTo>
                    <a:pt x="1393" y="1104"/>
                  </a:lnTo>
                  <a:lnTo>
                    <a:pt x="1398" y="1121"/>
                  </a:lnTo>
                  <a:lnTo>
                    <a:pt x="1403" y="1142"/>
                  </a:lnTo>
                  <a:lnTo>
                    <a:pt x="1409" y="1156"/>
                  </a:lnTo>
                  <a:lnTo>
                    <a:pt x="1413" y="1174"/>
                  </a:lnTo>
                  <a:lnTo>
                    <a:pt x="1415" y="1190"/>
                  </a:lnTo>
                  <a:lnTo>
                    <a:pt x="1415" y="1207"/>
                  </a:lnTo>
                  <a:lnTo>
                    <a:pt x="1413" y="1222"/>
                  </a:lnTo>
                  <a:lnTo>
                    <a:pt x="1409" y="1239"/>
                  </a:lnTo>
                  <a:lnTo>
                    <a:pt x="1402" y="1254"/>
                  </a:lnTo>
                  <a:lnTo>
                    <a:pt x="1391" y="1266"/>
                  </a:lnTo>
                  <a:lnTo>
                    <a:pt x="1377" y="1280"/>
                  </a:lnTo>
                  <a:lnTo>
                    <a:pt x="1362" y="1291"/>
                  </a:lnTo>
                  <a:lnTo>
                    <a:pt x="1349" y="1301"/>
                  </a:lnTo>
                  <a:lnTo>
                    <a:pt x="1333" y="1310"/>
                  </a:lnTo>
                  <a:lnTo>
                    <a:pt x="1314" y="1316"/>
                  </a:lnTo>
                  <a:lnTo>
                    <a:pt x="1292" y="1322"/>
                  </a:lnTo>
                  <a:lnTo>
                    <a:pt x="1270" y="1324"/>
                  </a:lnTo>
                  <a:lnTo>
                    <a:pt x="1252" y="1325"/>
                  </a:lnTo>
                  <a:lnTo>
                    <a:pt x="1232" y="1325"/>
                  </a:lnTo>
                  <a:lnTo>
                    <a:pt x="1213" y="1324"/>
                  </a:lnTo>
                  <a:lnTo>
                    <a:pt x="1199" y="1322"/>
                  </a:lnTo>
                  <a:lnTo>
                    <a:pt x="1181" y="1317"/>
                  </a:lnTo>
                  <a:lnTo>
                    <a:pt x="1164" y="1312"/>
                  </a:lnTo>
                  <a:lnTo>
                    <a:pt x="1151" y="1305"/>
                  </a:lnTo>
                  <a:lnTo>
                    <a:pt x="1136" y="1296"/>
                  </a:lnTo>
                  <a:lnTo>
                    <a:pt x="1123" y="1284"/>
                  </a:lnTo>
                  <a:lnTo>
                    <a:pt x="1109" y="1271"/>
                  </a:lnTo>
                  <a:lnTo>
                    <a:pt x="1098" y="1258"/>
                  </a:lnTo>
                  <a:lnTo>
                    <a:pt x="1088" y="1244"/>
                  </a:lnTo>
                  <a:lnTo>
                    <a:pt x="1082" y="1226"/>
                  </a:lnTo>
                  <a:lnTo>
                    <a:pt x="1076" y="1206"/>
                  </a:lnTo>
                  <a:lnTo>
                    <a:pt x="1076" y="1187"/>
                  </a:lnTo>
                  <a:lnTo>
                    <a:pt x="1082" y="1168"/>
                  </a:lnTo>
                  <a:lnTo>
                    <a:pt x="1087" y="1149"/>
                  </a:lnTo>
                  <a:lnTo>
                    <a:pt x="1092" y="1130"/>
                  </a:lnTo>
                  <a:lnTo>
                    <a:pt x="1099" y="1109"/>
                  </a:lnTo>
                  <a:lnTo>
                    <a:pt x="1102" y="1092"/>
                  </a:lnTo>
                  <a:lnTo>
                    <a:pt x="1102" y="1083"/>
                  </a:lnTo>
                  <a:lnTo>
                    <a:pt x="1100" y="1075"/>
                  </a:lnTo>
                  <a:lnTo>
                    <a:pt x="1096" y="1065"/>
                  </a:lnTo>
                  <a:lnTo>
                    <a:pt x="841" y="1065"/>
                  </a:lnTo>
                  <a:lnTo>
                    <a:pt x="845" y="1025"/>
                  </a:lnTo>
                  <a:lnTo>
                    <a:pt x="844" y="1003"/>
                  </a:lnTo>
                  <a:lnTo>
                    <a:pt x="841" y="981"/>
                  </a:lnTo>
                  <a:lnTo>
                    <a:pt x="838" y="961"/>
                  </a:lnTo>
                  <a:lnTo>
                    <a:pt x="834" y="948"/>
                  </a:lnTo>
                  <a:lnTo>
                    <a:pt x="828" y="937"/>
                  </a:lnTo>
                  <a:lnTo>
                    <a:pt x="820" y="926"/>
                  </a:lnTo>
                  <a:lnTo>
                    <a:pt x="806" y="916"/>
                  </a:lnTo>
                  <a:lnTo>
                    <a:pt x="792" y="908"/>
                  </a:lnTo>
                  <a:lnTo>
                    <a:pt x="777" y="903"/>
                  </a:lnTo>
                  <a:lnTo>
                    <a:pt x="764" y="901"/>
                  </a:lnTo>
                  <a:lnTo>
                    <a:pt x="741" y="900"/>
                  </a:lnTo>
                  <a:lnTo>
                    <a:pt x="715" y="900"/>
                  </a:lnTo>
                  <a:lnTo>
                    <a:pt x="689" y="902"/>
                  </a:lnTo>
                  <a:lnTo>
                    <a:pt x="661" y="903"/>
                  </a:lnTo>
                  <a:lnTo>
                    <a:pt x="640" y="906"/>
                  </a:lnTo>
                  <a:lnTo>
                    <a:pt x="612" y="907"/>
                  </a:lnTo>
                  <a:lnTo>
                    <a:pt x="589" y="906"/>
                  </a:lnTo>
                  <a:lnTo>
                    <a:pt x="570" y="903"/>
                  </a:lnTo>
                  <a:lnTo>
                    <a:pt x="539" y="898"/>
                  </a:lnTo>
                  <a:lnTo>
                    <a:pt x="519" y="889"/>
                  </a:lnTo>
                  <a:lnTo>
                    <a:pt x="500" y="878"/>
                  </a:lnTo>
                  <a:lnTo>
                    <a:pt x="488" y="865"/>
                  </a:lnTo>
                  <a:lnTo>
                    <a:pt x="478" y="850"/>
                  </a:lnTo>
                  <a:lnTo>
                    <a:pt x="470" y="833"/>
                  </a:lnTo>
                  <a:lnTo>
                    <a:pt x="468" y="814"/>
                  </a:lnTo>
                  <a:lnTo>
                    <a:pt x="468" y="790"/>
                  </a:lnTo>
                  <a:lnTo>
                    <a:pt x="470" y="772"/>
                  </a:lnTo>
                  <a:lnTo>
                    <a:pt x="468" y="755"/>
                  </a:lnTo>
                  <a:lnTo>
                    <a:pt x="463" y="735"/>
                  </a:lnTo>
                  <a:lnTo>
                    <a:pt x="459" y="723"/>
                  </a:lnTo>
                  <a:lnTo>
                    <a:pt x="453" y="711"/>
                  </a:lnTo>
                  <a:lnTo>
                    <a:pt x="445" y="703"/>
                  </a:lnTo>
                  <a:lnTo>
                    <a:pt x="437" y="696"/>
                  </a:lnTo>
                  <a:lnTo>
                    <a:pt x="419" y="689"/>
                  </a:lnTo>
                  <a:lnTo>
                    <a:pt x="399" y="680"/>
                  </a:lnTo>
                  <a:lnTo>
                    <a:pt x="377" y="674"/>
                  </a:lnTo>
                  <a:lnTo>
                    <a:pt x="350" y="668"/>
                  </a:lnTo>
                  <a:lnTo>
                    <a:pt x="324" y="664"/>
                  </a:lnTo>
                  <a:lnTo>
                    <a:pt x="296" y="660"/>
                  </a:lnTo>
                  <a:lnTo>
                    <a:pt x="276" y="654"/>
                  </a:lnTo>
                  <a:lnTo>
                    <a:pt x="254" y="648"/>
                  </a:lnTo>
                  <a:lnTo>
                    <a:pt x="233" y="641"/>
                  </a:lnTo>
                  <a:lnTo>
                    <a:pt x="218" y="631"/>
                  </a:lnTo>
                  <a:lnTo>
                    <a:pt x="201" y="618"/>
                  </a:lnTo>
                  <a:lnTo>
                    <a:pt x="189" y="606"/>
                  </a:lnTo>
                  <a:lnTo>
                    <a:pt x="179" y="592"/>
                  </a:lnTo>
                  <a:lnTo>
                    <a:pt x="171" y="575"/>
                  </a:lnTo>
                  <a:lnTo>
                    <a:pt x="168" y="557"/>
                  </a:lnTo>
                  <a:lnTo>
                    <a:pt x="168" y="541"/>
                  </a:lnTo>
                  <a:lnTo>
                    <a:pt x="172" y="526"/>
                  </a:lnTo>
                  <a:lnTo>
                    <a:pt x="179" y="503"/>
                  </a:lnTo>
                  <a:lnTo>
                    <a:pt x="185" y="481"/>
                  </a:lnTo>
                  <a:lnTo>
                    <a:pt x="188" y="461"/>
                  </a:lnTo>
                  <a:lnTo>
                    <a:pt x="193" y="441"/>
                  </a:lnTo>
                  <a:lnTo>
                    <a:pt x="196" y="420"/>
                  </a:lnTo>
                  <a:lnTo>
                    <a:pt x="193" y="399"/>
                  </a:lnTo>
                  <a:lnTo>
                    <a:pt x="188" y="380"/>
                  </a:lnTo>
                  <a:lnTo>
                    <a:pt x="180" y="361"/>
                  </a:lnTo>
                  <a:lnTo>
                    <a:pt x="169" y="344"/>
                  </a:lnTo>
                  <a:lnTo>
                    <a:pt x="157" y="330"/>
                  </a:lnTo>
                  <a:lnTo>
                    <a:pt x="151" y="321"/>
                  </a:lnTo>
                  <a:lnTo>
                    <a:pt x="139" y="311"/>
                  </a:lnTo>
                  <a:lnTo>
                    <a:pt x="127" y="301"/>
                  </a:lnTo>
                  <a:lnTo>
                    <a:pt x="115" y="294"/>
                  </a:lnTo>
                  <a:lnTo>
                    <a:pt x="99" y="287"/>
                  </a:lnTo>
                  <a:lnTo>
                    <a:pt x="83" y="282"/>
                  </a:lnTo>
                  <a:lnTo>
                    <a:pt x="63" y="278"/>
                  </a:lnTo>
                  <a:lnTo>
                    <a:pt x="40" y="276"/>
                  </a:lnTo>
                  <a:lnTo>
                    <a:pt x="20" y="276"/>
                  </a:lnTo>
                  <a:lnTo>
                    <a:pt x="0" y="276"/>
                  </a:lnTo>
                  <a:close/>
                </a:path>
              </a:pathLst>
            </a:custGeom>
            <a:solidFill>
              <a:schemeClr val="accent2"/>
            </a:solidFill>
            <a:ln w="6350">
              <a:noFill/>
              <a:round/>
              <a:headEnd/>
              <a:tailEnd/>
            </a:ln>
          </p:spPr>
          <p:txBody>
            <a:bodyPr lIns="45720" rIns="45720"/>
            <a:lstStyle/>
            <a:p>
              <a:endParaRPr lang="en-US"/>
            </a:p>
          </p:txBody>
        </p:sp>
        <p:sp>
          <p:nvSpPr>
            <p:cNvPr id="27" name="Text Box 16">
              <a:extLst>
                <a:ext uri="{FF2B5EF4-FFF2-40B4-BE49-F238E27FC236}">
                  <a16:creationId xmlns:a16="http://schemas.microsoft.com/office/drawing/2014/main" id="{281DF986-ECF1-427D-AFF6-B41AEF13D7CE}"/>
                </a:ext>
              </a:extLst>
            </p:cNvPr>
            <p:cNvSpPr txBox="1">
              <a:spLocks noChangeArrowheads="1"/>
            </p:cNvSpPr>
            <p:nvPr/>
          </p:nvSpPr>
          <p:spPr bwMode="auto">
            <a:xfrm>
              <a:off x="6591268" y="1639761"/>
              <a:ext cx="1672834" cy="2000078"/>
            </a:xfrm>
            <a:prstGeom prst="rect">
              <a:avLst/>
            </a:prstGeom>
            <a:noFill/>
            <a:ln w="6350">
              <a:noFill/>
              <a:miter lim="800000"/>
              <a:headEnd/>
              <a:tailEnd/>
            </a:ln>
          </p:spPr>
          <p:txBody>
            <a:bodyPr wrap="none" lIns="45720" tIns="144000" rIns="45720"/>
            <a:lstStyle/>
            <a:p>
              <a:pPr marL="108000" indent="-108000">
                <a:spcBef>
                  <a:spcPts val="100"/>
                </a:spcBef>
                <a:spcAft>
                  <a:spcPts val="100"/>
                </a:spcAft>
              </a:pPr>
              <a:r>
                <a:rPr lang="en-GB" sz="1400" b="1" dirty="0">
                  <a:solidFill>
                    <a:schemeClr val="bg1"/>
                  </a:solidFill>
                </a:rPr>
                <a:t>Text</a:t>
              </a:r>
              <a:endParaRPr lang="en-GB" sz="1200" b="1" dirty="0">
                <a:solidFill>
                  <a:schemeClr val="bg1"/>
                </a:solidFill>
              </a:endParaRPr>
            </a:p>
            <a:p>
              <a:pPr marL="108000" indent="-108000">
                <a:spcBef>
                  <a:spcPts val="100"/>
                </a:spcBef>
                <a:spcAft>
                  <a:spcPts val="100"/>
                </a:spcAft>
                <a:buFontTx/>
                <a:buChar char="•"/>
              </a:pPr>
              <a:r>
                <a:rPr lang="en-GB" sz="1200" dirty="0">
                  <a:solidFill>
                    <a:schemeClr val="bg1"/>
                  </a:solidFill>
                </a:rPr>
                <a:t>Text</a:t>
              </a:r>
            </a:p>
            <a:p>
              <a:pPr marL="108000" indent="-108000">
                <a:spcBef>
                  <a:spcPts val="100"/>
                </a:spcBef>
                <a:spcAft>
                  <a:spcPts val="100"/>
                </a:spcAft>
                <a:buFontTx/>
                <a:buChar char="•"/>
              </a:pPr>
              <a:r>
                <a:rPr lang="en-GB" sz="1200" dirty="0">
                  <a:solidFill>
                    <a:schemeClr val="bg1"/>
                  </a:solidFill>
                </a:rPr>
                <a:t>Text</a:t>
              </a:r>
            </a:p>
            <a:p>
              <a:pPr marL="108000" indent="-108000">
                <a:spcBef>
                  <a:spcPts val="100"/>
                </a:spcBef>
                <a:spcAft>
                  <a:spcPts val="100"/>
                </a:spcAft>
                <a:buFontTx/>
                <a:buChar char="•"/>
              </a:pPr>
              <a:r>
                <a:rPr lang="en-GB" sz="1200" dirty="0">
                  <a:solidFill>
                    <a:schemeClr val="bg1"/>
                  </a:solidFill>
                </a:rPr>
                <a:t>Text</a:t>
              </a:r>
              <a:endParaRPr lang="en-AU" sz="1200" dirty="0">
                <a:solidFill>
                  <a:schemeClr val="bg1"/>
                </a:solidFill>
              </a:endParaRPr>
            </a:p>
          </p:txBody>
        </p:sp>
        <p:sp>
          <p:nvSpPr>
            <p:cNvPr id="22" name="Freeform 5">
              <a:extLst>
                <a:ext uri="{FF2B5EF4-FFF2-40B4-BE49-F238E27FC236}">
                  <a16:creationId xmlns:a16="http://schemas.microsoft.com/office/drawing/2014/main" id="{99EDFFCD-151E-4EE3-AAB2-57D406B85A7E}"/>
                </a:ext>
              </a:extLst>
            </p:cNvPr>
            <p:cNvSpPr>
              <a:spLocks/>
            </p:cNvSpPr>
            <p:nvPr/>
          </p:nvSpPr>
          <p:spPr bwMode="auto">
            <a:xfrm>
              <a:off x="3899757" y="3192331"/>
              <a:ext cx="2181187" cy="2505969"/>
            </a:xfrm>
            <a:custGeom>
              <a:avLst/>
              <a:gdLst>
                <a:gd name="T0" fmla="*/ 1534 w 1534"/>
                <a:gd name="T1" fmla="*/ 1325 h 1325"/>
                <a:gd name="T2" fmla="*/ 0 w 1534"/>
                <a:gd name="T3" fmla="*/ 267 h 1325"/>
                <a:gd name="T4" fmla="*/ 139 w 1534"/>
                <a:gd name="T5" fmla="*/ 258 h 1325"/>
                <a:gd name="T6" fmla="*/ 143 w 1534"/>
                <a:gd name="T7" fmla="*/ 234 h 1325"/>
                <a:gd name="T8" fmla="*/ 136 w 1534"/>
                <a:gd name="T9" fmla="*/ 204 h 1325"/>
                <a:gd name="T10" fmla="*/ 125 w 1534"/>
                <a:gd name="T11" fmla="*/ 169 h 1325"/>
                <a:gd name="T12" fmla="*/ 119 w 1534"/>
                <a:gd name="T13" fmla="*/ 135 h 1325"/>
                <a:gd name="T14" fmla="*/ 120 w 1534"/>
                <a:gd name="T15" fmla="*/ 103 h 1325"/>
                <a:gd name="T16" fmla="*/ 132 w 1534"/>
                <a:gd name="T17" fmla="*/ 71 h 1325"/>
                <a:gd name="T18" fmla="*/ 157 w 1534"/>
                <a:gd name="T19" fmla="*/ 45 h 1325"/>
                <a:gd name="T20" fmla="*/ 185 w 1534"/>
                <a:gd name="T21" fmla="*/ 24 h 1325"/>
                <a:gd name="T22" fmla="*/ 220 w 1534"/>
                <a:gd name="T23" fmla="*/ 8 h 1325"/>
                <a:gd name="T24" fmla="*/ 264 w 1534"/>
                <a:gd name="T25" fmla="*/ 1 h 1325"/>
                <a:gd name="T26" fmla="*/ 302 w 1534"/>
                <a:gd name="T27" fmla="*/ 0 h 1325"/>
                <a:gd name="T28" fmla="*/ 335 w 1534"/>
                <a:gd name="T29" fmla="*/ 4 h 1325"/>
                <a:gd name="T30" fmla="*/ 370 w 1534"/>
                <a:gd name="T31" fmla="*/ 13 h 1325"/>
                <a:gd name="T32" fmla="*/ 398 w 1534"/>
                <a:gd name="T33" fmla="*/ 30 h 1325"/>
                <a:gd name="T34" fmla="*/ 425 w 1534"/>
                <a:gd name="T35" fmla="*/ 54 h 1325"/>
                <a:gd name="T36" fmla="*/ 446 w 1534"/>
                <a:gd name="T37" fmla="*/ 82 h 1325"/>
                <a:gd name="T38" fmla="*/ 458 w 1534"/>
                <a:gd name="T39" fmla="*/ 119 h 1325"/>
                <a:gd name="T40" fmla="*/ 452 w 1534"/>
                <a:gd name="T41" fmla="*/ 157 h 1325"/>
                <a:gd name="T42" fmla="*/ 442 w 1534"/>
                <a:gd name="T43" fmla="*/ 195 h 1325"/>
                <a:gd name="T44" fmla="*/ 431 w 1534"/>
                <a:gd name="T45" fmla="*/ 233 h 1325"/>
                <a:gd name="T46" fmla="*/ 434 w 1534"/>
                <a:gd name="T47" fmla="*/ 250 h 1325"/>
                <a:gd name="T48" fmla="*/ 692 w 1534"/>
                <a:gd name="T49" fmla="*/ 260 h 1325"/>
                <a:gd name="T50" fmla="*/ 685 w 1534"/>
                <a:gd name="T51" fmla="*/ 330 h 1325"/>
                <a:gd name="T52" fmla="*/ 688 w 1534"/>
                <a:gd name="T53" fmla="*/ 371 h 1325"/>
                <a:gd name="T54" fmla="*/ 695 w 1534"/>
                <a:gd name="T55" fmla="*/ 413 h 1325"/>
                <a:gd name="T56" fmla="*/ 712 w 1534"/>
                <a:gd name="T57" fmla="*/ 439 h 1325"/>
                <a:gd name="T58" fmla="*/ 740 w 1534"/>
                <a:gd name="T59" fmla="*/ 458 h 1325"/>
                <a:gd name="T60" fmla="*/ 774 w 1534"/>
                <a:gd name="T61" fmla="*/ 467 h 1325"/>
                <a:gd name="T62" fmla="*/ 814 w 1534"/>
                <a:gd name="T63" fmla="*/ 468 h 1325"/>
                <a:gd name="T64" fmla="*/ 853 w 1534"/>
                <a:gd name="T65" fmla="*/ 464 h 1325"/>
                <a:gd name="T66" fmla="*/ 901 w 1534"/>
                <a:gd name="T67" fmla="*/ 459 h 1325"/>
                <a:gd name="T68" fmla="*/ 950 w 1534"/>
                <a:gd name="T69" fmla="*/ 462 h 1325"/>
                <a:gd name="T70" fmla="*/ 995 w 1534"/>
                <a:gd name="T71" fmla="*/ 472 h 1325"/>
                <a:gd name="T72" fmla="*/ 1032 w 1534"/>
                <a:gd name="T73" fmla="*/ 491 h 1325"/>
                <a:gd name="T74" fmla="*/ 1055 w 1534"/>
                <a:gd name="T75" fmla="*/ 520 h 1325"/>
                <a:gd name="T76" fmla="*/ 1064 w 1534"/>
                <a:gd name="T77" fmla="*/ 553 h 1325"/>
                <a:gd name="T78" fmla="*/ 1060 w 1534"/>
                <a:gd name="T79" fmla="*/ 591 h 1325"/>
                <a:gd name="T80" fmla="*/ 1064 w 1534"/>
                <a:gd name="T81" fmla="*/ 626 h 1325"/>
                <a:gd name="T82" fmla="*/ 1079 w 1534"/>
                <a:gd name="T83" fmla="*/ 657 h 1325"/>
                <a:gd name="T84" fmla="*/ 1105 w 1534"/>
                <a:gd name="T85" fmla="*/ 678 h 1325"/>
                <a:gd name="T86" fmla="*/ 1149 w 1534"/>
                <a:gd name="T87" fmla="*/ 691 h 1325"/>
                <a:gd name="T88" fmla="*/ 1191 w 1534"/>
                <a:gd name="T89" fmla="*/ 700 h 1325"/>
                <a:gd name="T90" fmla="*/ 1240 w 1534"/>
                <a:gd name="T91" fmla="*/ 709 h 1325"/>
                <a:gd name="T92" fmla="*/ 1281 w 1534"/>
                <a:gd name="T93" fmla="*/ 721 h 1325"/>
                <a:gd name="T94" fmla="*/ 1314 w 1534"/>
                <a:gd name="T95" fmla="*/ 737 h 1325"/>
                <a:gd name="T96" fmla="*/ 1342 w 1534"/>
                <a:gd name="T97" fmla="*/ 762 h 1325"/>
                <a:gd name="T98" fmla="*/ 1359 w 1534"/>
                <a:gd name="T99" fmla="*/ 791 h 1325"/>
                <a:gd name="T100" fmla="*/ 1361 w 1534"/>
                <a:gd name="T101" fmla="*/ 833 h 1325"/>
                <a:gd name="T102" fmla="*/ 1351 w 1534"/>
                <a:gd name="T103" fmla="*/ 873 h 1325"/>
                <a:gd name="T104" fmla="*/ 1338 w 1534"/>
                <a:gd name="T105" fmla="*/ 920 h 1325"/>
                <a:gd name="T106" fmla="*/ 1336 w 1534"/>
                <a:gd name="T107" fmla="*/ 954 h 1325"/>
                <a:gd name="T108" fmla="*/ 1345 w 1534"/>
                <a:gd name="T109" fmla="*/ 996 h 1325"/>
                <a:gd name="T110" fmla="*/ 1362 w 1534"/>
                <a:gd name="T111" fmla="*/ 1024 h 1325"/>
                <a:gd name="T112" fmla="*/ 1390 w 1534"/>
                <a:gd name="T113" fmla="*/ 1055 h 1325"/>
                <a:gd name="T114" fmla="*/ 1427 w 1534"/>
                <a:gd name="T115" fmla="*/ 1078 h 1325"/>
                <a:gd name="T116" fmla="*/ 1466 w 1534"/>
                <a:gd name="T117" fmla="*/ 1089 h 1325"/>
                <a:gd name="T118" fmla="*/ 1510 w 1534"/>
                <a:gd name="T119" fmla="*/ 1093 h 132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534"/>
                <a:gd name="T181" fmla="*/ 0 h 1325"/>
                <a:gd name="T182" fmla="*/ 1534 w 1534"/>
                <a:gd name="T183" fmla="*/ 1325 h 132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534" h="1325">
                  <a:moveTo>
                    <a:pt x="1534" y="1091"/>
                  </a:moveTo>
                  <a:lnTo>
                    <a:pt x="1534" y="1325"/>
                  </a:lnTo>
                  <a:lnTo>
                    <a:pt x="2" y="1325"/>
                  </a:lnTo>
                  <a:lnTo>
                    <a:pt x="0" y="267"/>
                  </a:lnTo>
                  <a:lnTo>
                    <a:pt x="133" y="267"/>
                  </a:lnTo>
                  <a:lnTo>
                    <a:pt x="139" y="258"/>
                  </a:lnTo>
                  <a:lnTo>
                    <a:pt x="143" y="245"/>
                  </a:lnTo>
                  <a:lnTo>
                    <a:pt x="143" y="234"/>
                  </a:lnTo>
                  <a:lnTo>
                    <a:pt x="141" y="221"/>
                  </a:lnTo>
                  <a:lnTo>
                    <a:pt x="136" y="204"/>
                  </a:lnTo>
                  <a:lnTo>
                    <a:pt x="131" y="183"/>
                  </a:lnTo>
                  <a:lnTo>
                    <a:pt x="125" y="169"/>
                  </a:lnTo>
                  <a:lnTo>
                    <a:pt x="120" y="151"/>
                  </a:lnTo>
                  <a:lnTo>
                    <a:pt x="119" y="135"/>
                  </a:lnTo>
                  <a:lnTo>
                    <a:pt x="119" y="118"/>
                  </a:lnTo>
                  <a:lnTo>
                    <a:pt x="120" y="103"/>
                  </a:lnTo>
                  <a:lnTo>
                    <a:pt x="125" y="86"/>
                  </a:lnTo>
                  <a:lnTo>
                    <a:pt x="132" y="71"/>
                  </a:lnTo>
                  <a:lnTo>
                    <a:pt x="143" y="59"/>
                  </a:lnTo>
                  <a:lnTo>
                    <a:pt x="157" y="45"/>
                  </a:lnTo>
                  <a:lnTo>
                    <a:pt x="171" y="34"/>
                  </a:lnTo>
                  <a:lnTo>
                    <a:pt x="185" y="24"/>
                  </a:lnTo>
                  <a:lnTo>
                    <a:pt x="201" y="15"/>
                  </a:lnTo>
                  <a:lnTo>
                    <a:pt x="220" y="8"/>
                  </a:lnTo>
                  <a:lnTo>
                    <a:pt x="241" y="4"/>
                  </a:lnTo>
                  <a:lnTo>
                    <a:pt x="264" y="1"/>
                  </a:lnTo>
                  <a:lnTo>
                    <a:pt x="282" y="0"/>
                  </a:lnTo>
                  <a:lnTo>
                    <a:pt x="302" y="0"/>
                  </a:lnTo>
                  <a:lnTo>
                    <a:pt x="321" y="1"/>
                  </a:lnTo>
                  <a:lnTo>
                    <a:pt x="335" y="4"/>
                  </a:lnTo>
                  <a:lnTo>
                    <a:pt x="353" y="8"/>
                  </a:lnTo>
                  <a:lnTo>
                    <a:pt x="370" y="13"/>
                  </a:lnTo>
                  <a:lnTo>
                    <a:pt x="383" y="20"/>
                  </a:lnTo>
                  <a:lnTo>
                    <a:pt x="398" y="30"/>
                  </a:lnTo>
                  <a:lnTo>
                    <a:pt x="411" y="41"/>
                  </a:lnTo>
                  <a:lnTo>
                    <a:pt x="425" y="54"/>
                  </a:lnTo>
                  <a:lnTo>
                    <a:pt x="437" y="67"/>
                  </a:lnTo>
                  <a:lnTo>
                    <a:pt x="446" y="82"/>
                  </a:lnTo>
                  <a:lnTo>
                    <a:pt x="452" y="99"/>
                  </a:lnTo>
                  <a:lnTo>
                    <a:pt x="458" y="119"/>
                  </a:lnTo>
                  <a:lnTo>
                    <a:pt x="458" y="138"/>
                  </a:lnTo>
                  <a:lnTo>
                    <a:pt x="452" y="157"/>
                  </a:lnTo>
                  <a:lnTo>
                    <a:pt x="447" y="176"/>
                  </a:lnTo>
                  <a:lnTo>
                    <a:pt x="442" y="195"/>
                  </a:lnTo>
                  <a:lnTo>
                    <a:pt x="435" y="216"/>
                  </a:lnTo>
                  <a:lnTo>
                    <a:pt x="431" y="233"/>
                  </a:lnTo>
                  <a:lnTo>
                    <a:pt x="431" y="242"/>
                  </a:lnTo>
                  <a:lnTo>
                    <a:pt x="434" y="250"/>
                  </a:lnTo>
                  <a:lnTo>
                    <a:pt x="438" y="260"/>
                  </a:lnTo>
                  <a:lnTo>
                    <a:pt x="692" y="260"/>
                  </a:lnTo>
                  <a:lnTo>
                    <a:pt x="687" y="304"/>
                  </a:lnTo>
                  <a:lnTo>
                    <a:pt x="685" y="330"/>
                  </a:lnTo>
                  <a:lnTo>
                    <a:pt x="687" y="351"/>
                  </a:lnTo>
                  <a:lnTo>
                    <a:pt x="688" y="371"/>
                  </a:lnTo>
                  <a:lnTo>
                    <a:pt x="691" y="392"/>
                  </a:lnTo>
                  <a:lnTo>
                    <a:pt x="695" y="413"/>
                  </a:lnTo>
                  <a:lnTo>
                    <a:pt x="703" y="428"/>
                  </a:lnTo>
                  <a:lnTo>
                    <a:pt x="712" y="439"/>
                  </a:lnTo>
                  <a:lnTo>
                    <a:pt x="724" y="450"/>
                  </a:lnTo>
                  <a:lnTo>
                    <a:pt x="740" y="458"/>
                  </a:lnTo>
                  <a:lnTo>
                    <a:pt x="757" y="464"/>
                  </a:lnTo>
                  <a:lnTo>
                    <a:pt x="774" y="467"/>
                  </a:lnTo>
                  <a:lnTo>
                    <a:pt x="793" y="468"/>
                  </a:lnTo>
                  <a:lnTo>
                    <a:pt x="814" y="468"/>
                  </a:lnTo>
                  <a:lnTo>
                    <a:pt x="837" y="465"/>
                  </a:lnTo>
                  <a:lnTo>
                    <a:pt x="853" y="464"/>
                  </a:lnTo>
                  <a:lnTo>
                    <a:pt x="877" y="462"/>
                  </a:lnTo>
                  <a:lnTo>
                    <a:pt x="901" y="459"/>
                  </a:lnTo>
                  <a:lnTo>
                    <a:pt x="927" y="459"/>
                  </a:lnTo>
                  <a:lnTo>
                    <a:pt x="950" y="462"/>
                  </a:lnTo>
                  <a:lnTo>
                    <a:pt x="972" y="465"/>
                  </a:lnTo>
                  <a:lnTo>
                    <a:pt x="995" y="472"/>
                  </a:lnTo>
                  <a:lnTo>
                    <a:pt x="1014" y="480"/>
                  </a:lnTo>
                  <a:lnTo>
                    <a:pt x="1032" y="491"/>
                  </a:lnTo>
                  <a:lnTo>
                    <a:pt x="1044" y="504"/>
                  </a:lnTo>
                  <a:lnTo>
                    <a:pt x="1055" y="520"/>
                  </a:lnTo>
                  <a:lnTo>
                    <a:pt x="1062" y="536"/>
                  </a:lnTo>
                  <a:lnTo>
                    <a:pt x="1064" y="553"/>
                  </a:lnTo>
                  <a:lnTo>
                    <a:pt x="1062" y="572"/>
                  </a:lnTo>
                  <a:lnTo>
                    <a:pt x="1060" y="591"/>
                  </a:lnTo>
                  <a:lnTo>
                    <a:pt x="1062" y="609"/>
                  </a:lnTo>
                  <a:lnTo>
                    <a:pt x="1064" y="626"/>
                  </a:lnTo>
                  <a:lnTo>
                    <a:pt x="1071" y="641"/>
                  </a:lnTo>
                  <a:lnTo>
                    <a:pt x="1079" y="657"/>
                  </a:lnTo>
                  <a:lnTo>
                    <a:pt x="1090" y="667"/>
                  </a:lnTo>
                  <a:lnTo>
                    <a:pt x="1105" y="678"/>
                  </a:lnTo>
                  <a:lnTo>
                    <a:pt x="1127" y="685"/>
                  </a:lnTo>
                  <a:lnTo>
                    <a:pt x="1149" y="691"/>
                  </a:lnTo>
                  <a:lnTo>
                    <a:pt x="1168" y="696"/>
                  </a:lnTo>
                  <a:lnTo>
                    <a:pt x="1191" y="700"/>
                  </a:lnTo>
                  <a:lnTo>
                    <a:pt x="1217" y="705"/>
                  </a:lnTo>
                  <a:lnTo>
                    <a:pt x="1240" y="709"/>
                  </a:lnTo>
                  <a:lnTo>
                    <a:pt x="1262" y="715"/>
                  </a:lnTo>
                  <a:lnTo>
                    <a:pt x="1281" y="721"/>
                  </a:lnTo>
                  <a:lnTo>
                    <a:pt x="1300" y="728"/>
                  </a:lnTo>
                  <a:lnTo>
                    <a:pt x="1314" y="737"/>
                  </a:lnTo>
                  <a:lnTo>
                    <a:pt x="1326" y="746"/>
                  </a:lnTo>
                  <a:lnTo>
                    <a:pt x="1342" y="762"/>
                  </a:lnTo>
                  <a:lnTo>
                    <a:pt x="1351" y="776"/>
                  </a:lnTo>
                  <a:lnTo>
                    <a:pt x="1359" y="791"/>
                  </a:lnTo>
                  <a:lnTo>
                    <a:pt x="1363" y="813"/>
                  </a:lnTo>
                  <a:lnTo>
                    <a:pt x="1361" y="833"/>
                  </a:lnTo>
                  <a:lnTo>
                    <a:pt x="1357" y="850"/>
                  </a:lnTo>
                  <a:lnTo>
                    <a:pt x="1351" y="873"/>
                  </a:lnTo>
                  <a:lnTo>
                    <a:pt x="1345" y="898"/>
                  </a:lnTo>
                  <a:lnTo>
                    <a:pt x="1338" y="920"/>
                  </a:lnTo>
                  <a:lnTo>
                    <a:pt x="1336" y="939"/>
                  </a:lnTo>
                  <a:lnTo>
                    <a:pt x="1336" y="954"/>
                  </a:lnTo>
                  <a:lnTo>
                    <a:pt x="1340" y="977"/>
                  </a:lnTo>
                  <a:lnTo>
                    <a:pt x="1345" y="996"/>
                  </a:lnTo>
                  <a:lnTo>
                    <a:pt x="1353" y="1010"/>
                  </a:lnTo>
                  <a:lnTo>
                    <a:pt x="1362" y="1024"/>
                  </a:lnTo>
                  <a:lnTo>
                    <a:pt x="1375" y="1039"/>
                  </a:lnTo>
                  <a:lnTo>
                    <a:pt x="1390" y="1055"/>
                  </a:lnTo>
                  <a:lnTo>
                    <a:pt x="1407" y="1068"/>
                  </a:lnTo>
                  <a:lnTo>
                    <a:pt x="1427" y="1078"/>
                  </a:lnTo>
                  <a:lnTo>
                    <a:pt x="1446" y="1084"/>
                  </a:lnTo>
                  <a:lnTo>
                    <a:pt x="1466" y="1089"/>
                  </a:lnTo>
                  <a:lnTo>
                    <a:pt x="1486" y="1091"/>
                  </a:lnTo>
                  <a:lnTo>
                    <a:pt x="1510" y="1093"/>
                  </a:lnTo>
                  <a:lnTo>
                    <a:pt x="1534" y="1091"/>
                  </a:lnTo>
                  <a:close/>
                </a:path>
              </a:pathLst>
            </a:custGeom>
            <a:solidFill>
              <a:schemeClr val="accent3"/>
            </a:solidFill>
            <a:ln w="6350">
              <a:noFill/>
              <a:round/>
              <a:headEnd/>
              <a:tailEnd/>
            </a:ln>
          </p:spPr>
          <p:txBody>
            <a:bodyPr lIns="45720" rIns="45720"/>
            <a:lstStyle/>
            <a:p>
              <a:endParaRPr lang="en-US"/>
            </a:p>
          </p:txBody>
        </p:sp>
        <p:sp>
          <p:nvSpPr>
            <p:cNvPr id="26" name="Text Box 12">
              <a:extLst>
                <a:ext uri="{FF2B5EF4-FFF2-40B4-BE49-F238E27FC236}">
                  <a16:creationId xmlns:a16="http://schemas.microsoft.com/office/drawing/2014/main" id="{6CA74FD8-7BCD-4D78-A1F6-2F5E97320622}"/>
                </a:ext>
              </a:extLst>
            </p:cNvPr>
            <p:cNvSpPr txBox="1">
              <a:spLocks noChangeArrowheads="1"/>
            </p:cNvSpPr>
            <p:nvPr/>
          </p:nvSpPr>
          <p:spPr bwMode="auto">
            <a:xfrm>
              <a:off x="3899758" y="3439959"/>
              <a:ext cx="1682687" cy="2000080"/>
            </a:xfrm>
            <a:prstGeom prst="rect">
              <a:avLst/>
            </a:prstGeom>
            <a:noFill/>
            <a:ln w="6350">
              <a:noFill/>
              <a:miter lim="800000"/>
              <a:headEnd/>
              <a:tailEnd/>
            </a:ln>
          </p:spPr>
          <p:txBody>
            <a:bodyPr wrap="none" lIns="180000" tIns="144000" rIns="45720" anchor="b"/>
            <a:lstStyle/>
            <a:p>
              <a:pPr marL="108000" indent="-108000">
                <a:spcBef>
                  <a:spcPts val="100"/>
                </a:spcBef>
                <a:spcAft>
                  <a:spcPts val="100"/>
                </a:spcAft>
              </a:pPr>
              <a:r>
                <a:rPr lang="en-GB" sz="1400" b="1" dirty="0">
                  <a:solidFill>
                    <a:schemeClr val="bg1"/>
                  </a:solidFill>
                </a:rPr>
                <a:t>Text</a:t>
              </a:r>
              <a:endParaRPr lang="en-GB" sz="1200" b="1" dirty="0">
                <a:solidFill>
                  <a:schemeClr val="bg1"/>
                </a:solidFill>
              </a:endParaRPr>
            </a:p>
            <a:p>
              <a:pPr marL="108000" indent="-108000">
                <a:spcBef>
                  <a:spcPts val="100"/>
                </a:spcBef>
                <a:spcAft>
                  <a:spcPts val="100"/>
                </a:spcAft>
                <a:buFontTx/>
                <a:buChar char="•"/>
              </a:pPr>
              <a:r>
                <a:rPr lang="en-GB" sz="1200" dirty="0">
                  <a:solidFill>
                    <a:schemeClr val="bg1"/>
                  </a:solidFill>
                </a:rPr>
                <a:t>Text</a:t>
              </a:r>
            </a:p>
            <a:p>
              <a:pPr marL="108000" indent="-108000">
                <a:spcBef>
                  <a:spcPts val="100"/>
                </a:spcBef>
                <a:spcAft>
                  <a:spcPts val="100"/>
                </a:spcAft>
                <a:buFontTx/>
                <a:buChar char="•"/>
              </a:pPr>
              <a:r>
                <a:rPr lang="en-GB" sz="1200" dirty="0">
                  <a:solidFill>
                    <a:schemeClr val="bg1"/>
                  </a:solidFill>
                </a:rPr>
                <a:t>Text</a:t>
              </a:r>
            </a:p>
            <a:p>
              <a:pPr marL="108000" indent="-108000">
                <a:spcBef>
                  <a:spcPts val="100"/>
                </a:spcBef>
                <a:spcAft>
                  <a:spcPts val="100"/>
                </a:spcAft>
                <a:buFontTx/>
                <a:buChar char="•"/>
              </a:pPr>
              <a:r>
                <a:rPr lang="en-GB" sz="1200" dirty="0">
                  <a:solidFill>
                    <a:schemeClr val="bg1"/>
                  </a:solidFill>
                </a:rPr>
                <a:t>Text</a:t>
              </a:r>
              <a:endParaRPr lang="en-AU" sz="1200" dirty="0">
                <a:solidFill>
                  <a:schemeClr val="bg1"/>
                </a:solidFill>
              </a:endParaRPr>
            </a:p>
          </p:txBody>
        </p:sp>
        <p:sp>
          <p:nvSpPr>
            <p:cNvPr id="19" name="Freeform: Shape 18">
              <a:extLst>
                <a:ext uri="{FF2B5EF4-FFF2-40B4-BE49-F238E27FC236}">
                  <a16:creationId xmlns:a16="http://schemas.microsoft.com/office/drawing/2014/main" id="{5CFA3110-FBBA-43D0-968D-9A0EE13BE647}"/>
                </a:ext>
              </a:extLst>
            </p:cNvPr>
            <p:cNvSpPr/>
            <p:nvPr/>
          </p:nvSpPr>
          <p:spPr>
            <a:xfrm>
              <a:off x="6080944" y="3528543"/>
              <a:ext cx="2183158" cy="2169757"/>
            </a:xfrm>
            <a:custGeom>
              <a:avLst/>
              <a:gdLst>
                <a:gd name="connsiteX0" fmla="*/ 1326331 w 2183158"/>
                <a:gd name="connsiteY0" fmla="*/ 0 h 2169757"/>
                <a:gd name="connsiteX1" fmla="*/ 2120081 w 2183158"/>
                <a:gd name="connsiteY1" fmla="*/ 0 h 2169757"/>
                <a:gd name="connsiteX2" fmla="*/ 2120081 w 2183158"/>
                <a:gd name="connsiteY2" fmla="*/ 71488 h 2169757"/>
                <a:gd name="connsiteX3" fmla="*/ 2180323 w 2183158"/>
                <a:gd name="connsiteY3" fmla="*/ 71488 h 2169757"/>
                <a:gd name="connsiteX4" fmla="*/ 2183158 w 2183158"/>
                <a:gd name="connsiteY4" fmla="*/ 2169757 h 2169757"/>
                <a:gd name="connsiteX5" fmla="*/ 0 w 2183158"/>
                <a:gd name="connsiteY5" fmla="*/ 2169757 h 2169757"/>
                <a:gd name="connsiteX6" fmla="*/ 0 w 2183158"/>
                <a:gd name="connsiteY6" fmla="*/ 1731200 h 2169757"/>
                <a:gd name="connsiteX7" fmla="*/ 31188 w 2183158"/>
                <a:gd name="connsiteY7" fmla="*/ 1731200 h 2169757"/>
                <a:gd name="connsiteX8" fmla="*/ 68046 w 2183158"/>
                <a:gd name="connsiteY8" fmla="*/ 1723639 h 2169757"/>
                <a:gd name="connsiteX9" fmla="*/ 99234 w 2183158"/>
                <a:gd name="connsiteY9" fmla="*/ 1714187 h 2169757"/>
                <a:gd name="connsiteX10" fmla="*/ 121916 w 2183158"/>
                <a:gd name="connsiteY10" fmla="*/ 1702845 h 2169757"/>
                <a:gd name="connsiteX11" fmla="*/ 144599 w 2183158"/>
                <a:gd name="connsiteY11" fmla="*/ 1685832 h 2169757"/>
                <a:gd name="connsiteX12" fmla="*/ 165863 w 2183158"/>
                <a:gd name="connsiteY12" fmla="*/ 1663148 h 2169757"/>
                <a:gd name="connsiteX13" fmla="*/ 188545 w 2183158"/>
                <a:gd name="connsiteY13" fmla="*/ 1638574 h 2169757"/>
                <a:gd name="connsiteX14" fmla="*/ 211227 w 2183158"/>
                <a:gd name="connsiteY14" fmla="*/ 1608328 h 2169757"/>
                <a:gd name="connsiteX15" fmla="*/ 231074 w 2183158"/>
                <a:gd name="connsiteY15" fmla="*/ 1564851 h 2169757"/>
                <a:gd name="connsiteX16" fmla="*/ 246668 w 2183158"/>
                <a:gd name="connsiteY16" fmla="*/ 1527044 h 2169757"/>
                <a:gd name="connsiteX17" fmla="*/ 258009 w 2183158"/>
                <a:gd name="connsiteY17" fmla="*/ 1498689 h 2169757"/>
                <a:gd name="connsiteX18" fmla="*/ 265098 w 2183158"/>
                <a:gd name="connsiteY18" fmla="*/ 1466554 h 2169757"/>
                <a:gd name="connsiteX19" fmla="*/ 275021 w 2183158"/>
                <a:gd name="connsiteY19" fmla="*/ 1430637 h 2169757"/>
                <a:gd name="connsiteX20" fmla="*/ 279274 w 2183158"/>
                <a:gd name="connsiteY20" fmla="*/ 1389050 h 2169757"/>
                <a:gd name="connsiteX21" fmla="*/ 279274 w 2183158"/>
                <a:gd name="connsiteY21" fmla="*/ 1356914 h 2169757"/>
                <a:gd name="connsiteX22" fmla="*/ 275021 w 2183158"/>
                <a:gd name="connsiteY22" fmla="*/ 1324779 h 2169757"/>
                <a:gd name="connsiteX23" fmla="*/ 267933 w 2183158"/>
                <a:gd name="connsiteY23" fmla="*/ 1281301 h 2169757"/>
                <a:gd name="connsiteX24" fmla="*/ 258009 w 2183158"/>
                <a:gd name="connsiteY24" fmla="*/ 1234043 h 2169757"/>
                <a:gd name="connsiteX25" fmla="*/ 248086 w 2183158"/>
                <a:gd name="connsiteY25" fmla="*/ 1192455 h 2169757"/>
                <a:gd name="connsiteX26" fmla="*/ 245251 w 2183158"/>
                <a:gd name="connsiteY26" fmla="*/ 1156539 h 2169757"/>
                <a:gd name="connsiteX27" fmla="*/ 240998 w 2183158"/>
                <a:gd name="connsiteY27" fmla="*/ 1120623 h 2169757"/>
                <a:gd name="connsiteX28" fmla="*/ 246668 w 2183158"/>
                <a:gd name="connsiteY28" fmla="*/ 1082816 h 2169757"/>
                <a:gd name="connsiteX29" fmla="*/ 258009 w 2183158"/>
                <a:gd name="connsiteY29" fmla="*/ 1050680 h 2169757"/>
                <a:gd name="connsiteX30" fmla="*/ 270768 w 2183158"/>
                <a:gd name="connsiteY30" fmla="*/ 1024216 h 2169757"/>
                <a:gd name="connsiteX31" fmla="*/ 292033 w 2183158"/>
                <a:gd name="connsiteY31" fmla="*/ 995861 h 2169757"/>
                <a:gd name="connsiteX32" fmla="*/ 310462 w 2183158"/>
                <a:gd name="connsiteY32" fmla="*/ 978848 h 2169757"/>
                <a:gd name="connsiteX33" fmla="*/ 331726 w 2183158"/>
                <a:gd name="connsiteY33" fmla="*/ 959944 h 2169757"/>
                <a:gd name="connsiteX34" fmla="*/ 357244 w 2183158"/>
                <a:gd name="connsiteY34" fmla="*/ 946712 h 2169757"/>
                <a:gd name="connsiteX35" fmla="*/ 384179 w 2183158"/>
                <a:gd name="connsiteY35" fmla="*/ 935370 h 2169757"/>
                <a:gd name="connsiteX36" fmla="*/ 416784 w 2183158"/>
                <a:gd name="connsiteY36" fmla="*/ 924028 h 2169757"/>
                <a:gd name="connsiteX37" fmla="*/ 446555 w 2183158"/>
                <a:gd name="connsiteY37" fmla="*/ 918357 h 2169757"/>
                <a:gd name="connsiteX38" fmla="*/ 486249 w 2183158"/>
                <a:gd name="connsiteY38" fmla="*/ 908905 h 2169757"/>
                <a:gd name="connsiteX39" fmla="*/ 516019 w 2183158"/>
                <a:gd name="connsiteY39" fmla="*/ 899454 h 2169757"/>
                <a:gd name="connsiteX40" fmla="*/ 544372 w 2183158"/>
                <a:gd name="connsiteY40" fmla="*/ 890002 h 2169757"/>
                <a:gd name="connsiteX41" fmla="*/ 574142 w 2183158"/>
                <a:gd name="connsiteY41" fmla="*/ 880550 h 2169757"/>
                <a:gd name="connsiteX42" fmla="*/ 605330 w 2183158"/>
                <a:gd name="connsiteY42" fmla="*/ 865428 h 2169757"/>
                <a:gd name="connsiteX43" fmla="*/ 629430 w 2183158"/>
                <a:gd name="connsiteY43" fmla="*/ 846525 h 2169757"/>
                <a:gd name="connsiteX44" fmla="*/ 645024 w 2183158"/>
                <a:gd name="connsiteY44" fmla="*/ 825731 h 2169757"/>
                <a:gd name="connsiteX45" fmla="*/ 656365 w 2183158"/>
                <a:gd name="connsiteY45" fmla="*/ 797376 h 2169757"/>
                <a:gd name="connsiteX46" fmla="*/ 663453 w 2183158"/>
                <a:gd name="connsiteY46" fmla="*/ 765240 h 2169757"/>
                <a:gd name="connsiteX47" fmla="*/ 669124 w 2183158"/>
                <a:gd name="connsiteY47" fmla="*/ 736885 h 2169757"/>
                <a:gd name="connsiteX48" fmla="*/ 670541 w 2183158"/>
                <a:gd name="connsiteY48" fmla="*/ 699079 h 2169757"/>
                <a:gd name="connsiteX49" fmla="*/ 669124 w 2183158"/>
                <a:gd name="connsiteY49" fmla="*/ 663162 h 2169757"/>
                <a:gd name="connsiteX50" fmla="*/ 664871 w 2183158"/>
                <a:gd name="connsiteY50" fmla="*/ 629136 h 2169757"/>
                <a:gd name="connsiteX51" fmla="*/ 669124 w 2183158"/>
                <a:gd name="connsiteY51" fmla="*/ 597001 h 2169757"/>
                <a:gd name="connsiteX52" fmla="*/ 676212 w 2183158"/>
                <a:gd name="connsiteY52" fmla="*/ 566755 h 2169757"/>
                <a:gd name="connsiteX53" fmla="*/ 693223 w 2183158"/>
                <a:gd name="connsiteY53" fmla="*/ 538400 h 2169757"/>
                <a:gd name="connsiteX54" fmla="*/ 710235 w 2183158"/>
                <a:gd name="connsiteY54" fmla="*/ 511936 h 2169757"/>
                <a:gd name="connsiteX55" fmla="*/ 737170 w 2183158"/>
                <a:gd name="connsiteY55" fmla="*/ 491142 h 2169757"/>
                <a:gd name="connsiteX56" fmla="*/ 761270 w 2183158"/>
                <a:gd name="connsiteY56" fmla="*/ 476019 h 2169757"/>
                <a:gd name="connsiteX57" fmla="*/ 795293 w 2183158"/>
                <a:gd name="connsiteY57" fmla="*/ 464677 h 2169757"/>
                <a:gd name="connsiteX58" fmla="*/ 827899 w 2183158"/>
                <a:gd name="connsiteY58" fmla="*/ 460897 h 2169757"/>
                <a:gd name="connsiteX59" fmla="*/ 859087 w 2183158"/>
                <a:gd name="connsiteY59" fmla="*/ 455226 h 2169757"/>
                <a:gd name="connsiteX60" fmla="*/ 897363 w 2183158"/>
                <a:gd name="connsiteY60" fmla="*/ 455226 h 2169757"/>
                <a:gd name="connsiteX61" fmla="*/ 931386 w 2183158"/>
                <a:gd name="connsiteY61" fmla="*/ 460897 h 2169757"/>
                <a:gd name="connsiteX62" fmla="*/ 962574 w 2183158"/>
                <a:gd name="connsiteY62" fmla="*/ 462787 h 2169757"/>
                <a:gd name="connsiteX63" fmla="*/ 988091 w 2183158"/>
                <a:gd name="connsiteY63" fmla="*/ 464677 h 2169757"/>
                <a:gd name="connsiteX64" fmla="*/ 1017862 w 2183158"/>
                <a:gd name="connsiteY64" fmla="*/ 468458 h 2169757"/>
                <a:gd name="connsiteX65" fmla="*/ 1049050 w 2183158"/>
                <a:gd name="connsiteY65" fmla="*/ 468458 h 2169757"/>
                <a:gd name="connsiteX66" fmla="*/ 1074567 w 2183158"/>
                <a:gd name="connsiteY66" fmla="*/ 466568 h 2169757"/>
                <a:gd name="connsiteX67" fmla="*/ 1100085 w 2183158"/>
                <a:gd name="connsiteY67" fmla="*/ 462787 h 2169757"/>
                <a:gd name="connsiteX68" fmla="*/ 1125602 w 2183158"/>
                <a:gd name="connsiteY68" fmla="*/ 453335 h 2169757"/>
                <a:gd name="connsiteX69" fmla="*/ 1145449 w 2183158"/>
                <a:gd name="connsiteY69" fmla="*/ 438213 h 2169757"/>
                <a:gd name="connsiteX70" fmla="*/ 1165296 w 2183158"/>
                <a:gd name="connsiteY70" fmla="*/ 417419 h 2169757"/>
                <a:gd name="connsiteX71" fmla="*/ 1178055 w 2183158"/>
                <a:gd name="connsiteY71" fmla="*/ 392845 h 2169757"/>
                <a:gd name="connsiteX72" fmla="*/ 1187978 w 2183158"/>
                <a:gd name="connsiteY72" fmla="*/ 366380 h 2169757"/>
                <a:gd name="connsiteX73" fmla="*/ 1195066 w 2183158"/>
                <a:gd name="connsiteY73" fmla="*/ 326683 h 2169757"/>
                <a:gd name="connsiteX74" fmla="*/ 1199319 w 2183158"/>
                <a:gd name="connsiteY74" fmla="*/ 285096 h 2169757"/>
                <a:gd name="connsiteX75" fmla="*/ 1199319 w 2183158"/>
                <a:gd name="connsiteY75" fmla="*/ 247289 h 2169757"/>
                <a:gd name="connsiteX76" fmla="*/ 1200737 w 2183158"/>
                <a:gd name="connsiteY76" fmla="*/ 205702 h 2169757"/>
                <a:gd name="connsiteX77" fmla="*/ 1204990 w 2183158"/>
                <a:gd name="connsiteY77" fmla="*/ 154663 h 2169757"/>
                <a:gd name="connsiteX78" fmla="*/ 1200737 w 2183158"/>
                <a:gd name="connsiteY78" fmla="*/ 80940 h 2169757"/>
                <a:gd name="connsiteX79" fmla="*/ 1326331 w 2183158"/>
                <a:gd name="connsiteY79" fmla="*/ 80940 h 216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183158" h="2169757">
                  <a:moveTo>
                    <a:pt x="1326331" y="0"/>
                  </a:moveTo>
                  <a:lnTo>
                    <a:pt x="2120081" y="0"/>
                  </a:lnTo>
                  <a:lnTo>
                    <a:pt x="2120081" y="71488"/>
                  </a:lnTo>
                  <a:lnTo>
                    <a:pt x="2180323" y="71488"/>
                  </a:lnTo>
                  <a:lnTo>
                    <a:pt x="2183158" y="2169757"/>
                  </a:lnTo>
                  <a:lnTo>
                    <a:pt x="0" y="2169757"/>
                  </a:lnTo>
                  <a:lnTo>
                    <a:pt x="0" y="1731200"/>
                  </a:lnTo>
                  <a:lnTo>
                    <a:pt x="31188" y="1731200"/>
                  </a:lnTo>
                  <a:lnTo>
                    <a:pt x="68046" y="1723639"/>
                  </a:lnTo>
                  <a:lnTo>
                    <a:pt x="99234" y="1714187"/>
                  </a:lnTo>
                  <a:lnTo>
                    <a:pt x="121916" y="1702845"/>
                  </a:lnTo>
                  <a:lnTo>
                    <a:pt x="144599" y="1685832"/>
                  </a:lnTo>
                  <a:lnTo>
                    <a:pt x="165863" y="1663148"/>
                  </a:lnTo>
                  <a:lnTo>
                    <a:pt x="188545" y="1638574"/>
                  </a:lnTo>
                  <a:lnTo>
                    <a:pt x="211227" y="1608328"/>
                  </a:lnTo>
                  <a:lnTo>
                    <a:pt x="231074" y="1564851"/>
                  </a:lnTo>
                  <a:lnTo>
                    <a:pt x="246668" y="1527044"/>
                  </a:lnTo>
                  <a:lnTo>
                    <a:pt x="258009" y="1498689"/>
                  </a:lnTo>
                  <a:lnTo>
                    <a:pt x="265098" y="1466554"/>
                  </a:lnTo>
                  <a:lnTo>
                    <a:pt x="275021" y="1430637"/>
                  </a:lnTo>
                  <a:lnTo>
                    <a:pt x="279274" y="1389050"/>
                  </a:lnTo>
                  <a:lnTo>
                    <a:pt x="279274" y="1356914"/>
                  </a:lnTo>
                  <a:lnTo>
                    <a:pt x="275021" y="1324779"/>
                  </a:lnTo>
                  <a:lnTo>
                    <a:pt x="267933" y="1281301"/>
                  </a:lnTo>
                  <a:lnTo>
                    <a:pt x="258009" y="1234043"/>
                  </a:lnTo>
                  <a:lnTo>
                    <a:pt x="248086" y="1192455"/>
                  </a:lnTo>
                  <a:lnTo>
                    <a:pt x="245251" y="1156539"/>
                  </a:lnTo>
                  <a:lnTo>
                    <a:pt x="240998" y="1120623"/>
                  </a:lnTo>
                  <a:lnTo>
                    <a:pt x="246668" y="1082816"/>
                  </a:lnTo>
                  <a:lnTo>
                    <a:pt x="258009" y="1050680"/>
                  </a:lnTo>
                  <a:lnTo>
                    <a:pt x="270768" y="1024216"/>
                  </a:lnTo>
                  <a:lnTo>
                    <a:pt x="292033" y="995861"/>
                  </a:lnTo>
                  <a:lnTo>
                    <a:pt x="310462" y="978848"/>
                  </a:lnTo>
                  <a:lnTo>
                    <a:pt x="331726" y="959944"/>
                  </a:lnTo>
                  <a:lnTo>
                    <a:pt x="357244" y="946712"/>
                  </a:lnTo>
                  <a:lnTo>
                    <a:pt x="384179" y="935370"/>
                  </a:lnTo>
                  <a:lnTo>
                    <a:pt x="416784" y="924028"/>
                  </a:lnTo>
                  <a:lnTo>
                    <a:pt x="446555" y="918357"/>
                  </a:lnTo>
                  <a:lnTo>
                    <a:pt x="486249" y="908905"/>
                  </a:lnTo>
                  <a:lnTo>
                    <a:pt x="516019" y="899454"/>
                  </a:lnTo>
                  <a:lnTo>
                    <a:pt x="544372" y="890002"/>
                  </a:lnTo>
                  <a:lnTo>
                    <a:pt x="574142" y="880550"/>
                  </a:lnTo>
                  <a:lnTo>
                    <a:pt x="605330" y="865428"/>
                  </a:lnTo>
                  <a:lnTo>
                    <a:pt x="629430" y="846525"/>
                  </a:lnTo>
                  <a:lnTo>
                    <a:pt x="645024" y="825731"/>
                  </a:lnTo>
                  <a:lnTo>
                    <a:pt x="656365" y="797376"/>
                  </a:lnTo>
                  <a:lnTo>
                    <a:pt x="663453" y="765240"/>
                  </a:lnTo>
                  <a:lnTo>
                    <a:pt x="669124" y="736885"/>
                  </a:lnTo>
                  <a:lnTo>
                    <a:pt x="670541" y="699079"/>
                  </a:lnTo>
                  <a:lnTo>
                    <a:pt x="669124" y="663162"/>
                  </a:lnTo>
                  <a:lnTo>
                    <a:pt x="664871" y="629136"/>
                  </a:lnTo>
                  <a:lnTo>
                    <a:pt x="669124" y="597001"/>
                  </a:lnTo>
                  <a:lnTo>
                    <a:pt x="676212" y="566755"/>
                  </a:lnTo>
                  <a:lnTo>
                    <a:pt x="693223" y="538400"/>
                  </a:lnTo>
                  <a:lnTo>
                    <a:pt x="710235" y="511936"/>
                  </a:lnTo>
                  <a:lnTo>
                    <a:pt x="737170" y="491142"/>
                  </a:lnTo>
                  <a:lnTo>
                    <a:pt x="761270" y="476019"/>
                  </a:lnTo>
                  <a:lnTo>
                    <a:pt x="795293" y="464677"/>
                  </a:lnTo>
                  <a:lnTo>
                    <a:pt x="827899" y="460897"/>
                  </a:lnTo>
                  <a:lnTo>
                    <a:pt x="859087" y="455226"/>
                  </a:lnTo>
                  <a:lnTo>
                    <a:pt x="897363" y="455226"/>
                  </a:lnTo>
                  <a:lnTo>
                    <a:pt x="931386" y="460897"/>
                  </a:lnTo>
                  <a:lnTo>
                    <a:pt x="962574" y="462787"/>
                  </a:lnTo>
                  <a:lnTo>
                    <a:pt x="988091" y="464677"/>
                  </a:lnTo>
                  <a:lnTo>
                    <a:pt x="1017862" y="468458"/>
                  </a:lnTo>
                  <a:lnTo>
                    <a:pt x="1049050" y="468458"/>
                  </a:lnTo>
                  <a:lnTo>
                    <a:pt x="1074567" y="466568"/>
                  </a:lnTo>
                  <a:lnTo>
                    <a:pt x="1100085" y="462787"/>
                  </a:lnTo>
                  <a:lnTo>
                    <a:pt x="1125602" y="453335"/>
                  </a:lnTo>
                  <a:lnTo>
                    <a:pt x="1145449" y="438213"/>
                  </a:lnTo>
                  <a:lnTo>
                    <a:pt x="1165296" y="417419"/>
                  </a:lnTo>
                  <a:lnTo>
                    <a:pt x="1178055" y="392845"/>
                  </a:lnTo>
                  <a:lnTo>
                    <a:pt x="1187978" y="366380"/>
                  </a:lnTo>
                  <a:lnTo>
                    <a:pt x="1195066" y="326683"/>
                  </a:lnTo>
                  <a:lnTo>
                    <a:pt x="1199319" y="285096"/>
                  </a:lnTo>
                  <a:lnTo>
                    <a:pt x="1199319" y="247289"/>
                  </a:lnTo>
                  <a:lnTo>
                    <a:pt x="1200737" y="205702"/>
                  </a:lnTo>
                  <a:lnTo>
                    <a:pt x="1204990" y="154663"/>
                  </a:lnTo>
                  <a:lnTo>
                    <a:pt x="1200737" y="80940"/>
                  </a:lnTo>
                  <a:lnTo>
                    <a:pt x="1326331" y="80940"/>
                  </a:ln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dirty="0"/>
            </a:p>
          </p:txBody>
        </p:sp>
        <p:sp>
          <p:nvSpPr>
            <p:cNvPr id="28" name="Text Box 17">
              <a:extLst>
                <a:ext uri="{FF2B5EF4-FFF2-40B4-BE49-F238E27FC236}">
                  <a16:creationId xmlns:a16="http://schemas.microsoft.com/office/drawing/2014/main" id="{C75B4B69-0582-41EF-AD33-D5863C301A5B}"/>
                </a:ext>
              </a:extLst>
            </p:cNvPr>
            <p:cNvSpPr txBox="1">
              <a:spLocks noChangeArrowheads="1"/>
            </p:cNvSpPr>
            <p:nvPr/>
          </p:nvSpPr>
          <p:spPr bwMode="auto">
            <a:xfrm>
              <a:off x="6591268" y="3439959"/>
              <a:ext cx="1672834" cy="2000080"/>
            </a:xfrm>
            <a:prstGeom prst="rect">
              <a:avLst/>
            </a:prstGeom>
            <a:noFill/>
            <a:ln w="6350">
              <a:noFill/>
              <a:miter lim="800000"/>
              <a:headEnd/>
              <a:tailEnd/>
            </a:ln>
          </p:spPr>
          <p:txBody>
            <a:bodyPr wrap="none" lIns="45720" rIns="45720" anchor="b"/>
            <a:lstStyle/>
            <a:p>
              <a:pPr marL="108000" indent="-108000">
                <a:spcBef>
                  <a:spcPts val="100"/>
                </a:spcBef>
                <a:spcAft>
                  <a:spcPts val="100"/>
                </a:spcAft>
              </a:pPr>
              <a:r>
                <a:rPr lang="en-GB" sz="1400" b="1" dirty="0">
                  <a:solidFill>
                    <a:schemeClr val="bg1"/>
                  </a:solidFill>
                </a:rPr>
                <a:t>Text</a:t>
              </a:r>
              <a:endParaRPr lang="en-GB" sz="1200" b="1" dirty="0">
                <a:solidFill>
                  <a:schemeClr val="bg1"/>
                </a:solidFill>
              </a:endParaRPr>
            </a:p>
            <a:p>
              <a:pPr marL="108000" indent="-108000">
                <a:spcBef>
                  <a:spcPts val="100"/>
                </a:spcBef>
                <a:spcAft>
                  <a:spcPts val="100"/>
                </a:spcAft>
                <a:buFontTx/>
                <a:buChar char="•"/>
              </a:pPr>
              <a:r>
                <a:rPr lang="en-GB" sz="1200" dirty="0">
                  <a:solidFill>
                    <a:schemeClr val="bg1"/>
                  </a:solidFill>
                </a:rPr>
                <a:t>Text</a:t>
              </a:r>
            </a:p>
            <a:p>
              <a:pPr marL="108000" indent="-108000">
                <a:spcBef>
                  <a:spcPts val="100"/>
                </a:spcBef>
                <a:spcAft>
                  <a:spcPts val="100"/>
                </a:spcAft>
                <a:buFontTx/>
                <a:buChar char="•"/>
              </a:pPr>
              <a:r>
                <a:rPr lang="en-GB" sz="1200" dirty="0">
                  <a:solidFill>
                    <a:schemeClr val="bg1"/>
                  </a:solidFill>
                </a:rPr>
                <a:t>Text</a:t>
              </a:r>
            </a:p>
            <a:p>
              <a:pPr marL="108000" indent="-108000">
                <a:spcBef>
                  <a:spcPts val="100"/>
                </a:spcBef>
                <a:spcAft>
                  <a:spcPts val="100"/>
                </a:spcAft>
                <a:buFontTx/>
                <a:buChar char="•"/>
              </a:pPr>
              <a:r>
                <a:rPr lang="en-GB" sz="1200" dirty="0">
                  <a:solidFill>
                    <a:schemeClr val="bg1"/>
                  </a:solidFill>
                </a:rPr>
                <a:t>Text</a:t>
              </a:r>
              <a:endParaRPr lang="en-AU" sz="1200" dirty="0">
                <a:solidFill>
                  <a:schemeClr val="bg1"/>
                </a:solidFill>
              </a:endParaRPr>
            </a:p>
          </p:txBody>
        </p:sp>
        <p:sp>
          <p:nvSpPr>
            <p:cNvPr id="23" name="Freeform 7">
              <a:extLst>
                <a:ext uri="{FF2B5EF4-FFF2-40B4-BE49-F238E27FC236}">
                  <a16:creationId xmlns:a16="http://schemas.microsoft.com/office/drawing/2014/main" id="{9F779909-4FC5-46A5-BE1E-C2B38668E33C}"/>
                </a:ext>
              </a:extLst>
            </p:cNvPr>
            <p:cNvSpPr>
              <a:spLocks/>
            </p:cNvSpPr>
            <p:nvPr/>
          </p:nvSpPr>
          <p:spPr bwMode="auto">
            <a:xfrm>
              <a:off x="4856470" y="2123659"/>
              <a:ext cx="2463666" cy="3172364"/>
            </a:xfrm>
            <a:custGeom>
              <a:avLst/>
              <a:gdLst>
                <a:gd name="T0" fmla="*/ 686 w 1707"/>
                <a:gd name="T1" fmla="*/ 265 h 1662"/>
                <a:gd name="T2" fmla="*/ 662 w 1707"/>
                <a:gd name="T3" fmla="*/ 126 h 1662"/>
                <a:gd name="T4" fmla="*/ 746 w 1707"/>
                <a:gd name="T5" fmla="*/ 15 h 1662"/>
                <a:gd name="T6" fmla="*/ 937 w 1707"/>
                <a:gd name="T7" fmla="*/ 4 h 1662"/>
                <a:gd name="T8" fmla="*/ 1032 w 1707"/>
                <a:gd name="T9" fmla="*/ 68 h 1662"/>
                <a:gd name="T10" fmla="*/ 1053 w 1707"/>
                <a:gd name="T11" fmla="*/ 182 h 1662"/>
                <a:gd name="T12" fmla="*/ 1035 w 1707"/>
                <a:gd name="T13" fmla="*/ 304 h 1662"/>
                <a:gd name="T14" fmla="*/ 1128 w 1707"/>
                <a:gd name="T15" fmla="*/ 376 h 1662"/>
                <a:gd name="T16" fmla="*/ 1269 w 1707"/>
                <a:gd name="T17" fmla="*/ 406 h 1662"/>
                <a:gd name="T18" fmla="*/ 1327 w 1707"/>
                <a:gd name="T19" fmla="*/ 463 h 1662"/>
                <a:gd name="T20" fmla="*/ 1330 w 1707"/>
                <a:gd name="T21" fmla="*/ 543 h 1662"/>
                <a:gd name="T22" fmla="*/ 1384 w 1707"/>
                <a:gd name="T23" fmla="*/ 615 h 1662"/>
                <a:gd name="T24" fmla="*/ 1496 w 1707"/>
                <a:gd name="T25" fmla="*/ 629 h 1662"/>
                <a:gd name="T26" fmla="*/ 1617 w 1707"/>
                <a:gd name="T27" fmla="*/ 624 h 1662"/>
                <a:gd name="T28" fmla="*/ 1689 w 1707"/>
                <a:gd name="T29" fmla="*/ 659 h 1662"/>
                <a:gd name="T30" fmla="*/ 1706 w 1707"/>
                <a:gd name="T31" fmla="*/ 785 h 1662"/>
                <a:gd name="T32" fmla="*/ 1689 w 1707"/>
                <a:gd name="T33" fmla="*/ 954 h 1662"/>
                <a:gd name="T34" fmla="*/ 1616 w 1707"/>
                <a:gd name="T35" fmla="*/ 994 h 1662"/>
                <a:gd name="T36" fmla="*/ 1484 w 1707"/>
                <a:gd name="T37" fmla="*/ 989 h 1662"/>
                <a:gd name="T38" fmla="*/ 1387 w 1707"/>
                <a:gd name="T39" fmla="*/ 1002 h 1662"/>
                <a:gd name="T40" fmla="*/ 1332 w 1707"/>
                <a:gd name="T41" fmla="*/ 1051 h 1662"/>
                <a:gd name="T42" fmla="*/ 1327 w 1707"/>
                <a:gd name="T43" fmla="*/ 1147 h 1662"/>
                <a:gd name="T44" fmla="*/ 1265 w 1707"/>
                <a:gd name="T45" fmla="*/ 1213 h 1662"/>
                <a:gd name="T46" fmla="*/ 1152 w 1707"/>
                <a:gd name="T47" fmla="*/ 1235 h 1662"/>
                <a:gd name="T48" fmla="*/ 1053 w 1707"/>
                <a:gd name="T49" fmla="*/ 1281 h 1662"/>
                <a:gd name="T50" fmla="*/ 1032 w 1707"/>
                <a:gd name="T51" fmla="*/ 1375 h 1662"/>
                <a:gd name="T52" fmla="*/ 1053 w 1707"/>
                <a:gd name="T53" fmla="*/ 1489 h 1662"/>
                <a:gd name="T54" fmla="*/ 1007 w 1707"/>
                <a:gd name="T55" fmla="*/ 1598 h 1662"/>
                <a:gd name="T56" fmla="*/ 924 w 1707"/>
                <a:gd name="T57" fmla="*/ 1655 h 1662"/>
                <a:gd name="T58" fmla="*/ 797 w 1707"/>
                <a:gd name="T59" fmla="*/ 1661 h 1662"/>
                <a:gd name="T60" fmla="*/ 701 w 1707"/>
                <a:gd name="T61" fmla="*/ 1618 h 1662"/>
                <a:gd name="T62" fmla="*/ 656 w 1707"/>
                <a:gd name="T63" fmla="*/ 1537 h 1662"/>
                <a:gd name="T64" fmla="*/ 668 w 1707"/>
                <a:gd name="T65" fmla="*/ 1441 h 1662"/>
                <a:gd name="T66" fmla="*/ 674 w 1707"/>
                <a:gd name="T67" fmla="*/ 1355 h 1662"/>
                <a:gd name="T68" fmla="*/ 610 w 1707"/>
                <a:gd name="T69" fmla="*/ 1293 h 1662"/>
                <a:gd name="T70" fmla="*/ 505 w 1707"/>
                <a:gd name="T71" fmla="*/ 1270 h 1662"/>
                <a:gd name="T72" fmla="*/ 404 w 1707"/>
                <a:gd name="T73" fmla="*/ 1234 h 1662"/>
                <a:gd name="T74" fmla="*/ 378 w 1707"/>
                <a:gd name="T75" fmla="*/ 1139 h 1662"/>
                <a:gd name="T76" fmla="*/ 347 w 1707"/>
                <a:gd name="T77" fmla="*/ 1059 h 1662"/>
                <a:gd name="T78" fmla="*/ 246 w 1707"/>
                <a:gd name="T79" fmla="*/ 1030 h 1662"/>
                <a:gd name="T80" fmla="*/ 144 w 1707"/>
                <a:gd name="T81" fmla="*/ 1038 h 1662"/>
                <a:gd name="T82" fmla="*/ 33 w 1707"/>
                <a:gd name="T83" fmla="*/ 1013 h 1662"/>
                <a:gd name="T84" fmla="*/ 1 w 1707"/>
                <a:gd name="T85" fmla="*/ 902 h 1662"/>
                <a:gd name="T86" fmla="*/ 8 w 1707"/>
                <a:gd name="T87" fmla="*/ 743 h 1662"/>
                <a:gd name="T88" fmla="*/ 41 w 1707"/>
                <a:gd name="T89" fmla="*/ 647 h 1662"/>
                <a:gd name="T90" fmla="*/ 126 w 1707"/>
                <a:gd name="T91" fmla="*/ 622 h 1662"/>
                <a:gd name="T92" fmla="*/ 253 w 1707"/>
                <a:gd name="T93" fmla="*/ 631 h 1662"/>
                <a:gd name="T94" fmla="*/ 364 w 1707"/>
                <a:gd name="T95" fmla="*/ 593 h 1662"/>
                <a:gd name="T96" fmla="*/ 384 w 1707"/>
                <a:gd name="T97" fmla="*/ 504 h 1662"/>
                <a:gd name="T98" fmla="*/ 425 w 1707"/>
                <a:gd name="T99" fmla="*/ 417 h 1662"/>
                <a:gd name="T100" fmla="*/ 544 w 1707"/>
                <a:gd name="T101" fmla="*/ 386 h 166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707"/>
                <a:gd name="T154" fmla="*/ 0 h 1662"/>
                <a:gd name="T155" fmla="*/ 1707 w 1707"/>
                <a:gd name="T156" fmla="*/ 1662 h 166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707" h="1662">
                  <a:moveTo>
                    <a:pt x="650" y="347"/>
                  </a:moveTo>
                  <a:lnTo>
                    <a:pt x="668" y="328"/>
                  </a:lnTo>
                  <a:lnTo>
                    <a:pt x="679" y="311"/>
                  </a:lnTo>
                  <a:lnTo>
                    <a:pt x="686" y="291"/>
                  </a:lnTo>
                  <a:lnTo>
                    <a:pt x="686" y="265"/>
                  </a:lnTo>
                  <a:lnTo>
                    <a:pt x="678" y="235"/>
                  </a:lnTo>
                  <a:lnTo>
                    <a:pt x="671" y="210"/>
                  </a:lnTo>
                  <a:lnTo>
                    <a:pt x="662" y="180"/>
                  </a:lnTo>
                  <a:lnTo>
                    <a:pt x="658" y="146"/>
                  </a:lnTo>
                  <a:lnTo>
                    <a:pt x="662" y="126"/>
                  </a:lnTo>
                  <a:lnTo>
                    <a:pt x="669" y="102"/>
                  </a:lnTo>
                  <a:lnTo>
                    <a:pt x="682" y="76"/>
                  </a:lnTo>
                  <a:lnTo>
                    <a:pt x="701" y="51"/>
                  </a:lnTo>
                  <a:lnTo>
                    <a:pt x="725" y="31"/>
                  </a:lnTo>
                  <a:lnTo>
                    <a:pt x="746" y="15"/>
                  </a:lnTo>
                  <a:lnTo>
                    <a:pt x="775" y="6"/>
                  </a:lnTo>
                  <a:lnTo>
                    <a:pt x="810" y="1"/>
                  </a:lnTo>
                  <a:lnTo>
                    <a:pt x="847" y="0"/>
                  </a:lnTo>
                  <a:lnTo>
                    <a:pt x="898" y="0"/>
                  </a:lnTo>
                  <a:lnTo>
                    <a:pt x="937" y="4"/>
                  </a:lnTo>
                  <a:lnTo>
                    <a:pt x="960" y="11"/>
                  </a:lnTo>
                  <a:lnTo>
                    <a:pt x="977" y="20"/>
                  </a:lnTo>
                  <a:lnTo>
                    <a:pt x="996" y="31"/>
                  </a:lnTo>
                  <a:lnTo>
                    <a:pt x="1015" y="47"/>
                  </a:lnTo>
                  <a:lnTo>
                    <a:pt x="1032" y="68"/>
                  </a:lnTo>
                  <a:lnTo>
                    <a:pt x="1045" y="87"/>
                  </a:lnTo>
                  <a:lnTo>
                    <a:pt x="1052" y="104"/>
                  </a:lnTo>
                  <a:lnTo>
                    <a:pt x="1057" y="132"/>
                  </a:lnTo>
                  <a:lnTo>
                    <a:pt x="1057" y="157"/>
                  </a:lnTo>
                  <a:lnTo>
                    <a:pt x="1053" y="182"/>
                  </a:lnTo>
                  <a:lnTo>
                    <a:pt x="1048" y="201"/>
                  </a:lnTo>
                  <a:lnTo>
                    <a:pt x="1041" y="231"/>
                  </a:lnTo>
                  <a:lnTo>
                    <a:pt x="1032" y="263"/>
                  </a:lnTo>
                  <a:lnTo>
                    <a:pt x="1028" y="283"/>
                  </a:lnTo>
                  <a:lnTo>
                    <a:pt x="1035" y="304"/>
                  </a:lnTo>
                  <a:lnTo>
                    <a:pt x="1043" y="318"/>
                  </a:lnTo>
                  <a:lnTo>
                    <a:pt x="1057" y="337"/>
                  </a:lnTo>
                  <a:lnTo>
                    <a:pt x="1078" y="352"/>
                  </a:lnTo>
                  <a:lnTo>
                    <a:pt x="1098" y="365"/>
                  </a:lnTo>
                  <a:lnTo>
                    <a:pt x="1128" y="376"/>
                  </a:lnTo>
                  <a:lnTo>
                    <a:pt x="1157" y="383"/>
                  </a:lnTo>
                  <a:lnTo>
                    <a:pt x="1185" y="389"/>
                  </a:lnTo>
                  <a:lnTo>
                    <a:pt x="1214" y="392"/>
                  </a:lnTo>
                  <a:lnTo>
                    <a:pt x="1245" y="399"/>
                  </a:lnTo>
                  <a:lnTo>
                    <a:pt x="1269" y="406"/>
                  </a:lnTo>
                  <a:lnTo>
                    <a:pt x="1287" y="415"/>
                  </a:lnTo>
                  <a:lnTo>
                    <a:pt x="1302" y="424"/>
                  </a:lnTo>
                  <a:lnTo>
                    <a:pt x="1313" y="435"/>
                  </a:lnTo>
                  <a:lnTo>
                    <a:pt x="1320" y="448"/>
                  </a:lnTo>
                  <a:lnTo>
                    <a:pt x="1327" y="463"/>
                  </a:lnTo>
                  <a:lnTo>
                    <a:pt x="1330" y="477"/>
                  </a:lnTo>
                  <a:lnTo>
                    <a:pt x="1332" y="490"/>
                  </a:lnTo>
                  <a:lnTo>
                    <a:pt x="1332" y="508"/>
                  </a:lnTo>
                  <a:lnTo>
                    <a:pt x="1330" y="528"/>
                  </a:lnTo>
                  <a:lnTo>
                    <a:pt x="1330" y="543"/>
                  </a:lnTo>
                  <a:lnTo>
                    <a:pt x="1334" y="562"/>
                  </a:lnTo>
                  <a:lnTo>
                    <a:pt x="1343" y="579"/>
                  </a:lnTo>
                  <a:lnTo>
                    <a:pt x="1354" y="593"/>
                  </a:lnTo>
                  <a:lnTo>
                    <a:pt x="1367" y="604"/>
                  </a:lnTo>
                  <a:lnTo>
                    <a:pt x="1384" y="615"/>
                  </a:lnTo>
                  <a:lnTo>
                    <a:pt x="1402" y="622"/>
                  </a:lnTo>
                  <a:lnTo>
                    <a:pt x="1428" y="627"/>
                  </a:lnTo>
                  <a:lnTo>
                    <a:pt x="1451" y="629"/>
                  </a:lnTo>
                  <a:lnTo>
                    <a:pt x="1472" y="631"/>
                  </a:lnTo>
                  <a:lnTo>
                    <a:pt x="1496" y="629"/>
                  </a:lnTo>
                  <a:lnTo>
                    <a:pt x="1525" y="627"/>
                  </a:lnTo>
                  <a:lnTo>
                    <a:pt x="1548" y="626"/>
                  </a:lnTo>
                  <a:lnTo>
                    <a:pt x="1571" y="624"/>
                  </a:lnTo>
                  <a:lnTo>
                    <a:pt x="1592" y="622"/>
                  </a:lnTo>
                  <a:lnTo>
                    <a:pt x="1617" y="624"/>
                  </a:lnTo>
                  <a:lnTo>
                    <a:pt x="1630" y="626"/>
                  </a:lnTo>
                  <a:lnTo>
                    <a:pt x="1646" y="629"/>
                  </a:lnTo>
                  <a:lnTo>
                    <a:pt x="1661" y="637"/>
                  </a:lnTo>
                  <a:lnTo>
                    <a:pt x="1677" y="647"/>
                  </a:lnTo>
                  <a:lnTo>
                    <a:pt x="1689" y="659"/>
                  </a:lnTo>
                  <a:lnTo>
                    <a:pt x="1698" y="677"/>
                  </a:lnTo>
                  <a:lnTo>
                    <a:pt x="1702" y="692"/>
                  </a:lnTo>
                  <a:lnTo>
                    <a:pt x="1705" y="711"/>
                  </a:lnTo>
                  <a:lnTo>
                    <a:pt x="1707" y="745"/>
                  </a:lnTo>
                  <a:lnTo>
                    <a:pt x="1706" y="785"/>
                  </a:lnTo>
                  <a:lnTo>
                    <a:pt x="1707" y="828"/>
                  </a:lnTo>
                  <a:lnTo>
                    <a:pt x="1704" y="878"/>
                  </a:lnTo>
                  <a:lnTo>
                    <a:pt x="1700" y="912"/>
                  </a:lnTo>
                  <a:lnTo>
                    <a:pt x="1696" y="939"/>
                  </a:lnTo>
                  <a:lnTo>
                    <a:pt x="1689" y="954"/>
                  </a:lnTo>
                  <a:lnTo>
                    <a:pt x="1678" y="968"/>
                  </a:lnTo>
                  <a:lnTo>
                    <a:pt x="1666" y="978"/>
                  </a:lnTo>
                  <a:lnTo>
                    <a:pt x="1650" y="986"/>
                  </a:lnTo>
                  <a:lnTo>
                    <a:pt x="1632" y="991"/>
                  </a:lnTo>
                  <a:lnTo>
                    <a:pt x="1616" y="994"/>
                  </a:lnTo>
                  <a:lnTo>
                    <a:pt x="1582" y="996"/>
                  </a:lnTo>
                  <a:lnTo>
                    <a:pt x="1553" y="994"/>
                  </a:lnTo>
                  <a:lnTo>
                    <a:pt x="1529" y="991"/>
                  </a:lnTo>
                  <a:lnTo>
                    <a:pt x="1508" y="990"/>
                  </a:lnTo>
                  <a:lnTo>
                    <a:pt x="1484" y="989"/>
                  </a:lnTo>
                  <a:lnTo>
                    <a:pt x="1463" y="989"/>
                  </a:lnTo>
                  <a:lnTo>
                    <a:pt x="1444" y="990"/>
                  </a:lnTo>
                  <a:lnTo>
                    <a:pt x="1424" y="991"/>
                  </a:lnTo>
                  <a:lnTo>
                    <a:pt x="1400" y="997"/>
                  </a:lnTo>
                  <a:lnTo>
                    <a:pt x="1387" y="1002"/>
                  </a:lnTo>
                  <a:lnTo>
                    <a:pt x="1375" y="1006"/>
                  </a:lnTo>
                  <a:lnTo>
                    <a:pt x="1359" y="1016"/>
                  </a:lnTo>
                  <a:lnTo>
                    <a:pt x="1348" y="1027"/>
                  </a:lnTo>
                  <a:lnTo>
                    <a:pt x="1340" y="1038"/>
                  </a:lnTo>
                  <a:lnTo>
                    <a:pt x="1332" y="1051"/>
                  </a:lnTo>
                  <a:lnTo>
                    <a:pt x="1328" y="1064"/>
                  </a:lnTo>
                  <a:lnTo>
                    <a:pt x="1327" y="1078"/>
                  </a:lnTo>
                  <a:lnTo>
                    <a:pt x="1328" y="1094"/>
                  </a:lnTo>
                  <a:lnTo>
                    <a:pt x="1328" y="1120"/>
                  </a:lnTo>
                  <a:lnTo>
                    <a:pt x="1327" y="1147"/>
                  </a:lnTo>
                  <a:lnTo>
                    <a:pt x="1319" y="1167"/>
                  </a:lnTo>
                  <a:lnTo>
                    <a:pt x="1311" y="1183"/>
                  </a:lnTo>
                  <a:lnTo>
                    <a:pt x="1299" y="1195"/>
                  </a:lnTo>
                  <a:lnTo>
                    <a:pt x="1282" y="1205"/>
                  </a:lnTo>
                  <a:lnTo>
                    <a:pt x="1265" y="1213"/>
                  </a:lnTo>
                  <a:lnTo>
                    <a:pt x="1245" y="1218"/>
                  </a:lnTo>
                  <a:lnTo>
                    <a:pt x="1219" y="1222"/>
                  </a:lnTo>
                  <a:lnTo>
                    <a:pt x="1198" y="1228"/>
                  </a:lnTo>
                  <a:lnTo>
                    <a:pt x="1173" y="1232"/>
                  </a:lnTo>
                  <a:lnTo>
                    <a:pt x="1152" y="1235"/>
                  </a:lnTo>
                  <a:lnTo>
                    <a:pt x="1128" y="1240"/>
                  </a:lnTo>
                  <a:lnTo>
                    <a:pt x="1109" y="1248"/>
                  </a:lnTo>
                  <a:lnTo>
                    <a:pt x="1088" y="1257"/>
                  </a:lnTo>
                  <a:lnTo>
                    <a:pt x="1068" y="1267"/>
                  </a:lnTo>
                  <a:lnTo>
                    <a:pt x="1053" y="1281"/>
                  </a:lnTo>
                  <a:lnTo>
                    <a:pt x="1040" y="1298"/>
                  </a:lnTo>
                  <a:lnTo>
                    <a:pt x="1029" y="1318"/>
                  </a:lnTo>
                  <a:lnTo>
                    <a:pt x="1027" y="1336"/>
                  </a:lnTo>
                  <a:lnTo>
                    <a:pt x="1028" y="1356"/>
                  </a:lnTo>
                  <a:lnTo>
                    <a:pt x="1032" y="1375"/>
                  </a:lnTo>
                  <a:lnTo>
                    <a:pt x="1039" y="1395"/>
                  </a:lnTo>
                  <a:lnTo>
                    <a:pt x="1044" y="1417"/>
                  </a:lnTo>
                  <a:lnTo>
                    <a:pt x="1048" y="1437"/>
                  </a:lnTo>
                  <a:lnTo>
                    <a:pt x="1053" y="1463"/>
                  </a:lnTo>
                  <a:lnTo>
                    <a:pt x="1053" y="1489"/>
                  </a:lnTo>
                  <a:lnTo>
                    <a:pt x="1047" y="1515"/>
                  </a:lnTo>
                  <a:lnTo>
                    <a:pt x="1040" y="1535"/>
                  </a:lnTo>
                  <a:lnTo>
                    <a:pt x="1032" y="1555"/>
                  </a:lnTo>
                  <a:lnTo>
                    <a:pt x="1021" y="1574"/>
                  </a:lnTo>
                  <a:lnTo>
                    <a:pt x="1007" y="1598"/>
                  </a:lnTo>
                  <a:lnTo>
                    <a:pt x="991" y="1613"/>
                  </a:lnTo>
                  <a:lnTo>
                    <a:pt x="977" y="1624"/>
                  </a:lnTo>
                  <a:lnTo>
                    <a:pt x="960" y="1637"/>
                  </a:lnTo>
                  <a:lnTo>
                    <a:pt x="941" y="1649"/>
                  </a:lnTo>
                  <a:lnTo>
                    <a:pt x="924" y="1655"/>
                  </a:lnTo>
                  <a:lnTo>
                    <a:pt x="908" y="1658"/>
                  </a:lnTo>
                  <a:lnTo>
                    <a:pt x="882" y="1661"/>
                  </a:lnTo>
                  <a:lnTo>
                    <a:pt x="851" y="1662"/>
                  </a:lnTo>
                  <a:lnTo>
                    <a:pt x="814" y="1661"/>
                  </a:lnTo>
                  <a:lnTo>
                    <a:pt x="797" y="1661"/>
                  </a:lnTo>
                  <a:lnTo>
                    <a:pt x="774" y="1657"/>
                  </a:lnTo>
                  <a:lnTo>
                    <a:pt x="750" y="1651"/>
                  </a:lnTo>
                  <a:lnTo>
                    <a:pt x="729" y="1640"/>
                  </a:lnTo>
                  <a:lnTo>
                    <a:pt x="715" y="1631"/>
                  </a:lnTo>
                  <a:lnTo>
                    <a:pt x="701" y="1618"/>
                  </a:lnTo>
                  <a:lnTo>
                    <a:pt x="689" y="1606"/>
                  </a:lnTo>
                  <a:lnTo>
                    <a:pt x="677" y="1591"/>
                  </a:lnTo>
                  <a:lnTo>
                    <a:pt x="668" y="1575"/>
                  </a:lnTo>
                  <a:lnTo>
                    <a:pt x="660" y="1557"/>
                  </a:lnTo>
                  <a:lnTo>
                    <a:pt x="656" y="1537"/>
                  </a:lnTo>
                  <a:lnTo>
                    <a:pt x="654" y="1521"/>
                  </a:lnTo>
                  <a:lnTo>
                    <a:pt x="654" y="1500"/>
                  </a:lnTo>
                  <a:lnTo>
                    <a:pt x="656" y="1482"/>
                  </a:lnTo>
                  <a:lnTo>
                    <a:pt x="662" y="1463"/>
                  </a:lnTo>
                  <a:lnTo>
                    <a:pt x="668" y="1441"/>
                  </a:lnTo>
                  <a:lnTo>
                    <a:pt x="674" y="1420"/>
                  </a:lnTo>
                  <a:lnTo>
                    <a:pt x="678" y="1401"/>
                  </a:lnTo>
                  <a:lnTo>
                    <a:pt x="679" y="1383"/>
                  </a:lnTo>
                  <a:lnTo>
                    <a:pt x="678" y="1369"/>
                  </a:lnTo>
                  <a:lnTo>
                    <a:pt x="674" y="1355"/>
                  </a:lnTo>
                  <a:lnTo>
                    <a:pt x="664" y="1337"/>
                  </a:lnTo>
                  <a:lnTo>
                    <a:pt x="653" y="1325"/>
                  </a:lnTo>
                  <a:lnTo>
                    <a:pt x="640" y="1312"/>
                  </a:lnTo>
                  <a:lnTo>
                    <a:pt x="625" y="1303"/>
                  </a:lnTo>
                  <a:lnTo>
                    <a:pt x="610" y="1293"/>
                  </a:lnTo>
                  <a:lnTo>
                    <a:pt x="589" y="1286"/>
                  </a:lnTo>
                  <a:lnTo>
                    <a:pt x="570" y="1281"/>
                  </a:lnTo>
                  <a:lnTo>
                    <a:pt x="546" y="1277"/>
                  </a:lnTo>
                  <a:lnTo>
                    <a:pt x="525" y="1274"/>
                  </a:lnTo>
                  <a:lnTo>
                    <a:pt x="505" y="1270"/>
                  </a:lnTo>
                  <a:lnTo>
                    <a:pt x="481" y="1265"/>
                  </a:lnTo>
                  <a:lnTo>
                    <a:pt x="461" y="1258"/>
                  </a:lnTo>
                  <a:lnTo>
                    <a:pt x="437" y="1252"/>
                  </a:lnTo>
                  <a:lnTo>
                    <a:pt x="419" y="1245"/>
                  </a:lnTo>
                  <a:lnTo>
                    <a:pt x="404" y="1234"/>
                  </a:lnTo>
                  <a:lnTo>
                    <a:pt x="392" y="1220"/>
                  </a:lnTo>
                  <a:lnTo>
                    <a:pt x="384" y="1202"/>
                  </a:lnTo>
                  <a:lnTo>
                    <a:pt x="378" y="1179"/>
                  </a:lnTo>
                  <a:lnTo>
                    <a:pt x="376" y="1160"/>
                  </a:lnTo>
                  <a:lnTo>
                    <a:pt x="378" y="1139"/>
                  </a:lnTo>
                  <a:lnTo>
                    <a:pt x="380" y="1122"/>
                  </a:lnTo>
                  <a:lnTo>
                    <a:pt x="378" y="1102"/>
                  </a:lnTo>
                  <a:lnTo>
                    <a:pt x="371" y="1087"/>
                  </a:lnTo>
                  <a:lnTo>
                    <a:pt x="359" y="1070"/>
                  </a:lnTo>
                  <a:lnTo>
                    <a:pt x="347" y="1059"/>
                  </a:lnTo>
                  <a:lnTo>
                    <a:pt x="332" y="1049"/>
                  </a:lnTo>
                  <a:lnTo>
                    <a:pt x="312" y="1042"/>
                  </a:lnTo>
                  <a:lnTo>
                    <a:pt x="290" y="1035"/>
                  </a:lnTo>
                  <a:lnTo>
                    <a:pt x="266" y="1032"/>
                  </a:lnTo>
                  <a:lnTo>
                    <a:pt x="246" y="1030"/>
                  </a:lnTo>
                  <a:lnTo>
                    <a:pt x="223" y="1030"/>
                  </a:lnTo>
                  <a:lnTo>
                    <a:pt x="203" y="1032"/>
                  </a:lnTo>
                  <a:lnTo>
                    <a:pt x="183" y="1033"/>
                  </a:lnTo>
                  <a:lnTo>
                    <a:pt x="163" y="1036"/>
                  </a:lnTo>
                  <a:lnTo>
                    <a:pt x="144" y="1038"/>
                  </a:lnTo>
                  <a:lnTo>
                    <a:pt x="110" y="1038"/>
                  </a:lnTo>
                  <a:lnTo>
                    <a:pt x="89" y="1037"/>
                  </a:lnTo>
                  <a:lnTo>
                    <a:pt x="66" y="1032"/>
                  </a:lnTo>
                  <a:lnTo>
                    <a:pt x="50" y="1025"/>
                  </a:lnTo>
                  <a:lnTo>
                    <a:pt x="33" y="1013"/>
                  </a:lnTo>
                  <a:lnTo>
                    <a:pt x="21" y="1000"/>
                  </a:lnTo>
                  <a:lnTo>
                    <a:pt x="13" y="986"/>
                  </a:lnTo>
                  <a:lnTo>
                    <a:pt x="4" y="959"/>
                  </a:lnTo>
                  <a:lnTo>
                    <a:pt x="3" y="931"/>
                  </a:lnTo>
                  <a:lnTo>
                    <a:pt x="1" y="902"/>
                  </a:lnTo>
                  <a:lnTo>
                    <a:pt x="0" y="867"/>
                  </a:lnTo>
                  <a:lnTo>
                    <a:pt x="3" y="836"/>
                  </a:lnTo>
                  <a:lnTo>
                    <a:pt x="4" y="803"/>
                  </a:lnTo>
                  <a:lnTo>
                    <a:pt x="5" y="774"/>
                  </a:lnTo>
                  <a:lnTo>
                    <a:pt x="8" y="743"/>
                  </a:lnTo>
                  <a:lnTo>
                    <a:pt x="12" y="719"/>
                  </a:lnTo>
                  <a:lnTo>
                    <a:pt x="16" y="693"/>
                  </a:lnTo>
                  <a:lnTo>
                    <a:pt x="21" y="673"/>
                  </a:lnTo>
                  <a:lnTo>
                    <a:pt x="29" y="660"/>
                  </a:lnTo>
                  <a:lnTo>
                    <a:pt x="41" y="647"/>
                  </a:lnTo>
                  <a:lnTo>
                    <a:pt x="53" y="639"/>
                  </a:lnTo>
                  <a:lnTo>
                    <a:pt x="69" y="629"/>
                  </a:lnTo>
                  <a:lnTo>
                    <a:pt x="84" y="627"/>
                  </a:lnTo>
                  <a:lnTo>
                    <a:pt x="102" y="624"/>
                  </a:lnTo>
                  <a:lnTo>
                    <a:pt x="126" y="622"/>
                  </a:lnTo>
                  <a:lnTo>
                    <a:pt x="148" y="624"/>
                  </a:lnTo>
                  <a:lnTo>
                    <a:pt x="177" y="627"/>
                  </a:lnTo>
                  <a:lnTo>
                    <a:pt x="202" y="628"/>
                  </a:lnTo>
                  <a:lnTo>
                    <a:pt x="223" y="629"/>
                  </a:lnTo>
                  <a:lnTo>
                    <a:pt x="253" y="631"/>
                  </a:lnTo>
                  <a:lnTo>
                    <a:pt x="283" y="627"/>
                  </a:lnTo>
                  <a:lnTo>
                    <a:pt x="308" y="622"/>
                  </a:lnTo>
                  <a:lnTo>
                    <a:pt x="332" y="614"/>
                  </a:lnTo>
                  <a:lnTo>
                    <a:pt x="348" y="606"/>
                  </a:lnTo>
                  <a:lnTo>
                    <a:pt x="364" y="593"/>
                  </a:lnTo>
                  <a:lnTo>
                    <a:pt x="376" y="576"/>
                  </a:lnTo>
                  <a:lnTo>
                    <a:pt x="384" y="560"/>
                  </a:lnTo>
                  <a:lnTo>
                    <a:pt x="387" y="542"/>
                  </a:lnTo>
                  <a:lnTo>
                    <a:pt x="386" y="529"/>
                  </a:lnTo>
                  <a:lnTo>
                    <a:pt x="384" y="504"/>
                  </a:lnTo>
                  <a:lnTo>
                    <a:pt x="386" y="479"/>
                  </a:lnTo>
                  <a:lnTo>
                    <a:pt x="391" y="461"/>
                  </a:lnTo>
                  <a:lnTo>
                    <a:pt x="398" y="443"/>
                  </a:lnTo>
                  <a:lnTo>
                    <a:pt x="407" y="430"/>
                  </a:lnTo>
                  <a:lnTo>
                    <a:pt x="425" y="417"/>
                  </a:lnTo>
                  <a:lnTo>
                    <a:pt x="445" y="407"/>
                  </a:lnTo>
                  <a:lnTo>
                    <a:pt x="471" y="400"/>
                  </a:lnTo>
                  <a:lnTo>
                    <a:pt x="496" y="394"/>
                  </a:lnTo>
                  <a:lnTo>
                    <a:pt x="517" y="390"/>
                  </a:lnTo>
                  <a:lnTo>
                    <a:pt x="544" y="386"/>
                  </a:lnTo>
                  <a:lnTo>
                    <a:pt x="569" y="381"/>
                  </a:lnTo>
                  <a:lnTo>
                    <a:pt x="598" y="374"/>
                  </a:lnTo>
                  <a:lnTo>
                    <a:pt x="626" y="364"/>
                  </a:lnTo>
                  <a:lnTo>
                    <a:pt x="650" y="347"/>
                  </a:lnTo>
                  <a:close/>
                </a:path>
              </a:pathLst>
            </a:custGeom>
            <a:solidFill>
              <a:schemeClr val="accent1"/>
            </a:solidFill>
            <a:ln w="6350">
              <a:noFill/>
              <a:round/>
              <a:headEnd/>
              <a:tailEnd/>
            </a:ln>
          </p:spPr>
          <p:txBody>
            <a:bodyPr lIns="45720" rIns="45720"/>
            <a:lstStyle/>
            <a:p>
              <a:endParaRPr lang="en-US"/>
            </a:p>
          </p:txBody>
        </p:sp>
        <p:sp>
          <p:nvSpPr>
            <p:cNvPr id="25" name="Text Box 11">
              <a:extLst>
                <a:ext uri="{FF2B5EF4-FFF2-40B4-BE49-F238E27FC236}">
                  <a16:creationId xmlns:a16="http://schemas.microsoft.com/office/drawing/2014/main" id="{7E4F0266-0237-42AC-AB15-09CD38B750DA}"/>
                </a:ext>
              </a:extLst>
            </p:cNvPr>
            <p:cNvSpPr txBox="1">
              <a:spLocks noChangeArrowheads="1"/>
            </p:cNvSpPr>
            <p:nvPr/>
          </p:nvSpPr>
          <p:spPr bwMode="auto">
            <a:xfrm>
              <a:off x="5397231" y="3032239"/>
              <a:ext cx="1361517" cy="1252985"/>
            </a:xfrm>
            <a:prstGeom prst="rect">
              <a:avLst/>
            </a:prstGeom>
            <a:noFill/>
            <a:ln w="6350">
              <a:noFill/>
              <a:miter lim="800000"/>
              <a:headEnd/>
              <a:tailEnd/>
            </a:ln>
          </p:spPr>
          <p:txBody>
            <a:bodyPr wrap="none" lIns="180000" tIns="144000" rIns="45720"/>
            <a:lstStyle/>
            <a:p>
              <a:pPr marL="108000" indent="-108000">
                <a:spcBef>
                  <a:spcPts val="100"/>
                </a:spcBef>
                <a:spcAft>
                  <a:spcPts val="100"/>
                </a:spcAft>
                <a:buClr>
                  <a:schemeClr val="folHlink"/>
                </a:buClr>
              </a:pPr>
              <a:r>
                <a:rPr lang="en-GB" sz="1400" b="1" dirty="0">
                  <a:solidFill>
                    <a:schemeClr val="bg1"/>
                  </a:solidFill>
                </a:rPr>
                <a:t>Text</a:t>
              </a:r>
              <a:endParaRPr lang="en-GB" sz="1200" b="1" dirty="0">
                <a:solidFill>
                  <a:schemeClr val="bg1"/>
                </a:solidFill>
              </a:endParaRPr>
            </a:p>
            <a:p>
              <a:pPr marL="108000" indent="-108000">
                <a:spcBef>
                  <a:spcPts val="100"/>
                </a:spcBef>
                <a:spcAft>
                  <a:spcPts val="100"/>
                </a:spcAft>
                <a:buFontTx/>
                <a:buChar char="•"/>
              </a:pPr>
              <a:r>
                <a:rPr lang="en-GB" sz="1200" dirty="0">
                  <a:solidFill>
                    <a:schemeClr val="bg1"/>
                  </a:solidFill>
                </a:rPr>
                <a:t>Text</a:t>
              </a:r>
            </a:p>
            <a:p>
              <a:pPr marL="108000" indent="-108000">
                <a:spcBef>
                  <a:spcPts val="100"/>
                </a:spcBef>
                <a:spcAft>
                  <a:spcPts val="100"/>
                </a:spcAft>
                <a:buFontTx/>
                <a:buChar char="•"/>
              </a:pPr>
              <a:r>
                <a:rPr lang="en-GB" sz="1200" dirty="0">
                  <a:solidFill>
                    <a:schemeClr val="bg1"/>
                  </a:solidFill>
                </a:rPr>
                <a:t>Text</a:t>
              </a:r>
            </a:p>
            <a:p>
              <a:pPr marL="108000" indent="-108000">
                <a:spcBef>
                  <a:spcPts val="100"/>
                </a:spcBef>
                <a:spcAft>
                  <a:spcPts val="100"/>
                </a:spcAft>
                <a:buFontTx/>
                <a:buChar char="•"/>
              </a:pPr>
              <a:r>
                <a:rPr lang="en-GB" sz="1200" dirty="0">
                  <a:solidFill>
                    <a:schemeClr val="bg1"/>
                  </a:solidFill>
                </a:rPr>
                <a:t>Text</a:t>
              </a:r>
              <a:endParaRPr lang="en-AU" sz="1200" dirty="0">
                <a:solidFill>
                  <a:schemeClr val="bg1"/>
                </a:solidFill>
              </a:endParaRPr>
            </a:p>
          </p:txBody>
        </p:sp>
      </p:grpSp>
      <p:sp>
        <p:nvSpPr>
          <p:cNvPr id="5" name="Footer Placeholder 4">
            <a:extLst>
              <a:ext uri="{FF2B5EF4-FFF2-40B4-BE49-F238E27FC236}">
                <a16:creationId xmlns:a16="http://schemas.microsoft.com/office/drawing/2014/main" id="{29D504C3-F0A0-4143-B969-EE245B89E809}"/>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DE36D3E0-F7EA-48F8-9AE6-285DDCCA34A8}"/>
              </a:ext>
            </a:extLst>
          </p:cNvPr>
          <p:cNvSpPr>
            <a:spLocks noGrp="1"/>
          </p:cNvSpPr>
          <p:nvPr>
            <p:ph type="sldNum" sz="quarter" idx="10"/>
          </p:nvPr>
        </p:nvSpPr>
        <p:spPr/>
        <p:txBody>
          <a:bodyPr/>
          <a:lstStyle/>
          <a:p>
            <a:fld id="{1F90F471-3972-4120-B8B3-0237DE626C35}" type="slidenum">
              <a:rPr lang="en-US" smtClean="0"/>
              <a:pPr/>
              <a:t>450</a:t>
            </a:fld>
            <a:endParaRPr lang="en-US" dirty="0"/>
          </a:p>
        </p:txBody>
      </p:sp>
    </p:spTree>
    <p:extLst>
      <p:ext uri="{BB962C8B-B14F-4D97-AF65-F5344CB8AC3E}">
        <p14:creationId xmlns:p14="http://schemas.microsoft.com/office/powerpoint/2010/main" val="677782779"/>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Corporate Environmental Responsibility</a:t>
            </a:r>
          </a:p>
        </p:txBody>
      </p:sp>
      <p:sp>
        <p:nvSpPr>
          <p:cNvPr id="3" name="TextBox 2">
            <a:extLst>
              <a:ext uri="{FF2B5EF4-FFF2-40B4-BE49-F238E27FC236}">
                <a16:creationId xmlns:a16="http://schemas.microsoft.com/office/drawing/2014/main" id="{0FAECFF5-910E-4AD3-9F76-0667F4991A21}"/>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Design example: 3 factors of CESR</a:t>
            </a:r>
          </a:p>
        </p:txBody>
      </p:sp>
      <p:grpSp>
        <p:nvGrpSpPr>
          <p:cNvPr id="4" name="Group 3" descr="Environmental Responsibility">
            <a:extLst>
              <a:ext uri="{FF2B5EF4-FFF2-40B4-BE49-F238E27FC236}">
                <a16:creationId xmlns:a16="http://schemas.microsoft.com/office/drawing/2014/main" id="{D4E4381F-BF6E-41BF-9256-42C9FA8DC613}"/>
              </a:ext>
            </a:extLst>
          </p:cNvPr>
          <p:cNvGrpSpPr/>
          <p:nvPr/>
        </p:nvGrpSpPr>
        <p:grpSpPr>
          <a:xfrm>
            <a:off x="3580871" y="1486311"/>
            <a:ext cx="4838700" cy="4557712"/>
            <a:chOff x="3580871" y="1486311"/>
            <a:chExt cx="4838700" cy="4557712"/>
          </a:xfrm>
        </p:grpSpPr>
        <p:sp>
          <p:nvSpPr>
            <p:cNvPr id="30" name="Oval 4">
              <a:extLst>
                <a:ext uri="{FF2B5EF4-FFF2-40B4-BE49-F238E27FC236}">
                  <a16:creationId xmlns:a16="http://schemas.microsoft.com/office/drawing/2014/main" id="{DC79CAFD-5181-4786-A5F4-7AD5788C082D}"/>
                </a:ext>
              </a:extLst>
            </p:cNvPr>
            <p:cNvSpPr>
              <a:spLocks noChangeArrowheads="1"/>
            </p:cNvSpPr>
            <p:nvPr/>
          </p:nvSpPr>
          <p:spPr bwMode="auto">
            <a:xfrm>
              <a:off x="4563534" y="1486311"/>
              <a:ext cx="2873375" cy="2935287"/>
            </a:xfrm>
            <a:prstGeom prst="ellipse">
              <a:avLst/>
            </a:prstGeom>
            <a:solidFill>
              <a:srgbClr val="A100FF">
                <a:lumMod val="20000"/>
                <a:lumOff val="80000"/>
              </a:srgbClr>
            </a:solidFill>
            <a:ln w="6350">
              <a:noFill/>
              <a:round/>
              <a:headEnd/>
              <a:tailEnd/>
            </a:ln>
            <a:effectLst/>
          </p:spPr>
          <p:txBody>
            <a:bodyPr lIns="72000" tIns="72000" rIns="72000" bIns="7200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000000"/>
                </a:solidFill>
                <a:effectLst/>
                <a:uLnTx/>
                <a:uFillTx/>
                <a:latin typeface="Arial"/>
                <a:ea typeface="+mn-ea"/>
                <a:cs typeface="+mn-cs"/>
              </a:endParaRPr>
            </a:p>
          </p:txBody>
        </p:sp>
        <p:sp>
          <p:nvSpPr>
            <p:cNvPr id="16" name="Oval 4">
              <a:extLst>
                <a:ext uri="{FF2B5EF4-FFF2-40B4-BE49-F238E27FC236}">
                  <a16:creationId xmlns:a16="http://schemas.microsoft.com/office/drawing/2014/main" id="{8333AED1-FA5A-4CAC-B71C-5C15D826A59D}"/>
                </a:ext>
              </a:extLst>
            </p:cNvPr>
            <p:cNvSpPr>
              <a:spLocks noChangeArrowheads="1"/>
            </p:cNvSpPr>
            <p:nvPr/>
          </p:nvSpPr>
          <p:spPr bwMode="auto">
            <a:xfrm>
              <a:off x="4582584" y="2128581"/>
              <a:ext cx="2873375" cy="780924"/>
            </a:xfrm>
            <a:prstGeom prst="rect">
              <a:avLst/>
            </a:prstGeom>
            <a:noFill/>
            <a:ln w="6350">
              <a:noFill/>
              <a:round/>
              <a:headEnd/>
              <a:tailEnd/>
            </a:ln>
            <a:effectLst/>
          </p:spPr>
          <p:txBody>
            <a:bodyPr lIns="72000" tIns="72000" rIns="72000" bIns="72000" anchor="t" anchorCtr="1"/>
            <a:lstStyle/>
            <a:p>
              <a:pPr marL="108000" marR="0" lvl="0" indent="-108000" algn="ctr" defTabSz="914400" rtl="0" eaLnBrk="0" fontAlgn="auto" latinLnBrk="0" hangingPunct="0">
                <a:lnSpc>
                  <a:spcPct val="100000"/>
                </a:lnSpc>
                <a:spcBef>
                  <a:spcPts val="300"/>
                </a:spcBef>
                <a:spcAft>
                  <a:spcPts val="30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Economic progress</a:t>
              </a:r>
            </a:p>
            <a:p>
              <a:pPr marL="108000" marR="0" lvl="0" indent="-108000" algn="ctr" defTabSz="914400" rtl="0" eaLnBrk="1" fontAlgn="auto" latinLnBrk="0" hangingPunct="1">
                <a:lnSpc>
                  <a:spcPct val="100000"/>
                </a:lnSpc>
                <a:spcBef>
                  <a:spcPts val="100"/>
                </a:spcBef>
                <a:spcAft>
                  <a:spcPts val="100"/>
                </a:spcAft>
                <a:buClrTx/>
                <a:buSzTx/>
                <a:buFont typeface="Arial" charset="0"/>
                <a:buChar char="•"/>
                <a:tabLst/>
                <a:defRPr/>
              </a:pPr>
              <a:r>
                <a:rPr kumimoji="0" lang="da-DK" sz="1100" b="0" i="0" u="none" strike="noStrike" kern="0" cap="none" spc="0" normalizeH="0" baseline="0" noProof="0" dirty="0">
                  <a:ln>
                    <a:noFill/>
                  </a:ln>
                  <a:solidFill>
                    <a:srgbClr val="000000"/>
                  </a:solidFill>
                  <a:effectLst/>
                  <a:uLnTx/>
                  <a:uFillTx/>
                  <a:ea typeface="+mn-ea"/>
                  <a:cs typeface="+mn-cs"/>
                </a:rPr>
                <a:t>Shareholder value</a:t>
              </a:r>
            </a:p>
            <a:p>
              <a:pPr marL="108000" marR="0" lvl="0" indent="-108000" algn="ctr" defTabSz="914400" rtl="0" eaLnBrk="1" fontAlgn="auto" latinLnBrk="0" hangingPunct="1">
                <a:lnSpc>
                  <a:spcPct val="100000"/>
                </a:lnSpc>
                <a:spcBef>
                  <a:spcPts val="300"/>
                </a:spcBef>
                <a:spcAft>
                  <a:spcPts val="300"/>
                </a:spcAft>
                <a:buClrTx/>
                <a:buSzTx/>
                <a:buFont typeface="Arial" charset="0"/>
                <a:buChar char="•"/>
                <a:tabLst/>
                <a:defRPr/>
              </a:pPr>
              <a:r>
                <a:rPr kumimoji="0" lang="da-DK" sz="1100" b="0" i="0" u="none" strike="noStrike" kern="0" cap="none" spc="0" normalizeH="0" baseline="0" noProof="0" dirty="0">
                  <a:ln>
                    <a:noFill/>
                  </a:ln>
                  <a:solidFill>
                    <a:srgbClr val="000000"/>
                  </a:solidFill>
                  <a:effectLst/>
                  <a:uLnTx/>
                  <a:uFillTx/>
                  <a:ea typeface="+mn-ea"/>
                  <a:cs typeface="+mn-cs"/>
                </a:rPr>
                <a:t>Profitable growth</a:t>
              </a:r>
            </a:p>
          </p:txBody>
        </p:sp>
        <p:sp>
          <p:nvSpPr>
            <p:cNvPr id="32" name="Oval 6">
              <a:extLst>
                <a:ext uri="{FF2B5EF4-FFF2-40B4-BE49-F238E27FC236}">
                  <a16:creationId xmlns:a16="http://schemas.microsoft.com/office/drawing/2014/main" id="{2C968966-548C-4F01-BF0F-5C19EE5B1FB2}"/>
                </a:ext>
              </a:extLst>
            </p:cNvPr>
            <p:cNvSpPr>
              <a:spLocks noChangeArrowheads="1"/>
            </p:cNvSpPr>
            <p:nvPr/>
          </p:nvSpPr>
          <p:spPr bwMode="auto">
            <a:xfrm>
              <a:off x="5547784" y="3108736"/>
              <a:ext cx="2871787" cy="2935287"/>
            </a:xfrm>
            <a:prstGeom prst="ellipse">
              <a:avLst/>
            </a:prstGeom>
            <a:solidFill>
              <a:srgbClr val="B455AA">
                <a:lumMod val="20000"/>
                <a:lumOff val="80000"/>
              </a:srgbClr>
            </a:solidFill>
            <a:ln w="6350">
              <a:noFill/>
              <a:round/>
              <a:headEnd/>
              <a:tailEnd/>
            </a:ln>
            <a:effectLst/>
          </p:spPr>
          <p:txBody>
            <a:bodyPr lIns="72000" tIns="72000" rIns="72000" bIns="7200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000000"/>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6DACF515-A758-4B4D-A039-99EAD72CDDE9}"/>
                </a:ext>
              </a:extLst>
            </p:cNvPr>
            <p:cNvSpPr/>
            <p:nvPr/>
          </p:nvSpPr>
          <p:spPr bwMode="auto">
            <a:xfrm>
              <a:off x="6530247" y="4358402"/>
              <a:ext cx="1766027" cy="825867"/>
            </a:xfrm>
            <a:prstGeom prst="rect">
              <a:avLst/>
            </a:prstGeom>
          </p:spPr>
          <p:txBody>
            <a:bodyPr wrap="square">
              <a:spAutoFit/>
            </a:bodyPr>
            <a:lstStyle/>
            <a:p>
              <a:pPr marL="0" marR="0" lvl="0" indent="0" algn="ctr" defTabSz="914400" rtl="0" eaLnBrk="0" fontAlgn="auto" latinLnBrk="0" hangingPunct="0">
                <a:lnSpc>
                  <a:spcPct val="100000"/>
                </a:lnSpc>
                <a:spcBef>
                  <a:spcPts val="100"/>
                </a:spcBef>
                <a:spcAft>
                  <a:spcPts val="10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Environmental</a:t>
              </a:r>
              <a:br>
                <a:rPr kumimoji="0" lang="en-US" sz="1200" b="1" i="0" u="none" strike="noStrike" kern="0" cap="none" spc="0" normalizeH="0" baseline="0" noProof="0" dirty="0">
                  <a:ln>
                    <a:noFill/>
                  </a:ln>
                  <a:solidFill>
                    <a:srgbClr val="000000"/>
                  </a:solidFill>
                  <a:effectLst/>
                  <a:uLnTx/>
                  <a:uFillTx/>
                  <a:latin typeface="+mj-lt"/>
                  <a:ea typeface="+mn-ea"/>
                  <a:cs typeface="+mn-cs"/>
                </a:rPr>
              </a:br>
              <a:r>
                <a:rPr kumimoji="0" lang="en-US" sz="1200" b="1" i="0" u="none" strike="noStrike" kern="0" cap="none" spc="0" normalizeH="0" baseline="0" noProof="0" dirty="0">
                  <a:ln>
                    <a:noFill/>
                  </a:ln>
                  <a:solidFill>
                    <a:srgbClr val="000000"/>
                  </a:solidFill>
                  <a:effectLst/>
                  <a:uLnTx/>
                  <a:uFillTx/>
                  <a:latin typeface="+mj-lt"/>
                  <a:ea typeface="+mn-ea"/>
                  <a:cs typeface="+mn-cs"/>
                </a:rPr>
                <a:t>protection</a:t>
              </a:r>
            </a:p>
            <a:p>
              <a:pPr marL="108000" marR="0" lvl="0" indent="-108000" algn="ctr" defTabSz="914400" rtl="0" eaLnBrk="0" fontAlgn="auto" latinLnBrk="0" hangingPunct="0">
                <a:lnSpc>
                  <a:spcPct val="100000"/>
                </a:lnSpc>
                <a:spcBef>
                  <a:spcPts val="100"/>
                </a:spcBef>
                <a:spcAft>
                  <a:spcPts val="100"/>
                </a:spcAft>
                <a:buClrTx/>
                <a:buSzTx/>
                <a:buFont typeface="Arial" pitchFamily="34" charset="0"/>
                <a:buChar char="•"/>
                <a:tabLst/>
                <a:defRPr/>
              </a:pPr>
              <a:r>
                <a:rPr kumimoji="0" lang="da-DK" sz="1100" b="0" i="0" u="none" strike="noStrike" kern="0" cap="none" spc="0" normalizeH="0" baseline="0" noProof="0" dirty="0">
                  <a:ln>
                    <a:noFill/>
                  </a:ln>
                  <a:solidFill>
                    <a:srgbClr val="000000"/>
                  </a:solidFill>
                  <a:effectLst/>
                  <a:uLnTx/>
                  <a:uFillTx/>
                  <a:ea typeface="+mn-ea"/>
                  <a:cs typeface="+mn-cs"/>
                </a:rPr>
                <a:t>Clean and healthy environment</a:t>
              </a:r>
            </a:p>
          </p:txBody>
        </p:sp>
        <p:sp>
          <p:nvSpPr>
            <p:cNvPr id="31" name="Oval 5">
              <a:extLst>
                <a:ext uri="{FF2B5EF4-FFF2-40B4-BE49-F238E27FC236}">
                  <a16:creationId xmlns:a16="http://schemas.microsoft.com/office/drawing/2014/main" id="{6BDF2B7C-2FCB-4B89-80D0-ED5AC8DE9C36}"/>
                </a:ext>
              </a:extLst>
            </p:cNvPr>
            <p:cNvSpPr>
              <a:spLocks noChangeArrowheads="1"/>
            </p:cNvSpPr>
            <p:nvPr/>
          </p:nvSpPr>
          <p:spPr bwMode="auto">
            <a:xfrm>
              <a:off x="3580871" y="3108736"/>
              <a:ext cx="2871788" cy="2935287"/>
            </a:xfrm>
            <a:prstGeom prst="ellipse">
              <a:avLst/>
            </a:prstGeom>
            <a:solidFill>
              <a:srgbClr val="A055F5">
                <a:lumMod val="20000"/>
                <a:lumOff val="80000"/>
              </a:srgbClr>
            </a:solidFill>
            <a:ln w="6350">
              <a:noFill/>
              <a:round/>
              <a:headEnd/>
              <a:tailEnd/>
            </a:ln>
            <a:effectLst/>
          </p:spPr>
          <p:txBody>
            <a:bodyPr lIns="72000" tIns="72000" rIns="72000" bIns="72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000000"/>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77616AFD-FF26-46AF-9CD9-E38A2485E9F6}"/>
                </a:ext>
              </a:extLst>
            </p:cNvPr>
            <p:cNvSpPr/>
            <p:nvPr/>
          </p:nvSpPr>
          <p:spPr bwMode="auto">
            <a:xfrm>
              <a:off x="3818729" y="4358402"/>
              <a:ext cx="1630362" cy="1066959"/>
            </a:xfrm>
            <a:prstGeom prst="rect">
              <a:avLst/>
            </a:prstGeom>
          </p:spPr>
          <p:txBody>
            <a:bodyPr wrap="square">
              <a:spAutoFit/>
            </a:bodyPr>
            <a:lstStyle/>
            <a:p>
              <a:pPr marL="0" marR="0" lvl="0" indent="0" algn="ctr" defTabSz="914400" rtl="0" eaLnBrk="0" fontAlgn="auto" latinLnBrk="0" hangingPunct="0">
                <a:lnSpc>
                  <a:spcPct val="100000"/>
                </a:lnSpc>
                <a:spcBef>
                  <a:spcPts val="100"/>
                </a:spcBef>
                <a:spcAft>
                  <a:spcPts val="10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mj-lt"/>
                  <a:ea typeface="+mn-ea"/>
                  <a:cs typeface="+mn-cs"/>
                </a:rPr>
                <a:t>Social responsibility</a:t>
              </a:r>
            </a:p>
            <a:p>
              <a:pPr marL="108000" marR="0" lvl="0" indent="-108000" algn="ctr" defTabSz="914400" rtl="0" eaLnBrk="0" fontAlgn="auto" latinLnBrk="0" hangingPunct="0">
                <a:lnSpc>
                  <a:spcPct val="100000"/>
                </a:lnSpc>
                <a:spcBef>
                  <a:spcPts val="100"/>
                </a:spcBef>
                <a:spcAft>
                  <a:spcPts val="100"/>
                </a:spcAft>
                <a:buClrTx/>
                <a:buSzTx/>
                <a:buFont typeface="Arial" pitchFamily="34" charset="0"/>
                <a:buChar char="•"/>
                <a:tabLst/>
                <a:defRPr/>
              </a:pPr>
              <a:r>
                <a:rPr kumimoji="0" lang="da-DK" sz="1100" b="0" i="0" u="none" strike="noStrike" kern="0" cap="none" spc="0" normalizeH="0" baseline="0" noProof="0" dirty="0">
                  <a:ln>
                    <a:noFill/>
                  </a:ln>
                  <a:solidFill>
                    <a:srgbClr val="000000"/>
                  </a:solidFill>
                  <a:effectLst/>
                  <a:uLnTx/>
                  <a:uFillTx/>
                  <a:ea typeface="+mn-ea"/>
                  <a:cs typeface="+mn-cs"/>
                </a:rPr>
                <a:t>Conscientious citizenship</a:t>
              </a:r>
            </a:p>
            <a:p>
              <a:pPr marL="0" marR="0" lvl="0" indent="0" algn="ctr" defTabSz="914400" rtl="0" eaLnBrk="0" fontAlgn="auto" latinLnBrk="0" hangingPunct="0">
                <a:lnSpc>
                  <a:spcPct val="100000"/>
                </a:lnSpc>
                <a:spcBef>
                  <a:spcPts val="100"/>
                </a:spcBef>
                <a:spcAft>
                  <a:spcPts val="100"/>
                </a:spcAft>
                <a:buClrTx/>
                <a:buSzTx/>
                <a:buFontTx/>
                <a:buNone/>
                <a:tabLst/>
                <a:defRPr/>
              </a:pPr>
              <a:endParaRPr kumimoji="0" lang="en-US" sz="1400" b="1" i="0" u="none" strike="noStrike" kern="0" cap="none" spc="0" normalizeH="0" baseline="0" noProof="0" dirty="0">
                <a:ln>
                  <a:noFill/>
                </a:ln>
                <a:solidFill>
                  <a:srgbClr val="000000"/>
                </a:solidFill>
                <a:effectLst/>
                <a:uLnTx/>
                <a:uFillTx/>
                <a:latin typeface="Arial"/>
                <a:ea typeface="+mn-ea"/>
                <a:cs typeface="+mn-cs"/>
              </a:endParaRPr>
            </a:p>
          </p:txBody>
        </p:sp>
        <p:sp>
          <p:nvSpPr>
            <p:cNvPr id="33" name="Freeform 7">
              <a:extLst>
                <a:ext uri="{FF2B5EF4-FFF2-40B4-BE49-F238E27FC236}">
                  <a16:creationId xmlns:a16="http://schemas.microsoft.com/office/drawing/2014/main" id="{52534089-21EA-4800-BACE-E61DA2973817}"/>
                </a:ext>
              </a:extLst>
            </p:cNvPr>
            <p:cNvSpPr>
              <a:spLocks/>
            </p:cNvSpPr>
            <p:nvPr/>
          </p:nvSpPr>
          <p:spPr bwMode="auto">
            <a:xfrm>
              <a:off x="4582584" y="3105561"/>
              <a:ext cx="1855787" cy="1314450"/>
            </a:xfrm>
            <a:custGeom>
              <a:avLst/>
              <a:gdLst/>
              <a:ahLst/>
              <a:cxnLst>
                <a:cxn ang="0">
                  <a:pos x="1146" y="783"/>
                </a:cxn>
                <a:cxn ang="0">
                  <a:pos x="1079" y="801"/>
                </a:cxn>
                <a:cxn ang="0">
                  <a:pos x="1009" y="812"/>
                </a:cxn>
                <a:cxn ang="0">
                  <a:pos x="938" y="816"/>
                </a:cxn>
                <a:cxn ang="0">
                  <a:pos x="860" y="816"/>
                </a:cxn>
                <a:cxn ang="0">
                  <a:pos x="775" y="808"/>
                </a:cxn>
                <a:cxn ang="0">
                  <a:pos x="695" y="793"/>
                </a:cxn>
                <a:cxn ang="0">
                  <a:pos x="616" y="772"/>
                </a:cxn>
                <a:cxn ang="0">
                  <a:pos x="541" y="743"/>
                </a:cxn>
                <a:cxn ang="0">
                  <a:pos x="468" y="708"/>
                </a:cxn>
                <a:cxn ang="0">
                  <a:pos x="399" y="666"/>
                </a:cxn>
                <a:cxn ang="0">
                  <a:pos x="336" y="620"/>
                </a:cxn>
                <a:cxn ang="0">
                  <a:pos x="274" y="568"/>
                </a:cxn>
                <a:cxn ang="0">
                  <a:pos x="221" y="511"/>
                </a:cxn>
                <a:cxn ang="0">
                  <a:pos x="169" y="449"/>
                </a:cxn>
                <a:cxn ang="0">
                  <a:pos x="125" y="384"/>
                </a:cxn>
                <a:cxn ang="0">
                  <a:pos x="86" y="313"/>
                </a:cxn>
                <a:cxn ang="0">
                  <a:pos x="52" y="240"/>
                </a:cxn>
                <a:cxn ang="0">
                  <a:pos x="27" y="163"/>
                </a:cxn>
                <a:cxn ang="0">
                  <a:pos x="6" y="85"/>
                </a:cxn>
                <a:cxn ang="0">
                  <a:pos x="33" y="35"/>
                </a:cxn>
                <a:cxn ang="0">
                  <a:pos x="100" y="17"/>
                </a:cxn>
                <a:cxn ang="0">
                  <a:pos x="171" y="6"/>
                </a:cxn>
                <a:cxn ang="0">
                  <a:pos x="242" y="2"/>
                </a:cxn>
                <a:cxn ang="0">
                  <a:pos x="320" y="2"/>
                </a:cxn>
                <a:cxn ang="0">
                  <a:pos x="403" y="10"/>
                </a:cxn>
                <a:cxn ang="0">
                  <a:pos x="484" y="25"/>
                </a:cxn>
                <a:cxn ang="0">
                  <a:pos x="562" y="46"/>
                </a:cxn>
                <a:cxn ang="0">
                  <a:pos x="637" y="75"/>
                </a:cxn>
                <a:cxn ang="0">
                  <a:pos x="710" y="110"/>
                </a:cxn>
                <a:cxn ang="0">
                  <a:pos x="779" y="152"/>
                </a:cxn>
                <a:cxn ang="0">
                  <a:pos x="842" y="198"/>
                </a:cxn>
                <a:cxn ang="0">
                  <a:pos x="902" y="250"/>
                </a:cxn>
                <a:cxn ang="0">
                  <a:pos x="958" y="307"/>
                </a:cxn>
                <a:cxn ang="0">
                  <a:pos x="1008" y="369"/>
                </a:cxn>
                <a:cxn ang="0">
                  <a:pos x="1054" y="434"/>
                </a:cxn>
                <a:cxn ang="0">
                  <a:pos x="1092" y="505"/>
                </a:cxn>
                <a:cxn ang="0">
                  <a:pos x="1125" y="578"/>
                </a:cxn>
                <a:cxn ang="0">
                  <a:pos x="1151" y="655"/>
                </a:cxn>
                <a:cxn ang="0">
                  <a:pos x="1171" y="733"/>
                </a:cxn>
              </a:cxnLst>
              <a:rect l="0" t="0" r="r" b="b"/>
              <a:pathLst>
                <a:path w="1178" h="818">
                  <a:moveTo>
                    <a:pt x="1178" y="774"/>
                  </a:moveTo>
                  <a:lnTo>
                    <a:pt x="1146" y="783"/>
                  </a:lnTo>
                  <a:lnTo>
                    <a:pt x="1113" y="793"/>
                  </a:lnTo>
                  <a:lnTo>
                    <a:pt x="1079" y="801"/>
                  </a:lnTo>
                  <a:lnTo>
                    <a:pt x="1044" y="806"/>
                  </a:lnTo>
                  <a:lnTo>
                    <a:pt x="1009" y="812"/>
                  </a:lnTo>
                  <a:lnTo>
                    <a:pt x="973" y="814"/>
                  </a:lnTo>
                  <a:lnTo>
                    <a:pt x="938" y="816"/>
                  </a:lnTo>
                  <a:lnTo>
                    <a:pt x="902" y="818"/>
                  </a:lnTo>
                  <a:lnTo>
                    <a:pt x="860" y="816"/>
                  </a:lnTo>
                  <a:lnTo>
                    <a:pt x="818" y="814"/>
                  </a:lnTo>
                  <a:lnTo>
                    <a:pt x="775" y="808"/>
                  </a:lnTo>
                  <a:lnTo>
                    <a:pt x="735" y="802"/>
                  </a:lnTo>
                  <a:lnTo>
                    <a:pt x="695" y="793"/>
                  </a:lnTo>
                  <a:lnTo>
                    <a:pt x="654" y="783"/>
                  </a:lnTo>
                  <a:lnTo>
                    <a:pt x="616" y="772"/>
                  </a:lnTo>
                  <a:lnTo>
                    <a:pt x="578" y="758"/>
                  </a:lnTo>
                  <a:lnTo>
                    <a:pt x="541" y="743"/>
                  </a:lnTo>
                  <a:lnTo>
                    <a:pt x="505" y="726"/>
                  </a:lnTo>
                  <a:lnTo>
                    <a:pt x="468" y="708"/>
                  </a:lnTo>
                  <a:lnTo>
                    <a:pt x="434" y="687"/>
                  </a:lnTo>
                  <a:lnTo>
                    <a:pt x="399" y="666"/>
                  </a:lnTo>
                  <a:lnTo>
                    <a:pt x="366" y="643"/>
                  </a:lnTo>
                  <a:lnTo>
                    <a:pt x="336" y="620"/>
                  </a:lnTo>
                  <a:lnTo>
                    <a:pt x="305" y="595"/>
                  </a:lnTo>
                  <a:lnTo>
                    <a:pt x="274" y="568"/>
                  </a:lnTo>
                  <a:lnTo>
                    <a:pt x="247" y="540"/>
                  </a:lnTo>
                  <a:lnTo>
                    <a:pt x="221" y="511"/>
                  </a:lnTo>
                  <a:lnTo>
                    <a:pt x="194" y="480"/>
                  </a:lnTo>
                  <a:lnTo>
                    <a:pt x="169" y="449"/>
                  </a:lnTo>
                  <a:lnTo>
                    <a:pt x="146" y="417"/>
                  </a:lnTo>
                  <a:lnTo>
                    <a:pt x="125" y="384"/>
                  </a:lnTo>
                  <a:lnTo>
                    <a:pt x="104" y="350"/>
                  </a:lnTo>
                  <a:lnTo>
                    <a:pt x="86" y="313"/>
                  </a:lnTo>
                  <a:lnTo>
                    <a:pt x="69" y="278"/>
                  </a:lnTo>
                  <a:lnTo>
                    <a:pt x="52" y="240"/>
                  </a:lnTo>
                  <a:lnTo>
                    <a:pt x="38" y="204"/>
                  </a:lnTo>
                  <a:lnTo>
                    <a:pt x="27" y="163"/>
                  </a:lnTo>
                  <a:lnTo>
                    <a:pt x="15" y="125"/>
                  </a:lnTo>
                  <a:lnTo>
                    <a:pt x="6" y="85"/>
                  </a:lnTo>
                  <a:lnTo>
                    <a:pt x="0" y="44"/>
                  </a:lnTo>
                  <a:lnTo>
                    <a:pt x="33" y="35"/>
                  </a:lnTo>
                  <a:lnTo>
                    <a:pt x="65" y="25"/>
                  </a:lnTo>
                  <a:lnTo>
                    <a:pt x="100" y="17"/>
                  </a:lnTo>
                  <a:lnTo>
                    <a:pt x="134" y="12"/>
                  </a:lnTo>
                  <a:lnTo>
                    <a:pt x="171" y="6"/>
                  </a:lnTo>
                  <a:lnTo>
                    <a:pt x="205" y="4"/>
                  </a:lnTo>
                  <a:lnTo>
                    <a:pt x="242" y="2"/>
                  </a:lnTo>
                  <a:lnTo>
                    <a:pt x="278" y="0"/>
                  </a:lnTo>
                  <a:lnTo>
                    <a:pt x="320" y="2"/>
                  </a:lnTo>
                  <a:lnTo>
                    <a:pt x="363" y="4"/>
                  </a:lnTo>
                  <a:lnTo>
                    <a:pt x="403" y="10"/>
                  </a:lnTo>
                  <a:lnTo>
                    <a:pt x="443" y="16"/>
                  </a:lnTo>
                  <a:lnTo>
                    <a:pt x="484" y="25"/>
                  </a:lnTo>
                  <a:lnTo>
                    <a:pt x="524" y="35"/>
                  </a:lnTo>
                  <a:lnTo>
                    <a:pt x="562" y="46"/>
                  </a:lnTo>
                  <a:lnTo>
                    <a:pt x="601" y="60"/>
                  </a:lnTo>
                  <a:lnTo>
                    <a:pt x="637" y="75"/>
                  </a:lnTo>
                  <a:lnTo>
                    <a:pt x="674" y="92"/>
                  </a:lnTo>
                  <a:lnTo>
                    <a:pt x="710" y="110"/>
                  </a:lnTo>
                  <a:lnTo>
                    <a:pt x="745" y="131"/>
                  </a:lnTo>
                  <a:lnTo>
                    <a:pt x="779" y="152"/>
                  </a:lnTo>
                  <a:lnTo>
                    <a:pt x="812" y="175"/>
                  </a:lnTo>
                  <a:lnTo>
                    <a:pt x="842" y="198"/>
                  </a:lnTo>
                  <a:lnTo>
                    <a:pt x="873" y="223"/>
                  </a:lnTo>
                  <a:lnTo>
                    <a:pt x="902" y="250"/>
                  </a:lnTo>
                  <a:lnTo>
                    <a:pt x="931" y="278"/>
                  </a:lnTo>
                  <a:lnTo>
                    <a:pt x="958" y="307"/>
                  </a:lnTo>
                  <a:lnTo>
                    <a:pt x="984" y="338"/>
                  </a:lnTo>
                  <a:lnTo>
                    <a:pt x="1008" y="369"/>
                  </a:lnTo>
                  <a:lnTo>
                    <a:pt x="1032" y="401"/>
                  </a:lnTo>
                  <a:lnTo>
                    <a:pt x="1054" y="434"/>
                  </a:lnTo>
                  <a:lnTo>
                    <a:pt x="1073" y="468"/>
                  </a:lnTo>
                  <a:lnTo>
                    <a:pt x="1092" y="505"/>
                  </a:lnTo>
                  <a:lnTo>
                    <a:pt x="1109" y="540"/>
                  </a:lnTo>
                  <a:lnTo>
                    <a:pt x="1125" y="578"/>
                  </a:lnTo>
                  <a:lnTo>
                    <a:pt x="1140" y="616"/>
                  </a:lnTo>
                  <a:lnTo>
                    <a:pt x="1151" y="655"/>
                  </a:lnTo>
                  <a:lnTo>
                    <a:pt x="1163" y="693"/>
                  </a:lnTo>
                  <a:lnTo>
                    <a:pt x="1171" y="733"/>
                  </a:lnTo>
                  <a:lnTo>
                    <a:pt x="1178" y="774"/>
                  </a:lnTo>
                  <a:close/>
                </a:path>
              </a:pathLst>
            </a:custGeom>
            <a:solidFill>
              <a:srgbClr val="A100FF"/>
            </a:solidFill>
            <a:ln w="6350" cmpd="sng">
              <a:noFill/>
              <a:round/>
              <a:headEnd/>
              <a:tailEnd/>
            </a:ln>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9" name="Rectangle 16">
              <a:extLst>
                <a:ext uri="{FF2B5EF4-FFF2-40B4-BE49-F238E27FC236}">
                  <a16:creationId xmlns:a16="http://schemas.microsoft.com/office/drawing/2014/main" id="{4791BA58-2CB6-4F50-B142-F51A588B4F4C}"/>
                </a:ext>
              </a:extLst>
            </p:cNvPr>
            <p:cNvSpPr>
              <a:spLocks noChangeArrowheads="1"/>
            </p:cNvSpPr>
            <p:nvPr/>
          </p:nvSpPr>
          <p:spPr bwMode="auto">
            <a:xfrm>
              <a:off x="5115984" y="3492117"/>
              <a:ext cx="409575" cy="273050"/>
            </a:xfrm>
            <a:prstGeom prst="rect">
              <a:avLst/>
            </a:prstGeom>
            <a:no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0" cap="none" spc="0" normalizeH="0" baseline="0" noProof="0" dirty="0">
                  <a:ln>
                    <a:noFill/>
                  </a:ln>
                  <a:solidFill>
                    <a:srgbClr val="FFFFFF"/>
                  </a:solidFill>
                  <a:effectLst/>
                  <a:uLnTx/>
                  <a:uFillTx/>
                  <a:ea typeface="+mn-ea"/>
                  <a:cs typeface="+mn-cs"/>
                </a:rPr>
                <a:t>Safe and</a:t>
              </a:r>
              <a:br>
                <a:rPr kumimoji="0" lang="da-DK" sz="1200" b="0" i="0" u="none" strike="noStrike" kern="0" cap="none" spc="0" normalizeH="0" baseline="0" noProof="0" dirty="0">
                  <a:ln>
                    <a:noFill/>
                  </a:ln>
                  <a:solidFill>
                    <a:srgbClr val="FFFFFF"/>
                  </a:solidFill>
                  <a:effectLst/>
                  <a:uLnTx/>
                  <a:uFillTx/>
                  <a:ea typeface="+mn-ea"/>
                  <a:cs typeface="+mn-cs"/>
                </a:rPr>
              </a:br>
              <a:r>
                <a:rPr kumimoji="0" lang="da-DK" sz="1200" b="0" i="0" u="none" strike="noStrike" kern="0" cap="none" spc="0" normalizeH="0" baseline="0" noProof="0" dirty="0">
                  <a:ln>
                    <a:noFill/>
                  </a:ln>
                  <a:solidFill>
                    <a:srgbClr val="FFFFFF"/>
                  </a:solidFill>
                  <a:effectLst/>
                  <a:uLnTx/>
                  <a:uFillTx/>
                  <a:ea typeface="+mn-ea"/>
                  <a:cs typeface="+mn-cs"/>
                </a:rPr>
                <a:t>effective</a:t>
              </a:r>
              <a:br>
                <a:rPr kumimoji="0" lang="da-DK" sz="1200" b="0" i="0" u="none" strike="noStrike" kern="0" cap="none" spc="0" normalizeH="0" baseline="0" noProof="0" dirty="0">
                  <a:ln>
                    <a:noFill/>
                  </a:ln>
                  <a:solidFill>
                    <a:srgbClr val="FFFFFF"/>
                  </a:solidFill>
                  <a:effectLst/>
                  <a:uLnTx/>
                  <a:uFillTx/>
                  <a:ea typeface="+mn-ea"/>
                  <a:cs typeface="+mn-cs"/>
                </a:rPr>
              </a:br>
              <a:r>
                <a:rPr kumimoji="0" lang="da-DK" sz="1200" b="0" i="0" u="none" strike="noStrike" kern="0" cap="none" spc="0" normalizeH="0" baseline="0" noProof="0" dirty="0">
                  <a:ln>
                    <a:noFill/>
                  </a:ln>
                  <a:solidFill>
                    <a:srgbClr val="FFFFFF"/>
                  </a:solidFill>
                  <a:effectLst/>
                  <a:uLnTx/>
                  <a:uFillTx/>
                  <a:ea typeface="+mn-ea"/>
                  <a:cs typeface="+mn-cs"/>
                </a:rPr>
                <a:t>products</a:t>
              </a:r>
            </a:p>
          </p:txBody>
        </p:sp>
        <p:sp>
          <p:nvSpPr>
            <p:cNvPr id="34" name="Freeform 8">
              <a:extLst>
                <a:ext uri="{FF2B5EF4-FFF2-40B4-BE49-F238E27FC236}">
                  <a16:creationId xmlns:a16="http://schemas.microsoft.com/office/drawing/2014/main" id="{7555C9E8-FE22-4F45-88E3-70696A0575E8}"/>
                </a:ext>
              </a:extLst>
            </p:cNvPr>
            <p:cNvSpPr>
              <a:spLocks/>
            </p:cNvSpPr>
            <p:nvPr/>
          </p:nvSpPr>
          <p:spPr bwMode="auto">
            <a:xfrm>
              <a:off x="5558896" y="3096036"/>
              <a:ext cx="1873250" cy="1331912"/>
            </a:xfrm>
            <a:custGeom>
              <a:avLst/>
              <a:gdLst/>
              <a:ahLst/>
              <a:cxnLst>
                <a:cxn ang="0">
                  <a:pos x="7" y="733"/>
                </a:cxn>
                <a:cxn ang="0">
                  <a:pos x="27" y="655"/>
                </a:cxn>
                <a:cxn ang="0">
                  <a:pos x="53" y="578"/>
                </a:cxn>
                <a:cxn ang="0">
                  <a:pos x="86" y="505"/>
                </a:cxn>
                <a:cxn ang="0">
                  <a:pos x="124" y="434"/>
                </a:cxn>
                <a:cxn ang="0">
                  <a:pos x="170" y="369"/>
                </a:cxn>
                <a:cxn ang="0">
                  <a:pos x="220" y="307"/>
                </a:cxn>
                <a:cxn ang="0">
                  <a:pos x="276" y="250"/>
                </a:cxn>
                <a:cxn ang="0">
                  <a:pos x="336" y="198"/>
                </a:cxn>
                <a:cxn ang="0">
                  <a:pos x="399" y="152"/>
                </a:cxn>
                <a:cxn ang="0">
                  <a:pos x="468" y="110"/>
                </a:cxn>
                <a:cxn ang="0">
                  <a:pos x="541" y="75"/>
                </a:cxn>
                <a:cxn ang="0">
                  <a:pos x="616" y="46"/>
                </a:cxn>
                <a:cxn ang="0">
                  <a:pos x="694" y="25"/>
                </a:cxn>
                <a:cxn ang="0">
                  <a:pos x="775" y="10"/>
                </a:cxn>
                <a:cxn ang="0">
                  <a:pos x="860" y="2"/>
                </a:cxn>
                <a:cxn ang="0">
                  <a:pos x="938" y="2"/>
                </a:cxn>
                <a:cxn ang="0">
                  <a:pos x="1009" y="6"/>
                </a:cxn>
                <a:cxn ang="0">
                  <a:pos x="1078" y="17"/>
                </a:cxn>
                <a:cxn ang="0">
                  <a:pos x="1145" y="35"/>
                </a:cxn>
                <a:cxn ang="0">
                  <a:pos x="1172" y="85"/>
                </a:cxn>
                <a:cxn ang="0">
                  <a:pos x="1151" y="163"/>
                </a:cxn>
                <a:cxn ang="0">
                  <a:pos x="1126" y="240"/>
                </a:cxn>
                <a:cxn ang="0">
                  <a:pos x="1092" y="313"/>
                </a:cxn>
                <a:cxn ang="0">
                  <a:pos x="1053" y="384"/>
                </a:cxn>
                <a:cxn ang="0">
                  <a:pos x="1009" y="449"/>
                </a:cxn>
                <a:cxn ang="0">
                  <a:pos x="959" y="511"/>
                </a:cxn>
                <a:cxn ang="0">
                  <a:pos x="904" y="568"/>
                </a:cxn>
                <a:cxn ang="0">
                  <a:pos x="842" y="620"/>
                </a:cxn>
                <a:cxn ang="0">
                  <a:pos x="779" y="666"/>
                </a:cxn>
                <a:cxn ang="0">
                  <a:pos x="710" y="708"/>
                </a:cxn>
                <a:cxn ang="0">
                  <a:pos x="639" y="743"/>
                </a:cxn>
                <a:cxn ang="0">
                  <a:pos x="562" y="772"/>
                </a:cxn>
                <a:cxn ang="0">
                  <a:pos x="485" y="793"/>
                </a:cxn>
                <a:cxn ang="0">
                  <a:pos x="403" y="808"/>
                </a:cxn>
                <a:cxn ang="0">
                  <a:pos x="320" y="816"/>
                </a:cxn>
                <a:cxn ang="0">
                  <a:pos x="241" y="816"/>
                </a:cxn>
                <a:cxn ang="0">
                  <a:pos x="170" y="812"/>
                </a:cxn>
                <a:cxn ang="0">
                  <a:pos x="99" y="801"/>
                </a:cxn>
                <a:cxn ang="0">
                  <a:pos x="32" y="783"/>
                </a:cxn>
              </a:cxnLst>
              <a:rect l="0" t="0" r="r" b="b"/>
              <a:pathLst>
                <a:path w="1178" h="818">
                  <a:moveTo>
                    <a:pt x="0" y="774"/>
                  </a:moveTo>
                  <a:lnTo>
                    <a:pt x="7" y="733"/>
                  </a:lnTo>
                  <a:lnTo>
                    <a:pt x="15" y="693"/>
                  </a:lnTo>
                  <a:lnTo>
                    <a:pt x="27" y="655"/>
                  </a:lnTo>
                  <a:lnTo>
                    <a:pt x="38" y="614"/>
                  </a:lnTo>
                  <a:lnTo>
                    <a:pt x="53" y="578"/>
                  </a:lnTo>
                  <a:lnTo>
                    <a:pt x="69" y="540"/>
                  </a:lnTo>
                  <a:lnTo>
                    <a:pt x="86" y="505"/>
                  </a:lnTo>
                  <a:lnTo>
                    <a:pt x="105" y="468"/>
                  </a:lnTo>
                  <a:lnTo>
                    <a:pt x="124" y="434"/>
                  </a:lnTo>
                  <a:lnTo>
                    <a:pt x="147" y="401"/>
                  </a:lnTo>
                  <a:lnTo>
                    <a:pt x="170" y="369"/>
                  </a:lnTo>
                  <a:lnTo>
                    <a:pt x="194" y="338"/>
                  </a:lnTo>
                  <a:lnTo>
                    <a:pt x="220" y="307"/>
                  </a:lnTo>
                  <a:lnTo>
                    <a:pt x="247" y="278"/>
                  </a:lnTo>
                  <a:lnTo>
                    <a:pt x="276" y="250"/>
                  </a:lnTo>
                  <a:lnTo>
                    <a:pt x="305" y="223"/>
                  </a:lnTo>
                  <a:lnTo>
                    <a:pt x="336" y="198"/>
                  </a:lnTo>
                  <a:lnTo>
                    <a:pt x="366" y="175"/>
                  </a:lnTo>
                  <a:lnTo>
                    <a:pt x="399" y="152"/>
                  </a:lnTo>
                  <a:lnTo>
                    <a:pt x="433" y="131"/>
                  </a:lnTo>
                  <a:lnTo>
                    <a:pt x="468" y="110"/>
                  </a:lnTo>
                  <a:lnTo>
                    <a:pt x="504" y="92"/>
                  </a:lnTo>
                  <a:lnTo>
                    <a:pt x="541" y="75"/>
                  </a:lnTo>
                  <a:lnTo>
                    <a:pt x="577" y="60"/>
                  </a:lnTo>
                  <a:lnTo>
                    <a:pt x="616" y="46"/>
                  </a:lnTo>
                  <a:lnTo>
                    <a:pt x="654" y="35"/>
                  </a:lnTo>
                  <a:lnTo>
                    <a:pt x="694" y="25"/>
                  </a:lnTo>
                  <a:lnTo>
                    <a:pt x="735" y="16"/>
                  </a:lnTo>
                  <a:lnTo>
                    <a:pt x="775" y="10"/>
                  </a:lnTo>
                  <a:lnTo>
                    <a:pt x="817" y="4"/>
                  </a:lnTo>
                  <a:lnTo>
                    <a:pt x="860" y="2"/>
                  </a:lnTo>
                  <a:lnTo>
                    <a:pt x="902" y="0"/>
                  </a:lnTo>
                  <a:lnTo>
                    <a:pt x="938" y="2"/>
                  </a:lnTo>
                  <a:lnTo>
                    <a:pt x="973" y="4"/>
                  </a:lnTo>
                  <a:lnTo>
                    <a:pt x="1009" y="6"/>
                  </a:lnTo>
                  <a:lnTo>
                    <a:pt x="1044" y="12"/>
                  </a:lnTo>
                  <a:lnTo>
                    <a:pt x="1078" y="17"/>
                  </a:lnTo>
                  <a:lnTo>
                    <a:pt x="1113" y="25"/>
                  </a:lnTo>
                  <a:lnTo>
                    <a:pt x="1145" y="35"/>
                  </a:lnTo>
                  <a:lnTo>
                    <a:pt x="1178" y="44"/>
                  </a:lnTo>
                  <a:lnTo>
                    <a:pt x="1172" y="85"/>
                  </a:lnTo>
                  <a:lnTo>
                    <a:pt x="1163" y="125"/>
                  </a:lnTo>
                  <a:lnTo>
                    <a:pt x="1151" y="163"/>
                  </a:lnTo>
                  <a:lnTo>
                    <a:pt x="1140" y="202"/>
                  </a:lnTo>
                  <a:lnTo>
                    <a:pt x="1126" y="240"/>
                  </a:lnTo>
                  <a:lnTo>
                    <a:pt x="1109" y="277"/>
                  </a:lnTo>
                  <a:lnTo>
                    <a:pt x="1092" y="313"/>
                  </a:lnTo>
                  <a:lnTo>
                    <a:pt x="1074" y="350"/>
                  </a:lnTo>
                  <a:lnTo>
                    <a:pt x="1053" y="384"/>
                  </a:lnTo>
                  <a:lnTo>
                    <a:pt x="1032" y="417"/>
                  </a:lnTo>
                  <a:lnTo>
                    <a:pt x="1009" y="449"/>
                  </a:lnTo>
                  <a:lnTo>
                    <a:pt x="984" y="480"/>
                  </a:lnTo>
                  <a:lnTo>
                    <a:pt x="959" y="511"/>
                  </a:lnTo>
                  <a:lnTo>
                    <a:pt x="931" y="540"/>
                  </a:lnTo>
                  <a:lnTo>
                    <a:pt x="904" y="568"/>
                  </a:lnTo>
                  <a:lnTo>
                    <a:pt x="873" y="595"/>
                  </a:lnTo>
                  <a:lnTo>
                    <a:pt x="842" y="620"/>
                  </a:lnTo>
                  <a:lnTo>
                    <a:pt x="812" y="643"/>
                  </a:lnTo>
                  <a:lnTo>
                    <a:pt x="779" y="666"/>
                  </a:lnTo>
                  <a:lnTo>
                    <a:pt x="744" y="687"/>
                  </a:lnTo>
                  <a:lnTo>
                    <a:pt x="710" y="708"/>
                  </a:lnTo>
                  <a:lnTo>
                    <a:pt x="675" y="726"/>
                  </a:lnTo>
                  <a:lnTo>
                    <a:pt x="639" y="743"/>
                  </a:lnTo>
                  <a:lnTo>
                    <a:pt x="600" y="758"/>
                  </a:lnTo>
                  <a:lnTo>
                    <a:pt x="562" y="772"/>
                  </a:lnTo>
                  <a:lnTo>
                    <a:pt x="524" y="783"/>
                  </a:lnTo>
                  <a:lnTo>
                    <a:pt x="485" y="793"/>
                  </a:lnTo>
                  <a:lnTo>
                    <a:pt x="445" y="802"/>
                  </a:lnTo>
                  <a:lnTo>
                    <a:pt x="403" y="808"/>
                  </a:lnTo>
                  <a:lnTo>
                    <a:pt x="362" y="814"/>
                  </a:lnTo>
                  <a:lnTo>
                    <a:pt x="320" y="816"/>
                  </a:lnTo>
                  <a:lnTo>
                    <a:pt x="278" y="818"/>
                  </a:lnTo>
                  <a:lnTo>
                    <a:pt x="241" y="816"/>
                  </a:lnTo>
                  <a:lnTo>
                    <a:pt x="205" y="814"/>
                  </a:lnTo>
                  <a:lnTo>
                    <a:pt x="170" y="812"/>
                  </a:lnTo>
                  <a:lnTo>
                    <a:pt x="134" y="806"/>
                  </a:lnTo>
                  <a:lnTo>
                    <a:pt x="99" y="801"/>
                  </a:lnTo>
                  <a:lnTo>
                    <a:pt x="67" y="793"/>
                  </a:lnTo>
                  <a:lnTo>
                    <a:pt x="32" y="783"/>
                  </a:lnTo>
                  <a:lnTo>
                    <a:pt x="0" y="774"/>
                  </a:lnTo>
                  <a:close/>
                </a:path>
              </a:pathLst>
            </a:custGeom>
            <a:solidFill>
              <a:srgbClr val="A100FF"/>
            </a:solidFill>
            <a:ln w="6350" cap="flat" cmpd="sng">
              <a:noFill/>
              <a:prstDash val="solid"/>
              <a:round/>
              <a:headEnd type="none" w="med" len="med"/>
              <a:tailEnd type="none" w="med" len="me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3" name="Rectangle 16">
              <a:extLst>
                <a:ext uri="{FF2B5EF4-FFF2-40B4-BE49-F238E27FC236}">
                  <a16:creationId xmlns:a16="http://schemas.microsoft.com/office/drawing/2014/main" id="{2D3170AF-2E5D-41C2-95FA-0EB066294576}"/>
                </a:ext>
              </a:extLst>
            </p:cNvPr>
            <p:cNvSpPr>
              <a:spLocks noChangeArrowheads="1"/>
            </p:cNvSpPr>
            <p:nvPr/>
          </p:nvSpPr>
          <p:spPr bwMode="auto">
            <a:xfrm>
              <a:off x="6546061" y="3492117"/>
              <a:ext cx="409575" cy="273050"/>
            </a:xfrm>
            <a:prstGeom prst="rect">
              <a:avLst/>
            </a:prstGeom>
            <a:no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0" cap="none" spc="0" normalizeH="0" baseline="0" noProof="0" dirty="0">
                  <a:ln>
                    <a:noFill/>
                  </a:ln>
                  <a:solidFill>
                    <a:srgbClr val="FFFFFF"/>
                  </a:solidFill>
                  <a:effectLst/>
                  <a:uLnTx/>
                  <a:uFillTx/>
                  <a:ea typeface="+mn-ea"/>
                  <a:cs typeface="+mn-cs"/>
                </a:rPr>
                <a:t>Eco-efficient</a:t>
              </a:r>
              <a:br>
                <a:rPr kumimoji="0" lang="da-DK" sz="1200" b="0" i="0" u="none" strike="noStrike" kern="0" cap="none" spc="0" normalizeH="0" baseline="0" noProof="0" dirty="0">
                  <a:ln>
                    <a:noFill/>
                  </a:ln>
                  <a:solidFill>
                    <a:srgbClr val="FFFFFF"/>
                  </a:solidFill>
                  <a:effectLst/>
                  <a:uLnTx/>
                  <a:uFillTx/>
                  <a:ea typeface="+mn-ea"/>
                  <a:cs typeface="+mn-cs"/>
                </a:rPr>
              </a:br>
              <a:r>
                <a:rPr kumimoji="0" lang="da-DK" sz="1200" b="0" i="0" u="none" strike="noStrike" kern="0" cap="none" spc="0" normalizeH="0" baseline="0" noProof="0" dirty="0">
                  <a:ln>
                    <a:noFill/>
                  </a:ln>
                  <a:solidFill>
                    <a:srgbClr val="FFFFFF"/>
                  </a:solidFill>
                  <a:effectLst/>
                  <a:uLnTx/>
                  <a:uFillTx/>
                  <a:ea typeface="+mn-ea"/>
                  <a:cs typeface="+mn-cs"/>
                </a:rPr>
                <a:t>operations</a:t>
              </a:r>
            </a:p>
          </p:txBody>
        </p:sp>
        <p:sp>
          <p:nvSpPr>
            <p:cNvPr id="35" name="Freeform 9">
              <a:extLst>
                <a:ext uri="{FF2B5EF4-FFF2-40B4-BE49-F238E27FC236}">
                  <a16:creationId xmlns:a16="http://schemas.microsoft.com/office/drawing/2014/main" id="{D1333B62-0EAC-42FB-876C-A7DC22A61F35}"/>
                </a:ext>
              </a:extLst>
            </p:cNvPr>
            <p:cNvSpPr>
              <a:spLocks/>
            </p:cNvSpPr>
            <p:nvPr/>
          </p:nvSpPr>
          <p:spPr bwMode="auto">
            <a:xfrm>
              <a:off x="5541434" y="3513548"/>
              <a:ext cx="917575" cy="2141538"/>
            </a:xfrm>
            <a:custGeom>
              <a:avLst/>
              <a:gdLst/>
              <a:ahLst/>
              <a:cxnLst>
                <a:cxn ang="0">
                  <a:pos x="576" y="714"/>
                </a:cxn>
                <a:cxn ang="0">
                  <a:pos x="566" y="810"/>
                </a:cxn>
                <a:cxn ang="0">
                  <a:pos x="547" y="902"/>
                </a:cxn>
                <a:cxn ang="0">
                  <a:pos x="518" y="990"/>
                </a:cxn>
                <a:cxn ang="0">
                  <a:pos x="480" y="1075"/>
                </a:cxn>
                <a:cxn ang="0">
                  <a:pos x="434" y="1155"/>
                </a:cxn>
                <a:cxn ang="0">
                  <a:pos x="382" y="1228"/>
                </a:cxn>
                <a:cxn ang="0">
                  <a:pos x="321" y="1297"/>
                </a:cxn>
                <a:cxn ang="0">
                  <a:pos x="257" y="1297"/>
                </a:cxn>
                <a:cxn ang="0">
                  <a:pos x="196" y="1228"/>
                </a:cxn>
                <a:cxn ang="0">
                  <a:pos x="144" y="1155"/>
                </a:cxn>
                <a:cxn ang="0">
                  <a:pos x="98" y="1075"/>
                </a:cxn>
                <a:cxn ang="0">
                  <a:pos x="60" y="990"/>
                </a:cxn>
                <a:cxn ang="0">
                  <a:pos x="31" y="902"/>
                </a:cxn>
                <a:cxn ang="0">
                  <a:pos x="12" y="810"/>
                </a:cxn>
                <a:cxn ang="0">
                  <a:pos x="2" y="714"/>
                </a:cxn>
                <a:cxn ang="0">
                  <a:pos x="2" y="616"/>
                </a:cxn>
                <a:cxn ang="0">
                  <a:pos x="12" y="522"/>
                </a:cxn>
                <a:cxn ang="0">
                  <a:pos x="31" y="430"/>
                </a:cxn>
                <a:cxn ang="0">
                  <a:pos x="60" y="339"/>
                </a:cxn>
                <a:cxn ang="0">
                  <a:pos x="98" y="255"/>
                </a:cxn>
                <a:cxn ang="0">
                  <a:pos x="144" y="176"/>
                </a:cxn>
                <a:cxn ang="0">
                  <a:pos x="196" y="102"/>
                </a:cxn>
                <a:cxn ang="0">
                  <a:pos x="257" y="32"/>
                </a:cxn>
                <a:cxn ang="0">
                  <a:pos x="321" y="32"/>
                </a:cxn>
                <a:cxn ang="0">
                  <a:pos x="382" y="102"/>
                </a:cxn>
                <a:cxn ang="0">
                  <a:pos x="434" y="176"/>
                </a:cxn>
                <a:cxn ang="0">
                  <a:pos x="480" y="255"/>
                </a:cxn>
                <a:cxn ang="0">
                  <a:pos x="518" y="339"/>
                </a:cxn>
                <a:cxn ang="0">
                  <a:pos x="547" y="430"/>
                </a:cxn>
                <a:cxn ang="0">
                  <a:pos x="566" y="522"/>
                </a:cxn>
                <a:cxn ang="0">
                  <a:pos x="576" y="616"/>
                </a:cxn>
              </a:cxnLst>
              <a:rect l="0" t="0" r="r" b="b"/>
              <a:pathLst>
                <a:path w="578" h="1330">
                  <a:moveTo>
                    <a:pt x="578" y="666"/>
                  </a:moveTo>
                  <a:lnTo>
                    <a:pt x="576" y="714"/>
                  </a:lnTo>
                  <a:lnTo>
                    <a:pt x="572" y="762"/>
                  </a:lnTo>
                  <a:lnTo>
                    <a:pt x="566" y="810"/>
                  </a:lnTo>
                  <a:lnTo>
                    <a:pt x="557" y="856"/>
                  </a:lnTo>
                  <a:lnTo>
                    <a:pt x="547" y="902"/>
                  </a:lnTo>
                  <a:lnTo>
                    <a:pt x="534" y="946"/>
                  </a:lnTo>
                  <a:lnTo>
                    <a:pt x="518" y="990"/>
                  </a:lnTo>
                  <a:lnTo>
                    <a:pt x="499" y="1032"/>
                  </a:lnTo>
                  <a:lnTo>
                    <a:pt x="480" y="1075"/>
                  </a:lnTo>
                  <a:lnTo>
                    <a:pt x="459" y="1115"/>
                  </a:lnTo>
                  <a:lnTo>
                    <a:pt x="434" y="1155"/>
                  </a:lnTo>
                  <a:lnTo>
                    <a:pt x="409" y="1192"/>
                  </a:lnTo>
                  <a:lnTo>
                    <a:pt x="382" y="1228"/>
                  </a:lnTo>
                  <a:lnTo>
                    <a:pt x="353" y="1265"/>
                  </a:lnTo>
                  <a:lnTo>
                    <a:pt x="321" y="1297"/>
                  </a:lnTo>
                  <a:lnTo>
                    <a:pt x="290" y="1330"/>
                  </a:lnTo>
                  <a:lnTo>
                    <a:pt x="257" y="1297"/>
                  </a:lnTo>
                  <a:lnTo>
                    <a:pt x="227" y="1265"/>
                  </a:lnTo>
                  <a:lnTo>
                    <a:pt x="196" y="1228"/>
                  </a:lnTo>
                  <a:lnTo>
                    <a:pt x="169" y="1192"/>
                  </a:lnTo>
                  <a:lnTo>
                    <a:pt x="144" y="1155"/>
                  </a:lnTo>
                  <a:lnTo>
                    <a:pt x="119" y="1115"/>
                  </a:lnTo>
                  <a:lnTo>
                    <a:pt x="98" y="1075"/>
                  </a:lnTo>
                  <a:lnTo>
                    <a:pt x="79" y="1032"/>
                  </a:lnTo>
                  <a:lnTo>
                    <a:pt x="60" y="990"/>
                  </a:lnTo>
                  <a:lnTo>
                    <a:pt x="44" y="946"/>
                  </a:lnTo>
                  <a:lnTo>
                    <a:pt x="31" y="902"/>
                  </a:lnTo>
                  <a:lnTo>
                    <a:pt x="21" y="856"/>
                  </a:lnTo>
                  <a:lnTo>
                    <a:pt x="12" y="810"/>
                  </a:lnTo>
                  <a:lnTo>
                    <a:pt x="6" y="762"/>
                  </a:lnTo>
                  <a:lnTo>
                    <a:pt x="2" y="714"/>
                  </a:lnTo>
                  <a:lnTo>
                    <a:pt x="0" y="666"/>
                  </a:lnTo>
                  <a:lnTo>
                    <a:pt x="2" y="616"/>
                  </a:lnTo>
                  <a:lnTo>
                    <a:pt x="6" y="568"/>
                  </a:lnTo>
                  <a:lnTo>
                    <a:pt x="12" y="522"/>
                  </a:lnTo>
                  <a:lnTo>
                    <a:pt x="21" y="474"/>
                  </a:lnTo>
                  <a:lnTo>
                    <a:pt x="31" y="430"/>
                  </a:lnTo>
                  <a:lnTo>
                    <a:pt x="44" y="384"/>
                  </a:lnTo>
                  <a:lnTo>
                    <a:pt x="60" y="339"/>
                  </a:lnTo>
                  <a:lnTo>
                    <a:pt x="79" y="297"/>
                  </a:lnTo>
                  <a:lnTo>
                    <a:pt x="98" y="255"/>
                  </a:lnTo>
                  <a:lnTo>
                    <a:pt x="119" y="215"/>
                  </a:lnTo>
                  <a:lnTo>
                    <a:pt x="144" y="176"/>
                  </a:lnTo>
                  <a:lnTo>
                    <a:pt x="169" y="138"/>
                  </a:lnTo>
                  <a:lnTo>
                    <a:pt x="196" y="102"/>
                  </a:lnTo>
                  <a:lnTo>
                    <a:pt x="227" y="67"/>
                  </a:lnTo>
                  <a:lnTo>
                    <a:pt x="257" y="32"/>
                  </a:lnTo>
                  <a:lnTo>
                    <a:pt x="290" y="0"/>
                  </a:lnTo>
                  <a:lnTo>
                    <a:pt x="321" y="32"/>
                  </a:lnTo>
                  <a:lnTo>
                    <a:pt x="353" y="67"/>
                  </a:lnTo>
                  <a:lnTo>
                    <a:pt x="382" y="102"/>
                  </a:lnTo>
                  <a:lnTo>
                    <a:pt x="409" y="138"/>
                  </a:lnTo>
                  <a:lnTo>
                    <a:pt x="434" y="176"/>
                  </a:lnTo>
                  <a:lnTo>
                    <a:pt x="459" y="215"/>
                  </a:lnTo>
                  <a:lnTo>
                    <a:pt x="480" y="255"/>
                  </a:lnTo>
                  <a:lnTo>
                    <a:pt x="499" y="297"/>
                  </a:lnTo>
                  <a:lnTo>
                    <a:pt x="518" y="339"/>
                  </a:lnTo>
                  <a:lnTo>
                    <a:pt x="534" y="384"/>
                  </a:lnTo>
                  <a:lnTo>
                    <a:pt x="547" y="430"/>
                  </a:lnTo>
                  <a:lnTo>
                    <a:pt x="557" y="474"/>
                  </a:lnTo>
                  <a:lnTo>
                    <a:pt x="566" y="522"/>
                  </a:lnTo>
                  <a:lnTo>
                    <a:pt x="572" y="568"/>
                  </a:lnTo>
                  <a:lnTo>
                    <a:pt x="576" y="616"/>
                  </a:lnTo>
                  <a:lnTo>
                    <a:pt x="578" y="666"/>
                  </a:lnTo>
                  <a:close/>
                </a:path>
              </a:pathLst>
            </a:custGeom>
            <a:solidFill>
              <a:srgbClr val="A100FF"/>
            </a:solidFill>
            <a:ln w="6350" cmpd="sng">
              <a:noFill/>
              <a:round/>
              <a:headEnd/>
              <a:tailEnd/>
            </a:ln>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1" name="Rectangle 19">
              <a:extLst>
                <a:ext uri="{FF2B5EF4-FFF2-40B4-BE49-F238E27FC236}">
                  <a16:creationId xmlns:a16="http://schemas.microsoft.com/office/drawing/2014/main" id="{F301B114-8EDC-4D32-9FD1-625828ED7173}"/>
                </a:ext>
              </a:extLst>
            </p:cNvPr>
            <p:cNvSpPr>
              <a:spLocks noChangeArrowheads="1"/>
            </p:cNvSpPr>
            <p:nvPr/>
          </p:nvSpPr>
          <p:spPr bwMode="auto">
            <a:xfrm>
              <a:off x="5795434" y="4572237"/>
              <a:ext cx="409575" cy="273050"/>
            </a:xfrm>
            <a:prstGeom prst="rect">
              <a:avLst/>
            </a:prstGeom>
            <a:noFill/>
            <a:ln w="6350">
              <a:noFill/>
              <a:miter lim="800000"/>
              <a:headEnd/>
              <a:tailEnd/>
            </a:ln>
            <a:effectLst/>
          </p:spPr>
          <p:txBody>
            <a:bodyPr wrap="none" lIns="45720" rIns="4572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ea typeface="+mn-ea"/>
                  <a:cs typeface="+mn-cs"/>
                </a:rPr>
                <a:t>Safe </a:t>
              </a:r>
              <a:br>
                <a:rPr kumimoji="0" lang="en-US" sz="1200" b="0" i="0" u="none" strike="noStrike" kern="0" cap="none" spc="0" normalizeH="0" baseline="0" noProof="0" dirty="0">
                  <a:ln>
                    <a:noFill/>
                  </a:ln>
                  <a:solidFill>
                    <a:srgbClr val="FFFFFF"/>
                  </a:solidFill>
                  <a:effectLst/>
                  <a:uLnTx/>
                  <a:uFillTx/>
                  <a:ea typeface="+mn-ea"/>
                  <a:cs typeface="+mn-cs"/>
                </a:rPr>
              </a:br>
              <a:r>
                <a:rPr kumimoji="0" lang="en-US" sz="1200" b="0" i="0" u="none" strike="noStrike" kern="0" cap="none" spc="0" normalizeH="0" baseline="0" noProof="0" dirty="0">
                  <a:ln>
                    <a:noFill/>
                  </a:ln>
                  <a:solidFill>
                    <a:srgbClr val="FFFFFF"/>
                  </a:solidFill>
                  <a:effectLst/>
                  <a:uLnTx/>
                  <a:uFillTx/>
                  <a:ea typeface="+mn-ea"/>
                  <a:cs typeface="+mn-cs"/>
                </a:rPr>
                <a:t>work-place</a:t>
              </a:r>
            </a:p>
          </p:txBody>
        </p:sp>
        <p:sp>
          <p:nvSpPr>
            <p:cNvPr id="17" name="Freeform 10">
              <a:extLst>
                <a:ext uri="{FF2B5EF4-FFF2-40B4-BE49-F238E27FC236}">
                  <a16:creationId xmlns:a16="http://schemas.microsoft.com/office/drawing/2014/main" id="{1B4DDE4B-A5E0-4FFF-A578-1F4B49A98DF7}"/>
                </a:ext>
              </a:extLst>
            </p:cNvPr>
            <p:cNvSpPr>
              <a:spLocks/>
            </p:cNvSpPr>
            <p:nvPr/>
          </p:nvSpPr>
          <p:spPr bwMode="auto">
            <a:xfrm>
              <a:off x="5566833" y="3496781"/>
              <a:ext cx="869950" cy="919163"/>
            </a:xfrm>
            <a:custGeom>
              <a:avLst/>
              <a:gdLst/>
              <a:ahLst/>
              <a:cxnLst>
                <a:cxn ang="0">
                  <a:pos x="48" y="339"/>
                </a:cxn>
                <a:cxn ang="0">
                  <a:pos x="155" y="142"/>
                </a:cxn>
                <a:cxn ang="0">
                  <a:pos x="293" y="15"/>
                </a:cxn>
                <a:cxn ang="0">
                  <a:pos x="378" y="111"/>
                </a:cxn>
                <a:cxn ang="0">
                  <a:pos x="391" y="128"/>
                </a:cxn>
                <a:cxn ang="0">
                  <a:pos x="395" y="136"/>
                </a:cxn>
                <a:cxn ang="0">
                  <a:pos x="403" y="148"/>
                </a:cxn>
                <a:cxn ang="0">
                  <a:pos x="403" y="148"/>
                </a:cxn>
                <a:cxn ang="0">
                  <a:pos x="416" y="165"/>
                </a:cxn>
                <a:cxn ang="0">
                  <a:pos x="422" y="176"/>
                </a:cxn>
                <a:cxn ang="0">
                  <a:pos x="426" y="180"/>
                </a:cxn>
                <a:cxn ang="0">
                  <a:pos x="432" y="192"/>
                </a:cxn>
                <a:cxn ang="0">
                  <a:pos x="435" y="196"/>
                </a:cxn>
                <a:cxn ang="0">
                  <a:pos x="439" y="203"/>
                </a:cxn>
                <a:cxn ang="0">
                  <a:pos x="445" y="213"/>
                </a:cxn>
                <a:cxn ang="0">
                  <a:pos x="447" y="215"/>
                </a:cxn>
                <a:cxn ang="0">
                  <a:pos x="451" y="222"/>
                </a:cxn>
                <a:cxn ang="0">
                  <a:pos x="453" y="226"/>
                </a:cxn>
                <a:cxn ang="0">
                  <a:pos x="456" y="232"/>
                </a:cxn>
                <a:cxn ang="0">
                  <a:pos x="460" y="242"/>
                </a:cxn>
                <a:cxn ang="0">
                  <a:pos x="464" y="247"/>
                </a:cxn>
                <a:cxn ang="0">
                  <a:pos x="468" y="255"/>
                </a:cxn>
                <a:cxn ang="0">
                  <a:pos x="472" y="263"/>
                </a:cxn>
                <a:cxn ang="0">
                  <a:pos x="474" y="268"/>
                </a:cxn>
                <a:cxn ang="0">
                  <a:pos x="478" y="274"/>
                </a:cxn>
                <a:cxn ang="0">
                  <a:pos x="481" y="282"/>
                </a:cxn>
                <a:cxn ang="0">
                  <a:pos x="483" y="290"/>
                </a:cxn>
                <a:cxn ang="0">
                  <a:pos x="487" y="295"/>
                </a:cxn>
                <a:cxn ang="0">
                  <a:pos x="491" y="303"/>
                </a:cxn>
                <a:cxn ang="0">
                  <a:pos x="493" y="311"/>
                </a:cxn>
                <a:cxn ang="0">
                  <a:pos x="497" y="316"/>
                </a:cxn>
                <a:cxn ang="0">
                  <a:pos x="499" y="324"/>
                </a:cxn>
                <a:cxn ang="0">
                  <a:pos x="503" y="330"/>
                </a:cxn>
                <a:cxn ang="0">
                  <a:pos x="504" y="338"/>
                </a:cxn>
                <a:cxn ang="0">
                  <a:pos x="508" y="345"/>
                </a:cxn>
                <a:cxn ang="0">
                  <a:pos x="508" y="349"/>
                </a:cxn>
                <a:cxn ang="0">
                  <a:pos x="512" y="359"/>
                </a:cxn>
                <a:cxn ang="0">
                  <a:pos x="516" y="366"/>
                </a:cxn>
                <a:cxn ang="0">
                  <a:pos x="518" y="372"/>
                </a:cxn>
                <a:cxn ang="0">
                  <a:pos x="520" y="384"/>
                </a:cxn>
                <a:cxn ang="0">
                  <a:pos x="522" y="387"/>
                </a:cxn>
                <a:cxn ang="0">
                  <a:pos x="524" y="395"/>
                </a:cxn>
                <a:cxn ang="0">
                  <a:pos x="527" y="405"/>
                </a:cxn>
                <a:cxn ang="0">
                  <a:pos x="527" y="407"/>
                </a:cxn>
                <a:cxn ang="0">
                  <a:pos x="531" y="416"/>
                </a:cxn>
                <a:cxn ang="0">
                  <a:pos x="533" y="424"/>
                </a:cxn>
                <a:cxn ang="0">
                  <a:pos x="535" y="430"/>
                </a:cxn>
                <a:cxn ang="0">
                  <a:pos x="537" y="441"/>
                </a:cxn>
                <a:cxn ang="0">
                  <a:pos x="539" y="445"/>
                </a:cxn>
                <a:cxn ang="0">
                  <a:pos x="541" y="455"/>
                </a:cxn>
                <a:cxn ang="0">
                  <a:pos x="543" y="464"/>
                </a:cxn>
                <a:cxn ang="0">
                  <a:pos x="543" y="468"/>
                </a:cxn>
                <a:cxn ang="0">
                  <a:pos x="547" y="478"/>
                </a:cxn>
                <a:cxn ang="0">
                  <a:pos x="547" y="485"/>
                </a:cxn>
                <a:cxn ang="0">
                  <a:pos x="549" y="487"/>
                </a:cxn>
                <a:cxn ang="0">
                  <a:pos x="551" y="501"/>
                </a:cxn>
                <a:cxn ang="0">
                  <a:pos x="551" y="506"/>
                </a:cxn>
                <a:cxn ang="0">
                  <a:pos x="552" y="514"/>
                </a:cxn>
                <a:cxn ang="0">
                  <a:pos x="554" y="526"/>
                </a:cxn>
                <a:cxn ang="0">
                  <a:pos x="554" y="526"/>
                </a:cxn>
                <a:cxn ang="0">
                  <a:pos x="385" y="564"/>
                </a:cxn>
                <a:cxn ang="0">
                  <a:pos x="170" y="564"/>
                </a:cxn>
              </a:cxnLst>
              <a:rect l="0" t="0" r="r" b="b"/>
              <a:pathLst>
                <a:path w="554" h="570">
                  <a:moveTo>
                    <a:pt x="0" y="526"/>
                  </a:moveTo>
                  <a:lnTo>
                    <a:pt x="5" y="487"/>
                  </a:lnTo>
                  <a:lnTo>
                    <a:pt x="15" y="451"/>
                  </a:lnTo>
                  <a:lnTo>
                    <a:pt x="25" y="412"/>
                  </a:lnTo>
                  <a:lnTo>
                    <a:pt x="36" y="376"/>
                  </a:lnTo>
                  <a:lnTo>
                    <a:pt x="48" y="339"/>
                  </a:lnTo>
                  <a:lnTo>
                    <a:pt x="63" y="305"/>
                  </a:lnTo>
                  <a:lnTo>
                    <a:pt x="78" y="270"/>
                  </a:lnTo>
                  <a:lnTo>
                    <a:pt x="96" y="238"/>
                  </a:lnTo>
                  <a:lnTo>
                    <a:pt x="115" y="205"/>
                  </a:lnTo>
                  <a:lnTo>
                    <a:pt x="134" y="173"/>
                  </a:lnTo>
                  <a:lnTo>
                    <a:pt x="155" y="142"/>
                  </a:lnTo>
                  <a:lnTo>
                    <a:pt x="176" y="111"/>
                  </a:lnTo>
                  <a:lnTo>
                    <a:pt x="199" y="82"/>
                  </a:lnTo>
                  <a:lnTo>
                    <a:pt x="224" y="54"/>
                  </a:lnTo>
                  <a:lnTo>
                    <a:pt x="251" y="27"/>
                  </a:lnTo>
                  <a:lnTo>
                    <a:pt x="278" y="0"/>
                  </a:lnTo>
                  <a:lnTo>
                    <a:pt x="293" y="15"/>
                  </a:lnTo>
                  <a:lnTo>
                    <a:pt x="307" y="30"/>
                  </a:lnTo>
                  <a:lnTo>
                    <a:pt x="322" y="46"/>
                  </a:lnTo>
                  <a:lnTo>
                    <a:pt x="336" y="61"/>
                  </a:lnTo>
                  <a:lnTo>
                    <a:pt x="351" y="78"/>
                  </a:lnTo>
                  <a:lnTo>
                    <a:pt x="364" y="94"/>
                  </a:lnTo>
                  <a:lnTo>
                    <a:pt x="378" y="111"/>
                  </a:lnTo>
                  <a:lnTo>
                    <a:pt x="389" y="128"/>
                  </a:lnTo>
                  <a:lnTo>
                    <a:pt x="389" y="128"/>
                  </a:lnTo>
                  <a:lnTo>
                    <a:pt x="389" y="128"/>
                  </a:lnTo>
                  <a:lnTo>
                    <a:pt x="389" y="128"/>
                  </a:lnTo>
                  <a:lnTo>
                    <a:pt x="391" y="128"/>
                  </a:lnTo>
                  <a:lnTo>
                    <a:pt x="391" y="128"/>
                  </a:lnTo>
                  <a:lnTo>
                    <a:pt x="391" y="128"/>
                  </a:lnTo>
                  <a:lnTo>
                    <a:pt x="391" y="128"/>
                  </a:lnTo>
                  <a:lnTo>
                    <a:pt x="391" y="128"/>
                  </a:lnTo>
                  <a:lnTo>
                    <a:pt x="393" y="132"/>
                  </a:lnTo>
                  <a:lnTo>
                    <a:pt x="393" y="134"/>
                  </a:lnTo>
                  <a:lnTo>
                    <a:pt x="395" y="136"/>
                  </a:lnTo>
                  <a:lnTo>
                    <a:pt x="397" y="138"/>
                  </a:lnTo>
                  <a:lnTo>
                    <a:pt x="399" y="140"/>
                  </a:lnTo>
                  <a:lnTo>
                    <a:pt x="401" y="142"/>
                  </a:lnTo>
                  <a:lnTo>
                    <a:pt x="401" y="144"/>
                  </a:lnTo>
                  <a:lnTo>
                    <a:pt x="403" y="146"/>
                  </a:lnTo>
                  <a:lnTo>
                    <a:pt x="403" y="148"/>
                  </a:lnTo>
                  <a:lnTo>
                    <a:pt x="403" y="148"/>
                  </a:lnTo>
                  <a:lnTo>
                    <a:pt x="403" y="148"/>
                  </a:lnTo>
                  <a:lnTo>
                    <a:pt x="403" y="148"/>
                  </a:lnTo>
                  <a:lnTo>
                    <a:pt x="403" y="148"/>
                  </a:lnTo>
                  <a:lnTo>
                    <a:pt x="403" y="148"/>
                  </a:lnTo>
                  <a:lnTo>
                    <a:pt x="403" y="148"/>
                  </a:lnTo>
                  <a:lnTo>
                    <a:pt x="403" y="148"/>
                  </a:lnTo>
                  <a:lnTo>
                    <a:pt x="407" y="151"/>
                  </a:lnTo>
                  <a:lnTo>
                    <a:pt x="408" y="155"/>
                  </a:lnTo>
                  <a:lnTo>
                    <a:pt x="410" y="157"/>
                  </a:lnTo>
                  <a:lnTo>
                    <a:pt x="412" y="161"/>
                  </a:lnTo>
                  <a:lnTo>
                    <a:pt x="416" y="165"/>
                  </a:lnTo>
                  <a:lnTo>
                    <a:pt x="418" y="169"/>
                  </a:lnTo>
                  <a:lnTo>
                    <a:pt x="420" y="173"/>
                  </a:lnTo>
                  <a:lnTo>
                    <a:pt x="422" y="174"/>
                  </a:lnTo>
                  <a:lnTo>
                    <a:pt x="422" y="176"/>
                  </a:lnTo>
                  <a:lnTo>
                    <a:pt x="422" y="176"/>
                  </a:lnTo>
                  <a:lnTo>
                    <a:pt x="422" y="176"/>
                  </a:lnTo>
                  <a:lnTo>
                    <a:pt x="424" y="176"/>
                  </a:lnTo>
                  <a:lnTo>
                    <a:pt x="424" y="176"/>
                  </a:lnTo>
                  <a:lnTo>
                    <a:pt x="424" y="176"/>
                  </a:lnTo>
                  <a:lnTo>
                    <a:pt x="424" y="178"/>
                  </a:lnTo>
                  <a:lnTo>
                    <a:pt x="424" y="178"/>
                  </a:lnTo>
                  <a:lnTo>
                    <a:pt x="426" y="180"/>
                  </a:lnTo>
                  <a:lnTo>
                    <a:pt x="426" y="182"/>
                  </a:lnTo>
                  <a:lnTo>
                    <a:pt x="428" y="184"/>
                  </a:lnTo>
                  <a:lnTo>
                    <a:pt x="428" y="186"/>
                  </a:lnTo>
                  <a:lnTo>
                    <a:pt x="430" y="188"/>
                  </a:lnTo>
                  <a:lnTo>
                    <a:pt x="432" y="190"/>
                  </a:lnTo>
                  <a:lnTo>
                    <a:pt x="432" y="192"/>
                  </a:lnTo>
                  <a:lnTo>
                    <a:pt x="433" y="194"/>
                  </a:lnTo>
                  <a:lnTo>
                    <a:pt x="433" y="194"/>
                  </a:lnTo>
                  <a:lnTo>
                    <a:pt x="433" y="194"/>
                  </a:lnTo>
                  <a:lnTo>
                    <a:pt x="433" y="196"/>
                  </a:lnTo>
                  <a:lnTo>
                    <a:pt x="435" y="196"/>
                  </a:lnTo>
                  <a:lnTo>
                    <a:pt x="435" y="196"/>
                  </a:lnTo>
                  <a:lnTo>
                    <a:pt x="435" y="196"/>
                  </a:lnTo>
                  <a:lnTo>
                    <a:pt x="435" y="197"/>
                  </a:lnTo>
                  <a:lnTo>
                    <a:pt x="435" y="197"/>
                  </a:lnTo>
                  <a:lnTo>
                    <a:pt x="437" y="199"/>
                  </a:lnTo>
                  <a:lnTo>
                    <a:pt x="437" y="201"/>
                  </a:lnTo>
                  <a:lnTo>
                    <a:pt x="439" y="203"/>
                  </a:lnTo>
                  <a:lnTo>
                    <a:pt x="439" y="205"/>
                  </a:lnTo>
                  <a:lnTo>
                    <a:pt x="441" y="205"/>
                  </a:lnTo>
                  <a:lnTo>
                    <a:pt x="443" y="207"/>
                  </a:lnTo>
                  <a:lnTo>
                    <a:pt x="443" y="209"/>
                  </a:lnTo>
                  <a:lnTo>
                    <a:pt x="445" y="211"/>
                  </a:lnTo>
                  <a:lnTo>
                    <a:pt x="445" y="213"/>
                  </a:lnTo>
                  <a:lnTo>
                    <a:pt x="445" y="213"/>
                  </a:lnTo>
                  <a:lnTo>
                    <a:pt x="445" y="213"/>
                  </a:lnTo>
                  <a:lnTo>
                    <a:pt x="445" y="213"/>
                  </a:lnTo>
                  <a:lnTo>
                    <a:pt x="445" y="215"/>
                  </a:lnTo>
                  <a:lnTo>
                    <a:pt x="447" y="215"/>
                  </a:lnTo>
                  <a:lnTo>
                    <a:pt x="447" y="215"/>
                  </a:lnTo>
                  <a:lnTo>
                    <a:pt x="447" y="217"/>
                  </a:lnTo>
                  <a:lnTo>
                    <a:pt x="447" y="217"/>
                  </a:lnTo>
                  <a:lnTo>
                    <a:pt x="449" y="219"/>
                  </a:lnTo>
                  <a:lnTo>
                    <a:pt x="449" y="219"/>
                  </a:lnTo>
                  <a:lnTo>
                    <a:pt x="449" y="220"/>
                  </a:lnTo>
                  <a:lnTo>
                    <a:pt x="451" y="222"/>
                  </a:lnTo>
                  <a:lnTo>
                    <a:pt x="451" y="222"/>
                  </a:lnTo>
                  <a:lnTo>
                    <a:pt x="451" y="224"/>
                  </a:lnTo>
                  <a:lnTo>
                    <a:pt x="453" y="224"/>
                  </a:lnTo>
                  <a:lnTo>
                    <a:pt x="453" y="226"/>
                  </a:lnTo>
                  <a:lnTo>
                    <a:pt x="453" y="226"/>
                  </a:lnTo>
                  <a:lnTo>
                    <a:pt x="453" y="226"/>
                  </a:lnTo>
                  <a:lnTo>
                    <a:pt x="453" y="228"/>
                  </a:lnTo>
                  <a:lnTo>
                    <a:pt x="455" y="228"/>
                  </a:lnTo>
                  <a:lnTo>
                    <a:pt x="455" y="230"/>
                  </a:lnTo>
                  <a:lnTo>
                    <a:pt x="455" y="230"/>
                  </a:lnTo>
                  <a:lnTo>
                    <a:pt x="455" y="232"/>
                  </a:lnTo>
                  <a:lnTo>
                    <a:pt x="456" y="232"/>
                  </a:lnTo>
                  <a:lnTo>
                    <a:pt x="456" y="234"/>
                  </a:lnTo>
                  <a:lnTo>
                    <a:pt x="458" y="236"/>
                  </a:lnTo>
                  <a:lnTo>
                    <a:pt x="458" y="238"/>
                  </a:lnTo>
                  <a:lnTo>
                    <a:pt x="458" y="240"/>
                  </a:lnTo>
                  <a:lnTo>
                    <a:pt x="460" y="240"/>
                  </a:lnTo>
                  <a:lnTo>
                    <a:pt x="460" y="242"/>
                  </a:lnTo>
                  <a:lnTo>
                    <a:pt x="462" y="244"/>
                  </a:lnTo>
                  <a:lnTo>
                    <a:pt x="462" y="244"/>
                  </a:lnTo>
                  <a:lnTo>
                    <a:pt x="462" y="245"/>
                  </a:lnTo>
                  <a:lnTo>
                    <a:pt x="462" y="245"/>
                  </a:lnTo>
                  <a:lnTo>
                    <a:pt x="464" y="247"/>
                  </a:lnTo>
                  <a:lnTo>
                    <a:pt x="464" y="247"/>
                  </a:lnTo>
                  <a:lnTo>
                    <a:pt x="464" y="247"/>
                  </a:lnTo>
                  <a:lnTo>
                    <a:pt x="464" y="249"/>
                  </a:lnTo>
                  <a:lnTo>
                    <a:pt x="466" y="249"/>
                  </a:lnTo>
                  <a:lnTo>
                    <a:pt x="466" y="251"/>
                  </a:lnTo>
                  <a:lnTo>
                    <a:pt x="466" y="253"/>
                  </a:lnTo>
                  <a:lnTo>
                    <a:pt x="468" y="255"/>
                  </a:lnTo>
                  <a:lnTo>
                    <a:pt x="468" y="255"/>
                  </a:lnTo>
                  <a:lnTo>
                    <a:pt x="468" y="257"/>
                  </a:lnTo>
                  <a:lnTo>
                    <a:pt x="470" y="259"/>
                  </a:lnTo>
                  <a:lnTo>
                    <a:pt x="470" y="261"/>
                  </a:lnTo>
                  <a:lnTo>
                    <a:pt x="472" y="261"/>
                  </a:lnTo>
                  <a:lnTo>
                    <a:pt x="472" y="263"/>
                  </a:lnTo>
                  <a:lnTo>
                    <a:pt x="472" y="263"/>
                  </a:lnTo>
                  <a:lnTo>
                    <a:pt x="472" y="265"/>
                  </a:lnTo>
                  <a:lnTo>
                    <a:pt x="474" y="265"/>
                  </a:lnTo>
                  <a:lnTo>
                    <a:pt x="474" y="267"/>
                  </a:lnTo>
                  <a:lnTo>
                    <a:pt x="474" y="267"/>
                  </a:lnTo>
                  <a:lnTo>
                    <a:pt x="474" y="268"/>
                  </a:lnTo>
                  <a:lnTo>
                    <a:pt x="476" y="268"/>
                  </a:lnTo>
                  <a:lnTo>
                    <a:pt x="476" y="270"/>
                  </a:lnTo>
                  <a:lnTo>
                    <a:pt x="476" y="272"/>
                  </a:lnTo>
                  <a:lnTo>
                    <a:pt x="476" y="272"/>
                  </a:lnTo>
                  <a:lnTo>
                    <a:pt x="478" y="274"/>
                  </a:lnTo>
                  <a:lnTo>
                    <a:pt x="478" y="274"/>
                  </a:lnTo>
                  <a:lnTo>
                    <a:pt x="478" y="276"/>
                  </a:lnTo>
                  <a:lnTo>
                    <a:pt x="478" y="276"/>
                  </a:lnTo>
                  <a:lnTo>
                    <a:pt x="479" y="278"/>
                  </a:lnTo>
                  <a:lnTo>
                    <a:pt x="479" y="280"/>
                  </a:lnTo>
                  <a:lnTo>
                    <a:pt x="479" y="280"/>
                  </a:lnTo>
                  <a:lnTo>
                    <a:pt x="481" y="282"/>
                  </a:lnTo>
                  <a:lnTo>
                    <a:pt x="481" y="284"/>
                  </a:lnTo>
                  <a:lnTo>
                    <a:pt x="481" y="284"/>
                  </a:lnTo>
                  <a:lnTo>
                    <a:pt x="483" y="286"/>
                  </a:lnTo>
                  <a:lnTo>
                    <a:pt x="483" y="288"/>
                  </a:lnTo>
                  <a:lnTo>
                    <a:pt x="483" y="288"/>
                  </a:lnTo>
                  <a:lnTo>
                    <a:pt x="483" y="290"/>
                  </a:lnTo>
                  <a:lnTo>
                    <a:pt x="485" y="290"/>
                  </a:lnTo>
                  <a:lnTo>
                    <a:pt x="485" y="292"/>
                  </a:lnTo>
                  <a:lnTo>
                    <a:pt x="485" y="292"/>
                  </a:lnTo>
                  <a:lnTo>
                    <a:pt x="485" y="293"/>
                  </a:lnTo>
                  <a:lnTo>
                    <a:pt x="487" y="293"/>
                  </a:lnTo>
                  <a:lnTo>
                    <a:pt x="487" y="295"/>
                  </a:lnTo>
                  <a:lnTo>
                    <a:pt x="487" y="295"/>
                  </a:lnTo>
                  <a:lnTo>
                    <a:pt x="487" y="297"/>
                  </a:lnTo>
                  <a:lnTo>
                    <a:pt x="489" y="299"/>
                  </a:lnTo>
                  <a:lnTo>
                    <a:pt x="489" y="301"/>
                  </a:lnTo>
                  <a:lnTo>
                    <a:pt x="489" y="303"/>
                  </a:lnTo>
                  <a:lnTo>
                    <a:pt x="491" y="303"/>
                  </a:lnTo>
                  <a:lnTo>
                    <a:pt x="491" y="305"/>
                  </a:lnTo>
                  <a:lnTo>
                    <a:pt x="491" y="307"/>
                  </a:lnTo>
                  <a:lnTo>
                    <a:pt x="493" y="309"/>
                  </a:lnTo>
                  <a:lnTo>
                    <a:pt x="493" y="309"/>
                  </a:lnTo>
                  <a:lnTo>
                    <a:pt x="493" y="311"/>
                  </a:lnTo>
                  <a:lnTo>
                    <a:pt x="493" y="311"/>
                  </a:lnTo>
                  <a:lnTo>
                    <a:pt x="495" y="311"/>
                  </a:lnTo>
                  <a:lnTo>
                    <a:pt x="495" y="313"/>
                  </a:lnTo>
                  <a:lnTo>
                    <a:pt x="495" y="313"/>
                  </a:lnTo>
                  <a:lnTo>
                    <a:pt x="495" y="315"/>
                  </a:lnTo>
                  <a:lnTo>
                    <a:pt x="495" y="315"/>
                  </a:lnTo>
                  <a:lnTo>
                    <a:pt x="497" y="316"/>
                  </a:lnTo>
                  <a:lnTo>
                    <a:pt x="497" y="318"/>
                  </a:lnTo>
                  <a:lnTo>
                    <a:pt x="497" y="318"/>
                  </a:lnTo>
                  <a:lnTo>
                    <a:pt x="497" y="320"/>
                  </a:lnTo>
                  <a:lnTo>
                    <a:pt x="499" y="322"/>
                  </a:lnTo>
                  <a:lnTo>
                    <a:pt x="499" y="324"/>
                  </a:lnTo>
                  <a:lnTo>
                    <a:pt x="499" y="324"/>
                  </a:lnTo>
                  <a:lnTo>
                    <a:pt x="501" y="326"/>
                  </a:lnTo>
                  <a:lnTo>
                    <a:pt x="501" y="326"/>
                  </a:lnTo>
                  <a:lnTo>
                    <a:pt x="501" y="328"/>
                  </a:lnTo>
                  <a:lnTo>
                    <a:pt x="501" y="328"/>
                  </a:lnTo>
                  <a:lnTo>
                    <a:pt x="501" y="330"/>
                  </a:lnTo>
                  <a:lnTo>
                    <a:pt x="503" y="330"/>
                  </a:lnTo>
                  <a:lnTo>
                    <a:pt x="503" y="332"/>
                  </a:lnTo>
                  <a:lnTo>
                    <a:pt x="503" y="332"/>
                  </a:lnTo>
                  <a:lnTo>
                    <a:pt x="503" y="334"/>
                  </a:lnTo>
                  <a:lnTo>
                    <a:pt x="503" y="334"/>
                  </a:lnTo>
                  <a:lnTo>
                    <a:pt x="504" y="336"/>
                  </a:lnTo>
                  <a:lnTo>
                    <a:pt x="504" y="338"/>
                  </a:lnTo>
                  <a:lnTo>
                    <a:pt x="504" y="339"/>
                  </a:lnTo>
                  <a:lnTo>
                    <a:pt x="506" y="339"/>
                  </a:lnTo>
                  <a:lnTo>
                    <a:pt x="506" y="341"/>
                  </a:lnTo>
                  <a:lnTo>
                    <a:pt x="506" y="343"/>
                  </a:lnTo>
                  <a:lnTo>
                    <a:pt x="506" y="345"/>
                  </a:lnTo>
                  <a:lnTo>
                    <a:pt x="508" y="345"/>
                  </a:lnTo>
                  <a:lnTo>
                    <a:pt x="508" y="345"/>
                  </a:lnTo>
                  <a:lnTo>
                    <a:pt x="508" y="347"/>
                  </a:lnTo>
                  <a:lnTo>
                    <a:pt x="508" y="347"/>
                  </a:lnTo>
                  <a:lnTo>
                    <a:pt x="508" y="349"/>
                  </a:lnTo>
                  <a:lnTo>
                    <a:pt x="508" y="349"/>
                  </a:lnTo>
                  <a:lnTo>
                    <a:pt x="508" y="349"/>
                  </a:lnTo>
                  <a:lnTo>
                    <a:pt x="510" y="351"/>
                  </a:lnTo>
                  <a:lnTo>
                    <a:pt x="510" y="353"/>
                  </a:lnTo>
                  <a:lnTo>
                    <a:pt x="510" y="353"/>
                  </a:lnTo>
                  <a:lnTo>
                    <a:pt x="512" y="355"/>
                  </a:lnTo>
                  <a:lnTo>
                    <a:pt x="512" y="357"/>
                  </a:lnTo>
                  <a:lnTo>
                    <a:pt x="512" y="359"/>
                  </a:lnTo>
                  <a:lnTo>
                    <a:pt x="514" y="361"/>
                  </a:lnTo>
                  <a:lnTo>
                    <a:pt x="514" y="363"/>
                  </a:lnTo>
                  <a:lnTo>
                    <a:pt x="514" y="364"/>
                  </a:lnTo>
                  <a:lnTo>
                    <a:pt x="514" y="364"/>
                  </a:lnTo>
                  <a:lnTo>
                    <a:pt x="514" y="366"/>
                  </a:lnTo>
                  <a:lnTo>
                    <a:pt x="516" y="366"/>
                  </a:lnTo>
                  <a:lnTo>
                    <a:pt x="516" y="366"/>
                  </a:lnTo>
                  <a:lnTo>
                    <a:pt x="516" y="368"/>
                  </a:lnTo>
                  <a:lnTo>
                    <a:pt x="516" y="368"/>
                  </a:lnTo>
                  <a:lnTo>
                    <a:pt x="516" y="370"/>
                  </a:lnTo>
                  <a:lnTo>
                    <a:pt x="516" y="370"/>
                  </a:lnTo>
                  <a:lnTo>
                    <a:pt x="518" y="372"/>
                  </a:lnTo>
                  <a:lnTo>
                    <a:pt x="518" y="374"/>
                  </a:lnTo>
                  <a:lnTo>
                    <a:pt x="518" y="376"/>
                  </a:lnTo>
                  <a:lnTo>
                    <a:pt x="518" y="378"/>
                  </a:lnTo>
                  <a:lnTo>
                    <a:pt x="520" y="380"/>
                  </a:lnTo>
                  <a:lnTo>
                    <a:pt x="520" y="382"/>
                  </a:lnTo>
                  <a:lnTo>
                    <a:pt x="520" y="384"/>
                  </a:lnTo>
                  <a:lnTo>
                    <a:pt x="522" y="386"/>
                  </a:lnTo>
                  <a:lnTo>
                    <a:pt x="522" y="386"/>
                  </a:lnTo>
                  <a:lnTo>
                    <a:pt x="522" y="386"/>
                  </a:lnTo>
                  <a:lnTo>
                    <a:pt x="522" y="387"/>
                  </a:lnTo>
                  <a:lnTo>
                    <a:pt x="522" y="387"/>
                  </a:lnTo>
                  <a:lnTo>
                    <a:pt x="522" y="387"/>
                  </a:lnTo>
                  <a:lnTo>
                    <a:pt x="522" y="389"/>
                  </a:lnTo>
                  <a:lnTo>
                    <a:pt x="522" y="389"/>
                  </a:lnTo>
                  <a:lnTo>
                    <a:pt x="524" y="389"/>
                  </a:lnTo>
                  <a:lnTo>
                    <a:pt x="524" y="391"/>
                  </a:lnTo>
                  <a:lnTo>
                    <a:pt x="524" y="393"/>
                  </a:lnTo>
                  <a:lnTo>
                    <a:pt x="524" y="395"/>
                  </a:lnTo>
                  <a:lnTo>
                    <a:pt x="526" y="397"/>
                  </a:lnTo>
                  <a:lnTo>
                    <a:pt x="526" y="399"/>
                  </a:lnTo>
                  <a:lnTo>
                    <a:pt x="526" y="401"/>
                  </a:lnTo>
                  <a:lnTo>
                    <a:pt x="527" y="401"/>
                  </a:lnTo>
                  <a:lnTo>
                    <a:pt x="527" y="403"/>
                  </a:lnTo>
                  <a:lnTo>
                    <a:pt x="527" y="405"/>
                  </a:lnTo>
                  <a:lnTo>
                    <a:pt x="527" y="405"/>
                  </a:lnTo>
                  <a:lnTo>
                    <a:pt x="527" y="405"/>
                  </a:lnTo>
                  <a:lnTo>
                    <a:pt x="527" y="407"/>
                  </a:lnTo>
                  <a:lnTo>
                    <a:pt x="527" y="407"/>
                  </a:lnTo>
                  <a:lnTo>
                    <a:pt x="527" y="407"/>
                  </a:lnTo>
                  <a:lnTo>
                    <a:pt x="527" y="407"/>
                  </a:lnTo>
                  <a:lnTo>
                    <a:pt x="527" y="409"/>
                  </a:lnTo>
                  <a:lnTo>
                    <a:pt x="529" y="411"/>
                  </a:lnTo>
                  <a:lnTo>
                    <a:pt x="529" y="412"/>
                  </a:lnTo>
                  <a:lnTo>
                    <a:pt x="529" y="414"/>
                  </a:lnTo>
                  <a:lnTo>
                    <a:pt x="531" y="416"/>
                  </a:lnTo>
                  <a:lnTo>
                    <a:pt x="531" y="416"/>
                  </a:lnTo>
                  <a:lnTo>
                    <a:pt x="531" y="418"/>
                  </a:lnTo>
                  <a:lnTo>
                    <a:pt x="531" y="420"/>
                  </a:lnTo>
                  <a:lnTo>
                    <a:pt x="533" y="422"/>
                  </a:lnTo>
                  <a:lnTo>
                    <a:pt x="533" y="424"/>
                  </a:lnTo>
                  <a:lnTo>
                    <a:pt x="533" y="424"/>
                  </a:lnTo>
                  <a:lnTo>
                    <a:pt x="533" y="424"/>
                  </a:lnTo>
                  <a:lnTo>
                    <a:pt x="533" y="426"/>
                  </a:lnTo>
                  <a:lnTo>
                    <a:pt x="533" y="426"/>
                  </a:lnTo>
                  <a:lnTo>
                    <a:pt x="533" y="426"/>
                  </a:lnTo>
                  <a:lnTo>
                    <a:pt x="533" y="426"/>
                  </a:lnTo>
                  <a:lnTo>
                    <a:pt x="533" y="428"/>
                  </a:lnTo>
                  <a:lnTo>
                    <a:pt x="535" y="430"/>
                  </a:lnTo>
                  <a:lnTo>
                    <a:pt x="535" y="432"/>
                  </a:lnTo>
                  <a:lnTo>
                    <a:pt x="535" y="434"/>
                  </a:lnTo>
                  <a:lnTo>
                    <a:pt x="535" y="435"/>
                  </a:lnTo>
                  <a:lnTo>
                    <a:pt x="537" y="437"/>
                  </a:lnTo>
                  <a:lnTo>
                    <a:pt x="537" y="439"/>
                  </a:lnTo>
                  <a:lnTo>
                    <a:pt x="537" y="441"/>
                  </a:lnTo>
                  <a:lnTo>
                    <a:pt x="539" y="443"/>
                  </a:lnTo>
                  <a:lnTo>
                    <a:pt x="539" y="443"/>
                  </a:lnTo>
                  <a:lnTo>
                    <a:pt x="539" y="445"/>
                  </a:lnTo>
                  <a:lnTo>
                    <a:pt x="539" y="445"/>
                  </a:lnTo>
                  <a:lnTo>
                    <a:pt x="539" y="445"/>
                  </a:lnTo>
                  <a:lnTo>
                    <a:pt x="539" y="445"/>
                  </a:lnTo>
                  <a:lnTo>
                    <a:pt x="539" y="447"/>
                  </a:lnTo>
                  <a:lnTo>
                    <a:pt x="539" y="447"/>
                  </a:lnTo>
                  <a:lnTo>
                    <a:pt x="539" y="447"/>
                  </a:lnTo>
                  <a:lnTo>
                    <a:pt x="539" y="449"/>
                  </a:lnTo>
                  <a:lnTo>
                    <a:pt x="541" y="451"/>
                  </a:lnTo>
                  <a:lnTo>
                    <a:pt x="541" y="455"/>
                  </a:lnTo>
                  <a:lnTo>
                    <a:pt x="541" y="457"/>
                  </a:lnTo>
                  <a:lnTo>
                    <a:pt x="541" y="458"/>
                  </a:lnTo>
                  <a:lnTo>
                    <a:pt x="543" y="460"/>
                  </a:lnTo>
                  <a:lnTo>
                    <a:pt x="543" y="462"/>
                  </a:lnTo>
                  <a:lnTo>
                    <a:pt x="543" y="464"/>
                  </a:lnTo>
                  <a:lnTo>
                    <a:pt x="543" y="464"/>
                  </a:lnTo>
                  <a:lnTo>
                    <a:pt x="543" y="464"/>
                  </a:lnTo>
                  <a:lnTo>
                    <a:pt x="543" y="466"/>
                  </a:lnTo>
                  <a:lnTo>
                    <a:pt x="543" y="466"/>
                  </a:lnTo>
                  <a:lnTo>
                    <a:pt x="543" y="466"/>
                  </a:lnTo>
                  <a:lnTo>
                    <a:pt x="543" y="466"/>
                  </a:lnTo>
                  <a:lnTo>
                    <a:pt x="543" y="468"/>
                  </a:lnTo>
                  <a:lnTo>
                    <a:pt x="545" y="468"/>
                  </a:lnTo>
                  <a:lnTo>
                    <a:pt x="545" y="470"/>
                  </a:lnTo>
                  <a:lnTo>
                    <a:pt x="545" y="472"/>
                  </a:lnTo>
                  <a:lnTo>
                    <a:pt x="545" y="474"/>
                  </a:lnTo>
                  <a:lnTo>
                    <a:pt x="545" y="476"/>
                  </a:lnTo>
                  <a:lnTo>
                    <a:pt x="547" y="478"/>
                  </a:lnTo>
                  <a:lnTo>
                    <a:pt x="547" y="480"/>
                  </a:lnTo>
                  <a:lnTo>
                    <a:pt x="547" y="482"/>
                  </a:lnTo>
                  <a:lnTo>
                    <a:pt x="547" y="483"/>
                  </a:lnTo>
                  <a:lnTo>
                    <a:pt x="547" y="483"/>
                  </a:lnTo>
                  <a:lnTo>
                    <a:pt x="547" y="483"/>
                  </a:lnTo>
                  <a:lnTo>
                    <a:pt x="547" y="485"/>
                  </a:lnTo>
                  <a:lnTo>
                    <a:pt x="547" y="485"/>
                  </a:lnTo>
                  <a:lnTo>
                    <a:pt x="547" y="485"/>
                  </a:lnTo>
                  <a:lnTo>
                    <a:pt x="547" y="485"/>
                  </a:lnTo>
                  <a:lnTo>
                    <a:pt x="549" y="485"/>
                  </a:lnTo>
                  <a:lnTo>
                    <a:pt x="549" y="485"/>
                  </a:lnTo>
                  <a:lnTo>
                    <a:pt x="549" y="487"/>
                  </a:lnTo>
                  <a:lnTo>
                    <a:pt x="549" y="491"/>
                  </a:lnTo>
                  <a:lnTo>
                    <a:pt x="549" y="493"/>
                  </a:lnTo>
                  <a:lnTo>
                    <a:pt x="549" y="495"/>
                  </a:lnTo>
                  <a:lnTo>
                    <a:pt x="551" y="497"/>
                  </a:lnTo>
                  <a:lnTo>
                    <a:pt x="551" y="499"/>
                  </a:lnTo>
                  <a:lnTo>
                    <a:pt x="551" y="501"/>
                  </a:lnTo>
                  <a:lnTo>
                    <a:pt x="551" y="505"/>
                  </a:lnTo>
                  <a:lnTo>
                    <a:pt x="551" y="505"/>
                  </a:lnTo>
                  <a:lnTo>
                    <a:pt x="551" y="505"/>
                  </a:lnTo>
                  <a:lnTo>
                    <a:pt x="551" y="505"/>
                  </a:lnTo>
                  <a:lnTo>
                    <a:pt x="551" y="505"/>
                  </a:lnTo>
                  <a:lnTo>
                    <a:pt x="551" y="506"/>
                  </a:lnTo>
                  <a:lnTo>
                    <a:pt x="552" y="506"/>
                  </a:lnTo>
                  <a:lnTo>
                    <a:pt x="552" y="506"/>
                  </a:lnTo>
                  <a:lnTo>
                    <a:pt x="552" y="506"/>
                  </a:lnTo>
                  <a:lnTo>
                    <a:pt x="552" y="508"/>
                  </a:lnTo>
                  <a:lnTo>
                    <a:pt x="552" y="512"/>
                  </a:lnTo>
                  <a:lnTo>
                    <a:pt x="552" y="514"/>
                  </a:lnTo>
                  <a:lnTo>
                    <a:pt x="552" y="516"/>
                  </a:lnTo>
                  <a:lnTo>
                    <a:pt x="554" y="518"/>
                  </a:lnTo>
                  <a:lnTo>
                    <a:pt x="554" y="520"/>
                  </a:lnTo>
                  <a:lnTo>
                    <a:pt x="554" y="522"/>
                  </a:lnTo>
                  <a:lnTo>
                    <a:pt x="554" y="524"/>
                  </a:lnTo>
                  <a:lnTo>
                    <a:pt x="554" y="526"/>
                  </a:lnTo>
                  <a:lnTo>
                    <a:pt x="554" y="526"/>
                  </a:lnTo>
                  <a:lnTo>
                    <a:pt x="554" y="526"/>
                  </a:lnTo>
                  <a:lnTo>
                    <a:pt x="554" y="526"/>
                  </a:lnTo>
                  <a:lnTo>
                    <a:pt x="554" y="526"/>
                  </a:lnTo>
                  <a:lnTo>
                    <a:pt x="554" y="526"/>
                  </a:lnTo>
                  <a:lnTo>
                    <a:pt x="554" y="526"/>
                  </a:lnTo>
                  <a:lnTo>
                    <a:pt x="554" y="526"/>
                  </a:lnTo>
                  <a:lnTo>
                    <a:pt x="522" y="535"/>
                  </a:lnTo>
                  <a:lnTo>
                    <a:pt x="489" y="545"/>
                  </a:lnTo>
                  <a:lnTo>
                    <a:pt x="455" y="553"/>
                  </a:lnTo>
                  <a:lnTo>
                    <a:pt x="420" y="558"/>
                  </a:lnTo>
                  <a:lnTo>
                    <a:pt x="385" y="564"/>
                  </a:lnTo>
                  <a:lnTo>
                    <a:pt x="349" y="566"/>
                  </a:lnTo>
                  <a:lnTo>
                    <a:pt x="314" y="568"/>
                  </a:lnTo>
                  <a:lnTo>
                    <a:pt x="278" y="570"/>
                  </a:lnTo>
                  <a:lnTo>
                    <a:pt x="241" y="568"/>
                  </a:lnTo>
                  <a:lnTo>
                    <a:pt x="205" y="566"/>
                  </a:lnTo>
                  <a:lnTo>
                    <a:pt x="170" y="564"/>
                  </a:lnTo>
                  <a:lnTo>
                    <a:pt x="134" y="558"/>
                  </a:lnTo>
                  <a:lnTo>
                    <a:pt x="99" y="553"/>
                  </a:lnTo>
                  <a:lnTo>
                    <a:pt x="67" y="545"/>
                  </a:lnTo>
                  <a:lnTo>
                    <a:pt x="32" y="535"/>
                  </a:lnTo>
                  <a:lnTo>
                    <a:pt x="0" y="526"/>
                  </a:lnTo>
                  <a:close/>
                </a:path>
              </a:pathLst>
            </a:custGeom>
            <a:solidFill>
              <a:schemeClr val="accent3"/>
            </a:solidFill>
            <a:ln w="6350" cmpd="sng">
              <a:noFill/>
              <a:round/>
              <a:headEnd/>
              <a:tailEnd/>
            </a:ln>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0" name="Rectangle 18">
              <a:extLst>
                <a:ext uri="{FF2B5EF4-FFF2-40B4-BE49-F238E27FC236}">
                  <a16:creationId xmlns:a16="http://schemas.microsoft.com/office/drawing/2014/main" id="{66B1CAAD-AE1C-4A3B-BB4F-C9A3386E0619}"/>
                </a:ext>
              </a:extLst>
            </p:cNvPr>
            <p:cNvSpPr>
              <a:spLocks noChangeArrowheads="1"/>
            </p:cNvSpPr>
            <p:nvPr/>
          </p:nvSpPr>
          <p:spPr bwMode="auto">
            <a:xfrm>
              <a:off x="5785909" y="3971791"/>
              <a:ext cx="430213" cy="271463"/>
            </a:xfrm>
            <a:prstGeom prst="rect">
              <a:avLst/>
            </a:prstGeom>
            <a:noFill/>
            <a:ln w="6350">
              <a:noFill/>
              <a:miter lim="800000"/>
              <a:headEnd/>
              <a:tailEnd/>
            </a:ln>
            <a:effectLst/>
          </p:spPr>
          <p:txBody>
            <a:bodyPr wrap="none" lIns="45720" rIns="4572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The </a:t>
              </a:r>
              <a:br>
                <a:rPr kumimoji="0" lang="en-US" sz="1200" b="1" i="0" u="none" strike="noStrike" kern="0" cap="none" spc="0" normalizeH="0" baseline="0" noProof="0" dirty="0">
                  <a:ln>
                    <a:noFill/>
                  </a:ln>
                  <a:solidFill>
                    <a:srgbClr val="FFFFFF"/>
                  </a:solidFill>
                  <a:effectLst/>
                  <a:uLnTx/>
                  <a:uFillTx/>
                  <a:latin typeface="+mj-lt"/>
                  <a:ea typeface="+mn-ea"/>
                  <a:cs typeface="+mn-cs"/>
                </a:rPr>
              </a:br>
              <a:r>
                <a:rPr kumimoji="0" lang="en-US" sz="1200" b="1" i="0" u="none" strike="noStrike" kern="0" cap="none" spc="0" normalizeH="0" baseline="0" noProof="0" dirty="0">
                  <a:ln>
                    <a:noFill/>
                  </a:ln>
                  <a:solidFill>
                    <a:srgbClr val="FFFFFF"/>
                  </a:solidFill>
                  <a:effectLst/>
                  <a:uLnTx/>
                  <a:uFillTx/>
                  <a:latin typeface="+mj-lt"/>
                  <a:ea typeface="+mn-ea"/>
                  <a:cs typeface="+mn-cs"/>
                </a:rPr>
                <a:t>pledge</a:t>
              </a:r>
            </a:p>
          </p:txBody>
        </p:sp>
        <p:grpSp>
          <p:nvGrpSpPr>
            <p:cNvPr id="18" name="Group 175">
              <a:extLst>
                <a:ext uri="{FF2B5EF4-FFF2-40B4-BE49-F238E27FC236}">
                  <a16:creationId xmlns:a16="http://schemas.microsoft.com/office/drawing/2014/main" id="{BFFFCF5F-F750-4360-8DA2-F5101D95169E}"/>
                </a:ext>
              </a:extLst>
            </p:cNvPr>
            <p:cNvGrpSpPr>
              <a:grpSpLocks noChangeAspect="1"/>
            </p:cNvGrpSpPr>
            <p:nvPr/>
          </p:nvGrpSpPr>
          <p:grpSpPr bwMode="auto">
            <a:xfrm>
              <a:off x="7502567" y="2564098"/>
              <a:ext cx="631947" cy="614614"/>
              <a:chOff x="3636" y="3221"/>
              <a:chExt cx="401" cy="390"/>
            </a:xfrm>
            <a:solidFill>
              <a:srgbClr val="A100FF"/>
            </a:solidFill>
          </p:grpSpPr>
          <p:sp>
            <p:nvSpPr>
              <p:cNvPr id="25" name="Freeform 176">
                <a:extLst>
                  <a:ext uri="{FF2B5EF4-FFF2-40B4-BE49-F238E27FC236}">
                    <a16:creationId xmlns:a16="http://schemas.microsoft.com/office/drawing/2014/main" id="{76843A4E-3927-409F-BB83-DA5A6AF72408}"/>
                  </a:ext>
                </a:extLst>
              </p:cNvPr>
              <p:cNvSpPr>
                <a:spLocks/>
              </p:cNvSpPr>
              <p:nvPr/>
            </p:nvSpPr>
            <p:spPr bwMode="auto">
              <a:xfrm>
                <a:off x="3670" y="3354"/>
                <a:ext cx="233" cy="233"/>
              </a:xfrm>
              <a:custGeom>
                <a:avLst/>
                <a:gdLst>
                  <a:gd name="T0" fmla="*/ 7 w 157"/>
                  <a:gd name="T1" fmla="*/ 157 h 157"/>
                  <a:gd name="T2" fmla="*/ 2 w 157"/>
                  <a:gd name="T3" fmla="*/ 155 h 157"/>
                  <a:gd name="T4" fmla="*/ 2 w 157"/>
                  <a:gd name="T5" fmla="*/ 146 h 157"/>
                  <a:gd name="T6" fmla="*/ 146 w 157"/>
                  <a:gd name="T7" fmla="*/ 2 h 157"/>
                  <a:gd name="T8" fmla="*/ 155 w 157"/>
                  <a:gd name="T9" fmla="*/ 2 h 157"/>
                  <a:gd name="T10" fmla="*/ 155 w 157"/>
                  <a:gd name="T11" fmla="*/ 11 h 157"/>
                  <a:gd name="T12" fmla="*/ 11 w 157"/>
                  <a:gd name="T13" fmla="*/ 155 h 157"/>
                  <a:gd name="T14" fmla="*/ 7 w 157"/>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157">
                    <a:moveTo>
                      <a:pt x="7" y="157"/>
                    </a:moveTo>
                    <a:cubicBezTo>
                      <a:pt x="5" y="157"/>
                      <a:pt x="4" y="156"/>
                      <a:pt x="2" y="155"/>
                    </a:cubicBezTo>
                    <a:cubicBezTo>
                      <a:pt x="0" y="153"/>
                      <a:pt x="0" y="149"/>
                      <a:pt x="2" y="146"/>
                    </a:cubicBezTo>
                    <a:cubicBezTo>
                      <a:pt x="146" y="2"/>
                      <a:pt x="146" y="2"/>
                      <a:pt x="146" y="2"/>
                    </a:cubicBezTo>
                    <a:cubicBezTo>
                      <a:pt x="149" y="0"/>
                      <a:pt x="153" y="0"/>
                      <a:pt x="155" y="2"/>
                    </a:cubicBezTo>
                    <a:cubicBezTo>
                      <a:pt x="157" y="5"/>
                      <a:pt x="157" y="9"/>
                      <a:pt x="155" y="11"/>
                    </a:cubicBezTo>
                    <a:cubicBezTo>
                      <a:pt x="11" y="155"/>
                      <a:pt x="11" y="155"/>
                      <a:pt x="11" y="155"/>
                    </a:cubicBezTo>
                    <a:cubicBezTo>
                      <a:pt x="10" y="156"/>
                      <a:pt x="8" y="157"/>
                      <a:pt x="7" y="1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 name="Freeform 177">
                <a:extLst>
                  <a:ext uri="{FF2B5EF4-FFF2-40B4-BE49-F238E27FC236}">
                    <a16:creationId xmlns:a16="http://schemas.microsoft.com/office/drawing/2014/main" id="{12EC6835-3702-43C1-8D7A-9D085FBB05C9}"/>
                  </a:ext>
                </a:extLst>
              </p:cNvPr>
              <p:cNvSpPr>
                <a:spLocks noEditPoints="1"/>
              </p:cNvSpPr>
              <p:nvPr/>
            </p:nvSpPr>
            <p:spPr bwMode="auto">
              <a:xfrm>
                <a:off x="3636" y="3221"/>
                <a:ext cx="401" cy="390"/>
              </a:xfrm>
              <a:custGeom>
                <a:avLst/>
                <a:gdLst>
                  <a:gd name="T0" fmla="*/ 114 w 270"/>
                  <a:gd name="T1" fmla="*/ 263 h 263"/>
                  <a:gd name="T2" fmla="*/ 36 w 270"/>
                  <a:gd name="T3" fmla="*/ 236 h 263"/>
                  <a:gd name="T4" fmla="*/ 35 w 270"/>
                  <a:gd name="T5" fmla="*/ 234 h 263"/>
                  <a:gd name="T6" fmla="*/ 16 w 270"/>
                  <a:gd name="T7" fmla="*/ 117 h 263"/>
                  <a:gd name="T8" fmla="*/ 263 w 270"/>
                  <a:gd name="T9" fmla="*/ 1 h 263"/>
                  <a:gd name="T10" fmla="*/ 268 w 270"/>
                  <a:gd name="T11" fmla="*/ 2 h 263"/>
                  <a:gd name="T12" fmla="*/ 270 w 270"/>
                  <a:gd name="T13" fmla="*/ 7 h 263"/>
                  <a:gd name="T14" fmla="*/ 153 w 270"/>
                  <a:gd name="T15" fmla="*/ 254 h 263"/>
                  <a:gd name="T16" fmla="*/ 114 w 270"/>
                  <a:gd name="T17" fmla="*/ 263 h 263"/>
                  <a:gd name="T18" fmla="*/ 44 w 270"/>
                  <a:gd name="T19" fmla="*/ 226 h 263"/>
                  <a:gd name="T20" fmla="*/ 148 w 270"/>
                  <a:gd name="T21" fmla="*/ 243 h 263"/>
                  <a:gd name="T22" fmla="*/ 257 w 270"/>
                  <a:gd name="T23" fmla="*/ 14 h 263"/>
                  <a:gd name="T24" fmla="*/ 27 w 270"/>
                  <a:gd name="T25" fmla="*/ 123 h 263"/>
                  <a:gd name="T26" fmla="*/ 44 w 270"/>
                  <a:gd name="T27" fmla="*/ 226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0" h="263">
                    <a:moveTo>
                      <a:pt x="114" y="263"/>
                    </a:moveTo>
                    <a:cubicBezTo>
                      <a:pt x="90" y="263"/>
                      <a:pt x="64" y="254"/>
                      <a:pt x="36" y="236"/>
                    </a:cubicBezTo>
                    <a:cubicBezTo>
                      <a:pt x="36" y="235"/>
                      <a:pt x="35" y="235"/>
                      <a:pt x="35" y="234"/>
                    </a:cubicBezTo>
                    <a:cubicBezTo>
                      <a:pt x="6" y="191"/>
                      <a:pt x="0" y="152"/>
                      <a:pt x="16" y="117"/>
                    </a:cubicBezTo>
                    <a:cubicBezTo>
                      <a:pt x="60" y="24"/>
                      <a:pt x="255" y="2"/>
                      <a:pt x="263" y="1"/>
                    </a:cubicBezTo>
                    <a:cubicBezTo>
                      <a:pt x="265" y="0"/>
                      <a:pt x="267" y="1"/>
                      <a:pt x="268" y="2"/>
                    </a:cubicBezTo>
                    <a:cubicBezTo>
                      <a:pt x="269" y="4"/>
                      <a:pt x="270" y="5"/>
                      <a:pt x="270" y="7"/>
                    </a:cubicBezTo>
                    <a:cubicBezTo>
                      <a:pt x="269" y="16"/>
                      <a:pt x="246" y="210"/>
                      <a:pt x="153" y="254"/>
                    </a:cubicBezTo>
                    <a:cubicBezTo>
                      <a:pt x="140" y="260"/>
                      <a:pt x="127" y="263"/>
                      <a:pt x="114" y="263"/>
                    </a:cubicBezTo>
                    <a:close/>
                    <a:moveTo>
                      <a:pt x="44" y="226"/>
                    </a:moveTo>
                    <a:cubicBezTo>
                      <a:pt x="83" y="251"/>
                      <a:pt x="118" y="257"/>
                      <a:pt x="148" y="243"/>
                    </a:cubicBezTo>
                    <a:cubicBezTo>
                      <a:pt x="225" y="207"/>
                      <a:pt x="252" y="50"/>
                      <a:pt x="257" y="14"/>
                    </a:cubicBezTo>
                    <a:cubicBezTo>
                      <a:pt x="220" y="19"/>
                      <a:pt x="64" y="45"/>
                      <a:pt x="27" y="123"/>
                    </a:cubicBezTo>
                    <a:cubicBezTo>
                      <a:pt x="13" y="152"/>
                      <a:pt x="19" y="187"/>
                      <a:pt x="44" y="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7" name="Freeform 178">
                <a:extLst>
                  <a:ext uri="{FF2B5EF4-FFF2-40B4-BE49-F238E27FC236}">
                    <a16:creationId xmlns:a16="http://schemas.microsoft.com/office/drawing/2014/main" id="{4AE65392-3CF4-4760-80F9-BE19C060D434}"/>
                  </a:ext>
                </a:extLst>
              </p:cNvPr>
              <p:cNvSpPr>
                <a:spLocks/>
              </p:cNvSpPr>
              <p:nvPr/>
            </p:nvSpPr>
            <p:spPr bwMode="auto">
              <a:xfrm>
                <a:off x="3743" y="3409"/>
                <a:ext cx="107"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12 w 72"/>
                  <a:gd name="T11" fmla="*/ 6 h 72"/>
                  <a:gd name="T12" fmla="*/ 12 w 72"/>
                  <a:gd name="T13" fmla="*/ 60 h 72"/>
                  <a:gd name="T14" fmla="*/ 66 w 72"/>
                  <a:gd name="T15" fmla="*/ 60 h 72"/>
                  <a:gd name="T16" fmla="*/ 72 w 72"/>
                  <a:gd name="T17" fmla="*/ 66 h 72"/>
                  <a:gd name="T18" fmla="*/ 66 w 72"/>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66" y="72"/>
                    </a:moveTo>
                    <a:cubicBezTo>
                      <a:pt x="6" y="72"/>
                      <a:pt x="6" y="72"/>
                      <a:pt x="6" y="72"/>
                    </a:cubicBezTo>
                    <a:cubicBezTo>
                      <a:pt x="2" y="72"/>
                      <a:pt x="0" y="69"/>
                      <a:pt x="0" y="66"/>
                    </a:cubicBezTo>
                    <a:cubicBezTo>
                      <a:pt x="0" y="6"/>
                      <a:pt x="0" y="6"/>
                      <a:pt x="0" y="6"/>
                    </a:cubicBezTo>
                    <a:cubicBezTo>
                      <a:pt x="0" y="2"/>
                      <a:pt x="2" y="0"/>
                      <a:pt x="6" y="0"/>
                    </a:cubicBezTo>
                    <a:cubicBezTo>
                      <a:pt x="9" y="0"/>
                      <a:pt x="12" y="2"/>
                      <a:pt x="12" y="6"/>
                    </a:cubicBezTo>
                    <a:cubicBezTo>
                      <a:pt x="12" y="60"/>
                      <a:pt x="12" y="60"/>
                      <a:pt x="12" y="60"/>
                    </a:cubicBezTo>
                    <a:cubicBezTo>
                      <a:pt x="66" y="60"/>
                      <a:pt x="66" y="60"/>
                      <a:pt x="66" y="60"/>
                    </a:cubicBezTo>
                    <a:cubicBezTo>
                      <a:pt x="69" y="60"/>
                      <a:pt x="72" y="62"/>
                      <a:pt x="72" y="66"/>
                    </a:cubicBezTo>
                    <a:cubicBezTo>
                      <a:pt x="72" y="69"/>
                      <a:pt x="69" y="72"/>
                      <a:pt x="6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 name="Freeform 179">
                <a:extLst>
                  <a:ext uri="{FF2B5EF4-FFF2-40B4-BE49-F238E27FC236}">
                    <a16:creationId xmlns:a16="http://schemas.microsoft.com/office/drawing/2014/main" id="{A632F208-9C23-4958-A92D-84F3D08C8BDB}"/>
                  </a:ext>
                </a:extLst>
              </p:cNvPr>
              <p:cNvSpPr>
                <a:spLocks/>
              </p:cNvSpPr>
              <p:nvPr/>
            </p:nvSpPr>
            <p:spPr bwMode="auto">
              <a:xfrm>
                <a:off x="3814" y="3365"/>
                <a:ext cx="80" cy="80"/>
              </a:xfrm>
              <a:custGeom>
                <a:avLst/>
                <a:gdLst>
                  <a:gd name="T0" fmla="*/ 48 w 54"/>
                  <a:gd name="T1" fmla="*/ 54 h 54"/>
                  <a:gd name="T2" fmla="*/ 6 w 54"/>
                  <a:gd name="T3" fmla="*/ 54 h 54"/>
                  <a:gd name="T4" fmla="*/ 0 w 54"/>
                  <a:gd name="T5" fmla="*/ 48 h 54"/>
                  <a:gd name="T6" fmla="*/ 0 w 54"/>
                  <a:gd name="T7" fmla="*/ 6 h 54"/>
                  <a:gd name="T8" fmla="*/ 6 w 54"/>
                  <a:gd name="T9" fmla="*/ 0 h 54"/>
                  <a:gd name="T10" fmla="*/ 12 w 54"/>
                  <a:gd name="T11" fmla="*/ 6 h 54"/>
                  <a:gd name="T12" fmla="*/ 12 w 54"/>
                  <a:gd name="T13" fmla="*/ 42 h 54"/>
                  <a:gd name="T14" fmla="*/ 48 w 54"/>
                  <a:gd name="T15" fmla="*/ 42 h 54"/>
                  <a:gd name="T16" fmla="*/ 54 w 54"/>
                  <a:gd name="T17" fmla="*/ 48 h 54"/>
                  <a:gd name="T18" fmla="*/ 48 w 54"/>
                  <a:gd name="T1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48" y="54"/>
                    </a:moveTo>
                    <a:cubicBezTo>
                      <a:pt x="6" y="54"/>
                      <a:pt x="6" y="54"/>
                      <a:pt x="6" y="54"/>
                    </a:cubicBezTo>
                    <a:cubicBezTo>
                      <a:pt x="2" y="54"/>
                      <a:pt x="0" y="51"/>
                      <a:pt x="0" y="48"/>
                    </a:cubicBezTo>
                    <a:cubicBezTo>
                      <a:pt x="0" y="6"/>
                      <a:pt x="0" y="6"/>
                      <a:pt x="0" y="6"/>
                    </a:cubicBezTo>
                    <a:cubicBezTo>
                      <a:pt x="0" y="2"/>
                      <a:pt x="2" y="0"/>
                      <a:pt x="6" y="0"/>
                    </a:cubicBezTo>
                    <a:cubicBezTo>
                      <a:pt x="9" y="0"/>
                      <a:pt x="12" y="2"/>
                      <a:pt x="12" y="6"/>
                    </a:cubicBezTo>
                    <a:cubicBezTo>
                      <a:pt x="12" y="42"/>
                      <a:pt x="12" y="42"/>
                      <a:pt x="12" y="42"/>
                    </a:cubicBezTo>
                    <a:cubicBezTo>
                      <a:pt x="48" y="42"/>
                      <a:pt x="48" y="42"/>
                      <a:pt x="48" y="42"/>
                    </a:cubicBezTo>
                    <a:cubicBezTo>
                      <a:pt x="51" y="42"/>
                      <a:pt x="54" y="44"/>
                      <a:pt x="54" y="48"/>
                    </a:cubicBezTo>
                    <a:cubicBezTo>
                      <a:pt x="54" y="51"/>
                      <a:pt x="51"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9" name="Freeform 180">
                <a:extLst>
                  <a:ext uri="{FF2B5EF4-FFF2-40B4-BE49-F238E27FC236}">
                    <a16:creationId xmlns:a16="http://schemas.microsoft.com/office/drawing/2014/main" id="{C334DFCE-6E87-43EE-BE2B-72F08D26C99B}"/>
                  </a:ext>
                </a:extLst>
              </p:cNvPr>
              <p:cNvSpPr>
                <a:spLocks/>
              </p:cNvSpPr>
              <p:nvPr/>
            </p:nvSpPr>
            <p:spPr bwMode="auto">
              <a:xfrm>
                <a:off x="3886" y="3329"/>
                <a:ext cx="44" cy="45"/>
              </a:xfrm>
              <a:custGeom>
                <a:avLst/>
                <a:gdLst>
                  <a:gd name="T0" fmla="*/ 24 w 30"/>
                  <a:gd name="T1" fmla="*/ 30 h 30"/>
                  <a:gd name="T2" fmla="*/ 6 w 30"/>
                  <a:gd name="T3" fmla="*/ 30 h 30"/>
                  <a:gd name="T4" fmla="*/ 0 w 30"/>
                  <a:gd name="T5" fmla="*/ 24 h 30"/>
                  <a:gd name="T6" fmla="*/ 0 w 30"/>
                  <a:gd name="T7" fmla="*/ 6 h 30"/>
                  <a:gd name="T8" fmla="*/ 6 w 30"/>
                  <a:gd name="T9" fmla="*/ 0 h 30"/>
                  <a:gd name="T10" fmla="*/ 12 w 30"/>
                  <a:gd name="T11" fmla="*/ 6 h 30"/>
                  <a:gd name="T12" fmla="*/ 12 w 30"/>
                  <a:gd name="T13" fmla="*/ 18 h 30"/>
                  <a:gd name="T14" fmla="*/ 24 w 30"/>
                  <a:gd name="T15" fmla="*/ 18 h 30"/>
                  <a:gd name="T16" fmla="*/ 30 w 30"/>
                  <a:gd name="T17" fmla="*/ 24 h 30"/>
                  <a:gd name="T18" fmla="*/ 24 w 3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24" y="30"/>
                    </a:moveTo>
                    <a:cubicBezTo>
                      <a:pt x="6" y="30"/>
                      <a:pt x="6" y="30"/>
                      <a:pt x="6" y="30"/>
                    </a:cubicBezTo>
                    <a:cubicBezTo>
                      <a:pt x="2" y="30"/>
                      <a:pt x="0" y="27"/>
                      <a:pt x="0" y="24"/>
                    </a:cubicBezTo>
                    <a:cubicBezTo>
                      <a:pt x="0" y="6"/>
                      <a:pt x="0" y="6"/>
                      <a:pt x="0" y="6"/>
                    </a:cubicBezTo>
                    <a:cubicBezTo>
                      <a:pt x="0" y="2"/>
                      <a:pt x="2" y="0"/>
                      <a:pt x="6" y="0"/>
                    </a:cubicBezTo>
                    <a:cubicBezTo>
                      <a:pt x="9" y="0"/>
                      <a:pt x="12" y="2"/>
                      <a:pt x="12" y="6"/>
                    </a:cubicBezTo>
                    <a:cubicBezTo>
                      <a:pt x="12" y="18"/>
                      <a:pt x="12" y="18"/>
                      <a:pt x="12" y="18"/>
                    </a:cubicBezTo>
                    <a:cubicBezTo>
                      <a:pt x="24" y="18"/>
                      <a:pt x="24" y="18"/>
                      <a:pt x="24" y="18"/>
                    </a:cubicBezTo>
                    <a:cubicBezTo>
                      <a:pt x="27" y="18"/>
                      <a:pt x="30" y="20"/>
                      <a:pt x="30" y="24"/>
                    </a:cubicBezTo>
                    <a:cubicBezTo>
                      <a:pt x="30" y="27"/>
                      <a:pt x="27" y="30"/>
                      <a:pt x="2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6" name="Footer Placeholder 5">
            <a:extLst>
              <a:ext uri="{FF2B5EF4-FFF2-40B4-BE49-F238E27FC236}">
                <a16:creationId xmlns:a16="http://schemas.microsoft.com/office/drawing/2014/main" id="{B14A64C9-B153-4C10-944C-C0885A7C66D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7" name="Slide Number Placeholder 6">
            <a:extLst>
              <a:ext uri="{FF2B5EF4-FFF2-40B4-BE49-F238E27FC236}">
                <a16:creationId xmlns:a16="http://schemas.microsoft.com/office/drawing/2014/main" id="{5F8F163B-42F4-45BB-AAC0-44A3D6B26EA4}"/>
              </a:ext>
            </a:extLst>
          </p:cNvPr>
          <p:cNvSpPr>
            <a:spLocks noGrp="1"/>
          </p:cNvSpPr>
          <p:nvPr>
            <p:ph type="sldNum" sz="quarter" idx="10"/>
          </p:nvPr>
        </p:nvSpPr>
        <p:spPr/>
        <p:txBody>
          <a:bodyPr/>
          <a:lstStyle/>
          <a:p>
            <a:fld id="{1F90F471-3972-4120-B8B3-0237DE626C35}" type="slidenum">
              <a:rPr lang="en-US" smtClean="0"/>
              <a:pPr/>
              <a:t>451</a:t>
            </a:fld>
            <a:endParaRPr lang="en-US" dirty="0"/>
          </a:p>
        </p:txBody>
      </p:sp>
    </p:spTree>
    <p:extLst>
      <p:ext uri="{BB962C8B-B14F-4D97-AF65-F5344CB8AC3E}">
        <p14:creationId xmlns:p14="http://schemas.microsoft.com/office/powerpoint/2010/main" val="4293478403"/>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Elements of Social Enterprise Platform </a:t>
            </a:r>
          </a:p>
        </p:txBody>
      </p:sp>
      <p:sp>
        <p:nvSpPr>
          <p:cNvPr id="5" name="Rectangle 4">
            <a:extLst>
              <a:ext uri="{FF2B5EF4-FFF2-40B4-BE49-F238E27FC236}">
                <a16:creationId xmlns:a16="http://schemas.microsoft.com/office/drawing/2014/main" id="{5BF37660-97F2-4123-AE9D-3D3376E10BCA}"/>
              </a:ext>
            </a:extLst>
          </p:cNvPr>
          <p:cNvSpPr/>
          <p:nvPr/>
        </p:nvSpPr>
        <p:spPr bwMode="auto">
          <a:xfrm>
            <a:off x="5042233" y="3291236"/>
            <a:ext cx="1854740" cy="757130"/>
          </a:xfrm>
          <a:prstGeom prst="rect">
            <a:avLst/>
          </a:prstGeom>
        </p:spPr>
        <p:txBody>
          <a:bodyPr wrap="square">
            <a:spAutoFit/>
          </a:bodyPr>
          <a:lstStyle/>
          <a:p>
            <a:pPr marL="0" marR="0" lvl="0" indent="0" algn="ctr" defTabSz="914400" rtl="0" eaLnBrk="1" fontAlgn="base" latinLnBrk="0" hangingPunct="1">
              <a:lnSpc>
                <a:spcPct val="80000"/>
              </a:lnSpc>
              <a:spcBef>
                <a:spcPts val="300"/>
              </a:spcBef>
              <a:spcAft>
                <a:spcPts val="30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mj-lt"/>
                <a:ea typeface="+mn-ea"/>
                <a:cs typeface="Arial" charset="0"/>
              </a:rPr>
              <a:t>Social</a:t>
            </a:r>
            <a:br>
              <a:rPr kumimoji="0" lang="en-US" sz="1800" b="1" i="0" u="none" strike="noStrike" kern="0" cap="none" spc="0" normalizeH="0" baseline="0" noProof="0" dirty="0">
                <a:ln>
                  <a:noFill/>
                </a:ln>
                <a:solidFill>
                  <a:srgbClr val="000000"/>
                </a:solidFill>
                <a:effectLst/>
                <a:uLnTx/>
                <a:uFillTx/>
                <a:latin typeface="+mj-lt"/>
                <a:ea typeface="+mn-ea"/>
                <a:cs typeface="Arial" charset="0"/>
              </a:rPr>
            </a:br>
            <a:r>
              <a:rPr kumimoji="0" lang="en-US" sz="1800" b="1" i="0" u="none" strike="noStrike" kern="0" cap="none" spc="0" normalizeH="0" baseline="0" noProof="0" dirty="0">
                <a:ln>
                  <a:noFill/>
                </a:ln>
                <a:solidFill>
                  <a:srgbClr val="000000"/>
                </a:solidFill>
                <a:effectLst/>
                <a:uLnTx/>
                <a:uFillTx/>
                <a:latin typeface="+mj-lt"/>
                <a:ea typeface="+mn-ea"/>
                <a:cs typeface="Arial" charset="0"/>
              </a:rPr>
              <a:t>enterprise</a:t>
            </a:r>
            <a:br>
              <a:rPr kumimoji="0" lang="en-US" sz="1800" b="1" i="0" u="none" strike="noStrike" kern="0" cap="none" spc="0" normalizeH="0" baseline="0" noProof="0" dirty="0">
                <a:ln>
                  <a:noFill/>
                </a:ln>
                <a:solidFill>
                  <a:srgbClr val="000000"/>
                </a:solidFill>
                <a:effectLst/>
                <a:uLnTx/>
                <a:uFillTx/>
                <a:latin typeface="+mj-lt"/>
                <a:ea typeface="+mn-ea"/>
                <a:cs typeface="Arial" charset="0"/>
              </a:rPr>
            </a:br>
            <a:r>
              <a:rPr kumimoji="0" lang="en-US" sz="1800" b="1" i="0" u="none" strike="noStrike" kern="0" cap="none" spc="0" normalizeH="0" baseline="0" noProof="0" dirty="0">
                <a:ln>
                  <a:noFill/>
                </a:ln>
                <a:solidFill>
                  <a:srgbClr val="000000"/>
                </a:solidFill>
                <a:effectLst/>
                <a:uLnTx/>
                <a:uFillTx/>
                <a:latin typeface="+mj-lt"/>
                <a:ea typeface="+mn-ea"/>
                <a:cs typeface="Arial" charset="0"/>
              </a:rPr>
              <a:t>platform</a:t>
            </a:r>
            <a:endParaRPr kumimoji="0" lang="en-AU" sz="1800" b="1" i="0" u="none" strike="noStrike" kern="1200" cap="none" spc="0" normalizeH="0" baseline="0" noProof="0" dirty="0">
              <a:ln>
                <a:noFill/>
              </a:ln>
              <a:solidFill>
                <a:srgbClr val="000000"/>
              </a:solidFill>
              <a:effectLst/>
              <a:uLnTx/>
              <a:uFillTx/>
              <a:latin typeface="+mj-lt"/>
              <a:ea typeface="+mn-ea"/>
              <a:cs typeface="Arial" charset="0"/>
            </a:endParaRPr>
          </a:p>
        </p:txBody>
      </p:sp>
      <p:grpSp>
        <p:nvGrpSpPr>
          <p:cNvPr id="32" name="Group 31" descr="Social Enterprise Platform">
            <a:extLst>
              <a:ext uri="{FF2B5EF4-FFF2-40B4-BE49-F238E27FC236}">
                <a16:creationId xmlns:a16="http://schemas.microsoft.com/office/drawing/2014/main" id="{A69F9D6C-8187-43AB-989A-D1332718BE8E}"/>
              </a:ext>
            </a:extLst>
          </p:cNvPr>
          <p:cNvGrpSpPr/>
          <p:nvPr/>
        </p:nvGrpSpPr>
        <p:grpSpPr>
          <a:xfrm>
            <a:off x="3662482" y="1305369"/>
            <a:ext cx="4867036" cy="4635883"/>
            <a:chOff x="3662482" y="1305369"/>
            <a:chExt cx="4867036" cy="4635883"/>
          </a:xfrm>
        </p:grpSpPr>
        <p:sp>
          <p:nvSpPr>
            <p:cNvPr id="19" name="Freeform 6">
              <a:extLst>
                <a:ext uri="{FF2B5EF4-FFF2-40B4-BE49-F238E27FC236}">
                  <a16:creationId xmlns:a16="http://schemas.microsoft.com/office/drawing/2014/main" id="{69D9E377-BAD4-4BAA-9CA2-196F8F6C61A6}"/>
                </a:ext>
                <a:ext uri="{C183D7F6-B498-43B3-948B-1728B52AA6E4}">
                  <adec:decorative xmlns:adec="http://schemas.microsoft.com/office/drawing/2017/decorative" val="1"/>
                </a:ext>
              </a:extLst>
            </p:cNvPr>
            <p:cNvSpPr>
              <a:spLocks/>
            </p:cNvSpPr>
            <p:nvPr/>
          </p:nvSpPr>
          <p:spPr bwMode="auto">
            <a:xfrm rot="1080000">
              <a:off x="6605783" y="1720312"/>
              <a:ext cx="1293979" cy="1198869"/>
            </a:xfrm>
            <a:custGeom>
              <a:avLst/>
              <a:gdLst>
                <a:gd name="T0" fmla="*/ 219 w 219"/>
                <a:gd name="T1" fmla="*/ 71 h 203"/>
                <a:gd name="T2" fmla="*/ 0 w 219"/>
                <a:gd name="T3" fmla="*/ 0 h 203"/>
                <a:gd name="T4" fmla="*/ 0 w 219"/>
                <a:gd name="T5" fmla="*/ 162 h 203"/>
                <a:gd name="T6" fmla="*/ 124 w 219"/>
                <a:gd name="T7" fmla="*/ 203 h 203"/>
                <a:gd name="T8" fmla="*/ 219 w 219"/>
                <a:gd name="T9" fmla="*/ 71 h 203"/>
              </a:gdLst>
              <a:ahLst/>
              <a:cxnLst>
                <a:cxn ang="0">
                  <a:pos x="T0" y="T1"/>
                </a:cxn>
                <a:cxn ang="0">
                  <a:pos x="T2" y="T3"/>
                </a:cxn>
                <a:cxn ang="0">
                  <a:pos x="T4" y="T5"/>
                </a:cxn>
                <a:cxn ang="0">
                  <a:pos x="T6" y="T7"/>
                </a:cxn>
                <a:cxn ang="0">
                  <a:pos x="T8" y="T9"/>
                </a:cxn>
              </a:cxnLst>
              <a:rect l="0" t="0" r="r" b="b"/>
              <a:pathLst>
                <a:path w="219" h="203">
                  <a:moveTo>
                    <a:pt x="219" y="71"/>
                  </a:moveTo>
                  <a:cubicBezTo>
                    <a:pt x="157" y="27"/>
                    <a:pt x="81" y="1"/>
                    <a:pt x="0" y="0"/>
                  </a:cubicBezTo>
                  <a:cubicBezTo>
                    <a:pt x="0" y="162"/>
                    <a:pt x="0" y="162"/>
                    <a:pt x="0" y="162"/>
                  </a:cubicBezTo>
                  <a:cubicBezTo>
                    <a:pt x="46" y="163"/>
                    <a:pt x="88" y="178"/>
                    <a:pt x="124" y="203"/>
                  </a:cubicBezTo>
                  <a:lnTo>
                    <a:pt x="219" y="71"/>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prstClr val="black"/>
                </a:solidFill>
                <a:effectLst/>
                <a:uLnTx/>
                <a:uFillTx/>
                <a:ea typeface="+mn-ea"/>
                <a:cs typeface="Arial" charset="0"/>
              </a:endParaRPr>
            </a:p>
          </p:txBody>
        </p:sp>
        <p:sp>
          <p:nvSpPr>
            <p:cNvPr id="10" name="Rectangle 9">
              <a:extLst>
                <a:ext uri="{FF2B5EF4-FFF2-40B4-BE49-F238E27FC236}">
                  <a16:creationId xmlns:a16="http://schemas.microsoft.com/office/drawing/2014/main" id="{B477437E-54F0-4526-81AF-B007944AE9AC}"/>
                </a:ext>
              </a:extLst>
            </p:cNvPr>
            <p:cNvSpPr/>
            <p:nvPr/>
          </p:nvSpPr>
          <p:spPr bwMode="auto">
            <a:xfrm>
              <a:off x="6575368" y="2032119"/>
              <a:ext cx="1148490" cy="307777"/>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white"/>
                  </a:solidFill>
                  <a:effectLst/>
                  <a:uLnTx/>
                  <a:uFillTx/>
                  <a:ea typeface="+mn-ea"/>
                  <a:cs typeface="Arial" charset="0"/>
                </a:rPr>
                <a:t>Service</a:t>
              </a:r>
            </a:p>
          </p:txBody>
        </p:sp>
        <p:sp>
          <p:nvSpPr>
            <p:cNvPr id="23" name="Freeform 10">
              <a:extLst>
                <a:ext uri="{FF2B5EF4-FFF2-40B4-BE49-F238E27FC236}">
                  <a16:creationId xmlns:a16="http://schemas.microsoft.com/office/drawing/2014/main" id="{AFD12E56-7A03-4DFE-B743-27F8DBE81CB1}"/>
                </a:ext>
                <a:ext uri="{C183D7F6-B498-43B3-948B-1728B52AA6E4}">
                  <adec:decorative xmlns:adec="http://schemas.microsoft.com/office/drawing/2017/decorative" val="1"/>
                </a:ext>
              </a:extLst>
            </p:cNvPr>
            <p:cNvSpPr>
              <a:spLocks/>
            </p:cNvSpPr>
            <p:nvPr/>
          </p:nvSpPr>
          <p:spPr bwMode="auto">
            <a:xfrm rot="1080000">
              <a:off x="7165459" y="2392269"/>
              <a:ext cx="1364059" cy="1394092"/>
            </a:xfrm>
            <a:custGeom>
              <a:avLst/>
              <a:gdLst>
                <a:gd name="T0" fmla="*/ 0 w 231"/>
                <a:gd name="T1" fmla="*/ 131 h 236"/>
                <a:gd name="T2" fmla="*/ 76 w 231"/>
                <a:gd name="T3" fmla="*/ 236 h 236"/>
                <a:gd name="T4" fmla="*/ 231 w 231"/>
                <a:gd name="T5" fmla="*/ 186 h 236"/>
                <a:gd name="T6" fmla="*/ 95 w 231"/>
                <a:gd name="T7" fmla="*/ 0 h 236"/>
                <a:gd name="T8" fmla="*/ 0 w 231"/>
                <a:gd name="T9" fmla="*/ 131 h 236"/>
              </a:gdLst>
              <a:ahLst/>
              <a:cxnLst>
                <a:cxn ang="0">
                  <a:pos x="T0" y="T1"/>
                </a:cxn>
                <a:cxn ang="0">
                  <a:pos x="T2" y="T3"/>
                </a:cxn>
                <a:cxn ang="0">
                  <a:pos x="T4" y="T5"/>
                </a:cxn>
                <a:cxn ang="0">
                  <a:pos x="T6" y="T7"/>
                </a:cxn>
                <a:cxn ang="0">
                  <a:pos x="T8" y="T9"/>
                </a:cxn>
              </a:cxnLst>
              <a:rect l="0" t="0" r="r" b="b"/>
              <a:pathLst>
                <a:path w="231" h="236">
                  <a:moveTo>
                    <a:pt x="0" y="131"/>
                  </a:moveTo>
                  <a:cubicBezTo>
                    <a:pt x="35" y="158"/>
                    <a:pt x="62" y="194"/>
                    <a:pt x="76" y="236"/>
                  </a:cubicBezTo>
                  <a:cubicBezTo>
                    <a:pt x="231" y="186"/>
                    <a:pt x="231" y="186"/>
                    <a:pt x="231" y="186"/>
                  </a:cubicBezTo>
                  <a:cubicBezTo>
                    <a:pt x="206" y="111"/>
                    <a:pt x="158" y="46"/>
                    <a:pt x="95" y="0"/>
                  </a:cubicBezTo>
                  <a:lnTo>
                    <a:pt x="0" y="131"/>
                  </a:lnTo>
                  <a:close/>
                </a:path>
              </a:pathLst>
            </a:custGeom>
            <a:solidFill>
              <a:srgbClr val="DCAFFF">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prstClr val="black"/>
                </a:solidFill>
                <a:effectLst/>
                <a:uLnTx/>
                <a:uFillTx/>
                <a:ea typeface="+mn-ea"/>
                <a:cs typeface="Arial" charset="0"/>
              </a:endParaRPr>
            </a:p>
          </p:txBody>
        </p:sp>
        <p:sp>
          <p:nvSpPr>
            <p:cNvPr id="13" name="Rectangle 12">
              <a:extLst>
                <a:ext uri="{FF2B5EF4-FFF2-40B4-BE49-F238E27FC236}">
                  <a16:creationId xmlns:a16="http://schemas.microsoft.com/office/drawing/2014/main" id="{AE3EA99A-C708-41B0-9935-BE8D721EF4B5}"/>
                </a:ext>
              </a:extLst>
            </p:cNvPr>
            <p:cNvSpPr/>
            <p:nvPr/>
          </p:nvSpPr>
          <p:spPr bwMode="auto">
            <a:xfrm>
              <a:off x="7261414" y="2982618"/>
              <a:ext cx="1102932" cy="307777"/>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Arial" charset="0"/>
                </a:rPr>
                <a:t>Products</a:t>
              </a:r>
            </a:p>
          </p:txBody>
        </p:sp>
        <p:sp>
          <p:nvSpPr>
            <p:cNvPr id="22" name="Freeform 9">
              <a:extLst>
                <a:ext uri="{FF2B5EF4-FFF2-40B4-BE49-F238E27FC236}">
                  <a16:creationId xmlns:a16="http://schemas.microsoft.com/office/drawing/2014/main" id="{F797C45A-8808-424E-94E8-D86998514A62}"/>
                </a:ext>
                <a:ext uri="{C183D7F6-B498-43B3-948B-1728B52AA6E4}">
                  <adec:decorative xmlns:adec="http://schemas.microsoft.com/office/drawing/2017/decorative" val="1"/>
                </a:ext>
              </a:extLst>
            </p:cNvPr>
            <p:cNvSpPr>
              <a:spLocks/>
            </p:cNvSpPr>
            <p:nvPr/>
          </p:nvSpPr>
          <p:spPr bwMode="auto">
            <a:xfrm rot="1080000">
              <a:off x="7269065" y="3566111"/>
              <a:ext cx="1016161" cy="1366561"/>
            </a:xfrm>
            <a:custGeom>
              <a:avLst/>
              <a:gdLst>
                <a:gd name="T0" fmla="*/ 154 w 172"/>
                <a:gd name="T1" fmla="*/ 231 h 231"/>
                <a:gd name="T2" fmla="*/ 172 w 172"/>
                <a:gd name="T3" fmla="*/ 116 h 231"/>
                <a:gd name="T4" fmla="*/ 154 w 172"/>
                <a:gd name="T5" fmla="*/ 0 h 231"/>
                <a:gd name="T6" fmla="*/ 0 w 172"/>
                <a:gd name="T7" fmla="*/ 51 h 231"/>
                <a:gd name="T8" fmla="*/ 10 w 172"/>
                <a:gd name="T9" fmla="*/ 116 h 231"/>
                <a:gd name="T10" fmla="*/ 0 w 172"/>
                <a:gd name="T11" fmla="*/ 181 h 231"/>
                <a:gd name="T12" fmla="*/ 154 w 172"/>
                <a:gd name="T13" fmla="*/ 231 h 231"/>
              </a:gdLst>
              <a:ahLst/>
              <a:cxnLst>
                <a:cxn ang="0">
                  <a:pos x="T0" y="T1"/>
                </a:cxn>
                <a:cxn ang="0">
                  <a:pos x="T2" y="T3"/>
                </a:cxn>
                <a:cxn ang="0">
                  <a:pos x="T4" y="T5"/>
                </a:cxn>
                <a:cxn ang="0">
                  <a:pos x="T6" y="T7"/>
                </a:cxn>
                <a:cxn ang="0">
                  <a:pos x="T8" y="T9"/>
                </a:cxn>
                <a:cxn ang="0">
                  <a:pos x="T10" y="T11"/>
                </a:cxn>
                <a:cxn ang="0">
                  <a:pos x="T12" y="T13"/>
                </a:cxn>
              </a:cxnLst>
              <a:rect l="0" t="0" r="r" b="b"/>
              <a:pathLst>
                <a:path w="172" h="231">
                  <a:moveTo>
                    <a:pt x="154" y="231"/>
                  </a:moveTo>
                  <a:cubicBezTo>
                    <a:pt x="166" y="195"/>
                    <a:pt x="172" y="156"/>
                    <a:pt x="172" y="116"/>
                  </a:cubicBezTo>
                  <a:cubicBezTo>
                    <a:pt x="172" y="76"/>
                    <a:pt x="166" y="37"/>
                    <a:pt x="154" y="0"/>
                  </a:cubicBezTo>
                  <a:cubicBezTo>
                    <a:pt x="0" y="51"/>
                    <a:pt x="0" y="51"/>
                    <a:pt x="0" y="51"/>
                  </a:cubicBezTo>
                  <a:cubicBezTo>
                    <a:pt x="6" y="71"/>
                    <a:pt x="10" y="93"/>
                    <a:pt x="10" y="116"/>
                  </a:cubicBezTo>
                  <a:cubicBezTo>
                    <a:pt x="10" y="139"/>
                    <a:pt x="6" y="161"/>
                    <a:pt x="0" y="181"/>
                  </a:cubicBezTo>
                  <a:lnTo>
                    <a:pt x="154" y="231"/>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prstClr val="black"/>
                </a:solidFill>
                <a:effectLst/>
                <a:uLnTx/>
                <a:uFillTx/>
                <a:ea typeface="+mn-ea"/>
                <a:cs typeface="Arial" charset="0"/>
              </a:endParaRPr>
            </a:p>
          </p:txBody>
        </p:sp>
        <p:sp>
          <p:nvSpPr>
            <p:cNvPr id="15" name="Rectangle 14">
              <a:extLst>
                <a:ext uri="{FF2B5EF4-FFF2-40B4-BE49-F238E27FC236}">
                  <a16:creationId xmlns:a16="http://schemas.microsoft.com/office/drawing/2014/main" id="{20ED34E7-0F9E-414F-8D9E-48E6B620596C}"/>
                </a:ext>
              </a:extLst>
            </p:cNvPr>
            <p:cNvSpPr/>
            <p:nvPr/>
          </p:nvSpPr>
          <p:spPr bwMode="auto">
            <a:xfrm>
              <a:off x="7261414" y="4057412"/>
              <a:ext cx="1102932" cy="523220"/>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white"/>
                  </a:solidFill>
                  <a:effectLst/>
                  <a:uLnTx/>
                  <a:uFillTx/>
                  <a:ea typeface="+mn-ea"/>
                  <a:cs typeface="Arial" charset="0"/>
                </a:rPr>
                <a:t>Geo-locate</a:t>
              </a:r>
            </a:p>
          </p:txBody>
        </p:sp>
        <p:sp>
          <p:nvSpPr>
            <p:cNvPr id="25" name="Freeform 13">
              <a:extLst>
                <a:ext uri="{FF2B5EF4-FFF2-40B4-BE49-F238E27FC236}">
                  <a16:creationId xmlns:a16="http://schemas.microsoft.com/office/drawing/2014/main" id="{E360AA90-26C5-4207-AD74-576FE3196E4F}"/>
                </a:ext>
                <a:ext uri="{C183D7F6-B498-43B3-948B-1728B52AA6E4}">
                  <adec:decorative xmlns:adec="http://schemas.microsoft.com/office/drawing/2017/decorative" val="1"/>
                </a:ext>
              </a:extLst>
            </p:cNvPr>
            <p:cNvSpPr>
              <a:spLocks/>
            </p:cNvSpPr>
            <p:nvPr/>
          </p:nvSpPr>
          <p:spPr bwMode="auto">
            <a:xfrm rot="1080000">
              <a:off x="6468989" y="4539651"/>
              <a:ext cx="1364059" cy="1401601"/>
            </a:xfrm>
            <a:custGeom>
              <a:avLst/>
              <a:gdLst>
                <a:gd name="T0" fmla="*/ 76 w 231"/>
                <a:gd name="T1" fmla="*/ 0 h 237"/>
                <a:gd name="T2" fmla="*/ 0 w 231"/>
                <a:gd name="T3" fmla="*/ 106 h 237"/>
                <a:gd name="T4" fmla="*/ 95 w 231"/>
                <a:gd name="T5" fmla="*/ 237 h 237"/>
                <a:gd name="T6" fmla="*/ 231 w 231"/>
                <a:gd name="T7" fmla="*/ 51 h 237"/>
                <a:gd name="T8" fmla="*/ 76 w 231"/>
                <a:gd name="T9" fmla="*/ 0 h 237"/>
              </a:gdLst>
              <a:ahLst/>
              <a:cxnLst>
                <a:cxn ang="0">
                  <a:pos x="T0" y="T1"/>
                </a:cxn>
                <a:cxn ang="0">
                  <a:pos x="T2" y="T3"/>
                </a:cxn>
                <a:cxn ang="0">
                  <a:pos x="T4" y="T5"/>
                </a:cxn>
                <a:cxn ang="0">
                  <a:pos x="T6" y="T7"/>
                </a:cxn>
                <a:cxn ang="0">
                  <a:pos x="T8" y="T9"/>
                </a:cxn>
              </a:cxnLst>
              <a:rect l="0" t="0" r="r" b="b"/>
              <a:pathLst>
                <a:path w="231" h="237">
                  <a:moveTo>
                    <a:pt x="76" y="0"/>
                  </a:moveTo>
                  <a:cubicBezTo>
                    <a:pt x="62" y="43"/>
                    <a:pt x="35" y="79"/>
                    <a:pt x="0" y="106"/>
                  </a:cubicBezTo>
                  <a:cubicBezTo>
                    <a:pt x="95" y="237"/>
                    <a:pt x="95" y="237"/>
                    <a:pt x="95" y="237"/>
                  </a:cubicBezTo>
                  <a:cubicBezTo>
                    <a:pt x="158" y="191"/>
                    <a:pt x="206" y="126"/>
                    <a:pt x="231" y="51"/>
                  </a:cubicBezTo>
                  <a:lnTo>
                    <a:pt x="76" y="0"/>
                  </a:lnTo>
                  <a:close/>
                </a:path>
              </a:pathLst>
            </a:custGeom>
            <a:solidFill>
              <a:srgbClr val="DCAFFF">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prstClr val="black"/>
                </a:solidFill>
                <a:effectLst/>
                <a:uLnTx/>
                <a:uFillTx/>
                <a:ea typeface="+mn-ea"/>
                <a:cs typeface="Arial" charset="0"/>
              </a:endParaRPr>
            </a:p>
          </p:txBody>
        </p:sp>
        <p:sp>
          <p:nvSpPr>
            <p:cNvPr id="17" name="Rectangle 16">
              <a:extLst>
                <a:ext uri="{FF2B5EF4-FFF2-40B4-BE49-F238E27FC236}">
                  <a16:creationId xmlns:a16="http://schemas.microsoft.com/office/drawing/2014/main" id="{BED238D7-43D9-4D20-8386-E77201B27A20}"/>
                </a:ext>
              </a:extLst>
            </p:cNvPr>
            <p:cNvSpPr/>
            <p:nvPr/>
          </p:nvSpPr>
          <p:spPr bwMode="auto">
            <a:xfrm>
              <a:off x="6518214" y="5007015"/>
              <a:ext cx="1102932" cy="307777"/>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Arial" charset="0"/>
                </a:rPr>
                <a:t>Partners</a:t>
              </a:r>
            </a:p>
          </p:txBody>
        </p:sp>
        <p:sp>
          <p:nvSpPr>
            <p:cNvPr id="28" name="Isosceles Triangle 27">
              <a:extLst>
                <a:ext uri="{FF2B5EF4-FFF2-40B4-BE49-F238E27FC236}">
                  <a16:creationId xmlns:a16="http://schemas.microsoft.com/office/drawing/2014/main" id="{E5D51939-666D-4DFC-9CA1-A756DEFC28CC}"/>
                </a:ext>
                <a:ext uri="{C183D7F6-B498-43B3-948B-1728B52AA6E4}">
                  <adec:decorative xmlns:adec="http://schemas.microsoft.com/office/drawing/2017/decorative" val="1"/>
                </a:ext>
              </a:extLst>
            </p:cNvPr>
            <p:cNvSpPr/>
            <p:nvPr/>
          </p:nvSpPr>
          <p:spPr bwMode="auto">
            <a:xfrm rot="15122422">
              <a:off x="6080414" y="5322070"/>
              <a:ext cx="968970" cy="237189"/>
            </a:xfrm>
            <a:prstGeom prst="triangle">
              <a:avLst/>
            </a:prstGeom>
            <a:solidFill>
              <a:srgbClr val="A055F5"/>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AU" sz="1400" b="0" i="0" u="none" strike="noStrike" kern="0" cap="none" spc="0" normalizeH="0" baseline="0" noProof="0" dirty="0" err="1">
                <a:ln>
                  <a:noFill/>
                </a:ln>
                <a:solidFill>
                  <a:sysClr val="windowText" lastClr="000000"/>
                </a:solidFill>
                <a:effectLst/>
                <a:uLnTx/>
                <a:uFillTx/>
                <a:ea typeface="+mn-ea"/>
                <a:cs typeface="Arial" pitchFamily="34" charset="0"/>
              </a:endParaRPr>
            </a:p>
          </p:txBody>
        </p:sp>
        <p:sp>
          <p:nvSpPr>
            <p:cNvPr id="8" name="Rectangle 7">
              <a:extLst>
                <a:ext uri="{FF2B5EF4-FFF2-40B4-BE49-F238E27FC236}">
                  <a16:creationId xmlns:a16="http://schemas.microsoft.com/office/drawing/2014/main" id="{5BB90708-5966-4D9F-A809-E6C49137C2D2}"/>
                </a:ext>
              </a:extLst>
            </p:cNvPr>
            <p:cNvSpPr/>
            <p:nvPr/>
          </p:nvSpPr>
          <p:spPr bwMode="auto">
            <a:xfrm>
              <a:off x="5537688" y="5321344"/>
              <a:ext cx="1103398" cy="523220"/>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accent2"/>
                  </a:solidFill>
                  <a:effectLst/>
                  <a:uLnTx/>
                  <a:uFillTx/>
                  <a:ea typeface="+mn-ea"/>
                  <a:cs typeface="Arial" charset="0"/>
                </a:rPr>
                <a:t>Social Enterprise</a:t>
              </a:r>
            </a:p>
          </p:txBody>
        </p:sp>
        <p:sp>
          <p:nvSpPr>
            <p:cNvPr id="29" name="Isosceles Triangle 28">
              <a:extLst>
                <a:ext uri="{FF2B5EF4-FFF2-40B4-BE49-F238E27FC236}">
                  <a16:creationId xmlns:a16="http://schemas.microsoft.com/office/drawing/2014/main" id="{A26DA6FA-99BF-4A13-9451-4E126A4B27D0}"/>
                </a:ext>
                <a:ext uri="{C183D7F6-B498-43B3-948B-1728B52AA6E4}">
                  <adec:decorative xmlns:adec="http://schemas.microsoft.com/office/drawing/2017/decorative" val="1"/>
                </a:ext>
              </a:extLst>
            </p:cNvPr>
            <p:cNvSpPr/>
            <p:nvPr/>
          </p:nvSpPr>
          <p:spPr bwMode="auto">
            <a:xfrm rot="6477578" flipH="1">
              <a:off x="5141408" y="5322069"/>
              <a:ext cx="968970" cy="237189"/>
            </a:xfrm>
            <a:prstGeom prst="triangle">
              <a:avLst/>
            </a:prstGeom>
            <a:solidFill>
              <a:srgbClr val="A055F5"/>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AU" sz="1400" b="0" i="0" u="none" strike="noStrike" kern="0" cap="none" spc="0" normalizeH="0" baseline="0" noProof="0" dirty="0" err="1">
                <a:ln>
                  <a:noFill/>
                </a:ln>
                <a:solidFill>
                  <a:sysClr val="windowText" lastClr="000000"/>
                </a:solidFill>
                <a:effectLst/>
                <a:uLnTx/>
                <a:uFillTx/>
                <a:ea typeface="+mn-ea"/>
                <a:cs typeface="Arial" pitchFamily="34" charset="0"/>
              </a:endParaRPr>
            </a:p>
          </p:txBody>
        </p:sp>
        <p:sp>
          <p:nvSpPr>
            <p:cNvPr id="20" name="Freeform 7">
              <a:extLst>
                <a:ext uri="{FF2B5EF4-FFF2-40B4-BE49-F238E27FC236}">
                  <a16:creationId xmlns:a16="http://schemas.microsoft.com/office/drawing/2014/main" id="{84F70462-89BF-462D-8E7A-9F85ADC3C043}"/>
                </a:ext>
                <a:ext uri="{C183D7F6-B498-43B3-948B-1728B52AA6E4}">
                  <adec:decorative xmlns:adec="http://schemas.microsoft.com/office/drawing/2017/decorative" val="1"/>
                </a:ext>
              </a:extLst>
            </p:cNvPr>
            <p:cNvSpPr>
              <a:spLocks/>
            </p:cNvSpPr>
            <p:nvPr/>
          </p:nvSpPr>
          <p:spPr bwMode="auto">
            <a:xfrm rot="1080000">
              <a:off x="4286969" y="4491898"/>
              <a:ext cx="1301487" cy="1198869"/>
            </a:xfrm>
            <a:custGeom>
              <a:avLst/>
              <a:gdLst>
                <a:gd name="T0" fmla="*/ 220 w 220"/>
                <a:gd name="T1" fmla="*/ 203 h 203"/>
                <a:gd name="T2" fmla="*/ 220 w 220"/>
                <a:gd name="T3" fmla="*/ 41 h 203"/>
                <a:gd name="T4" fmla="*/ 96 w 220"/>
                <a:gd name="T5" fmla="*/ 0 h 203"/>
                <a:gd name="T6" fmla="*/ 0 w 220"/>
                <a:gd name="T7" fmla="*/ 132 h 203"/>
                <a:gd name="T8" fmla="*/ 220 w 220"/>
                <a:gd name="T9" fmla="*/ 203 h 203"/>
              </a:gdLst>
              <a:ahLst/>
              <a:cxnLst>
                <a:cxn ang="0">
                  <a:pos x="T0" y="T1"/>
                </a:cxn>
                <a:cxn ang="0">
                  <a:pos x="T2" y="T3"/>
                </a:cxn>
                <a:cxn ang="0">
                  <a:pos x="T4" y="T5"/>
                </a:cxn>
                <a:cxn ang="0">
                  <a:pos x="T6" y="T7"/>
                </a:cxn>
                <a:cxn ang="0">
                  <a:pos x="T8" y="T9"/>
                </a:cxn>
              </a:cxnLst>
              <a:rect l="0" t="0" r="r" b="b"/>
              <a:pathLst>
                <a:path w="220" h="203">
                  <a:moveTo>
                    <a:pt x="220" y="203"/>
                  </a:moveTo>
                  <a:cubicBezTo>
                    <a:pt x="220" y="41"/>
                    <a:pt x="220" y="41"/>
                    <a:pt x="220" y="41"/>
                  </a:cubicBezTo>
                  <a:cubicBezTo>
                    <a:pt x="174" y="40"/>
                    <a:pt x="131" y="25"/>
                    <a:pt x="96" y="0"/>
                  </a:cubicBezTo>
                  <a:cubicBezTo>
                    <a:pt x="0" y="132"/>
                    <a:pt x="0" y="132"/>
                    <a:pt x="0" y="132"/>
                  </a:cubicBezTo>
                  <a:cubicBezTo>
                    <a:pt x="62" y="176"/>
                    <a:pt x="138" y="202"/>
                    <a:pt x="220" y="203"/>
                  </a:cubicBezTo>
                  <a:close/>
                </a:path>
              </a:pathLst>
            </a:custGeom>
            <a:solidFill>
              <a:srgbClr val="DCAFFF">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prstClr val="black"/>
                </a:solidFill>
                <a:effectLst/>
                <a:uLnTx/>
                <a:uFillTx/>
                <a:ea typeface="+mn-ea"/>
                <a:cs typeface="Arial" charset="0"/>
              </a:endParaRPr>
            </a:p>
          </p:txBody>
        </p:sp>
        <p:sp>
          <p:nvSpPr>
            <p:cNvPr id="16" name="Rectangle 15">
              <a:extLst>
                <a:ext uri="{FF2B5EF4-FFF2-40B4-BE49-F238E27FC236}">
                  <a16:creationId xmlns:a16="http://schemas.microsoft.com/office/drawing/2014/main" id="{E75F0A86-4772-4E26-AD11-1F0137D1AD1B}"/>
                </a:ext>
              </a:extLst>
            </p:cNvPr>
            <p:cNvSpPr/>
            <p:nvPr/>
          </p:nvSpPr>
          <p:spPr bwMode="auto">
            <a:xfrm>
              <a:off x="4494706" y="5007015"/>
              <a:ext cx="1102932" cy="307777"/>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Arial" charset="0"/>
                </a:rPr>
                <a:t>Listen</a:t>
              </a:r>
            </a:p>
          </p:txBody>
        </p:sp>
        <p:sp>
          <p:nvSpPr>
            <p:cNvPr id="24" name="Freeform 12">
              <a:extLst>
                <a:ext uri="{FF2B5EF4-FFF2-40B4-BE49-F238E27FC236}">
                  <a16:creationId xmlns:a16="http://schemas.microsoft.com/office/drawing/2014/main" id="{3B1A25E0-2D46-4D55-9BCC-024CD0FB6890}"/>
                </a:ext>
                <a:ext uri="{C183D7F6-B498-43B3-948B-1728B52AA6E4}">
                  <adec:decorative xmlns:adec="http://schemas.microsoft.com/office/drawing/2017/decorative" val="1"/>
                </a:ext>
              </a:extLst>
            </p:cNvPr>
            <p:cNvSpPr>
              <a:spLocks/>
            </p:cNvSpPr>
            <p:nvPr/>
          </p:nvSpPr>
          <p:spPr bwMode="auto">
            <a:xfrm rot="1080000">
              <a:off x="3662482" y="3620547"/>
              <a:ext cx="1366561" cy="1401601"/>
            </a:xfrm>
            <a:custGeom>
              <a:avLst/>
              <a:gdLst>
                <a:gd name="T0" fmla="*/ 231 w 231"/>
                <a:gd name="T1" fmla="*/ 106 h 237"/>
                <a:gd name="T2" fmla="*/ 154 w 231"/>
                <a:gd name="T3" fmla="*/ 0 h 237"/>
                <a:gd name="T4" fmla="*/ 0 w 231"/>
                <a:gd name="T5" fmla="*/ 51 h 237"/>
                <a:gd name="T6" fmla="*/ 135 w 231"/>
                <a:gd name="T7" fmla="*/ 237 h 237"/>
                <a:gd name="T8" fmla="*/ 231 w 231"/>
                <a:gd name="T9" fmla="*/ 106 h 237"/>
              </a:gdLst>
              <a:ahLst/>
              <a:cxnLst>
                <a:cxn ang="0">
                  <a:pos x="T0" y="T1"/>
                </a:cxn>
                <a:cxn ang="0">
                  <a:pos x="T2" y="T3"/>
                </a:cxn>
                <a:cxn ang="0">
                  <a:pos x="T4" y="T5"/>
                </a:cxn>
                <a:cxn ang="0">
                  <a:pos x="T6" y="T7"/>
                </a:cxn>
                <a:cxn ang="0">
                  <a:pos x="T8" y="T9"/>
                </a:cxn>
              </a:cxnLst>
              <a:rect l="0" t="0" r="r" b="b"/>
              <a:pathLst>
                <a:path w="231" h="237">
                  <a:moveTo>
                    <a:pt x="231" y="106"/>
                  </a:moveTo>
                  <a:cubicBezTo>
                    <a:pt x="196" y="79"/>
                    <a:pt x="169" y="43"/>
                    <a:pt x="154" y="0"/>
                  </a:cubicBezTo>
                  <a:cubicBezTo>
                    <a:pt x="0" y="51"/>
                    <a:pt x="0" y="51"/>
                    <a:pt x="0" y="51"/>
                  </a:cubicBezTo>
                  <a:cubicBezTo>
                    <a:pt x="25" y="126"/>
                    <a:pt x="73" y="191"/>
                    <a:pt x="135" y="237"/>
                  </a:cubicBezTo>
                  <a:lnTo>
                    <a:pt x="231" y="106"/>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prstClr val="black"/>
                </a:solidFill>
                <a:effectLst/>
                <a:uLnTx/>
                <a:uFillTx/>
                <a:ea typeface="+mn-ea"/>
                <a:cs typeface="Arial" charset="0"/>
              </a:endParaRPr>
            </a:p>
          </p:txBody>
        </p:sp>
        <p:sp>
          <p:nvSpPr>
            <p:cNvPr id="14" name="Rectangle 13">
              <a:extLst>
                <a:ext uri="{FF2B5EF4-FFF2-40B4-BE49-F238E27FC236}">
                  <a16:creationId xmlns:a16="http://schemas.microsoft.com/office/drawing/2014/main" id="{E59280C3-CCC1-4F4B-8785-2FECBB2C2DB7}"/>
                </a:ext>
              </a:extLst>
            </p:cNvPr>
            <p:cNvSpPr/>
            <p:nvPr/>
          </p:nvSpPr>
          <p:spPr bwMode="auto">
            <a:xfrm>
              <a:off x="3791570" y="4057412"/>
              <a:ext cx="1102932" cy="307777"/>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mn-ea"/>
                  <a:cs typeface="Arial" charset="0"/>
                </a:rPr>
                <a:t>Engage</a:t>
              </a:r>
            </a:p>
          </p:txBody>
        </p:sp>
        <p:sp>
          <p:nvSpPr>
            <p:cNvPr id="30" name="Freeform 15">
              <a:extLst>
                <a:ext uri="{FF2B5EF4-FFF2-40B4-BE49-F238E27FC236}">
                  <a16:creationId xmlns:a16="http://schemas.microsoft.com/office/drawing/2014/main" id="{79134CEA-61BB-45F1-B39C-74F5B6B99C4D}"/>
                </a:ext>
                <a:ext uri="{C183D7F6-B498-43B3-948B-1728B52AA6E4}">
                  <adec:decorative xmlns:adec="http://schemas.microsoft.com/office/drawing/2017/decorative" val="1"/>
                </a:ext>
              </a:extLst>
            </p:cNvPr>
            <p:cNvSpPr>
              <a:spLocks/>
            </p:cNvSpPr>
            <p:nvPr/>
          </p:nvSpPr>
          <p:spPr bwMode="auto">
            <a:xfrm rot="1080000">
              <a:off x="3907997" y="2474033"/>
              <a:ext cx="1016161" cy="1366561"/>
            </a:xfrm>
            <a:custGeom>
              <a:avLst/>
              <a:gdLst>
                <a:gd name="T0" fmla="*/ 172 w 172"/>
                <a:gd name="T1" fmla="*/ 181 h 231"/>
                <a:gd name="T2" fmla="*/ 162 w 172"/>
                <a:gd name="T3" fmla="*/ 116 h 231"/>
                <a:gd name="T4" fmla="*/ 172 w 172"/>
                <a:gd name="T5" fmla="*/ 51 h 231"/>
                <a:gd name="T6" fmla="*/ 17 w 172"/>
                <a:gd name="T7" fmla="*/ 0 h 231"/>
                <a:gd name="T8" fmla="*/ 0 w 172"/>
                <a:gd name="T9" fmla="*/ 116 h 231"/>
                <a:gd name="T10" fmla="*/ 17 w 172"/>
                <a:gd name="T11" fmla="*/ 231 h 231"/>
                <a:gd name="T12" fmla="*/ 172 w 172"/>
                <a:gd name="T13" fmla="*/ 181 h 231"/>
              </a:gdLst>
              <a:ahLst/>
              <a:cxnLst>
                <a:cxn ang="0">
                  <a:pos x="T0" y="T1"/>
                </a:cxn>
                <a:cxn ang="0">
                  <a:pos x="T2" y="T3"/>
                </a:cxn>
                <a:cxn ang="0">
                  <a:pos x="T4" y="T5"/>
                </a:cxn>
                <a:cxn ang="0">
                  <a:pos x="T6" y="T7"/>
                </a:cxn>
                <a:cxn ang="0">
                  <a:pos x="T8" y="T9"/>
                </a:cxn>
                <a:cxn ang="0">
                  <a:pos x="T10" y="T11"/>
                </a:cxn>
                <a:cxn ang="0">
                  <a:pos x="T12" y="T13"/>
                </a:cxn>
              </a:cxnLst>
              <a:rect l="0" t="0" r="r" b="b"/>
              <a:pathLst>
                <a:path w="172" h="231">
                  <a:moveTo>
                    <a:pt x="172" y="181"/>
                  </a:moveTo>
                  <a:cubicBezTo>
                    <a:pt x="166" y="161"/>
                    <a:pt x="162" y="139"/>
                    <a:pt x="162" y="116"/>
                  </a:cubicBezTo>
                  <a:cubicBezTo>
                    <a:pt x="162" y="93"/>
                    <a:pt x="166" y="71"/>
                    <a:pt x="172" y="51"/>
                  </a:cubicBezTo>
                  <a:cubicBezTo>
                    <a:pt x="17" y="0"/>
                    <a:pt x="17" y="0"/>
                    <a:pt x="17" y="0"/>
                  </a:cubicBezTo>
                  <a:cubicBezTo>
                    <a:pt x="6" y="37"/>
                    <a:pt x="0" y="76"/>
                    <a:pt x="0" y="116"/>
                  </a:cubicBezTo>
                  <a:cubicBezTo>
                    <a:pt x="0" y="156"/>
                    <a:pt x="6" y="195"/>
                    <a:pt x="17" y="231"/>
                  </a:cubicBezTo>
                  <a:lnTo>
                    <a:pt x="172" y="181"/>
                  </a:lnTo>
                  <a:close/>
                </a:path>
              </a:pathLst>
            </a:custGeom>
            <a:solidFill>
              <a:srgbClr val="DCAFFF">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srgbClr val="000000"/>
                </a:solidFill>
                <a:effectLst/>
                <a:uLnTx/>
                <a:uFillTx/>
                <a:ea typeface="+mn-ea"/>
                <a:cs typeface="Arial" charset="0"/>
              </a:endParaRPr>
            </a:p>
          </p:txBody>
        </p:sp>
        <p:sp>
          <p:nvSpPr>
            <p:cNvPr id="27" name="Freeform 15">
              <a:extLst>
                <a:ext uri="{FF2B5EF4-FFF2-40B4-BE49-F238E27FC236}">
                  <a16:creationId xmlns:a16="http://schemas.microsoft.com/office/drawing/2014/main" id="{47402BF6-A2E6-4CFE-8C76-C04538DC85D4}"/>
                </a:ext>
                <a:ext uri="{C183D7F6-B498-43B3-948B-1728B52AA6E4}">
                  <adec:decorative xmlns:adec="http://schemas.microsoft.com/office/drawing/2017/decorative" val="1"/>
                </a:ext>
              </a:extLst>
            </p:cNvPr>
            <p:cNvSpPr>
              <a:spLocks/>
            </p:cNvSpPr>
            <p:nvPr/>
          </p:nvSpPr>
          <p:spPr bwMode="auto">
            <a:xfrm rot="1080000">
              <a:off x="3907996" y="2474033"/>
              <a:ext cx="1016161" cy="1366561"/>
            </a:xfrm>
            <a:custGeom>
              <a:avLst/>
              <a:gdLst>
                <a:gd name="T0" fmla="*/ 172 w 172"/>
                <a:gd name="T1" fmla="*/ 181 h 231"/>
                <a:gd name="T2" fmla="*/ 162 w 172"/>
                <a:gd name="T3" fmla="*/ 116 h 231"/>
                <a:gd name="T4" fmla="*/ 172 w 172"/>
                <a:gd name="T5" fmla="*/ 51 h 231"/>
                <a:gd name="T6" fmla="*/ 17 w 172"/>
                <a:gd name="T7" fmla="*/ 0 h 231"/>
                <a:gd name="T8" fmla="*/ 0 w 172"/>
                <a:gd name="T9" fmla="*/ 116 h 231"/>
                <a:gd name="T10" fmla="*/ 17 w 172"/>
                <a:gd name="T11" fmla="*/ 231 h 231"/>
                <a:gd name="T12" fmla="*/ 172 w 172"/>
                <a:gd name="T13" fmla="*/ 181 h 231"/>
              </a:gdLst>
              <a:ahLst/>
              <a:cxnLst>
                <a:cxn ang="0">
                  <a:pos x="T0" y="T1"/>
                </a:cxn>
                <a:cxn ang="0">
                  <a:pos x="T2" y="T3"/>
                </a:cxn>
                <a:cxn ang="0">
                  <a:pos x="T4" y="T5"/>
                </a:cxn>
                <a:cxn ang="0">
                  <a:pos x="T6" y="T7"/>
                </a:cxn>
                <a:cxn ang="0">
                  <a:pos x="T8" y="T9"/>
                </a:cxn>
                <a:cxn ang="0">
                  <a:pos x="T10" y="T11"/>
                </a:cxn>
                <a:cxn ang="0">
                  <a:pos x="T12" y="T13"/>
                </a:cxn>
              </a:cxnLst>
              <a:rect l="0" t="0" r="r" b="b"/>
              <a:pathLst>
                <a:path w="172" h="231">
                  <a:moveTo>
                    <a:pt x="172" y="181"/>
                  </a:moveTo>
                  <a:cubicBezTo>
                    <a:pt x="166" y="161"/>
                    <a:pt x="162" y="139"/>
                    <a:pt x="162" y="116"/>
                  </a:cubicBezTo>
                  <a:cubicBezTo>
                    <a:pt x="162" y="93"/>
                    <a:pt x="166" y="71"/>
                    <a:pt x="172" y="51"/>
                  </a:cubicBezTo>
                  <a:cubicBezTo>
                    <a:pt x="17" y="0"/>
                    <a:pt x="17" y="0"/>
                    <a:pt x="17" y="0"/>
                  </a:cubicBezTo>
                  <a:cubicBezTo>
                    <a:pt x="6" y="37"/>
                    <a:pt x="0" y="76"/>
                    <a:pt x="0" y="116"/>
                  </a:cubicBezTo>
                  <a:cubicBezTo>
                    <a:pt x="0" y="156"/>
                    <a:pt x="6" y="195"/>
                    <a:pt x="17" y="231"/>
                  </a:cubicBezTo>
                  <a:lnTo>
                    <a:pt x="172" y="181"/>
                  </a:lnTo>
                  <a:close/>
                </a:path>
              </a:pathLst>
            </a:custGeom>
            <a:solidFill>
              <a:srgbClr val="DCAFFF">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prstClr val="black"/>
                </a:solidFill>
                <a:effectLst/>
                <a:uLnTx/>
                <a:uFillTx/>
                <a:ea typeface="+mn-ea"/>
                <a:cs typeface="Arial" charset="0"/>
              </a:endParaRPr>
            </a:p>
          </p:txBody>
        </p:sp>
        <p:sp>
          <p:nvSpPr>
            <p:cNvPr id="12" name="Rectangle 11">
              <a:extLst>
                <a:ext uri="{FF2B5EF4-FFF2-40B4-BE49-F238E27FC236}">
                  <a16:creationId xmlns:a16="http://schemas.microsoft.com/office/drawing/2014/main" id="{0CB4C1E4-02E8-492A-95F2-524552B7368F}"/>
                </a:ext>
              </a:extLst>
            </p:cNvPr>
            <p:cNvSpPr/>
            <p:nvPr/>
          </p:nvSpPr>
          <p:spPr bwMode="auto">
            <a:xfrm>
              <a:off x="3791570" y="2982618"/>
              <a:ext cx="1102932" cy="307777"/>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Arial" charset="0"/>
                </a:rPr>
                <a:t>Market</a:t>
              </a:r>
            </a:p>
          </p:txBody>
        </p:sp>
        <p:sp>
          <p:nvSpPr>
            <p:cNvPr id="26" name="Freeform 14">
              <a:extLst>
                <a:ext uri="{FF2B5EF4-FFF2-40B4-BE49-F238E27FC236}">
                  <a16:creationId xmlns:a16="http://schemas.microsoft.com/office/drawing/2014/main" id="{14F8A0AE-9528-4D37-95A2-1F20F532ECBA}"/>
                </a:ext>
                <a:ext uri="{C183D7F6-B498-43B3-948B-1728B52AA6E4}">
                  <adec:decorative xmlns:adec="http://schemas.microsoft.com/office/drawing/2017/decorative" val="1"/>
                </a:ext>
              </a:extLst>
            </p:cNvPr>
            <p:cNvSpPr>
              <a:spLocks/>
            </p:cNvSpPr>
            <p:nvPr/>
          </p:nvSpPr>
          <p:spPr bwMode="auto">
            <a:xfrm rot="1080000">
              <a:off x="4358953" y="1480787"/>
              <a:ext cx="1366561" cy="1394092"/>
            </a:xfrm>
            <a:custGeom>
              <a:avLst/>
              <a:gdLst>
                <a:gd name="T0" fmla="*/ 154 w 231"/>
                <a:gd name="T1" fmla="*/ 236 h 236"/>
                <a:gd name="T2" fmla="*/ 231 w 231"/>
                <a:gd name="T3" fmla="*/ 131 h 236"/>
                <a:gd name="T4" fmla="*/ 135 w 231"/>
                <a:gd name="T5" fmla="*/ 0 h 236"/>
                <a:gd name="T6" fmla="*/ 0 w 231"/>
                <a:gd name="T7" fmla="*/ 186 h 236"/>
                <a:gd name="T8" fmla="*/ 154 w 231"/>
                <a:gd name="T9" fmla="*/ 236 h 236"/>
              </a:gdLst>
              <a:ahLst/>
              <a:cxnLst>
                <a:cxn ang="0">
                  <a:pos x="T0" y="T1"/>
                </a:cxn>
                <a:cxn ang="0">
                  <a:pos x="T2" y="T3"/>
                </a:cxn>
                <a:cxn ang="0">
                  <a:pos x="T4" y="T5"/>
                </a:cxn>
                <a:cxn ang="0">
                  <a:pos x="T6" y="T7"/>
                </a:cxn>
                <a:cxn ang="0">
                  <a:pos x="T8" y="T9"/>
                </a:cxn>
              </a:cxnLst>
              <a:rect l="0" t="0" r="r" b="b"/>
              <a:pathLst>
                <a:path w="231" h="236">
                  <a:moveTo>
                    <a:pt x="154" y="236"/>
                  </a:moveTo>
                  <a:cubicBezTo>
                    <a:pt x="169" y="194"/>
                    <a:pt x="196" y="158"/>
                    <a:pt x="231" y="131"/>
                  </a:cubicBezTo>
                  <a:cubicBezTo>
                    <a:pt x="135" y="0"/>
                    <a:pt x="135" y="0"/>
                    <a:pt x="135" y="0"/>
                  </a:cubicBezTo>
                  <a:cubicBezTo>
                    <a:pt x="73" y="46"/>
                    <a:pt x="25" y="111"/>
                    <a:pt x="0" y="186"/>
                  </a:cubicBezTo>
                  <a:lnTo>
                    <a:pt x="154" y="236"/>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prstClr val="black"/>
                </a:solidFill>
                <a:effectLst/>
                <a:uLnTx/>
                <a:uFillTx/>
                <a:ea typeface="+mn-ea"/>
                <a:cs typeface="Arial" charset="0"/>
              </a:endParaRPr>
            </a:p>
          </p:txBody>
        </p:sp>
        <p:sp>
          <p:nvSpPr>
            <p:cNvPr id="11" name="Rectangle 10">
              <a:extLst>
                <a:ext uri="{FF2B5EF4-FFF2-40B4-BE49-F238E27FC236}">
                  <a16:creationId xmlns:a16="http://schemas.microsoft.com/office/drawing/2014/main" id="{AE873ED1-1412-44A5-8233-D8C576311816}"/>
                </a:ext>
              </a:extLst>
            </p:cNvPr>
            <p:cNvSpPr/>
            <p:nvPr/>
          </p:nvSpPr>
          <p:spPr bwMode="auto">
            <a:xfrm>
              <a:off x="4364224" y="2032119"/>
              <a:ext cx="1266295" cy="307777"/>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white"/>
                  </a:solidFill>
                  <a:effectLst/>
                  <a:uLnTx/>
                  <a:uFillTx/>
                  <a:ea typeface="+mn-ea"/>
                  <a:cs typeface="Arial" charset="0"/>
                </a:rPr>
                <a:t>Collaborate</a:t>
              </a:r>
            </a:p>
          </p:txBody>
        </p:sp>
        <p:sp>
          <p:nvSpPr>
            <p:cNvPr id="21" name="Freeform 8">
              <a:extLst>
                <a:ext uri="{FF2B5EF4-FFF2-40B4-BE49-F238E27FC236}">
                  <a16:creationId xmlns:a16="http://schemas.microsoft.com/office/drawing/2014/main" id="{D0B568AD-B04B-4FC3-8259-0F32EB46A935}"/>
                </a:ext>
                <a:ext uri="{C183D7F6-B498-43B3-948B-1728B52AA6E4}">
                  <adec:decorative xmlns:adec="http://schemas.microsoft.com/office/drawing/2017/decorative" val="1"/>
                </a:ext>
              </a:extLst>
            </p:cNvPr>
            <p:cNvSpPr>
              <a:spLocks/>
            </p:cNvSpPr>
            <p:nvPr/>
          </p:nvSpPr>
          <p:spPr bwMode="auto">
            <a:xfrm rot="1080000">
              <a:off x="5327469" y="1305369"/>
              <a:ext cx="1296481" cy="1198869"/>
            </a:xfrm>
            <a:custGeom>
              <a:avLst/>
              <a:gdLst>
                <a:gd name="T0" fmla="*/ 219 w 219"/>
                <a:gd name="T1" fmla="*/ 0 h 203"/>
                <a:gd name="T2" fmla="*/ 0 w 219"/>
                <a:gd name="T3" fmla="*/ 71 h 203"/>
                <a:gd name="T4" fmla="*/ 95 w 219"/>
                <a:gd name="T5" fmla="*/ 203 h 203"/>
                <a:gd name="T6" fmla="*/ 219 w 219"/>
                <a:gd name="T7" fmla="*/ 162 h 203"/>
                <a:gd name="T8" fmla="*/ 219 w 219"/>
                <a:gd name="T9" fmla="*/ 0 h 203"/>
              </a:gdLst>
              <a:ahLst/>
              <a:cxnLst>
                <a:cxn ang="0">
                  <a:pos x="T0" y="T1"/>
                </a:cxn>
                <a:cxn ang="0">
                  <a:pos x="T2" y="T3"/>
                </a:cxn>
                <a:cxn ang="0">
                  <a:pos x="T4" y="T5"/>
                </a:cxn>
                <a:cxn ang="0">
                  <a:pos x="T6" y="T7"/>
                </a:cxn>
                <a:cxn ang="0">
                  <a:pos x="T8" y="T9"/>
                </a:cxn>
              </a:cxnLst>
              <a:rect l="0" t="0" r="r" b="b"/>
              <a:pathLst>
                <a:path w="219" h="203">
                  <a:moveTo>
                    <a:pt x="219" y="0"/>
                  </a:moveTo>
                  <a:cubicBezTo>
                    <a:pt x="137" y="1"/>
                    <a:pt x="62" y="27"/>
                    <a:pt x="0" y="71"/>
                  </a:cubicBezTo>
                  <a:cubicBezTo>
                    <a:pt x="95" y="203"/>
                    <a:pt x="95" y="203"/>
                    <a:pt x="95" y="203"/>
                  </a:cubicBezTo>
                  <a:cubicBezTo>
                    <a:pt x="130" y="178"/>
                    <a:pt x="173" y="163"/>
                    <a:pt x="219" y="162"/>
                  </a:cubicBezTo>
                  <a:lnTo>
                    <a:pt x="219" y="0"/>
                  </a:lnTo>
                  <a:close/>
                </a:path>
              </a:pathLst>
            </a:custGeom>
            <a:solidFill>
              <a:srgbClr val="DCAFFF">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prstClr val="black"/>
                </a:solidFill>
                <a:effectLst/>
                <a:uLnTx/>
                <a:uFillTx/>
                <a:ea typeface="+mn-ea"/>
                <a:cs typeface="Arial" charset="0"/>
              </a:endParaRPr>
            </a:p>
          </p:txBody>
        </p:sp>
        <p:sp>
          <p:nvSpPr>
            <p:cNvPr id="18" name="Rectangle 17">
              <a:extLst>
                <a:ext uri="{FF2B5EF4-FFF2-40B4-BE49-F238E27FC236}">
                  <a16:creationId xmlns:a16="http://schemas.microsoft.com/office/drawing/2014/main" id="{D3B253B2-2BC8-49A2-99B3-5C5BA2A58312}"/>
                </a:ext>
              </a:extLst>
            </p:cNvPr>
            <p:cNvSpPr/>
            <p:nvPr/>
          </p:nvSpPr>
          <p:spPr bwMode="auto">
            <a:xfrm>
              <a:off x="5643982" y="1712060"/>
              <a:ext cx="904039" cy="307777"/>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mn-ea"/>
                  <a:cs typeface="Arial" charset="0"/>
                </a:rPr>
                <a:t>Sell</a:t>
              </a:r>
            </a:p>
          </p:txBody>
        </p:sp>
      </p:grpSp>
      <p:sp>
        <p:nvSpPr>
          <p:cNvPr id="33" name="Footer Placeholder 32">
            <a:extLst>
              <a:ext uri="{FF2B5EF4-FFF2-40B4-BE49-F238E27FC236}">
                <a16:creationId xmlns:a16="http://schemas.microsoft.com/office/drawing/2014/main" id="{2ED85A29-D047-4557-8A73-20FC65D5FEA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34" name="Slide Number Placeholder 33">
            <a:extLst>
              <a:ext uri="{FF2B5EF4-FFF2-40B4-BE49-F238E27FC236}">
                <a16:creationId xmlns:a16="http://schemas.microsoft.com/office/drawing/2014/main" id="{25D43248-A49A-4F70-9E3B-79F431DF4BE6}"/>
              </a:ext>
            </a:extLst>
          </p:cNvPr>
          <p:cNvSpPr>
            <a:spLocks noGrp="1"/>
          </p:cNvSpPr>
          <p:nvPr>
            <p:ph type="sldNum" sz="quarter" idx="10"/>
          </p:nvPr>
        </p:nvSpPr>
        <p:spPr/>
        <p:txBody>
          <a:bodyPr/>
          <a:lstStyle/>
          <a:p>
            <a:fld id="{1F90F471-3972-4120-B8B3-0237DE626C35}" type="slidenum">
              <a:rPr lang="en-US" smtClean="0"/>
              <a:pPr/>
              <a:t>452</a:t>
            </a:fld>
            <a:endParaRPr lang="en-US" dirty="0"/>
          </a:p>
        </p:txBody>
      </p:sp>
    </p:spTree>
    <p:extLst>
      <p:ext uri="{BB962C8B-B14F-4D97-AF65-F5344CB8AC3E}">
        <p14:creationId xmlns:p14="http://schemas.microsoft.com/office/powerpoint/2010/main" val="2578547449"/>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AU" dirty="0"/>
              <a:t>Confidentiality notice for our proposal</a:t>
            </a:r>
            <a:endParaRPr lang="en-US" dirty="0"/>
          </a:p>
        </p:txBody>
      </p:sp>
      <p:sp>
        <p:nvSpPr>
          <p:cNvPr id="3" name="Content Placeholder 2">
            <a:extLst>
              <a:ext uri="{FF2B5EF4-FFF2-40B4-BE49-F238E27FC236}">
                <a16:creationId xmlns:a16="http://schemas.microsoft.com/office/drawing/2014/main" id="{DDAD0497-DA04-4125-9FE0-129D4726F8AC}"/>
              </a:ext>
            </a:extLst>
          </p:cNvPr>
          <p:cNvSpPr>
            <a:spLocks noGrp="1"/>
          </p:cNvSpPr>
          <p:nvPr>
            <p:ph sz="quarter" idx="10"/>
          </p:nvPr>
        </p:nvSpPr>
        <p:spPr/>
        <p:txBody>
          <a:bodyPr/>
          <a:lstStyle/>
          <a:p>
            <a:pPr marL="0" marR="0" lvl="3" indent="0" algn="l" defTabSz="1734634" rtl="0" eaLnBrk="1" fontAlgn="auto" latinLnBrk="0" hangingPunct="1">
              <a:lnSpc>
                <a:spcPct val="90000"/>
              </a:lnSpc>
              <a:spcBef>
                <a:spcPts val="800"/>
              </a:spcBef>
              <a:spcAft>
                <a:spcPts val="0"/>
              </a:spcAft>
              <a:buClrTx/>
              <a:buSzTx/>
              <a:buFont typeface="Arial" charset="0"/>
              <a:buNone/>
              <a:tabLst/>
              <a:defRPr/>
            </a:pPr>
            <a:r>
              <a:rPr kumimoji="0" lang="en-AU" sz="1800" b="0" i="0" u="none" strike="noStrike" kern="1200" cap="none" spc="0" normalizeH="0" baseline="0" noProof="0" dirty="0">
                <a:ln>
                  <a:noFill/>
                </a:ln>
                <a:solidFill>
                  <a:srgbClr val="96968C"/>
                </a:solidFill>
                <a:effectLst/>
                <a:uLnTx/>
                <a:uFillTx/>
                <a:latin typeface="Arial" panose="020B0503030202060203" pitchFamily="34" charset="0"/>
              </a:rPr>
              <a:t>This document contains proprietary materials, trade secrets and otherwise confidential information owned by Accenture. Access to and use of the materials and information is strictly limited and controlled by Accenture. This document may not be copied, distributed, or otherwise disclosed outside of Accenture or its affiliates except under appropriate precautions to maintain the confidentiality hereof. It is made available for evaluation purposes only and may not be used in any way not expressly authorized by Accenture. </a:t>
            </a:r>
          </a:p>
        </p:txBody>
      </p:sp>
      <p:sp>
        <p:nvSpPr>
          <p:cNvPr id="5" name="Footer Placeholder 4">
            <a:extLst>
              <a:ext uri="{FF2B5EF4-FFF2-40B4-BE49-F238E27FC236}">
                <a16:creationId xmlns:a16="http://schemas.microsoft.com/office/drawing/2014/main" id="{54F17BEB-DB7C-4825-8C12-61A7BDFA6ED6}"/>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8" name="Slide Number Placeholder 7">
            <a:extLst>
              <a:ext uri="{FF2B5EF4-FFF2-40B4-BE49-F238E27FC236}">
                <a16:creationId xmlns:a16="http://schemas.microsoft.com/office/drawing/2014/main" id="{4F232DAF-98F6-41D1-B3E8-7EB96C45B88D}"/>
              </a:ext>
            </a:extLst>
          </p:cNvPr>
          <p:cNvSpPr>
            <a:spLocks noGrp="1"/>
          </p:cNvSpPr>
          <p:nvPr>
            <p:ph type="sldNum" sz="quarter" idx="11"/>
          </p:nvPr>
        </p:nvSpPr>
        <p:spPr/>
        <p:txBody>
          <a:bodyPr/>
          <a:lstStyle/>
          <a:p>
            <a:fld id="{1F90F471-3972-4120-B8B3-0237DE626C35}" type="slidenum">
              <a:rPr lang="en-US" smtClean="0"/>
              <a:pPr/>
              <a:t>453</a:t>
            </a:fld>
            <a:endParaRPr lang="en-US" dirty="0"/>
          </a:p>
        </p:txBody>
      </p:sp>
    </p:spTree>
    <p:extLst>
      <p:ext uri="{BB962C8B-B14F-4D97-AF65-F5344CB8AC3E}">
        <p14:creationId xmlns:p14="http://schemas.microsoft.com/office/powerpoint/2010/main" val="4023330536"/>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AU" dirty="0"/>
              <a:t>Confidentiality notice for our presentation</a:t>
            </a:r>
            <a:endParaRPr lang="en-US" dirty="0"/>
          </a:p>
        </p:txBody>
      </p:sp>
      <p:sp>
        <p:nvSpPr>
          <p:cNvPr id="3" name="Content Placeholder 2">
            <a:extLst>
              <a:ext uri="{FF2B5EF4-FFF2-40B4-BE49-F238E27FC236}">
                <a16:creationId xmlns:a16="http://schemas.microsoft.com/office/drawing/2014/main" id="{DDAD0497-DA04-4125-9FE0-129D4726F8AC}"/>
              </a:ext>
            </a:extLst>
          </p:cNvPr>
          <p:cNvSpPr>
            <a:spLocks noGrp="1"/>
          </p:cNvSpPr>
          <p:nvPr>
            <p:ph sz="quarter" idx="10"/>
          </p:nvPr>
        </p:nvSpPr>
        <p:spPr/>
        <p:txBody>
          <a:bodyPr/>
          <a:lstStyle/>
          <a:p>
            <a:pPr marL="0" marR="0" lvl="3" indent="0" algn="l" defTabSz="1734634" rtl="0" eaLnBrk="1" fontAlgn="auto" latinLnBrk="0" hangingPunct="1">
              <a:lnSpc>
                <a:spcPct val="90000"/>
              </a:lnSpc>
              <a:spcBef>
                <a:spcPts val="800"/>
              </a:spcBef>
              <a:spcAft>
                <a:spcPts val="0"/>
              </a:spcAft>
              <a:buClrTx/>
              <a:buSzTx/>
              <a:buFont typeface="Arial" charset="0"/>
              <a:buNone/>
              <a:tabLst/>
              <a:defRPr/>
            </a:pPr>
            <a:r>
              <a:rPr kumimoji="0" lang="en-GB" sz="1800" b="0" i="0" u="none" strike="noStrike" kern="1200" cap="none" spc="0" normalizeH="0" baseline="0" noProof="0" dirty="0">
                <a:ln>
                  <a:noFill/>
                </a:ln>
                <a:solidFill>
                  <a:srgbClr val="96968C"/>
                </a:solidFill>
                <a:effectLst/>
                <a:uLnTx/>
                <a:uFillTx/>
                <a:latin typeface="Arial" panose="020B0503030202060203" pitchFamily="34" charset="0"/>
              </a:rPr>
              <a:t>This document contains confidential information and is for company internal use only. Access to and use of the document and information is strictly limited and controlled by Accenture. It is prohibited to copy, distribute, or otherwise disclose the document and information outside of Accenture or its affiliates.</a:t>
            </a:r>
          </a:p>
        </p:txBody>
      </p:sp>
      <p:sp>
        <p:nvSpPr>
          <p:cNvPr id="5" name="Footer Placeholder 4">
            <a:extLst>
              <a:ext uri="{FF2B5EF4-FFF2-40B4-BE49-F238E27FC236}">
                <a16:creationId xmlns:a16="http://schemas.microsoft.com/office/drawing/2014/main" id="{90E77B0E-3CD7-46C2-8A75-294380CDC16A}"/>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8" name="Slide Number Placeholder 7">
            <a:extLst>
              <a:ext uri="{FF2B5EF4-FFF2-40B4-BE49-F238E27FC236}">
                <a16:creationId xmlns:a16="http://schemas.microsoft.com/office/drawing/2014/main" id="{C9F3D552-1F32-450A-BC22-2EAEFFC67975}"/>
              </a:ext>
            </a:extLst>
          </p:cNvPr>
          <p:cNvSpPr>
            <a:spLocks noGrp="1"/>
          </p:cNvSpPr>
          <p:nvPr>
            <p:ph type="sldNum" sz="quarter" idx="11"/>
          </p:nvPr>
        </p:nvSpPr>
        <p:spPr/>
        <p:txBody>
          <a:bodyPr/>
          <a:lstStyle/>
          <a:p>
            <a:fld id="{1F90F471-3972-4120-B8B3-0237DE626C35}" type="slidenum">
              <a:rPr lang="en-US" smtClean="0"/>
              <a:pPr/>
              <a:t>454</a:t>
            </a:fld>
            <a:endParaRPr lang="en-US" dirty="0"/>
          </a:p>
        </p:txBody>
      </p:sp>
    </p:spTree>
    <p:extLst>
      <p:ext uri="{BB962C8B-B14F-4D97-AF65-F5344CB8AC3E}">
        <p14:creationId xmlns:p14="http://schemas.microsoft.com/office/powerpoint/2010/main" val="39895839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60D0B896-6817-4855-B135-5EBACD2EA612}"/>
              </a:ext>
            </a:extLst>
          </p:cNvPr>
          <p:cNvSpPr>
            <a:spLocks noGrp="1"/>
          </p:cNvSpPr>
          <p:nvPr>
            <p:ph type="title"/>
          </p:nvPr>
        </p:nvSpPr>
        <p:spPr/>
        <p:txBody>
          <a:bodyPr/>
          <a:lstStyle/>
          <a:p>
            <a:r>
              <a:rPr lang="en-GB" dirty="0"/>
              <a:t>Place headline here (36pt, min 30pt)</a:t>
            </a:r>
            <a:endParaRPr lang="en-US" dirty="0"/>
          </a:p>
        </p:txBody>
      </p:sp>
      <p:sp>
        <p:nvSpPr>
          <p:cNvPr id="16" name="Text Placeholder 15">
            <a:extLst>
              <a:ext uri="{FF2B5EF4-FFF2-40B4-BE49-F238E27FC236}">
                <a16:creationId xmlns:a16="http://schemas.microsoft.com/office/drawing/2014/main" id="{921E5690-B456-4124-AA6C-87CB3A6C4BD5}"/>
              </a:ext>
            </a:extLst>
          </p:cNvPr>
          <p:cNvSpPr>
            <a:spLocks noGrp="1"/>
          </p:cNvSpPr>
          <p:nvPr>
            <p:ph type="body" sz="quarter" idx="11"/>
          </p:nvPr>
        </p:nvSpPr>
        <p:spPr/>
        <p:txBody>
          <a:bodyPr/>
          <a:lstStyle/>
          <a:p>
            <a:r>
              <a:rPr lang="en-GB" dirty="0"/>
              <a:t>Place subtitle here in GT Sectra Fine </a:t>
            </a:r>
            <a:r>
              <a:rPr lang="en-GB" dirty="0" err="1"/>
              <a:t>Rg</a:t>
            </a:r>
            <a:r>
              <a:rPr lang="en-GB" dirty="0"/>
              <a:t> 20pt</a:t>
            </a:r>
            <a:endParaRPr lang="en-US" dirty="0"/>
          </a:p>
        </p:txBody>
      </p:sp>
      <p:sp>
        <p:nvSpPr>
          <p:cNvPr id="3" name="Text Placeholder 2">
            <a:extLst>
              <a:ext uri="{FF2B5EF4-FFF2-40B4-BE49-F238E27FC236}">
                <a16:creationId xmlns:a16="http://schemas.microsoft.com/office/drawing/2014/main" id="{49CED928-4953-4896-869A-058AFC641FB2}"/>
              </a:ext>
            </a:extLst>
          </p:cNvPr>
          <p:cNvSpPr>
            <a:spLocks noGrp="1"/>
          </p:cNvSpPr>
          <p:nvPr>
            <p:ph type="body" idx="18"/>
          </p:nvPr>
        </p:nvSpPr>
        <p:spPr/>
        <p:txBody>
          <a:bodyPr/>
          <a:lstStyle/>
          <a:p>
            <a:r>
              <a:rPr lang="en-GB" dirty="0"/>
              <a:t>#</a:t>
            </a:r>
            <a:endParaRPr lang="en-US" dirty="0"/>
          </a:p>
        </p:txBody>
      </p:sp>
      <p:sp>
        <p:nvSpPr>
          <p:cNvPr id="2" name="Text Placeholder 1">
            <a:extLst>
              <a:ext uri="{FF2B5EF4-FFF2-40B4-BE49-F238E27FC236}">
                <a16:creationId xmlns:a16="http://schemas.microsoft.com/office/drawing/2014/main" id="{8520256C-5921-4BBB-8D4F-F6A801C05FB3}"/>
              </a:ext>
            </a:extLst>
          </p:cNvPr>
          <p:cNvSpPr>
            <a:spLocks noGrp="1"/>
          </p:cNvSpPr>
          <p:nvPr>
            <p:ph type="body" idx="1"/>
          </p:nvPr>
        </p:nvSpPr>
        <p:spPr/>
        <p:txBody>
          <a:bodyPr/>
          <a:lstStyle/>
          <a:p>
            <a:r>
              <a:rPr lang="en-GB" dirty="0"/>
              <a:t>Place headline here 24pt</a:t>
            </a:r>
            <a:endParaRPr lang="en-US" dirty="0"/>
          </a:p>
        </p:txBody>
      </p:sp>
      <p:sp>
        <p:nvSpPr>
          <p:cNvPr id="10" name="Content Placeholder 9">
            <a:extLst>
              <a:ext uri="{FF2B5EF4-FFF2-40B4-BE49-F238E27FC236}">
                <a16:creationId xmlns:a16="http://schemas.microsoft.com/office/drawing/2014/main" id="{D51B2374-EB18-4214-813D-5F0D35AEE21C}"/>
              </a:ext>
            </a:extLst>
          </p:cNvPr>
          <p:cNvSpPr>
            <a:spLocks noGrp="1"/>
          </p:cNvSpPr>
          <p:nvPr>
            <p:ph sz="half" idx="28"/>
          </p:nvPr>
        </p:nvSpPr>
        <p:spPr/>
        <p:txBody>
          <a:body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5" name="Text Placeholder 4">
            <a:extLst>
              <a:ext uri="{FF2B5EF4-FFF2-40B4-BE49-F238E27FC236}">
                <a16:creationId xmlns:a16="http://schemas.microsoft.com/office/drawing/2014/main" id="{06A2884B-32F0-41FD-90DA-3A12C445E5D1}"/>
              </a:ext>
            </a:extLst>
          </p:cNvPr>
          <p:cNvSpPr>
            <a:spLocks noGrp="1"/>
          </p:cNvSpPr>
          <p:nvPr>
            <p:ph type="body" idx="21"/>
          </p:nvPr>
        </p:nvSpPr>
        <p:spPr/>
        <p:txBody>
          <a:bodyPr/>
          <a:lstStyle/>
          <a:p>
            <a:r>
              <a:rPr lang="en-GB" dirty="0"/>
              <a:t>#</a:t>
            </a:r>
            <a:endParaRPr lang="en-US" dirty="0"/>
          </a:p>
        </p:txBody>
      </p:sp>
      <p:sp>
        <p:nvSpPr>
          <p:cNvPr id="4" name="Text Placeholder 3">
            <a:extLst>
              <a:ext uri="{FF2B5EF4-FFF2-40B4-BE49-F238E27FC236}">
                <a16:creationId xmlns:a16="http://schemas.microsoft.com/office/drawing/2014/main" id="{A3C921E1-51D8-4503-992F-94CD870EF390}"/>
              </a:ext>
            </a:extLst>
          </p:cNvPr>
          <p:cNvSpPr>
            <a:spLocks noGrp="1"/>
          </p:cNvSpPr>
          <p:nvPr>
            <p:ph type="body" idx="19"/>
          </p:nvPr>
        </p:nvSpPr>
        <p:spPr/>
        <p:txBody>
          <a:bodyPr/>
          <a:lstStyle/>
          <a:p>
            <a:r>
              <a:rPr lang="en-GB" dirty="0"/>
              <a:t>Place headline here 24pt</a:t>
            </a:r>
            <a:endParaRPr lang="en-US" dirty="0"/>
          </a:p>
        </p:txBody>
      </p:sp>
      <p:sp>
        <p:nvSpPr>
          <p:cNvPr id="11" name="Content Placeholder 10">
            <a:extLst>
              <a:ext uri="{FF2B5EF4-FFF2-40B4-BE49-F238E27FC236}">
                <a16:creationId xmlns:a16="http://schemas.microsoft.com/office/drawing/2014/main" id="{78B3E0DA-86CB-4458-A40E-953BC6A2A999}"/>
              </a:ext>
            </a:extLst>
          </p:cNvPr>
          <p:cNvSpPr>
            <a:spLocks noGrp="1"/>
          </p:cNvSpPr>
          <p:nvPr>
            <p:ph sz="half" idx="29"/>
          </p:nvPr>
        </p:nvSpPr>
        <p:spPr/>
        <p:txBody>
          <a:body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7" name="Text Placeholder 6">
            <a:extLst>
              <a:ext uri="{FF2B5EF4-FFF2-40B4-BE49-F238E27FC236}">
                <a16:creationId xmlns:a16="http://schemas.microsoft.com/office/drawing/2014/main" id="{301825E1-886D-4EE0-BCB4-2103F9106639}"/>
              </a:ext>
            </a:extLst>
          </p:cNvPr>
          <p:cNvSpPr>
            <a:spLocks noGrp="1"/>
          </p:cNvSpPr>
          <p:nvPr>
            <p:ph type="body" idx="24"/>
          </p:nvPr>
        </p:nvSpPr>
        <p:spPr/>
        <p:txBody>
          <a:bodyPr/>
          <a:lstStyle/>
          <a:p>
            <a:r>
              <a:rPr lang="en-GB" dirty="0"/>
              <a:t>#</a:t>
            </a:r>
            <a:endParaRPr lang="en-US" dirty="0"/>
          </a:p>
        </p:txBody>
      </p:sp>
      <p:sp>
        <p:nvSpPr>
          <p:cNvPr id="6" name="Text Placeholder 5">
            <a:extLst>
              <a:ext uri="{FF2B5EF4-FFF2-40B4-BE49-F238E27FC236}">
                <a16:creationId xmlns:a16="http://schemas.microsoft.com/office/drawing/2014/main" id="{C7FDC906-ED15-465F-B377-D7EBC1DAF3BF}"/>
              </a:ext>
            </a:extLst>
          </p:cNvPr>
          <p:cNvSpPr>
            <a:spLocks noGrp="1"/>
          </p:cNvSpPr>
          <p:nvPr>
            <p:ph type="body" idx="22"/>
          </p:nvPr>
        </p:nvSpPr>
        <p:spPr/>
        <p:txBody>
          <a:bodyPr/>
          <a:lstStyle/>
          <a:p>
            <a:r>
              <a:rPr lang="en-GB" dirty="0"/>
              <a:t>Place headline here 24pt</a:t>
            </a:r>
            <a:endParaRPr lang="en-US" dirty="0"/>
          </a:p>
        </p:txBody>
      </p:sp>
      <p:sp>
        <p:nvSpPr>
          <p:cNvPr id="12" name="Content Placeholder 11">
            <a:extLst>
              <a:ext uri="{FF2B5EF4-FFF2-40B4-BE49-F238E27FC236}">
                <a16:creationId xmlns:a16="http://schemas.microsoft.com/office/drawing/2014/main" id="{72C915D1-E769-4182-815B-8B39365F6E65}"/>
              </a:ext>
            </a:extLst>
          </p:cNvPr>
          <p:cNvSpPr>
            <a:spLocks noGrp="1"/>
          </p:cNvSpPr>
          <p:nvPr>
            <p:ph sz="half" idx="30"/>
          </p:nvPr>
        </p:nvSpPr>
        <p:spPr/>
        <p:txBody>
          <a:body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9" name="Text Placeholder 8">
            <a:extLst>
              <a:ext uri="{FF2B5EF4-FFF2-40B4-BE49-F238E27FC236}">
                <a16:creationId xmlns:a16="http://schemas.microsoft.com/office/drawing/2014/main" id="{143AA9D1-FDB7-4ABF-8512-DB43BE42B24D}"/>
              </a:ext>
            </a:extLst>
          </p:cNvPr>
          <p:cNvSpPr>
            <a:spLocks noGrp="1"/>
          </p:cNvSpPr>
          <p:nvPr>
            <p:ph type="body" idx="27"/>
          </p:nvPr>
        </p:nvSpPr>
        <p:spPr/>
        <p:txBody>
          <a:bodyPr/>
          <a:lstStyle/>
          <a:p>
            <a:r>
              <a:rPr lang="en-GB" dirty="0"/>
              <a:t>#</a:t>
            </a:r>
            <a:endParaRPr lang="en-US" dirty="0"/>
          </a:p>
        </p:txBody>
      </p:sp>
      <p:sp>
        <p:nvSpPr>
          <p:cNvPr id="8" name="Text Placeholder 7">
            <a:extLst>
              <a:ext uri="{FF2B5EF4-FFF2-40B4-BE49-F238E27FC236}">
                <a16:creationId xmlns:a16="http://schemas.microsoft.com/office/drawing/2014/main" id="{D1ECBF71-CFAF-406C-AF3C-79A6B0836DFF}"/>
              </a:ext>
            </a:extLst>
          </p:cNvPr>
          <p:cNvSpPr>
            <a:spLocks noGrp="1"/>
          </p:cNvSpPr>
          <p:nvPr>
            <p:ph type="body" idx="25"/>
          </p:nvPr>
        </p:nvSpPr>
        <p:spPr/>
        <p:txBody>
          <a:bodyPr/>
          <a:lstStyle/>
          <a:p>
            <a:r>
              <a:rPr lang="en-GB" dirty="0"/>
              <a:t>Place headline here 24pt</a:t>
            </a:r>
            <a:endParaRPr lang="en-US" dirty="0"/>
          </a:p>
        </p:txBody>
      </p:sp>
      <p:sp>
        <p:nvSpPr>
          <p:cNvPr id="13" name="Content Placeholder 12">
            <a:extLst>
              <a:ext uri="{FF2B5EF4-FFF2-40B4-BE49-F238E27FC236}">
                <a16:creationId xmlns:a16="http://schemas.microsoft.com/office/drawing/2014/main" id="{D53047E6-29E9-4742-AB91-B9C79410E3CF}"/>
              </a:ext>
            </a:extLst>
          </p:cNvPr>
          <p:cNvSpPr>
            <a:spLocks noGrp="1"/>
          </p:cNvSpPr>
          <p:nvPr>
            <p:ph sz="half" idx="31"/>
          </p:nvPr>
        </p:nvSpPr>
        <p:spPr/>
        <p:txBody>
          <a:body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14" name="Footer Placeholder 13">
            <a:extLst>
              <a:ext uri="{FF2B5EF4-FFF2-40B4-BE49-F238E27FC236}">
                <a16:creationId xmlns:a16="http://schemas.microsoft.com/office/drawing/2014/main" id="{6210ACA6-40CD-473B-92D5-D4FF11E80ADB}"/>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7" name="Slide Number Placeholder 16">
            <a:extLst>
              <a:ext uri="{FF2B5EF4-FFF2-40B4-BE49-F238E27FC236}">
                <a16:creationId xmlns:a16="http://schemas.microsoft.com/office/drawing/2014/main" id="{EE193DDD-52D6-47C3-9C65-7530FE5A6FD8}"/>
              </a:ext>
            </a:extLst>
          </p:cNvPr>
          <p:cNvSpPr>
            <a:spLocks noGrp="1"/>
          </p:cNvSpPr>
          <p:nvPr>
            <p:ph type="sldNum" sz="quarter" idx="32"/>
          </p:nvPr>
        </p:nvSpPr>
        <p:spPr/>
        <p:txBody>
          <a:bodyPr/>
          <a:lstStyle/>
          <a:p>
            <a:fld id="{1F90F471-3972-4120-B8B3-0237DE626C35}" type="slidenum">
              <a:rPr lang="en-US" smtClean="0"/>
              <a:pPr/>
              <a:t>46</a:t>
            </a:fld>
            <a:endParaRPr lang="en-US" dirty="0"/>
          </a:p>
        </p:txBody>
      </p:sp>
    </p:spTree>
    <p:extLst>
      <p:ext uri="{BB962C8B-B14F-4D97-AF65-F5344CB8AC3E}">
        <p14:creationId xmlns:p14="http://schemas.microsoft.com/office/powerpoint/2010/main" val="47785566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CB9DD-8FFD-4E15-8D79-5D668302D2B5}"/>
              </a:ext>
            </a:extLst>
          </p:cNvPr>
          <p:cNvSpPr>
            <a:spLocks noGrp="1"/>
          </p:cNvSpPr>
          <p:nvPr>
            <p:ph type="title"/>
          </p:nvPr>
        </p:nvSpPr>
        <p:spPr/>
        <p:txBody>
          <a:bodyPr/>
          <a:lstStyle/>
          <a:p>
            <a:r>
              <a:rPr lang="en-GB" dirty="0"/>
              <a:t>Place headline here (36pt, min 30pt)</a:t>
            </a:r>
            <a:endParaRPr lang="en-US" dirty="0"/>
          </a:p>
        </p:txBody>
      </p:sp>
      <p:sp>
        <p:nvSpPr>
          <p:cNvPr id="14" name="Text Placeholder 13">
            <a:extLst>
              <a:ext uri="{FF2B5EF4-FFF2-40B4-BE49-F238E27FC236}">
                <a16:creationId xmlns:a16="http://schemas.microsoft.com/office/drawing/2014/main" id="{5E9719C6-B424-483B-B805-D1248DB661C7}"/>
              </a:ext>
            </a:extLst>
          </p:cNvPr>
          <p:cNvSpPr>
            <a:spLocks noGrp="1"/>
          </p:cNvSpPr>
          <p:nvPr>
            <p:ph type="body" sz="quarter" idx="11"/>
          </p:nvPr>
        </p:nvSpPr>
        <p:spPr/>
        <p:txBody>
          <a:bodyPr/>
          <a:lstStyle/>
          <a:p>
            <a:r>
              <a:rPr lang="en-GB" dirty="0"/>
              <a:t>Place subtitle here in GT Sectra Fine </a:t>
            </a:r>
            <a:r>
              <a:rPr lang="en-GB" dirty="0" err="1"/>
              <a:t>Rg</a:t>
            </a:r>
            <a:r>
              <a:rPr lang="en-GB" dirty="0"/>
              <a:t> 20pt</a:t>
            </a:r>
            <a:endParaRPr lang="en-US" dirty="0"/>
          </a:p>
        </p:txBody>
      </p:sp>
      <p:sp>
        <p:nvSpPr>
          <p:cNvPr id="3" name="Picture Placeholder 2" descr="Insert image here">
            <a:extLst>
              <a:ext uri="{FF2B5EF4-FFF2-40B4-BE49-F238E27FC236}">
                <a16:creationId xmlns:a16="http://schemas.microsoft.com/office/drawing/2014/main" id="{E9CE53F5-568D-48E3-BBB6-7D6A7D2EEAEF}"/>
              </a:ext>
            </a:extLst>
          </p:cNvPr>
          <p:cNvSpPr>
            <a:spLocks noGrp="1"/>
          </p:cNvSpPr>
          <p:nvPr>
            <p:ph type="pic" sz="quarter" idx="14"/>
          </p:nvPr>
        </p:nvSpPr>
        <p:spPr/>
        <p:txBody>
          <a:bodyPr/>
          <a:lstStyle/>
          <a:p>
            <a:endParaRPr lang="fr-FR"/>
          </a:p>
        </p:txBody>
      </p:sp>
      <p:sp>
        <p:nvSpPr>
          <p:cNvPr id="4" name="Text Placeholder 3">
            <a:extLst>
              <a:ext uri="{FF2B5EF4-FFF2-40B4-BE49-F238E27FC236}">
                <a16:creationId xmlns:a16="http://schemas.microsoft.com/office/drawing/2014/main" id="{821BFC0E-3E9A-4079-9258-3B43411979F5}"/>
              </a:ext>
            </a:extLst>
          </p:cNvPr>
          <p:cNvSpPr>
            <a:spLocks noGrp="1"/>
          </p:cNvSpPr>
          <p:nvPr>
            <p:ph type="body" sz="quarter" idx="19"/>
          </p:nvPr>
        </p:nvSpPr>
        <p:spPr/>
        <p:txBody>
          <a:body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9" name="Picture Placeholder 8" descr="Insert image here">
            <a:extLst>
              <a:ext uri="{FF2B5EF4-FFF2-40B4-BE49-F238E27FC236}">
                <a16:creationId xmlns:a16="http://schemas.microsoft.com/office/drawing/2014/main" id="{61895A80-84FB-4E0B-A1AE-9B61DEEE281B}"/>
              </a:ext>
            </a:extLst>
          </p:cNvPr>
          <p:cNvSpPr>
            <a:spLocks noGrp="1"/>
          </p:cNvSpPr>
          <p:nvPr>
            <p:ph type="pic" sz="quarter" idx="24"/>
          </p:nvPr>
        </p:nvSpPr>
        <p:spPr/>
        <p:txBody>
          <a:bodyPr/>
          <a:lstStyle/>
          <a:p>
            <a:endParaRPr lang="fr-FR"/>
          </a:p>
        </p:txBody>
      </p:sp>
      <p:sp>
        <p:nvSpPr>
          <p:cNvPr id="5" name="Text Placeholder 4">
            <a:extLst>
              <a:ext uri="{FF2B5EF4-FFF2-40B4-BE49-F238E27FC236}">
                <a16:creationId xmlns:a16="http://schemas.microsoft.com/office/drawing/2014/main" id="{AB23E088-E9F9-4541-A207-FA0497C2B07F}"/>
              </a:ext>
            </a:extLst>
          </p:cNvPr>
          <p:cNvSpPr>
            <a:spLocks noGrp="1"/>
          </p:cNvSpPr>
          <p:nvPr>
            <p:ph type="body" sz="quarter" idx="20"/>
          </p:nvPr>
        </p:nvSpPr>
        <p:spPr/>
        <p:txBody>
          <a:body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10" name="Picture Placeholder 9" descr="Insert image here">
            <a:extLst>
              <a:ext uri="{FF2B5EF4-FFF2-40B4-BE49-F238E27FC236}">
                <a16:creationId xmlns:a16="http://schemas.microsoft.com/office/drawing/2014/main" id="{4DF7E407-AC35-4DED-8C4B-D66B2F553411}"/>
              </a:ext>
            </a:extLst>
          </p:cNvPr>
          <p:cNvSpPr>
            <a:spLocks noGrp="1"/>
          </p:cNvSpPr>
          <p:nvPr>
            <p:ph type="pic" sz="quarter" idx="25"/>
          </p:nvPr>
        </p:nvSpPr>
        <p:spPr/>
        <p:txBody>
          <a:bodyPr/>
          <a:lstStyle/>
          <a:p>
            <a:endParaRPr lang="fr-FR"/>
          </a:p>
        </p:txBody>
      </p:sp>
      <p:sp>
        <p:nvSpPr>
          <p:cNvPr id="6" name="Text Placeholder 5">
            <a:extLst>
              <a:ext uri="{FF2B5EF4-FFF2-40B4-BE49-F238E27FC236}">
                <a16:creationId xmlns:a16="http://schemas.microsoft.com/office/drawing/2014/main" id="{D7B9CA9A-2B3A-4E62-B8BD-26AAF6E2C547}"/>
              </a:ext>
            </a:extLst>
          </p:cNvPr>
          <p:cNvSpPr>
            <a:spLocks noGrp="1"/>
          </p:cNvSpPr>
          <p:nvPr>
            <p:ph type="body" sz="quarter" idx="21"/>
          </p:nvPr>
        </p:nvSpPr>
        <p:spPr/>
        <p:txBody>
          <a:body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11" name="Picture Placeholder 10" descr="Insert image here">
            <a:extLst>
              <a:ext uri="{FF2B5EF4-FFF2-40B4-BE49-F238E27FC236}">
                <a16:creationId xmlns:a16="http://schemas.microsoft.com/office/drawing/2014/main" id="{8A71C5DD-9CCE-40CD-AB19-D76E5058917B}"/>
              </a:ext>
            </a:extLst>
          </p:cNvPr>
          <p:cNvSpPr>
            <a:spLocks noGrp="1"/>
          </p:cNvSpPr>
          <p:nvPr>
            <p:ph type="pic" sz="quarter" idx="26"/>
          </p:nvPr>
        </p:nvSpPr>
        <p:spPr/>
        <p:txBody>
          <a:bodyPr/>
          <a:lstStyle/>
          <a:p>
            <a:endParaRPr lang="fr-FR"/>
          </a:p>
        </p:txBody>
      </p:sp>
      <p:sp>
        <p:nvSpPr>
          <p:cNvPr id="7" name="Text Placeholder 6">
            <a:extLst>
              <a:ext uri="{FF2B5EF4-FFF2-40B4-BE49-F238E27FC236}">
                <a16:creationId xmlns:a16="http://schemas.microsoft.com/office/drawing/2014/main" id="{C543CF97-1F42-4B28-80E2-2DF7C4911CBE}"/>
              </a:ext>
            </a:extLst>
          </p:cNvPr>
          <p:cNvSpPr>
            <a:spLocks noGrp="1"/>
          </p:cNvSpPr>
          <p:nvPr>
            <p:ph type="body" sz="quarter" idx="22"/>
          </p:nvPr>
        </p:nvSpPr>
        <p:spPr/>
        <p:txBody>
          <a:body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12" name="Picture Placeholder 11" descr="Insert image here">
            <a:extLst>
              <a:ext uri="{FF2B5EF4-FFF2-40B4-BE49-F238E27FC236}">
                <a16:creationId xmlns:a16="http://schemas.microsoft.com/office/drawing/2014/main" id="{3B576273-AE33-4EA5-945A-23417FC35C3E}"/>
              </a:ext>
            </a:extLst>
          </p:cNvPr>
          <p:cNvSpPr>
            <a:spLocks noGrp="1"/>
          </p:cNvSpPr>
          <p:nvPr>
            <p:ph type="pic" sz="quarter" idx="27"/>
          </p:nvPr>
        </p:nvSpPr>
        <p:spPr/>
        <p:txBody>
          <a:bodyPr/>
          <a:lstStyle/>
          <a:p>
            <a:endParaRPr lang="fr-FR"/>
          </a:p>
        </p:txBody>
      </p:sp>
      <p:sp>
        <p:nvSpPr>
          <p:cNvPr id="8" name="Text Placeholder 7">
            <a:extLst>
              <a:ext uri="{FF2B5EF4-FFF2-40B4-BE49-F238E27FC236}">
                <a16:creationId xmlns:a16="http://schemas.microsoft.com/office/drawing/2014/main" id="{A92456CA-3753-4502-835E-5BD975686B56}"/>
              </a:ext>
            </a:extLst>
          </p:cNvPr>
          <p:cNvSpPr>
            <a:spLocks noGrp="1"/>
          </p:cNvSpPr>
          <p:nvPr>
            <p:ph type="body" sz="quarter" idx="23"/>
          </p:nvPr>
        </p:nvSpPr>
        <p:spPr/>
        <p:txBody>
          <a:body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13" name="Footer Placeholder 12">
            <a:extLst>
              <a:ext uri="{FF2B5EF4-FFF2-40B4-BE49-F238E27FC236}">
                <a16:creationId xmlns:a16="http://schemas.microsoft.com/office/drawing/2014/main" id="{2CFEACEA-4FA1-4BFD-941E-E69FCB81B02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5" name="Slide Number Placeholder 14">
            <a:extLst>
              <a:ext uri="{FF2B5EF4-FFF2-40B4-BE49-F238E27FC236}">
                <a16:creationId xmlns:a16="http://schemas.microsoft.com/office/drawing/2014/main" id="{5AEA4E25-8B84-499D-8BCF-E953A1A754E4}"/>
              </a:ext>
            </a:extLst>
          </p:cNvPr>
          <p:cNvSpPr>
            <a:spLocks noGrp="1"/>
          </p:cNvSpPr>
          <p:nvPr>
            <p:ph type="sldNum" sz="quarter" idx="28"/>
          </p:nvPr>
        </p:nvSpPr>
        <p:spPr/>
        <p:txBody>
          <a:bodyPr/>
          <a:lstStyle/>
          <a:p>
            <a:fld id="{1F90F471-3972-4120-B8B3-0237DE626C35}" type="slidenum">
              <a:rPr lang="en-US" smtClean="0"/>
              <a:pPr/>
              <a:t>47</a:t>
            </a:fld>
            <a:endParaRPr lang="en-US" dirty="0"/>
          </a:p>
        </p:txBody>
      </p:sp>
    </p:spTree>
    <p:extLst>
      <p:ext uri="{BB962C8B-B14F-4D97-AF65-F5344CB8AC3E}">
        <p14:creationId xmlns:p14="http://schemas.microsoft.com/office/powerpoint/2010/main" val="197209245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4F26FB-B27B-4E94-B4CF-46D52BF6B119}"/>
              </a:ext>
            </a:extLst>
          </p:cNvPr>
          <p:cNvSpPr>
            <a:spLocks noGrp="1"/>
          </p:cNvSpPr>
          <p:nvPr>
            <p:ph type="title"/>
          </p:nvPr>
        </p:nvSpPr>
        <p:spPr/>
        <p:txBody>
          <a:bodyPr/>
          <a:lstStyle/>
          <a:p>
            <a:r>
              <a:rPr lang="en-GB" dirty="0"/>
              <a:t>Place headline here (36pt, min 30pt)</a:t>
            </a:r>
            <a:endParaRPr lang="en-US" dirty="0"/>
          </a:p>
        </p:txBody>
      </p:sp>
      <p:sp>
        <p:nvSpPr>
          <p:cNvPr id="2" name="Picture Placeholder 1" descr="Insert image here / insert description">
            <a:extLst>
              <a:ext uri="{FF2B5EF4-FFF2-40B4-BE49-F238E27FC236}">
                <a16:creationId xmlns:a16="http://schemas.microsoft.com/office/drawing/2014/main" id="{A42808FB-F6D8-4B2C-B4D8-57164A6BD9E3}"/>
              </a:ext>
            </a:extLst>
          </p:cNvPr>
          <p:cNvSpPr>
            <a:spLocks noGrp="1"/>
          </p:cNvSpPr>
          <p:nvPr>
            <p:ph type="pic" sz="quarter" idx="15"/>
          </p:nvPr>
        </p:nvSpPr>
        <p:spPr/>
        <p:txBody>
          <a:bodyPr/>
          <a:lstStyle/>
          <a:p>
            <a:endParaRPr lang="fr-FR"/>
          </a:p>
        </p:txBody>
      </p:sp>
      <p:sp>
        <p:nvSpPr>
          <p:cNvPr id="7" name="Text Placeholder 6">
            <a:extLst>
              <a:ext uri="{FF2B5EF4-FFF2-40B4-BE49-F238E27FC236}">
                <a16:creationId xmlns:a16="http://schemas.microsoft.com/office/drawing/2014/main" id="{1D8A5781-AB1A-4783-BCF3-88F7DA840F6A}"/>
              </a:ext>
            </a:extLst>
          </p:cNvPr>
          <p:cNvSpPr>
            <a:spLocks noGrp="1"/>
          </p:cNvSpPr>
          <p:nvPr>
            <p:ph type="body" sz="quarter" idx="19"/>
          </p:nvPr>
        </p:nvSpPr>
        <p:spPr/>
        <p:txBody>
          <a:body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3" name="Picture Placeholder 2" descr="Insert image here / insert description">
            <a:extLst>
              <a:ext uri="{FF2B5EF4-FFF2-40B4-BE49-F238E27FC236}">
                <a16:creationId xmlns:a16="http://schemas.microsoft.com/office/drawing/2014/main" id="{2468C5EC-397E-4FF7-B71B-E534E0B1EB42}"/>
              </a:ext>
            </a:extLst>
          </p:cNvPr>
          <p:cNvSpPr>
            <a:spLocks noGrp="1"/>
          </p:cNvSpPr>
          <p:nvPr>
            <p:ph type="pic" sz="quarter" idx="27"/>
          </p:nvPr>
        </p:nvSpPr>
        <p:spPr/>
        <p:txBody>
          <a:bodyPr/>
          <a:lstStyle/>
          <a:p>
            <a:endParaRPr lang="fr-FR"/>
          </a:p>
        </p:txBody>
      </p:sp>
      <p:sp>
        <p:nvSpPr>
          <p:cNvPr id="8" name="Text Placeholder 7">
            <a:extLst>
              <a:ext uri="{FF2B5EF4-FFF2-40B4-BE49-F238E27FC236}">
                <a16:creationId xmlns:a16="http://schemas.microsoft.com/office/drawing/2014/main" id="{B1CBC798-0A27-4AA6-9D01-407FE72B25C4}"/>
              </a:ext>
            </a:extLst>
          </p:cNvPr>
          <p:cNvSpPr>
            <a:spLocks noGrp="1"/>
          </p:cNvSpPr>
          <p:nvPr>
            <p:ph type="body" sz="quarter" idx="20"/>
          </p:nvPr>
        </p:nvSpPr>
        <p:spPr/>
        <p:txBody>
          <a:body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4" name="Picture Placeholder 3" descr="Insert image here / insert description">
            <a:extLst>
              <a:ext uri="{FF2B5EF4-FFF2-40B4-BE49-F238E27FC236}">
                <a16:creationId xmlns:a16="http://schemas.microsoft.com/office/drawing/2014/main" id="{02790A5B-1055-4BC4-868E-B062673777FE}"/>
              </a:ext>
            </a:extLst>
          </p:cNvPr>
          <p:cNvSpPr>
            <a:spLocks noGrp="1"/>
          </p:cNvSpPr>
          <p:nvPr>
            <p:ph type="pic" sz="quarter" idx="28"/>
          </p:nvPr>
        </p:nvSpPr>
        <p:spPr/>
        <p:txBody>
          <a:bodyPr/>
          <a:lstStyle/>
          <a:p>
            <a:endParaRPr lang="fr-FR"/>
          </a:p>
        </p:txBody>
      </p:sp>
      <p:sp>
        <p:nvSpPr>
          <p:cNvPr id="9" name="Text Placeholder 8">
            <a:extLst>
              <a:ext uri="{FF2B5EF4-FFF2-40B4-BE49-F238E27FC236}">
                <a16:creationId xmlns:a16="http://schemas.microsoft.com/office/drawing/2014/main" id="{8CB2E3F4-4610-43E1-9AC7-E84A61C6F211}"/>
              </a:ext>
            </a:extLst>
          </p:cNvPr>
          <p:cNvSpPr>
            <a:spLocks noGrp="1"/>
          </p:cNvSpPr>
          <p:nvPr>
            <p:ph type="body" sz="quarter" idx="25"/>
          </p:nvPr>
        </p:nvSpPr>
        <p:spPr/>
        <p:txBody>
          <a:body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5" name="Picture Placeholder 4" descr="Insert image here / insert description">
            <a:extLst>
              <a:ext uri="{FF2B5EF4-FFF2-40B4-BE49-F238E27FC236}">
                <a16:creationId xmlns:a16="http://schemas.microsoft.com/office/drawing/2014/main" id="{1E1B1180-6216-460C-B068-1C7B6E80926C}"/>
              </a:ext>
            </a:extLst>
          </p:cNvPr>
          <p:cNvSpPr>
            <a:spLocks noGrp="1"/>
          </p:cNvSpPr>
          <p:nvPr>
            <p:ph type="pic" sz="quarter" idx="29"/>
          </p:nvPr>
        </p:nvSpPr>
        <p:spPr/>
        <p:txBody>
          <a:bodyPr/>
          <a:lstStyle/>
          <a:p>
            <a:endParaRPr lang="fr-FR"/>
          </a:p>
        </p:txBody>
      </p:sp>
      <p:sp>
        <p:nvSpPr>
          <p:cNvPr id="10" name="Text Placeholder 9">
            <a:extLst>
              <a:ext uri="{FF2B5EF4-FFF2-40B4-BE49-F238E27FC236}">
                <a16:creationId xmlns:a16="http://schemas.microsoft.com/office/drawing/2014/main" id="{C6FFC140-B5BE-41BD-BCF7-6C14875834E7}"/>
              </a:ext>
            </a:extLst>
          </p:cNvPr>
          <p:cNvSpPr>
            <a:spLocks noGrp="1"/>
          </p:cNvSpPr>
          <p:nvPr>
            <p:ph type="body" sz="quarter" idx="26"/>
          </p:nvPr>
        </p:nvSpPr>
        <p:spPr/>
        <p:txBody>
          <a:body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11" name="Footer Placeholder 10">
            <a:extLst>
              <a:ext uri="{FF2B5EF4-FFF2-40B4-BE49-F238E27FC236}">
                <a16:creationId xmlns:a16="http://schemas.microsoft.com/office/drawing/2014/main" id="{56822DBF-307F-46B1-8A42-0B36528CE97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2" name="Slide Number Placeholder 11">
            <a:extLst>
              <a:ext uri="{FF2B5EF4-FFF2-40B4-BE49-F238E27FC236}">
                <a16:creationId xmlns:a16="http://schemas.microsoft.com/office/drawing/2014/main" id="{8A5353CA-C10A-4353-89B1-A5451354FF8F}"/>
              </a:ext>
            </a:extLst>
          </p:cNvPr>
          <p:cNvSpPr>
            <a:spLocks noGrp="1"/>
          </p:cNvSpPr>
          <p:nvPr>
            <p:ph type="sldNum" sz="quarter" idx="30"/>
          </p:nvPr>
        </p:nvSpPr>
        <p:spPr/>
        <p:txBody>
          <a:bodyPr/>
          <a:lstStyle/>
          <a:p>
            <a:fld id="{1F90F471-3972-4120-B8B3-0237DE626C35}" type="slidenum">
              <a:rPr lang="en-US" smtClean="0"/>
              <a:pPr/>
              <a:t>48</a:t>
            </a:fld>
            <a:endParaRPr lang="en-US" dirty="0"/>
          </a:p>
        </p:txBody>
      </p:sp>
    </p:spTree>
    <p:extLst>
      <p:ext uri="{BB962C8B-B14F-4D97-AF65-F5344CB8AC3E}">
        <p14:creationId xmlns:p14="http://schemas.microsoft.com/office/powerpoint/2010/main" val="326725330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3C52E9-4F34-405D-A064-03157E2C23CF}"/>
              </a:ext>
            </a:extLst>
          </p:cNvPr>
          <p:cNvSpPr>
            <a:spLocks noGrp="1"/>
          </p:cNvSpPr>
          <p:nvPr>
            <p:ph type="title"/>
          </p:nvPr>
        </p:nvSpPr>
        <p:spPr/>
        <p:txBody>
          <a:bodyPr/>
          <a:lstStyle/>
          <a:p>
            <a:r>
              <a:rPr lang="en-GB" dirty="0"/>
              <a:t>Place headline here (36pt, min 30pt)</a:t>
            </a:r>
            <a:endParaRPr lang="en-US" dirty="0"/>
          </a:p>
        </p:txBody>
      </p:sp>
      <p:sp>
        <p:nvSpPr>
          <p:cNvPr id="3" name="Picture Placeholder 2" descr="Insert image here / insert description">
            <a:extLst>
              <a:ext uri="{FF2B5EF4-FFF2-40B4-BE49-F238E27FC236}">
                <a16:creationId xmlns:a16="http://schemas.microsoft.com/office/drawing/2014/main" id="{0EDE15E6-EC5E-48CC-AF10-3819F0B5EA4B}"/>
              </a:ext>
            </a:extLst>
          </p:cNvPr>
          <p:cNvSpPr>
            <a:spLocks noGrp="1"/>
          </p:cNvSpPr>
          <p:nvPr>
            <p:ph type="pic" sz="quarter" idx="14"/>
          </p:nvPr>
        </p:nvSpPr>
        <p:spPr/>
        <p:txBody>
          <a:bodyPr/>
          <a:lstStyle/>
          <a:p>
            <a:endParaRPr lang="fr-FR"/>
          </a:p>
        </p:txBody>
      </p:sp>
      <p:sp>
        <p:nvSpPr>
          <p:cNvPr id="17" name="Picture Placeholder 16" descr="Insert image here / insert description">
            <a:extLst>
              <a:ext uri="{FF2B5EF4-FFF2-40B4-BE49-F238E27FC236}">
                <a16:creationId xmlns:a16="http://schemas.microsoft.com/office/drawing/2014/main" id="{4FFFC8DC-AF2E-47AA-B30F-03590579D14F}"/>
              </a:ext>
            </a:extLst>
          </p:cNvPr>
          <p:cNvSpPr>
            <a:spLocks noGrp="1"/>
          </p:cNvSpPr>
          <p:nvPr>
            <p:ph type="pic" sz="quarter" idx="30"/>
          </p:nvPr>
        </p:nvSpPr>
        <p:spPr/>
        <p:txBody>
          <a:bodyPr/>
          <a:lstStyle/>
          <a:p>
            <a:endParaRPr lang="fr-FR"/>
          </a:p>
        </p:txBody>
      </p:sp>
      <p:sp>
        <p:nvSpPr>
          <p:cNvPr id="9" name="Text Placeholder 8">
            <a:extLst>
              <a:ext uri="{FF2B5EF4-FFF2-40B4-BE49-F238E27FC236}">
                <a16:creationId xmlns:a16="http://schemas.microsoft.com/office/drawing/2014/main" id="{C42783C7-5D31-42A4-8958-6B9745AFA8CB}"/>
              </a:ext>
            </a:extLst>
          </p:cNvPr>
          <p:cNvSpPr>
            <a:spLocks noGrp="1"/>
          </p:cNvSpPr>
          <p:nvPr>
            <p:ph type="body" sz="quarter" idx="19"/>
          </p:nvPr>
        </p:nvSpPr>
        <p:spPr/>
        <p:txBody>
          <a:bodyPr/>
          <a:lstStyle/>
          <a:p>
            <a:pPr lvl="0"/>
            <a:r>
              <a:rPr lang="en-US" dirty="0"/>
              <a:t>First name Last name </a:t>
            </a:r>
          </a:p>
          <a:p>
            <a:pPr lvl="1"/>
            <a:r>
              <a:rPr lang="en-US" dirty="0"/>
              <a:t>Role 16pt</a:t>
            </a:r>
          </a:p>
          <a:p>
            <a:pPr lvl="2"/>
            <a:r>
              <a:rPr lang="en-US" dirty="0"/>
              <a:t>Short bio 12pt</a:t>
            </a:r>
          </a:p>
          <a:p>
            <a:pPr lvl="3"/>
            <a:r>
              <a:rPr lang="en-US" dirty="0"/>
              <a:t>Bullet point 12pt</a:t>
            </a:r>
          </a:p>
        </p:txBody>
      </p:sp>
      <p:sp>
        <p:nvSpPr>
          <p:cNvPr id="4" name="Picture Placeholder 3" descr="Insert image here / insert description">
            <a:extLst>
              <a:ext uri="{FF2B5EF4-FFF2-40B4-BE49-F238E27FC236}">
                <a16:creationId xmlns:a16="http://schemas.microsoft.com/office/drawing/2014/main" id="{D43DD0CC-B2F2-4C2A-A825-A9C358A390A4}"/>
              </a:ext>
            </a:extLst>
          </p:cNvPr>
          <p:cNvSpPr>
            <a:spLocks noGrp="1"/>
          </p:cNvSpPr>
          <p:nvPr>
            <p:ph type="pic" sz="quarter" idx="15"/>
          </p:nvPr>
        </p:nvSpPr>
        <p:spPr/>
        <p:txBody>
          <a:bodyPr/>
          <a:lstStyle/>
          <a:p>
            <a:endParaRPr lang="fr-FR"/>
          </a:p>
        </p:txBody>
      </p:sp>
      <p:sp>
        <p:nvSpPr>
          <p:cNvPr id="18" name="Picture Placeholder 17" descr="Insert image here / insert description">
            <a:extLst>
              <a:ext uri="{FF2B5EF4-FFF2-40B4-BE49-F238E27FC236}">
                <a16:creationId xmlns:a16="http://schemas.microsoft.com/office/drawing/2014/main" id="{70E414F2-F250-4F82-A1A3-CDFBB1CFC71F}"/>
              </a:ext>
            </a:extLst>
          </p:cNvPr>
          <p:cNvSpPr>
            <a:spLocks noGrp="1"/>
          </p:cNvSpPr>
          <p:nvPr>
            <p:ph type="pic" sz="quarter" idx="31"/>
          </p:nvPr>
        </p:nvSpPr>
        <p:spPr/>
        <p:txBody>
          <a:bodyPr/>
          <a:lstStyle/>
          <a:p>
            <a:endParaRPr lang="fr-FR"/>
          </a:p>
        </p:txBody>
      </p:sp>
      <p:sp>
        <p:nvSpPr>
          <p:cNvPr id="10" name="Text Placeholder 9">
            <a:extLst>
              <a:ext uri="{FF2B5EF4-FFF2-40B4-BE49-F238E27FC236}">
                <a16:creationId xmlns:a16="http://schemas.microsoft.com/office/drawing/2014/main" id="{450741ED-A56C-4B9C-94F3-3F20F4019BF4}"/>
              </a:ext>
            </a:extLst>
          </p:cNvPr>
          <p:cNvSpPr>
            <a:spLocks noGrp="1"/>
          </p:cNvSpPr>
          <p:nvPr>
            <p:ph type="body" sz="quarter" idx="20"/>
          </p:nvPr>
        </p:nvSpPr>
        <p:spPr/>
        <p:txBody>
          <a:bodyPr/>
          <a:lstStyle/>
          <a:p>
            <a:pPr lvl="0"/>
            <a:r>
              <a:rPr lang="en-US" dirty="0"/>
              <a:t>First name Last name </a:t>
            </a:r>
          </a:p>
          <a:p>
            <a:pPr lvl="1"/>
            <a:r>
              <a:rPr lang="en-US" dirty="0"/>
              <a:t>Role 16pt</a:t>
            </a:r>
          </a:p>
          <a:p>
            <a:pPr lvl="2"/>
            <a:r>
              <a:rPr lang="en-US" dirty="0"/>
              <a:t>Short bio 12pt</a:t>
            </a:r>
          </a:p>
          <a:p>
            <a:pPr lvl="3"/>
            <a:r>
              <a:rPr lang="en-US" dirty="0"/>
              <a:t>Bullet point 12pt</a:t>
            </a:r>
          </a:p>
        </p:txBody>
      </p:sp>
      <p:sp>
        <p:nvSpPr>
          <p:cNvPr id="5" name="Picture Placeholder 4" descr="Insert image here / insert description">
            <a:extLst>
              <a:ext uri="{FF2B5EF4-FFF2-40B4-BE49-F238E27FC236}">
                <a16:creationId xmlns:a16="http://schemas.microsoft.com/office/drawing/2014/main" id="{F1F97435-6BC3-4708-ACEC-1FD1E9C3C06C}"/>
              </a:ext>
            </a:extLst>
          </p:cNvPr>
          <p:cNvSpPr>
            <a:spLocks noGrp="1"/>
          </p:cNvSpPr>
          <p:nvPr>
            <p:ph type="pic" sz="quarter" idx="16"/>
          </p:nvPr>
        </p:nvSpPr>
        <p:spPr/>
        <p:txBody>
          <a:bodyPr/>
          <a:lstStyle/>
          <a:p>
            <a:endParaRPr lang="fr-FR"/>
          </a:p>
        </p:txBody>
      </p:sp>
      <p:sp>
        <p:nvSpPr>
          <p:cNvPr id="19" name="Picture Placeholder 18" descr="Insert image here / insert description">
            <a:extLst>
              <a:ext uri="{FF2B5EF4-FFF2-40B4-BE49-F238E27FC236}">
                <a16:creationId xmlns:a16="http://schemas.microsoft.com/office/drawing/2014/main" id="{0919864E-5509-4AD7-A367-8C042265986A}"/>
              </a:ext>
            </a:extLst>
          </p:cNvPr>
          <p:cNvSpPr>
            <a:spLocks noGrp="1"/>
          </p:cNvSpPr>
          <p:nvPr>
            <p:ph type="pic" sz="quarter" idx="32"/>
          </p:nvPr>
        </p:nvSpPr>
        <p:spPr/>
        <p:txBody>
          <a:bodyPr/>
          <a:lstStyle/>
          <a:p>
            <a:endParaRPr lang="fr-FR"/>
          </a:p>
        </p:txBody>
      </p:sp>
      <p:sp>
        <p:nvSpPr>
          <p:cNvPr id="11" name="Text Placeholder 10">
            <a:extLst>
              <a:ext uri="{FF2B5EF4-FFF2-40B4-BE49-F238E27FC236}">
                <a16:creationId xmlns:a16="http://schemas.microsoft.com/office/drawing/2014/main" id="{C1F90666-87B9-49ED-870A-842AA48F864F}"/>
              </a:ext>
            </a:extLst>
          </p:cNvPr>
          <p:cNvSpPr>
            <a:spLocks noGrp="1"/>
          </p:cNvSpPr>
          <p:nvPr>
            <p:ph type="body" sz="quarter" idx="25"/>
          </p:nvPr>
        </p:nvSpPr>
        <p:spPr/>
        <p:txBody>
          <a:body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6" name="Picture Placeholder 5" descr="Insert image here / insert description">
            <a:extLst>
              <a:ext uri="{FF2B5EF4-FFF2-40B4-BE49-F238E27FC236}">
                <a16:creationId xmlns:a16="http://schemas.microsoft.com/office/drawing/2014/main" id="{DB39489C-975D-41F0-9929-6AA66EFEAAE5}"/>
              </a:ext>
            </a:extLst>
          </p:cNvPr>
          <p:cNvSpPr>
            <a:spLocks noGrp="1"/>
          </p:cNvSpPr>
          <p:nvPr>
            <p:ph type="pic" sz="quarter" idx="17"/>
          </p:nvPr>
        </p:nvSpPr>
        <p:spPr/>
        <p:txBody>
          <a:bodyPr/>
          <a:lstStyle/>
          <a:p>
            <a:endParaRPr lang="fr-FR"/>
          </a:p>
        </p:txBody>
      </p:sp>
      <p:sp>
        <p:nvSpPr>
          <p:cNvPr id="20" name="Picture Placeholder 19" descr="Insert image here / insert description">
            <a:extLst>
              <a:ext uri="{FF2B5EF4-FFF2-40B4-BE49-F238E27FC236}">
                <a16:creationId xmlns:a16="http://schemas.microsoft.com/office/drawing/2014/main" id="{1AB0F964-0E2D-4BE5-A239-588C76400661}"/>
              </a:ext>
            </a:extLst>
          </p:cNvPr>
          <p:cNvSpPr>
            <a:spLocks noGrp="1"/>
          </p:cNvSpPr>
          <p:nvPr>
            <p:ph type="pic" sz="quarter" idx="33"/>
          </p:nvPr>
        </p:nvSpPr>
        <p:spPr/>
        <p:txBody>
          <a:bodyPr/>
          <a:lstStyle/>
          <a:p>
            <a:endParaRPr lang="fr-FR"/>
          </a:p>
        </p:txBody>
      </p:sp>
      <p:sp>
        <p:nvSpPr>
          <p:cNvPr id="12" name="Text Placeholder 11">
            <a:extLst>
              <a:ext uri="{FF2B5EF4-FFF2-40B4-BE49-F238E27FC236}">
                <a16:creationId xmlns:a16="http://schemas.microsoft.com/office/drawing/2014/main" id="{FAAEC85B-4692-4C62-AA4D-E0FEC685E89C}"/>
              </a:ext>
            </a:extLst>
          </p:cNvPr>
          <p:cNvSpPr>
            <a:spLocks noGrp="1"/>
          </p:cNvSpPr>
          <p:nvPr>
            <p:ph type="body" sz="quarter" idx="26"/>
          </p:nvPr>
        </p:nvSpPr>
        <p:spPr/>
        <p:txBody>
          <a:body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8" name="Picture Placeholder 7" descr="Insert image here / insert description">
            <a:extLst>
              <a:ext uri="{FF2B5EF4-FFF2-40B4-BE49-F238E27FC236}">
                <a16:creationId xmlns:a16="http://schemas.microsoft.com/office/drawing/2014/main" id="{CA5FDEB8-B270-4F00-B0E0-D56F44C5537C}"/>
              </a:ext>
            </a:extLst>
          </p:cNvPr>
          <p:cNvSpPr>
            <a:spLocks noGrp="1"/>
          </p:cNvSpPr>
          <p:nvPr>
            <p:ph type="pic" sz="quarter" idx="24"/>
          </p:nvPr>
        </p:nvSpPr>
        <p:spPr/>
        <p:txBody>
          <a:bodyPr/>
          <a:lstStyle/>
          <a:p>
            <a:endParaRPr lang="fr-FR"/>
          </a:p>
        </p:txBody>
      </p:sp>
      <p:sp>
        <p:nvSpPr>
          <p:cNvPr id="21" name="Picture Placeholder 20" descr="Insert image here / insert description">
            <a:extLst>
              <a:ext uri="{FF2B5EF4-FFF2-40B4-BE49-F238E27FC236}">
                <a16:creationId xmlns:a16="http://schemas.microsoft.com/office/drawing/2014/main" id="{F96F4613-4414-416C-9229-BC6D6CACCC15}"/>
              </a:ext>
            </a:extLst>
          </p:cNvPr>
          <p:cNvSpPr>
            <a:spLocks noGrp="1"/>
          </p:cNvSpPr>
          <p:nvPr>
            <p:ph type="pic" sz="quarter" idx="34"/>
          </p:nvPr>
        </p:nvSpPr>
        <p:spPr/>
        <p:txBody>
          <a:bodyPr/>
          <a:lstStyle/>
          <a:p>
            <a:endParaRPr lang="fr-FR"/>
          </a:p>
        </p:txBody>
      </p:sp>
      <p:sp>
        <p:nvSpPr>
          <p:cNvPr id="13" name="Text Placeholder 12">
            <a:extLst>
              <a:ext uri="{FF2B5EF4-FFF2-40B4-BE49-F238E27FC236}">
                <a16:creationId xmlns:a16="http://schemas.microsoft.com/office/drawing/2014/main" id="{C496820E-E589-490F-96C9-010BA3081DFA}"/>
              </a:ext>
            </a:extLst>
          </p:cNvPr>
          <p:cNvSpPr>
            <a:spLocks noGrp="1"/>
          </p:cNvSpPr>
          <p:nvPr>
            <p:ph type="body" sz="quarter" idx="27"/>
          </p:nvPr>
        </p:nvSpPr>
        <p:spPr/>
        <p:txBody>
          <a:body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7" name="Picture Placeholder 6" descr="Insert image here / insert description">
            <a:extLst>
              <a:ext uri="{FF2B5EF4-FFF2-40B4-BE49-F238E27FC236}">
                <a16:creationId xmlns:a16="http://schemas.microsoft.com/office/drawing/2014/main" id="{42E2CBD6-0A04-458E-9284-A1E2FEAE80E9}"/>
              </a:ext>
            </a:extLst>
          </p:cNvPr>
          <p:cNvSpPr>
            <a:spLocks noGrp="1"/>
          </p:cNvSpPr>
          <p:nvPr>
            <p:ph type="pic" sz="quarter" idx="18"/>
          </p:nvPr>
        </p:nvSpPr>
        <p:spPr/>
        <p:txBody>
          <a:bodyPr/>
          <a:lstStyle/>
          <a:p>
            <a:endParaRPr lang="fr-FR"/>
          </a:p>
        </p:txBody>
      </p:sp>
      <p:sp>
        <p:nvSpPr>
          <p:cNvPr id="22" name="Picture Placeholder 21" descr="Insert image here / insert description">
            <a:extLst>
              <a:ext uri="{FF2B5EF4-FFF2-40B4-BE49-F238E27FC236}">
                <a16:creationId xmlns:a16="http://schemas.microsoft.com/office/drawing/2014/main" id="{E2B98805-A7DF-40DF-8497-566D2BFC2A4C}"/>
              </a:ext>
            </a:extLst>
          </p:cNvPr>
          <p:cNvSpPr>
            <a:spLocks noGrp="1"/>
          </p:cNvSpPr>
          <p:nvPr>
            <p:ph type="pic" sz="quarter" idx="35"/>
          </p:nvPr>
        </p:nvSpPr>
        <p:spPr/>
        <p:txBody>
          <a:bodyPr/>
          <a:lstStyle/>
          <a:p>
            <a:endParaRPr lang="fr-FR"/>
          </a:p>
        </p:txBody>
      </p:sp>
      <p:sp>
        <p:nvSpPr>
          <p:cNvPr id="14" name="Text Placeholder 13">
            <a:extLst>
              <a:ext uri="{FF2B5EF4-FFF2-40B4-BE49-F238E27FC236}">
                <a16:creationId xmlns:a16="http://schemas.microsoft.com/office/drawing/2014/main" id="{EDC9BF97-8D47-4248-B4B6-AD8F199E1EA4}"/>
              </a:ext>
            </a:extLst>
          </p:cNvPr>
          <p:cNvSpPr>
            <a:spLocks noGrp="1"/>
          </p:cNvSpPr>
          <p:nvPr>
            <p:ph type="body" sz="quarter" idx="28"/>
          </p:nvPr>
        </p:nvSpPr>
        <p:spPr/>
        <p:txBody>
          <a:body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15" name="Footer Placeholder 14">
            <a:extLst>
              <a:ext uri="{FF2B5EF4-FFF2-40B4-BE49-F238E27FC236}">
                <a16:creationId xmlns:a16="http://schemas.microsoft.com/office/drawing/2014/main" id="{F497A2BC-4EE4-451F-826D-572C714AE0B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6" name="Slide Number Placeholder 15">
            <a:extLst>
              <a:ext uri="{FF2B5EF4-FFF2-40B4-BE49-F238E27FC236}">
                <a16:creationId xmlns:a16="http://schemas.microsoft.com/office/drawing/2014/main" id="{B9967B08-787D-4EA4-AEF0-53F783E44D50}"/>
              </a:ext>
            </a:extLst>
          </p:cNvPr>
          <p:cNvSpPr>
            <a:spLocks noGrp="1"/>
          </p:cNvSpPr>
          <p:nvPr>
            <p:ph type="sldNum" sz="quarter" idx="29"/>
          </p:nvPr>
        </p:nvSpPr>
        <p:spPr/>
        <p:txBody>
          <a:bodyPr/>
          <a:lstStyle/>
          <a:p>
            <a:fld id="{1F90F471-3972-4120-B8B3-0237DE626C35}" type="slidenum">
              <a:rPr lang="en-US" smtClean="0"/>
              <a:pPr/>
              <a:t>49</a:t>
            </a:fld>
            <a:endParaRPr lang="en-US" dirty="0"/>
          </a:p>
        </p:txBody>
      </p:sp>
    </p:spTree>
    <p:extLst>
      <p:ext uri="{BB962C8B-B14F-4D97-AF65-F5344CB8AC3E}">
        <p14:creationId xmlns:p14="http://schemas.microsoft.com/office/powerpoint/2010/main" val="14518578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25E66-6E45-4606-906D-0109D4EB7493}"/>
              </a:ext>
            </a:extLst>
          </p:cNvPr>
          <p:cNvSpPr>
            <a:spLocks noGrp="1"/>
          </p:cNvSpPr>
          <p:nvPr>
            <p:ph type="title"/>
          </p:nvPr>
        </p:nvSpPr>
        <p:spPr/>
        <p:txBody>
          <a:bodyPr/>
          <a:lstStyle/>
          <a:p>
            <a:r>
              <a:rPr lang="en-US" dirty="0"/>
              <a:t>Working with footers</a:t>
            </a:r>
          </a:p>
        </p:txBody>
      </p:sp>
      <p:sp>
        <p:nvSpPr>
          <p:cNvPr id="6" name="Text Placeholder 5">
            <a:extLst>
              <a:ext uri="{FF2B5EF4-FFF2-40B4-BE49-F238E27FC236}">
                <a16:creationId xmlns:a16="http://schemas.microsoft.com/office/drawing/2014/main" id="{CA362F82-5346-4207-85FC-8FE4ACF26BAB}"/>
              </a:ext>
            </a:extLst>
          </p:cNvPr>
          <p:cNvSpPr>
            <a:spLocks noGrp="1"/>
          </p:cNvSpPr>
          <p:nvPr>
            <p:ph type="body" sz="quarter" idx="11"/>
          </p:nvPr>
        </p:nvSpPr>
        <p:spPr/>
        <p:txBody>
          <a:bodyPr/>
          <a:lstStyle/>
          <a:p>
            <a:r>
              <a:rPr lang="en-US" dirty="0"/>
              <a:t>Copyright or other text</a:t>
            </a:r>
          </a:p>
        </p:txBody>
      </p:sp>
      <p:sp>
        <p:nvSpPr>
          <p:cNvPr id="3" name="Content Placeholder 2">
            <a:extLst>
              <a:ext uri="{FF2B5EF4-FFF2-40B4-BE49-F238E27FC236}">
                <a16:creationId xmlns:a16="http://schemas.microsoft.com/office/drawing/2014/main" id="{4161FB08-575F-482C-8A95-212A2F6B7416}"/>
              </a:ext>
            </a:extLst>
          </p:cNvPr>
          <p:cNvSpPr>
            <a:spLocks noGrp="1"/>
          </p:cNvSpPr>
          <p:nvPr>
            <p:ph sz="half" idx="2"/>
          </p:nvPr>
        </p:nvSpPr>
        <p:spPr>
          <a:xfrm>
            <a:off x="380999" y="1947672"/>
            <a:ext cx="5524499" cy="4361688"/>
          </a:xfrm>
        </p:spPr>
        <p:txBody>
          <a:bodyPr/>
          <a:lstStyle/>
          <a:p>
            <a:r>
              <a:rPr lang="en-GB" dirty="0"/>
              <a:t>From the Ribbon, click the Insert tab and click Header &amp; Footer in the Text group</a:t>
            </a:r>
          </a:p>
          <a:p>
            <a:r>
              <a:rPr lang="en-GB" dirty="0"/>
              <a:t>In the dialog box (shown right), check the box next to “Footer,” if it isn’t already</a:t>
            </a:r>
          </a:p>
          <a:p>
            <a:r>
              <a:rPr lang="en-GB" dirty="0"/>
              <a:t>The default footer text reads “Copyright © 2021 Accenture. All rights reserved”</a:t>
            </a:r>
          </a:p>
          <a:p>
            <a:r>
              <a:rPr lang="en-GB" dirty="0"/>
              <a:t>Change the text or leave as the default</a:t>
            </a:r>
          </a:p>
          <a:p>
            <a:r>
              <a:rPr lang="en-GB" dirty="0"/>
              <a:t>Click ‘Apply’ to apply the footer only to the slide you're currently working on; or click ‘Apply to All’ if you want it to appear on all your slides</a:t>
            </a:r>
          </a:p>
          <a:p>
            <a:r>
              <a:rPr lang="en-GB" dirty="0"/>
              <a:t>“Don’t show on title slide” can remain unchecked, the footer is not present on title slide masters</a:t>
            </a:r>
            <a:endParaRPr lang="en-US" dirty="0"/>
          </a:p>
        </p:txBody>
      </p:sp>
      <p:pic>
        <p:nvPicPr>
          <p:cNvPr id="8" name="Content Placeholder 8" descr="All informative images must include a description for screen readers. All informative images must include a description for screen readers. If descriptive information is available in nearby text, it should not be repeated in the alt text for an image.">
            <a:extLst>
              <a:ext uri="{FF2B5EF4-FFF2-40B4-BE49-F238E27FC236}">
                <a16:creationId xmlns:a16="http://schemas.microsoft.com/office/drawing/2014/main" id="{33C470C1-7A64-4B4A-9956-4A58A606016B}"/>
              </a:ext>
            </a:extLst>
          </p:cNvPr>
          <p:cNvPicPr>
            <a:picLocks noGrp="1" noChangeAspect="1"/>
          </p:cNvPicPr>
          <p:nvPr>
            <p:ph sz="half" idx="18"/>
          </p:nvPr>
        </p:nvPicPr>
        <p:blipFill>
          <a:blip r:embed="rId2"/>
          <a:stretch>
            <a:fillRect/>
          </a:stretch>
        </p:blipFill>
        <p:spPr>
          <a:xfrm>
            <a:off x="6286500" y="1947672"/>
            <a:ext cx="5524500" cy="3819142"/>
          </a:xfrm>
        </p:spPr>
      </p:pic>
      <p:sp>
        <p:nvSpPr>
          <p:cNvPr id="5" name="Footer Placeholder 4">
            <a:extLst>
              <a:ext uri="{FF2B5EF4-FFF2-40B4-BE49-F238E27FC236}">
                <a16:creationId xmlns:a16="http://schemas.microsoft.com/office/drawing/2014/main" id="{82971068-CE6C-493F-98C2-23C66FCED94D}"/>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7" name="Slide Number Placeholder 6">
            <a:extLst>
              <a:ext uri="{FF2B5EF4-FFF2-40B4-BE49-F238E27FC236}">
                <a16:creationId xmlns:a16="http://schemas.microsoft.com/office/drawing/2014/main" id="{5F8A4368-F84D-42E8-B7D1-E22F637A2A63}"/>
              </a:ext>
            </a:extLst>
          </p:cNvPr>
          <p:cNvSpPr>
            <a:spLocks noGrp="1"/>
          </p:cNvSpPr>
          <p:nvPr>
            <p:ph type="sldNum" sz="quarter" idx="20"/>
          </p:nvPr>
        </p:nvSpPr>
        <p:spPr/>
        <p:txBody>
          <a:bodyPr/>
          <a:lstStyle/>
          <a:p>
            <a:fld id="{1F90F471-3972-4120-B8B3-0237DE626C35}" type="slidenum">
              <a:rPr lang="en-US" smtClean="0"/>
              <a:pPr/>
              <a:t>5</a:t>
            </a:fld>
            <a:endParaRPr lang="en-US" dirty="0"/>
          </a:p>
        </p:txBody>
      </p:sp>
    </p:spTree>
    <p:extLst>
      <p:ext uri="{BB962C8B-B14F-4D97-AF65-F5344CB8AC3E}">
        <p14:creationId xmlns:p14="http://schemas.microsoft.com/office/powerpoint/2010/main" val="69077436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0412D-AE0F-43BF-A735-EB89845EFAA1}"/>
              </a:ext>
            </a:extLst>
          </p:cNvPr>
          <p:cNvSpPr>
            <a:spLocks noGrp="1"/>
          </p:cNvSpPr>
          <p:nvPr>
            <p:ph type="title"/>
          </p:nvPr>
        </p:nvSpPr>
        <p:spPr/>
        <p:txBody>
          <a:bodyPr/>
          <a:lstStyle/>
          <a:p>
            <a:r>
              <a:rPr lang="en-GB" dirty="0"/>
              <a:t>Place headline here (36pt, min 30pt)</a:t>
            </a:r>
            <a:endParaRPr lang="en-US" dirty="0"/>
          </a:p>
        </p:txBody>
      </p:sp>
      <p:sp>
        <p:nvSpPr>
          <p:cNvPr id="3" name="Picture Placeholder 2" descr="Insert image here / insert description">
            <a:extLst>
              <a:ext uri="{FF2B5EF4-FFF2-40B4-BE49-F238E27FC236}">
                <a16:creationId xmlns:a16="http://schemas.microsoft.com/office/drawing/2014/main" id="{E76FF6A7-0A9B-4AB9-8074-EFCFDCA2FD58}"/>
              </a:ext>
            </a:extLst>
          </p:cNvPr>
          <p:cNvSpPr>
            <a:spLocks noGrp="1"/>
          </p:cNvSpPr>
          <p:nvPr>
            <p:ph type="pic" sz="quarter" idx="14"/>
          </p:nvPr>
        </p:nvSpPr>
        <p:spPr/>
        <p:txBody>
          <a:bodyPr/>
          <a:lstStyle/>
          <a:p>
            <a:endParaRPr lang="fr-FR"/>
          </a:p>
        </p:txBody>
      </p:sp>
      <p:sp>
        <p:nvSpPr>
          <p:cNvPr id="17" name="Picture Placeholder 16">
            <a:extLst>
              <a:ext uri="{FF2B5EF4-FFF2-40B4-BE49-F238E27FC236}">
                <a16:creationId xmlns:a16="http://schemas.microsoft.com/office/drawing/2014/main" id="{47303320-362E-481D-A56E-84142DC514DF}"/>
              </a:ext>
              <a:ext uri="{C183D7F6-B498-43B3-948B-1728B52AA6E4}">
                <adec:decorative xmlns:adec="http://schemas.microsoft.com/office/drawing/2017/decorative" val="1"/>
              </a:ext>
            </a:extLst>
          </p:cNvPr>
          <p:cNvSpPr>
            <a:spLocks noGrp="1"/>
          </p:cNvSpPr>
          <p:nvPr>
            <p:ph type="pic" sz="quarter" idx="30"/>
          </p:nvPr>
        </p:nvSpPr>
        <p:spPr/>
        <p:txBody>
          <a:bodyPr/>
          <a:lstStyle/>
          <a:p>
            <a:endParaRPr lang="fr-FR"/>
          </a:p>
        </p:txBody>
      </p:sp>
      <p:sp>
        <p:nvSpPr>
          <p:cNvPr id="8" name="Text Placeholder 7">
            <a:extLst>
              <a:ext uri="{FF2B5EF4-FFF2-40B4-BE49-F238E27FC236}">
                <a16:creationId xmlns:a16="http://schemas.microsoft.com/office/drawing/2014/main" id="{E65C246E-78EF-46E4-BD79-0627B6CBCE8B}"/>
              </a:ext>
            </a:extLst>
          </p:cNvPr>
          <p:cNvSpPr>
            <a:spLocks noGrp="1"/>
          </p:cNvSpPr>
          <p:nvPr>
            <p:ph type="body" sz="quarter" idx="19"/>
          </p:nvPr>
        </p:nvSpPr>
        <p:spPr/>
        <p:txBody>
          <a:body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4" name="Picture Placeholder 3" descr="Insert image here / insert description">
            <a:extLst>
              <a:ext uri="{FF2B5EF4-FFF2-40B4-BE49-F238E27FC236}">
                <a16:creationId xmlns:a16="http://schemas.microsoft.com/office/drawing/2014/main" id="{E68F6A36-0B27-4A42-A71D-73325B931F8B}"/>
              </a:ext>
            </a:extLst>
          </p:cNvPr>
          <p:cNvSpPr>
            <a:spLocks noGrp="1"/>
          </p:cNvSpPr>
          <p:nvPr>
            <p:ph type="pic" sz="quarter" idx="15"/>
          </p:nvPr>
        </p:nvSpPr>
        <p:spPr/>
        <p:txBody>
          <a:bodyPr/>
          <a:lstStyle/>
          <a:p>
            <a:endParaRPr lang="fr-FR"/>
          </a:p>
        </p:txBody>
      </p:sp>
      <p:sp>
        <p:nvSpPr>
          <p:cNvPr id="18" name="Picture Placeholder 17">
            <a:extLst>
              <a:ext uri="{FF2B5EF4-FFF2-40B4-BE49-F238E27FC236}">
                <a16:creationId xmlns:a16="http://schemas.microsoft.com/office/drawing/2014/main" id="{1684BAD2-D678-44FF-AF1D-191B6A9F3B5D}"/>
              </a:ext>
              <a:ext uri="{C183D7F6-B498-43B3-948B-1728B52AA6E4}">
                <adec:decorative xmlns:adec="http://schemas.microsoft.com/office/drawing/2017/decorative" val="1"/>
              </a:ext>
            </a:extLst>
          </p:cNvPr>
          <p:cNvSpPr>
            <a:spLocks noGrp="1"/>
          </p:cNvSpPr>
          <p:nvPr>
            <p:ph type="pic" sz="quarter" idx="31"/>
          </p:nvPr>
        </p:nvSpPr>
        <p:spPr/>
        <p:txBody>
          <a:bodyPr/>
          <a:lstStyle/>
          <a:p>
            <a:endParaRPr lang="fr-FR"/>
          </a:p>
        </p:txBody>
      </p:sp>
      <p:sp>
        <p:nvSpPr>
          <p:cNvPr id="9" name="Text Placeholder 8">
            <a:extLst>
              <a:ext uri="{FF2B5EF4-FFF2-40B4-BE49-F238E27FC236}">
                <a16:creationId xmlns:a16="http://schemas.microsoft.com/office/drawing/2014/main" id="{47D2867A-7E87-4948-83B6-64BDA3241592}"/>
              </a:ext>
            </a:extLst>
          </p:cNvPr>
          <p:cNvSpPr>
            <a:spLocks noGrp="1"/>
          </p:cNvSpPr>
          <p:nvPr>
            <p:ph type="body" sz="quarter" idx="20"/>
          </p:nvPr>
        </p:nvSpPr>
        <p:spPr/>
        <p:txBody>
          <a:body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5" name="Picture Placeholder 4" descr="Insert image here / insert description">
            <a:extLst>
              <a:ext uri="{FF2B5EF4-FFF2-40B4-BE49-F238E27FC236}">
                <a16:creationId xmlns:a16="http://schemas.microsoft.com/office/drawing/2014/main" id="{7C0A9840-BA2D-4828-9C7A-92DAFB1C2037}"/>
              </a:ext>
            </a:extLst>
          </p:cNvPr>
          <p:cNvSpPr>
            <a:spLocks noGrp="1"/>
          </p:cNvSpPr>
          <p:nvPr>
            <p:ph type="pic" sz="quarter" idx="16"/>
          </p:nvPr>
        </p:nvSpPr>
        <p:spPr/>
        <p:txBody>
          <a:bodyPr/>
          <a:lstStyle/>
          <a:p>
            <a:endParaRPr lang="fr-FR"/>
          </a:p>
        </p:txBody>
      </p:sp>
      <p:sp>
        <p:nvSpPr>
          <p:cNvPr id="19" name="Picture Placeholder 18">
            <a:extLst>
              <a:ext uri="{FF2B5EF4-FFF2-40B4-BE49-F238E27FC236}">
                <a16:creationId xmlns:a16="http://schemas.microsoft.com/office/drawing/2014/main" id="{7474D3E6-4AF9-4E89-97AC-8AE397D3E9B0}"/>
              </a:ext>
              <a:ext uri="{C183D7F6-B498-43B3-948B-1728B52AA6E4}">
                <adec:decorative xmlns:adec="http://schemas.microsoft.com/office/drawing/2017/decorative" val="1"/>
              </a:ext>
            </a:extLst>
          </p:cNvPr>
          <p:cNvSpPr>
            <a:spLocks noGrp="1"/>
          </p:cNvSpPr>
          <p:nvPr>
            <p:ph type="pic" sz="quarter" idx="32"/>
          </p:nvPr>
        </p:nvSpPr>
        <p:spPr/>
        <p:txBody>
          <a:bodyPr/>
          <a:lstStyle/>
          <a:p>
            <a:endParaRPr lang="fr-FR"/>
          </a:p>
        </p:txBody>
      </p:sp>
      <p:sp>
        <p:nvSpPr>
          <p:cNvPr id="11" name="Text Placeholder 10">
            <a:extLst>
              <a:ext uri="{FF2B5EF4-FFF2-40B4-BE49-F238E27FC236}">
                <a16:creationId xmlns:a16="http://schemas.microsoft.com/office/drawing/2014/main" id="{D68A3661-C724-4481-ADF7-91974D6D8E5C}"/>
              </a:ext>
            </a:extLst>
          </p:cNvPr>
          <p:cNvSpPr>
            <a:spLocks noGrp="1"/>
          </p:cNvSpPr>
          <p:nvPr>
            <p:ph type="body" sz="quarter" idx="25"/>
          </p:nvPr>
        </p:nvSpPr>
        <p:spPr/>
        <p:txBody>
          <a:body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6" name="Picture Placeholder 5" descr="Insert image here / insert description">
            <a:extLst>
              <a:ext uri="{FF2B5EF4-FFF2-40B4-BE49-F238E27FC236}">
                <a16:creationId xmlns:a16="http://schemas.microsoft.com/office/drawing/2014/main" id="{09B07F19-EF68-408A-8175-11590F09D13B}"/>
              </a:ext>
            </a:extLst>
          </p:cNvPr>
          <p:cNvSpPr>
            <a:spLocks noGrp="1"/>
          </p:cNvSpPr>
          <p:nvPr>
            <p:ph type="pic" sz="quarter" idx="17"/>
          </p:nvPr>
        </p:nvSpPr>
        <p:spPr/>
        <p:txBody>
          <a:bodyPr/>
          <a:lstStyle/>
          <a:p>
            <a:endParaRPr lang="fr-FR"/>
          </a:p>
        </p:txBody>
      </p:sp>
      <p:sp>
        <p:nvSpPr>
          <p:cNvPr id="20" name="Picture Placeholder 19">
            <a:extLst>
              <a:ext uri="{FF2B5EF4-FFF2-40B4-BE49-F238E27FC236}">
                <a16:creationId xmlns:a16="http://schemas.microsoft.com/office/drawing/2014/main" id="{329B1D30-E91E-4B58-BB8F-588A517625FF}"/>
              </a:ext>
              <a:ext uri="{C183D7F6-B498-43B3-948B-1728B52AA6E4}">
                <adec:decorative xmlns:adec="http://schemas.microsoft.com/office/drawing/2017/decorative" val="1"/>
              </a:ext>
            </a:extLst>
          </p:cNvPr>
          <p:cNvSpPr>
            <a:spLocks noGrp="1"/>
          </p:cNvSpPr>
          <p:nvPr>
            <p:ph type="pic" sz="quarter" idx="33"/>
          </p:nvPr>
        </p:nvSpPr>
        <p:spPr/>
        <p:txBody>
          <a:bodyPr/>
          <a:lstStyle/>
          <a:p>
            <a:endParaRPr lang="fr-FR"/>
          </a:p>
        </p:txBody>
      </p:sp>
      <p:sp>
        <p:nvSpPr>
          <p:cNvPr id="12" name="Text Placeholder 11">
            <a:extLst>
              <a:ext uri="{FF2B5EF4-FFF2-40B4-BE49-F238E27FC236}">
                <a16:creationId xmlns:a16="http://schemas.microsoft.com/office/drawing/2014/main" id="{A997D0D6-31E0-4AFF-8C13-49AB3D99D9BB}"/>
              </a:ext>
            </a:extLst>
          </p:cNvPr>
          <p:cNvSpPr>
            <a:spLocks noGrp="1"/>
          </p:cNvSpPr>
          <p:nvPr>
            <p:ph type="body" sz="quarter" idx="26"/>
          </p:nvPr>
        </p:nvSpPr>
        <p:spPr/>
        <p:txBody>
          <a:body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10" name="Picture Placeholder 9" descr="Insert image here / insert description">
            <a:extLst>
              <a:ext uri="{FF2B5EF4-FFF2-40B4-BE49-F238E27FC236}">
                <a16:creationId xmlns:a16="http://schemas.microsoft.com/office/drawing/2014/main" id="{7D46D4C4-3FC1-42E3-BED0-F2ADCE4D840B}"/>
              </a:ext>
            </a:extLst>
          </p:cNvPr>
          <p:cNvSpPr>
            <a:spLocks noGrp="1"/>
          </p:cNvSpPr>
          <p:nvPr>
            <p:ph type="pic" sz="quarter" idx="24"/>
          </p:nvPr>
        </p:nvSpPr>
        <p:spPr/>
        <p:txBody>
          <a:bodyPr/>
          <a:lstStyle/>
          <a:p>
            <a:endParaRPr lang="fr-FR"/>
          </a:p>
        </p:txBody>
      </p:sp>
      <p:sp>
        <p:nvSpPr>
          <p:cNvPr id="21" name="Picture Placeholder 20">
            <a:extLst>
              <a:ext uri="{FF2B5EF4-FFF2-40B4-BE49-F238E27FC236}">
                <a16:creationId xmlns:a16="http://schemas.microsoft.com/office/drawing/2014/main" id="{2A9BB525-4F1A-45B8-A645-1BDE05505742}"/>
              </a:ext>
              <a:ext uri="{C183D7F6-B498-43B3-948B-1728B52AA6E4}">
                <adec:decorative xmlns:adec="http://schemas.microsoft.com/office/drawing/2017/decorative" val="1"/>
              </a:ext>
            </a:extLst>
          </p:cNvPr>
          <p:cNvSpPr>
            <a:spLocks noGrp="1"/>
          </p:cNvSpPr>
          <p:nvPr>
            <p:ph type="pic" sz="quarter" idx="34"/>
          </p:nvPr>
        </p:nvSpPr>
        <p:spPr/>
        <p:txBody>
          <a:bodyPr/>
          <a:lstStyle/>
          <a:p>
            <a:endParaRPr lang="fr-FR"/>
          </a:p>
        </p:txBody>
      </p:sp>
      <p:sp>
        <p:nvSpPr>
          <p:cNvPr id="13" name="Text Placeholder 12">
            <a:extLst>
              <a:ext uri="{FF2B5EF4-FFF2-40B4-BE49-F238E27FC236}">
                <a16:creationId xmlns:a16="http://schemas.microsoft.com/office/drawing/2014/main" id="{E03BE9D0-5321-42DA-BB53-B5BC851049A9}"/>
              </a:ext>
            </a:extLst>
          </p:cNvPr>
          <p:cNvSpPr>
            <a:spLocks noGrp="1"/>
          </p:cNvSpPr>
          <p:nvPr>
            <p:ph type="body" sz="quarter" idx="27"/>
          </p:nvPr>
        </p:nvSpPr>
        <p:spPr/>
        <p:txBody>
          <a:body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7" name="Picture Placeholder 6" descr="Insert image here / insert description">
            <a:extLst>
              <a:ext uri="{FF2B5EF4-FFF2-40B4-BE49-F238E27FC236}">
                <a16:creationId xmlns:a16="http://schemas.microsoft.com/office/drawing/2014/main" id="{A835413F-0EC8-427C-A700-D717D43BE4B1}"/>
              </a:ext>
            </a:extLst>
          </p:cNvPr>
          <p:cNvSpPr>
            <a:spLocks noGrp="1"/>
          </p:cNvSpPr>
          <p:nvPr>
            <p:ph type="pic" sz="quarter" idx="18"/>
          </p:nvPr>
        </p:nvSpPr>
        <p:spPr/>
        <p:txBody>
          <a:bodyPr/>
          <a:lstStyle/>
          <a:p>
            <a:endParaRPr lang="fr-FR"/>
          </a:p>
        </p:txBody>
      </p:sp>
      <p:sp>
        <p:nvSpPr>
          <p:cNvPr id="22" name="Picture Placeholder 21">
            <a:extLst>
              <a:ext uri="{FF2B5EF4-FFF2-40B4-BE49-F238E27FC236}">
                <a16:creationId xmlns:a16="http://schemas.microsoft.com/office/drawing/2014/main" id="{86AE628E-4D2F-4C98-A841-CB016388CE21}"/>
              </a:ext>
              <a:ext uri="{C183D7F6-B498-43B3-948B-1728B52AA6E4}">
                <adec:decorative xmlns:adec="http://schemas.microsoft.com/office/drawing/2017/decorative" val="1"/>
              </a:ext>
            </a:extLst>
          </p:cNvPr>
          <p:cNvSpPr>
            <a:spLocks noGrp="1"/>
          </p:cNvSpPr>
          <p:nvPr>
            <p:ph type="pic" sz="quarter" idx="35"/>
          </p:nvPr>
        </p:nvSpPr>
        <p:spPr/>
        <p:txBody>
          <a:bodyPr/>
          <a:lstStyle/>
          <a:p>
            <a:endParaRPr lang="fr-FR"/>
          </a:p>
        </p:txBody>
      </p:sp>
      <p:sp>
        <p:nvSpPr>
          <p:cNvPr id="14" name="Text Placeholder 13">
            <a:extLst>
              <a:ext uri="{FF2B5EF4-FFF2-40B4-BE49-F238E27FC236}">
                <a16:creationId xmlns:a16="http://schemas.microsoft.com/office/drawing/2014/main" id="{54F29FBD-906E-4699-B5E7-54A52C437260}"/>
              </a:ext>
            </a:extLst>
          </p:cNvPr>
          <p:cNvSpPr>
            <a:spLocks noGrp="1"/>
          </p:cNvSpPr>
          <p:nvPr>
            <p:ph type="body" sz="quarter" idx="28"/>
          </p:nvPr>
        </p:nvSpPr>
        <p:spPr/>
        <p:txBody>
          <a:body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15" name="Footer Placeholder 14">
            <a:extLst>
              <a:ext uri="{FF2B5EF4-FFF2-40B4-BE49-F238E27FC236}">
                <a16:creationId xmlns:a16="http://schemas.microsoft.com/office/drawing/2014/main" id="{24EB0DCD-B386-45BA-88FC-7D7426168B5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16" name="Slide Number Placeholder 15">
            <a:extLst>
              <a:ext uri="{FF2B5EF4-FFF2-40B4-BE49-F238E27FC236}">
                <a16:creationId xmlns:a16="http://schemas.microsoft.com/office/drawing/2014/main" id="{85DE7A19-9810-41BD-8D87-428B106514EF}"/>
              </a:ext>
            </a:extLst>
          </p:cNvPr>
          <p:cNvSpPr>
            <a:spLocks noGrp="1"/>
          </p:cNvSpPr>
          <p:nvPr>
            <p:ph type="sldNum" sz="quarter" idx="29"/>
          </p:nvPr>
        </p:nvSpPr>
        <p:spPr/>
        <p:txBody>
          <a:bodyPr/>
          <a:lstStyle/>
          <a:p>
            <a:fld id="{1F90F471-3972-4120-B8B3-0237DE626C35}" type="slidenum">
              <a:rPr lang="en-US" smtClean="0"/>
              <a:pPr/>
              <a:t>50</a:t>
            </a:fld>
            <a:endParaRPr lang="en-US" dirty="0"/>
          </a:p>
        </p:txBody>
      </p:sp>
    </p:spTree>
    <p:extLst>
      <p:ext uri="{BB962C8B-B14F-4D97-AF65-F5344CB8AC3E}">
        <p14:creationId xmlns:p14="http://schemas.microsoft.com/office/powerpoint/2010/main" val="70742331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12FB76-07E1-4DE4-B89B-C92EF9DC6462}"/>
              </a:ext>
            </a:extLst>
          </p:cNvPr>
          <p:cNvSpPr>
            <a:spLocks noGrp="1"/>
          </p:cNvSpPr>
          <p:nvPr>
            <p:ph type="title"/>
          </p:nvPr>
        </p:nvSpPr>
        <p:spPr/>
        <p:txBody>
          <a:bodyPr/>
          <a:lstStyle/>
          <a:p>
            <a:r>
              <a:rPr lang="en-GB" dirty="0"/>
              <a:t>Place headline here (36pt, min 30pt)</a:t>
            </a:r>
            <a:endParaRPr lang="en-US" dirty="0"/>
          </a:p>
        </p:txBody>
      </p:sp>
      <p:sp>
        <p:nvSpPr>
          <p:cNvPr id="2" name="Text Placeholder 1">
            <a:extLst>
              <a:ext uri="{FF2B5EF4-FFF2-40B4-BE49-F238E27FC236}">
                <a16:creationId xmlns:a16="http://schemas.microsoft.com/office/drawing/2014/main" id="{66006502-BD25-4B01-B109-E664E85637B9}"/>
              </a:ext>
            </a:extLst>
          </p:cNvPr>
          <p:cNvSpPr>
            <a:spLocks noGrp="1"/>
          </p:cNvSpPr>
          <p:nvPr>
            <p:ph type="body" sz="quarter" idx="42"/>
          </p:nvPr>
        </p:nvSpPr>
        <p:spPr/>
        <p:txBody>
          <a:bodyPr/>
          <a:lstStyle/>
          <a:p>
            <a:pPr lvl="0"/>
            <a:r>
              <a:rPr lang="en-GB" dirty="0"/>
              <a:t>Place text here, use indent to access other levels 20pt</a:t>
            </a:r>
          </a:p>
          <a:p>
            <a:pPr lvl="1"/>
            <a:r>
              <a:rPr lang="en-GB" dirty="0"/>
              <a:t>Second level 20pt</a:t>
            </a:r>
          </a:p>
          <a:p>
            <a:pPr lvl="2"/>
            <a:r>
              <a:rPr lang="en-GB" dirty="0"/>
              <a:t>Third level 20pt</a:t>
            </a:r>
          </a:p>
          <a:p>
            <a:pPr lvl="3"/>
            <a:r>
              <a:rPr lang="en-GB" dirty="0"/>
              <a:t>Fourth level 18pt</a:t>
            </a:r>
          </a:p>
          <a:p>
            <a:pPr lvl="4"/>
            <a:r>
              <a:rPr lang="en-GB" dirty="0"/>
              <a:t>Fifth level 18pt</a:t>
            </a:r>
            <a:endParaRPr lang="en-US" dirty="0"/>
          </a:p>
        </p:txBody>
      </p:sp>
      <p:sp>
        <p:nvSpPr>
          <p:cNvPr id="4" name="Picture Placeholder 3" descr="Insert image here / insert description">
            <a:extLst>
              <a:ext uri="{FF2B5EF4-FFF2-40B4-BE49-F238E27FC236}">
                <a16:creationId xmlns:a16="http://schemas.microsoft.com/office/drawing/2014/main" id="{7CE09A6A-22D6-4178-AEEE-B08C841044F7}"/>
              </a:ext>
            </a:extLst>
          </p:cNvPr>
          <p:cNvSpPr>
            <a:spLocks noGrp="1"/>
          </p:cNvSpPr>
          <p:nvPr>
            <p:ph type="pic" sz="quarter" idx="16"/>
          </p:nvPr>
        </p:nvSpPr>
        <p:spPr/>
        <p:txBody>
          <a:bodyPr/>
          <a:lstStyle/>
          <a:p>
            <a:endParaRPr lang="fr-FR"/>
          </a:p>
        </p:txBody>
      </p:sp>
      <p:sp>
        <p:nvSpPr>
          <p:cNvPr id="22" name="Picture Placeholder 21">
            <a:extLst>
              <a:ext uri="{FF2B5EF4-FFF2-40B4-BE49-F238E27FC236}">
                <a16:creationId xmlns:a16="http://schemas.microsoft.com/office/drawing/2014/main" id="{FAF46791-73D2-4881-AAF9-2649C98FEFEA}"/>
              </a:ext>
              <a:ext uri="{C183D7F6-B498-43B3-948B-1728B52AA6E4}">
                <adec:decorative xmlns:adec="http://schemas.microsoft.com/office/drawing/2017/decorative" val="1"/>
              </a:ext>
            </a:extLst>
          </p:cNvPr>
          <p:cNvSpPr>
            <a:spLocks noGrp="1"/>
          </p:cNvSpPr>
          <p:nvPr>
            <p:ph type="pic" sz="quarter" idx="52"/>
          </p:nvPr>
        </p:nvSpPr>
        <p:spPr/>
        <p:txBody>
          <a:bodyPr/>
          <a:lstStyle/>
          <a:p>
            <a:endParaRPr lang="fr-FR"/>
          </a:p>
        </p:txBody>
      </p:sp>
      <p:sp>
        <p:nvSpPr>
          <p:cNvPr id="8" name="Text Placeholder 7">
            <a:extLst>
              <a:ext uri="{FF2B5EF4-FFF2-40B4-BE49-F238E27FC236}">
                <a16:creationId xmlns:a16="http://schemas.microsoft.com/office/drawing/2014/main" id="{C4189E61-55CB-4D90-9DBE-72C72578B900}"/>
              </a:ext>
            </a:extLst>
          </p:cNvPr>
          <p:cNvSpPr>
            <a:spLocks noGrp="1"/>
          </p:cNvSpPr>
          <p:nvPr>
            <p:ph type="body" sz="quarter" idx="25"/>
          </p:nvPr>
        </p:nvSpPr>
        <p:spPr/>
        <p:txBody>
          <a:body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5" name="Picture Placeholder 4" descr="Insert image here / insert description">
            <a:extLst>
              <a:ext uri="{FF2B5EF4-FFF2-40B4-BE49-F238E27FC236}">
                <a16:creationId xmlns:a16="http://schemas.microsoft.com/office/drawing/2014/main" id="{0A4CD2B7-11C9-47D2-905C-9CCB1CEA6A69}"/>
              </a:ext>
            </a:extLst>
          </p:cNvPr>
          <p:cNvSpPr>
            <a:spLocks noGrp="1"/>
          </p:cNvSpPr>
          <p:nvPr>
            <p:ph type="pic" sz="quarter" idx="17"/>
          </p:nvPr>
        </p:nvSpPr>
        <p:spPr/>
        <p:txBody>
          <a:bodyPr/>
          <a:lstStyle/>
          <a:p>
            <a:endParaRPr lang="fr-FR"/>
          </a:p>
        </p:txBody>
      </p:sp>
      <p:sp>
        <p:nvSpPr>
          <p:cNvPr id="23" name="Picture Placeholder 22">
            <a:extLst>
              <a:ext uri="{FF2B5EF4-FFF2-40B4-BE49-F238E27FC236}">
                <a16:creationId xmlns:a16="http://schemas.microsoft.com/office/drawing/2014/main" id="{D1CE7F19-64B5-462D-8FB8-8F24581F424B}"/>
              </a:ext>
              <a:ext uri="{C183D7F6-B498-43B3-948B-1728B52AA6E4}">
                <adec:decorative xmlns:adec="http://schemas.microsoft.com/office/drawing/2017/decorative" val="1"/>
              </a:ext>
            </a:extLst>
          </p:cNvPr>
          <p:cNvSpPr>
            <a:spLocks noGrp="1"/>
          </p:cNvSpPr>
          <p:nvPr>
            <p:ph type="pic" sz="quarter" idx="53"/>
          </p:nvPr>
        </p:nvSpPr>
        <p:spPr/>
        <p:txBody>
          <a:bodyPr/>
          <a:lstStyle/>
          <a:p>
            <a:endParaRPr lang="fr-FR"/>
          </a:p>
        </p:txBody>
      </p:sp>
      <p:sp>
        <p:nvSpPr>
          <p:cNvPr id="9" name="Text Placeholder 8">
            <a:extLst>
              <a:ext uri="{FF2B5EF4-FFF2-40B4-BE49-F238E27FC236}">
                <a16:creationId xmlns:a16="http://schemas.microsoft.com/office/drawing/2014/main" id="{BFF71117-FB3F-4B5C-B5B2-5BC1F8E0D587}"/>
              </a:ext>
            </a:extLst>
          </p:cNvPr>
          <p:cNvSpPr>
            <a:spLocks noGrp="1"/>
          </p:cNvSpPr>
          <p:nvPr>
            <p:ph type="body" sz="quarter" idx="26"/>
          </p:nvPr>
        </p:nvSpPr>
        <p:spPr/>
        <p:txBody>
          <a:body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7" name="Picture Placeholder 6" descr="Insert image here / insert description">
            <a:extLst>
              <a:ext uri="{FF2B5EF4-FFF2-40B4-BE49-F238E27FC236}">
                <a16:creationId xmlns:a16="http://schemas.microsoft.com/office/drawing/2014/main" id="{65270B14-1224-43EA-8E1B-3E01AF17A64B}"/>
              </a:ext>
            </a:extLst>
          </p:cNvPr>
          <p:cNvSpPr>
            <a:spLocks noGrp="1"/>
          </p:cNvSpPr>
          <p:nvPr>
            <p:ph type="pic" sz="quarter" idx="24"/>
          </p:nvPr>
        </p:nvSpPr>
        <p:spPr/>
        <p:txBody>
          <a:bodyPr/>
          <a:lstStyle/>
          <a:p>
            <a:endParaRPr lang="fr-FR"/>
          </a:p>
        </p:txBody>
      </p:sp>
      <p:sp>
        <p:nvSpPr>
          <p:cNvPr id="24" name="Picture Placeholder 23">
            <a:extLst>
              <a:ext uri="{FF2B5EF4-FFF2-40B4-BE49-F238E27FC236}">
                <a16:creationId xmlns:a16="http://schemas.microsoft.com/office/drawing/2014/main" id="{DA35155B-2194-4980-ACD0-8900AAB1D325}"/>
              </a:ext>
              <a:ext uri="{C183D7F6-B498-43B3-948B-1728B52AA6E4}">
                <adec:decorative xmlns:adec="http://schemas.microsoft.com/office/drawing/2017/decorative" val="1"/>
              </a:ext>
            </a:extLst>
          </p:cNvPr>
          <p:cNvSpPr>
            <a:spLocks noGrp="1"/>
          </p:cNvSpPr>
          <p:nvPr>
            <p:ph type="pic" sz="quarter" idx="54"/>
          </p:nvPr>
        </p:nvSpPr>
        <p:spPr/>
        <p:txBody>
          <a:bodyPr/>
          <a:lstStyle/>
          <a:p>
            <a:endParaRPr lang="fr-FR"/>
          </a:p>
        </p:txBody>
      </p:sp>
      <p:sp>
        <p:nvSpPr>
          <p:cNvPr id="10" name="Text Placeholder 9">
            <a:extLst>
              <a:ext uri="{FF2B5EF4-FFF2-40B4-BE49-F238E27FC236}">
                <a16:creationId xmlns:a16="http://schemas.microsoft.com/office/drawing/2014/main" id="{D8A6D744-8085-4151-BBFA-8E727EF8A1C3}"/>
              </a:ext>
            </a:extLst>
          </p:cNvPr>
          <p:cNvSpPr>
            <a:spLocks noGrp="1"/>
          </p:cNvSpPr>
          <p:nvPr>
            <p:ph type="body" sz="quarter" idx="27"/>
          </p:nvPr>
        </p:nvSpPr>
        <p:spPr/>
        <p:txBody>
          <a:body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6" name="Picture Placeholder 5" descr="Insert image here / insert description">
            <a:extLst>
              <a:ext uri="{FF2B5EF4-FFF2-40B4-BE49-F238E27FC236}">
                <a16:creationId xmlns:a16="http://schemas.microsoft.com/office/drawing/2014/main" id="{659E6DB1-3255-4DF4-A655-8200D6B36381}"/>
              </a:ext>
            </a:extLst>
          </p:cNvPr>
          <p:cNvSpPr>
            <a:spLocks noGrp="1"/>
          </p:cNvSpPr>
          <p:nvPr>
            <p:ph type="pic" sz="quarter" idx="18"/>
          </p:nvPr>
        </p:nvSpPr>
        <p:spPr/>
        <p:txBody>
          <a:bodyPr/>
          <a:lstStyle/>
          <a:p>
            <a:endParaRPr lang="fr-FR"/>
          </a:p>
        </p:txBody>
      </p:sp>
      <p:sp>
        <p:nvSpPr>
          <p:cNvPr id="25" name="Picture Placeholder 24">
            <a:extLst>
              <a:ext uri="{FF2B5EF4-FFF2-40B4-BE49-F238E27FC236}">
                <a16:creationId xmlns:a16="http://schemas.microsoft.com/office/drawing/2014/main" id="{7DAF4CE9-762E-4F71-BE91-64AB74398886}"/>
              </a:ext>
              <a:ext uri="{C183D7F6-B498-43B3-948B-1728B52AA6E4}">
                <adec:decorative xmlns:adec="http://schemas.microsoft.com/office/drawing/2017/decorative" val="1"/>
              </a:ext>
            </a:extLst>
          </p:cNvPr>
          <p:cNvSpPr>
            <a:spLocks noGrp="1"/>
          </p:cNvSpPr>
          <p:nvPr>
            <p:ph type="pic" sz="quarter" idx="55"/>
          </p:nvPr>
        </p:nvSpPr>
        <p:spPr/>
        <p:txBody>
          <a:bodyPr/>
          <a:lstStyle/>
          <a:p>
            <a:endParaRPr lang="fr-FR"/>
          </a:p>
        </p:txBody>
      </p:sp>
      <p:sp>
        <p:nvSpPr>
          <p:cNvPr id="11" name="Text Placeholder 10">
            <a:extLst>
              <a:ext uri="{FF2B5EF4-FFF2-40B4-BE49-F238E27FC236}">
                <a16:creationId xmlns:a16="http://schemas.microsoft.com/office/drawing/2014/main" id="{BD2E00F0-FBC4-4CA3-B688-FFE2B26080F6}"/>
              </a:ext>
            </a:extLst>
          </p:cNvPr>
          <p:cNvSpPr>
            <a:spLocks noGrp="1"/>
          </p:cNvSpPr>
          <p:nvPr>
            <p:ph type="body" sz="quarter" idx="28"/>
          </p:nvPr>
        </p:nvSpPr>
        <p:spPr/>
        <p:txBody>
          <a:body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12" name="Picture Placeholder 11" descr="Insert image here / insert description">
            <a:extLst>
              <a:ext uri="{FF2B5EF4-FFF2-40B4-BE49-F238E27FC236}">
                <a16:creationId xmlns:a16="http://schemas.microsoft.com/office/drawing/2014/main" id="{85B32C5B-541B-427D-B8DA-DD77407EC868}"/>
              </a:ext>
            </a:extLst>
          </p:cNvPr>
          <p:cNvSpPr>
            <a:spLocks noGrp="1"/>
          </p:cNvSpPr>
          <p:nvPr>
            <p:ph type="pic" sz="quarter" idx="43"/>
          </p:nvPr>
        </p:nvSpPr>
        <p:spPr/>
        <p:txBody>
          <a:bodyPr/>
          <a:lstStyle/>
          <a:p>
            <a:endParaRPr lang="fr-FR"/>
          </a:p>
        </p:txBody>
      </p:sp>
      <p:sp>
        <p:nvSpPr>
          <p:cNvPr id="26" name="Picture Placeholder 25">
            <a:extLst>
              <a:ext uri="{FF2B5EF4-FFF2-40B4-BE49-F238E27FC236}">
                <a16:creationId xmlns:a16="http://schemas.microsoft.com/office/drawing/2014/main" id="{ECB10745-9DEC-4A2D-8FB2-BCB5E3E4DCAE}"/>
              </a:ext>
              <a:ext uri="{C183D7F6-B498-43B3-948B-1728B52AA6E4}">
                <adec:decorative xmlns:adec="http://schemas.microsoft.com/office/drawing/2017/decorative" val="1"/>
              </a:ext>
            </a:extLst>
          </p:cNvPr>
          <p:cNvSpPr>
            <a:spLocks noGrp="1"/>
          </p:cNvSpPr>
          <p:nvPr>
            <p:ph type="pic" sz="quarter" idx="56"/>
          </p:nvPr>
        </p:nvSpPr>
        <p:spPr/>
        <p:txBody>
          <a:bodyPr/>
          <a:lstStyle/>
          <a:p>
            <a:endParaRPr lang="fr-FR"/>
          </a:p>
        </p:txBody>
      </p:sp>
      <p:sp>
        <p:nvSpPr>
          <p:cNvPr id="16" name="Text Placeholder 15">
            <a:extLst>
              <a:ext uri="{FF2B5EF4-FFF2-40B4-BE49-F238E27FC236}">
                <a16:creationId xmlns:a16="http://schemas.microsoft.com/office/drawing/2014/main" id="{6A4438A2-944C-45A8-8868-AE01A19B2D32}"/>
              </a:ext>
            </a:extLst>
          </p:cNvPr>
          <p:cNvSpPr>
            <a:spLocks noGrp="1"/>
          </p:cNvSpPr>
          <p:nvPr>
            <p:ph type="body" sz="quarter" idx="47"/>
          </p:nvPr>
        </p:nvSpPr>
        <p:spPr/>
        <p:txBody>
          <a:body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13" name="Picture Placeholder 12" descr="Insert image here / insert description">
            <a:extLst>
              <a:ext uri="{FF2B5EF4-FFF2-40B4-BE49-F238E27FC236}">
                <a16:creationId xmlns:a16="http://schemas.microsoft.com/office/drawing/2014/main" id="{03E4226A-ADE7-43C1-A783-39ECBC5BAD38}"/>
              </a:ext>
            </a:extLst>
          </p:cNvPr>
          <p:cNvSpPr>
            <a:spLocks noGrp="1"/>
          </p:cNvSpPr>
          <p:nvPr>
            <p:ph type="pic" sz="quarter" idx="44"/>
          </p:nvPr>
        </p:nvSpPr>
        <p:spPr/>
        <p:txBody>
          <a:bodyPr/>
          <a:lstStyle/>
          <a:p>
            <a:endParaRPr lang="fr-FR"/>
          </a:p>
        </p:txBody>
      </p:sp>
      <p:sp>
        <p:nvSpPr>
          <p:cNvPr id="27" name="Picture Placeholder 26">
            <a:extLst>
              <a:ext uri="{FF2B5EF4-FFF2-40B4-BE49-F238E27FC236}">
                <a16:creationId xmlns:a16="http://schemas.microsoft.com/office/drawing/2014/main" id="{08926FE3-5A02-4A99-ABCB-CBD898204671}"/>
              </a:ext>
              <a:ext uri="{C183D7F6-B498-43B3-948B-1728B52AA6E4}">
                <adec:decorative xmlns:adec="http://schemas.microsoft.com/office/drawing/2017/decorative" val="1"/>
              </a:ext>
            </a:extLst>
          </p:cNvPr>
          <p:cNvSpPr>
            <a:spLocks noGrp="1"/>
          </p:cNvSpPr>
          <p:nvPr>
            <p:ph type="pic" sz="quarter" idx="57"/>
          </p:nvPr>
        </p:nvSpPr>
        <p:spPr/>
        <p:txBody>
          <a:bodyPr/>
          <a:lstStyle/>
          <a:p>
            <a:endParaRPr lang="fr-FR"/>
          </a:p>
        </p:txBody>
      </p:sp>
      <p:sp>
        <p:nvSpPr>
          <p:cNvPr id="17" name="Text Placeholder 16">
            <a:extLst>
              <a:ext uri="{FF2B5EF4-FFF2-40B4-BE49-F238E27FC236}">
                <a16:creationId xmlns:a16="http://schemas.microsoft.com/office/drawing/2014/main" id="{B5711DAD-9845-403F-8324-DEFBC1CB55A1}"/>
              </a:ext>
            </a:extLst>
          </p:cNvPr>
          <p:cNvSpPr>
            <a:spLocks noGrp="1"/>
          </p:cNvSpPr>
          <p:nvPr>
            <p:ph type="body" sz="quarter" idx="48"/>
          </p:nvPr>
        </p:nvSpPr>
        <p:spPr/>
        <p:txBody>
          <a:body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15" name="Picture Placeholder 14" descr="Insert image here / insert description">
            <a:extLst>
              <a:ext uri="{FF2B5EF4-FFF2-40B4-BE49-F238E27FC236}">
                <a16:creationId xmlns:a16="http://schemas.microsoft.com/office/drawing/2014/main" id="{AFA0B4D3-5060-4F27-972E-9B4EC6911F3F}"/>
              </a:ext>
            </a:extLst>
          </p:cNvPr>
          <p:cNvSpPr>
            <a:spLocks noGrp="1"/>
          </p:cNvSpPr>
          <p:nvPr>
            <p:ph type="pic" sz="quarter" idx="46"/>
          </p:nvPr>
        </p:nvSpPr>
        <p:spPr/>
        <p:txBody>
          <a:bodyPr/>
          <a:lstStyle/>
          <a:p>
            <a:endParaRPr lang="fr-FR"/>
          </a:p>
        </p:txBody>
      </p:sp>
      <p:sp>
        <p:nvSpPr>
          <p:cNvPr id="28" name="Picture Placeholder 27">
            <a:extLst>
              <a:ext uri="{FF2B5EF4-FFF2-40B4-BE49-F238E27FC236}">
                <a16:creationId xmlns:a16="http://schemas.microsoft.com/office/drawing/2014/main" id="{10C28E94-8D54-4608-BDA8-A3834D8F76EC}"/>
              </a:ext>
              <a:ext uri="{C183D7F6-B498-43B3-948B-1728B52AA6E4}">
                <adec:decorative xmlns:adec="http://schemas.microsoft.com/office/drawing/2017/decorative" val="1"/>
              </a:ext>
            </a:extLst>
          </p:cNvPr>
          <p:cNvSpPr>
            <a:spLocks noGrp="1"/>
          </p:cNvSpPr>
          <p:nvPr>
            <p:ph type="pic" sz="quarter" idx="58"/>
          </p:nvPr>
        </p:nvSpPr>
        <p:spPr/>
        <p:txBody>
          <a:bodyPr/>
          <a:lstStyle/>
          <a:p>
            <a:endParaRPr lang="fr-FR"/>
          </a:p>
        </p:txBody>
      </p:sp>
      <p:sp>
        <p:nvSpPr>
          <p:cNvPr id="18" name="Text Placeholder 17">
            <a:extLst>
              <a:ext uri="{FF2B5EF4-FFF2-40B4-BE49-F238E27FC236}">
                <a16:creationId xmlns:a16="http://schemas.microsoft.com/office/drawing/2014/main" id="{336929D0-5330-4469-B6E6-E0EA29EB13AC}"/>
              </a:ext>
            </a:extLst>
          </p:cNvPr>
          <p:cNvSpPr>
            <a:spLocks noGrp="1"/>
          </p:cNvSpPr>
          <p:nvPr>
            <p:ph type="body" sz="quarter" idx="49"/>
          </p:nvPr>
        </p:nvSpPr>
        <p:spPr/>
        <p:txBody>
          <a:body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14" name="Picture Placeholder 13" descr="Insert image here / insert description">
            <a:extLst>
              <a:ext uri="{FF2B5EF4-FFF2-40B4-BE49-F238E27FC236}">
                <a16:creationId xmlns:a16="http://schemas.microsoft.com/office/drawing/2014/main" id="{0162A7ED-9F7D-4FCB-B9FE-34B526F3AB1C}"/>
              </a:ext>
            </a:extLst>
          </p:cNvPr>
          <p:cNvSpPr>
            <a:spLocks noGrp="1"/>
          </p:cNvSpPr>
          <p:nvPr>
            <p:ph type="pic" sz="quarter" idx="45"/>
          </p:nvPr>
        </p:nvSpPr>
        <p:spPr/>
        <p:txBody>
          <a:bodyPr/>
          <a:lstStyle/>
          <a:p>
            <a:endParaRPr lang="fr-FR"/>
          </a:p>
        </p:txBody>
      </p:sp>
      <p:sp>
        <p:nvSpPr>
          <p:cNvPr id="29" name="Picture Placeholder 28">
            <a:extLst>
              <a:ext uri="{FF2B5EF4-FFF2-40B4-BE49-F238E27FC236}">
                <a16:creationId xmlns:a16="http://schemas.microsoft.com/office/drawing/2014/main" id="{768A0F9C-3466-485E-A2F8-09BDFCA39D9A}"/>
              </a:ext>
              <a:ext uri="{C183D7F6-B498-43B3-948B-1728B52AA6E4}">
                <adec:decorative xmlns:adec="http://schemas.microsoft.com/office/drawing/2017/decorative" val="1"/>
              </a:ext>
            </a:extLst>
          </p:cNvPr>
          <p:cNvSpPr>
            <a:spLocks noGrp="1"/>
          </p:cNvSpPr>
          <p:nvPr>
            <p:ph type="pic" sz="quarter" idx="59"/>
          </p:nvPr>
        </p:nvSpPr>
        <p:spPr/>
        <p:txBody>
          <a:bodyPr/>
          <a:lstStyle/>
          <a:p>
            <a:endParaRPr lang="fr-FR"/>
          </a:p>
        </p:txBody>
      </p:sp>
      <p:sp>
        <p:nvSpPr>
          <p:cNvPr id="19" name="Text Placeholder 18">
            <a:extLst>
              <a:ext uri="{FF2B5EF4-FFF2-40B4-BE49-F238E27FC236}">
                <a16:creationId xmlns:a16="http://schemas.microsoft.com/office/drawing/2014/main" id="{679B00B0-8B89-40DE-9593-DE462E66BE95}"/>
              </a:ext>
            </a:extLst>
          </p:cNvPr>
          <p:cNvSpPr>
            <a:spLocks noGrp="1"/>
          </p:cNvSpPr>
          <p:nvPr>
            <p:ph type="body" sz="quarter" idx="50"/>
          </p:nvPr>
        </p:nvSpPr>
        <p:spPr/>
        <p:txBody>
          <a:body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20" name="Footer Placeholder 19">
            <a:extLst>
              <a:ext uri="{FF2B5EF4-FFF2-40B4-BE49-F238E27FC236}">
                <a16:creationId xmlns:a16="http://schemas.microsoft.com/office/drawing/2014/main" id="{DA3A1350-551E-40E2-9EDE-D91F057B2E43}"/>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21" name="Slide Number Placeholder 20">
            <a:extLst>
              <a:ext uri="{FF2B5EF4-FFF2-40B4-BE49-F238E27FC236}">
                <a16:creationId xmlns:a16="http://schemas.microsoft.com/office/drawing/2014/main" id="{663D6320-8DB1-4139-88AF-BED36434E16C}"/>
              </a:ext>
            </a:extLst>
          </p:cNvPr>
          <p:cNvSpPr>
            <a:spLocks noGrp="1"/>
          </p:cNvSpPr>
          <p:nvPr>
            <p:ph type="sldNum" sz="quarter" idx="51"/>
          </p:nvPr>
        </p:nvSpPr>
        <p:spPr/>
        <p:txBody>
          <a:bodyPr/>
          <a:lstStyle/>
          <a:p>
            <a:fld id="{1F90F471-3972-4120-B8B3-0237DE626C35}" type="slidenum">
              <a:rPr lang="en-US" smtClean="0"/>
              <a:pPr/>
              <a:t>51</a:t>
            </a:fld>
            <a:endParaRPr lang="en-US" dirty="0"/>
          </a:p>
        </p:txBody>
      </p:sp>
    </p:spTree>
    <p:extLst>
      <p:ext uri="{BB962C8B-B14F-4D97-AF65-F5344CB8AC3E}">
        <p14:creationId xmlns:p14="http://schemas.microsoft.com/office/powerpoint/2010/main" val="334438113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F4ED9B-88F2-4936-AA61-F6249CC0EF3A}"/>
              </a:ext>
            </a:extLst>
          </p:cNvPr>
          <p:cNvSpPr>
            <a:spLocks noGrp="1"/>
          </p:cNvSpPr>
          <p:nvPr>
            <p:ph type="title"/>
          </p:nvPr>
        </p:nvSpPr>
        <p:spPr/>
        <p:txBody>
          <a:bodyPr/>
          <a:lstStyle/>
          <a:p>
            <a:r>
              <a:rPr lang="en-GB" dirty="0"/>
              <a:t>Place headline here (36pt, min 30pt)</a:t>
            </a:r>
            <a:endParaRPr lang="en-US" dirty="0"/>
          </a:p>
        </p:txBody>
      </p:sp>
      <p:sp>
        <p:nvSpPr>
          <p:cNvPr id="5" name="Text Placeholder 4">
            <a:extLst>
              <a:ext uri="{FF2B5EF4-FFF2-40B4-BE49-F238E27FC236}">
                <a16:creationId xmlns:a16="http://schemas.microsoft.com/office/drawing/2014/main" id="{646E04C9-5E94-49DD-950E-11C43B472517}"/>
              </a:ext>
            </a:extLst>
          </p:cNvPr>
          <p:cNvSpPr>
            <a:spLocks noGrp="1"/>
          </p:cNvSpPr>
          <p:nvPr>
            <p:ph type="body" sz="quarter" idx="15"/>
          </p:nvPr>
        </p:nvSpPr>
        <p:spPr/>
        <p:txBody>
          <a:bodyPr/>
          <a:lstStyle/>
          <a:p>
            <a:r>
              <a:rPr lang="en-US" dirty="0"/>
              <a:t>Place sub-headline </a:t>
            </a:r>
            <a:r>
              <a:rPr lang="en-GB" dirty="0"/>
              <a:t>here in GT Sectra Fine </a:t>
            </a:r>
            <a:r>
              <a:rPr lang="en-GB" dirty="0" err="1"/>
              <a:t>Rg</a:t>
            </a:r>
            <a:r>
              <a:rPr lang="en-GB" dirty="0"/>
              <a:t> 24pt</a:t>
            </a:r>
            <a:r>
              <a:rPr lang="en-US" dirty="0"/>
              <a:t>, indent for other levels</a:t>
            </a:r>
          </a:p>
          <a:p>
            <a:pPr lvl="1"/>
            <a:r>
              <a:rPr lang="en-US" dirty="0"/>
              <a:t>Second level 18pt</a:t>
            </a:r>
          </a:p>
          <a:p>
            <a:pPr lvl="2"/>
            <a:r>
              <a:rPr lang="en-US" dirty="0"/>
              <a:t>Third level bullet 18pt</a:t>
            </a:r>
          </a:p>
          <a:p>
            <a:pPr lvl="3"/>
            <a:r>
              <a:rPr lang="en-US" dirty="0"/>
              <a:t>Fourth level bullet 16pt</a:t>
            </a:r>
          </a:p>
          <a:p>
            <a:pPr lvl="4"/>
            <a:r>
              <a:rPr lang="en-US" dirty="0"/>
              <a:t>Fifth level bullet 16pt</a:t>
            </a:r>
          </a:p>
        </p:txBody>
      </p:sp>
      <p:sp>
        <p:nvSpPr>
          <p:cNvPr id="2" name="Picture Placeholder 1" descr="Insert image here / insert description">
            <a:extLst>
              <a:ext uri="{FF2B5EF4-FFF2-40B4-BE49-F238E27FC236}">
                <a16:creationId xmlns:a16="http://schemas.microsoft.com/office/drawing/2014/main" id="{F0680F64-8D21-46B8-B39B-51BD865F9F07}"/>
              </a:ext>
            </a:extLst>
          </p:cNvPr>
          <p:cNvSpPr>
            <a:spLocks noGrp="1"/>
          </p:cNvSpPr>
          <p:nvPr>
            <p:ph type="pic" idx="1"/>
          </p:nvPr>
        </p:nvSpPr>
        <p:spPr/>
        <p:txBody>
          <a:bodyPr/>
          <a:lstStyle/>
          <a:p>
            <a:endParaRPr lang="fr-FR"/>
          </a:p>
        </p:txBody>
      </p:sp>
      <p:sp>
        <p:nvSpPr>
          <p:cNvPr id="4" name="Footer Placeholder 3">
            <a:extLst>
              <a:ext uri="{FF2B5EF4-FFF2-40B4-BE49-F238E27FC236}">
                <a16:creationId xmlns:a16="http://schemas.microsoft.com/office/drawing/2014/main" id="{87D669D0-9BB4-4335-8F28-C4A2CE119BF9}"/>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34AD5946-AB9E-4C0F-9B6E-1C23B107394F}"/>
              </a:ext>
            </a:extLst>
          </p:cNvPr>
          <p:cNvSpPr>
            <a:spLocks noGrp="1"/>
          </p:cNvSpPr>
          <p:nvPr>
            <p:ph type="sldNum" sz="quarter" idx="16"/>
          </p:nvPr>
        </p:nvSpPr>
        <p:spPr/>
        <p:txBody>
          <a:bodyPr/>
          <a:lstStyle/>
          <a:p>
            <a:fld id="{1F90F471-3972-4120-B8B3-0237DE626C35}" type="slidenum">
              <a:rPr lang="en-US" smtClean="0"/>
              <a:pPr/>
              <a:t>52</a:t>
            </a:fld>
            <a:endParaRPr lang="en-US" dirty="0"/>
          </a:p>
        </p:txBody>
      </p:sp>
    </p:spTree>
    <p:extLst>
      <p:ext uri="{BB962C8B-B14F-4D97-AF65-F5344CB8AC3E}">
        <p14:creationId xmlns:p14="http://schemas.microsoft.com/office/powerpoint/2010/main" val="97341376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descr="Insert image here">
            <a:extLst>
              <a:ext uri="{FF2B5EF4-FFF2-40B4-BE49-F238E27FC236}">
                <a16:creationId xmlns:a16="http://schemas.microsoft.com/office/drawing/2014/main" id="{6A623C1C-EC4B-4B2E-B581-785D5B5635B3}"/>
              </a:ext>
              <a:ext uri="{C183D7F6-B498-43B3-948B-1728B52AA6E4}">
                <adec:decorative xmlns:adec="http://schemas.microsoft.com/office/drawing/2017/decorative" val="0"/>
              </a:ext>
            </a:extLst>
          </p:cNvPr>
          <p:cNvSpPr>
            <a:spLocks noGrp="1"/>
          </p:cNvSpPr>
          <p:nvPr>
            <p:ph type="pic" sz="quarter" idx="16"/>
          </p:nvPr>
        </p:nvSpPr>
        <p:spPr/>
        <p:txBody>
          <a:bodyPr/>
          <a:lstStyle/>
          <a:p>
            <a:endParaRPr lang="fr-FR"/>
          </a:p>
        </p:txBody>
      </p:sp>
      <p:sp>
        <p:nvSpPr>
          <p:cNvPr id="3" name="Title 2">
            <a:extLst>
              <a:ext uri="{FF2B5EF4-FFF2-40B4-BE49-F238E27FC236}">
                <a16:creationId xmlns:a16="http://schemas.microsoft.com/office/drawing/2014/main" id="{CFBFDA94-8E95-456A-9628-8ABE6E95DEBE}"/>
              </a:ext>
            </a:extLst>
          </p:cNvPr>
          <p:cNvSpPr>
            <a:spLocks noGrp="1"/>
          </p:cNvSpPr>
          <p:nvPr>
            <p:ph type="title"/>
          </p:nvPr>
        </p:nvSpPr>
        <p:spPr/>
        <p:txBody>
          <a:bodyPr/>
          <a:lstStyle/>
          <a:p>
            <a:r>
              <a:rPr lang="en-GB" dirty="0"/>
              <a:t>Place headline here (36pt, min 30pt)</a:t>
            </a:r>
            <a:endParaRPr lang="en-US" dirty="0"/>
          </a:p>
        </p:txBody>
      </p:sp>
      <p:sp>
        <p:nvSpPr>
          <p:cNvPr id="5" name="Text Placeholder 4">
            <a:extLst>
              <a:ext uri="{FF2B5EF4-FFF2-40B4-BE49-F238E27FC236}">
                <a16:creationId xmlns:a16="http://schemas.microsoft.com/office/drawing/2014/main" id="{8E5F191C-E794-4487-9A43-B8EDCE6639A1}"/>
              </a:ext>
            </a:extLst>
          </p:cNvPr>
          <p:cNvSpPr>
            <a:spLocks noGrp="1"/>
          </p:cNvSpPr>
          <p:nvPr>
            <p:ph type="body" sz="quarter" idx="14"/>
          </p:nvPr>
        </p:nvSpPr>
        <p:spPr/>
        <p:txBody>
          <a:bodyPr/>
          <a:lstStyle/>
          <a:p>
            <a:r>
              <a:rPr lang="en-US" dirty="0"/>
              <a:t>Place sub-headline </a:t>
            </a:r>
            <a:r>
              <a:rPr lang="en-GB" dirty="0"/>
              <a:t>here in GT Sectra Fine </a:t>
            </a:r>
            <a:r>
              <a:rPr lang="en-GB" dirty="0" err="1"/>
              <a:t>Rg</a:t>
            </a:r>
            <a:r>
              <a:rPr lang="en-GB" dirty="0"/>
              <a:t> 24pt</a:t>
            </a:r>
            <a:r>
              <a:rPr lang="en-US" dirty="0"/>
              <a:t>, indent for other levels</a:t>
            </a:r>
          </a:p>
          <a:p>
            <a:pPr lvl="1"/>
            <a:r>
              <a:rPr lang="en-US" dirty="0"/>
              <a:t>Second level 18pt</a:t>
            </a:r>
          </a:p>
          <a:p>
            <a:pPr lvl="2"/>
            <a:r>
              <a:rPr lang="en-US" dirty="0"/>
              <a:t>Third level bullet 18pt</a:t>
            </a:r>
          </a:p>
          <a:p>
            <a:pPr lvl="3"/>
            <a:r>
              <a:rPr lang="en-US" dirty="0"/>
              <a:t>Fourth level bullet 16pt</a:t>
            </a:r>
          </a:p>
          <a:p>
            <a:pPr lvl="4"/>
            <a:r>
              <a:rPr lang="en-US" dirty="0"/>
              <a:t>Fifth level bullet 16pt</a:t>
            </a:r>
          </a:p>
        </p:txBody>
      </p:sp>
      <p:sp>
        <p:nvSpPr>
          <p:cNvPr id="4" name="Footer Placeholder 3">
            <a:extLst>
              <a:ext uri="{FF2B5EF4-FFF2-40B4-BE49-F238E27FC236}">
                <a16:creationId xmlns:a16="http://schemas.microsoft.com/office/drawing/2014/main" id="{E1AE2D27-8A1B-4798-B092-61C90886556E}"/>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B91AD4B0-2C14-4B15-96DD-49872CC065F0}"/>
              </a:ext>
            </a:extLst>
          </p:cNvPr>
          <p:cNvSpPr>
            <a:spLocks noGrp="1"/>
          </p:cNvSpPr>
          <p:nvPr>
            <p:ph type="sldNum" sz="quarter" idx="17"/>
          </p:nvPr>
        </p:nvSpPr>
        <p:spPr/>
        <p:txBody>
          <a:bodyPr/>
          <a:lstStyle/>
          <a:p>
            <a:fld id="{1F90F471-3972-4120-B8B3-0237DE626C35}" type="slidenum">
              <a:rPr lang="en-US" smtClean="0"/>
              <a:pPr/>
              <a:t>53</a:t>
            </a:fld>
            <a:endParaRPr lang="en-US" dirty="0"/>
          </a:p>
        </p:txBody>
      </p:sp>
    </p:spTree>
    <p:extLst>
      <p:ext uri="{BB962C8B-B14F-4D97-AF65-F5344CB8AC3E}">
        <p14:creationId xmlns:p14="http://schemas.microsoft.com/office/powerpoint/2010/main" val="9076741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6C9E95-C061-4215-A0E3-E12AFD470868}"/>
              </a:ext>
            </a:extLst>
          </p:cNvPr>
          <p:cNvSpPr>
            <a:spLocks noGrp="1"/>
          </p:cNvSpPr>
          <p:nvPr>
            <p:ph type="title"/>
          </p:nvPr>
        </p:nvSpPr>
        <p:spPr/>
        <p:txBody>
          <a:bodyPr/>
          <a:lstStyle/>
          <a:p>
            <a:r>
              <a:rPr lang="en-US" dirty="0"/>
              <a:t>Place quote or key message here 54pt</a:t>
            </a:r>
          </a:p>
        </p:txBody>
      </p:sp>
      <p:sp>
        <p:nvSpPr>
          <p:cNvPr id="2" name="Picture Placeholder 1" descr="Insert image here / insert description">
            <a:extLst>
              <a:ext uri="{FF2B5EF4-FFF2-40B4-BE49-F238E27FC236}">
                <a16:creationId xmlns:a16="http://schemas.microsoft.com/office/drawing/2014/main" id="{45A99C5F-9607-4327-98DF-958FB3D22E45}"/>
              </a:ext>
            </a:extLst>
          </p:cNvPr>
          <p:cNvSpPr>
            <a:spLocks noGrp="1"/>
          </p:cNvSpPr>
          <p:nvPr>
            <p:ph type="pic" sz="quarter" idx="13"/>
          </p:nvPr>
        </p:nvSpPr>
        <p:spPr/>
        <p:txBody>
          <a:bodyPr/>
          <a:lstStyle/>
          <a:p>
            <a:endParaRPr lang="fr-FR"/>
          </a:p>
        </p:txBody>
      </p:sp>
      <p:sp>
        <p:nvSpPr>
          <p:cNvPr id="4" name="Footer Placeholder 3">
            <a:extLst>
              <a:ext uri="{FF2B5EF4-FFF2-40B4-BE49-F238E27FC236}">
                <a16:creationId xmlns:a16="http://schemas.microsoft.com/office/drawing/2014/main" id="{2B1B0933-7A8E-4FCA-BDF0-F61452C3EEA6}"/>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81B35533-9BD1-46D2-956F-C83CA9F46157}"/>
              </a:ext>
            </a:extLst>
          </p:cNvPr>
          <p:cNvSpPr>
            <a:spLocks noGrp="1"/>
          </p:cNvSpPr>
          <p:nvPr>
            <p:ph type="sldNum" sz="quarter" idx="14"/>
          </p:nvPr>
        </p:nvSpPr>
        <p:spPr/>
        <p:txBody>
          <a:bodyPr/>
          <a:lstStyle/>
          <a:p>
            <a:fld id="{1F90F471-3972-4120-B8B3-0237DE626C35}" type="slidenum">
              <a:rPr lang="en-US" smtClean="0"/>
              <a:pPr/>
              <a:t>54</a:t>
            </a:fld>
            <a:endParaRPr lang="en-US" dirty="0"/>
          </a:p>
        </p:txBody>
      </p:sp>
    </p:spTree>
    <p:extLst>
      <p:ext uri="{BB962C8B-B14F-4D97-AF65-F5344CB8AC3E}">
        <p14:creationId xmlns:p14="http://schemas.microsoft.com/office/powerpoint/2010/main" val="23869356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0844170-8BA4-4439-A44D-773ED5F3F837}"/>
              </a:ext>
            </a:extLst>
          </p:cNvPr>
          <p:cNvSpPr>
            <a:spLocks noGrp="1"/>
          </p:cNvSpPr>
          <p:nvPr>
            <p:ph type="title"/>
          </p:nvPr>
        </p:nvSpPr>
        <p:spPr/>
        <p:txBody>
          <a:bodyPr/>
          <a:lstStyle/>
          <a:p>
            <a:r>
              <a:rPr lang="en-US" dirty="0"/>
              <a:t>Place quote or key message here 54pt </a:t>
            </a:r>
          </a:p>
        </p:txBody>
      </p:sp>
      <p:sp>
        <p:nvSpPr>
          <p:cNvPr id="2" name="Picture Placeholder 1" descr="Insert image here / insert description">
            <a:extLst>
              <a:ext uri="{FF2B5EF4-FFF2-40B4-BE49-F238E27FC236}">
                <a16:creationId xmlns:a16="http://schemas.microsoft.com/office/drawing/2014/main" id="{D126BA97-569E-475D-91B8-6578BC70CDF5}"/>
              </a:ext>
            </a:extLst>
          </p:cNvPr>
          <p:cNvSpPr>
            <a:spLocks noGrp="1"/>
          </p:cNvSpPr>
          <p:nvPr>
            <p:ph type="pic" sz="quarter" idx="13"/>
          </p:nvPr>
        </p:nvSpPr>
        <p:spPr/>
        <p:txBody>
          <a:bodyPr/>
          <a:lstStyle/>
          <a:p>
            <a:endParaRPr lang="fr-FR"/>
          </a:p>
        </p:txBody>
      </p:sp>
      <p:sp>
        <p:nvSpPr>
          <p:cNvPr id="4" name="Footer Placeholder 3">
            <a:extLst>
              <a:ext uri="{FF2B5EF4-FFF2-40B4-BE49-F238E27FC236}">
                <a16:creationId xmlns:a16="http://schemas.microsoft.com/office/drawing/2014/main" id="{70322393-D936-4143-9D06-B7D56592BD9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36E56709-DAB5-4869-B57D-FCAA30BCB0CA}"/>
              </a:ext>
            </a:extLst>
          </p:cNvPr>
          <p:cNvSpPr>
            <a:spLocks noGrp="1"/>
          </p:cNvSpPr>
          <p:nvPr>
            <p:ph type="sldNum" sz="quarter" idx="14"/>
          </p:nvPr>
        </p:nvSpPr>
        <p:spPr/>
        <p:txBody>
          <a:bodyPr/>
          <a:lstStyle/>
          <a:p>
            <a:fld id="{1F90F471-3972-4120-B8B3-0237DE626C35}" type="slidenum">
              <a:rPr lang="en-US" smtClean="0"/>
              <a:pPr/>
              <a:t>55</a:t>
            </a:fld>
            <a:endParaRPr lang="en-US" dirty="0"/>
          </a:p>
        </p:txBody>
      </p:sp>
    </p:spTree>
    <p:extLst>
      <p:ext uri="{BB962C8B-B14F-4D97-AF65-F5344CB8AC3E}">
        <p14:creationId xmlns:p14="http://schemas.microsoft.com/office/powerpoint/2010/main" val="316797616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402EB03-7F8C-4A41-92BB-126653B779BF}"/>
              </a:ext>
            </a:extLst>
          </p:cNvPr>
          <p:cNvSpPr>
            <a:spLocks noGrp="1"/>
          </p:cNvSpPr>
          <p:nvPr>
            <p:ph type="title" idx="4294967295"/>
          </p:nvPr>
        </p:nvSpPr>
        <p:spPr>
          <a:xfrm>
            <a:off x="381000" y="381000"/>
            <a:ext cx="2286000" cy="91281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2286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4800" b="1" i="0" u="none" strike="noStrike" kern="1200" cap="none" spc="0" normalizeH="0" baseline="0" noProof="0" dirty="0">
                <a:ln>
                  <a:noFill/>
                </a:ln>
                <a:solidFill>
                  <a:schemeClr val="accent1"/>
                </a:solidFill>
                <a:effectLst/>
                <a:uLnTx/>
                <a:uFillTx/>
                <a:latin typeface="+mj-lt"/>
                <a:ea typeface="+mn-ea"/>
                <a:cs typeface="+mn-cs"/>
              </a:rPr>
              <a:t>00x</a:t>
            </a:r>
            <a:endParaRPr kumimoji="0" lang="en-US" sz="4800" b="1" i="0" u="none" strike="noStrike" kern="1200" cap="none" spc="0" normalizeH="0" baseline="0" noProof="0" dirty="0">
              <a:ln>
                <a:noFill/>
              </a:ln>
              <a:solidFill>
                <a:schemeClr val="accent1"/>
              </a:solidFill>
              <a:effectLst/>
              <a:uLnTx/>
              <a:uFillTx/>
              <a:latin typeface="+mj-lt"/>
              <a:ea typeface="+mn-ea"/>
              <a:cs typeface="+mn-cs"/>
            </a:endParaRPr>
          </a:p>
        </p:txBody>
      </p:sp>
      <p:sp>
        <p:nvSpPr>
          <p:cNvPr id="2" name="Text Placeholder 1">
            <a:extLst>
              <a:ext uri="{FF2B5EF4-FFF2-40B4-BE49-F238E27FC236}">
                <a16:creationId xmlns:a16="http://schemas.microsoft.com/office/drawing/2014/main" id="{AEC44C98-BD5C-40D2-9FE2-4EEA0F19E2BD}"/>
              </a:ext>
            </a:extLst>
          </p:cNvPr>
          <p:cNvSpPr>
            <a:spLocks noGrp="1"/>
          </p:cNvSpPr>
          <p:nvPr>
            <p:ph type="body" sz="quarter" idx="18"/>
          </p:nvPr>
        </p:nvSpPr>
        <p:spPr/>
        <p:txBody>
          <a:body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5" name="Text Placeholder 4">
            <a:extLst>
              <a:ext uri="{FF2B5EF4-FFF2-40B4-BE49-F238E27FC236}">
                <a16:creationId xmlns:a16="http://schemas.microsoft.com/office/drawing/2014/main" id="{AEAB77DC-3319-4910-ADE3-B14C362E011E}"/>
              </a:ext>
            </a:extLst>
          </p:cNvPr>
          <p:cNvSpPr>
            <a:spLocks noGrp="1"/>
          </p:cNvSpPr>
          <p:nvPr>
            <p:ph type="body" sz="quarter" idx="17"/>
          </p:nvPr>
        </p:nvSpPr>
        <p:spPr/>
        <p:txBody>
          <a:bodyPr/>
          <a:lstStyle/>
          <a:p>
            <a:r>
              <a:rPr lang="en-GB" dirty="0"/>
              <a:t>00x</a:t>
            </a:r>
            <a:endParaRPr lang="en-US" dirty="0"/>
          </a:p>
        </p:txBody>
      </p:sp>
      <p:sp>
        <p:nvSpPr>
          <p:cNvPr id="8" name="Text Placeholder 7">
            <a:extLst>
              <a:ext uri="{FF2B5EF4-FFF2-40B4-BE49-F238E27FC236}">
                <a16:creationId xmlns:a16="http://schemas.microsoft.com/office/drawing/2014/main" id="{A93F8179-A052-4AAC-872F-6049B73E6AAF}"/>
              </a:ext>
            </a:extLst>
          </p:cNvPr>
          <p:cNvSpPr>
            <a:spLocks noGrp="1"/>
          </p:cNvSpPr>
          <p:nvPr>
            <p:ph type="body" sz="quarter" idx="22"/>
          </p:nvPr>
        </p:nvSpPr>
        <p:spPr/>
        <p:txBody>
          <a:body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6" name="Text Placeholder 5">
            <a:extLst>
              <a:ext uri="{FF2B5EF4-FFF2-40B4-BE49-F238E27FC236}">
                <a16:creationId xmlns:a16="http://schemas.microsoft.com/office/drawing/2014/main" id="{838D7595-5B06-4CC5-A88D-106E9BA0C66B}"/>
              </a:ext>
            </a:extLst>
          </p:cNvPr>
          <p:cNvSpPr>
            <a:spLocks noGrp="1"/>
          </p:cNvSpPr>
          <p:nvPr>
            <p:ph type="body" sz="quarter" idx="19"/>
          </p:nvPr>
        </p:nvSpPr>
        <p:spPr/>
        <p:txBody>
          <a:bodyPr/>
          <a:lstStyle/>
          <a:p>
            <a:r>
              <a:rPr lang="en-GB" dirty="0"/>
              <a:t>00x</a:t>
            </a:r>
            <a:endParaRPr lang="en-US" dirty="0"/>
          </a:p>
        </p:txBody>
      </p:sp>
      <p:sp>
        <p:nvSpPr>
          <p:cNvPr id="9" name="Text Placeholder 8">
            <a:extLst>
              <a:ext uri="{FF2B5EF4-FFF2-40B4-BE49-F238E27FC236}">
                <a16:creationId xmlns:a16="http://schemas.microsoft.com/office/drawing/2014/main" id="{EC479F30-D15D-4DDA-8E62-EF89564567E7}"/>
              </a:ext>
            </a:extLst>
          </p:cNvPr>
          <p:cNvSpPr>
            <a:spLocks noGrp="1"/>
          </p:cNvSpPr>
          <p:nvPr>
            <p:ph type="body" sz="quarter" idx="23"/>
          </p:nvPr>
        </p:nvSpPr>
        <p:spPr/>
        <p:txBody>
          <a:body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7" name="Text Placeholder 6">
            <a:extLst>
              <a:ext uri="{FF2B5EF4-FFF2-40B4-BE49-F238E27FC236}">
                <a16:creationId xmlns:a16="http://schemas.microsoft.com/office/drawing/2014/main" id="{71C72A95-ABAF-4E8F-98BD-E51E5F3F33DC}"/>
              </a:ext>
            </a:extLst>
          </p:cNvPr>
          <p:cNvSpPr>
            <a:spLocks noGrp="1"/>
          </p:cNvSpPr>
          <p:nvPr>
            <p:ph type="body" sz="quarter" idx="21"/>
          </p:nvPr>
        </p:nvSpPr>
        <p:spPr/>
        <p:txBody>
          <a:bodyPr/>
          <a:lstStyle/>
          <a:p>
            <a:r>
              <a:rPr lang="en-GB" dirty="0"/>
              <a:t>00x</a:t>
            </a:r>
            <a:endParaRPr lang="en-US" dirty="0"/>
          </a:p>
        </p:txBody>
      </p:sp>
      <p:sp>
        <p:nvSpPr>
          <p:cNvPr id="10" name="Text Placeholder 9">
            <a:extLst>
              <a:ext uri="{FF2B5EF4-FFF2-40B4-BE49-F238E27FC236}">
                <a16:creationId xmlns:a16="http://schemas.microsoft.com/office/drawing/2014/main" id="{C9C6AACC-B345-4CA7-90F0-A480F263A4AB}"/>
              </a:ext>
            </a:extLst>
          </p:cNvPr>
          <p:cNvSpPr>
            <a:spLocks noGrp="1"/>
          </p:cNvSpPr>
          <p:nvPr>
            <p:ph type="body" sz="quarter" idx="24"/>
          </p:nvPr>
        </p:nvSpPr>
        <p:spPr/>
        <p:txBody>
          <a:body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3" name="Picture Placeholder 2" descr="Insert image here / insert description">
            <a:extLst>
              <a:ext uri="{FF2B5EF4-FFF2-40B4-BE49-F238E27FC236}">
                <a16:creationId xmlns:a16="http://schemas.microsoft.com/office/drawing/2014/main" id="{76C2FB61-927B-4B0F-B8DB-5025D2591252}"/>
              </a:ext>
            </a:extLst>
          </p:cNvPr>
          <p:cNvSpPr>
            <a:spLocks noGrp="1"/>
          </p:cNvSpPr>
          <p:nvPr>
            <p:ph type="pic" sz="quarter" idx="16"/>
          </p:nvPr>
        </p:nvSpPr>
        <p:spPr/>
        <p:txBody>
          <a:bodyPr/>
          <a:lstStyle/>
          <a:p>
            <a:endParaRPr lang="fr-FR"/>
          </a:p>
        </p:txBody>
      </p:sp>
      <p:sp>
        <p:nvSpPr>
          <p:cNvPr id="11" name="Footer Placeholder 10">
            <a:extLst>
              <a:ext uri="{FF2B5EF4-FFF2-40B4-BE49-F238E27FC236}">
                <a16:creationId xmlns:a16="http://schemas.microsoft.com/office/drawing/2014/main" id="{3D1F3BFC-2AAE-4E6E-A362-915CB0BE67FE}"/>
              </a:ext>
            </a:extLst>
          </p:cNvPr>
          <p:cNvSpPr>
            <a:spLocks noGrp="1"/>
          </p:cNvSpPr>
          <p:nvPr>
            <p:ph type="ftr" sz="quarter" idx="3"/>
          </p:nvPr>
        </p:nvSpPr>
        <p:spPr/>
        <p:txBody>
          <a:bodyPr/>
          <a:lstStyle/>
          <a:p>
            <a:pPr defTabSz="228600">
              <a:spcAft>
                <a:spcPts val="1200"/>
              </a:spcAft>
              <a:defRPr/>
            </a:pPr>
            <a:r>
              <a:rPr lang="en-GB"/>
              <a:t>Copyright © 2021 Accenture. All rights reserved.</a:t>
            </a:r>
          </a:p>
        </p:txBody>
      </p:sp>
      <p:sp>
        <p:nvSpPr>
          <p:cNvPr id="12" name="Slide Number Placeholder 11">
            <a:extLst>
              <a:ext uri="{FF2B5EF4-FFF2-40B4-BE49-F238E27FC236}">
                <a16:creationId xmlns:a16="http://schemas.microsoft.com/office/drawing/2014/main" id="{D0CD2152-4243-44D6-B3AE-59DFE0E0841E}"/>
              </a:ext>
            </a:extLst>
          </p:cNvPr>
          <p:cNvSpPr>
            <a:spLocks noGrp="1"/>
          </p:cNvSpPr>
          <p:nvPr>
            <p:ph type="sldNum" sz="quarter" idx="25"/>
          </p:nvPr>
        </p:nvSpPr>
        <p:spPr/>
        <p:txBody>
          <a:bodyPr/>
          <a:lstStyle/>
          <a:p>
            <a:fld id="{1F90F471-3972-4120-B8B3-0237DE626C35}" type="slidenum">
              <a:rPr lang="en-US" smtClean="0"/>
              <a:pPr/>
              <a:t>56</a:t>
            </a:fld>
            <a:endParaRPr lang="en-US" dirty="0"/>
          </a:p>
        </p:txBody>
      </p:sp>
    </p:spTree>
    <p:extLst>
      <p:ext uri="{BB962C8B-B14F-4D97-AF65-F5344CB8AC3E}">
        <p14:creationId xmlns:p14="http://schemas.microsoft.com/office/powerpoint/2010/main" val="407214455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63A189F9-9661-4DE0-B84F-87BE74B5E57B}"/>
              </a:ext>
            </a:extLst>
          </p:cNvPr>
          <p:cNvSpPr>
            <a:spLocks noGrp="1"/>
          </p:cNvSpPr>
          <p:nvPr>
            <p:ph type="title"/>
          </p:nvPr>
        </p:nvSpPr>
        <p:spPr>
          <a:xfrm>
            <a:off x="381000" y="380999"/>
            <a:ext cx="5333969" cy="2393952"/>
          </a:xfr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r>
              <a:rPr lang="en-GB" noProof="0" dirty="0"/>
              <a:t>Place headline here (36pt, min 30pt)</a:t>
            </a:r>
            <a:endParaRPr lang="en-US" noProof="0" dirty="0"/>
          </a:p>
        </p:txBody>
      </p:sp>
      <p:sp>
        <p:nvSpPr>
          <p:cNvPr id="41" name="Picture Placeholder 40">
            <a:extLst>
              <a:ext uri="{FF2B5EF4-FFF2-40B4-BE49-F238E27FC236}">
                <a16:creationId xmlns:a16="http://schemas.microsoft.com/office/drawing/2014/main" id="{CBD28BD4-3C55-4552-A2C3-EE65BEBF5753}"/>
              </a:ext>
            </a:extLst>
          </p:cNvPr>
          <p:cNvSpPr>
            <a:spLocks noGrp="1"/>
          </p:cNvSpPr>
          <p:nvPr>
            <p:ph type="pic" sz="quarter" idx="16"/>
          </p:nvPr>
        </p:nvSpPr>
        <p:spPr/>
        <p:txBody>
          <a:bodyPr/>
          <a:lstStyle/>
          <a:p>
            <a:endParaRPr lang="fr-FR"/>
          </a:p>
        </p:txBody>
      </p:sp>
      <p:sp>
        <p:nvSpPr>
          <p:cNvPr id="3" name="Text Placeholder 2">
            <a:extLst>
              <a:ext uri="{FF2B5EF4-FFF2-40B4-BE49-F238E27FC236}">
                <a16:creationId xmlns:a16="http://schemas.microsoft.com/office/drawing/2014/main" id="{209DF154-E9A5-4DC1-95A3-6AD105DA496B}"/>
              </a:ext>
            </a:extLst>
          </p:cNvPr>
          <p:cNvSpPr>
            <a:spLocks noGrp="1"/>
          </p:cNvSpPr>
          <p:nvPr>
            <p:ph type="body" sz="quarter" idx="17"/>
          </p:nvPr>
        </p:nvSpPr>
        <p:spPr>
          <a:xfrm>
            <a:off x="9525007" y="380999"/>
            <a:ext cx="2285996" cy="912223"/>
          </a:xfrm>
        </p:spPr>
        <p:txBody>
          <a:bodyPr/>
          <a:lstStyle/>
          <a:p>
            <a:r>
              <a:rPr lang="en-GB" dirty="0"/>
              <a:t>00x</a:t>
            </a:r>
            <a:endParaRPr lang="en-US" dirty="0"/>
          </a:p>
        </p:txBody>
      </p:sp>
      <p:sp>
        <p:nvSpPr>
          <p:cNvPr id="4" name="Text Placeholder 3">
            <a:extLst>
              <a:ext uri="{FF2B5EF4-FFF2-40B4-BE49-F238E27FC236}">
                <a16:creationId xmlns:a16="http://schemas.microsoft.com/office/drawing/2014/main" id="{8F784653-77BB-445A-884D-BA72A4244894}"/>
              </a:ext>
            </a:extLst>
          </p:cNvPr>
          <p:cNvSpPr>
            <a:spLocks noGrp="1"/>
          </p:cNvSpPr>
          <p:nvPr>
            <p:ph type="body" sz="quarter" idx="18"/>
          </p:nvPr>
        </p:nvSpPr>
        <p:spPr>
          <a:xfrm>
            <a:off x="9525005" y="1490071"/>
            <a:ext cx="2285995" cy="1664208"/>
          </a:xfrm>
        </p:spPr>
        <p:txBody>
          <a:bodyPr/>
          <a:lstStyle/>
          <a:p>
            <a:pPr lvl="0"/>
            <a:r>
              <a:rPr lang="en-US" dirty="0"/>
              <a:t>Stat headline</a:t>
            </a:r>
          </a:p>
          <a:p>
            <a:pPr lvl="1"/>
            <a:r>
              <a:rPr lang="en-US" dirty="0"/>
              <a:t>Stat details 16pt</a:t>
            </a:r>
          </a:p>
          <a:p>
            <a:pPr lvl="2"/>
            <a:r>
              <a:rPr lang="en-US" dirty="0"/>
              <a:t>Bullet point 16pt</a:t>
            </a:r>
          </a:p>
        </p:txBody>
      </p:sp>
      <p:sp>
        <p:nvSpPr>
          <p:cNvPr id="5" name="Text Placeholder 4">
            <a:extLst>
              <a:ext uri="{FF2B5EF4-FFF2-40B4-BE49-F238E27FC236}">
                <a16:creationId xmlns:a16="http://schemas.microsoft.com/office/drawing/2014/main" id="{9D213D9B-2D17-4FA2-A3C2-AAED9CB7B2F0}"/>
              </a:ext>
            </a:extLst>
          </p:cNvPr>
          <p:cNvSpPr>
            <a:spLocks noGrp="1"/>
          </p:cNvSpPr>
          <p:nvPr>
            <p:ph type="body" sz="quarter" idx="19"/>
          </p:nvPr>
        </p:nvSpPr>
        <p:spPr>
          <a:xfrm>
            <a:off x="3428988" y="3538763"/>
            <a:ext cx="2285996" cy="912223"/>
          </a:xfrm>
        </p:spPr>
        <p:txBody>
          <a:bodyPr/>
          <a:lstStyle/>
          <a:p>
            <a:r>
              <a:rPr lang="en-GB" dirty="0"/>
              <a:t>00x</a:t>
            </a:r>
            <a:endParaRPr lang="en-US" dirty="0"/>
          </a:p>
        </p:txBody>
      </p:sp>
      <p:sp>
        <p:nvSpPr>
          <p:cNvPr id="6" name="Text Placeholder 5">
            <a:extLst>
              <a:ext uri="{FF2B5EF4-FFF2-40B4-BE49-F238E27FC236}">
                <a16:creationId xmlns:a16="http://schemas.microsoft.com/office/drawing/2014/main" id="{F5FDB53D-5382-469F-9067-7ECB8F40AD09}"/>
              </a:ext>
            </a:extLst>
          </p:cNvPr>
          <p:cNvSpPr>
            <a:spLocks noGrp="1"/>
          </p:cNvSpPr>
          <p:nvPr>
            <p:ph type="body" sz="quarter" idx="20"/>
          </p:nvPr>
        </p:nvSpPr>
        <p:spPr>
          <a:xfrm>
            <a:off x="3428986" y="4647836"/>
            <a:ext cx="2285995" cy="1284879"/>
          </a:xfrm>
        </p:spPr>
        <p:txBody>
          <a:bodyPr/>
          <a:lstStyle/>
          <a:p>
            <a:pPr lvl="0"/>
            <a:r>
              <a:rPr lang="en-US" dirty="0"/>
              <a:t>Stat headline </a:t>
            </a:r>
          </a:p>
          <a:p>
            <a:pPr lvl="1"/>
            <a:r>
              <a:rPr lang="en-US" dirty="0"/>
              <a:t>Stat details 16pt</a:t>
            </a:r>
          </a:p>
          <a:p>
            <a:pPr lvl="2"/>
            <a:r>
              <a:rPr lang="en-US" dirty="0"/>
              <a:t>Bullet point 16pt</a:t>
            </a:r>
          </a:p>
        </p:txBody>
      </p:sp>
      <p:sp>
        <p:nvSpPr>
          <p:cNvPr id="7" name="Text Placeholder 6">
            <a:extLst>
              <a:ext uri="{FF2B5EF4-FFF2-40B4-BE49-F238E27FC236}">
                <a16:creationId xmlns:a16="http://schemas.microsoft.com/office/drawing/2014/main" id="{033FFF2D-AAA5-47BC-AA06-05FF73748DED}"/>
              </a:ext>
            </a:extLst>
          </p:cNvPr>
          <p:cNvSpPr>
            <a:spLocks noGrp="1"/>
          </p:cNvSpPr>
          <p:nvPr>
            <p:ph type="body" sz="quarter" idx="21"/>
          </p:nvPr>
        </p:nvSpPr>
        <p:spPr>
          <a:xfrm>
            <a:off x="6476996" y="3538763"/>
            <a:ext cx="2285996" cy="912223"/>
          </a:xfrm>
        </p:spPr>
        <p:txBody>
          <a:bodyPr/>
          <a:lstStyle/>
          <a:p>
            <a:r>
              <a:rPr lang="en-GB" dirty="0"/>
              <a:t>00x</a:t>
            </a:r>
            <a:endParaRPr lang="en-US" dirty="0"/>
          </a:p>
        </p:txBody>
      </p:sp>
      <p:sp>
        <p:nvSpPr>
          <p:cNvPr id="8" name="Text Placeholder 7">
            <a:extLst>
              <a:ext uri="{FF2B5EF4-FFF2-40B4-BE49-F238E27FC236}">
                <a16:creationId xmlns:a16="http://schemas.microsoft.com/office/drawing/2014/main" id="{340DF40D-7C05-41A1-8723-DE05BFA3BB18}"/>
              </a:ext>
            </a:extLst>
          </p:cNvPr>
          <p:cNvSpPr>
            <a:spLocks noGrp="1"/>
          </p:cNvSpPr>
          <p:nvPr>
            <p:ph type="body" sz="quarter" idx="22"/>
          </p:nvPr>
        </p:nvSpPr>
        <p:spPr>
          <a:xfrm>
            <a:off x="6476994" y="4647835"/>
            <a:ext cx="2285995" cy="1664208"/>
          </a:xfrm>
        </p:spPr>
        <p:txBody>
          <a:bodyPr/>
          <a:lstStyle/>
          <a:p>
            <a:pPr lvl="0"/>
            <a:r>
              <a:rPr lang="en-US" dirty="0"/>
              <a:t>Stat headline</a:t>
            </a:r>
          </a:p>
          <a:p>
            <a:pPr lvl="1"/>
            <a:r>
              <a:rPr lang="en-US" dirty="0"/>
              <a:t>Stat details 16pt</a:t>
            </a:r>
          </a:p>
          <a:p>
            <a:pPr lvl="2"/>
            <a:r>
              <a:rPr lang="en-US" dirty="0"/>
              <a:t>Bullet point 16pt</a:t>
            </a:r>
          </a:p>
        </p:txBody>
      </p:sp>
      <p:sp>
        <p:nvSpPr>
          <p:cNvPr id="42" name="Picture Placeholder 41">
            <a:extLst>
              <a:ext uri="{FF2B5EF4-FFF2-40B4-BE49-F238E27FC236}">
                <a16:creationId xmlns:a16="http://schemas.microsoft.com/office/drawing/2014/main" id="{DE8E5C7E-4452-4753-8601-EE3265E1BA14}"/>
              </a:ext>
            </a:extLst>
          </p:cNvPr>
          <p:cNvSpPr>
            <a:spLocks noGrp="1"/>
          </p:cNvSpPr>
          <p:nvPr>
            <p:ph type="pic" sz="quarter" idx="23"/>
          </p:nvPr>
        </p:nvSpPr>
        <p:spPr/>
        <p:txBody>
          <a:bodyPr/>
          <a:lstStyle/>
          <a:p>
            <a:endParaRPr lang="fr-FR"/>
          </a:p>
        </p:txBody>
      </p:sp>
      <p:sp>
        <p:nvSpPr>
          <p:cNvPr id="10" name="Text Placeholder 9">
            <a:extLst>
              <a:ext uri="{FF2B5EF4-FFF2-40B4-BE49-F238E27FC236}">
                <a16:creationId xmlns:a16="http://schemas.microsoft.com/office/drawing/2014/main" id="{151E078F-8884-4A48-9318-B46D76AF7587}"/>
              </a:ext>
            </a:extLst>
          </p:cNvPr>
          <p:cNvSpPr>
            <a:spLocks noGrp="1"/>
          </p:cNvSpPr>
          <p:nvPr>
            <p:ph type="body" sz="quarter" idx="24"/>
          </p:nvPr>
        </p:nvSpPr>
        <p:spPr>
          <a:xfrm>
            <a:off x="9525001" y="3538763"/>
            <a:ext cx="2285996" cy="912223"/>
          </a:xfrm>
        </p:spPr>
        <p:txBody>
          <a:bodyPr/>
          <a:lstStyle/>
          <a:p>
            <a:r>
              <a:rPr lang="en-GB" dirty="0"/>
              <a:t>00x</a:t>
            </a:r>
            <a:endParaRPr lang="en-US" dirty="0"/>
          </a:p>
        </p:txBody>
      </p:sp>
      <p:sp>
        <p:nvSpPr>
          <p:cNvPr id="11" name="Text Placeholder 10">
            <a:extLst>
              <a:ext uri="{FF2B5EF4-FFF2-40B4-BE49-F238E27FC236}">
                <a16:creationId xmlns:a16="http://schemas.microsoft.com/office/drawing/2014/main" id="{84766A20-2B20-4F93-99B9-C375AB84DBCA}"/>
              </a:ext>
            </a:extLst>
          </p:cNvPr>
          <p:cNvSpPr>
            <a:spLocks noGrp="1"/>
          </p:cNvSpPr>
          <p:nvPr>
            <p:ph type="body" sz="quarter" idx="25"/>
          </p:nvPr>
        </p:nvSpPr>
        <p:spPr>
          <a:xfrm>
            <a:off x="9524999" y="4647836"/>
            <a:ext cx="2285995" cy="1662794"/>
          </a:xfrm>
        </p:spPr>
        <p:txBody>
          <a:bodyPr/>
          <a:lstStyle/>
          <a:p>
            <a:pPr lvl="0"/>
            <a:r>
              <a:rPr lang="en-US" dirty="0"/>
              <a:t>Stat headline</a:t>
            </a:r>
          </a:p>
          <a:p>
            <a:pPr lvl="1"/>
            <a:r>
              <a:rPr lang="en-US" dirty="0"/>
              <a:t>Stat details 16pt</a:t>
            </a:r>
          </a:p>
          <a:p>
            <a:pPr lvl="2"/>
            <a:r>
              <a:rPr lang="en-US" dirty="0"/>
              <a:t>Bullet point 16pt</a:t>
            </a:r>
          </a:p>
        </p:txBody>
      </p:sp>
      <p:sp>
        <p:nvSpPr>
          <p:cNvPr id="13" name="Footer Placeholder 12">
            <a:extLst>
              <a:ext uri="{FF2B5EF4-FFF2-40B4-BE49-F238E27FC236}">
                <a16:creationId xmlns:a16="http://schemas.microsoft.com/office/drawing/2014/main" id="{8DCF6A41-678E-4899-81EC-5A7FF976783E}"/>
              </a:ext>
            </a:extLst>
          </p:cNvPr>
          <p:cNvSpPr>
            <a:spLocks noGrp="1"/>
          </p:cNvSpPr>
          <p:nvPr>
            <p:ph type="ftr" sz="quarter" idx="3"/>
          </p:nvPr>
        </p:nvSpPr>
        <p:spPr>
          <a:xfrm>
            <a:off x="7315200" y="6488234"/>
            <a:ext cx="4114800" cy="198318"/>
          </a:xfrm>
        </p:spPr>
        <p:txBody>
          <a:bodyPr/>
          <a:lstStyle/>
          <a:p>
            <a:r>
              <a:rPr lang="en-GB"/>
              <a:t>Copyright © 2021 Accenture. All rights reserved.</a:t>
            </a:r>
          </a:p>
        </p:txBody>
      </p:sp>
      <p:sp>
        <p:nvSpPr>
          <p:cNvPr id="14" name="Slide Number Placeholder 13">
            <a:extLst>
              <a:ext uri="{FF2B5EF4-FFF2-40B4-BE49-F238E27FC236}">
                <a16:creationId xmlns:a16="http://schemas.microsoft.com/office/drawing/2014/main" id="{2E26BBE7-E20F-41B9-A434-32D161C09862}"/>
              </a:ext>
            </a:extLst>
          </p:cNvPr>
          <p:cNvSpPr>
            <a:spLocks noGrp="1"/>
          </p:cNvSpPr>
          <p:nvPr>
            <p:ph type="sldNum" sz="quarter" idx="27"/>
          </p:nvPr>
        </p:nvSpPr>
        <p:spPr>
          <a:xfrm>
            <a:off x="11484746" y="6490025"/>
            <a:ext cx="326254" cy="201168"/>
          </a:xfrm>
        </p:spPr>
        <p:txBody>
          <a:bodyPr/>
          <a:lstStyle/>
          <a:p>
            <a:fld id="{1F90F471-3972-4120-B8B3-0237DE626C35}" type="slidenum">
              <a:rPr lang="en-US" smtClean="0"/>
              <a:pPr/>
              <a:t>57</a:t>
            </a:fld>
            <a:endParaRPr lang="en-US" dirty="0"/>
          </a:p>
        </p:txBody>
      </p:sp>
    </p:spTree>
    <p:extLst>
      <p:ext uri="{BB962C8B-B14F-4D97-AF65-F5344CB8AC3E}">
        <p14:creationId xmlns:p14="http://schemas.microsoft.com/office/powerpoint/2010/main" val="382385800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D53417-ABF8-4166-83B1-D82820C936F0}"/>
              </a:ext>
            </a:extLst>
          </p:cNvPr>
          <p:cNvSpPr>
            <a:spLocks noGrp="1"/>
          </p:cNvSpPr>
          <p:nvPr>
            <p:ph type="title"/>
          </p:nvPr>
        </p:nvSpPr>
        <p:spPr/>
        <p:txBody>
          <a:bodyPr/>
          <a:lstStyle/>
          <a:p>
            <a:r>
              <a:rPr lang="en-US" dirty="0"/>
              <a:t>Place key message here 54pt</a:t>
            </a:r>
          </a:p>
        </p:txBody>
      </p:sp>
      <p:sp>
        <p:nvSpPr>
          <p:cNvPr id="3" name="Footer Placeholder 2">
            <a:extLst>
              <a:ext uri="{FF2B5EF4-FFF2-40B4-BE49-F238E27FC236}">
                <a16:creationId xmlns:a16="http://schemas.microsoft.com/office/drawing/2014/main" id="{ACC85CB4-D843-4265-94A6-A88374105049}"/>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4" name="Slide Number Placeholder 3">
            <a:extLst>
              <a:ext uri="{FF2B5EF4-FFF2-40B4-BE49-F238E27FC236}">
                <a16:creationId xmlns:a16="http://schemas.microsoft.com/office/drawing/2014/main" id="{FB3960B1-37C9-442A-B388-7C5F1FAE3BCB}"/>
              </a:ext>
            </a:extLst>
          </p:cNvPr>
          <p:cNvSpPr>
            <a:spLocks noGrp="1"/>
          </p:cNvSpPr>
          <p:nvPr>
            <p:ph type="sldNum" sz="quarter" idx="11"/>
          </p:nvPr>
        </p:nvSpPr>
        <p:spPr/>
        <p:txBody>
          <a:bodyPr/>
          <a:lstStyle/>
          <a:p>
            <a:fld id="{1F90F471-3972-4120-B8B3-0237DE626C35}" type="slidenum">
              <a:rPr lang="en-US" smtClean="0"/>
              <a:pPr/>
              <a:t>58</a:t>
            </a:fld>
            <a:endParaRPr lang="en-US" dirty="0"/>
          </a:p>
        </p:txBody>
      </p:sp>
    </p:spTree>
    <p:extLst>
      <p:ext uri="{BB962C8B-B14F-4D97-AF65-F5344CB8AC3E}">
        <p14:creationId xmlns:p14="http://schemas.microsoft.com/office/powerpoint/2010/main" val="72858626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E7B17-DB7F-4C92-AE45-68F523859937}"/>
              </a:ext>
            </a:extLst>
          </p:cNvPr>
          <p:cNvSpPr>
            <a:spLocks noGrp="1"/>
          </p:cNvSpPr>
          <p:nvPr>
            <p:ph type="title"/>
          </p:nvPr>
        </p:nvSpPr>
        <p:spPr/>
        <p:txBody>
          <a:bodyPr/>
          <a:lstStyle/>
          <a:p>
            <a:r>
              <a:rPr lang="en-US" dirty="0"/>
              <a:t>Place key message here 54pt</a:t>
            </a:r>
          </a:p>
        </p:txBody>
      </p:sp>
      <p:sp>
        <p:nvSpPr>
          <p:cNvPr id="3" name="Footer Placeholder 2">
            <a:extLst>
              <a:ext uri="{FF2B5EF4-FFF2-40B4-BE49-F238E27FC236}">
                <a16:creationId xmlns:a16="http://schemas.microsoft.com/office/drawing/2014/main" id="{A92CD7A8-DADD-468B-AD43-5B5C9F90F41D}"/>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4" name="Slide Number Placeholder 3">
            <a:extLst>
              <a:ext uri="{FF2B5EF4-FFF2-40B4-BE49-F238E27FC236}">
                <a16:creationId xmlns:a16="http://schemas.microsoft.com/office/drawing/2014/main" id="{C94DB668-B04C-484E-AE51-E3744CE6A8E9}"/>
              </a:ext>
            </a:extLst>
          </p:cNvPr>
          <p:cNvSpPr>
            <a:spLocks noGrp="1"/>
          </p:cNvSpPr>
          <p:nvPr>
            <p:ph type="sldNum" sz="quarter" idx="11"/>
          </p:nvPr>
        </p:nvSpPr>
        <p:spPr/>
        <p:txBody>
          <a:bodyPr/>
          <a:lstStyle/>
          <a:p>
            <a:fld id="{1F90F471-3972-4120-B8B3-0237DE626C35}" type="slidenum">
              <a:rPr lang="en-US" smtClean="0"/>
              <a:pPr/>
              <a:t>59</a:t>
            </a:fld>
            <a:endParaRPr lang="en-US" dirty="0"/>
          </a:p>
        </p:txBody>
      </p:sp>
    </p:spTree>
    <p:extLst>
      <p:ext uri="{BB962C8B-B14F-4D97-AF65-F5344CB8AC3E}">
        <p14:creationId xmlns:p14="http://schemas.microsoft.com/office/powerpoint/2010/main" val="6803382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25E66-6E45-4606-906D-0109D4EB7493}"/>
              </a:ext>
            </a:extLst>
          </p:cNvPr>
          <p:cNvSpPr>
            <a:spLocks noGrp="1"/>
          </p:cNvSpPr>
          <p:nvPr>
            <p:ph type="title"/>
          </p:nvPr>
        </p:nvSpPr>
        <p:spPr/>
        <p:txBody>
          <a:bodyPr/>
          <a:lstStyle/>
          <a:p>
            <a:r>
              <a:rPr lang="en-US" dirty="0"/>
              <a:t>Working with footers </a:t>
            </a:r>
          </a:p>
        </p:txBody>
      </p:sp>
      <p:sp>
        <p:nvSpPr>
          <p:cNvPr id="6" name="Text Placeholder 5">
            <a:extLst>
              <a:ext uri="{FF2B5EF4-FFF2-40B4-BE49-F238E27FC236}">
                <a16:creationId xmlns:a16="http://schemas.microsoft.com/office/drawing/2014/main" id="{CA362F82-5346-4207-85FC-8FE4ACF26BAB}"/>
              </a:ext>
            </a:extLst>
          </p:cNvPr>
          <p:cNvSpPr>
            <a:spLocks noGrp="1"/>
          </p:cNvSpPr>
          <p:nvPr>
            <p:ph type="body" sz="quarter" idx="11"/>
          </p:nvPr>
        </p:nvSpPr>
        <p:spPr/>
        <p:txBody>
          <a:bodyPr/>
          <a:lstStyle/>
          <a:p>
            <a:r>
              <a:rPr lang="en-US" dirty="0"/>
              <a:t>Presentation date on title masters</a:t>
            </a:r>
          </a:p>
        </p:txBody>
      </p:sp>
      <p:sp>
        <p:nvSpPr>
          <p:cNvPr id="3" name="Content Placeholder 2">
            <a:extLst>
              <a:ext uri="{FF2B5EF4-FFF2-40B4-BE49-F238E27FC236}">
                <a16:creationId xmlns:a16="http://schemas.microsoft.com/office/drawing/2014/main" id="{4161FB08-575F-482C-8A95-212A2F6B7416}"/>
              </a:ext>
            </a:extLst>
          </p:cNvPr>
          <p:cNvSpPr>
            <a:spLocks noGrp="1"/>
          </p:cNvSpPr>
          <p:nvPr>
            <p:ph sz="half" idx="2"/>
          </p:nvPr>
        </p:nvSpPr>
        <p:spPr>
          <a:xfrm>
            <a:off x="380999" y="1947672"/>
            <a:ext cx="5524499" cy="4361688"/>
          </a:xfrm>
        </p:spPr>
        <p:txBody>
          <a:bodyPr/>
          <a:lstStyle/>
          <a:p>
            <a:r>
              <a:rPr lang="en-GB" sz="1800" dirty="0"/>
              <a:t>From the Ribbon, click the Insert tab and click Header &amp; Footer in the Text group</a:t>
            </a:r>
          </a:p>
          <a:p>
            <a:r>
              <a:rPr lang="en-GB" sz="1800" dirty="0"/>
              <a:t>In the dialog box check the box next to “Date and time” and select either an automatic or fixed date</a:t>
            </a:r>
          </a:p>
          <a:p>
            <a:r>
              <a:rPr lang="en-GB" sz="1800" dirty="0"/>
              <a:t>Automatic dates have a selection of formats available from the drop-down menu</a:t>
            </a:r>
          </a:p>
          <a:p>
            <a:r>
              <a:rPr lang="en-GB" sz="1800" dirty="0"/>
              <a:t>Note as shown, the date on title slides will reflect your date format selection or custom text input in the Header and Footer menu</a:t>
            </a:r>
            <a:endParaRPr lang="en-US" sz="1800" dirty="0"/>
          </a:p>
        </p:txBody>
      </p:sp>
      <p:pic>
        <p:nvPicPr>
          <p:cNvPr id="11" name="Content Placeholder 8" descr="All informative images must include a description for screen readers. All informative images must include a description for screen readers. If descriptive information is available in nearby text, it should not be repeated in the alt text for an image.">
            <a:extLst>
              <a:ext uri="{FF2B5EF4-FFF2-40B4-BE49-F238E27FC236}">
                <a16:creationId xmlns:a16="http://schemas.microsoft.com/office/drawing/2014/main" id="{A9A63049-C4F7-4826-9C11-BCCB910AA3A8}"/>
              </a:ext>
            </a:extLst>
          </p:cNvPr>
          <p:cNvPicPr>
            <a:picLocks noChangeAspect="1"/>
          </p:cNvPicPr>
          <p:nvPr/>
        </p:nvPicPr>
        <p:blipFill>
          <a:blip r:embed="rId2"/>
          <a:stretch/>
        </p:blipFill>
        <p:spPr>
          <a:xfrm>
            <a:off x="7103680" y="380999"/>
            <a:ext cx="4707321" cy="3250003"/>
          </a:xfrm>
          <a:prstGeom prst="rect">
            <a:avLst/>
          </a:prstGeom>
        </p:spPr>
      </p:pic>
      <p:pic>
        <p:nvPicPr>
          <p:cNvPr id="10" name="Picture 9" descr="All informative images must include a description for screen readers. All informative images must include a description for screen readers. If descriptive information is available in nearby text, it should not be repeated in the alt text for an image.">
            <a:extLst>
              <a:ext uri="{FF2B5EF4-FFF2-40B4-BE49-F238E27FC236}">
                <a16:creationId xmlns:a16="http://schemas.microsoft.com/office/drawing/2014/main" id="{E38EEC5C-6326-4061-94CD-D30B7E5AE4C8}"/>
              </a:ext>
            </a:extLst>
          </p:cNvPr>
          <p:cNvPicPr>
            <a:picLocks noChangeAspect="1"/>
          </p:cNvPicPr>
          <p:nvPr/>
        </p:nvPicPr>
        <p:blipFill rotWithShape="1">
          <a:blip r:embed="rId3"/>
          <a:srcRect t="40014" r="38124" b="1687"/>
          <a:stretch/>
        </p:blipFill>
        <p:spPr>
          <a:xfrm>
            <a:off x="7103678" y="3873062"/>
            <a:ext cx="4707321" cy="2494829"/>
          </a:xfrm>
          <a:prstGeom prst="rect">
            <a:avLst/>
          </a:prstGeom>
        </p:spPr>
      </p:pic>
      <p:sp>
        <p:nvSpPr>
          <p:cNvPr id="5" name="Footer Placeholder 4">
            <a:extLst>
              <a:ext uri="{FF2B5EF4-FFF2-40B4-BE49-F238E27FC236}">
                <a16:creationId xmlns:a16="http://schemas.microsoft.com/office/drawing/2014/main" id="{82971068-CE6C-493F-98C2-23C66FCED94D}"/>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7" name="Slide Number Placeholder 6">
            <a:extLst>
              <a:ext uri="{FF2B5EF4-FFF2-40B4-BE49-F238E27FC236}">
                <a16:creationId xmlns:a16="http://schemas.microsoft.com/office/drawing/2014/main" id="{5F8A4368-F84D-42E8-B7D1-E22F637A2A63}"/>
              </a:ext>
            </a:extLst>
          </p:cNvPr>
          <p:cNvSpPr>
            <a:spLocks noGrp="1"/>
          </p:cNvSpPr>
          <p:nvPr>
            <p:ph type="sldNum" sz="quarter" idx="20"/>
          </p:nvPr>
        </p:nvSpPr>
        <p:spPr/>
        <p:txBody>
          <a:bodyPr/>
          <a:lstStyle/>
          <a:p>
            <a:fld id="{1F90F471-3972-4120-B8B3-0237DE626C35}" type="slidenum">
              <a:rPr lang="en-US" smtClean="0"/>
              <a:pPr/>
              <a:t>6</a:t>
            </a:fld>
            <a:endParaRPr lang="en-US" dirty="0"/>
          </a:p>
        </p:txBody>
      </p:sp>
    </p:spTree>
    <p:extLst>
      <p:ext uri="{BB962C8B-B14F-4D97-AF65-F5344CB8AC3E}">
        <p14:creationId xmlns:p14="http://schemas.microsoft.com/office/powerpoint/2010/main" val="174866030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descr="Insert image here / insert description">
            <a:extLst>
              <a:ext uri="{FF2B5EF4-FFF2-40B4-BE49-F238E27FC236}">
                <a16:creationId xmlns:a16="http://schemas.microsoft.com/office/drawing/2014/main" id="{E06EF5E0-9B5C-4F18-91C4-68C6C2941313}"/>
              </a:ext>
            </a:extLst>
          </p:cNvPr>
          <p:cNvSpPr>
            <a:spLocks noGrp="1"/>
          </p:cNvSpPr>
          <p:nvPr>
            <p:ph type="pic" sz="quarter" idx="10"/>
          </p:nvPr>
        </p:nvSpPr>
        <p:spPr/>
        <p:txBody>
          <a:bodyPr/>
          <a:lstStyle/>
          <a:p>
            <a:endParaRPr lang="fr-FR"/>
          </a:p>
        </p:txBody>
      </p:sp>
      <p:sp>
        <p:nvSpPr>
          <p:cNvPr id="3" name="Title 2">
            <a:extLst>
              <a:ext uri="{FF2B5EF4-FFF2-40B4-BE49-F238E27FC236}">
                <a16:creationId xmlns:a16="http://schemas.microsoft.com/office/drawing/2014/main" id="{0D82FF4E-36ED-4DF0-A32F-C5FDA9F03E23}"/>
              </a:ext>
            </a:extLst>
          </p:cNvPr>
          <p:cNvSpPr>
            <a:spLocks noGrp="1"/>
          </p:cNvSpPr>
          <p:nvPr>
            <p:ph type="title"/>
          </p:nvPr>
        </p:nvSpPr>
        <p:spPr/>
        <p:txBody>
          <a:bodyPr/>
          <a:lstStyle/>
          <a:p>
            <a:r>
              <a:rPr lang="en-US" dirty="0"/>
              <a:t>Place headline here 54pt</a:t>
            </a:r>
          </a:p>
        </p:txBody>
      </p:sp>
      <p:sp>
        <p:nvSpPr>
          <p:cNvPr id="4" name="Footer Placeholder 3">
            <a:extLst>
              <a:ext uri="{FF2B5EF4-FFF2-40B4-BE49-F238E27FC236}">
                <a16:creationId xmlns:a16="http://schemas.microsoft.com/office/drawing/2014/main" id="{39C9CD22-81CB-4C06-BFCB-7C67AC98C80F}"/>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3606022F-F389-4166-9605-E02B867B7971}"/>
              </a:ext>
            </a:extLst>
          </p:cNvPr>
          <p:cNvSpPr>
            <a:spLocks noGrp="1"/>
          </p:cNvSpPr>
          <p:nvPr>
            <p:ph type="sldNum" sz="quarter" idx="12"/>
          </p:nvPr>
        </p:nvSpPr>
        <p:spPr/>
        <p:txBody>
          <a:bodyPr/>
          <a:lstStyle/>
          <a:p>
            <a:fld id="{1F90F471-3972-4120-B8B3-0237DE626C35}" type="slidenum">
              <a:rPr lang="en-US" smtClean="0"/>
              <a:pPr/>
              <a:t>60</a:t>
            </a:fld>
            <a:endParaRPr lang="en-US" dirty="0"/>
          </a:p>
        </p:txBody>
      </p:sp>
    </p:spTree>
    <p:extLst>
      <p:ext uri="{BB962C8B-B14F-4D97-AF65-F5344CB8AC3E}">
        <p14:creationId xmlns:p14="http://schemas.microsoft.com/office/powerpoint/2010/main" val="90472535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E6715-EDF1-421A-9B75-1A088E65BD89}"/>
              </a:ext>
            </a:extLst>
          </p:cNvPr>
          <p:cNvSpPr>
            <a:spLocks noGrp="1"/>
          </p:cNvSpPr>
          <p:nvPr>
            <p:ph type="title"/>
          </p:nvPr>
        </p:nvSpPr>
        <p:spPr/>
        <p:txBody>
          <a:bodyPr/>
          <a:lstStyle/>
          <a:p>
            <a:r>
              <a:rPr lang="en-GB" dirty="0"/>
              <a:t>Place headline here (36pt, min 30pt)</a:t>
            </a:r>
            <a:endParaRPr lang="en-US" dirty="0"/>
          </a:p>
        </p:txBody>
      </p:sp>
      <p:sp>
        <p:nvSpPr>
          <p:cNvPr id="3" name="Footer Placeholder 2">
            <a:extLst>
              <a:ext uri="{FF2B5EF4-FFF2-40B4-BE49-F238E27FC236}">
                <a16:creationId xmlns:a16="http://schemas.microsoft.com/office/drawing/2014/main" id="{A59D4408-22FD-4608-AC4B-E91618366418}"/>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4" name="Slide Number Placeholder 3">
            <a:extLst>
              <a:ext uri="{FF2B5EF4-FFF2-40B4-BE49-F238E27FC236}">
                <a16:creationId xmlns:a16="http://schemas.microsoft.com/office/drawing/2014/main" id="{DF11B5C3-8E4F-45E7-89DA-52731B202823}"/>
              </a:ext>
            </a:extLst>
          </p:cNvPr>
          <p:cNvSpPr>
            <a:spLocks noGrp="1"/>
          </p:cNvSpPr>
          <p:nvPr>
            <p:ph type="sldNum" sz="quarter" idx="10"/>
          </p:nvPr>
        </p:nvSpPr>
        <p:spPr/>
        <p:txBody>
          <a:bodyPr/>
          <a:lstStyle/>
          <a:p>
            <a:fld id="{1F90F471-3972-4120-B8B3-0237DE626C35}" type="slidenum">
              <a:rPr lang="en-US" smtClean="0"/>
              <a:pPr/>
              <a:t>61</a:t>
            </a:fld>
            <a:endParaRPr lang="en-US" dirty="0"/>
          </a:p>
        </p:txBody>
      </p:sp>
    </p:spTree>
    <p:extLst>
      <p:ext uri="{BB962C8B-B14F-4D97-AF65-F5344CB8AC3E}">
        <p14:creationId xmlns:p14="http://schemas.microsoft.com/office/powerpoint/2010/main" val="381040442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EA92C-F48A-41D9-A73B-B5323F4C4BDB}"/>
              </a:ext>
            </a:extLst>
          </p:cNvPr>
          <p:cNvSpPr>
            <a:spLocks noGrp="1"/>
          </p:cNvSpPr>
          <p:nvPr>
            <p:ph type="title"/>
          </p:nvPr>
        </p:nvSpPr>
        <p:spPr/>
        <p:txBody>
          <a:bodyPr/>
          <a:lstStyle/>
          <a:p>
            <a:r>
              <a:rPr lang="en-GB" dirty="0"/>
              <a:t>Place headline here (36pt, min 30pt)</a:t>
            </a:r>
            <a:endParaRPr lang="en-US" dirty="0"/>
          </a:p>
        </p:txBody>
      </p:sp>
      <p:sp>
        <p:nvSpPr>
          <p:cNvPr id="3" name="Text Placeholder 2">
            <a:extLst>
              <a:ext uri="{FF2B5EF4-FFF2-40B4-BE49-F238E27FC236}">
                <a16:creationId xmlns:a16="http://schemas.microsoft.com/office/drawing/2014/main" id="{530EE3EB-2F1F-41D6-8DBC-FD4E547F020C}"/>
              </a:ext>
            </a:extLst>
          </p:cNvPr>
          <p:cNvSpPr>
            <a:spLocks noGrp="1"/>
          </p:cNvSpPr>
          <p:nvPr>
            <p:ph type="body" sz="quarter" idx="11"/>
          </p:nvPr>
        </p:nvSpPr>
        <p:spPr/>
        <p:txBody>
          <a:bodyPr/>
          <a:lstStyle/>
          <a:p>
            <a:r>
              <a:rPr lang="en-GB" dirty="0"/>
              <a:t>Place subtitle here in GT Sectra Fine </a:t>
            </a:r>
            <a:r>
              <a:rPr lang="en-GB" dirty="0" err="1"/>
              <a:t>Rg</a:t>
            </a:r>
            <a:r>
              <a:rPr lang="en-GB" dirty="0"/>
              <a:t> 24pt</a:t>
            </a:r>
            <a:endParaRPr lang="en-US" dirty="0"/>
          </a:p>
        </p:txBody>
      </p:sp>
      <p:sp>
        <p:nvSpPr>
          <p:cNvPr id="4" name="Footer Placeholder 3">
            <a:extLst>
              <a:ext uri="{FF2B5EF4-FFF2-40B4-BE49-F238E27FC236}">
                <a16:creationId xmlns:a16="http://schemas.microsoft.com/office/drawing/2014/main" id="{0EF56C46-E2BA-45D0-8EA7-EB9071070C1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B9C112B2-042B-44B8-8FE3-4BED93DB7457}"/>
              </a:ext>
            </a:extLst>
          </p:cNvPr>
          <p:cNvSpPr>
            <a:spLocks noGrp="1"/>
          </p:cNvSpPr>
          <p:nvPr>
            <p:ph type="sldNum" sz="quarter" idx="12"/>
          </p:nvPr>
        </p:nvSpPr>
        <p:spPr/>
        <p:txBody>
          <a:bodyPr/>
          <a:lstStyle/>
          <a:p>
            <a:fld id="{1F90F471-3972-4120-B8B3-0237DE626C35}" type="slidenum">
              <a:rPr lang="en-US" smtClean="0"/>
              <a:pPr/>
              <a:t>62</a:t>
            </a:fld>
            <a:endParaRPr lang="en-US" dirty="0"/>
          </a:p>
        </p:txBody>
      </p:sp>
    </p:spTree>
    <p:extLst>
      <p:ext uri="{BB962C8B-B14F-4D97-AF65-F5344CB8AC3E}">
        <p14:creationId xmlns:p14="http://schemas.microsoft.com/office/powerpoint/2010/main" val="30786718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86DCA-E252-45B6-8790-F0CA74EA47D8}"/>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118524515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C6F4399-538F-4BDD-BDD2-AE22875EF178}"/>
              </a:ext>
            </a:extLst>
          </p:cNvPr>
          <p:cNvSpPr>
            <a:spLocks noGrp="1"/>
          </p:cNvSpPr>
          <p:nvPr>
            <p:ph type="title"/>
          </p:nvPr>
        </p:nvSpPr>
        <p:spPr/>
        <p:txBody>
          <a:bodyPr/>
          <a:lstStyle/>
          <a:p>
            <a:r>
              <a:rPr lang="en-US" dirty="0"/>
              <a:t>Visuals Library</a:t>
            </a:r>
          </a:p>
        </p:txBody>
      </p:sp>
      <p:sp>
        <p:nvSpPr>
          <p:cNvPr id="5" name="Footer Placeholder 4">
            <a:extLst>
              <a:ext uri="{FF2B5EF4-FFF2-40B4-BE49-F238E27FC236}">
                <a16:creationId xmlns:a16="http://schemas.microsoft.com/office/drawing/2014/main" id="{20636018-FDC5-4717-97B6-FC390C4A7F5D}"/>
              </a:ext>
            </a:extLst>
          </p:cNvPr>
          <p:cNvSpPr>
            <a:spLocks noGrp="1"/>
          </p:cNvSpPr>
          <p:nvPr>
            <p:ph type="ftr" sz="quarter" idx="18"/>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E1EDED6D-FF12-4F0B-9FB6-929AB722FB40}"/>
              </a:ext>
            </a:extLst>
          </p:cNvPr>
          <p:cNvSpPr>
            <a:spLocks noGrp="1"/>
          </p:cNvSpPr>
          <p:nvPr>
            <p:ph type="sldNum" sz="quarter" idx="19"/>
          </p:nvPr>
        </p:nvSpPr>
        <p:spPr/>
        <p:txBody>
          <a:bodyPr/>
          <a:lstStyle/>
          <a:p>
            <a:fld id="{1F90F471-3972-4120-B8B3-0237DE626C35}" type="slidenum">
              <a:rPr lang="en-US" smtClean="0"/>
              <a:pPr/>
              <a:t>64</a:t>
            </a:fld>
            <a:endParaRPr lang="en-US" dirty="0"/>
          </a:p>
        </p:txBody>
      </p:sp>
    </p:spTree>
    <p:extLst>
      <p:ext uri="{BB962C8B-B14F-4D97-AF65-F5344CB8AC3E}">
        <p14:creationId xmlns:p14="http://schemas.microsoft.com/office/powerpoint/2010/main" val="372064389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5A4E2-35C5-4950-BD96-09B48D622ED4}"/>
              </a:ext>
            </a:extLst>
          </p:cNvPr>
          <p:cNvSpPr>
            <a:spLocks noGrp="1"/>
          </p:cNvSpPr>
          <p:nvPr>
            <p:ph type="title"/>
          </p:nvPr>
        </p:nvSpPr>
        <p:spPr/>
        <p:txBody>
          <a:bodyPr/>
          <a:lstStyle/>
          <a:p>
            <a:r>
              <a:rPr lang="en-US" dirty="0"/>
              <a:t>Index</a:t>
            </a:r>
          </a:p>
        </p:txBody>
      </p:sp>
      <p:sp>
        <p:nvSpPr>
          <p:cNvPr id="10" name="TextBox 9">
            <a:extLst>
              <a:ext uri="{FF2B5EF4-FFF2-40B4-BE49-F238E27FC236}">
                <a16:creationId xmlns:a16="http://schemas.microsoft.com/office/drawing/2014/main" id="{7F8E3A0A-53E4-438C-91D4-F90F648FAE0A}"/>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The visuals are organized into categories. Click on the chart type to go to that section of the presentation. </a:t>
            </a:r>
            <a:br>
              <a:rPr kumimoji="0" lang="en-IE"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br>
            <a:r>
              <a:rPr kumimoji="0" lang="en-IE"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Or, put the presentation in ‘slide sorter’ mode to see an overview of all the diagrams.</a:t>
            </a:r>
            <a:endPar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endParaRPr>
          </a:p>
        </p:txBody>
      </p:sp>
      <p:grpSp>
        <p:nvGrpSpPr>
          <p:cNvPr id="84" name="Group 83" descr="Charts">
            <a:extLst>
              <a:ext uri="{FF2B5EF4-FFF2-40B4-BE49-F238E27FC236}">
                <a16:creationId xmlns:a16="http://schemas.microsoft.com/office/drawing/2014/main" id="{A670A597-3E79-48F6-A70D-6445AB698AE1}"/>
              </a:ext>
            </a:extLst>
          </p:cNvPr>
          <p:cNvGrpSpPr/>
          <p:nvPr/>
        </p:nvGrpSpPr>
        <p:grpSpPr>
          <a:xfrm>
            <a:off x="380998" y="1590756"/>
            <a:ext cx="3231122" cy="1501231"/>
            <a:chOff x="380998" y="1590756"/>
            <a:chExt cx="3231122" cy="1501231"/>
          </a:xfrm>
        </p:grpSpPr>
        <p:sp>
          <p:nvSpPr>
            <p:cNvPr id="11" name="Rectangle 10">
              <a:hlinkClick r:id="rId3" action="ppaction://hlinksldjump"/>
              <a:extLst>
                <a:ext uri="{FF2B5EF4-FFF2-40B4-BE49-F238E27FC236}">
                  <a16:creationId xmlns:a16="http://schemas.microsoft.com/office/drawing/2014/main" id="{3A58F021-4D97-4021-B636-6F025E11226A}"/>
                </a:ext>
              </a:extLst>
            </p:cNvPr>
            <p:cNvSpPr/>
            <p:nvPr/>
          </p:nvSpPr>
          <p:spPr>
            <a:xfrm>
              <a:off x="380998" y="1590756"/>
              <a:ext cx="3231122" cy="276999"/>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Charts</a:t>
              </a:r>
            </a:p>
          </p:txBody>
        </p:sp>
        <p:cxnSp>
          <p:nvCxnSpPr>
            <p:cNvPr id="5" name="Straight Connector 4">
              <a:extLst>
                <a:ext uri="{FF2B5EF4-FFF2-40B4-BE49-F238E27FC236}">
                  <a16:creationId xmlns:a16="http://schemas.microsoft.com/office/drawing/2014/main" id="{5408759D-C59A-4B64-B42E-91798D5FEDE6}"/>
                </a:ext>
              </a:extLst>
            </p:cNvPr>
            <p:cNvCxnSpPr>
              <a:cxnSpLocks/>
              <a:stCxn id="16" idx="4"/>
              <a:endCxn id="19" idx="0"/>
            </p:cNvCxnSpPr>
            <p:nvPr/>
          </p:nvCxnSpPr>
          <p:spPr>
            <a:xfrm>
              <a:off x="453672" y="2107987"/>
              <a:ext cx="0" cy="77282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EFCB39C4-8A05-41F2-A7DF-738F6C2A1A59}"/>
                </a:ext>
              </a:extLst>
            </p:cNvPr>
            <p:cNvSpPr/>
            <p:nvPr/>
          </p:nvSpPr>
          <p:spPr>
            <a:xfrm>
              <a:off x="380998" y="1962639"/>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7" name="Rectangle 66">
              <a:hlinkClick r:id="rId4" action="ppaction://hlinksldjump"/>
              <a:extLst>
                <a:ext uri="{FF2B5EF4-FFF2-40B4-BE49-F238E27FC236}">
                  <a16:creationId xmlns:a16="http://schemas.microsoft.com/office/drawing/2014/main" id="{1738E7F2-94F7-4F89-A6D3-BC7D53EB9C4F}"/>
                </a:ext>
              </a:extLst>
            </p:cNvPr>
            <p:cNvSpPr/>
            <p:nvPr/>
          </p:nvSpPr>
          <p:spPr>
            <a:xfrm>
              <a:off x="380998" y="1896814"/>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Horizontal Bar Charts</a:t>
              </a:r>
            </a:p>
          </p:txBody>
        </p:sp>
        <p:sp>
          <p:nvSpPr>
            <p:cNvPr id="17" name="Oval 16">
              <a:extLst>
                <a:ext uri="{FF2B5EF4-FFF2-40B4-BE49-F238E27FC236}">
                  <a16:creationId xmlns:a16="http://schemas.microsoft.com/office/drawing/2014/main" id="{3966790F-F8F1-4B31-8F3B-686B5F4CF528}"/>
                </a:ext>
              </a:extLst>
            </p:cNvPr>
            <p:cNvSpPr/>
            <p:nvPr/>
          </p:nvSpPr>
          <p:spPr>
            <a:xfrm>
              <a:off x="380998" y="2268697"/>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8" name="Rectangle 67">
              <a:hlinkClick r:id="rId5" action="ppaction://hlinksldjump"/>
              <a:extLst>
                <a:ext uri="{FF2B5EF4-FFF2-40B4-BE49-F238E27FC236}">
                  <a16:creationId xmlns:a16="http://schemas.microsoft.com/office/drawing/2014/main" id="{A7A8FB16-8F26-4B50-BC7E-A87AF42A6CD2}"/>
                </a:ext>
              </a:extLst>
            </p:cNvPr>
            <p:cNvSpPr/>
            <p:nvPr/>
          </p:nvSpPr>
          <p:spPr>
            <a:xfrm>
              <a:off x="380998" y="2202872"/>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Vertical Column Charts</a:t>
              </a:r>
            </a:p>
          </p:txBody>
        </p:sp>
        <p:sp>
          <p:nvSpPr>
            <p:cNvPr id="18" name="Oval 17">
              <a:extLst>
                <a:ext uri="{FF2B5EF4-FFF2-40B4-BE49-F238E27FC236}">
                  <a16:creationId xmlns:a16="http://schemas.microsoft.com/office/drawing/2014/main" id="{5FFD6575-7E86-4A4B-95F5-90C46FF176CE}"/>
                </a:ext>
              </a:extLst>
            </p:cNvPr>
            <p:cNvSpPr/>
            <p:nvPr/>
          </p:nvSpPr>
          <p:spPr>
            <a:xfrm>
              <a:off x="380998" y="2574756"/>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9" name="Rectangle 68">
              <a:hlinkClick r:id="rId6" action="ppaction://hlinksldjump"/>
              <a:extLst>
                <a:ext uri="{FF2B5EF4-FFF2-40B4-BE49-F238E27FC236}">
                  <a16:creationId xmlns:a16="http://schemas.microsoft.com/office/drawing/2014/main" id="{CA5CAF0E-D952-4FC1-B90E-8A317D62AA41}"/>
                </a:ext>
              </a:extLst>
            </p:cNvPr>
            <p:cNvSpPr/>
            <p:nvPr/>
          </p:nvSpPr>
          <p:spPr>
            <a:xfrm>
              <a:off x="380998" y="2508930"/>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Pie Charts</a:t>
              </a:r>
            </a:p>
          </p:txBody>
        </p:sp>
        <p:sp>
          <p:nvSpPr>
            <p:cNvPr id="19" name="Oval 18">
              <a:extLst>
                <a:ext uri="{FF2B5EF4-FFF2-40B4-BE49-F238E27FC236}">
                  <a16:creationId xmlns:a16="http://schemas.microsoft.com/office/drawing/2014/main" id="{A7F57F5C-A588-4974-A1FA-300700A3A1D7}"/>
                </a:ext>
              </a:extLst>
            </p:cNvPr>
            <p:cNvSpPr/>
            <p:nvPr/>
          </p:nvSpPr>
          <p:spPr>
            <a:xfrm>
              <a:off x="380998" y="2880815"/>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0" name="Rectangle 69">
              <a:hlinkClick r:id="rId7" action="ppaction://hlinksldjump"/>
              <a:extLst>
                <a:ext uri="{FF2B5EF4-FFF2-40B4-BE49-F238E27FC236}">
                  <a16:creationId xmlns:a16="http://schemas.microsoft.com/office/drawing/2014/main" id="{6E619DD4-462E-43F3-B5B9-17ED9EA98C41}"/>
                </a:ext>
              </a:extLst>
            </p:cNvPr>
            <p:cNvSpPr/>
            <p:nvPr/>
          </p:nvSpPr>
          <p:spPr>
            <a:xfrm>
              <a:off x="380998" y="2814988"/>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Line and Other Charts</a:t>
              </a:r>
            </a:p>
          </p:txBody>
        </p:sp>
      </p:grpSp>
      <p:grpSp>
        <p:nvGrpSpPr>
          <p:cNvPr id="85" name="Group 84" descr="Processes">
            <a:extLst>
              <a:ext uri="{FF2B5EF4-FFF2-40B4-BE49-F238E27FC236}">
                <a16:creationId xmlns:a16="http://schemas.microsoft.com/office/drawing/2014/main" id="{9070A8B6-8843-4B52-B320-FC6A9431C619}"/>
              </a:ext>
            </a:extLst>
          </p:cNvPr>
          <p:cNvGrpSpPr/>
          <p:nvPr/>
        </p:nvGrpSpPr>
        <p:grpSpPr>
          <a:xfrm>
            <a:off x="4480427" y="1590756"/>
            <a:ext cx="3231122" cy="1195173"/>
            <a:chOff x="4480427" y="1590756"/>
            <a:chExt cx="3231122" cy="1195173"/>
          </a:xfrm>
        </p:grpSpPr>
        <p:sp>
          <p:nvSpPr>
            <p:cNvPr id="12" name="Rectangle 11">
              <a:hlinkClick r:id="rId8" action="ppaction://hlinksldjump"/>
              <a:extLst>
                <a:ext uri="{FF2B5EF4-FFF2-40B4-BE49-F238E27FC236}">
                  <a16:creationId xmlns:a16="http://schemas.microsoft.com/office/drawing/2014/main" id="{446EC774-6B9A-4B5A-898F-E46783C6EC19}"/>
                </a:ext>
              </a:extLst>
            </p:cNvPr>
            <p:cNvSpPr/>
            <p:nvPr/>
          </p:nvSpPr>
          <p:spPr>
            <a:xfrm>
              <a:off x="4480427" y="1590756"/>
              <a:ext cx="3231122" cy="276999"/>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Processes</a:t>
              </a:r>
            </a:p>
          </p:txBody>
        </p:sp>
        <p:cxnSp>
          <p:nvCxnSpPr>
            <p:cNvPr id="9" name="Straight Connector 8">
              <a:extLst>
                <a:ext uri="{FF2B5EF4-FFF2-40B4-BE49-F238E27FC236}">
                  <a16:creationId xmlns:a16="http://schemas.microsoft.com/office/drawing/2014/main" id="{913A074C-2C93-434D-9B9B-AB23FE71D8DF}"/>
                </a:ext>
              </a:extLst>
            </p:cNvPr>
            <p:cNvCxnSpPr>
              <a:cxnSpLocks/>
              <a:stCxn id="30" idx="4"/>
              <a:endCxn id="32" idx="0"/>
            </p:cNvCxnSpPr>
            <p:nvPr/>
          </p:nvCxnSpPr>
          <p:spPr>
            <a:xfrm>
              <a:off x="4553101" y="2107987"/>
              <a:ext cx="0" cy="46676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C7D98458-E736-47AB-8178-3BDDC93367FA}"/>
                </a:ext>
              </a:extLst>
            </p:cNvPr>
            <p:cNvSpPr/>
            <p:nvPr/>
          </p:nvSpPr>
          <p:spPr>
            <a:xfrm>
              <a:off x="4480427" y="1962639"/>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8" name="Rectangle 57">
              <a:hlinkClick r:id="rId9" action="ppaction://hlinksldjump"/>
              <a:extLst>
                <a:ext uri="{FF2B5EF4-FFF2-40B4-BE49-F238E27FC236}">
                  <a16:creationId xmlns:a16="http://schemas.microsoft.com/office/drawing/2014/main" id="{B0704A88-F139-40C4-AE2C-F8517993D90D}"/>
                </a:ext>
              </a:extLst>
            </p:cNvPr>
            <p:cNvSpPr/>
            <p:nvPr/>
          </p:nvSpPr>
          <p:spPr>
            <a:xfrm>
              <a:off x="4480427" y="1896814"/>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Linear Flows</a:t>
              </a:r>
            </a:p>
          </p:txBody>
        </p:sp>
        <p:sp>
          <p:nvSpPr>
            <p:cNvPr id="31" name="Oval 30">
              <a:extLst>
                <a:ext uri="{FF2B5EF4-FFF2-40B4-BE49-F238E27FC236}">
                  <a16:creationId xmlns:a16="http://schemas.microsoft.com/office/drawing/2014/main" id="{3169845A-96B1-4B63-9809-895A513FDC1E}"/>
                </a:ext>
              </a:extLst>
            </p:cNvPr>
            <p:cNvSpPr/>
            <p:nvPr/>
          </p:nvSpPr>
          <p:spPr>
            <a:xfrm>
              <a:off x="4480427" y="2268697"/>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9" name="Rectangle 58">
              <a:hlinkClick r:id="rId10" action="ppaction://hlinksldjump"/>
              <a:extLst>
                <a:ext uri="{FF2B5EF4-FFF2-40B4-BE49-F238E27FC236}">
                  <a16:creationId xmlns:a16="http://schemas.microsoft.com/office/drawing/2014/main" id="{97CEC6E4-8092-4855-BC9C-5D6BCB7D8F04}"/>
                </a:ext>
              </a:extLst>
            </p:cNvPr>
            <p:cNvSpPr/>
            <p:nvPr/>
          </p:nvSpPr>
          <p:spPr>
            <a:xfrm>
              <a:off x="4480427" y="2202872"/>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Issue to Outcome Flows</a:t>
              </a:r>
            </a:p>
          </p:txBody>
        </p:sp>
        <p:sp>
          <p:nvSpPr>
            <p:cNvPr id="32" name="Oval 31">
              <a:extLst>
                <a:ext uri="{FF2B5EF4-FFF2-40B4-BE49-F238E27FC236}">
                  <a16:creationId xmlns:a16="http://schemas.microsoft.com/office/drawing/2014/main" id="{1BEFD43D-CB60-40B5-A020-3A15D5F59BB4}"/>
                </a:ext>
              </a:extLst>
            </p:cNvPr>
            <p:cNvSpPr/>
            <p:nvPr/>
          </p:nvSpPr>
          <p:spPr>
            <a:xfrm>
              <a:off x="4480427" y="2574756"/>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0" name="Rectangle 59">
              <a:hlinkClick r:id="rId11" action="ppaction://hlinksldjump"/>
              <a:extLst>
                <a:ext uri="{FF2B5EF4-FFF2-40B4-BE49-F238E27FC236}">
                  <a16:creationId xmlns:a16="http://schemas.microsoft.com/office/drawing/2014/main" id="{AA8F7ED5-CE9E-4E0F-97AF-A8398487D098}"/>
                </a:ext>
              </a:extLst>
            </p:cNvPr>
            <p:cNvSpPr/>
            <p:nvPr/>
          </p:nvSpPr>
          <p:spPr>
            <a:xfrm>
              <a:off x="4480427" y="2508930"/>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Circular Flows</a:t>
              </a:r>
            </a:p>
          </p:txBody>
        </p:sp>
      </p:grpSp>
      <p:grpSp>
        <p:nvGrpSpPr>
          <p:cNvPr id="86" name="Group 85" descr="Standard Visuals">
            <a:extLst>
              <a:ext uri="{FF2B5EF4-FFF2-40B4-BE49-F238E27FC236}">
                <a16:creationId xmlns:a16="http://schemas.microsoft.com/office/drawing/2014/main" id="{CCE0074A-F4CC-4181-8FAD-8BCCDB15333E}"/>
              </a:ext>
            </a:extLst>
          </p:cNvPr>
          <p:cNvGrpSpPr/>
          <p:nvPr/>
        </p:nvGrpSpPr>
        <p:grpSpPr>
          <a:xfrm>
            <a:off x="8579857" y="1590756"/>
            <a:ext cx="3231122" cy="2553221"/>
            <a:chOff x="8579857" y="1590756"/>
            <a:chExt cx="3231122" cy="2553221"/>
          </a:xfrm>
        </p:grpSpPr>
        <p:sp>
          <p:nvSpPr>
            <p:cNvPr id="13" name="Rectangle 12">
              <a:hlinkClick r:id="rId12" action="ppaction://hlinksldjump"/>
              <a:extLst>
                <a:ext uri="{FF2B5EF4-FFF2-40B4-BE49-F238E27FC236}">
                  <a16:creationId xmlns:a16="http://schemas.microsoft.com/office/drawing/2014/main" id="{6CC5B5B2-853E-48BA-9F42-D2241E2EF730}"/>
                </a:ext>
              </a:extLst>
            </p:cNvPr>
            <p:cNvSpPr/>
            <p:nvPr/>
          </p:nvSpPr>
          <p:spPr>
            <a:xfrm>
              <a:off x="8579857" y="1590756"/>
              <a:ext cx="3231122" cy="276999"/>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Standard Visuals</a:t>
              </a:r>
            </a:p>
          </p:txBody>
        </p:sp>
        <p:cxnSp>
          <p:nvCxnSpPr>
            <p:cNvPr id="8" name="Straight Connector 7">
              <a:extLst>
                <a:ext uri="{FF2B5EF4-FFF2-40B4-BE49-F238E27FC236}">
                  <a16:creationId xmlns:a16="http://schemas.microsoft.com/office/drawing/2014/main" id="{5196238A-A96C-4A8D-97CB-7BED13677E50}"/>
                </a:ext>
              </a:extLst>
            </p:cNvPr>
            <p:cNvCxnSpPr>
              <a:cxnSpLocks/>
              <a:stCxn id="43" idx="4"/>
              <a:endCxn id="46" idx="0"/>
            </p:cNvCxnSpPr>
            <p:nvPr/>
          </p:nvCxnSpPr>
          <p:spPr>
            <a:xfrm>
              <a:off x="8652531" y="2107987"/>
              <a:ext cx="0" cy="182482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0EFCA1C1-FBDF-4B3F-BE12-0CC202ACE400}"/>
                </a:ext>
              </a:extLst>
            </p:cNvPr>
            <p:cNvSpPr/>
            <p:nvPr/>
          </p:nvSpPr>
          <p:spPr>
            <a:xfrm>
              <a:off x="8579857" y="1962639"/>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2" name="Rectangle 51">
              <a:hlinkClick r:id="rId13" action="ppaction://hlinksldjump"/>
              <a:extLst>
                <a:ext uri="{FF2B5EF4-FFF2-40B4-BE49-F238E27FC236}">
                  <a16:creationId xmlns:a16="http://schemas.microsoft.com/office/drawing/2014/main" id="{9B91689B-65B2-4F3C-A81F-583B38725ED5}"/>
                </a:ext>
              </a:extLst>
            </p:cNvPr>
            <p:cNvSpPr/>
            <p:nvPr/>
          </p:nvSpPr>
          <p:spPr>
            <a:xfrm>
              <a:off x="8579857" y="1896814"/>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Maps</a:t>
              </a:r>
            </a:p>
          </p:txBody>
        </p:sp>
        <p:sp>
          <p:nvSpPr>
            <p:cNvPr id="44" name="Oval 43">
              <a:extLst>
                <a:ext uri="{FF2B5EF4-FFF2-40B4-BE49-F238E27FC236}">
                  <a16:creationId xmlns:a16="http://schemas.microsoft.com/office/drawing/2014/main" id="{ACF79EDF-D30C-45F4-8D1D-821E5C132162}"/>
                </a:ext>
              </a:extLst>
            </p:cNvPr>
            <p:cNvSpPr/>
            <p:nvPr/>
          </p:nvSpPr>
          <p:spPr>
            <a:xfrm>
              <a:off x="8579857" y="2324969"/>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3" name="Rectangle 52">
              <a:hlinkClick r:id="rId14" action="ppaction://hlinksldjump"/>
              <a:extLst>
                <a:ext uri="{FF2B5EF4-FFF2-40B4-BE49-F238E27FC236}">
                  <a16:creationId xmlns:a16="http://schemas.microsoft.com/office/drawing/2014/main" id="{71E43785-4DAC-4E40-8699-4DE3895886B3}"/>
                </a:ext>
              </a:extLst>
            </p:cNvPr>
            <p:cNvSpPr/>
            <p:nvPr/>
          </p:nvSpPr>
          <p:spPr>
            <a:xfrm>
              <a:off x="8579857" y="2251456"/>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Project Management</a:t>
              </a:r>
            </a:p>
          </p:txBody>
        </p:sp>
        <p:sp>
          <p:nvSpPr>
            <p:cNvPr id="51" name="Oval 50">
              <a:extLst>
                <a:ext uri="{FF2B5EF4-FFF2-40B4-BE49-F238E27FC236}">
                  <a16:creationId xmlns:a16="http://schemas.microsoft.com/office/drawing/2014/main" id="{23397357-2346-461D-A103-273491BB27E2}"/>
                </a:ext>
              </a:extLst>
            </p:cNvPr>
            <p:cNvSpPr/>
            <p:nvPr/>
          </p:nvSpPr>
          <p:spPr>
            <a:xfrm>
              <a:off x="8579857" y="2666367"/>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7" name="Rectangle 56">
              <a:hlinkClick r:id="rId15" action="ppaction://hlinksldjump"/>
              <a:extLst>
                <a:ext uri="{FF2B5EF4-FFF2-40B4-BE49-F238E27FC236}">
                  <a16:creationId xmlns:a16="http://schemas.microsoft.com/office/drawing/2014/main" id="{936251D0-64E7-4AE5-BE87-714D41581445}"/>
                </a:ext>
              </a:extLst>
            </p:cNvPr>
            <p:cNvSpPr/>
            <p:nvPr/>
          </p:nvSpPr>
          <p:spPr>
            <a:xfrm>
              <a:off x="8579857" y="2606098"/>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Teams and People</a:t>
              </a:r>
            </a:p>
          </p:txBody>
        </p:sp>
        <p:sp>
          <p:nvSpPr>
            <p:cNvPr id="50" name="Oval 49">
              <a:extLst>
                <a:ext uri="{FF2B5EF4-FFF2-40B4-BE49-F238E27FC236}">
                  <a16:creationId xmlns:a16="http://schemas.microsoft.com/office/drawing/2014/main" id="{B98CBAE9-D82E-46F1-82C6-132D30EF5619}"/>
                </a:ext>
              </a:extLst>
            </p:cNvPr>
            <p:cNvSpPr/>
            <p:nvPr/>
          </p:nvSpPr>
          <p:spPr>
            <a:xfrm>
              <a:off x="8579857" y="3028696"/>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4" name="Rectangle 53">
              <a:hlinkClick r:id="rId16" action="ppaction://hlinksldjump"/>
              <a:extLst>
                <a:ext uri="{FF2B5EF4-FFF2-40B4-BE49-F238E27FC236}">
                  <a16:creationId xmlns:a16="http://schemas.microsoft.com/office/drawing/2014/main" id="{A8813E45-A8BD-4C0B-81F5-D14747BF8062}"/>
                </a:ext>
              </a:extLst>
            </p:cNvPr>
            <p:cNvSpPr/>
            <p:nvPr/>
          </p:nvSpPr>
          <p:spPr>
            <a:xfrm>
              <a:off x="8579857" y="2960740"/>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Evaluation</a:t>
              </a:r>
            </a:p>
          </p:txBody>
        </p:sp>
        <p:sp>
          <p:nvSpPr>
            <p:cNvPr id="45" name="Oval 44">
              <a:extLst>
                <a:ext uri="{FF2B5EF4-FFF2-40B4-BE49-F238E27FC236}">
                  <a16:creationId xmlns:a16="http://schemas.microsoft.com/office/drawing/2014/main" id="{EBAF1287-ECA5-4EF5-A810-D6477DEE69B2}"/>
                </a:ext>
              </a:extLst>
            </p:cNvPr>
            <p:cNvSpPr/>
            <p:nvPr/>
          </p:nvSpPr>
          <p:spPr>
            <a:xfrm>
              <a:off x="8579857" y="3376956"/>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5" name="Rectangle 54">
              <a:hlinkClick r:id="rId17" action="ppaction://hlinksldjump"/>
              <a:extLst>
                <a:ext uri="{FF2B5EF4-FFF2-40B4-BE49-F238E27FC236}">
                  <a16:creationId xmlns:a16="http://schemas.microsoft.com/office/drawing/2014/main" id="{B92CCD0A-5F50-4668-A217-E95A6C5FFE80}"/>
                </a:ext>
              </a:extLst>
            </p:cNvPr>
            <p:cNvSpPr/>
            <p:nvPr/>
          </p:nvSpPr>
          <p:spPr>
            <a:xfrm>
              <a:off x="8579857" y="3315382"/>
              <a:ext cx="3231122" cy="482895"/>
            </a:xfrm>
            <a:prstGeom prst="rect">
              <a:avLst/>
            </a:prstGeom>
          </p:spPr>
          <p:txBody>
            <a:bodyPr wrap="square" lIns="22860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Illustrative Graphs and Frameworks</a:t>
              </a:r>
            </a:p>
          </p:txBody>
        </p:sp>
        <p:sp>
          <p:nvSpPr>
            <p:cNvPr id="46" name="Oval 45">
              <a:extLst>
                <a:ext uri="{FF2B5EF4-FFF2-40B4-BE49-F238E27FC236}">
                  <a16:creationId xmlns:a16="http://schemas.microsoft.com/office/drawing/2014/main" id="{C68B5279-7B7A-4355-B0DD-C103F29083AE}"/>
                </a:ext>
              </a:extLst>
            </p:cNvPr>
            <p:cNvSpPr/>
            <p:nvPr/>
          </p:nvSpPr>
          <p:spPr>
            <a:xfrm>
              <a:off x="8579857" y="3932807"/>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6" name="Rectangle 55">
              <a:hlinkClick r:id="rId18" action="ppaction://hlinksldjump"/>
              <a:extLst>
                <a:ext uri="{FF2B5EF4-FFF2-40B4-BE49-F238E27FC236}">
                  <a16:creationId xmlns:a16="http://schemas.microsoft.com/office/drawing/2014/main" id="{9F6A346B-2140-4BC3-BB0D-92C5A453F31C}"/>
                </a:ext>
              </a:extLst>
            </p:cNvPr>
            <p:cNvSpPr/>
            <p:nvPr/>
          </p:nvSpPr>
          <p:spPr>
            <a:xfrm>
              <a:off x="8579857" y="3866978"/>
              <a:ext cx="3231122" cy="276999"/>
            </a:xfrm>
            <a:prstGeom prst="rect">
              <a:avLst/>
            </a:prstGeom>
          </p:spPr>
          <p:txBody>
            <a:bodyPr wrap="square" lIns="228600" tIns="0" rIns="0" bIns="0" anchor="ctr">
              <a:noAutofit/>
            </a:bodyPr>
            <a:lstStyle/>
            <a:p>
              <a:pPr marL="108000" marR="0" lvl="0" indent="-108000" algn="l" defTabSz="914400" rtl="0" eaLnBrk="1" fontAlgn="auto" latinLnBrk="0" hangingPunct="1">
                <a:lnSpc>
                  <a:spcPct val="100000"/>
                </a:lnSpc>
                <a:spcBef>
                  <a:spcPts val="100"/>
                </a:spcBef>
                <a:spcAft>
                  <a:spcPts val="1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Useful Objects</a:t>
              </a:r>
            </a:p>
          </p:txBody>
        </p:sp>
      </p:grpSp>
      <p:grpSp>
        <p:nvGrpSpPr>
          <p:cNvPr id="87" name="Group 86" descr="Dynamic Concepts">
            <a:extLst>
              <a:ext uri="{FF2B5EF4-FFF2-40B4-BE49-F238E27FC236}">
                <a16:creationId xmlns:a16="http://schemas.microsoft.com/office/drawing/2014/main" id="{F18BE293-A225-4C02-9F1E-7E46A2644C0F}"/>
              </a:ext>
            </a:extLst>
          </p:cNvPr>
          <p:cNvGrpSpPr/>
          <p:nvPr/>
        </p:nvGrpSpPr>
        <p:grpSpPr>
          <a:xfrm>
            <a:off x="380998" y="3427104"/>
            <a:ext cx="3231122" cy="2419411"/>
            <a:chOff x="380998" y="3427104"/>
            <a:chExt cx="3231122" cy="2419411"/>
          </a:xfrm>
        </p:grpSpPr>
        <p:sp>
          <p:nvSpPr>
            <p:cNvPr id="15" name="Rectangle 14">
              <a:hlinkClick r:id="rId19" action="ppaction://hlinksldjump"/>
              <a:extLst>
                <a:ext uri="{FF2B5EF4-FFF2-40B4-BE49-F238E27FC236}">
                  <a16:creationId xmlns:a16="http://schemas.microsoft.com/office/drawing/2014/main" id="{A0A1E20D-6A9D-4B45-9824-70871217A485}"/>
                </a:ext>
              </a:extLst>
            </p:cNvPr>
            <p:cNvSpPr/>
            <p:nvPr/>
          </p:nvSpPr>
          <p:spPr>
            <a:xfrm>
              <a:off x="380998" y="3427104"/>
              <a:ext cx="3231122" cy="276999"/>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Dynamic Concepts</a:t>
              </a:r>
            </a:p>
          </p:txBody>
        </p:sp>
        <p:cxnSp>
          <p:nvCxnSpPr>
            <p:cNvPr id="6" name="Straight Connector 5">
              <a:extLst>
                <a:ext uri="{FF2B5EF4-FFF2-40B4-BE49-F238E27FC236}">
                  <a16:creationId xmlns:a16="http://schemas.microsoft.com/office/drawing/2014/main" id="{84D61CC1-D3CB-49FF-B563-7437485B29D0}"/>
                </a:ext>
              </a:extLst>
            </p:cNvPr>
            <p:cNvCxnSpPr>
              <a:cxnSpLocks/>
              <a:stCxn id="20" idx="4"/>
              <a:endCxn id="26" idx="0"/>
            </p:cNvCxnSpPr>
            <p:nvPr/>
          </p:nvCxnSpPr>
          <p:spPr>
            <a:xfrm>
              <a:off x="453672" y="3944338"/>
              <a:ext cx="0" cy="1691003"/>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7A014E10-EE46-4AA6-A9D0-6E40F0E0DA8D}"/>
                </a:ext>
              </a:extLst>
            </p:cNvPr>
            <p:cNvSpPr/>
            <p:nvPr/>
          </p:nvSpPr>
          <p:spPr>
            <a:xfrm>
              <a:off x="380998" y="3798990"/>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1" name="Rectangle 70">
              <a:hlinkClick r:id="rId20" action="ppaction://hlinksldjump"/>
              <a:extLst>
                <a:ext uri="{FF2B5EF4-FFF2-40B4-BE49-F238E27FC236}">
                  <a16:creationId xmlns:a16="http://schemas.microsoft.com/office/drawing/2014/main" id="{C6B5723C-BE7C-464B-8498-CD12AA3D8DB4}"/>
                </a:ext>
              </a:extLst>
            </p:cNvPr>
            <p:cNvSpPr/>
            <p:nvPr/>
          </p:nvSpPr>
          <p:spPr>
            <a:xfrm>
              <a:off x="380998" y="3733162"/>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Balance/Imbalance</a:t>
              </a:r>
            </a:p>
          </p:txBody>
        </p:sp>
        <p:sp>
          <p:nvSpPr>
            <p:cNvPr id="21" name="Oval 20">
              <a:extLst>
                <a:ext uri="{FF2B5EF4-FFF2-40B4-BE49-F238E27FC236}">
                  <a16:creationId xmlns:a16="http://schemas.microsoft.com/office/drawing/2014/main" id="{CDDC6956-2C00-45B4-AAF1-FAFC8FDD8E7A}"/>
                </a:ext>
              </a:extLst>
            </p:cNvPr>
            <p:cNvSpPr/>
            <p:nvPr/>
          </p:nvSpPr>
          <p:spPr>
            <a:xfrm>
              <a:off x="380998" y="4105049"/>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2" name="Rectangle 71">
              <a:hlinkClick r:id="rId21" action="ppaction://hlinksldjump"/>
              <a:extLst>
                <a:ext uri="{FF2B5EF4-FFF2-40B4-BE49-F238E27FC236}">
                  <a16:creationId xmlns:a16="http://schemas.microsoft.com/office/drawing/2014/main" id="{752663E8-8B1F-446A-B348-25348AB19D57}"/>
                </a:ext>
              </a:extLst>
            </p:cNvPr>
            <p:cNvSpPr/>
            <p:nvPr/>
          </p:nvSpPr>
          <p:spPr>
            <a:xfrm>
              <a:off x="380998" y="4039220"/>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Interaction/Feedback</a:t>
              </a:r>
            </a:p>
          </p:txBody>
        </p:sp>
        <p:sp>
          <p:nvSpPr>
            <p:cNvPr id="22" name="Oval 21">
              <a:extLst>
                <a:ext uri="{FF2B5EF4-FFF2-40B4-BE49-F238E27FC236}">
                  <a16:creationId xmlns:a16="http://schemas.microsoft.com/office/drawing/2014/main" id="{8448C0CC-2BB9-450B-A73D-B1B59B4EF8E4}"/>
                </a:ext>
              </a:extLst>
            </p:cNvPr>
            <p:cNvSpPr/>
            <p:nvPr/>
          </p:nvSpPr>
          <p:spPr>
            <a:xfrm>
              <a:off x="380998" y="4411107"/>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3" name="Rectangle 72">
              <a:hlinkClick r:id="rId22" action="ppaction://hlinksldjump"/>
              <a:extLst>
                <a:ext uri="{FF2B5EF4-FFF2-40B4-BE49-F238E27FC236}">
                  <a16:creationId xmlns:a16="http://schemas.microsoft.com/office/drawing/2014/main" id="{880AFE3F-F822-47EE-B027-68E9EEF91BA2}"/>
                </a:ext>
              </a:extLst>
            </p:cNvPr>
            <p:cNvSpPr/>
            <p:nvPr/>
          </p:nvSpPr>
          <p:spPr>
            <a:xfrm>
              <a:off x="380998" y="4345278"/>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Separation/Synthesis</a:t>
              </a:r>
            </a:p>
          </p:txBody>
        </p:sp>
        <p:sp>
          <p:nvSpPr>
            <p:cNvPr id="23" name="Oval 22">
              <a:extLst>
                <a:ext uri="{FF2B5EF4-FFF2-40B4-BE49-F238E27FC236}">
                  <a16:creationId xmlns:a16="http://schemas.microsoft.com/office/drawing/2014/main" id="{AEF1D236-974A-49CE-B0F8-538A05A1DCD8}"/>
                </a:ext>
              </a:extLst>
            </p:cNvPr>
            <p:cNvSpPr/>
            <p:nvPr/>
          </p:nvSpPr>
          <p:spPr>
            <a:xfrm>
              <a:off x="380998" y="4717166"/>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4" name="Rectangle 73">
              <a:hlinkClick r:id="rId23" action="ppaction://hlinksldjump"/>
              <a:extLst>
                <a:ext uri="{FF2B5EF4-FFF2-40B4-BE49-F238E27FC236}">
                  <a16:creationId xmlns:a16="http://schemas.microsoft.com/office/drawing/2014/main" id="{E90B1B01-DD2A-4CA7-8EC8-E5981718F3C9}"/>
                </a:ext>
              </a:extLst>
            </p:cNvPr>
            <p:cNvSpPr/>
            <p:nvPr/>
          </p:nvSpPr>
          <p:spPr>
            <a:xfrm>
              <a:off x="380998" y="4651336"/>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Causes</a:t>
              </a:r>
            </a:p>
          </p:txBody>
        </p:sp>
        <p:sp>
          <p:nvSpPr>
            <p:cNvPr id="24" name="Oval 23">
              <a:extLst>
                <a:ext uri="{FF2B5EF4-FFF2-40B4-BE49-F238E27FC236}">
                  <a16:creationId xmlns:a16="http://schemas.microsoft.com/office/drawing/2014/main" id="{33928423-380A-4CD8-B447-10F74A074D4C}"/>
                </a:ext>
              </a:extLst>
            </p:cNvPr>
            <p:cNvSpPr/>
            <p:nvPr/>
          </p:nvSpPr>
          <p:spPr>
            <a:xfrm>
              <a:off x="380998" y="5023225"/>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5" name="Rectangle 74">
              <a:hlinkClick r:id="rId24" action="ppaction://hlinksldjump"/>
              <a:extLst>
                <a:ext uri="{FF2B5EF4-FFF2-40B4-BE49-F238E27FC236}">
                  <a16:creationId xmlns:a16="http://schemas.microsoft.com/office/drawing/2014/main" id="{6126258A-6ECB-4A55-9FF2-8CB753E3E6C8}"/>
                </a:ext>
              </a:extLst>
            </p:cNvPr>
            <p:cNvSpPr/>
            <p:nvPr/>
          </p:nvSpPr>
          <p:spPr>
            <a:xfrm>
              <a:off x="380998" y="4957394"/>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Conflicts</a:t>
              </a:r>
            </a:p>
          </p:txBody>
        </p:sp>
        <p:sp>
          <p:nvSpPr>
            <p:cNvPr id="25" name="Oval 24">
              <a:extLst>
                <a:ext uri="{FF2B5EF4-FFF2-40B4-BE49-F238E27FC236}">
                  <a16:creationId xmlns:a16="http://schemas.microsoft.com/office/drawing/2014/main" id="{FEE64668-9D86-4CE6-A238-DFBB8FE042F0}"/>
                </a:ext>
              </a:extLst>
            </p:cNvPr>
            <p:cNvSpPr/>
            <p:nvPr/>
          </p:nvSpPr>
          <p:spPr>
            <a:xfrm>
              <a:off x="380998" y="5329284"/>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6" name="Rectangle 75">
              <a:hlinkClick r:id="rId25" action="ppaction://hlinksldjump"/>
              <a:extLst>
                <a:ext uri="{FF2B5EF4-FFF2-40B4-BE49-F238E27FC236}">
                  <a16:creationId xmlns:a16="http://schemas.microsoft.com/office/drawing/2014/main" id="{BD471B56-1A87-4F5A-80CE-AE6AB8288D7A}"/>
                </a:ext>
              </a:extLst>
            </p:cNvPr>
            <p:cNvSpPr/>
            <p:nvPr/>
          </p:nvSpPr>
          <p:spPr>
            <a:xfrm>
              <a:off x="380998" y="5263452"/>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Barriers/Resistance</a:t>
              </a:r>
            </a:p>
          </p:txBody>
        </p:sp>
        <p:sp>
          <p:nvSpPr>
            <p:cNvPr id="26" name="Oval 25">
              <a:extLst>
                <a:ext uri="{FF2B5EF4-FFF2-40B4-BE49-F238E27FC236}">
                  <a16:creationId xmlns:a16="http://schemas.microsoft.com/office/drawing/2014/main" id="{180168DD-7D2D-46B1-A70A-11B2A6ACB5BA}"/>
                </a:ext>
              </a:extLst>
            </p:cNvPr>
            <p:cNvSpPr/>
            <p:nvPr/>
          </p:nvSpPr>
          <p:spPr>
            <a:xfrm>
              <a:off x="380998" y="5635341"/>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7" name="Rectangle 76">
              <a:hlinkClick r:id="rId26" action="ppaction://hlinksldjump"/>
              <a:extLst>
                <a:ext uri="{FF2B5EF4-FFF2-40B4-BE49-F238E27FC236}">
                  <a16:creationId xmlns:a16="http://schemas.microsoft.com/office/drawing/2014/main" id="{C824256E-D2F4-4A30-8F62-C17264766B33}"/>
                </a:ext>
              </a:extLst>
            </p:cNvPr>
            <p:cNvSpPr/>
            <p:nvPr/>
          </p:nvSpPr>
          <p:spPr>
            <a:xfrm>
              <a:off x="380998" y="5569516"/>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Forces/Influence </a:t>
              </a:r>
            </a:p>
          </p:txBody>
        </p:sp>
      </p:grpSp>
      <p:grpSp>
        <p:nvGrpSpPr>
          <p:cNvPr id="88" name="Group 87" descr="Static Objects">
            <a:extLst>
              <a:ext uri="{FF2B5EF4-FFF2-40B4-BE49-F238E27FC236}">
                <a16:creationId xmlns:a16="http://schemas.microsoft.com/office/drawing/2014/main" id="{B312074D-6230-40B3-821C-5874A3FA390A}"/>
              </a:ext>
            </a:extLst>
          </p:cNvPr>
          <p:cNvGrpSpPr/>
          <p:nvPr/>
        </p:nvGrpSpPr>
        <p:grpSpPr>
          <a:xfrm>
            <a:off x="4480427" y="3121046"/>
            <a:ext cx="3231122" cy="1807289"/>
            <a:chOff x="4480427" y="3121046"/>
            <a:chExt cx="3231122" cy="1807289"/>
          </a:xfrm>
        </p:grpSpPr>
        <p:sp>
          <p:nvSpPr>
            <p:cNvPr id="38" name="Rectangle 37">
              <a:hlinkClick r:id="rId27" action="ppaction://hlinksldjump"/>
              <a:extLst>
                <a:ext uri="{FF2B5EF4-FFF2-40B4-BE49-F238E27FC236}">
                  <a16:creationId xmlns:a16="http://schemas.microsoft.com/office/drawing/2014/main" id="{22315FD1-05F1-4B4A-B939-93720EE1F9ED}"/>
                </a:ext>
              </a:extLst>
            </p:cNvPr>
            <p:cNvSpPr/>
            <p:nvPr/>
          </p:nvSpPr>
          <p:spPr>
            <a:xfrm>
              <a:off x="4480427" y="3121046"/>
              <a:ext cx="3231122" cy="276999"/>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Static Objects</a:t>
              </a:r>
            </a:p>
          </p:txBody>
        </p:sp>
        <p:cxnSp>
          <p:nvCxnSpPr>
            <p:cNvPr id="7" name="Straight Connector 6">
              <a:extLst>
                <a:ext uri="{FF2B5EF4-FFF2-40B4-BE49-F238E27FC236}">
                  <a16:creationId xmlns:a16="http://schemas.microsoft.com/office/drawing/2014/main" id="{62B85A88-D2BD-49B6-A91E-EB1A53445068}"/>
                </a:ext>
              </a:extLst>
            </p:cNvPr>
            <p:cNvCxnSpPr>
              <a:cxnSpLocks/>
              <a:stCxn id="39" idx="4"/>
              <a:endCxn id="36" idx="0"/>
            </p:cNvCxnSpPr>
            <p:nvPr/>
          </p:nvCxnSpPr>
          <p:spPr>
            <a:xfrm>
              <a:off x="4553101" y="3638277"/>
              <a:ext cx="0" cy="107888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a16="http://schemas.microsoft.com/office/drawing/2014/main" id="{ACDC2DBB-C4AE-4BEB-8513-2808236BCF48}"/>
                </a:ext>
              </a:extLst>
            </p:cNvPr>
            <p:cNvSpPr/>
            <p:nvPr/>
          </p:nvSpPr>
          <p:spPr>
            <a:xfrm>
              <a:off x="4480427" y="3492929"/>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1" name="Rectangle 60">
              <a:hlinkClick r:id="rId28" action="ppaction://hlinksldjump"/>
              <a:extLst>
                <a:ext uri="{FF2B5EF4-FFF2-40B4-BE49-F238E27FC236}">
                  <a16:creationId xmlns:a16="http://schemas.microsoft.com/office/drawing/2014/main" id="{D4C5DBD7-464D-4F66-B0C5-1C7CF4C33952}"/>
                </a:ext>
              </a:extLst>
            </p:cNvPr>
            <p:cNvSpPr/>
            <p:nvPr/>
          </p:nvSpPr>
          <p:spPr>
            <a:xfrm>
              <a:off x="4480427" y="3427104"/>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Circles</a:t>
              </a:r>
            </a:p>
          </p:txBody>
        </p:sp>
        <p:sp>
          <p:nvSpPr>
            <p:cNvPr id="33" name="Oval 32">
              <a:extLst>
                <a:ext uri="{FF2B5EF4-FFF2-40B4-BE49-F238E27FC236}">
                  <a16:creationId xmlns:a16="http://schemas.microsoft.com/office/drawing/2014/main" id="{4E937B58-DEF0-441C-BEE3-ECCC10EBE27E}"/>
                </a:ext>
              </a:extLst>
            </p:cNvPr>
            <p:cNvSpPr/>
            <p:nvPr/>
          </p:nvSpPr>
          <p:spPr>
            <a:xfrm>
              <a:off x="4480427" y="3798990"/>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2" name="Rectangle 61">
              <a:hlinkClick r:id="rId29" action="ppaction://hlinksldjump"/>
              <a:extLst>
                <a:ext uri="{FF2B5EF4-FFF2-40B4-BE49-F238E27FC236}">
                  <a16:creationId xmlns:a16="http://schemas.microsoft.com/office/drawing/2014/main" id="{F4C143D0-2AAE-4C7F-A741-4D1870B99C44}"/>
                </a:ext>
              </a:extLst>
            </p:cNvPr>
            <p:cNvSpPr/>
            <p:nvPr/>
          </p:nvSpPr>
          <p:spPr>
            <a:xfrm>
              <a:off x="4480427" y="3733162"/>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Trees</a:t>
              </a:r>
            </a:p>
          </p:txBody>
        </p:sp>
        <p:sp>
          <p:nvSpPr>
            <p:cNvPr id="34" name="Oval 33">
              <a:extLst>
                <a:ext uri="{FF2B5EF4-FFF2-40B4-BE49-F238E27FC236}">
                  <a16:creationId xmlns:a16="http://schemas.microsoft.com/office/drawing/2014/main" id="{5737D2A6-2C7D-4F69-98BE-93B44354E8AB}"/>
                </a:ext>
              </a:extLst>
            </p:cNvPr>
            <p:cNvSpPr/>
            <p:nvPr/>
          </p:nvSpPr>
          <p:spPr>
            <a:xfrm>
              <a:off x="4480427" y="4105049"/>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3" name="Rectangle 62">
              <a:hlinkClick r:id="rId30" action="ppaction://hlinksldjump"/>
              <a:extLst>
                <a:ext uri="{FF2B5EF4-FFF2-40B4-BE49-F238E27FC236}">
                  <a16:creationId xmlns:a16="http://schemas.microsoft.com/office/drawing/2014/main" id="{701762DA-1C17-42AE-AA03-74EBCB30A251}"/>
                </a:ext>
              </a:extLst>
            </p:cNvPr>
            <p:cNvSpPr/>
            <p:nvPr/>
          </p:nvSpPr>
          <p:spPr>
            <a:xfrm>
              <a:off x="4480427" y="4039220"/>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Boxes</a:t>
              </a:r>
            </a:p>
          </p:txBody>
        </p:sp>
        <p:sp>
          <p:nvSpPr>
            <p:cNvPr id="35" name="Oval 34">
              <a:extLst>
                <a:ext uri="{FF2B5EF4-FFF2-40B4-BE49-F238E27FC236}">
                  <a16:creationId xmlns:a16="http://schemas.microsoft.com/office/drawing/2014/main" id="{3315D8DF-6946-4308-96B3-B96F934DFDFD}"/>
                </a:ext>
              </a:extLst>
            </p:cNvPr>
            <p:cNvSpPr/>
            <p:nvPr/>
          </p:nvSpPr>
          <p:spPr>
            <a:xfrm>
              <a:off x="4480427" y="4411107"/>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4" name="Rectangle 63">
              <a:hlinkClick r:id="rId31" action="ppaction://hlinksldjump"/>
              <a:extLst>
                <a:ext uri="{FF2B5EF4-FFF2-40B4-BE49-F238E27FC236}">
                  <a16:creationId xmlns:a16="http://schemas.microsoft.com/office/drawing/2014/main" id="{B2DD7FE2-3AF8-4EB8-B55D-71810D94CFCC}"/>
                </a:ext>
              </a:extLst>
            </p:cNvPr>
            <p:cNvSpPr/>
            <p:nvPr/>
          </p:nvSpPr>
          <p:spPr>
            <a:xfrm>
              <a:off x="4480427" y="4345278"/>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Text Objects</a:t>
              </a:r>
            </a:p>
          </p:txBody>
        </p:sp>
        <p:sp>
          <p:nvSpPr>
            <p:cNvPr id="36" name="Oval 35">
              <a:extLst>
                <a:ext uri="{FF2B5EF4-FFF2-40B4-BE49-F238E27FC236}">
                  <a16:creationId xmlns:a16="http://schemas.microsoft.com/office/drawing/2014/main" id="{E53364BA-2FD5-4A54-9531-41FD9079CE15}"/>
                </a:ext>
              </a:extLst>
            </p:cNvPr>
            <p:cNvSpPr/>
            <p:nvPr/>
          </p:nvSpPr>
          <p:spPr>
            <a:xfrm>
              <a:off x="4480427" y="4717166"/>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5" name="Rectangle 64">
              <a:hlinkClick r:id="rId32" action="ppaction://hlinksldjump"/>
              <a:extLst>
                <a:ext uri="{FF2B5EF4-FFF2-40B4-BE49-F238E27FC236}">
                  <a16:creationId xmlns:a16="http://schemas.microsoft.com/office/drawing/2014/main" id="{08B77692-6D43-478E-AAAC-3116C3AADA56}"/>
                </a:ext>
              </a:extLst>
            </p:cNvPr>
            <p:cNvSpPr/>
            <p:nvPr/>
          </p:nvSpPr>
          <p:spPr>
            <a:xfrm>
              <a:off x="4480427" y="4651336"/>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Other Structures</a:t>
              </a:r>
            </a:p>
          </p:txBody>
        </p:sp>
      </p:grpSp>
      <p:grpSp>
        <p:nvGrpSpPr>
          <p:cNvPr id="89" name="Group 88" descr="Icons">
            <a:extLst>
              <a:ext uri="{FF2B5EF4-FFF2-40B4-BE49-F238E27FC236}">
                <a16:creationId xmlns:a16="http://schemas.microsoft.com/office/drawing/2014/main" id="{0EB08BEE-7F0C-4EB9-B24E-6F5A3409DAD8}"/>
              </a:ext>
            </a:extLst>
          </p:cNvPr>
          <p:cNvGrpSpPr/>
          <p:nvPr/>
        </p:nvGrpSpPr>
        <p:grpSpPr>
          <a:xfrm>
            <a:off x="4417620" y="5263452"/>
            <a:ext cx="3293929" cy="583063"/>
            <a:chOff x="4417620" y="5263452"/>
            <a:chExt cx="3293929" cy="583063"/>
          </a:xfrm>
        </p:grpSpPr>
        <p:pic>
          <p:nvPicPr>
            <p:cNvPr id="28" name="Picture 27" descr="Insert here description accordingly">
              <a:extLst>
                <a:ext uri="{FF2B5EF4-FFF2-40B4-BE49-F238E27FC236}">
                  <a16:creationId xmlns:a16="http://schemas.microsoft.com/office/drawing/2014/main" id="{1D491968-A983-4DCF-9E56-0CC7A88BF9FF}"/>
                </a:ext>
              </a:extLst>
            </p:cNvPr>
            <p:cNvPicPr>
              <a:picLocks noChangeAspect="1"/>
            </p:cNvPicPr>
            <p:nvPr/>
          </p:nvPicPr>
          <p:blipFill>
            <a:blip r:embed="rId33"/>
            <a:stretch>
              <a:fillRect/>
            </a:stretch>
          </p:blipFill>
          <p:spPr>
            <a:xfrm>
              <a:off x="4417620" y="5268242"/>
              <a:ext cx="270000" cy="270000"/>
            </a:xfrm>
            <a:prstGeom prst="rect">
              <a:avLst/>
            </a:prstGeom>
          </p:spPr>
        </p:pic>
        <p:sp>
          <p:nvSpPr>
            <p:cNvPr id="29" name="Rectangle 28" descr="Icon&#10;&#10;Description automatically generated">
              <a:hlinkClick r:id="rId34"/>
              <a:extLst>
                <a:ext uri="{FF2B5EF4-FFF2-40B4-BE49-F238E27FC236}">
                  <a16:creationId xmlns:a16="http://schemas.microsoft.com/office/drawing/2014/main" id="{A5DA776D-0083-4342-BB6E-AACE0CACD4D6}"/>
                </a:ext>
              </a:extLst>
            </p:cNvPr>
            <p:cNvSpPr/>
            <p:nvPr/>
          </p:nvSpPr>
          <p:spPr>
            <a:xfrm>
              <a:off x="4717103" y="5263452"/>
              <a:ext cx="2994446" cy="276999"/>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Icons</a:t>
              </a:r>
            </a:p>
          </p:txBody>
        </p:sp>
        <p:sp>
          <p:nvSpPr>
            <p:cNvPr id="37" name="Oval 36" descr="Insert description accordingly">
              <a:extLst>
                <a:ext uri="{FF2B5EF4-FFF2-40B4-BE49-F238E27FC236}">
                  <a16:creationId xmlns:a16="http://schemas.microsoft.com/office/drawing/2014/main" id="{4FEC23E3-FCE4-419F-AA61-C99EE6BD2BD0}"/>
                </a:ext>
              </a:extLst>
            </p:cNvPr>
            <p:cNvSpPr/>
            <p:nvPr/>
          </p:nvSpPr>
          <p:spPr>
            <a:xfrm>
              <a:off x="4480427" y="5635341"/>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6" name="Rectangle 65" descr="Icon&#10;&#10;Description automatically generated">
              <a:hlinkClick r:id="rId34"/>
              <a:extLst>
                <a:ext uri="{FF2B5EF4-FFF2-40B4-BE49-F238E27FC236}">
                  <a16:creationId xmlns:a16="http://schemas.microsoft.com/office/drawing/2014/main" id="{6B5EC594-03F9-4CFA-BCC4-F9B1A2F12A83}"/>
                </a:ext>
              </a:extLst>
            </p:cNvPr>
            <p:cNvSpPr/>
            <p:nvPr/>
          </p:nvSpPr>
          <p:spPr>
            <a:xfrm>
              <a:off x="4480427" y="5569516"/>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Presentation Icons</a:t>
              </a:r>
            </a:p>
          </p:txBody>
        </p:sp>
      </p:grpSp>
      <p:grpSp>
        <p:nvGrpSpPr>
          <p:cNvPr id="27" name="Group 26">
            <a:extLst>
              <a:ext uri="{FF2B5EF4-FFF2-40B4-BE49-F238E27FC236}">
                <a16:creationId xmlns:a16="http://schemas.microsoft.com/office/drawing/2014/main" id="{0022BB6B-9781-4611-AB0C-6ED696A21970}"/>
              </a:ext>
            </a:extLst>
          </p:cNvPr>
          <p:cNvGrpSpPr/>
          <p:nvPr/>
        </p:nvGrpSpPr>
        <p:grpSpPr>
          <a:xfrm>
            <a:off x="8532009" y="5263452"/>
            <a:ext cx="3278970" cy="583063"/>
            <a:chOff x="8532009" y="5263452"/>
            <a:chExt cx="3278970" cy="583063"/>
          </a:xfrm>
        </p:grpSpPr>
        <p:pic>
          <p:nvPicPr>
            <p:cNvPr id="41" name="Picture 40" descr="Insert text accordingly">
              <a:extLst>
                <a:ext uri="{FF2B5EF4-FFF2-40B4-BE49-F238E27FC236}">
                  <a16:creationId xmlns:a16="http://schemas.microsoft.com/office/drawing/2014/main" id="{155AB6C1-3CF5-4477-A3F0-2C8CDBD37CCC}"/>
                </a:ext>
              </a:extLst>
            </p:cNvPr>
            <p:cNvPicPr>
              <a:picLocks noChangeAspect="1"/>
            </p:cNvPicPr>
            <p:nvPr/>
          </p:nvPicPr>
          <p:blipFill>
            <a:blip r:embed="rId35"/>
            <a:stretch>
              <a:fillRect/>
            </a:stretch>
          </p:blipFill>
          <p:spPr>
            <a:xfrm>
              <a:off x="8532009" y="5282720"/>
              <a:ext cx="270000" cy="270000"/>
            </a:xfrm>
            <a:prstGeom prst="rect">
              <a:avLst/>
            </a:prstGeom>
          </p:spPr>
        </p:pic>
        <p:sp>
          <p:nvSpPr>
            <p:cNvPr id="42" name="Rectangle 41">
              <a:hlinkClick r:id="rId34"/>
              <a:extLst>
                <a:ext uri="{FF2B5EF4-FFF2-40B4-BE49-F238E27FC236}">
                  <a16:creationId xmlns:a16="http://schemas.microsoft.com/office/drawing/2014/main" id="{29EC688D-F056-437E-A63D-68FF611ED205}"/>
                </a:ext>
              </a:extLst>
            </p:cNvPr>
            <p:cNvSpPr/>
            <p:nvPr/>
          </p:nvSpPr>
          <p:spPr>
            <a:xfrm>
              <a:off x="8816533" y="5263452"/>
              <a:ext cx="2994446" cy="276999"/>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Images</a:t>
              </a:r>
            </a:p>
          </p:txBody>
        </p:sp>
        <p:sp>
          <p:nvSpPr>
            <p:cNvPr id="49" name="Oval 48">
              <a:extLst>
                <a:ext uri="{FF2B5EF4-FFF2-40B4-BE49-F238E27FC236}">
                  <a16:creationId xmlns:a16="http://schemas.microsoft.com/office/drawing/2014/main" id="{BF38FD25-4F0F-4556-BBA8-F49A0C7E13C2}"/>
                </a:ext>
                <a:ext uri="{C183D7F6-B498-43B3-948B-1728B52AA6E4}">
                  <adec:decorative xmlns:adec="http://schemas.microsoft.com/office/drawing/2017/decorative" val="1"/>
                </a:ext>
              </a:extLst>
            </p:cNvPr>
            <p:cNvSpPr/>
            <p:nvPr/>
          </p:nvSpPr>
          <p:spPr>
            <a:xfrm>
              <a:off x="8579857" y="5635341"/>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48" name="Rectangle 47">
              <a:hlinkClick r:id="rId36"/>
              <a:extLst>
                <a:ext uri="{FF2B5EF4-FFF2-40B4-BE49-F238E27FC236}">
                  <a16:creationId xmlns:a16="http://schemas.microsoft.com/office/drawing/2014/main" id="{873D2541-DB7F-476F-BF7C-239199852F54}"/>
                </a:ext>
              </a:extLst>
            </p:cNvPr>
            <p:cNvSpPr/>
            <p:nvPr/>
          </p:nvSpPr>
          <p:spPr>
            <a:xfrm>
              <a:off x="8579857" y="5569516"/>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503030202060203" pitchFamily="34" charset="0"/>
                  <a:ea typeface="+mn-ea"/>
                  <a:cs typeface="+mn-cs"/>
                </a:rPr>
                <a:t>Brand Space Image Library</a:t>
              </a:r>
            </a:p>
          </p:txBody>
        </p:sp>
      </p:grpSp>
      <p:sp>
        <p:nvSpPr>
          <p:cNvPr id="14" name="TextBox 13">
            <a:hlinkClick r:id="rId37" action="ppaction://hlinksldjump"/>
            <a:extLst>
              <a:ext uri="{FF2B5EF4-FFF2-40B4-BE49-F238E27FC236}">
                <a16:creationId xmlns:a16="http://schemas.microsoft.com/office/drawing/2014/main" id="{A06E4410-B052-4B17-B2B4-9F62449E5A2A}"/>
              </a:ext>
            </a:extLst>
          </p:cNvPr>
          <p:cNvSpPr txBox="1"/>
          <p:nvPr/>
        </p:nvSpPr>
        <p:spPr bwMode="auto">
          <a:xfrm>
            <a:off x="380999" y="6027423"/>
            <a:ext cx="2529841" cy="293721"/>
          </a:xfrm>
          <a:prstGeom prst="rect">
            <a:avLst/>
          </a:prstGeom>
          <a:noFill/>
          <a:ln w="15875">
            <a:solidFill>
              <a:schemeClr val="accent1"/>
            </a:solidFill>
            <a:prstDash val="sysDash"/>
          </a:ln>
        </p:spPr>
        <p:txBody>
          <a:bodyPr wrap="square" lIns="0" tIns="0" rIns="0" bIns="0" rtlCol="0" anchor="ctr">
            <a:noAutofit/>
          </a:bodyPr>
          <a:lstStyle/>
          <a:p>
            <a:pPr marL="174625" marR="0" lvl="0" indent="-174625" algn="ctr" defTabSz="914400" rtl="0" eaLnBrk="1" fontAlgn="auto" latinLnBrk="0" hangingPunct="1">
              <a:lnSpc>
                <a:spcPct val="100000"/>
              </a:lnSpc>
              <a:spcBef>
                <a:spcPts val="100"/>
              </a:spcBef>
              <a:spcAft>
                <a:spcPts val="100"/>
              </a:spcAft>
              <a:buClrTx/>
              <a:buSzTx/>
              <a:buFontTx/>
              <a:buNone/>
              <a:tabLst/>
              <a:defRPr/>
            </a:pPr>
            <a:r>
              <a:rPr kumimoji="0" lang="en-US" sz="1200" b="1" i="0" u="none" strike="noStrike" kern="1200" cap="all" spc="0" normalizeH="0" baseline="0" noProof="0" dirty="0">
                <a:ln>
                  <a:noFill/>
                </a:ln>
                <a:solidFill>
                  <a:srgbClr val="A100FF"/>
                </a:solidFill>
                <a:effectLst/>
                <a:uLnTx/>
                <a:uFillTx/>
                <a:latin typeface="Arial" panose="020B0503030202060203" pitchFamily="34" charset="0"/>
                <a:ea typeface="+mn-ea"/>
                <a:cs typeface="+mn-cs"/>
              </a:rPr>
              <a:t>Hints for drawing charts</a:t>
            </a:r>
          </a:p>
        </p:txBody>
      </p:sp>
      <p:sp>
        <p:nvSpPr>
          <p:cNvPr id="3" name="Footer Placeholder 2">
            <a:extLst>
              <a:ext uri="{FF2B5EF4-FFF2-40B4-BE49-F238E27FC236}">
                <a16:creationId xmlns:a16="http://schemas.microsoft.com/office/drawing/2014/main" id="{F206C6D8-D7B5-470C-A66D-10132F0F5227}"/>
              </a:ext>
            </a:extLst>
          </p:cNvPr>
          <p:cNvSpPr>
            <a:spLocks noGrp="1"/>
          </p:cNvSpPr>
          <p:nvPr>
            <p:ph type="ftr" sz="quarter" idx="3"/>
          </p:nvPr>
        </p:nvSpPr>
        <p:spPr/>
        <p:txBody>
          <a:bodyPr/>
          <a:lstStyle/>
          <a:p>
            <a:pPr algn="r" defTabSz="228600">
              <a:spcAft>
                <a:spcPts val="1200"/>
              </a:spcAft>
              <a:defRPr/>
            </a:pPr>
            <a:r>
              <a:rPr lang="en-GB" dirty="0"/>
              <a:t>Copyright © 2021 Accenture. All rights reserved.</a:t>
            </a:r>
          </a:p>
        </p:txBody>
      </p:sp>
      <p:sp>
        <p:nvSpPr>
          <p:cNvPr id="4" name="Slide Number Placeholder 3">
            <a:extLst>
              <a:ext uri="{FF2B5EF4-FFF2-40B4-BE49-F238E27FC236}">
                <a16:creationId xmlns:a16="http://schemas.microsoft.com/office/drawing/2014/main" id="{EF590357-1C6A-4696-8BF9-1E70E6700EEA}"/>
              </a:ext>
            </a:extLst>
          </p:cNvPr>
          <p:cNvSpPr>
            <a:spLocks noGrp="1"/>
          </p:cNvSpPr>
          <p:nvPr>
            <p:ph type="sldNum" sz="quarter" idx="10"/>
          </p:nvPr>
        </p:nvSpPr>
        <p:spPr/>
        <p:txBody>
          <a:bodyPr/>
          <a:lstStyle/>
          <a:p>
            <a:fld id="{1F90F471-3972-4120-B8B3-0237DE626C35}" type="slidenum">
              <a:rPr lang="en-US" smtClean="0"/>
              <a:pPr/>
              <a:t>65</a:t>
            </a:fld>
            <a:endParaRPr lang="en-US" dirty="0"/>
          </a:p>
        </p:txBody>
      </p:sp>
    </p:spTree>
    <p:extLst>
      <p:ext uri="{BB962C8B-B14F-4D97-AF65-F5344CB8AC3E}">
        <p14:creationId xmlns:p14="http://schemas.microsoft.com/office/powerpoint/2010/main" val="280733630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4E5B9E6-D552-48C5-824D-E60A4F821B04}"/>
              </a:ext>
            </a:extLst>
          </p:cNvPr>
          <p:cNvSpPr>
            <a:spLocks noGrp="1"/>
          </p:cNvSpPr>
          <p:nvPr>
            <p:ph type="title"/>
          </p:nvPr>
        </p:nvSpPr>
        <p:spPr/>
        <p:txBody>
          <a:bodyPr/>
          <a:lstStyle/>
          <a:p>
            <a:r>
              <a:rPr lang="en-US" dirty="0"/>
              <a:t>Charts</a:t>
            </a:r>
          </a:p>
        </p:txBody>
      </p:sp>
      <p:sp>
        <p:nvSpPr>
          <p:cNvPr id="2" name="Text Placeholder 1">
            <a:extLst>
              <a:ext uri="{FF2B5EF4-FFF2-40B4-BE49-F238E27FC236}">
                <a16:creationId xmlns:a16="http://schemas.microsoft.com/office/drawing/2014/main" id="{14A22E63-A672-45C2-BA93-140939E871CE}"/>
              </a:ext>
            </a:extLst>
          </p:cNvPr>
          <p:cNvSpPr>
            <a:spLocks noGrp="1"/>
          </p:cNvSpPr>
          <p:nvPr>
            <p:ph type="body" sz="quarter" idx="16"/>
          </p:nvPr>
        </p:nvSpPr>
        <p:spPr/>
        <p:txBody>
          <a:bodyPr/>
          <a:lstStyle/>
          <a:p>
            <a:r>
              <a:rPr lang="en-US" dirty="0">
                <a:hlinkClick r:id="rId2" action="ppaction://hlinksldjump">
                  <a:extLst>
                    <a:ext uri="{A12FA001-AC4F-418D-AE19-62706E023703}">
                      <ahyp:hlinkClr xmlns:ahyp="http://schemas.microsoft.com/office/drawing/2018/hyperlinkcolor" val="tx"/>
                    </a:ext>
                  </a:extLst>
                </a:hlinkClick>
              </a:rPr>
              <a:t>Horizontal Bar Charts</a:t>
            </a:r>
            <a:endParaRPr lang="en-US" dirty="0"/>
          </a:p>
          <a:p>
            <a:r>
              <a:rPr lang="en-US" dirty="0">
                <a:hlinkClick r:id="rId3" action="ppaction://hlinksldjump">
                  <a:extLst>
                    <a:ext uri="{A12FA001-AC4F-418D-AE19-62706E023703}">
                      <ahyp:hlinkClr xmlns:ahyp="http://schemas.microsoft.com/office/drawing/2018/hyperlinkcolor" val="tx"/>
                    </a:ext>
                  </a:extLst>
                </a:hlinkClick>
              </a:rPr>
              <a:t>Vertical Column Charts</a:t>
            </a:r>
            <a:endParaRPr lang="en-US" dirty="0"/>
          </a:p>
          <a:p>
            <a:r>
              <a:rPr lang="en-US" dirty="0">
                <a:hlinkClick r:id="rId4" action="ppaction://hlinksldjump">
                  <a:extLst>
                    <a:ext uri="{A12FA001-AC4F-418D-AE19-62706E023703}">
                      <ahyp:hlinkClr xmlns:ahyp="http://schemas.microsoft.com/office/drawing/2018/hyperlinkcolor" val="tx"/>
                    </a:ext>
                  </a:extLst>
                </a:hlinkClick>
              </a:rPr>
              <a:t>Pie Charts</a:t>
            </a:r>
            <a:endParaRPr lang="en-US" dirty="0"/>
          </a:p>
          <a:p>
            <a:r>
              <a:rPr lang="en-US" dirty="0">
                <a:hlinkClick r:id="rId5" action="ppaction://hlinksldjump">
                  <a:extLst>
                    <a:ext uri="{A12FA001-AC4F-418D-AE19-62706E023703}">
                      <ahyp:hlinkClr xmlns:ahyp="http://schemas.microsoft.com/office/drawing/2018/hyperlinkcolor" val="tx"/>
                    </a:ext>
                  </a:extLst>
                </a:hlinkClick>
              </a:rPr>
              <a:t>Line and Other Charts</a:t>
            </a:r>
            <a:endParaRPr lang="en-US" dirty="0"/>
          </a:p>
        </p:txBody>
      </p:sp>
      <p:sp>
        <p:nvSpPr>
          <p:cNvPr id="5" name="Footer Placeholder 4">
            <a:extLst>
              <a:ext uri="{FF2B5EF4-FFF2-40B4-BE49-F238E27FC236}">
                <a16:creationId xmlns:a16="http://schemas.microsoft.com/office/drawing/2014/main" id="{66739FAD-9146-4526-8212-A89B05AAB9FD}"/>
              </a:ext>
            </a:extLst>
          </p:cNvPr>
          <p:cNvSpPr>
            <a:spLocks noGrp="1"/>
          </p:cNvSpPr>
          <p:nvPr>
            <p:ph type="ftr" sz="quarter" idx="18"/>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03186AE4-1B64-4DEA-AB86-F8FF234B71C8}"/>
              </a:ext>
            </a:extLst>
          </p:cNvPr>
          <p:cNvSpPr>
            <a:spLocks noGrp="1"/>
          </p:cNvSpPr>
          <p:nvPr>
            <p:ph type="sldNum" sz="quarter" idx="19"/>
          </p:nvPr>
        </p:nvSpPr>
        <p:spPr/>
        <p:txBody>
          <a:bodyPr/>
          <a:lstStyle/>
          <a:p>
            <a:fld id="{1F90F471-3972-4120-B8B3-0237DE626C35}" type="slidenum">
              <a:rPr lang="en-US" smtClean="0"/>
              <a:pPr/>
              <a:t>66</a:t>
            </a:fld>
            <a:endParaRPr lang="en-US" dirty="0"/>
          </a:p>
        </p:txBody>
      </p:sp>
      <p:sp>
        <p:nvSpPr>
          <p:cNvPr id="10" name="Freeform: Shape 9" descr="Add text and order accordingly">
            <a:hlinkClick r:id="rId6" action="ppaction://hlinksldjump" tooltip="Return to Index"/>
            <a:extLst>
              <a:ext uri="{FF2B5EF4-FFF2-40B4-BE49-F238E27FC236}">
                <a16:creationId xmlns:a16="http://schemas.microsoft.com/office/drawing/2014/main" id="{7F1FB234-68F0-4CF3-B471-EDBA28C0B908}"/>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87405732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7C4124B-B9D5-4FB9-AA46-3262DD2B40DB}"/>
              </a:ext>
            </a:extLst>
          </p:cNvPr>
          <p:cNvSpPr>
            <a:spLocks noGrp="1"/>
          </p:cNvSpPr>
          <p:nvPr>
            <p:ph type="title"/>
          </p:nvPr>
        </p:nvSpPr>
        <p:spPr/>
        <p:txBody>
          <a:bodyPr/>
          <a:lstStyle/>
          <a:p>
            <a:r>
              <a:rPr lang="en-US" dirty="0"/>
              <a:t>Horizontal </a:t>
            </a:r>
            <a:br>
              <a:rPr lang="en-US" dirty="0"/>
            </a:br>
            <a:r>
              <a:rPr lang="en-US" dirty="0"/>
              <a:t>Bar Charts</a:t>
            </a:r>
          </a:p>
        </p:txBody>
      </p:sp>
      <p:sp>
        <p:nvSpPr>
          <p:cNvPr id="9" name="Text Placeholder 8">
            <a:extLst>
              <a:ext uri="{FF2B5EF4-FFF2-40B4-BE49-F238E27FC236}">
                <a16:creationId xmlns:a16="http://schemas.microsoft.com/office/drawing/2014/main" id="{1265ADBE-657A-4DC7-A6A6-2F0E697C4723}"/>
              </a:ext>
            </a:extLst>
          </p:cNvPr>
          <p:cNvSpPr>
            <a:spLocks noGrp="1"/>
          </p:cNvSpPr>
          <p:nvPr>
            <p:ph type="body" sz="quarter" idx="15"/>
          </p:nvPr>
        </p:nvSpPr>
        <p:spPr/>
        <p:txBody>
          <a:bodyPr/>
          <a:lstStyle/>
          <a:p>
            <a:r>
              <a:rPr lang="en-US" dirty="0"/>
              <a:t>Part of </a:t>
            </a:r>
            <a:r>
              <a:rPr lang="en-US" dirty="0">
                <a:hlinkClick r:id="rId2" action="ppaction://hlinksldjump">
                  <a:extLst>
                    <a:ext uri="{A12FA001-AC4F-418D-AE19-62706E023703}">
                      <ahyp:hlinkClr xmlns:ahyp="http://schemas.microsoft.com/office/drawing/2018/hyperlinkcolor" val="tx"/>
                    </a:ext>
                  </a:extLst>
                </a:hlinkClick>
              </a:rPr>
              <a:t>Charts</a:t>
            </a:r>
            <a:endParaRPr lang="en-US" dirty="0"/>
          </a:p>
        </p:txBody>
      </p:sp>
      <p:sp>
        <p:nvSpPr>
          <p:cNvPr id="5" name="Footer Placeholder 4">
            <a:extLst>
              <a:ext uri="{FF2B5EF4-FFF2-40B4-BE49-F238E27FC236}">
                <a16:creationId xmlns:a16="http://schemas.microsoft.com/office/drawing/2014/main" id="{9DC78945-A645-4563-BCA9-927812C9C4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BEE2891-AE3F-4D8A-B562-5662B242B3DF}"/>
              </a:ext>
            </a:extLst>
          </p:cNvPr>
          <p:cNvSpPr>
            <a:spLocks noGrp="1"/>
          </p:cNvSpPr>
          <p:nvPr>
            <p:ph type="sldNum" sz="quarter" idx="17"/>
          </p:nvPr>
        </p:nvSpPr>
        <p:spPr/>
        <p:txBody>
          <a:bodyPr/>
          <a:lstStyle/>
          <a:p>
            <a:fld id="{1F90F471-3972-4120-B8B3-0237DE626C35}" type="slidenum">
              <a:rPr lang="en-US" smtClean="0"/>
              <a:pPr/>
              <a:t>67</a:t>
            </a:fld>
            <a:endParaRPr lang="en-US" dirty="0"/>
          </a:p>
        </p:txBody>
      </p:sp>
      <p:sp>
        <p:nvSpPr>
          <p:cNvPr id="10" name="Freeform: Shape 9" descr="Add text and order accordingly">
            <a:hlinkClick r:id="rId3" action="ppaction://hlinksldjump" tooltip="Return to Index"/>
            <a:extLst>
              <a:ext uri="{FF2B5EF4-FFF2-40B4-BE49-F238E27FC236}">
                <a16:creationId xmlns:a16="http://schemas.microsoft.com/office/drawing/2014/main" id="{0DE3F75C-CF1B-47BB-A358-FF97AF03C85D}"/>
              </a:ext>
              <a:ext uri="{C183D7F6-B498-43B3-948B-1728B52AA6E4}">
                <adec:decorative xmlns:adec="http://schemas.microsoft.com/office/drawing/2017/decorative" val="0"/>
              </a:ext>
            </a:extLst>
          </p:cNvPr>
          <p:cNvSpPr>
            <a:spLocks/>
          </p:cNvSpPr>
          <p:nvPr/>
        </p:nvSpPr>
        <p:spPr bwMode="auto">
          <a:xfrm>
            <a:off x="11522554" y="37401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28731124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B297699-5D12-49BC-B050-FD99F10A1149}"/>
              </a:ext>
            </a:extLst>
          </p:cNvPr>
          <p:cNvSpPr>
            <a:spLocks noGrp="1"/>
          </p:cNvSpPr>
          <p:nvPr>
            <p:ph type="title"/>
          </p:nvPr>
        </p:nvSpPr>
        <p:spPr>
          <a:xfrm>
            <a:off x="381000" y="381000"/>
            <a:ext cx="10744200" cy="800100"/>
          </a:xfrm>
        </p:spPr>
        <p:txBody>
          <a:bodyPr/>
          <a:lstStyle/>
          <a:p>
            <a:r>
              <a:rPr lang="en-US" b="1" cap="none" dirty="0">
                <a:latin typeface="Arial" panose="020B0503030202060203" pitchFamily="34" charset="0"/>
              </a:rPr>
              <a:t>Deviation bar chart</a:t>
            </a:r>
            <a:endParaRPr lang="en-US" dirty="0"/>
          </a:p>
        </p:txBody>
      </p:sp>
      <p:graphicFrame>
        <p:nvGraphicFramePr>
          <p:cNvPr id="5" name="Object 2" descr="Deviation bar chart including 4 labels with negative and positive values">
            <a:extLst>
              <a:ext uri="{FF2B5EF4-FFF2-40B4-BE49-F238E27FC236}">
                <a16:creationId xmlns:a16="http://schemas.microsoft.com/office/drawing/2014/main" id="{2038823E-CB71-4836-9017-BD6AD9785E6D}"/>
              </a:ext>
            </a:extLst>
          </p:cNvPr>
          <p:cNvGraphicFramePr>
            <a:graphicFrameLocks noChangeAspect="1"/>
          </p:cNvGraphicFramePr>
          <p:nvPr>
            <p:extLst>
              <p:ext uri="{D42A27DB-BD31-4B8C-83A1-F6EECF244321}">
                <p14:modId xmlns:p14="http://schemas.microsoft.com/office/powerpoint/2010/main" val="3288289243"/>
              </p:ext>
            </p:extLst>
          </p:nvPr>
        </p:nvGraphicFramePr>
        <p:xfrm>
          <a:off x="381000" y="1192148"/>
          <a:ext cx="11523663" cy="3795241"/>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3">
            <a:extLst>
              <a:ext uri="{FF2B5EF4-FFF2-40B4-BE49-F238E27FC236}">
                <a16:creationId xmlns:a16="http://schemas.microsoft.com/office/drawing/2014/main" id="{0E29032D-8E64-4C96-A9F9-963BB8F0542E}"/>
              </a:ext>
            </a:extLst>
          </p:cNvPr>
          <p:cNvSpPr>
            <a:spLocks noChangeArrowheads="1"/>
          </p:cNvSpPr>
          <p:nvPr/>
        </p:nvSpPr>
        <p:spPr bwMode="auto">
          <a:xfrm>
            <a:off x="389482" y="4987389"/>
            <a:ext cx="3510300" cy="1151698"/>
          </a:xfrm>
          <a:prstGeom prst="rect">
            <a:avLst/>
          </a:prstGeom>
          <a:solidFill>
            <a:schemeClr val="bg1">
              <a:lumMod val="95000"/>
            </a:schemeClr>
          </a:solidFill>
          <a:ln w="3175">
            <a:noFill/>
            <a:miter lim="800000"/>
            <a:headEnd/>
            <a:tailEnd/>
          </a:ln>
          <a:effectLst/>
        </p:spPr>
        <p:txBody>
          <a:bodyPr wrap="square" lIns="108000" tIns="108000" rIns="72000" bIns="108000" anchor="b">
            <a:spAutoFit/>
          </a:bodyPr>
          <a:lstStyle/>
          <a:p>
            <a:pPr marL="192088" marR="0" lvl="0" indent="-192088" algn="l" defTabSz="914400" rtl="0" eaLnBrk="0" fontAlgn="auto" latinLnBrk="0" hangingPunct="0">
              <a:lnSpc>
                <a:spcPct val="90000"/>
              </a:lnSpc>
              <a:spcBef>
                <a:spcPts val="100"/>
              </a:spcBef>
              <a:spcAft>
                <a:spcPts val="100"/>
              </a:spcAft>
              <a:buClrTx/>
              <a:buSzTx/>
              <a:buFontTx/>
              <a:buNone/>
              <a:tabLst>
                <a:tab pos="192088" algn="l"/>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0" fontAlgn="auto" latinLnBrk="0" hangingPunct="0">
              <a:lnSpc>
                <a:spcPct val="9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ea typeface="+mn-ea"/>
                <a:cs typeface="+mn-cs"/>
              </a:rPr>
              <a:t>1	Insert rows as required (each will adopt a </a:t>
            </a:r>
            <a:br>
              <a:rPr kumimoji="0" lang="en-US" sz="1000" b="0" i="0" u="none" strike="noStrike" kern="1200" cap="none" spc="0" normalizeH="0" baseline="0" noProof="0" dirty="0">
                <a:ln>
                  <a:noFill/>
                </a:ln>
                <a:solidFill>
                  <a:srgbClr val="000000"/>
                </a:solidFill>
                <a:effectLst/>
                <a:uLnTx/>
                <a:uFillTx/>
                <a:ea typeface="+mn-ea"/>
                <a:cs typeface="+mn-cs"/>
              </a:rPr>
            </a:br>
            <a:r>
              <a:rPr kumimoji="0" lang="en-US" sz="1000" b="0" i="0" u="none" strike="noStrike" kern="1200" cap="none" spc="0" normalizeH="0" baseline="0" noProof="0" dirty="0">
                <a:ln>
                  <a:noFill/>
                </a:ln>
                <a:solidFill>
                  <a:srgbClr val="000000"/>
                </a:solidFill>
                <a:effectLst/>
                <a:uLnTx/>
                <a:uFillTx/>
                <a:ea typeface="+mn-ea"/>
                <a:cs typeface="+mn-cs"/>
              </a:rPr>
              <a:t>different color)</a:t>
            </a:r>
          </a:p>
          <a:p>
            <a:pPr marL="144000" marR="0" lvl="0" indent="-144000" algn="l" defTabSz="914400" rtl="0" eaLnBrk="0" fontAlgn="auto" latinLnBrk="0" hangingPunct="0">
              <a:lnSpc>
                <a:spcPct val="9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ea typeface="+mn-ea"/>
                <a:cs typeface="+mn-cs"/>
              </a:rPr>
              <a:t>2	Double-click on a bar to change the color</a:t>
            </a:r>
          </a:p>
          <a:p>
            <a:pPr marL="144000" marR="0" lvl="0" indent="-144000" algn="l" defTabSz="914400" rtl="0" eaLnBrk="0" fontAlgn="auto" latinLnBrk="0" hangingPunct="0">
              <a:lnSpc>
                <a:spcPct val="9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ea typeface="+mn-ea"/>
                <a:cs typeface="+mn-cs"/>
              </a:rPr>
              <a:t>3	Drag data values outside the rows manually</a:t>
            </a:r>
          </a:p>
          <a:p>
            <a:pPr marL="144000" marR="0" lvl="0" indent="-144000" algn="l" defTabSz="914400" rtl="0" eaLnBrk="0" fontAlgn="auto" latinLnBrk="0" hangingPunct="0">
              <a:lnSpc>
                <a:spcPct val="9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ea typeface="+mn-ea"/>
                <a:cs typeface="+mn-cs"/>
              </a:rPr>
              <a:t>4	Add labels manually</a:t>
            </a:r>
          </a:p>
        </p:txBody>
      </p:sp>
      <p:sp>
        <p:nvSpPr>
          <p:cNvPr id="3" name="Footer Placeholder 2">
            <a:extLst>
              <a:ext uri="{FF2B5EF4-FFF2-40B4-BE49-F238E27FC236}">
                <a16:creationId xmlns:a16="http://schemas.microsoft.com/office/drawing/2014/main" id="{3EFFC067-2D87-47DD-B66D-E96F6506546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7" name="Slide Number Placeholder 6">
            <a:extLst>
              <a:ext uri="{FF2B5EF4-FFF2-40B4-BE49-F238E27FC236}">
                <a16:creationId xmlns:a16="http://schemas.microsoft.com/office/drawing/2014/main" id="{767F57E7-C924-419B-B4DB-9DA964B6D64D}"/>
              </a:ext>
            </a:extLst>
          </p:cNvPr>
          <p:cNvSpPr>
            <a:spLocks noGrp="1"/>
          </p:cNvSpPr>
          <p:nvPr>
            <p:ph type="sldNum" sz="quarter" idx="10"/>
          </p:nvPr>
        </p:nvSpPr>
        <p:spPr/>
        <p:txBody>
          <a:bodyPr/>
          <a:lstStyle/>
          <a:p>
            <a:fld id="{1F90F471-3972-4120-B8B3-0237DE626C35}" type="slidenum">
              <a:rPr lang="en-US" smtClean="0"/>
              <a:pPr/>
              <a:t>68</a:t>
            </a:fld>
            <a:endParaRPr lang="en-US" dirty="0"/>
          </a:p>
        </p:txBody>
      </p:sp>
    </p:spTree>
    <p:extLst>
      <p:ext uri="{BB962C8B-B14F-4D97-AF65-F5344CB8AC3E}">
        <p14:creationId xmlns:p14="http://schemas.microsoft.com/office/powerpoint/2010/main" val="45318561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b="1" cap="none" dirty="0">
                <a:latin typeface="Arial" panose="020B0503030202060203" pitchFamily="34" charset="0"/>
              </a:rPr>
              <a:t>Range bar chart</a:t>
            </a:r>
            <a:endParaRPr lang="en-US" dirty="0"/>
          </a:p>
        </p:txBody>
      </p:sp>
      <p:graphicFrame>
        <p:nvGraphicFramePr>
          <p:cNvPr id="7" name="Object 2" descr="Range bar chart including 4 labels separating content in two sections. Major data 34.">
            <a:extLst>
              <a:ext uri="{FF2B5EF4-FFF2-40B4-BE49-F238E27FC236}">
                <a16:creationId xmlns:a16="http://schemas.microsoft.com/office/drawing/2014/main" id="{095D0B56-C5A7-4D2A-9DA5-58CC573AE5F6}"/>
              </a:ext>
            </a:extLst>
          </p:cNvPr>
          <p:cNvGraphicFramePr>
            <a:graphicFrameLocks noGrp="1" noChangeAspect="1"/>
          </p:cNvGraphicFramePr>
          <p:nvPr>
            <p:ph sz="quarter" idx="4294967295"/>
            <p:extLst>
              <p:ext uri="{D42A27DB-BD31-4B8C-83A1-F6EECF244321}">
                <p14:modId xmlns:p14="http://schemas.microsoft.com/office/powerpoint/2010/main" val="3517123328"/>
              </p:ext>
            </p:extLst>
          </p:nvPr>
        </p:nvGraphicFramePr>
        <p:xfrm>
          <a:off x="384048" y="1371600"/>
          <a:ext cx="11430000" cy="4940300"/>
        </p:xfrm>
        <a:graphic>
          <a:graphicData uri="http://schemas.openxmlformats.org/drawingml/2006/chart">
            <c:chart xmlns:c="http://schemas.openxmlformats.org/drawingml/2006/chart" xmlns:r="http://schemas.openxmlformats.org/officeDocument/2006/relationships" r:id="rId3"/>
          </a:graphicData>
        </a:graphic>
      </p:graphicFrame>
      <p:sp>
        <p:nvSpPr>
          <p:cNvPr id="5" name="Footer Placeholder 4">
            <a:extLst>
              <a:ext uri="{FF2B5EF4-FFF2-40B4-BE49-F238E27FC236}">
                <a16:creationId xmlns:a16="http://schemas.microsoft.com/office/drawing/2014/main" id="{3B709F1B-B32F-4364-BE2B-F01B82110AA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635B04D8-8ADF-47A6-B7BC-1508E0FBBBE9}"/>
              </a:ext>
            </a:extLst>
          </p:cNvPr>
          <p:cNvSpPr>
            <a:spLocks noGrp="1"/>
          </p:cNvSpPr>
          <p:nvPr>
            <p:ph type="sldNum" sz="quarter" idx="10"/>
          </p:nvPr>
        </p:nvSpPr>
        <p:spPr/>
        <p:txBody>
          <a:bodyPr/>
          <a:lstStyle/>
          <a:p>
            <a:fld id="{1F90F471-3972-4120-B8B3-0237DE626C35}" type="slidenum">
              <a:rPr lang="en-US" smtClean="0"/>
              <a:pPr/>
              <a:t>69</a:t>
            </a:fld>
            <a:endParaRPr lang="en-US" dirty="0"/>
          </a:p>
        </p:txBody>
      </p:sp>
    </p:spTree>
    <p:extLst>
      <p:ext uri="{BB962C8B-B14F-4D97-AF65-F5344CB8AC3E}">
        <p14:creationId xmlns:p14="http://schemas.microsoft.com/office/powerpoint/2010/main" val="37286951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E12FC18-32C4-4C31-95F9-1B65B1F63539}"/>
              </a:ext>
            </a:extLst>
          </p:cNvPr>
          <p:cNvSpPr>
            <a:spLocks noGrp="1"/>
          </p:cNvSpPr>
          <p:nvPr>
            <p:ph type="title"/>
          </p:nvPr>
        </p:nvSpPr>
        <p:spPr/>
        <p:txBody>
          <a:bodyPr/>
          <a:lstStyle/>
          <a:p>
            <a:r>
              <a:rPr lang="en-US" dirty="0"/>
              <a:t>Slide Kit</a:t>
            </a:r>
          </a:p>
        </p:txBody>
      </p:sp>
      <p:sp>
        <p:nvSpPr>
          <p:cNvPr id="3" name="Footer Placeholder 2">
            <a:extLst>
              <a:ext uri="{FF2B5EF4-FFF2-40B4-BE49-F238E27FC236}">
                <a16:creationId xmlns:a16="http://schemas.microsoft.com/office/drawing/2014/main" id="{B8D95FB7-4700-4E03-BBDB-C5FC6AEFC316}"/>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8BAC3EDF-7D22-4BBE-8347-4B8BDA4D5E26}"/>
              </a:ext>
            </a:extLst>
          </p:cNvPr>
          <p:cNvSpPr>
            <a:spLocks noGrp="1"/>
          </p:cNvSpPr>
          <p:nvPr>
            <p:ph type="sldNum" sz="quarter" idx="18"/>
          </p:nvPr>
        </p:nvSpPr>
        <p:spPr/>
        <p:txBody>
          <a:bodyPr/>
          <a:lstStyle/>
          <a:p>
            <a:fld id="{1F90F471-3972-4120-B8B3-0237DE626C35}" type="slidenum">
              <a:rPr lang="en-US" smtClean="0"/>
              <a:pPr/>
              <a:t>7</a:t>
            </a:fld>
            <a:endParaRPr lang="en-US" dirty="0"/>
          </a:p>
        </p:txBody>
      </p:sp>
    </p:spTree>
    <p:extLst>
      <p:ext uri="{BB962C8B-B14F-4D97-AF65-F5344CB8AC3E}">
        <p14:creationId xmlns:p14="http://schemas.microsoft.com/office/powerpoint/2010/main" val="109759859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B297699-5D12-49BC-B050-FD99F10A1149}"/>
              </a:ext>
            </a:extLst>
          </p:cNvPr>
          <p:cNvSpPr>
            <a:spLocks noGrp="1"/>
          </p:cNvSpPr>
          <p:nvPr>
            <p:ph type="title"/>
          </p:nvPr>
        </p:nvSpPr>
        <p:spPr/>
        <p:txBody>
          <a:bodyPr/>
          <a:lstStyle/>
          <a:p>
            <a:r>
              <a:rPr lang="en-US" dirty="0"/>
              <a:t>Sliding Bar Chart</a:t>
            </a:r>
          </a:p>
        </p:txBody>
      </p:sp>
      <p:graphicFrame>
        <p:nvGraphicFramePr>
          <p:cNvPr id="9" name="Object 2" descr="Sliding bar chart including 4 labels with negative and positive values">
            <a:extLst>
              <a:ext uri="{FF2B5EF4-FFF2-40B4-BE49-F238E27FC236}">
                <a16:creationId xmlns:a16="http://schemas.microsoft.com/office/drawing/2014/main" id="{A83A02F1-9135-4640-856F-0696E10FB15A}"/>
              </a:ext>
            </a:extLst>
          </p:cNvPr>
          <p:cNvGraphicFramePr>
            <a:graphicFrameLocks noChangeAspect="1"/>
          </p:cNvGraphicFramePr>
          <p:nvPr>
            <p:extLst>
              <p:ext uri="{D42A27DB-BD31-4B8C-83A1-F6EECF244321}">
                <p14:modId xmlns:p14="http://schemas.microsoft.com/office/powerpoint/2010/main" val="651663946"/>
              </p:ext>
            </p:extLst>
          </p:nvPr>
        </p:nvGraphicFramePr>
        <p:xfrm>
          <a:off x="389482" y="891947"/>
          <a:ext cx="11411450" cy="3794400"/>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3">
            <a:extLst>
              <a:ext uri="{FF2B5EF4-FFF2-40B4-BE49-F238E27FC236}">
                <a16:creationId xmlns:a16="http://schemas.microsoft.com/office/drawing/2014/main" id="{0E29032D-8E64-4C96-A9F9-963BB8F0542E}"/>
              </a:ext>
            </a:extLst>
          </p:cNvPr>
          <p:cNvSpPr>
            <a:spLocks noChangeArrowheads="1"/>
          </p:cNvSpPr>
          <p:nvPr/>
        </p:nvSpPr>
        <p:spPr bwMode="auto">
          <a:xfrm>
            <a:off x="389481" y="4823241"/>
            <a:ext cx="7103272" cy="1315846"/>
          </a:xfrm>
          <a:prstGeom prst="rect">
            <a:avLst/>
          </a:prstGeom>
          <a:solidFill>
            <a:schemeClr val="bg1">
              <a:lumMod val="95000"/>
            </a:schemeClr>
          </a:solidFill>
          <a:ln w="3175">
            <a:noFill/>
            <a:miter lim="800000"/>
            <a:headEnd/>
            <a:tailEnd/>
          </a:ln>
          <a:effectLst/>
        </p:spPr>
        <p:txBody>
          <a:bodyPr wrap="square" lIns="108000" tIns="108000" rIns="72000" bIns="108000" anchor="b">
            <a:spAutoFit/>
          </a:bodyPr>
          <a:lstStyle/>
          <a:p>
            <a:pPr marL="192088" marR="0" lvl="0" indent="-192088" algn="l" defTabSz="914400" rtl="0" eaLnBrk="0" fontAlgn="auto" latinLnBrk="0" hangingPunct="0">
              <a:lnSpc>
                <a:spcPct val="90000"/>
              </a:lnSpc>
              <a:spcBef>
                <a:spcPts val="100"/>
              </a:spcBef>
              <a:spcAft>
                <a:spcPts val="100"/>
              </a:spcAft>
              <a:buClrTx/>
              <a:buSzTx/>
              <a:buFontTx/>
              <a:buNone/>
              <a:tabLst>
                <a:tab pos="192088" algn="l"/>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Hi</a:t>
            </a:r>
            <a:r>
              <a:rPr kumimoji="0" lang="en-US" sz="1000" b="1" i="0" u="none" strike="noStrike" kern="1200" cap="none" spc="0" normalizeH="0" baseline="0" noProof="0" dirty="0">
                <a:ln>
                  <a:noFill/>
                </a:ln>
                <a:solidFill>
                  <a:srgbClr val="000000"/>
                </a:solidFill>
                <a:effectLst/>
                <a:uLnTx/>
                <a:uFillTx/>
                <a:latin typeface="+mj-lt"/>
                <a:ea typeface="+mn-ea"/>
                <a:cs typeface="+mn-cs"/>
              </a:rPr>
              <a:t>n</a:t>
            </a:r>
            <a:r>
              <a:rPr kumimoji="0" lang="en-US" sz="1000" b="1" i="0" u="none" strike="noStrike" kern="1200" cap="none" spc="0" normalizeH="0" baseline="0" noProof="0" dirty="0">
                <a:ln>
                  <a:noFill/>
                </a:ln>
                <a:solidFill>
                  <a:srgbClr val="000000"/>
                </a:solidFill>
                <a:effectLst/>
                <a:uLnTx/>
                <a:uFillTx/>
                <a:latin typeface="Arial"/>
                <a:ea typeface="+mn-ea"/>
                <a:cs typeface="+mn-cs"/>
              </a:rPr>
              <a:t>ts:</a:t>
            </a:r>
          </a:p>
          <a:p>
            <a:pPr marL="180975" marR="0" lvl="0" indent="-180975" algn="l" defTabSz="914400" rtl="0" eaLnBrk="0" fontAlgn="auto" latinLnBrk="0" hangingPunct="0">
              <a:lnSpc>
                <a:spcPct val="90000"/>
              </a:lnSpc>
              <a:spcBef>
                <a:spcPts val="100"/>
              </a:spcBef>
              <a:spcAft>
                <a:spcPts val="1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	Insert rows as </a:t>
            </a:r>
            <a:r>
              <a:rPr kumimoji="0" lang="en-US" sz="1000" b="0" i="0" u="none" strike="noStrike" kern="1200" cap="none" spc="0" normalizeH="0" baseline="0" noProof="0" dirty="0">
                <a:ln>
                  <a:noFill/>
                </a:ln>
                <a:solidFill>
                  <a:srgbClr val="000000"/>
                </a:solidFill>
                <a:effectLst/>
                <a:uLnTx/>
                <a:uFillTx/>
                <a:ea typeface="+mn-ea"/>
                <a:cs typeface="+mn-cs"/>
              </a:rPr>
              <a:t>required (each will adopt a different color)</a:t>
            </a:r>
          </a:p>
          <a:p>
            <a:pPr marL="180975" marR="0" lvl="0" indent="-180975" algn="l" defTabSz="914400" rtl="0" eaLnBrk="0" fontAlgn="auto" latinLnBrk="0" hangingPunct="0">
              <a:lnSpc>
                <a:spcPct val="90000"/>
              </a:lnSpc>
              <a:spcBef>
                <a:spcPts val="100"/>
              </a:spcBef>
              <a:spcAft>
                <a:spcPts val="10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	Double-click on a bar to change the color</a:t>
            </a:r>
          </a:p>
          <a:p>
            <a:pPr marL="180975" marR="0" lvl="0" indent="-180975" algn="l" defTabSz="914400" rtl="0" eaLnBrk="0" fontAlgn="auto" latinLnBrk="0" hangingPunct="0">
              <a:lnSpc>
                <a:spcPct val="90000"/>
              </a:lnSpc>
              <a:spcBef>
                <a:spcPts val="100"/>
              </a:spcBef>
              <a:spcAft>
                <a:spcPts val="10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3	Drag data values outside the rows manually</a:t>
            </a:r>
          </a:p>
          <a:p>
            <a:pPr marL="180975" marR="0" lvl="0" indent="-180975" algn="l" defTabSz="914400" rtl="0" eaLnBrk="0" fontAlgn="auto" latinLnBrk="0" hangingPunct="0">
              <a:lnSpc>
                <a:spcPct val="90000"/>
              </a:lnSpc>
              <a:spcBef>
                <a:spcPts val="100"/>
              </a:spcBef>
              <a:spcAft>
                <a:spcPts val="100"/>
              </a:spcAft>
              <a:buClrTx/>
              <a:buSzTx/>
              <a:buFontTx/>
              <a:buAutoNum type="arabicPlain" startAt="4"/>
              <a:tabLst/>
              <a:defRPr/>
            </a:pPr>
            <a:r>
              <a:rPr kumimoji="0" lang="en-US" sz="1000" b="0" i="0" u="none" strike="noStrike" kern="1200" cap="none" spc="0" normalizeH="0" baseline="0" noProof="0" dirty="0">
                <a:ln>
                  <a:noFill/>
                </a:ln>
                <a:solidFill>
                  <a:srgbClr val="000000"/>
                </a:solidFill>
                <a:effectLst/>
                <a:uLnTx/>
                <a:uFillTx/>
                <a:ea typeface="+mn-ea"/>
                <a:cs typeface="+mn-cs"/>
              </a:rPr>
              <a:t>Add labels manually</a:t>
            </a:r>
          </a:p>
          <a:p>
            <a:pPr marL="180975" marR="0" lvl="0" indent="-180975" algn="l" defTabSz="914400" rtl="0" eaLnBrk="0" fontAlgn="auto" latinLnBrk="0" hangingPunct="0">
              <a:lnSpc>
                <a:spcPct val="90000"/>
              </a:lnSpc>
              <a:spcBef>
                <a:spcPts val="100"/>
              </a:spcBef>
              <a:spcAft>
                <a:spcPts val="100"/>
              </a:spcAft>
              <a:buClrTx/>
              <a:buSzTx/>
              <a:buFontTx/>
              <a:buAutoNum type="arabicPlain" startAt="4"/>
              <a:tabLst/>
              <a:defRPr/>
            </a:pPr>
            <a:r>
              <a:rPr kumimoji="0" lang="en-US" sz="1000" b="0" i="0" u="none" strike="noStrike" kern="1200" cap="none" spc="0" normalizeH="0" baseline="0" noProof="0" dirty="0">
                <a:ln>
                  <a:noFill/>
                </a:ln>
                <a:solidFill>
                  <a:srgbClr val="000000"/>
                </a:solidFill>
                <a:effectLst/>
                <a:uLnTx/>
                <a:uFillTx/>
                <a:ea typeface="+mn-ea"/>
                <a:cs typeface="+mn-cs"/>
              </a:rPr>
              <a:t>To change the width of the rows select Chart Options and turn on the x-axis, then use Format Axis/Scale to set the length of </a:t>
            </a:r>
            <a:r>
              <a:rPr kumimoji="0" lang="en-US" sz="1000" b="0" i="0" u="none" strike="noStrike" kern="1200" cap="none" spc="0" normalizeH="0" baseline="0" noProof="0" dirty="0">
                <a:ln>
                  <a:noFill/>
                </a:ln>
                <a:solidFill>
                  <a:srgbClr val="000000"/>
                </a:solidFill>
                <a:effectLst/>
                <a:uLnTx/>
                <a:uFillTx/>
                <a:latin typeface="Arial"/>
                <a:ea typeface="+mn-ea"/>
                <a:cs typeface="+mn-cs"/>
              </a:rPr>
              <a:t>the x-axis. Once the scale is set, use Chart Options again to remove the x-axis</a:t>
            </a:r>
          </a:p>
        </p:txBody>
      </p:sp>
      <p:sp>
        <p:nvSpPr>
          <p:cNvPr id="3" name="Footer Placeholder 2">
            <a:extLst>
              <a:ext uri="{FF2B5EF4-FFF2-40B4-BE49-F238E27FC236}">
                <a16:creationId xmlns:a16="http://schemas.microsoft.com/office/drawing/2014/main" id="{A3260000-8D99-4D1A-8D76-F0A7400442B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E2A07E23-970B-4581-9D54-6466E9318715}"/>
              </a:ext>
            </a:extLst>
          </p:cNvPr>
          <p:cNvSpPr>
            <a:spLocks noGrp="1"/>
          </p:cNvSpPr>
          <p:nvPr>
            <p:ph type="sldNum" sz="quarter" idx="10"/>
          </p:nvPr>
        </p:nvSpPr>
        <p:spPr/>
        <p:txBody>
          <a:bodyPr/>
          <a:lstStyle/>
          <a:p>
            <a:fld id="{1F90F471-3972-4120-B8B3-0237DE626C35}" type="slidenum">
              <a:rPr lang="en-US" smtClean="0"/>
              <a:pPr/>
              <a:t>70</a:t>
            </a:fld>
            <a:endParaRPr lang="en-US" dirty="0"/>
          </a:p>
        </p:txBody>
      </p:sp>
    </p:spTree>
    <p:extLst>
      <p:ext uri="{BB962C8B-B14F-4D97-AF65-F5344CB8AC3E}">
        <p14:creationId xmlns:p14="http://schemas.microsoft.com/office/powerpoint/2010/main" val="337372817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dirty="0"/>
              <a:t>Paired Bar Chart</a:t>
            </a:r>
          </a:p>
        </p:txBody>
      </p:sp>
      <p:graphicFrame>
        <p:nvGraphicFramePr>
          <p:cNvPr id="7" name="Object 2" descr="Paired Bar chart column A including data organized vertically">
            <a:extLst>
              <a:ext uri="{FF2B5EF4-FFF2-40B4-BE49-F238E27FC236}">
                <a16:creationId xmlns:a16="http://schemas.microsoft.com/office/drawing/2014/main" id="{B7738EDF-8A12-4A6A-ADBD-979CF48752E0}"/>
              </a:ext>
            </a:extLst>
          </p:cNvPr>
          <p:cNvGraphicFramePr>
            <a:graphicFrameLocks noChangeAspect="1"/>
          </p:cNvGraphicFramePr>
          <p:nvPr>
            <p:extLst>
              <p:ext uri="{D42A27DB-BD31-4B8C-83A1-F6EECF244321}">
                <p14:modId xmlns:p14="http://schemas.microsoft.com/office/powerpoint/2010/main" val="2592217378"/>
              </p:ext>
            </p:extLst>
          </p:nvPr>
        </p:nvGraphicFramePr>
        <p:xfrm>
          <a:off x="1568456" y="1063535"/>
          <a:ext cx="4981575" cy="399851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Object 3" descr="Paired Bar chart column B including data organized vertically">
            <a:extLst>
              <a:ext uri="{FF2B5EF4-FFF2-40B4-BE49-F238E27FC236}">
                <a16:creationId xmlns:a16="http://schemas.microsoft.com/office/drawing/2014/main" id="{AC812E05-3ACF-46D4-BC05-B42AD75722B2}"/>
              </a:ext>
            </a:extLst>
          </p:cNvPr>
          <p:cNvGraphicFramePr>
            <a:graphicFrameLocks noChangeAspect="1"/>
          </p:cNvGraphicFramePr>
          <p:nvPr>
            <p:extLst>
              <p:ext uri="{D42A27DB-BD31-4B8C-83A1-F6EECF244321}">
                <p14:modId xmlns:p14="http://schemas.microsoft.com/office/powerpoint/2010/main" val="97185916"/>
              </p:ext>
            </p:extLst>
          </p:nvPr>
        </p:nvGraphicFramePr>
        <p:xfrm>
          <a:off x="5516562" y="1072680"/>
          <a:ext cx="4371975" cy="3980408"/>
        </p:xfrm>
        <a:graphic>
          <a:graphicData uri="http://schemas.openxmlformats.org/drawingml/2006/chart">
            <c:chart xmlns:c="http://schemas.openxmlformats.org/drawingml/2006/chart" xmlns:r="http://schemas.openxmlformats.org/officeDocument/2006/relationships" r:id="rId4"/>
          </a:graphicData>
        </a:graphic>
      </p:graphicFrame>
      <p:sp>
        <p:nvSpPr>
          <p:cNvPr id="12" name="Rectangle 3">
            <a:extLst>
              <a:ext uri="{FF2B5EF4-FFF2-40B4-BE49-F238E27FC236}">
                <a16:creationId xmlns:a16="http://schemas.microsoft.com/office/drawing/2014/main" id="{759C420D-1AA9-4014-AD5B-EE05D2C2F7B9}"/>
              </a:ext>
            </a:extLst>
          </p:cNvPr>
          <p:cNvSpPr>
            <a:spLocks noChangeArrowheads="1"/>
          </p:cNvSpPr>
          <p:nvPr/>
        </p:nvSpPr>
        <p:spPr bwMode="auto">
          <a:xfrm>
            <a:off x="380999" y="5426942"/>
            <a:ext cx="7249569" cy="884959"/>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ea typeface="+mn-ea"/>
                <a:cs typeface="+mn-cs"/>
              </a:rPr>
              <a:t>1	This chart is made of two graphs. Start with the left one, it contains the axis titles</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ea typeface="+mn-ea"/>
                <a:cs typeface="+mn-cs"/>
              </a:rPr>
              <a:t>2	To change the width of the rows select Chart Options and turn on the x-axis, then use Format Axis/Scale to set the length of the x-axis. Once the scale is set, use Chart Options again to remove the x-axis</a:t>
            </a:r>
          </a:p>
        </p:txBody>
      </p:sp>
      <p:sp>
        <p:nvSpPr>
          <p:cNvPr id="6" name="Footer Placeholder 5">
            <a:extLst>
              <a:ext uri="{FF2B5EF4-FFF2-40B4-BE49-F238E27FC236}">
                <a16:creationId xmlns:a16="http://schemas.microsoft.com/office/drawing/2014/main" id="{EFEC7F82-3206-4F80-8730-35E63CD18075}"/>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8" name="Slide Number Placeholder 7">
            <a:extLst>
              <a:ext uri="{FF2B5EF4-FFF2-40B4-BE49-F238E27FC236}">
                <a16:creationId xmlns:a16="http://schemas.microsoft.com/office/drawing/2014/main" id="{96C93F20-F24C-414A-9DBA-5CDB510B0C7A}"/>
              </a:ext>
            </a:extLst>
          </p:cNvPr>
          <p:cNvSpPr>
            <a:spLocks noGrp="1"/>
          </p:cNvSpPr>
          <p:nvPr>
            <p:ph type="sldNum" sz="quarter" idx="10"/>
          </p:nvPr>
        </p:nvSpPr>
        <p:spPr/>
        <p:txBody>
          <a:bodyPr/>
          <a:lstStyle/>
          <a:p>
            <a:fld id="{1F90F471-3972-4120-B8B3-0237DE626C35}" type="slidenum">
              <a:rPr lang="en-US" smtClean="0"/>
              <a:pPr/>
              <a:t>71</a:t>
            </a:fld>
            <a:endParaRPr lang="en-US" dirty="0"/>
          </a:p>
        </p:txBody>
      </p:sp>
    </p:spTree>
    <p:extLst>
      <p:ext uri="{BB962C8B-B14F-4D97-AF65-F5344CB8AC3E}">
        <p14:creationId xmlns:p14="http://schemas.microsoft.com/office/powerpoint/2010/main" val="3835614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dirty="0"/>
              <a:t>Sub-divided Bar Chart</a:t>
            </a:r>
          </a:p>
        </p:txBody>
      </p:sp>
      <p:graphicFrame>
        <p:nvGraphicFramePr>
          <p:cNvPr id="7" name="Object 2" descr="Sub-divided bar chart including information classified in two groups. Label C is including the biggest number.">
            <a:extLst>
              <a:ext uri="{FF2B5EF4-FFF2-40B4-BE49-F238E27FC236}">
                <a16:creationId xmlns:a16="http://schemas.microsoft.com/office/drawing/2014/main" id="{CCE8A202-BACE-4BD5-B227-7238E82E7A29}"/>
              </a:ext>
            </a:extLst>
          </p:cNvPr>
          <p:cNvGraphicFramePr>
            <a:graphicFrameLocks noChangeAspect="1"/>
          </p:cNvGraphicFramePr>
          <p:nvPr>
            <p:extLst>
              <p:ext uri="{D42A27DB-BD31-4B8C-83A1-F6EECF244321}">
                <p14:modId xmlns:p14="http://schemas.microsoft.com/office/powerpoint/2010/main" val="2349696659"/>
              </p:ext>
            </p:extLst>
          </p:nvPr>
        </p:nvGraphicFramePr>
        <p:xfrm>
          <a:off x="236033" y="773683"/>
          <a:ext cx="11510962" cy="4294187"/>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3">
            <a:extLst>
              <a:ext uri="{FF2B5EF4-FFF2-40B4-BE49-F238E27FC236}">
                <a16:creationId xmlns:a16="http://schemas.microsoft.com/office/drawing/2014/main" id="{5293A8AE-A712-4DD5-A17D-8A87DF4EC28D}"/>
              </a:ext>
            </a:extLst>
          </p:cNvPr>
          <p:cNvSpPr>
            <a:spLocks noChangeArrowheads="1"/>
          </p:cNvSpPr>
          <p:nvPr/>
        </p:nvSpPr>
        <p:spPr bwMode="auto">
          <a:xfrm>
            <a:off x="380999" y="5067870"/>
            <a:ext cx="6685626" cy="1244031"/>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ea typeface="+mn-ea"/>
                <a:cs typeface="+mn-cs"/>
              </a:rPr>
              <a:t>1	Calculate the total and enter it in the "Sum" row (which is in a transparent bar)</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ea typeface="+mn-ea"/>
                <a:cs typeface="+mn-cs"/>
              </a:rPr>
              <a:t>2	Left align the total value (which is in a transparent bar)</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ea typeface="+mn-ea"/>
                <a:cs typeface="+mn-cs"/>
              </a:rPr>
              <a:t>3	Add the legend names manually</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ea typeface="+mn-ea"/>
                <a:cs typeface="+mn-cs"/>
              </a:rPr>
              <a:t>4	To change the width of the rows select Chart Options and turn on the x-axis, then use Format Axis/Scale to set the length of the x-axis. Once the scale is set, use Chart Options again to remove the x-axis</a:t>
            </a:r>
          </a:p>
        </p:txBody>
      </p:sp>
      <p:sp>
        <p:nvSpPr>
          <p:cNvPr id="8" name="Footer Placeholder 7">
            <a:extLst>
              <a:ext uri="{FF2B5EF4-FFF2-40B4-BE49-F238E27FC236}">
                <a16:creationId xmlns:a16="http://schemas.microsoft.com/office/drawing/2014/main" id="{C4CA7594-BDB1-4614-BB47-CE21EE9711CA}"/>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9" name="Slide Number Placeholder 8">
            <a:extLst>
              <a:ext uri="{FF2B5EF4-FFF2-40B4-BE49-F238E27FC236}">
                <a16:creationId xmlns:a16="http://schemas.microsoft.com/office/drawing/2014/main" id="{08152AA5-5D45-4030-A174-77665E8FC1F9}"/>
              </a:ext>
            </a:extLst>
          </p:cNvPr>
          <p:cNvSpPr>
            <a:spLocks noGrp="1"/>
          </p:cNvSpPr>
          <p:nvPr>
            <p:ph type="sldNum" sz="quarter" idx="10"/>
          </p:nvPr>
        </p:nvSpPr>
        <p:spPr/>
        <p:txBody>
          <a:bodyPr/>
          <a:lstStyle/>
          <a:p>
            <a:fld id="{1F90F471-3972-4120-B8B3-0237DE626C35}" type="slidenum">
              <a:rPr lang="en-US" smtClean="0"/>
              <a:pPr/>
              <a:t>72</a:t>
            </a:fld>
            <a:endParaRPr lang="en-US" dirty="0"/>
          </a:p>
        </p:txBody>
      </p:sp>
    </p:spTree>
    <p:extLst>
      <p:ext uri="{BB962C8B-B14F-4D97-AF65-F5344CB8AC3E}">
        <p14:creationId xmlns:p14="http://schemas.microsoft.com/office/powerpoint/2010/main" val="135439167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dirty="0"/>
              <a:t>Sub-divided 100% Bar Chart</a:t>
            </a:r>
          </a:p>
        </p:txBody>
      </p:sp>
      <p:graphicFrame>
        <p:nvGraphicFramePr>
          <p:cNvPr id="7" name="Object 2" descr="Sub-divided bar chart including information classified in 3 groups. Label A is including the biggest percentage number.">
            <a:extLst>
              <a:ext uri="{FF2B5EF4-FFF2-40B4-BE49-F238E27FC236}">
                <a16:creationId xmlns:a16="http://schemas.microsoft.com/office/drawing/2014/main" id="{E5844463-503E-4A37-8305-EE0517992CB0}"/>
              </a:ext>
            </a:extLst>
          </p:cNvPr>
          <p:cNvGraphicFramePr>
            <a:graphicFrameLocks noChangeAspect="1"/>
          </p:cNvGraphicFramePr>
          <p:nvPr>
            <p:extLst>
              <p:ext uri="{D42A27DB-BD31-4B8C-83A1-F6EECF244321}">
                <p14:modId xmlns:p14="http://schemas.microsoft.com/office/powerpoint/2010/main" val="200036285"/>
              </p:ext>
            </p:extLst>
          </p:nvPr>
        </p:nvGraphicFramePr>
        <p:xfrm>
          <a:off x="344488" y="1162113"/>
          <a:ext cx="11465878" cy="4294187"/>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3">
            <a:extLst>
              <a:ext uri="{FF2B5EF4-FFF2-40B4-BE49-F238E27FC236}">
                <a16:creationId xmlns:a16="http://schemas.microsoft.com/office/drawing/2014/main" id="{E0938C7C-A024-4713-972A-A805914C68ED}"/>
              </a:ext>
            </a:extLst>
          </p:cNvPr>
          <p:cNvSpPr>
            <a:spLocks noChangeArrowheads="1"/>
          </p:cNvSpPr>
          <p:nvPr/>
        </p:nvSpPr>
        <p:spPr bwMode="auto">
          <a:xfrm>
            <a:off x="380999" y="5580831"/>
            <a:ext cx="3679728" cy="731070"/>
          </a:xfrm>
          <a:prstGeom prst="rect">
            <a:avLst/>
          </a:prstGeom>
          <a:solidFill>
            <a:schemeClr val="bg1">
              <a:lumMod val="95000"/>
            </a:schemeClr>
          </a:solidFill>
          <a:ln w="3175">
            <a:noFill/>
            <a:miter lim="800000"/>
            <a:headEnd/>
            <a:tailEnd/>
          </a:ln>
          <a:effectLst/>
        </p:spPr>
        <p:txBody>
          <a:bodyPr wrap="square" lIns="108000" tIns="108000" rIns="72000" bIns="108000" anchor="b">
            <a:spAutoFit/>
          </a:bodyPr>
          <a:lstStyle/>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ea typeface="+mn-ea"/>
                <a:cs typeface="+mn-cs"/>
              </a:rPr>
              <a:t>1	Select Format Series Lines to add/remove trend lines</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ea typeface="+mn-ea"/>
                <a:cs typeface="+mn-cs"/>
              </a:rPr>
              <a:t>2	Edit Group names manually</a:t>
            </a:r>
          </a:p>
        </p:txBody>
      </p:sp>
      <p:sp>
        <p:nvSpPr>
          <p:cNvPr id="5" name="Footer Placeholder 4">
            <a:extLst>
              <a:ext uri="{FF2B5EF4-FFF2-40B4-BE49-F238E27FC236}">
                <a16:creationId xmlns:a16="http://schemas.microsoft.com/office/drawing/2014/main" id="{1B848EE3-AE9B-46E5-B889-622B686AF36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8" name="Slide Number Placeholder 7">
            <a:extLst>
              <a:ext uri="{FF2B5EF4-FFF2-40B4-BE49-F238E27FC236}">
                <a16:creationId xmlns:a16="http://schemas.microsoft.com/office/drawing/2014/main" id="{A8A7AB83-227F-4327-A8AD-B5D875A9ABFA}"/>
              </a:ext>
            </a:extLst>
          </p:cNvPr>
          <p:cNvSpPr>
            <a:spLocks noGrp="1"/>
          </p:cNvSpPr>
          <p:nvPr>
            <p:ph type="sldNum" sz="quarter" idx="10"/>
          </p:nvPr>
        </p:nvSpPr>
        <p:spPr/>
        <p:txBody>
          <a:bodyPr/>
          <a:lstStyle/>
          <a:p>
            <a:fld id="{1F90F471-3972-4120-B8B3-0237DE626C35}" type="slidenum">
              <a:rPr lang="en-US" smtClean="0"/>
              <a:pPr/>
              <a:t>73</a:t>
            </a:fld>
            <a:endParaRPr lang="en-US" dirty="0"/>
          </a:p>
        </p:txBody>
      </p:sp>
    </p:spTree>
    <p:extLst>
      <p:ext uri="{BB962C8B-B14F-4D97-AF65-F5344CB8AC3E}">
        <p14:creationId xmlns:p14="http://schemas.microsoft.com/office/powerpoint/2010/main" val="120739281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dirty="0"/>
              <a:t>Grouped Bar Chart</a:t>
            </a:r>
          </a:p>
        </p:txBody>
      </p:sp>
      <p:graphicFrame>
        <p:nvGraphicFramePr>
          <p:cNvPr id="7" name="Object 2" descr="Grouped bar chart including 4 labels ordered from A to D. Label D is including the biggest number.">
            <a:extLst>
              <a:ext uri="{FF2B5EF4-FFF2-40B4-BE49-F238E27FC236}">
                <a16:creationId xmlns:a16="http://schemas.microsoft.com/office/drawing/2014/main" id="{B98C6A33-96F8-43C8-8B24-BA9645941AA6}"/>
              </a:ext>
            </a:extLst>
          </p:cNvPr>
          <p:cNvGraphicFramePr>
            <a:graphicFrameLocks noChangeAspect="1"/>
          </p:cNvGraphicFramePr>
          <p:nvPr>
            <p:extLst>
              <p:ext uri="{D42A27DB-BD31-4B8C-83A1-F6EECF244321}">
                <p14:modId xmlns:p14="http://schemas.microsoft.com/office/powerpoint/2010/main" val="3766618694"/>
              </p:ext>
            </p:extLst>
          </p:nvPr>
        </p:nvGraphicFramePr>
        <p:xfrm>
          <a:off x="288291" y="1103408"/>
          <a:ext cx="11522075" cy="4294187"/>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3">
            <a:extLst>
              <a:ext uri="{FF2B5EF4-FFF2-40B4-BE49-F238E27FC236}">
                <a16:creationId xmlns:a16="http://schemas.microsoft.com/office/drawing/2014/main" id="{57399CFF-50D7-4B6F-865D-41F0031BF305}"/>
              </a:ext>
            </a:extLst>
          </p:cNvPr>
          <p:cNvSpPr>
            <a:spLocks noChangeArrowheads="1"/>
          </p:cNvSpPr>
          <p:nvPr/>
        </p:nvSpPr>
        <p:spPr bwMode="auto">
          <a:xfrm>
            <a:off x="380999" y="5397595"/>
            <a:ext cx="4630193" cy="910607"/>
          </a:xfrm>
          <a:prstGeom prst="rect">
            <a:avLst/>
          </a:prstGeom>
          <a:solidFill>
            <a:schemeClr val="bg1">
              <a:lumMod val="95000"/>
            </a:schemeClr>
          </a:solidFill>
          <a:ln w="3175">
            <a:noFill/>
            <a:miter lim="800000"/>
            <a:headEnd/>
            <a:tailEnd/>
          </a:ln>
          <a:effectLst/>
        </p:spPr>
        <p:txBody>
          <a:bodyPr wrap="square" lIns="108000" tIns="108000" rIns="72000" bIns="108000" anchor="b">
            <a:spAutoFit/>
          </a:bodyPr>
          <a:lstStyle/>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ea typeface="+mn-ea"/>
                <a:cs typeface="+mn-cs"/>
              </a:rPr>
              <a:t>1	Select a data series by clicking with the right mouse button on the bar </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ea typeface="+mn-ea"/>
                <a:cs typeface="+mn-cs"/>
              </a:rPr>
              <a:t>2	Choose an overlap in the options menu</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ea typeface="+mn-ea"/>
                <a:cs typeface="+mn-cs"/>
              </a:rPr>
              <a:t>3	Add group names manually</a:t>
            </a:r>
          </a:p>
        </p:txBody>
      </p:sp>
      <p:sp>
        <p:nvSpPr>
          <p:cNvPr id="6" name="Footer Placeholder 5">
            <a:extLst>
              <a:ext uri="{FF2B5EF4-FFF2-40B4-BE49-F238E27FC236}">
                <a16:creationId xmlns:a16="http://schemas.microsoft.com/office/drawing/2014/main" id="{38CD14E0-A4F2-4F5A-A5FB-D7A322CABBE3}"/>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8" name="Slide Number Placeholder 7">
            <a:extLst>
              <a:ext uri="{FF2B5EF4-FFF2-40B4-BE49-F238E27FC236}">
                <a16:creationId xmlns:a16="http://schemas.microsoft.com/office/drawing/2014/main" id="{A0A39FA7-8741-4C71-A556-036CCE39A6D1}"/>
              </a:ext>
            </a:extLst>
          </p:cNvPr>
          <p:cNvSpPr>
            <a:spLocks noGrp="1"/>
          </p:cNvSpPr>
          <p:nvPr>
            <p:ph type="sldNum" sz="quarter" idx="10"/>
          </p:nvPr>
        </p:nvSpPr>
        <p:spPr/>
        <p:txBody>
          <a:bodyPr/>
          <a:lstStyle/>
          <a:p>
            <a:fld id="{1F90F471-3972-4120-B8B3-0237DE626C35}" type="slidenum">
              <a:rPr lang="en-US" smtClean="0"/>
              <a:pPr/>
              <a:t>74</a:t>
            </a:fld>
            <a:endParaRPr lang="en-US" dirty="0"/>
          </a:p>
        </p:txBody>
      </p:sp>
    </p:spTree>
    <p:extLst>
      <p:ext uri="{BB962C8B-B14F-4D97-AF65-F5344CB8AC3E}">
        <p14:creationId xmlns:p14="http://schemas.microsoft.com/office/powerpoint/2010/main" val="267178987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7C4124B-B9D5-4FB9-AA46-3262DD2B40DB}"/>
              </a:ext>
            </a:extLst>
          </p:cNvPr>
          <p:cNvSpPr>
            <a:spLocks noGrp="1"/>
          </p:cNvSpPr>
          <p:nvPr>
            <p:ph type="title"/>
          </p:nvPr>
        </p:nvSpPr>
        <p:spPr/>
        <p:txBody>
          <a:bodyPr/>
          <a:lstStyle/>
          <a:p>
            <a:r>
              <a:rPr lang="en-US" dirty="0"/>
              <a:t>Vertical Column Charts</a:t>
            </a:r>
          </a:p>
        </p:txBody>
      </p:sp>
      <p:sp>
        <p:nvSpPr>
          <p:cNvPr id="10" name="Freeform: Shape 9" descr="Add text and order accordingly">
            <a:hlinkClick r:id="rId2" action="ppaction://hlinksldjump" tooltip="Return to Index"/>
            <a:extLst>
              <a:ext uri="{FF2B5EF4-FFF2-40B4-BE49-F238E27FC236}">
                <a16:creationId xmlns:a16="http://schemas.microsoft.com/office/drawing/2014/main" id="{0DE3F75C-CF1B-47BB-A358-FF97AF03C85D}"/>
              </a:ext>
              <a:ext uri="{C183D7F6-B498-43B3-948B-1728B52AA6E4}">
                <adec:decorative xmlns:adec="http://schemas.microsoft.com/office/drawing/2017/decorative" val="0"/>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 Placeholder 8">
            <a:extLst>
              <a:ext uri="{FF2B5EF4-FFF2-40B4-BE49-F238E27FC236}">
                <a16:creationId xmlns:a16="http://schemas.microsoft.com/office/drawing/2014/main" id="{1265ADBE-657A-4DC7-A6A6-2F0E697C4723}"/>
              </a:ext>
            </a:extLst>
          </p:cNvPr>
          <p:cNvSpPr>
            <a:spLocks noGrp="1"/>
          </p:cNvSpPr>
          <p:nvPr>
            <p:ph type="body" sz="quarter" idx="15"/>
          </p:nvPr>
        </p:nvSpPr>
        <p:spPr/>
        <p:txBody>
          <a:bodyPr/>
          <a:lstStyle/>
          <a:p>
            <a:r>
              <a:rPr lang="en-US" dirty="0"/>
              <a:t>Part of </a:t>
            </a:r>
            <a:r>
              <a:rPr lang="en-US" dirty="0">
                <a:hlinkClick r:id="rId3" action="ppaction://hlinksldjump">
                  <a:extLst>
                    <a:ext uri="{A12FA001-AC4F-418D-AE19-62706E023703}">
                      <ahyp:hlinkClr xmlns:ahyp="http://schemas.microsoft.com/office/drawing/2018/hyperlinkcolor" val="tx"/>
                    </a:ext>
                  </a:extLst>
                </a:hlinkClick>
              </a:rPr>
              <a:t>Charts</a:t>
            </a:r>
            <a:endParaRPr lang="en-US" dirty="0"/>
          </a:p>
        </p:txBody>
      </p:sp>
      <p:sp>
        <p:nvSpPr>
          <p:cNvPr id="5" name="Footer Placeholder 4">
            <a:extLst>
              <a:ext uri="{FF2B5EF4-FFF2-40B4-BE49-F238E27FC236}">
                <a16:creationId xmlns:a16="http://schemas.microsoft.com/office/drawing/2014/main" id="{9DC78945-A645-4563-BCA9-927812C9C4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BEE2891-AE3F-4D8A-B562-5662B242B3DF}"/>
              </a:ext>
            </a:extLst>
          </p:cNvPr>
          <p:cNvSpPr>
            <a:spLocks noGrp="1"/>
          </p:cNvSpPr>
          <p:nvPr>
            <p:ph type="sldNum" sz="quarter" idx="17"/>
          </p:nvPr>
        </p:nvSpPr>
        <p:spPr/>
        <p:txBody>
          <a:bodyPr/>
          <a:lstStyle/>
          <a:p>
            <a:fld id="{1F90F471-3972-4120-B8B3-0237DE626C35}" type="slidenum">
              <a:rPr lang="en-US" smtClean="0"/>
              <a:pPr/>
              <a:t>75</a:t>
            </a:fld>
            <a:endParaRPr lang="en-US" dirty="0"/>
          </a:p>
        </p:txBody>
      </p:sp>
    </p:spTree>
    <p:extLst>
      <p:ext uri="{BB962C8B-B14F-4D97-AF65-F5344CB8AC3E}">
        <p14:creationId xmlns:p14="http://schemas.microsoft.com/office/powerpoint/2010/main" val="10948396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dirty="0"/>
              <a:t>Waterfall Chart 1</a:t>
            </a:r>
          </a:p>
        </p:txBody>
      </p:sp>
      <p:graphicFrame>
        <p:nvGraphicFramePr>
          <p:cNvPr id="7" name="Object 2" descr="Waterfall Chart including 4 bars.">
            <a:extLst>
              <a:ext uri="{FF2B5EF4-FFF2-40B4-BE49-F238E27FC236}">
                <a16:creationId xmlns:a16="http://schemas.microsoft.com/office/drawing/2014/main" id="{1FB3E495-45B1-4545-A62D-6035215B54C8}"/>
              </a:ext>
            </a:extLst>
          </p:cNvPr>
          <p:cNvGraphicFramePr>
            <a:graphicFrameLocks/>
          </p:cNvGraphicFramePr>
          <p:nvPr>
            <p:extLst>
              <p:ext uri="{D42A27DB-BD31-4B8C-83A1-F6EECF244321}">
                <p14:modId xmlns:p14="http://schemas.microsoft.com/office/powerpoint/2010/main" val="3744327607"/>
              </p:ext>
            </p:extLst>
          </p:nvPr>
        </p:nvGraphicFramePr>
        <p:xfrm>
          <a:off x="380999" y="804696"/>
          <a:ext cx="11429367" cy="3867666"/>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3">
            <a:extLst>
              <a:ext uri="{FF2B5EF4-FFF2-40B4-BE49-F238E27FC236}">
                <a16:creationId xmlns:a16="http://schemas.microsoft.com/office/drawing/2014/main" id="{B3380075-B428-43F2-B12F-94508680A4CD}"/>
              </a:ext>
            </a:extLst>
          </p:cNvPr>
          <p:cNvSpPr>
            <a:spLocks noChangeArrowheads="1"/>
          </p:cNvSpPr>
          <p:nvPr/>
        </p:nvSpPr>
        <p:spPr bwMode="auto">
          <a:xfrm>
            <a:off x="380999" y="4888333"/>
            <a:ext cx="7697681" cy="1423568"/>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82563" marR="0" lvl="0" indent="-182563"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	Calculate and enter the value corresponding to the area below the column in the row marked "Space"</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	Enter the height of the column in the row marked "Column" row</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3	Add/remove columns and rows as required</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4	Add series lines between the columns manually, if required</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5	To change the height of the columns select Chart Options and turn on the y-axis, then use Format Axis/Scale to set the length of the y-axis (check the “Automatic” button). Once the scale is set, use Chart Options again to remove the y-axis</a:t>
            </a:r>
          </a:p>
        </p:txBody>
      </p:sp>
      <p:sp>
        <p:nvSpPr>
          <p:cNvPr id="5" name="Footer Placeholder 4">
            <a:extLst>
              <a:ext uri="{FF2B5EF4-FFF2-40B4-BE49-F238E27FC236}">
                <a16:creationId xmlns:a16="http://schemas.microsoft.com/office/drawing/2014/main" id="{C519E24F-EFC8-4A2B-9AB7-1395AF731D6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91B8792-F82A-4594-94A8-AF88DC51E353}"/>
              </a:ext>
            </a:extLst>
          </p:cNvPr>
          <p:cNvSpPr>
            <a:spLocks noGrp="1"/>
          </p:cNvSpPr>
          <p:nvPr>
            <p:ph type="sldNum" sz="quarter" idx="10"/>
          </p:nvPr>
        </p:nvSpPr>
        <p:spPr/>
        <p:txBody>
          <a:bodyPr/>
          <a:lstStyle/>
          <a:p>
            <a:fld id="{1F90F471-3972-4120-B8B3-0237DE626C35}" type="slidenum">
              <a:rPr lang="en-US" smtClean="0"/>
              <a:pPr/>
              <a:t>76</a:t>
            </a:fld>
            <a:endParaRPr lang="en-US" dirty="0"/>
          </a:p>
        </p:txBody>
      </p:sp>
    </p:spTree>
    <p:extLst>
      <p:ext uri="{BB962C8B-B14F-4D97-AF65-F5344CB8AC3E}">
        <p14:creationId xmlns:p14="http://schemas.microsoft.com/office/powerpoint/2010/main" val="343492050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dirty="0"/>
              <a:t>Waterfall Chart 2</a:t>
            </a:r>
          </a:p>
        </p:txBody>
      </p:sp>
      <p:graphicFrame>
        <p:nvGraphicFramePr>
          <p:cNvPr id="6" name="Object 2" descr="Waterfall Chart 2 - Insert short description here">
            <a:extLst>
              <a:ext uri="{FF2B5EF4-FFF2-40B4-BE49-F238E27FC236}">
                <a16:creationId xmlns:a16="http://schemas.microsoft.com/office/drawing/2014/main" id="{668F58B0-CFEA-436B-A1BD-51D7C9AD2A04}"/>
              </a:ext>
            </a:extLst>
          </p:cNvPr>
          <p:cNvGraphicFramePr>
            <a:graphicFrameLocks/>
          </p:cNvGraphicFramePr>
          <p:nvPr>
            <p:extLst>
              <p:ext uri="{D42A27DB-BD31-4B8C-83A1-F6EECF244321}">
                <p14:modId xmlns:p14="http://schemas.microsoft.com/office/powerpoint/2010/main" val="2837967038"/>
              </p:ext>
            </p:extLst>
          </p:nvPr>
        </p:nvGraphicFramePr>
        <p:xfrm>
          <a:off x="380999" y="954360"/>
          <a:ext cx="11437940" cy="3751456"/>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3">
            <a:extLst>
              <a:ext uri="{FF2B5EF4-FFF2-40B4-BE49-F238E27FC236}">
                <a16:creationId xmlns:a16="http://schemas.microsoft.com/office/drawing/2014/main" id="{B3380075-B428-43F2-B12F-94508680A4CD}"/>
              </a:ext>
            </a:extLst>
          </p:cNvPr>
          <p:cNvSpPr>
            <a:spLocks noChangeArrowheads="1"/>
          </p:cNvSpPr>
          <p:nvPr/>
        </p:nvSpPr>
        <p:spPr bwMode="auto">
          <a:xfrm>
            <a:off x="380999" y="4888333"/>
            <a:ext cx="7697681" cy="1423568"/>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82563" marR="0" lvl="0" indent="-182563"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Hints:</a:t>
            </a:r>
            <a:endParaRPr kumimoji="0" lang="en-US" sz="1000" b="1" i="0" u="none" strike="noStrike" kern="1200" cap="none" spc="0" normalizeH="0" baseline="0" noProof="0" dirty="0">
              <a:ln>
                <a:noFill/>
              </a:ln>
              <a:solidFill>
                <a:srgbClr val="000000"/>
              </a:solidFill>
              <a:effectLst/>
              <a:uLnTx/>
              <a:uFillTx/>
              <a:latin typeface="+mj-lt"/>
              <a:ea typeface="+mn-ea"/>
              <a:cs typeface="+mn-cs"/>
            </a:endParaRP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	Calculate and enter the value corresponding to the area below the column in the row marked "Space"</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	Enter the height of the column in the row marked "Column" row</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3	Add/remove columns and rows as required</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4	Add series lines between the columns manually, if required</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5	To change the height of the columns select Chart Options and turn on the y-axis, then use Format Axis/Scale to set the length of the y-axis (check the “Automatic” button). Once the scale is set, use Chart Options again to remove the y-axis</a:t>
            </a:r>
          </a:p>
        </p:txBody>
      </p:sp>
      <p:sp>
        <p:nvSpPr>
          <p:cNvPr id="3" name="Footer Placeholder 2">
            <a:extLst>
              <a:ext uri="{FF2B5EF4-FFF2-40B4-BE49-F238E27FC236}">
                <a16:creationId xmlns:a16="http://schemas.microsoft.com/office/drawing/2014/main" id="{DDB832E1-88CB-422A-9905-C2BE351E76D6}"/>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7" name="Slide Number Placeholder 6">
            <a:extLst>
              <a:ext uri="{FF2B5EF4-FFF2-40B4-BE49-F238E27FC236}">
                <a16:creationId xmlns:a16="http://schemas.microsoft.com/office/drawing/2014/main" id="{9C04480A-9DFD-44DD-82B8-749F7E793736}"/>
              </a:ext>
            </a:extLst>
          </p:cNvPr>
          <p:cNvSpPr>
            <a:spLocks noGrp="1"/>
          </p:cNvSpPr>
          <p:nvPr>
            <p:ph type="sldNum" sz="quarter" idx="10"/>
          </p:nvPr>
        </p:nvSpPr>
        <p:spPr/>
        <p:txBody>
          <a:bodyPr/>
          <a:lstStyle/>
          <a:p>
            <a:fld id="{1F90F471-3972-4120-B8B3-0237DE626C35}" type="slidenum">
              <a:rPr lang="en-US" smtClean="0"/>
              <a:pPr/>
              <a:t>77</a:t>
            </a:fld>
            <a:endParaRPr lang="en-US" dirty="0"/>
          </a:p>
        </p:txBody>
      </p:sp>
    </p:spTree>
    <p:extLst>
      <p:ext uri="{BB962C8B-B14F-4D97-AF65-F5344CB8AC3E}">
        <p14:creationId xmlns:p14="http://schemas.microsoft.com/office/powerpoint/2010/main" val="266925280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dirty="0"/>
              <a:t>Waterfall Chart 3</a:t>
            </a:r>
          </a:p>
        </p:txBody>
      </p:sp>
      <p:graphicFrame>
        <p:nvGraphicFramePr>
          <p:cNvPr id="8" name="Object 2" descr="Waterfall Chart 3 - Insert short description here">
            <a:extLst>
              <a:ext uri="{FF2B5EF4-FFF2-40B4-BE49-F238E27FC236}">
                <a16:creationId xmlns:a16="http://schemas.microsoft.com/office/drawing/2014/main" id="{80821B96-0888-4950-BD29-8066CBD944BB}"/>
              </a:ext>
            </a:extLst>
          </p:cNvPr>
          <p:cNvGraphicFramePr>
            <a:graphicFrameLocks/>
          </p:cNvGraphicFramePr>
          <p:nvPr>
            <p:extLst>
              <p:ext uri="{D42A27DB-BD31-4B8C-83A1-F6EECF244321}">
                <p14:modId xmlns:p14="http://schemas.microsoft.com/office/powerpoint/2010/main" val="2900217649"/>
              </p:ext>
            </p:extLst>
          </p:nvPr>
        </p:nvGraphicFramePr>
        <p:xfrm>
          <a:off x="380999" y="804696"/>
          <a:ext cx="11429368" cy="4083638"/>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3">
            <a:extLst>
              <a:ext uri="{FF2B5EF4-FFF2-40B4-BE49-F238E27FC236}">
                <a16:creationId xmlns:a16="http://schemas.microsoft.com/office/drawing/2014/main" id="{B3380075-B428-43F2-B12F-94508680A4CD}"/>
              </a:ext>
            </a:extLst>
          </p:cNvPr>
          <p:cNvSpPr>
            <a:spLocks noChangeArrowheads="1"/>
          </p:cNvSpPr>
          <p:nvPr/>
        </p:nvSpPr>
        <p:spPr bwMode="auto">
          <a:xfrm>
            <a:off x="380999" y="4888333"/>
            <a:ext cx="7697681" cy="1423568"/>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82563" marR="0" lvl="0" indent="-182563"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	Calculate and enter the value corresponding to the area below the column in the row marked "Space"</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	Enter the height of the column in the row marked "Column" row</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3	Add/remove columns and rows as required</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4	Add series lines between the columns manually, if required</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5	To change the height of the columns select Chart Options and turn on the y-axis, then use Format Axis/Scale to set the length of the y-axis (check the “Automatic” button). Once the scale is set, use Chart Options again to remove the y-axis</a:t>
            </a:r>
          </a:p>
        </p:txBody>
      </p:sp>
      <p:sp>
        <p:nvSpPr>
          <p:cNvPr id="5" name="Footer Placeholder 4">
            <a:extLst>
              <a:ext uri="{FF2B5EF4-FFF2-40B4-BE49-F238E27FC236}">
                <a16:creationId xmlns:a16="http://schemas.microsoft.com/office/drawing/2014/main" id="{3D033659-3484-4A30-BD92-AAC4B95AADBB}"/>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FBB9D3D4-432D-48E2-AB60-D91A2C54ACED}"/>
              </a:ext>
            </a:extLst>
          </p:cNvPr>
          <p:cNvSpPr>
            <a:spLocks noGrp="1"/>
          </p:cNvSpPr>
          <p:nvPr>
            <p:ph type="sldNum" sz="quarter" idx="10"/>
          </p:nvPr>
        </p:nvSpPr>
        <p:spPr/>
        <p:txBody>
          <a:bodyPr/>
          <a:lstStyle/>
          <a:p>
            <a:fld id="{1F90F471-3972-4120-B8B3-0237DE626C35}" type="slidenum">
              <a:rPr lang="en-US" smtClean="0"/>
              <a:pPr/>
              <a:t>78</a:t>
            </a:fld>
            <a:endParaRPr lang="en-US" dirty="0"/>
          </a:p>
        </p:txBody>
      </p:sp>
    </p:spTree>
    <p:extLst>
      <p:ext uri="{BB962C8B-B14F-4D97-AF65-F5344CB8AC3E}">
        <p14:creationId xmlns:p14="http://schemas.microsoft.com/office/powerpoint/2010/main" val="360752912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dirty="0"/>
              <a:t>Waterfall Chart 4</a:t>
            </a:r>
          </a:p>
        </p:txBody>
      </p:sp>
      <p:graphicFrame>
        <p:nvGraphicFramePr>
          <p:cNvPr id="7" name="Object 2" descr="Insert short description here">
            <a:extLst>
              <a:ext uri="{FF2B5EF4-FFF2-40B4-BE49-F238E27FC236}">
                <a16:creationId xmlns:a16="http://schemas.microsoft.com/office/drawing/2014/main" id="{643C88B9-14D9-421E-892D-6160E7EB3AC3}"/>
              </a:ext>
            </a:extLst>
          </p:cNvPr>
          <p:cNvGraphicFramePr>
            <a:graphicFrameLocks/>
          </p:cNvGraphicFramePr>
          <p:nvPr>
            <p:extLst>
              <p:ext uri="{D42A27DB-BD31-4B8C-83A1-F6EECF244321}">
                <p14:modId xmlns:p14="http://schemas.microsoft.com/office/powerpoint/2010/main" val="2675787255"/>
              </p:ext>
            </p:extLst>
          </p:nvPr>
        </p:nvGraphicFramePr>
        <p:xfrm>
          <a:off x="380999" y="880946"/>
          <a:ext cx="11429367" cy="4007387"/>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3">
            <a:extLst>
              <a:ext uri="{FF2B5EF4-FFF2-40B4-BE49-F238E27FC236}">
                <a16:creationId xmlns:a16="http://schemas.microsoft.com/office/drawing/2014/main" id="{B3380075-B428-43F2-B12F-94508680A4CD}"/>
              </a:ext>
            </a:extLst>
          </p:cNvPr>
          <p:cNvSpPr>
            <a:spLocks noChangeArrowheads="1"/>
          </p:cNvSpPr>
          <p:nvPr/>
        </p:nvSpPr>
        <p:spPr bwMode="auto">
          <a:xfrm>
            <a:off x="380999" y="4888333"/>
            <a:ext cx="7697681" cy="1423568"/>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82563" marR="0" lvl="0" indent="-182563"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	Calculate and enter the value corresponding to the area below the column in the row marked "Space"</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	Enter the height of the column in the row marked "Column" row</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3	Add/remove columns and rows as required</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4	Add series lines between the columns manually, if required</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5	To change the height of the columns select Chart Options and turn on the y-axis, then use Format Axis/Scale to set the length of the y-axis (check the “Automatic” button). Once the scale is set, use Chart Options again to remove the y-axis</a:t>
            </a:r>
          </a:p>
        </p:txBody>
      </p:sp>
      <p:sp>
        <p:nvSpPr>
          <p:cNvPr id="5" name="Footer Placeholder 4">
            <a:extLst>
              <a:ext uri="{FF2B5EF4-FFF2-40B4-BE49-F238E27FC236}">
                <a16:creationId xmlns:a16="http://schemas.microsoft.com/office/drawing/2014/main" id="{C2CDEF9F-D4F0-490A-9B0B-E1F47602CA6D}"/>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4BD0A297-B2B8-4406-849B-6FED3E0B358C}"/>
              </a:ext>
            </a:extLst>
          </p:cNvPr>
          <p:cNvSpPr>
            <a:spLocks noGrp="1"/>
          </p:cNvSpPr>
          <p:nvPr>
            <p:ph type="sldNum" sz="quarter" idx="10"/>
          </p:nvPr>
        </p:nvSpPr>
        <p:spPr/>
        <p:txBody>
          <a:bodyPr/>
          <a:lstStyle/>
          <a:p>
            <a:fld id="{1F90F471-3972-4120-B8B3-0237DE626C35}" type="slidenum">
              <a:rPr lang="en-US" smtClean="0"/>
              <a:pPr/>
              <a:t>79</a:t>
            </a:fld>
            <a:endParaRPr lang="en-US" dirty="0"/>
          </a:p>
        </p:txBody>
      </p:sp>
    </p:spTree>
    <p:extLst>
      <p:ext uri="{BB962C8B-B14F-4D97-AF65-F5344CB8AC3E}">
        <p14:creationId xmlns:p14="http://schemas.microsoft.com/office/powerpoint/2010/main" val="21839670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A2AD61CE-9FDB-4F62-9AD2-A7DEB3E14762}"/>
              </a:ext>
            </a:extLst>
          </p:cNvPr>
          <p:cNvSpPr>
            <a:spLocks noGrp="1"/>
          </p:cNvSpPr>
          <p:nvPr>
            <p:ph type="title"/>
          </p:nvPr>
        </p:nvSpPr>
        <p:spPr>
          <a:xfrm>
            <a:off x="381000" y="381000"/>
            <a:ext cx="11430000" cy="800100"/>
          </a:xfrm>
        </p:spPr>
        <p:txBody>
          <a:bodyPr/>
          <a:lstStyle/>
          <a:p>
            <a:r>
              <a:rPr lang="en-GB" dirty="0"/>
              <a:t>Getting started with this template</a:t>
            </a:r>
          </a:p>
        </p:txBody>
      </p:sp>
      <p:sp>
        <p:nvSpPr>
          <p:cNvPr id="13" name="TextBox 12">
            <a:extLst>
              <a:ext uri="{FF2B5EF4-FFF2-40B4-BE49-F238E27FC236}">
                <a16:creationId xmlns:a16="http://schemas.microsoft.com/office/drawing/2014/main" id="{40FD57BF-538E-48B6-AFFF-6B687FCC3ADB}"/>
              </a:ext>
            </a:extLst>
          </p:cNvPr>
          <p:cNvSpPr txBox="1"/>
          <p:nvPr/>
        </p:nvSpPr>
        <p:spPr>
          <a:xfrm>
            <a:off x="380999" y="1128714"/>
            <a:ext cx="5638295" cy="1687154"/>
          </a:xfrm>
          <a:prstGeom prst="rect">
            <a:avLst/>
          </a:prstGeom>
          <a:noFill/>
        </p:spPr>
        <p:txBody>
          <a:bodyPr wrap="square" lIns="0" tIns="0" rIns="0" bIns="0" rtlCol="0">
            <a:noAutofit/>
          </a:bodyPr>
          <a:lstStyle/>
          <a:p>
            <a:pPr lvl="0" defTabSz="228600">
              <a:spcAft>
                <a:spcPts val="1200"/>
              </a:spcAft>
              <a:defRPr/>
            </a:pPr>
            <a:r>
              <a:rPr lang="en-GB" sz="2000" b="1" dirty="0"/>
              <a:t>How are you using this PPT?</a:t>
            </a:r>
          </a:p>
          <a:p>
            <a:pPr lvl="0" defTabSz="228600">
              <a:spcAft>
                <a:spcPts val="1200"/>
              </a:spcAft>
              <a:defRPr/>
            </a:pPr>
            <a:r>
              <a:rPr lang="en-GB" sz="1600" b="1" dirty="0">
                <a:solidFill>
                  <a:srgbClr val="A100FF"/>
                </a:solidFill>
              </a:rPr>
              <a:t>Live presentation vs. document</a:t>
            </a:r>
          </a:p>
          <a:p>
            <a:pPr defTabSz="228600">
              <a:spcAft>
                <a:spcPts val="1200"/>
              </a:spcAft>
            </a:pPr>
            <a:r>
              <a:rPr lang="en-GB" sz="1600" dirty="0">
                <a:solidFill>
                  <a:srgbClr val="000000"/>
                </a:solidFill>
              </a:rPr>
              <a:t>Avoid longform content on a Presentation deck; include headlines and key points, NOT your presentation script. Add extra information in the Notes section if needed.</a:t>
            </a:r>
            <a:br>
              <a:rPr lang="en-GB" sz="1600" dirty="0">
                <a:solidFill>
                  <a:srgbClr val="000000"/>
                </a:solidFill>
              </a:rPr>
            </a:br>
            <a:endParaRPr lang="en-GB" sz="1600" dirty="0"/>
          </a:p>
        </p:txBody>
      </p:sp>
      <p:sp>
        <p:nvSpPr>
          <p:cNvPr id="7" name="TextBox 6">
            <a:extLst>
              <a:ext uri="{FF2B5EF4-FFF2-40B4-BE49-F238E27FC236}">
                <a16:creationId xmlns:a16="http://schemas.microsoft.com/office/drawing/2014/main" id="{F2890242-9C2A-433B-8648-A083BEFDBF1D}"/>
              </a:ext>
            </a:extLst>
          </p:cNvPr>
          <p:cNvSpPr txBox="1"/>
          <p:nvPr/>
        </p:nvSpPr>
        <p:spPr>
          <a:xfrm>
            <a:off x="380998" y="2936320"/>
            <a:ext cx="5760720" cy="1587235"/>
          </a:xfrm>
          <a:prstGeom prst="rect">
            <a:avLst/>
          </a:prstGeom>
          <a:noFill/>
        </p:spPr>
        <p:txBody>
          <a:bodyPr wrap="square" lIns="0" tIns="0" rIns="0" bIns="0" rtlCol="0">
            <a:noAutofit/>
          </a:bodyPr>
          <a:lstStyle/>
          <a:p>
            <a:pPr lvl="0" defTabSz="228600">
              <a:spcAft>
                <a:spcPts val="1200"/>
              </a:spcAft>
              <a:defRPr/>
            </a:pPr>
            <a:r>
              <a:rPr lang="en-GB" sz="2000" b="1" dirty="0">
                <a:solidFill>
                  <a:srgbClr val="000000"/>
                </a:solidFill>
              </a:rPr>
              <a:t>Brand Guidelines and Asset Library</a:t>
            </a:r>
            <a:endParaRPr lang="en-GB" sz="2000" dirty="0">
              <a:solidFill>
                <a:srgbClr val="000000"/>
              </a:solidFill>
            </a:endParaRPr>
          </a:p>
          <a:p>
            <a:pPr lvl="0" defTabSz="228600">
              <a:spcAft>
                <a:spcPts val="1200"/>
              </a:spcAft>
              <a:defRPr/>
            </a:pPr>
            <a:r>
              <a:rPr lang="en-GB" sz="1600" dirty="0">
                <a:solidFill>
                  <a:srgbClr val="000000"/>
                </a:solidFill>
              </a:rPr>
              <a:t>Our expansive asset library including fonts, photography, iconography and custom slides are available </a:t>
            </a:r>
            <a:r>
              <a:rPr lang="en-GB" sz="1600" u="sng" dirty="0">
                <a:solidFill>
                  <a:srgbClr val="A100FF"/>
                </a:solidFill>
              </a:rPr>
              <a:t>on </a:t>
            </a:r>
            <a:r>
              <a:rPr lang="en-GB" sz="1600" u="sng" dirty="0">
                <a:solidFill>
                  <a:srgbClr val="A100FF"/>
                </a:solidFill>
                <a:hlinkClick r:id="rId3"/>
              </a:rPr>
              <a:t>Accenture</a:t>
            </a:r>
            <a:r>
              <a:rPr lang="en-GB" sz="1600" u="sng" dirty="0">
                <a:solidFill>
                  <a:srgbClr val="A100FF"/>
                </a:solidFill>
              </a:rPr>
              <a:t> Brand Space</a:t>
            </a:r>
            <a:r>
              <a:rPr lang="en-GB" sz="1600" dirty="0">
                <a:solidFill>
                  <a:srgbClr val="A100FF"/>
                </a:solidFill>
              </a:rPr>
              <a:t>.</a:t>
            </a:r>
            <a:endParaRPr lang="en-GB" sz="1600" dirty="0">
              <a:solidFill>
                <a:srgbClr val="000000"/>
              </a:solidFill>
            </a:endParaRPr>
          </a:p>
          <a:p>
            <a:pPr lvl="0" defTabSz="228600">
              <a:spcAft>
                <a:spcPts val="1200"/>
              </a:spcAft>
              <a:defRPr/>
            </a:pPr>
            <a:r>
              <a:rPr lang="en-GB" sz="1600" dirty="0">
                <a:solidFill>
                  <a:srgbClr val="000000"/>
                </a:solidFill>
              </a:rPr>
              <a:t>Contact </a:t>
            </a:r>
            <a:r>
              <a:rPr lang="en-GB" sz="1600" u="sng" dirty="0">
                <a:solidFill>
                  <a:srgbClr val="A100FF"/>
                </a:solidFill>
                <a:hlinkClick r:id="rId4"/>
              </a:rPr>
              <a:t>brandsupport</a:t>
            </a:r>
            <a:r>
              <a:rPr lang="en-GB" sz="1600" dirty="0">
                <a:solidFill>
                  <a:srgbClr val="A100FF"/>
                </a:solidFill>
                <a:hlinkClick r:id="rId4"/>
              </a:rPr>
              <a:t>@accenture.com</a:t>
            </a:r>
            <a:r>
              <a:rPr lang="en-GB" sz="1600" dirty="0"/>
              <a:t> for more</a:t>
            </a:r>
            <a:r>
              <a:rPr lang="en-GB" sz="1600" dirty="0">
                <a:solidFill>
                  <a:srgbClr val="000000"/>
                </a:solidFill>
              </a:rPr>
              <a:t> info.</a:t>
            </a:r>
            <a:br>
              <a:rPr lang="en-GB" sz="1600" dirty="0">
                <a:solidFill>
                  <a:srgbClr val="000000"/>
                </a:solidFill>
              </a:rPr>
            </a:br>
            <a:endParaRPr lang="en-GB" sz="1600" dirty="0">
              <a:solidFill>
                <a:srgbClr val="000000"/>
              </a:solidFill>
            </a:endParaRPr>
          </a:p>
        </p:txBody>
      </p:sp>
      <p:sp>
        <p:nvSpPr>
          <p:cNvPr id="8" name="TextBox 7">
            <a:extLst>
              <a:ext uri="{FF2B5EF4-FFF2-40B4-BE49-F238E27FC236}">
                <a16:creationId xmlns:a16="http://schemas.microsoft.com/office/drawing/2014/main" id="{4414FBFF-9238-464D-87F1-DA21CC2BA08A}"/>
              </a:ext>
            </a:extLst>
          </p:cNvPr>
          <p:cNvSpPr txBox="1"/>
          <p:nvPr/>
        </p:nvSpPr>
        <p:spPr>
          <a:xfrm>
            <a:off x="380999" y="4768455"/>
            <a:ext cx="5524500" cy="1616504"/>
          </a:xfrm>
          <a:prstGeom prst="rect">
            <a:avLst/>
          </a:prstGeom>
          <a:noFill/>
        </p:spPr>
        <p:txBody>
          <a:bodyPr wrap="square" lIns="0" tIns="0" rIns="0" bIns="0" rtlCol="0">
            <a:noAutofit/>
          </a:bodyPr>
          <a:lstStyle/>
          <a:p>
            <a:pPr defTabSz="228600">
              <a:spcAft>
                <a:spcPts val="1200"/>
              </a:spcAft>
              <a:defRPr/>
            </a:pPr>
            <a:r>
              <a:rPr lang="en-GB" sz="2000" b="1" dirty="0"/>
              <a:t>Use of photography</a:t>
            </a:r>
          </a:p>
          <a:p>
            <a:pPr defTabSz="228600">
              <a:spcAft>
                <a:spcPts val="1200"/>
              </a:spcAft>
              <a:defRPr/>
            </a:pPr>
            <a:r>
              <a:rPr lang="en-GB" sz="1600" dirty="0">
                <a:solidFill>
                  <a:srgbClr val="000000"/>
                </a:solidFill>
              </a:rPr>
              <a:t>Select background photographs from the approved photos in the image library. Choose photos based on relevance to the content being presented.</a:t>
            </a:r>
            <a:endParaRPr lang="en-GB" sz="1600" dirty="0"/>
          </a:p>
        </p:txBody>
      </p:sp>
      <p:sp>
        <p:nvSpPr>
          <p:cNvPr id="15" name="TextBox 14">
            <a:extLst>
              <a:ext uri="{FF2B5EF4-FFF2-40B4-BE49-F238E27FC236}">
                <a16:creationId xmlns:a16="http://schemas.microsoft.com/office/drawing/2014/main" id="{2BA165CA-B56C-4E98-BE21-0C8D498535A4}"/>
              </a:ext>
            </a:extLst>
          </p:cNvPr>
          <p:cNvSpPr txBox="1"/>
          <p:nvPr/>
        </p:nvSpPr>
        <p:spPr>
          <a:xfrm>
            <a:off x="6583804" y="1213954"/>
            <a:ext cx="5319287" cy="3129653"/>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GB" sz="2000" b="1" i="0" u="none" strike="noStrike" kern="1200" cap="none" spc="0" normalizeH="0" baseline="0" noProof="0" dirty="0">
                <a:ln>
                  <a:noFill/>
                </a:ln>
                <a:solidFill>
                  <a:srgbClr val="000000"/>
                </a:solidFill>
                <a:effectLst/>
                <a:uLnTx/>
                <a:uFillTx/>
                <a:ea typeface="+mn-ea"/>
                <a:cs typeface="+mn-cs"/>
              </a:rPr>
              <a:t>PPT tips</a:t>
            </a:r>
          </a:p>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GB" sz="1600" b="1" i="0" u="none" strike="noStrike" kern="1200" cap="none" spc="0" normalizeH="0" baseline="0" noProof="0" dirty="0">
                <a:ln>
                  <a:noFill/>
                </a:ln>
                <a:solidFill>
                  <a:srgbClr val="A100FF"/>
                </a:solidFill>
                <a:effectLst/>
                <a:uLnTx/>
                <a:uFillTx/>
                <a:ea typeface="+mn-ea"/>
                <a:cs typeface="+mn-cs"/>
              </a:rPr>
              <a:t>Guides and grids</a:t>
            </a:r>
            <a:endParaRPr kumimoji="0" lang="en-GB" sz="1600" b="1" i="0" u="none" strike="noStrike" kern="1200" cap="none" spc="0" normalizeH="0" baseline="0" noProof="0" dirty="0">
              <a:ln>
                <a:noFill/>
              </a:ln>
              <a:solidFill>
                <a:srgbClr val="7500C0"/>
              </a:solidFill>
              <a:effectLst/>
              <a:uLnTx/>
              <a:uFillTx/>
              <a:ea typeface="+mn-ea"/>
              <a:cs typeface="+mn-cs"/>
            </a:endParaRPr>
          </a:p>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Make use of Guides set within this template. </a:t>
            </a:r>
            <a:br>
              <a:rPr kumimoji="0" lang="en-GB" sz="1600" b="0" i="0" u="none" strike="noStrike" kern="1200" cap="none" spc="0" normalizeH="0" baseline="0" noProof="0" dirty="0">
                <a:ln>
                  <a:noFill/>
                </a:ln>
                <a:solidFill>
                  <a:srgbClr val="000000"/>
                </a:solidFill>
                <a:effectLst/>
                <a:uLnTx/>
                <a:uFillTx/>
                <a:ea typeface="+mn-ea"/>
                <a:cs typeface="+mn-cs"/>
              </a:rPr>
            </a:br>
            <a:r>
              <a:rPr kumimoji="0" lang="en-GB" sz="1600" b="0" i="0" u="none" strike="noStrike" kern="1200" cap="none" spc="0" normalizeH="0" baseline="0" noProof="0" dirty="0">
                <a:ln>
                  <a:noFill/>
                </a:ln>
                <a:solidFill>
                  <a:srgbClr val="000000"/>
                </a:solidFill>
                <a:effectLst/>
                <a:uLnTx/>
                <a:uFillTx/>
                <a:ea typeface="+mn-ea"/>
                <a:cs typeface="+mn-cs"/>
              </a:rPr>
              <a:t>View &gt; checkmark ‘Guides’.</a:t>
            </a:r>
          </a:p>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GB" sz="1600" b="1" i="0" u="none" strike="noStrike" kern="1200" cap="none" spc="0" normalizeH="0" baseline="0" noProof="0" dirty="0">
                <a:ln>
                  <a:noFill/>
                </a:ln>
                <a:solidFill>
                  <a:srgbClr val="A100FF"/>
                </a:solidFill>
                <a:effectLst/>
                <a:uLnTx/>
                <a:uFillTx/>
                <a:ea typeface="+mn-ea"/>
                <a:cs typeface="+mn-cs"/>
              </a:rPr>
              <a:t>Use indent</a:t>
            </a:r>
            <a:endParaRPr kumimoji="0" lang="en-GB" sz="1600" b="1" i="0" u="none" strike="noStrike" kern="1200" cap="none" spc="0" normalizeH="0" baseline="0" noProof="0" dirty="0">
              <a:ln>
                <a:noFill/>
              </a:ln>
              <a:solidFill>
                <a:srgbClr val="7500C0"/>
              </a:solidFill>
              <a:effectLst/>
              <a:uLnTx/>
              <a:uFillTx/>
              <a:ea typeface="+mn-ea"/>
              <a:cs typeface="+mn-cs"/>
            </a:endParaRPr>
          </a:p>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Use the indent buttons to increase or decrease text formatting levels. </a:t>
            </a:r>
          </a:p>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GB" sz="1600" b="0" i="0" u="none" strike="noStrike" kern="1200" cap="none" spc="0" normalizeH="0" baseline="0" noProof="0" dirty="0">
                <a:ln>
                  <a:noFill/>
                </a:ln>
                <a:solidFill>
                  <a:srgbClr val="000000"/>
                </a:solidFill>
                <a:effectLst/>
                <a:uLnTx/>
                <a:uFillTx/>
                <a:ea typeface="+mn-ea"/>
                <a:cs typeface="+mn-cs"/>
              </a:rPr>
              <a:t>Shortcut: Alt + Shift + (Arrow Right to increase or Arrow Left to decrease).</a:t>
            </a:r>
          </a:p>
        </p:txBody>
      </p:sp>
      <p:sp>
        <p:nvSpPr>
          <p:cNvPr id="10" name="TextBox 9">
            <a:extLst>
              <a:ext uri="{FF2B5EF4-FFF2-40B4-BE49-F238E27FC236}">
                <a16:creationId xmlns:a16="http://schemas.microsoft.com/office/drawing/2014/main" id="{9AE3FCA9-47CB-48A9-B8F4-FD10157A7F65}"/>
              </a:ext>
            </a:extLst>
          </p:cNvPr>
          <p:cNvSpPr txBox="1"/>
          <p:nvPr/>
        </p:nvSpPr>
        <p:spPr>
          <a:xfrm>
            <a:off x="6583804" y="4611792"/>
            <a:ext cx="5253098" cy="1134026"/>
          </a:xfrm>
          <a:prstGeom prst="rect">
            <a:avLst/>
          </a:prstGeom>
          <a:noFill/>
        </p:spPr>
        <p:txBody>
          <a:bodyPr wrap="square" lIns="0" tIns="0" rIns="0" bIns="0" rtlCol="0">
            <a:noAutofit/>
          </a:bodyPr>
          <a:lstStyle/>
          <a:p>
            <a:pPr defTabSz="228600">
              <a:spcAft>
                <a:spcPts val="1200"/>
              </a:spcAft>
              <a:defRPr/>
            </a:pPr>
            <a:r>
              <a:rPr lang="en-GB" sz="1600" b="1" dirty="0">
                <a:solidFill>
                  <a:srgbClr val="A100FF"/>
                </a:solidFill>
              </a:rPr>
              <a:t>Try the Quick Presentation Toolkit</a:t>
            </a:r>
          </a:p>
          <a:p>
            <a:pPr defTabSz="228600">
              <a:spcAft>
                <a:spcPts val="1200"/>
              </a:spcAft>
              <a:defRPr/>
            </a:pPr>
            <a:r>
              <a:rPr lang="en-US" sz="1600" dirty="0"/>
              <a:t>It’s designed to </a:t>
            </a:r>
            <a:r>
              <a:rPr lang="en-US" sz="1600" dirty="0">
                <a:hlinkClick r:id="rId5"/>
              </a:rPr>
              <a:t>help you create powerful PPT presentations</a:t>
            </a:r>
            <a:r>
              <a:rPr lang="en-US" sz="1600" dirty="0"/>
              <a:t> while saving you time and frustration.</a:t>
            </a:r>
            <a:endParaRPr lang="en-GB" sz="1600" dirty="0">
              <a:solidFill>
                <a:srgbClr val="000000"/>
              </a:solidFill>
            </a:endParaRPr>
          </a:p>
        </p:txBody>
      </p:sp>
      <p:sp>
        <p:nvSpPr>
          <p:cNvPr id="2" name="Footer Placeholder 1">
            <a:extLst>
              <a:ext uri="{FF2B5EF4-FFF2-40B4-BE49-F238E27FC236}">
                <a16:creationId xmlns:a16="http://schemas.microsoft.com/office/drawing/2014/main" id="{F3F2E259-8254-4A87-8814-110BCC7B455C}"/>
              </a:ext>
            </a:extLst>
          </p:cNvPr>
          <p:cNvSpPr>
            <a:spLocks noGrp="1"/>
          </p:cNvSpPr>
          <p:nvPr>
            <p:ph type="ftr" sz="quarter" idx="3"/>
          </p:nvPr>
        </p:nvSpPr>
        <p:spPr/>
        <p:txBody>
          <a:bodyPr/>
          <a:lstStyle/>
          <a:p>
            <a:pPr algn="r" defTabSz="228600">
              <a:spcAft>
                <a:spcPts val="1200"/>
              </a:spcAft>
              <a:defRPr/>
            </a:pPr>
            <a:r>
              <a:rPr lang="en-GB" dirty="0"/>
              <a:t>Copyright © 2021 Accenture. All rights reserved.</a:t>
            </a:r>
          </a:p>
        </p:txBody>
      </p:sp>
      <p:sp>
        <p:nvSpPr>
          <p:cNvPr id="3" name="Slide Number Placeholder 2">
            <a:extLst>
              <a:ext uri="{FF2B5EF4-FFF2-40B4-BE49-F238E27FC236}">
                <a16:creationId xmlns:a16="http://schemas.microsoft.com/office/drawing/2014/main" id="{73A94189-672A-4262-8F27-15A75AB67480}"/>
              </a:ext>
            </a:extLst>
          </p:cNvPr>
          <p:cNvSpPr>
            <a:spLocks noGrp="1"/>
          </p:cNvSpPr>
          <p:nvPr>
            <p:ph type="sldNum" sz="quarter" idx="10"/>
          </p:nvPr>
        </p:nvSpPr>
        <p:spPr/>
        <p:txBody>
          <a:bodyPr/>
          <a:lstStyle/>
          <a:p>
            <a:fld id="{1F90F471-3972-4120-B8B3-0237DE626C35}" type="slidenum">
              <a:rPr lang="en-US" smtClean="0"/>
              <a:pPr/>
              <a:t>8</a:t>
            </a:fld>
            <a:endParaRPr lang="en-US" dirty="0"/>
          </a:p>
        </p:txBody>
      </p:sp>
    </p:spTree>
    <p:extLst>
      <p:ext uri="{BB962C8B-B14F-4D97-AF65-F5344CB8AC3E}">
        <p14:creationId xmlns:p14="http://schemas.microsoft.com/office/powerpoint/2010/main" val="280102187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dirty="0"/>
              <a:t>Waterfall Chart 5</a:t>
            </a:r>
          </a:p>
        </p:txBody>
      </p:sp>
      <p:graphicFrame>
        <p:nvGraphicFramePr>
          <p:cNvPr id="7" name="Object 2" descr="Insert short description here">
            <a:extLst>
              <a:ext uri="{FF2B5EF4-FFF2-40B4-BE49-F238E27FC236}">
                <a16:creationId xmlns:a16="http://schemas.microsoft.com/office/drawing/2014/main" id="{8F2EEF0E-51BD-44B3-8BB2-D0B59FE7E015}"/>
              </a:ext>
            </a:extLst>
          </p:cNvPr>
          <p:cNvGraphicFramePr>
            <a:graphicFrameLocks/>
          </p:cNvGraphicFramePr>
          <p:nvPr>
            <p:extLst>
              <p:ext uri="{D42A27DB-BD31-4B8C-83A1-F6EECF244321}">
                <p14:modId xmlns:p14="http://schemas.microsoft.com/office/powerpoint/2010/main" val="997992900"/>
              </p:ext>
            </p:extLst>
          </p:nvPr>
        </p:nvGraphicFramePr>
        <p:xfrm>
          <a:off x="380999" y="804696"/>
          <a:ext cx="11429367" cy="4083638"/>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3">
            <a:extLst>
              <a:ext uri="{FF2B5EF4-FFF2-40B4-BE49-F238E27FC236}">
                <a16:creationId xmlns:a16="http://schemas.microsoft.com/office/drawing/2014/main" id="{B3380075-B428-43F2-B12F-94508680A4CD}"/>
              </a:ext>
            </a:extLst>
          </p:cNvPr>
          <p:cNvSpPr>
            <a:spLocks noChangeArrowheads="1"/>
          </p:cNvSpPr>
          <p:nvPr/>
        </p:nvSpPr>
        <p:spPr bwMode="auto">
          <a:xfrm>
            <a:off x="380999" y="4888333"/>
            <a:ext cx="7697681" cy="1423568"/>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82563" marR="0" lvl="0" indent="-182563"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	Calculate and enter the value corresponding to the area below the column in the row marked "Space"</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	Enter the height of the column in the row marked "Column" row</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3	Add/remove columns and rows as required</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4	Add series lines between the columns manually, if required</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5	To change the height of the columns select Chart Options and turn on the y-axis, then use Format Axis/Scale to set the length of the y-axis (check the “Automatic” button). Once the scale is set, use Chart Options again to remove the y-axis</a:t>
            </a:r>
          </a:p>
        </p:txBody>
      </p:sp>
      <p:sp>
        <p:nvSpPr>
          <p:cNvPr id="5" name="Footer Placeholder 4">
            <a:extLst>
              <a:ext uri="{FF2B5EF4-FFF2-40B4-BE49-F238E27FC236}">
                <a16:creationId xmlns:a16="http://schemas.microsoft.com/office/drawing/2014/main" id="{A31BEC78-BB83-4DB5-836A-219D194B9A2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3F28E924-616D-44A9-9423-835CC2F31122}"/>
              </a:ext>
            </a:extLst>
          </p:cNvPr>
          <p:cNvSpPr>
            <a:spLocks noGrp="1"/>
          </p:cNvSpPr>
          <p:nvPr>
            <p:ph type="sldNum" sz="quarter" idx="10"/>
          </p:nvPr>
        </p:nvSpPr>
        <p:spPr/>
        <p:txBody>
          <a:bodyPr/>
          <a:lstStyle/>
          <a:p>
            <a:fld id="{1F90F471-3972-4120-B8B3-0237DE626C35}" type="slidenum">
              <a:rPr lang="en-US" smtClean="0"/>
              <a:pPr/>
              <a:t>80</a:t>
            </a:fld>
            <a:endParaRPr lang="en-US" dirty="0"/>
          </a:p>
        </p:txBody>
      </p:sp>
    </p:spTree>
    <p:extLst>
      <p:ext uri="{BB962C8B-B14F-4D97-AF65-F5344CB8AC3E}">
        <p14:creationId xmlns:p14="http://schemas.microsoft.com/office/powerpoint/2010/main" val="395056503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dirty="0"/>
              <a:t>Waterfall Chart 6</a:t>
            </a:r>
          </a:p>
        </p:txBody>
      </p:sp>
      <p:graphicFrame>
        <p:nvGraphicFramePr>
          <p:cNvPr id="8" name="Object 2" descr="Insert short description here">
            <a:extLst>
              <a:ext uri="{FF2B5EF4-FFF2-40B4-BE49-F238E27FC236}">
                <a16:creationId xmlns:a16="http://schemas.microsoft.com/office/drawing/2014/main" id="{AF5ADB08-05D6-4413-91A9-C3B78AD70699}"/>
              </a:ext>
            </a:extLst>
          </p:cNvPr>
          <p:cNvGraphicFramePr>
            <a:graphicFrameLocks/>
          </p:cNvGraphicFramePr>
          <p:nvPr>
            <p:extLst>
              <p:ext uri="{D42A27DB-BD31-4B8C-83A1-F6EECF244321}">
                <p14:modId xmlns:p14="http://schemas.microsoft.com/office/powerpoint/2010/main" val="1838332010"/>
              </p:ext>
            </p:extLst>
          </p:nvPr>
        </p:nvGraphicFramePr>
        <p:xfrm>
          <a:off x="380999" y="876300"/>
          <a:ext cx="11429368" cy="3930790"/>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3">
            <a:extLst>
              <a:ext uri="{FF2B5EF4-FFF2-40B4-BE49-F238E27FC236}">
                <a16:creationId xmlns:a16="http://schemas.microsoft.com/office/drawing/2014/main" id="{B3380075-B428-43F2-B12F-94508680A4CD}"/>
              </a:ext>
            </a:extLst>
          </p:cNvPr>
          <p:cNvSpPr>
            <a:spLocks noChangeArrowheads="1"/>
          </p:cNvSpPr>
          <p:nvPr/>
        </p:nvSpPr>
        <p:spPr bwMode="auto">
          <a:xfrm>
            <a:off x="380999" y="4888333"/>
            <a:ext cx="7697681" cy="1423568"/>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82563" marR="0" lvl="0" indent="-182563"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	Calculate and enter the value corresponding to the area below the column in the row marked "Space"</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	Enter the height of the column in the row marked "Column" row</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3	Add/remove columns and rows as required</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4	Add series lines between the columns manually, if required</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5	To change the height of the columns select Chart Options and turn on the y-axis, then use Format Axis/Scale to set the length of the y-axis (check the “Automatic” button). Once the scale is set, use Chart Options again to remove the y-axis</a:t>
            </a:r>
          </a:p>
        </p:txBody>
      </p:sp>
      <p:sp>
        <p:nvSpPr>
          <p:cNvPr id="5" name="Footer Placeholder 4">
            <a:extLst>
              <a:ext uri="{FF2B5EF4-FFF2-40B4-BE49-F238E27FC236}">
                <a16:creationId xmlns:a16="http://schemas.microsoft.com/office/drawing/2014/main" id="{2DAFC853-3BE2-4CB0-A04D-CF9F0D654343}"/>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33F186F3-EF12-43A0-B853-8FB938B8B88B}"/>
              </a:ext>
            </a:extLst>
          </p:cNvPr>
          <p:cNvSpPr>
            <a:spLocks noGrp="1"/>
          </p:cNvSpPr>
          <p:nvPr>
            <p:ph type="sldNum" sz="quarter" idx="10"/>
          </p:nvPr>
        </p:nvSpPr>
        <p:spPr/>
        <p:txBody>
          <a:bodyPr/>
          <a:lstStyle/>
          <a:p>
            <a:fld id="{1F90F471-3972-4120-B8B3-0237DE626C35}" type="slidenum">
              <a:rPr lang="en-US" smtClean="0"/>
              <a:pPr/>
              <a:t>81</a:t>
            </a:fld>
            <a:endParaRPr lang="en-US" dirty="0"/>
          </a:p>
        </p:txBody>
      </p:sp>
    </p:spTree>
    <p:extLst>
      <p:ext uri="{BB962C8B-B14F-4D97-AF65-F5344CB8AC3E}">
        <p14:creationId xmlns:p14="http://schemas.microsoft.com/office/powerpoint/2010/main" val="177268639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dirty="0"/>
              <a:t>Deviation Column Chart</a:t>
            </a:r>
          </a:p>
        </p:txBody>
      </p:sp>
      <p:graphicFrame>
        <p:nvGraphicFramePr>
          <p:cNvPr id="7" name="Object 2" descr="Insert short description here">
            <a:extLst>
              <a:ext uri="{FF2B5EF4-FFF2-40B4-BE49-F238E27FC236}">
                <a16:creationId xmlns:a16="http://schemas.microsoft.com/office/drawing/2014/main" id="{542741D0-935D-48E1-A9A6-079CD8FE9CEC}"/>
              </a:ext>
            </a:extLst>
          </p:cNvPr>
          <p:cNvGraphicFramePr>
            <a:graphicFrameLocks/>
          </p:cNvGraphicFramePr>
          <p:nvPr>
            <p:extLst>
              <p:ext uri="{D42A27DB-BD31-4B8C-83A1-F6EECF244321}">
                <p14:modId xmlns:p14="http://schemas.microsoft.com/office/powerpoint/2010/main" val="129871907"/>
              </p:ext>
            </p:extLst>
          </p:nvPr>
        </p:nvGraphicFramePr>
        <p:xfrm>
          <a:off x="380366" y="1322007"/>
          <a:ext cx="11439206" cy="4079288"/>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3">
            <a:extLst>
              <a:ext uri="{FF2B5EF4-FFF2-40B4-BE49-F238E27FC236}">
                <a16:creationId xmlns:a16="http://schemas.microsoft.com/office/drawing/2014/main" id="{EDBE1DB7-62D4-4EED-97AA-827D6CA71FCF}"/>
              </a:ext>
            </a:extLst>
          </p:cNvPr>
          <p:cNvSpPr>
            <a:spLocks noChangeArrowheads="1"/>
          </p:cNvSpPr>
          <p:nvPr/>
        </p:nvSpPr>
        <p:spPr bwMode="auto">
          <a:xfrm>
            <a:off x="380366" y="5401294"/>
            <a:ext cx="4715417" cy="910607"/>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	Select a data series by clicking with the right mouse button on the bar </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	Choose an overlap in the options menu</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3	Add group names manually</a:t>
            </a:r>
          </a:p>
        </p:txBody>
      </p:sp>
      <p:sp>
        <p:nvSpPr>
          <p:cNvPr id="6" name="Footer Placeholder 5">
            <a:extLst>
              <a:ext uri="{FF2B5EF4-FFF2-40B4-BE49-F238E27FC236}">
                <a16:creationId xmlns:a16="http://schemas.microsoft.com/office/drawing/2014/main" id="{715EF51E-C476-486D-ADF8-F6AD03FF4FCD}"/>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8" name="Slide Number Placeholder 7">
            <a:extLst>
              <a:ext uri="{FF2B5EF4-FFF2-40B4-BE49-F238E27FC236}">
                <a16:creationId xmlns:a16="http://schemas.microsoft.com/office/drawing/2014/main" id="{BFBFDB9B-867B-4AAD-BC17-494896B12567}"/>
              </a:ext>
            </a:extLst>
          </p:cNvPr>
          <p:cNvSpPr>
            <a:spLocks noGrp="1"/>
          </p:cNvSpPr>
          <p:nvPr>
            <p:ph type="sldNum" sz="quarter" idx="10"/>
          </p:nvPr>
        </p:nvSpPr>
        <p:spPr/>
        <p:txBody>
          <a:bodyPr/>
          <a:lstStyle/>
          <a:p>
            <a:fld id="{1F90F471-3972-4120-B8B3-0237DE626C35}" type="slidenum">
              <a:rPr lang="en-US" smtClean="0"/>
              <a:pPr/>
              <a:t>82</a:t>
            </a:fld>
            <a:endParaRPr lang="en-US" dirty="0"/>
          </a:p>
        </p:txBody>
      </p:sp>
    </p:spTree>
    <p:extLst>
      <p:ext uri="{BB962C8B-B14F-4D97-AF65-F5344CB8AC3E}">
        <p14:creationId xmlns:p14="http://schemas.microsoft.com/office/powerpoint/2010/main" val="403330897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dirty="0"/>
              <a:t>Range Column Chart</a:t>
            </a:r>
          </a:p>
        </p:txBody>
      </p:sp>
      <p:graphicFrame>
        <p:nvGraphicFramePr>
          <p:cNvPr id="7" name="Object 2" descr="Insert short description here">
            <a:extLst>
              <a:ext uri="{FF2B5EF4-FFF2-40B4-BE49-F238E27FC236}">
                <a16:creationId xmlns:a16="http://schemas.microsoft.com/office/drawing/2014/main" id="{FE3DDCA8-1629-46A1-83B2-C3770B911FD5}"/>
              </a:ext>
            </a:extLst>
          </p:cNvPr>
          <p:cNvGraphicFramePr>
            <a:graphicFrameLocks/>
          </p:cNvGraphicFramePr>
          <p:nvPr>
            <p:extLst>
              <p:ext uri="{D42A27DB-BD31-4B8C-83A1-F6EECF244321}">
                <p14:modId xmlns:p14="http://schemas.microsoft.com/office/powerpoint/2010/main" val="3462168462"/>
              </p:ext>
            </p:extLst>
          </p:nvPr>
        </p:nvGraphicFramePr>
        <p:xfrm>
          <a:off x="380366" y="1185854"/>
          <a:ext cx="11439206" cy="4055219"/>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3">
            <a:extLst>
              <a:ext uri="{FF2B5EF4-FFF2-40B4-BE49-F238E27FC236}">
                <a16:creationId xmlns:a16="http://schemas.microsoft.com/office/drawing/2014/main" id="{EDBE1DB7-62D4-4EED-97AA-827D6CA71FCF}"/>
              </a:ext>
            </a:extLst>
          </p:cNvPr>
          <p:cNvSpPr>
            <a:spLocks noChangeArrowheads="1"/>
          </p:cNvSpPr>
          <p:nvPr/>
        </p:nvSpPr>
        <p:spPr bwMode="auto">
          <a:xfrm>
            <a:off x="380366" y="5584473"/>
            <a:ext cx="5452263" cy="731070"/>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	Enter the number for the space between the x-axis and the bar in the “Space“ row</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	Enter the height of the bar in the “Group 2“ row</a:t>
            </a:r>
          </a:p>
        </p:txBody>
      </p:sp>
      <p:sp>
        <p:nvSpPr>
          <p:cNvPr id="6" name="Footer Placeholder 5">
            <a:extLst>
              <a:ext uri="{FF2B5EF4-FFF2-40B4-BE49-F238E27FC236}">
                <a16:creationId xmlns:a16="http://schemas.microsoft.com/office/drawing/2014/main" id="{B94CAA90-5A8F-4950-A2E7-96703FFD0778}"/>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8" name="Slide Number Placeholder 7">
            <a:extLst>
              <a:ext uri="{FF2B5EF4-FFF2-40B4-BE49-F238E27FC236}">
                <a16:creationId xmlns:a16="http://schemas.microsoft.com/office/drawing/2014/main" id="{1A2F981E-EA03-4BEF-9977-D7B8ECB55072}"/>
              </a:ext>
            </a:extLst>
          </p:cNvPr>
          <p:cNvSpPr>
            <a:spLocks noGrp="1"/>
          </p:cNvSpPr>
          <p:nvPr>
            <p:ph type="sldNum" sz="quarter" idx="10"/>
          </p:nvPr>
        </p:nvSpPr>
        <p:spPr/>
        <p:txBody>
          <a:bodyPr/>
          <a:lstStyle/>
          <a:p>
            <a:fld id="{1F90F471-3972-4120-B8B3-0237DE626C35}" type="slidenum">
              <a:rPr lang="en-US" smtClean="0"/>
              <a:pPr/>
              <a:t>83</a:t>
            </a:fld>
            <a:endParaRPr lang="en-US" dirty="0"/>
          </a:p>
        </p:txBody>
      </p:sp>
    </p:spTree>
    <p:extLst>
      <p:ext uri="{BB962C8B-B14F-4D97-AF65-F5344CB8AC3E}">
        <p14:creationId xmlns:p14="http://schemas.microsoft.com/office/powerpoint/2010/main" val="235194857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dirty="0"/>
              <a:t>Grouped Column Chart 1</a:t>
            </a:r>
          </a:p>
        </p:txBody>
      </p:sp>
      <p:graphicFrame>
        <p:nvGraphicFramePr>
          <p:cNvPr id="8" name="Object 2" descr="Insert short description here">
            <a:extLst>
              <a:ext uri="{FF2B5EF4-FFF2-40B4-BE49-F238E27FC236}">
                <a16:creationId xmlns:a16="http://schemas.microsoft.com/office/drawing/2014/main" id="{F758EF74-07D5-4751-B73F-FF745D0D7A23}"/>
              </a:ext>
            </a:extLst>
          </p:cNvPr>
          <p:cNvGraphicFramePr>
            <a:graphicFrameLocks noGrp="1"/>
          </p:cNvGraphicFramePr>
          <p:nvPr>
            <p:ph sz="quarter" idx="4294967295"/>
            <p:extLst>
              <p:ext uri="{D42A27DB-BD31-4B8C-83A1-F6EECF244321}">
                <p14:modId xmlns:p14="http://schemas.microsoft.com/office/powerpoint/2010/main" val="1682389414"/>
              </p:ext>
            </p:extLst>
          </p:nvPr>
        </p:nvGraphicFramePr>
        <p:xfrm>
          <a:off x="384048" y="1371600"/>
          <a:ext cx="11430000" cy="4940300"/>
        </p:xfrm>
        <a:graphic>
          <a:graphicData uri="http://schemas.openxmlformats.org/drawingml/2006/chart">
            <c:chart xmlns:c="http://schemas.openxmlformats.org/drawingml/2006/chart" xmlns:r="http://schemas.openxmlformats.org/officeDocument/2006/relationships" r:id="rId3"/>
          </a:graphicData>
        </a:graphic>
      </p:graphicFrame>
      <p:sp>
        <p:nvSpPr>
          <p:cNvPr id="5" name="Footer Placeholder 4">
            <a:extLst>
              <a:ext uri="{FF2B5EF4-FFF2-40B4-BE49-F238E27FC236}">
                <a16:creationId xmlns:a16="http://schemas.microsoft.com/office/drawing/2014/main" id="{A6A2FAFA-CD0B-408F-AD6E-CA6806FD5BD9}"/>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513C8D8D-FE69-4926-B0E1-DA81736C9AA0}"/>
              </a:ext>
            </a:extLst>
          </p:cNvPr>
          <p:cNvSpPr>
            <a:spLocks noGrp="1"/>
          </p:cNvSpPr>
          <p:nvPr>
            <p:ph type="sldNum" sz="quarter" idx="10"/>
          </p:nvPr>
        </p:nvSpPr>
        <p:spPr/>
        <p:txBody>
          <a:bodyPr/>
          <a:lstStyle/>
          <a:p>
            <a:fld id="{1F90F471-3972-4120-B8B3-0237DE626C35}" type="slidenum">
              <a:rPr lang="en-US" smtClean="0"/>
              <a:pPr/>
              <a:t>84</a:t>
            </a:fld>
            <a:endParaRPr lang="en-US" dirty="0"/>
          </a:p>
        </p:txBody>
      </p:sp>
    </p:spTree>
    <p:extLst>
      <p:ext uri="{BB962C8B-B14F-4D97-AF65-F5344CB8AC3E}">
        <p14:creationId xmlns:p14="http://schemas.microsoft.com/office/powerpoint/2010/main" val="286444446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0FAFA-ABA5-46D7-84D7-180D7D989AB1}"/>
              </a:ext>
            </a:extLst>
          </p:cNvPr>
          <p:cNvSpPr>
            <a:spLocks noGrp="1"/>
          </p:cNvSpPr>
          <p:nvPr>
            <p:ph type="title"/>
          </p:nvPr>
        </p:nvSpPr>
        <p:spPr/>
        <p:txBody>
          <a:bodyPr/>
          <a:lstStyle/>
          <a:p>
            <a:r>
              <a:rPr lang="en-US" dirty="0"/>
              <a:t>Grouped Column Chart 2</a:t>
            </a:r>
          </a:p>
        </p:txBody>
      </p:sp>
      <p:graphicFrame>
        <p:nvGraphicFramePr>
          <p:cNvPr id="9" name="Object 2" descr="Insert short description here">
            <a:extLst>
              <a:ext uri="{FF2B5EF4-FFF2-40B4-BE49-F238E27FC236}">
                <a16:creationId xmlns:a16="http://schemas.microsoft.com/office/drawing/2014/main" id="{DA303A66-A6F9-449F-A133-57D48001CFB9}"/>
              </a:ext>
            </a:extLst>
          </p:cNvPr>
          <p:cNvGraphicFramePr>
            <a:graphicFrameLocks noGrp="1"/>
          </p:cNvGraphicFramePr>
          <p:nvPr>
            <p:ph sz="quarter" idx="4294967295"/>
            <p:extLst>
              <p:ext uri="{D42A27DB-BD31-4B8C-83A1-F6EECF244321}">
                <p14:modId xmlns:p14="http://schemas.microsoft.com/office/powerpoint/2010/main" val="118968486"/>
              </p:ext>
            </p:extLst>
          </p:nvPr>
        </p:nvGraphicFramePr>
        <p:xfrm>
          <a:off x="384048" y="1371600"/>
          <a:ext cx="11430000" cy="3970338"/>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3">
            <a:extLst>
              <a:ext uri="{FF2B5EF4-FFF2-40B4-BE49-F238E27FC236}">
                <a16:creationId xmlns:a16="http://schemas.microsoft.com/office/drawing/2014/main" id="{BDD3CE14-6B07-4AED-9FC9-8B4E462E155E}"/>
              </a:ext>
            </a:extLst>
          </p:cNvPr>
          <p:cNvSpPr>
            <a:spLocks noChangeArrowheads="1"/>
          </p:cNvSpPr>
          <p:nvPr/>
        </p:nvSpPr>
        <p:spPr bwMode="auto">
          <a:xfrm>
            <a:off x="381000" y="5580830"/>
            <a:ext cx="4647393" cy="731070"/>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	Select a data series by clicking with the right mouse button on the bar. </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	Choose an overlap in the options menu</a:t>
            </a:r>
          </a:p>
        </p:txBody>
      </p:sp>
      <p:sp>
        <p:nvSpPr>
          <p:cNvPr id="4" name="Footer Placeholder 3">
            <a:extLst>
              <a:ext uri="{FF2B5EF4-FFF2-40B4-BE49-F238E27FC236}">
                <a16:creationId xmlns:a16="http://schemas.microsoft.com/office/drawing/2014/main" id="{95D000BB-C278-49BA-B4D0-08558A2A1C56}"/>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61A23F2B-0A4F-46FD-9E7D-9E5555C328D4}"/>
              </a:ext>
            </a:extLst>
          </p:cNvPr>
          <p:cNvSpPr>
            <a:spLocks noGrp="1"/>
          </p:cNvSpPr>
          <p:nvPr>
            <p:ph type="sldNum" sz="quarter" idx="10"/>
          </p:nvPr>
        </p:nvSpPr>
        <p:spPr/>
        <p:txBody>
          <a:bodyPr/>
          <a:lstStyle/>
          <a:p>
            <a:fld id="{1F90F471-3972-4120-B8B3-0237DE626C35}" type="slidenum">
              <a:rPr lang="en-US" smtClean="0"/>
              <a:pPr/>
              <a:t>85</a:t>
            </a:fld>
            <a:endParaRPr lang="en-US" dirty="0"/>
          </a:p>
        </p:txBody>
      </p:sp>
    </p:spTree>
    <p:extLst>
      <p:ext uri="{BB962C8B-B14F-4D97-AF65-F5344CB8AC3E}">
        <p14:creationId xmlns:p14="http://schemas.microsoft.com/office/powerpoint/2010/main" val="404286994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4DB6CE-34AC-48BD-A35C-EF5C9E368147}"/>
              </a:ext>
            </a:extLst>
          </p:cNvPr>
          <p:cNvSpPr>
            <a:spLocks noGrp="1"/>
          </p:cNvSpPr>
          <p:nvPr>
            <p:ph type="title"/>
          </p:nvPr>
        </p:nvSpPr>
        <p:spPr/>
        <p:txBody>
          <a:bodyPr/>
          <a:lstStyle/>
          <a:p>
            <a:r>
              <a:rPr lang="en-US" dirty="0"/>
              <a:t>Sub-divided Column Chart</a:t>
            </a:r>
          </a:p>
        </p:txBody>
      </p:sp>
      <p:graphicFrame>
        <p:nvGraphicFramePr>
          <p:cNvPr id="9" name="Object 2" descr="Insert short description here">
            <a:extLst>
              <a:ext uri="{FF2B5EF4-FFF2-40B4-BE49-F238E27FC236}">
                <a16:creationId xmlns:a16="http://schemas.microsoft.com/office/drawing/2014/main" id="{4D457ED5-1120-4BAE-AF53-DBB50FCE0E9F}"/>
              </a:ext>
            </a:extLst>
          </p:cNvPr>
          <p:cNvGraphicFramePr>
            <a:graphicFrameLocks/>
          </p:cNvGraphicFramePr>
          <p:nvPr>
            <p:extLst>
              <p:ext uri="{D42A27DB-BD31-4B8C-83A1-F6EECF244321}">
                <p14:modId xmlns:p14="http://schemas.microsoft.com/office/powerpoint/2010/main" val="2253481075"/>
              </p:ext>
            </p:extLst>
          </p:nvPr>
        </p:nvGraphicFramePr>
        <p:xfrm>
          <a:off x="344488" y="804695"/>
          <a:ext cx="11510962" cy="429418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Box 3">
            <a:extLst>
              <a:ext uri="{FF2B5EF4-FFF2-40B4-BE49-F238E27FC236}">
                <a16:creationId xmlns:a16="http://schemas.microsoft.com/office/drawing/2014/main" id="{12E9A503-E060-47A0-AC17-1C5D1F0857E3}"/>
              </a:ext>
            </a:extLst>
          </p:cNvPr>
          <p:cNvSpPr txBox="1">
            <a:spLocks noChangeArrowheads="1"/>
          </p:cNvSpPr>
          <p:nvPr/>
        </p:nvSpPr>
        <p:spPr bwMode="auto">
          <a:xfrm>
            <a:off x="341856" y="3705783"/>
            <a:ext cx="1990706" cy="247775"/>
          </a:xfrm>
          <a:prstGeom prst="rect">
            <a:avLst/>
          </a:prstGeom>
          <a:noFill/>
          <a:ln w="9525">
            <a:noFill/>
            <a:miter lim="800000"/>
            <a:headEnd/>
            <a:tailEnd/>
          </a:ln>
        </p:spPr>
        <p:txBody>
          <a:bodyPr wrap="square" lIns="27432" tIns="32004" rIns="0" bIns="0" anchor="t" upright="1">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rtl="0">
              <a:defRPr sz="1000"/>
            </a:pPr>
            <a:r>
              <a:rPr lang="de-DE" sz="1400" b="1" i="0" u="none" strike="noStrike" cap="all" baseline="0" dirty="0">
                <a:solidFill>
                  <a:schemeClr val="accent5"/>
                </a:solidFill>
                <a:latin typeface="+mj-lt"/>
                <a:cs typeface="Arial"/>
              </a:rPr>
              <a:t>Group 2</a:t>
            </a:r>
          </a:p>
        </p:txBody>
      </p:sp>
      <p:sp>
        <p:nvSpPr>
          <p:cNvPr id="4" name="Text Box 2">
            <a:extLst>
              <a:ext uri="{FF2B5EF4-FFF2-40B4-BE49-F238E27FC236}">
                <a16:creationId xmlns:a16="http://schemas.microsoft.com/office/drawing/2014/main" id="{74A6F253-5B45-4523-ADA1-C4553D209637}"/>
              </a:ext>
            </a:extLst>
          </p:cNvPr>
          <p:cNvSpPr txBox="1">
            <a:spLocks noChangeArrowheads="1"/>
          </p:cNvSpPr>
          <p:nvPr/>
        </p:nvSpPr>
        <p:spPr bwMode="auto">
          <a:xfrm>
            <a:off x="341856" y="4178402"/>
            <a:ext cx="1371646" cy="247775"/>
          </a:xfrm>
          <a:prstGeom prst="rect">
            <a:avLst/>
          </a:prstGeom>
          <a:noFill/>
          <a:ln w="9525">
            <a:noFill/>
            <a:miter lim="800000"/>
            <a:headEnd/>
            <a:tailEnd/>
          </a:ln>
        </p:spPr>
        <p:txBody>
          <a:bodyPr wrap="square" lIns="27432" tIns="32004" rIns="0" bIns="0" anchor="t" upright="1">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rtl="0">
              <a:defRPr sz="1000"/>
            </a:pPr>
            <a:r>
              <a:rPr lang="de-DE" sz="1400" b="1" i="0" u="none" strike="noStrike" cap="all" baseline="0" dirty="0">
                <a:solidFill>
                  <a:schemeClr val="accent1"/>
                </a:solidFill>
                <a:latin typeface="+mj-lt"/>
                <a:cs typeface="Arial"/>
              </a:rPr>
              <a:t>Group 1</a:t>
            </a:r>
          </a:p>
        </p:txBody>
      </p:sp>
      <p:sp>
        <p:nvSpPr>
          <p:cNvPr id="19" name="Rectangle 3">
            <a:extLst>
              <a:ext uri="{FF2B5EF4-FFF2-40B4-BE49-F238E27FC236}">
                <a16:creationId xmlns:a16="http://schemas.microsoft.com/office/drawing/2014/main" id="{5E929D27-A05C-427C-A2B1-C96FF11B38CA}"/>
              </a:ext>
            </a:extLst>
          </p:cNvPr>
          <p:cNvSpPr>
            <a:spLocks noChangeArrowheads="1"/>
          </p:cNvSpPr>
          <p:nvPr/>
        </p:nvSpPr>
        <p:spPr bwMode="auto">
          <a:xfrm>
            <a:off x="381001" y="5067870"/>
            <a:ext cx="7159774" cy="1244031"/>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	Calculate the total and enter it in the "Sum" row (which is a transparent ba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	Bottom align the total value (which is a transparent ba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3	Edit group names manually </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4	To change the height of the columns select Chart Options and turn on the y-axis, then use Format Axis/Scale to set the length of the y-axis. Once the scale is set, use Chart Options again to remove the y-axis </a:t>
            </a:r>
          </a:p>
        </p:txBody>
      </p:sp>
      <p:sp>
        <p:nvSpPr>
          <p:cNvPr id="6" name="Footer Placeholder 5">
            <a:extLst>
              <a:ext uri="{FF2B5EF4-FFF2-40B4-BE49-F238E27FC236}">
                <a16:creationId xmlns:a16="http://schemas.microsoft.com/office/drawing/2014/main" id="{5FDFDB5C-9E46-462F-B6D6-26FA6353F63F}"/>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7" name="Slide Number Placeholder 6">
            <a:extLst>
              <a:ext uri="{FF2B5EF4-FFF2-40B4-BE49-F238E27FC236}">
                <a16:creationId xmlns:a16="http://schemas.microsoft.com/office/drawing/2014/main" id="{ABC0FFD9-4981-4DF2-8C33-7BC7E076A512}"/>
              </a:ext>
            </a:extLst>
          </p:cNvPr>
          <p:cNvSpPr>
            <a:spLocks noGrp="1"/>
          </p:cNvSpPr>
          <p:nvPr>
            <p:ph type="sldNum" sz="quarter" idx="10"/>
          </p:nvPr>
        </p:nvSpPr>
        <p:spPr/>
        <p:txBody>
          <a:bodyPr/>
          <a:lstStyle/>
          <a:p>
            <a:fld id="{1F90F471-3972-4120-B8B3-0237DE626C35}" type="slidenum">
              <a:rPr lang="en-US" smtClean="0"/>
              <a:pPr/>
              <a:t>86</a:t>
            </a:fld>
            <a:endParaRPr lang="en-US" dirty="0"/>
          </a:p>
        </p:txBody>
      </p:sp>
    </p:spTree>
    <p:extLst>
      <p:ext uri="{BB962C8B-B14F-4D97-AF65-F5344CB8AC3E}">
        <p14:creationId xmlns:p14="http://schemas.microsoft.com/office/powerpoint/2010/main" val="260581134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4DB6CE-34AC-48BD-A35C-EF5C9E368147}"/>
              </a:ext>
            </a:extLst>
          </p:cNvPr>
          <p:cNvSpPr>
            <a:spLocks noGrp="1"/>
          </p:cNvSpPr>
          <p:nvPr>
            <p:ph type="title"/>
          </p:nvPr>
        </p:nvSpPr>
        <p:spPr/>
        <p:txBody>
          <a:bodyPr/>
          <a:lstStyle/>
          <a:p>
            <a:r>
              <a:rPr lang="en-US" dirty="0"/>
              <a:t>Sub-divided 100% Column Chart</a:t>
            </a:r>
          </a:p>
        </p:txBody>
      </p:sp>
      <p:graphicFrame>
        <p:nvGraphicFramePr>
          <p:cNvPr id="11" name="Object 2" descr="Insert short description here">
            <a:extLst>
              <a:ext uri="{FF2B5EF4-FFF2-40B4-BE49-F238E27FC236}">
                <a16:creationId xmlns:a16="http://schemas.microsoft.com/office/drawing/2014/main" id="{ABFA2473-EC9E-4919-A950-56E301617FAA}"/>
              </a:ext>
            </a:extLst>
          </p:cNvPr>
          <p:cNvGraphicFramePr>
            <a:graphicFrameLocks/>
          </p:cNvGraphicFramePr>
          <p:nvPr>
            <p:extLst>
              <p:ext uri="{D42A27DB-BD31-4B8C-83A1-F6EECF244321}">
                <p14:modId xmlns:p14="http://schemas.microsoft.com/office/powerpoint/2010/main" val="3350116046"/>
              </p:ext>
            </p:extLst>
          </p:nvPr>
        </p:nvGraphicFramePr>
        <p:xfrm>
          <a:off x="380999" y="1163980"/>
          <a:ext cx="11429367" cy="4294187"/>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3">
            <a:extLst>
              <a:ext uri="{FF2B5EF4-FFF2-40B4-BE49-F238E27FC236}">
                <a16:creationId xmlns:a16="http://schemas.microsoft.com/office/drawing/2014/main" id="{9873FB1E-3383-44A3-9E94-1F20BF75BEE6}"/>
              </a:ext>
            </a:extLst>
          </p:cNvPr>
          <p:cNvSpPr>
            <a:spLocks noChangeArrowheads="1"/>
          </p:cNvSpPr>
          <p:nvPr/>
        </p:nvSpPr>
        <p:spPr bwMode="auto">
          <a:xfrm>
            <a:off x="380999" y="5580831"/>
            <a:ext cx="3732993" cy="731070"/>
          </a:xfrm>
          <a:prstGeom prst="rect">
            <a:avLst/>
          </a:prstGeom>
          <a:solidFill>
            <a:schemeClr val="bg1">
              <a:lumMod val="95000"/>
            </a:schemeClr>
          </a:solidFill>
          <a:ln w="3175">
            <a:noFill/>
            <a:miter lim="800000"/>
            <a:headEnd/>
            <a:tailEnd/>
          </a:ln>
          <a:effectLst/>
        </p:spPr>
        <p:txBody>
          <a:bodyPr wrap="square" lIns="108000" tIns="108000" rIns="72000" bIns="108000" anchor="b">
            <a:spAutoFit/>
          </a:bodyPr>
          <a:lstStyle/>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ea typeface="+mn-ea"/>
                <a:cs typeface="+mn-cs"/>
              </a:rPr>
              <a:t>1	Select Format Series Lines to add/remove trend lines</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ea typeface="+mn-ea"/>
                <a:cs typeface="+mn-cs"/>
              </a:rPr>
              <a:t>2	Edit Group names manually </a:t>
            </a:r>
          </a:p>
        </p:txBody>
      </p:sp>
      <p:sp>
        <p:nvSpPr>
          <p:cNvPr id="6" name="Footer Placeholder 5">
            <a:extLst>
              <a:ext uri="{FF2B5EF4-FFF2-40B4-BE49-F238E27FC236}">
                <a16:creationId xmlns:a16="http://schemas.microsoft.com/office/drawing/2014/main" id="{9722D384-A7AF-4895-BC15-8651F817BD3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7" name="Slide Number Placeholder 6">
            <a:extLst>
              <a:ext uri="{FF2B5EF4-FFF2-40B4-BE49-F238E27FC236}">
                <a16:creationId xmlns:a16="http://schemas.microsoft.com/office/drawing/2014/main" id="{0070287B-2506-4452-B214-594B45F8B96E}"/>
              </a:ext>
            </a:extLst>
          </p:cNvPr>
          <p:cNvSpPr>
            <a:spLocks noGrp="1"/>
          </p:cNvSpPr>
          <p:nvPr>
            <p:ph type="sldNum" sz="quarter" idx="10"/>
          </p:nvPr>
        </p:nvSpPr>
        <p:spPr/>
        <p:txBody>
          <a:bodyPr/>
          <a:lstStyle/>
          <a:p>
            <a:fld id="{1F90F471-3972-4120-B8B3-0237DE626C35}" type="slidenum">
              <a:rPr lang="en-US" smtClean="0"/>
              <a:pPr/>
              <a:t>87</a:t>
            </a:fld>
            <a:endParaRPr lang="en-US" dirty="0"/>
          </a:p>
        </p:txBody>
      </p:sp>
    </p:spTree>
    <p:extLst>
      <p:ext uri="{BB962C8B-B14F-4D97-AF65-F5344CB8AC3E}">
        <p14:creationId xmlns:p14="http://schemas.microsoft.com/office/powerpoint/2010/main" val="73020770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8595B-01BD-41D3-908A-E5B0548E3D4E}"/>
              </a:ext>
            </a:extLst>
          </p:cNvPr>
          <p:cNvSpPr>
            <a:spLocks noGrp="1"/>
          </p:cNvSpPr>
          <p:nvPr>
            <p:ph type="title"/>
          </p:nvPr>
        </p:nvSpPr>
        <p:spPr/>
        <p:txBody>
          <a:bodyPr/>
          <a:lstStyle/>
          <a:p>
            <a:r>
              <a:rPr lang="en-US" dirty="0"/>
              <a:t>Step-column Chart</a:t>
            </a:r>
          </a:p>
        </p:txBody>
      </p:sp>
      <p:graphicFrame>
        <p:nvGraphicFramePr>
          <p:cNvPr id="10" name="Object 2" descr="Insert short description here">
            <a:extLst>
              <a:ext uri="{FF2B5EF4-FFF2-40B4-BE49-F238E27FC236}">
                <a16:creationId xmlns:a16="http://schemas.microsoft.com/office/drawing/2014/main" id="{A7F4EC8C-B7EA-4EC7-AE0E-0BCBE4818495}"/>
              </a:ext>
            </a:extLst>
          </p:cNvPr>
          <p:cNvGraphicFramePr>
            <a:graphicFrameLocks noGrp="1"/>
          </p:cNvGraphicFramePr>
          <p:nvPr>
            <p:ph sz="quarter" idx="4294967295"/>
            <p:extLst>
              <p:ext uri="{D42A27DB-BD31-4B8C-83A1-F6EECF244321}">
                <p14:modId xmlns:p14="http://schemas.microsoft.com/office/powerpoint/2010/main" val="3020829144"/>
              </p:ext>
            </p:extLst>
          </p:nvPr>
        </p:nvGraphicFramePr>
        <p:xfrm>
          <a:off x="384048" y="1371600"/>
          <a:ext cx="11430000" cy="3790950"/>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3">
            <a:extLst>
              <a:ext uri="{FF2B5EF4-FFF2-40B4-BE49-F238E27FC236}">
                <a16:creationId xmlns:a16="http://schemas.microsoft.com/office/drawing/2014/main" id="{0C63C576-DEF1-428C-A75A-09CAC3E7E542}"/>
              </a:ext>
            </a:extLst>
          </p:cNvPr>
          <p:cNvSpPr>
            <a:spLocks noChangeArrowheads="1"/>
          </p:cNvSpPr>
          <p:nvPr/>
        </p:nvSpPr>
        <p:spPr bwMode="auto">
          <a:xfrm>
            <a:off x="381000" y="5401293"/>
            <a:ext cx="4449219" cy="910607"/>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ea typeface="+mn-ea"/>
                <a:cs typeface="+mn-cs"/>
              </a:rPr>
              <a:t>1	Insert columns as required (each will adopt a different color)</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ea typeface="+mn-ea"/>
                <a:cs typeface="+mn-cs"/>
              </a:rPr>
              <a:t>2	Double-click on a bar to change the color</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ea typeface="+mn-ea"/>
                <a:cs typeface="+mn-cs"/>
              </a:rPr>
              <a:t>3	Drag data values outside the columns manually</a:t>
            </a:r>
          </a:p>
        </p:txBody>
      </p:sp>
      <p:sp>
        <p:nvSpPr>
          <p:cNvPr id="4" name="Footer Placeholder 3">
            <a:extLst>
              <a:ext uri="{FF2B5EF4-FFF2-40B4-BE49-F238E27FC236}">
                <a16:creationId xmlns:a16="http://schemas.microsoft.com/office/drawing/2014/main" id="{64C5B130-BBB9-42F3-A42C-348DC66A2A4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095D49F9-B67C-4BEA-B800-B8913055F475}"/>
              </a:ext>
            </a:extLst>
          </p:cNvPr>
          <p:cNvSpPr>
            <a:spLocks noGrp="1"/>
          </p:cNvSpPr>
          <p:nvPr>
            <p:ph type="sldNum" sz="quarter" idx="10"/>
          </p:nvPr>
        </p:nvSpPr>
        <p:spPr/>
        <p:txBody>
          <a:bodyPr/>
          <a:lstStyle/>
          <a:p>
            <a:fld id="{1F90F471-3972-4120-B8B3-0237DE626C35}" type="slidenum">
              <a:rPr lang="en-US" smtClean="0"/>
              <a:pPr/>
              <a:t>88</a:t>
            </a:fld>
            <a:endParaRPr lang="en-US" dirty="0"/>
          </a:p>
        </p:txBody>
      </p:sp>
    </p:spTree>
    <p:extLst>
      <p:ext uri="{BB962C8B-B14F-4D97-AF65-F5344CB8AC3E}">
        <p14:creationId xmlns:p14="http://schemas.microsoft.com/office/powerpoint/2010/main" val="81549260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8595B-01BD-41D3-908A-E5B0548E3D4E}"/>
              </a:ext>
            </a:extLst>
          </p:cNvPr>
          <p:cNvSpPr>
            <a:spLocks noGrp="1"/>
          </p:cNvSpPr>
          <p:nvPr>
            <p:ph type="title"/>
          </p:nvPr>
        </p:nvSpPr>
        <p:spPr/>
        <p:txBody>
          <a:bodyPr/>
          <a:lstStyle/>
          <a:p>
            <a:r>
              <a:rPr lang="en-US" dirty="0"/>
              <a:t>Combination Column-line Chart 1</a:t>
            </a:r>
          </a:p>
        </p:txBody>
      </p:sp>
      <p:graphicFrame>
        <p:nvGraphicFramePr>
          <p:cNvPr id="8" name="Object 2" descr="Insert short description here">
            <a:extLst>
              <a:ext uri="{FF2B5EF4-FFF2-40B4-BE49-F238E27FC236}">
                <a16:creationId xmlns:a16="http://schemas.microsoft.com/office/drawing/2014/main" id="{B588B281-06AB-47F7-B770-A493B6C61595}"/>
              </a:ext>
            </a:extLst>
          </p:cNvPr>
          <p:cNvGraphicFramePr>
            <a:graphicFrameLocks/>
          </p:cNvGraphicFramePr>
          <p:nvPr>
            <p:extLst>
              <p:ext uri="{D42A27DB-BD31-4B8C-83A1-F6EECF244321}">
                <p14:modId xmlns:p14="http://schemas.microsoft.com/office/powerpoint/2010/main" val="1618564238"/>
              </p:ext>
            </p:extLst>
          </p:nvPr>
        </p:nvGraphicFramePr>
        <p:xfrm>
          <a:off x="379414" y="1070517"/>
          <a:ext cx="11431586" cy="4208114"/>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3">
            <a:extLst>
              <a:ext uri="{FF2B5EF4-FFF2-40B4-BE49-F238E27FC236}">
                <a16:creationId xmlns:a16="http://schemas.microsoft.com/office/drawing/2014/main" id="{0C63C576-DEF1-428C-A75A-09CAC3E7E542}"/>
              </a:ext>
            </a:extLst>
          </p:cNvPr>
          <p:cNvSpPr>
            <a:spLocks noChangeArrowheads="1"/>
          </p:cNvSpPr>
          <p:nvPr/>
        </p:nvSpPr>
        <p:spPr bwMode="auto">
          <a:xfrm>
            <a:off x="381000" y="5401293"/>
            <a:ext cx="4449219" cy="910607"/>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ea typeface="+mn-ea"/>
                <a:cs typeface="+mn-cs"/>
              </a:rPr>
              <a:t>1	Insert columns as required </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ea typeface="+mn-ea"/>
                <a:cs typeface="+mn-cs"/>
              </a:rPr>
              <a:t>2	Double-click on a bar to change the color</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ea typeface="+mn-ea"/>
                <a:cs typeface="+mn-cs"/>
              </a:rPr>
              <a:t>3	Drag data values outside the columns manually</a:t>
            </a:r>
          </a:p>
        </p:txBody>
      </p:sp>
      <p:sp>
        <p:nvSpPr>
          <p:cNvPr id="4" name="Footer Placeholder 3">
            <a:extLst>
              <a:ext uri="{FF2B5EF4-FFF2-40B4-BE49-F238E27FC236}">
                <a16:creationId xmlns:a16="http://schemas.microsoft.com/office/drawing/2014/main" id="{EAE2CCF1-3CF9-4D05-B0EE-BEEB9BAE0024}"/>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F07C4C22-81CC-466F-95C3-345942E7153D}"/>
              </a:ext>
            </a:extLst>
          </p:cNvPr>
          <p:cNvSpPr>
            <a:spLocks noGrp="1"/>
          </p:cNvSpPr>
          <p:nvPr>
            <p:ph type="sldNum" sz="quarter" idx="10"/>
          </p:nvPr>
        </p:nvSpPr>
        <p:spPr/>
        <p:txBody>
          <a:bodyPr/>
          <a:lstStyle/>
          <a:p>
            <a:fld id="{1F90F471-3972-4120-B8B3-0237DE626C35}" type="slidenum">
              <a:rPr lang="en-US" smtClean="0"/>
              <a:pPr/>
              <a:t>89</a:t>
            </a:fld>
            <a:endParaRPr lang="en-US" dirty="0"/>
          </a:p>
        </p:txBody>
      </p:sp>
    </p:spTree>
    <p:extLst>
      <p:ext uri="{BB962C8B-B14F-4D97-AF65-F5344CB8AC3E}">
        <p14:creationId xmlns:p14="http://schemas.microsoft.com/office/powerpoint/2010/main" val="6325614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3D6C8-9CCC-4805-A96C-27DBD53930A8}"/>
              </a:ext>
            </a:extLst>
          </p:cNvPr>
          <p:cNvSpPr>
            <a:spLocks noGrp="1"/>
          </p:cNvSpPr>
          <p:nvPr>
            <p:ph type="title"/>
          </p:nvPr>
        </p:nvSpPr>
        <p:spPr/>
        <p:txBody>
          <a:bodyPr/>
          <a:lstStyle/>
          <a:p>
            <a:r>
              <a:rPr lang="en-GB" dirty="0"/>
              <a:t>How to make your story impactful</a:t>
            </a:r>
            <a:endParaRPr lang="en-US" dirty="0"/>
          </a:p>
        </p:txBody>
      </p:sp>
      <p:graphicFrame>
        <p:nvGraphicFramePr>
          <p:cNvPr id="20" name="Table 5">
            <a:extLst>
              <a:ext uri="{FF2B5EF4-FFF2-40B4-BE49-F238E27FC236}">
                <a16:creationId xmlns:a16="http://schemas.microsoft.com/office/drawing/2014/main" id="{9D50F607-731D-41D4-AC18-FC292870DF7E}"/>
              </a:ext>
            </a:extLst>
          </p:cNvPr>
          <p:cNvGraphicFramePr>
            <a:graphicFrameLocks noGrp="1"/>
          </p:cNvGraphicFramePr>
          <p:nvPr>
            <p:ph sz="quarter" idx="10"/>
            <p:extLst>
              <p:ext uri="{D42A27DB-BD31-4B8C-83A1-F6EECF244321}">
                <p14:modId xmlns:p14="http://schemas.microsoft.com/office/powerpoint/2010/main" val="668968674"/>
              </p:ext>
            </p:extLst>
          </p:nvPr>
        </p:nvGraphicFramePr>
        <p:xfrm>
          <a:off x="381000" y="1188720"/>
          <a:ext cx="11430000" cy="5120640"/>
        </p:xfrm>
        <a:graphic>
          <a:graphicData uri="http://schemas.openxmlformats.org/drawingml/2006/table">
            <a:tbl>
              <a:tblPr firstRow="1" bandRow="1">
                <a:tableStyleId>{5C22544A-7EE6-4342-B048-85BDC9FD1C3A}</a:tableStyleId>
              </a:tblPr>
              <a:tblGrid>
                <a:gridCol w="2286000">
                  <a:extLst>
                    <a:ext uri="{9D8B030D-6E8A-4147-A177-3AD203B41FA5}">
                      <a16:colId xmlns:a16="http://schemas.microsoft.com/office/drawing/2014/main" val="1108249107"/>
                    </a:ext>
                  </a:extLst>
                </a:gridCol>
                <a:gridCol w="2286000">
                  <a:extLst>
                    <a:ext uri="{9D8B030D-6E8A-4147-A177-3AD203B41FA5}">
                      <a16:colId xmlns:a16="http://schemas.microsoft.com/office/drawing/2014/main" val="2621126524"/>
                    </a:ext>
                  </a:extLst>
                </a:gridCol>
                <a:gridCol w="2286000">
                  <a:extLst>
                    <a:ext uri="{9D8B030D-6E8A-4147-A177-3AD203B41FA5}">
                      <a16:colId xmlns:a16="http://schemas.microsoft.com/office/drawing/2014/main" val="1457146041"/>
                    </a:ext>
                  </a:extLst>
                </a:gridCol>
                <a:gridCol w="2286000">
                  <a:extLst>
                    <a:ext uri="{9D8B030D-6E8A-4147-A177-3AD203B41FA5}">
                      <a16:colId xmlns:a16="http://schemas.microsoft.com/office/drawing/2014/main" val="3203017935"/>
                    </a:ext>
                  </a:extLst>
                </a:gridCol>
                <a:gridCol w="2286000">
                  <a:extLst>
                    <a:ext uri="{9D8B030D-6E8A-4147-A177-3AD203B41FA5}">
                      <a16:colId xmlns:a16="http://schemas.microsoft.com/office/drawing/2014/main" val="56535499"/>
                    </a:ext>
                  </a:extLst>
                </a:gridCol>
              </a:tblGrid>
              <a:tr h="2560320">
                <a:tc>
                  <a:txBody>
                    <a:bodyPr/>
                    <a:lstStyle/>
                    <a:p>
                      <a:pPr marL="0" lvl="0" indent="0" algn="l" defTabSz="914400" rtl="0" eaLnBrk="1" latinLnBrk="0" hangingPunct="1">
                        <a:lnSpc>
                          <a:spcPct val="100000"/>
                        </a:lnSpc>
                        <a:spcAft>
                          <a:spcPts val="600"/>
                        </a:spcAft>
                        <a:buFont typeface="+mj-lt"/>
                        <a:buNone/>
                      </a:pPr>
                      <a:r>
                        <a:rPr lang="en-US" sz="1400" b="1" i="0" kern="1200" noProof="0" dirty="0">
                          <a:solidFill>
                            <a:schemeClr val="accent1"/>
                          </a:solidFill>
                          <a:effectLst/>
                          <a:latin typeface="+mn-lt"/>
                          <a:ea typeface="+mn-ea"/>
                          <a:cs typeface="+mn-cs"/>
                        </a:rPr>
                        <a:t>1.</a:t>
                      </a:r>
                      <a:endParaRPr lang="en-US" sz="1800" b="1" i="0" kern="1200" noProof="0" dirty="0">
                        <a:solidFill>
                          <a:schemeClr val="accent1"/>
                        </a:solidFill>
                        <a:effectLst/>
                        <a:latin typeface="+mn-lt"/>
                        <a:ea typeface="+mn-ea"/>
                        <a:cs typeface="+mn-cs"/>
                      </a:endParaRPr>
                    </a:p>
                    <a:p>
                      <a:pPr marL="0" lvl="0" indent="0" algn="l" defTabSz="914400" rtl="0" eaLnBrk="1" latinLnBrk="0" hangingPunct="1">
                        <a:lnSpc>
                          <a:spcPct val="80000"/>
                        </a:lnSpc>
                        <a:spcAft>
                          <a:spcPts val="600"/>
                        </a:spcAft>
                        <a:buFont typeface="+mj-lt"/>
                        <a:buNone/>
                      </a:pPr>
                      <a:r>
                        <a:rPr lang="en-US" sz="2400" b="1" i="0" kern="1200" noProof="0" dirty="0">
                          <a:solidFill>
                            <a:schemeClr val="tx1"/>
                          </a:solidFill>
                          <a:effectLst/>
                          <a:latin typeface="+mj-lt"/>
                          <a:ea typeface="+mn-ea"/>
                          <a:cs typeface="+mn-cs"/>
                        </a:rPr>
                        <a:t>Get to </a:t>
                      </a:r>
                      <a:br>
                        <a:rPr lang="en-US" sz="2400" b="1" i="0" kern="1200" noProof="0" dirty="0">
                          <a:solidFill>
                            <a:schemeClr val="tx1"/>
                          </a:solidFill>
                          <a:effectLst/>
                          <a:latin typeface="+mj-lt"/>
                          <a:ea typeface="+mn-ea"/>
                          <a:cs typeface="+mn-cs"/>
                        </a:rPr>
                      </a:br>
                      <a:r>
                        <a:rPr lang="en-US" sz="2400" b="1" i="0" kern="1200" noProof="0" dirty="0">
                          <a:solidFill>
                            <a:schemeClr val="tx1"/>
                          </a:solidFill>
                          <a:effectLst/>
                          <a:latin typeface="+mj-lt"/>
                          <a:ea typeface="+mn-ea"/>
                          <a:cs typeface="+mn-cs"/>
                        </a:rPr>
                        <a:t>the point </a:t>
                      </a:r>
                    </a:p>
                    <a:p>
                      <a:pPr marL="0" lvl="0" indent="0" algn="l" defTabSz="914400" rtl="0" eaLnBrk="1" latinLnBrk="0" hangingPunct="1">
                        <a:spcAft>
                          <a:spcPts val="1200"/>
                        </a:spcAft>
                        <a:buFont typeface="+mj-lt"/>
                        <a:buNone/>
                      </a:pPr>
                      <a:r>
                        <a:rPr lang="en-US" sz="1300" b="0" i="0" kern="1200" noProof="0" dirty="0">
                          <a:solidFill>
                            <a:schemeClr val="tx1"/>
                          </a:solidFill>
                          <a:effectLst/>
                          <a:latin typeface="+mn-lt"/>
                          <a:ea typeface="+mn-ea"/>
                          <a:cs typeface="+mn-cs"/>
                        </a:rPr>
                        <a:t>Put benefits front and center with a minimum of distraction. </a:t>
                      </a:r>
                    </a:p>
                  </a:txBody>
                  <a:tcPr marR="45720" marT="9144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400" b="1" i="0" kern="1200" noProof="0" dirty="0">
                          <a:solidFill>
                            <a:schemeClr val="accent1"/>
                          </a:solidFill>
                          <a:effectLst/>
                          <a:latin typeface="+mn-lt"/>
                          <a:ea typeface="+mn-ea"/>
                          <a:cs typeface="+mn-cs"/>
                        </a:rPr>
                        <a:t>2.</a:t>
                      </a:r>
                    </a:p>
                    <a:p>
                      <a:pPr marL="0" lvl="0" indent="0" algn="l" defTabSz="914400" rtl="0" eaLnBrk="1" latinLnBrk="0" hangingPunct="1">
                        <a:lnSpc>
                          <a:spcPct val="80000"/>
                        </a:lnSpc>
                        <a:spcAft>
                          <a:spcPts val="600"/>
                        </a:spcAft>
                        <a:buFont typeface="+mj-lt"/>
                        <a:buNone/>
                      </a:pPr>
                      <a:r>
                        <a:rPr lang="en-US" sz="2400" b="1" i="0" kern="1200" dirty="0">
                          <a:solidFill>
                            <a:schemeClr val="tx1"/>
                          </a:solidFill>
                          <a:effectLst/>
                          <a:latin typeface="+mj-lt"/>
                          <a:ea typeface="+mn-ea"/>
                          <a:cs typeface="+mn-cs"/>
                        </a:rPr>
                        <a:t>Speak </a:t>
                      </a:r>
                      <a:br>
                        <a:rPr lang="en-US" sz="2400" b="1" i="0" kern="1200" dirty="0">
                          <a:solidFill>
                            <a:schemeClr val="tx1"/>
                          </a:solidFill>
                          <a:effectLst/>
                          <a:latin typeface="+mj-lt"/>
                          <a:ea typeface="+mn-ea"/>
                          <a:cs typeface="+mn-cs"/>
                        </a:rPr>
                      </a:br>
                      <a:r>
                        <a:rPr lang="en-US" sz="2400" b="1" i="0" kern="1200" dirty="0">
                          <a:solidFill>
                            <a:schemeClr val="tx1"/>
                          </a:solidFill>
                          <a:effectLst/>
                          <a:latin typeface="+mj-lt"/>
                          <a:ea typeface="+mn-ea"/>
                          <a:cs typeface="+mn-cs"/>
                        </a:rPr>
                        <a:t>human </a:t>
                      </a:r>
                    </a:p>
                    <a:p>
                      <a:pPr marL="0" lvl="0" indent="0" algn="l" defTabSz="914400" rtl="0" eaLnBrk="1" latinLnBrk="0" hangingPunct="1">
                        <a:spcAft>
                          <a:spcPts val="1200"/>
                        </a:spcAft>
                        <a:buFont typeface="+mj-lt"/>
                        <a:buNone/>
                      </a:pPr>
                      <a:r>
                        <a:rPr lang="en-US" sz="1300" b="0" i="0" kern="1200" dirty="0">
                          <a:solidFill>
                            <a:schemeClr val="tx1"/>
                          </a:solidFill>
                          <a:effectLst/>
                          <a:latin typeface="+mn-lt"/>
                          <a:ea typeface="+mn-ea"/>
                          <a:cs typeface="+mn-cs"/>
                        </a:rPr>
                        <a:t>People are what matter most to us. Emotions are powerful things. Use them. </a:t>
                      </a:r>
                    </a:p>
                  </a:txBody>
                  <a:tcPr marR="45720" marT="9144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lvl="0" indent="0" algn="l" defTabSz="914400" rtl="0" eaLnBrk="1" latinLnBrk="0" hangingPunct="1">
                        <a:lnSpc>
                          <a:spcPct val="100000"/>
                        </a:lnSpc>
                        <a:spcAft>
                          <a:spcPts val="600"/>
                        </a:spcAft>
                        <a:buFont typeface="+mj-lt"/>
                        <a:buNone/>
                      </a:pPr>
                      <a:r>
                        <a:rPr lang="en-US" sz="1400" b="1" i="0" kern="1200" noProof="0" dirty="0">
                          <a:solidFill>
                            <a:schemeClr val="accent1"/>
                          </a:solidFill>
                          <a:effectLst/>
                          <a:latin typeface="+mn-lt"/>
                          <a:ea typeface="+mn-ea"/>
                          <a:cs typeface="+mn-cs"/>
                        </a:rPr>
                        <a:t>3.</a:t>
                      </a:r>
                      <a:endParaRPr lang="en-US" sz="1800" b="1" i="0" kern="1200" noProof="0" dirty="0">
                        <a:solidFill>
                          <a:schemeClr val="accent1"/>
                        </a:solidFill>
                        <a:effectLst/>
                        <a:latin typeface="+mn-lt"/>
                        <a:ea typeface="+mn-ea"/>
                        <a:cs typeface="+mn-cs"/>
                      </a:endParaRPr>
                    </a:p>
                    <a:p>
                      <a:pPr marL="0" lvl="0" indent="0" algn="l" defTabSz="914400" rtl="0" eaLnBrk="1" latinLnBrk="0" hangingPunct="1">
                        <a:lnSpc>
                          <a:spcPct val="80000"/>
                        </a:lnSpc>
                        <a:spcAft>
                          <a:spcPts val="600"/>
                        </a:spcAft>
                        <a:buFont typeface="+mj-lt"/>
                        <a:buNone/>
                      </a:pPr>
                      <a:r>
                        <a:rPr lang="en-US" sz="2400" b="1" i="0" kern="1200" noProof="0" dirty="0">
                          <a:solidFill>
                            <a:schemeClr val="tx1"/>
                          </a:solidFill>
                          <a:effectLst/>
                          <a:latin typeface="+mj-lt"/>
                          <a:ea typeface="+mn-ea"/>
                          <a:cs typeface="+mn-cs"/>
                        </a:rPr>
                        <a:t>Make it </a:t>
                      </a:r>
                      <a:br>
                        <a:rPr lang="en-US" sz="2400" b="1" i="0" kern="1200" noProof="0" dirty="0">
                          <a:solidFill>
                            <a:schemeClr val="tx1"/>
                          </a:solidFill>
                          <a:effectLst/>
                          <a:latin typeface="+mj-lt"/>
                          <a:ea typeface="+mn-ea"/>
                          <a:cs typeface="+mn-cs"/>
                        </a:rPr>
                      </a:br>
                      <a:r>
                        <a:rPr lang="en-US" sz="2400" b="1" i="0" kern="1200" noProof="0" dirty="0">
                          <a:solidFill>
                            <a:schemeClr val="tx1"/>
                          </a:solidFill>
                          <a:effectLst/>
                          <a:latin typeface="+mj-lt"/>
                          <a:ea typeface="+mn-ea"/>
                          <a:cs typeface="+mn-cs"/>
                        </a:rPr>
                        <a:t>visual</a:t>
                      </a:r>
                    </a:p>
                    <a:p>
                      <a:pPr marL="0" lvl="0" indent="0" algn="l" defTabSz="914400" rtl="0" eaLnBrk="1" latinLnBrk="0" hangingPunct="1">
                        <a:spcAft>
                          <a:spcPts val="1200"/>
                        </a:spcAft>
                        <a:buFont typeface="+mj-lt"/>
                        <a:buNone/>
                      </a:pPr>
                      <a:r>
                        <a:rPr lang="en-GB" sz="1300" b="0" i="0" kern="1200" noProof="0" dirty="0">
                          <a:solidFill>
                            <a:schemeClr val="tx1"/>
                          </a:solidFill>
                          <a:effectLst/>
                          <a:latin typeface="+mn-lt"/>
                          <a:ea typeface="+mn-ea"/>
                          <a:cs typeface="+mn-cs"/>
                        </a:rPr>
                        <a:t>Try to replace text with large images or numbers when possible. The majority of your slides’ content (at least 60%) should be visual. Your audience can read. </a:t>
                      </a:r>
                    </a:p>
                  </a:txBody>
                  <a:tcPr marR="45720" marT="9144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400" b="1" i="0" kern="1200" noProof="0" dirty="0">
                          <a:solidFill>
                            <a:schemeClr val="accent1"/>
                          </a:solidFill>
                          <a:effectLst/>
                          <a:latin typeface="+mn-lt"/>
                          <a:ea typeface="+mn-ea"/>
                          <a:cs typeface="+mn-cs"/>
                        </a:rPr>
                        <a:t>4.</a:t>
                      </a:r>
                    </a:p>
                    <a:p>
                      <a:pPr marL="0" lvl="0" indent="0" algn="l" defTabSz="914400" rtl="0" eaLnBrk="1" latinLnBrk="0" hangingPunct="1">
                        <a:lnSpc>
                          <a:spcPct val="80000"/>
                        </a:lnSpc>
                        <a:spcAft>
                          <a:spcPts val="600"/>
                        </a:spcAft>
                        <a:buFont typeface="+mj-lt"/>
                        <a:buNone/>
                      </a:pPr>
                      <a:r>
                        <a:rPr lang="en-US" sz="2400" b="1" i="0" kern="1200" dirty="0">
                          <a:solidFill>
                            <a:schemeClr val="tx1"/>
                          </a:solidFill>
                          <a:effectLst/>
                          <a:latin typeface="+mj-lt"/>
                          <a:ea typeface="+mn-ea"/>
                          <a:cs typeface="+mn-cs"/>
                        </a:rPr>
                        <a:t>Kill your darlings</a:t>
                      </a:r>
                    </a:p>
                    <a:p>
                      <a:pPr marL="0" lvl="0" indent="0" algn="l" defTabSz="914400" rtl="0" eaLnBrk="1" latinLnBrk="0" hangingPunct="1">
                        <a:spcAft>
                          <a:spcPts val="1200"/>
                        </a:spcAft>
                        <a:buFont typeface="+mj-lt"/>
                        <a:buNone/>
                      </a:pPr>
                      <a:r>
                        <a:rPr lang="en-GB" sz="1300" b="0" i="0" kern="1200" dirty="0">
                          <a:solidFill>
                            <a:schemeClr val="tx1"/>
                          </a:solidFill>
                          <a:effectLst/>
                          <a:latin typeface="+mn-lt"/>
                          <a:ea typeface="+mn-ea"/>
                          <a:cs typeface="+mn-cs"/>
                        </a:rPr>
                        <a:t>You may have a personal </a:t>
                      </a:r>
                      <a:r>
                        <a:rPr lang="en-GB" sz="1300" b="0" i="0" kern="1200" dirty="0" err="1">
                          <a:solidFill>
                            <a:schemeClr val="tx1"/>
                          </a:solidFill>
                          <a:effectLst/>
                          <a:latin typeface="+mn-lt"/>
                          <a:ea typeface="+mn-ea"/>
                          <a:cs typeface="+mn-cs"/>
                        </a:rPr>
                        <a:t>favorite</a:t>
                      </a:r>
                      <a:r>
                        <a:rPr lang="en-GB" sz="1300" b="0" i="0" kern="1200" dirty="0">
                          <a:solidFill>
                            <a:schemeClr val="tx1"/>
                          </a:solidFill>
                          <a:effectLst/>
                          <a:latin typeface="+mn-lt"/>
                          <a:ea typeface="+mn-ea"/>
                          <a:cs typeface="+mn-cs"/>
                        </a:rPr>
                        <a:t> that you spent hours refining. But if that slide doesn’t advance the narrative or offer important new information, lose it. </a:t>
                      </a:r>
                    </a:p>
                  </a:txBody>
                  <a:tcPr marR="45720" marT="9144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lvl="0" indent="0" algn="l" defTabSz="914400" rtl="0" eaLnBrk="1" latinLnBrk="0" hangingPunct="1">
                        <a:lnSpc>
                          <a:spcPct val="100000"/>
                        </a:lnSpc>
                        <a:spcAft>
                          <a:spcPts val="600"/>
                        </a:spcAft>
                        <a:buFont typeface="+mj-lt"/>
                        <a:buNone/>
                      </a:pPr>
                      <a:r>
                        <a:rPr lang="en-US" sz="1400" b="1" i="0" kern="1200" noProof="0" dirty="0">
                          <a:solidFill>
                            <a:schemeClr val="accent1"/>
                          </a:solidFill>
                          <a:effectLst/>
                          <a:latin typeface="+mn-lt"/>
                          <a:ea typeface="+mn-ea"/>
                          <a:cs typeface="+mn-cs"/>
                        </a:rPr>
                        <a:t>5.</a:t>
                      </a:r>
                      <a:endParaRPr lang="en-US" sz="1800" b="1" i="0" kern="1200" noProof="0" dirty="0">
                        <a:solidFill>
                          <a:schemeClr val="accent1"/>
                        </a:solidFill>
                        <a:effectLst/>
                        <a:latin typeface="+mn-lt"/>
                        <a:ea typeface="+mn-ea"/>
                        <a:cs typeface="+mn-cs"/>
                      </a:endParaRPr>
                    </a:p>
                    <a:p>
                      <a:pPr marL="0" lvl="0" indent="0" algn="l" defTabSz="914400" rtl="0" eaLnBrk="1" latinLnBrk="0" hangingPunct="1">
                        <a:lnSpc>
                          <a:spcPct val="80000"/>
                        </a:lnSpc>
                        <a:spcAft>
                          <a:spcPts val="600"/>
                        </a:spcAft>
                        <a:buFont typeface="+mj-lt"/>
                        <a:buNone/>
                      </a:pPr>
                      <a:r>
                        <a:rPr lang="en-US" sz="2400" b="1" i="0" kern="1200" noProof="0" dirty="0">
                          <a:solidFill>
                            <a:schemeClr val="tx1"/>
                          </a:solidFill>
                          <a:effectLst/>
                          <a:latin typeface="+mj-lt"/>
                          <a:ea typeface="+mn-ea"/>
                          <a:cs typeface="+mn-cs"/>
                        </a:rPr>
                        <a:t>Don’t bury the lede</a:t>
                      </a:r>
                    </a:p>
                    <a:p>
                      <a:pPr marL="0" lvl="0" indent="0" algn="l" defTabSz="914400" rtl="0" eaLnBrk="1" latinLnBrk="0" hangingPunct="1">
                        <a:spcAft>
                          <a:spcPts val="1200"/>
                        </a:spcAft>
                        <a:buFont typeface="+mj-lt"/>
                        <a:buNone/>
                      </a:pPr>
                      <a:r>
                        <a:rPr lang="en-US" sz="1300" b="0" i="0" kern="1200" dirty="0">
                          <a:solidFill>
                            <a:schemeClr val="tx1"/>
                          </a:solidFill>
                          <a:effectLst/>
                          <a:latin typeface="+mn-lt"/>
                          <a:ea typeface="+mn-ea"/>
                          <a:cs typeface="+mn-cs"/>
                        </a:rPr>
                        <a:t>It’s a golden rule of journalism, and it holds true here, too.</a:t>
                      </a:r>
                    </a:p>
                  </a:txBody>
                  <a:tcPr marR="45720" marT="9144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559299103"/>
                  </a:ext>
                </a:extLst>
              </a:tr>
              <a:tr h="2560320">
                <a:tc>
                  <a:txBody>
                    <a:bodyPr/>
                    <a:lstStyle/>
                    <a:p>
                      <a:pPr marL="0" lvl="0" indent="0" algn="l" defTabSz="914400" rtl="0" eaLnBrk="1" latinLnBrk="0" hangingPunct="1">
                        <a:lnSpc>
                          <a:spcPct val="100000"/>
                        </a:lnSpc>
                        <a:spcAft>
                          <a:spcPts val="600"/>
                        </a:spcAft>
                        <a:buFont typeface="+mj-lt"/>
                        <a:buNone/>
                      </a:pPr>
                      <a:r>
                        <a:rPr lang="en-US" sz="1400" b="1" i="0" kern="1200" noProof="0" dirty="0">
                          <a:solidFill>
                            <a:schemeClr val="accent1"/>
                          </a:solidFill>
                          <a:effectLst/>
                          <a:latin typeface="+mn-lt"/>
                          <a:ea typeface="+mn-ea"/>
                          <a:cs typeface="+mn-cs"/>
                        </a:rPr>
                        <a:t>6.</a:t>
                      </a:r>
                      <a:endParaRPr lang="en-US" sz="1800" b="1" i="0" kern="1200" noProof="0" dirty="0">
                        <a:solidFill>
                          <a:schemeClr val="accent1"/>
                        </a:solidFill>
                        <a:effectLst/>
                        <a:latin typeface="+mn-lt"/>
                        <a:ea typeface="+mn-ea"/>
                        <a:cs typeface="+mn-cs"/>
                      </a:endParaRPr>
                    </a:p>
                    <a:p>
                      <a:pPr marL="0" lvl="0" indent="0" algn="l" defTabSz="914400" rtl="0" eaLnBrk="1" latinLnBrk="0" hangingPunct="1">
                        <a:lnSpc>
                          <a:spcPct val="80000"/>
                        </a:lnSpc>
                        <a:spcAft>
                          <a:spcPts val="600"/>
                        </a:spcAft>
                        <a:buFont typeface="+mj-lt"/>
                        <a:buNone/>
                      </a:pPr>
                      <a:r>
                        <a:rPr lang="en-US" sz="2400" b="1" i="0" kern="1200" noProof="0" dirty="0">
                          <a:solidFill>
                            <a:schemeClr val="tx1"/>
                          </a:solidFill>
                          <a:effectLst/>
                          <a:latin typeface="+mj-lt"/>
                          <a:ea typeface="+mn-ea"/>
                          <a:cs typeface="+mn-cs"/>
                        </a:rPr>
                        <a:t>Be provocative</a:t>
                      </a:r>
                    </a:p>
                    <a:p>
                      <a:pPr marL="0" lvl="0" indent="0" algn="l" defTabSz="914400" rtl="0" eaLnBrk="1" latinLnBrk="0" hangingPunct="1">
                        <a:spcAft>
                          <a:spcPts val="1200"/>
                        </a:spcAft>
                        <a:buFont typeface="+mj-lt"/>
                        <a:buNone/>
                      </a:pPr>
                      <a:r>
                        <a:rPr lang="en-US" sz="1300" b="0" i="0" kern="1200" dirty="0">
                          <a:solidFill>
                            <a:schemeClr val="tx1"/>
                          </a:solidFill>
                          <a:effectLst/>
                          <a:latin typeface="+mn-lt"/>
                          <a:ea typeface="+mn-ea"/>
                          <a:cs typeface="+mn-cs"/>
                        </a:rPr>
                        <a:t>Don’t be afraid to explore emotions and thoughts in the service of your idea.</a:t>
                      </a:r>
                    </a:p>
                  </a:txBody>
                  <a:tcPr marR="45720" marT="9144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400" b="1" i="0" kern="1200" noProof="0" dirty="0">
                          <a:solidFill>
                            <a:schemeClr val="accent1"/>
                          </a:solidFill>
                          <a:effectLst/>
                          <a:latin typeface="+mn-lt"/>
                          <a:ea typeface="+mn-ea"/>
                          <a:cs typeface="+mn-cs"/>
                        </a:rPr>
                        <a:t>7.</a:t>
                      </a:r>
                    </a:p>
                    <a:p>
                      <a:pPr marL="0" lvl="0" indent="0" algn="l" defTabSz="914400" rtl="0" eaLnBrk="1" latinLnBrk="0" hangingPunct="1">
                        <a:lnSpc>
                          <a:spcPct val="80000"/>
                        </a:lnSpc>
                        <a:spcAft>
                          <a:spcPts val="600"/>
                        </a:spcAft>
                        <a:buFont typeface="+mj-lt"/>
                        <a:buNone/>
                      </a:pPr>
                      <a:r>
                        <a:rPr lang="en-US" sz="2400" b="1" i="0" kern="1200" dirty="0">
                          <a:solidFill>
                            <a:schemeClr val="tx1"/>
                          </a:solidFill>
                          <a:effectLst/>
                          <a:latin typeface="+mj-lt"/>
                          <a:ea typeface="+mn-ea"/>
                          <a:cs typeface="+mn-cs"/>
                        </a:rPr>
                        <a:t>Use visual chapters</a:t>
                      </a:r>
                    </a:p>
                    <a:p>
                      <a:pPr marL="0" lvl="0" indent="0" algn="l" defTabSz="914400" rtl="0" eaLnBrk="1" latinLnBrk="0" hangingPunct="1">
                        <a:spcAft>
                          <a:spcPts val="1200"/>
                        </a:spcAft>
                        <a:buFont typeface="+mj-lt"/>
                        <a:buNone/>
                      </a:pPr>
                      <a:r>
                        <a:rPr lang="en-US" sz="1300" b="0" i="0" kern="1200" dirty="0">
                          <a:solidFill>
                            <a:schemeClr val="tx1"/>
                          </a:solidFill>
                          <a:effectLst/>
                          <a:latin typeface="+mn-lt"/>
                          <a:ea typeface="+mn-ea"/>
                          <a:cs typeface="+mn-cs"/>
                        </a:rPr>
                        <a:t>Doing the same thing page after page is a recipe for boredom. Mix it up. Give eyes and attention spans a break by sprinkling in bold thematic imagery.</a:t>
                      </a:r>
                    </a:p>
                  </a:txBody>
                  <a:tcPr marR="45720" marT="9144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lvl="0" indent="0" algn="l" defTabSz="914400" rtl="0" eaLnBrk="1" latinLnBrk="0" hangingPunct="1">
                        <a:lnSpc>
                          <a:spcPct val="100000"/>
                        </a:lnSpc>
                        <a:spcAft>
                          <a:spcPts val="600"/>
                        </a:spcAft>
                        <a:buFont typeface="+mj-lt"/>
                        <a:buNone/>
                      </a:pPr>
                      <a:r>
                        <a:rPr lang="en-US" sz="1400" b="1" i="0" kern="1200" noProof="0" dirty="0">
                          <a:solidFill>
                            <a:schemeClr val="accent1"/>
                          </a:solidFill>
                          <a:effectLst/>
                          <a:latin typeface="+mn-lt"/>
                          <a:ea typeface="+mn-ea"/>
                          <a:cs typeface="+mn-cs"/>
                        </a:rPr>
                        <a:t>8.</a:t>
                      </a:r>
                      <a:endParaRPr lang="en-US" sz="1800" b="1" i="0" kern="1200" noProof="0" dirty="0">
                        <a:solidFill>
                          <a:schemeClr val="accent1"/>
                        </a:solidFill>
                        <a:effectLst/>
                        <a:latin typeface="+mn-lt"/>
                        <a:ea typeface="+mn-ea"/>
                        <a:cs typeface="+mn-cs"/>
                      </a:endParaRPr>
                    </a:p>
                    <a:p>
                      <a:pPr marL="0" lvl="0" indent="0" algn="l" defTabSz="914400" rtl="0" eaLnBrk="1" latinLnBrk="0" hangingPunct="1">
                        <a:lnSpc>
                          <a:spcPct val="80000"/>
                        </a:lnSpc>
                        <a:spcAft>
                          <a:spcPts val="600"/>
                        </a:spcAft>
                        <a:buFont typeface="+mj-lt"/>
                        <a:buNone/>
                      </a:pPr>
                      <a:r>
                        <a:rPr lang="en-US" sz="2400" b="1" i="0" kern="1200" noProof="0" dirty="0">
                          <a:solidFill>
                            <a:schemeClr val="tx1"/>
                          </a:solidFill>
                          <a:effectLst/>
                          <a:latin typeface="+mj-lt"/>
                          <a:ea typeface="+mn-ea"/>
                          <a:cs typeface="+mn-cs"/>
                        </a:rPr>
                        <a:t>Be </a:t>
                      </a:r>
                      <a:br>
                        <a:rPr lang="en-US" sz="2400" b="1" i="0" kern="1200" noProof="0" dirty="0">
                          <a:solidFill>
                            <a:schemeClr val="tx1"/>
                          </a:solidFill>
                          <a:effectLst/>
                          <a:latin typeface="+mj-lt"/>
                          <a:ea typeface="+mn-ea"/>
                          <a:cs typeface="+mn-cs"/>
                        </a:rPr>
                      </a:br>
                      <a:r>
                        <a:rPr lang="en-US" sz="2400" b="1" i="0" kern="1200" noProof="0" dirty="0">
                          <a:solidFill>
                            <a:schemeClr val="tx1"/>
                          </a:solidFill>
                          <a:effectLst/>
                          <a:latin typeface="+mj-lt"/>
                          <a:ea typeface="+mn-ea"/>
                          <a:cs typeface="+mn-cs"/>
                        </a:rPr>
                        <a:t>concise</a:t>
                      </a:r>
                    </a:p>
                    <a:p>
                      <a:pPr marL="0" lvl="0" indent="0" algn="l" defTabSz="914400" rtl="0" eaLnBrk="1" latinLnBrk="0" hangingPunct="1">
                        <a:spcAft>
                          <a:spcPts val="1200"/>
                        </a:spcAft>
                        <a:buFont typeface="+mj-lt"/>
                        <a:buNone/>
                      </a:pPr>
                      <a:r>
                        <a:rPr lang="en-US" sz="1300" b="0" i="0" kern="1200" dirty="0">
                          <a:solidFill>
                            <a:schemeClr val="tx1"/>
                          </a:solidFill>
                          <a:effectLst/>
                          <a:latin typeface="+mn-lt"/>
                          <a:ea typeface="+mn-ea"/>
                          <a:cs typeface="+mn-cs"/>
                        </a:rPr>
                        <a:t>Use 20 words or less. Ruthlessly edit yourself. Minimum text; maximum impact. </a:t>
                      </a:r>
                    </a:p>
                  </a:txBody>
                  <a:tcPr marR="45720" marT="9144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400" b="1" i="0" kern="1200" noProof="0" dirty="0">
                          <a:solidFill>
                            <a:schemeClr val="accent1"/>
                          </a:solidFill>
                          <a:effectLst/>
                          <a:latin typeface="+mn-lt"/>
                          <a:ea typeface="+mn-ea"/>
                          <a:cs typeface="+mn-cs"/>
                        </a:rPr>
                        <a:t>9.</a:t>
                      </a:r>
                    </a:p>
                    <a:p>
                      <a:pPr marL="0" lvl="0" indent="0" algn="l" defTabSz="914400" rtl="0" eaLnBrk="1" latinLnBrk="0" hangingPunct="1">
                        <a:lnSpc>
                          <a:spcPct val="80000"/>
                        </a:lnSpc>
                        <a:spcAft>
                          <a:spcPts val="600"/>
                        </a:spcAft>
                        <a:buFont typeface="+mj-lt"/>
                        <a:buNone/>
                      </a:pPr>
                      <a:r>
                        <a:rPr lang="en-US" sz="2400" b="1" i="0" kern="1200" dirty="0">
                          <a:solidFill>
                            <a:schemeClr val="tx1"/>
                          </a:solidFill>
                          <a:effectLst/>
                          <a:latin typeface="+mj-lt"/>
                          <a:ea typeface="+mn-ea"/>
                          <a:cs typeface="+mn-cs"/>
                        </a:rPr>
                        <a:t>Go easy on the eyes</a:t>
                      </a:r>
                    </a:p>
                    <a:p>
                      <a:pPr marL="0" lvl="0" indent="0" algn="l" defTabSz="914400" rtl="0" eaLnBrk="1" latinLnBrk="0" hangingPunct="1">
                        <a:spcAft>
                          <a:spcPts val="1200"/>
                        </a:spcAft>
                        <a:buFont typeface="+mj-lt"/>
                        <a:buNone/>
                      </a:pPr>
                      <a:r>
                        <a:rPr lang="en-US" sz="1300" b="0" i="0" kern="1200" dirty="0">
                          <a:solidFill>
                            <a:schemeClr val="tx1"/>
                          </a:solidFill>
                          <a:effectLst/>
                          <a:latin typeface="+mn-lt"/>
                          <a:ea typeface="+mn-ea"/>
                          <a:cs typeface="+mn-cs"/>
                        </a:rPr>
                        <a:t>Make your text 16-point or larger. Your audience (and their optometrists) will thank you. Text won’t fit? Refer back to rule #8.</a:t>
                      </a:r>
                    </a:p>
                  </a:txBody>
                  <a:tcPr marR="45720" marT="9144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lvl="0" indent="0" algn="l" defTabSz="914400" rtl="0" eaLnBrk="1" latinLnBrk="0" hangingPunct="1">
                        <a:lnSpc>
                          <a:spcPct val="100000"/>
                        </a:lnSpc>
                        <a:spcAft>
                          <a:spcPts val="600"/>
                        </a:spcAft>
                        <a:buFont typeface="+mj-lt"/>
                        <a:buNone/>
                      </a:pPr>
                      <a:endParaRPr lang="en-US" sz="1300" b="0" i="0" kern="1200" dirty="0">
                        <a:solidFill>
                          <a:schemeClr val="tx1"/>
                        </a:solidFill>
                        <a:effectLst/>
                        <a:latin typeface="+mn-lt"/>
                        <a:ea typeface="+mn-ea"/>
                        <a:cs typeface="+mn-cs"/>
                      </a:endParaRPr>
                    </a:p>
                  </a:txBody>
                  <a:tcPr marR="45720" marT="9144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pattFill prst="dkUpDiag">
                      <a:fgClr>
                        <a:schemeClr val="bg2"/>
                      </a:fgClr>
                      <a:bgClr>
                        <a:schemeClr val="bg1"/>
                      </a:bgClr>
                    </a:pattFill>
                  </a:tcPr>
                </a:tc>
                <a:extLst>
                  <a:ext uri="{0D108BD9-81ED-4DB2-BD59-A6C34878D82A}">
                    <a16:rowId xmlns:a16="http://schemas.microsoft.com/office/drawing/2014/main" val="627938066"/>
                  </a:ext>
                </a:extLst>
              </a:tr>
            </a:tbl>
          </a:graphicData>
        </a:graphic>
      </p:graphicFrame>
      <p:sp>
        <p:nvSpPr>
          <p:cNvPr id="3" name="Footer Placeholder 2">
            <a:extLst>
              <a:ext uri="{FF2B5EF4-FFF2-40B4-BE49-F238E27FC236}">
                <a16:creationId xmlns:a16="http://schemas.microsoft.com/office/drawing/2014/main" id="{CD395181-8FE3-4E28-82CE-F43EE48A0F07}"/>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4" name="Slide Number Placeholder 3">
            <a:extLst>
              <a:ext uri="{FF2B5EF4-FFF2-40B4-BE49-F238E27FC236}">
                <a16:creationId xmlns:a16="http://schemas.microsoft.com/office/drawing/2014/main" id="{C1DB12E1-4871-4656-AAD8-389E4008C59F}"/>
              </a:ext>
            </a:extLst>
          </p:cNvPr>
          <p:cNvSpPr>
            <a:spLocks noGrp="1"/>
          </p:cNvSpPr>
          <p:nvPr>
            <p:ph type="sldNum" sz="quarter" idx="11"/>
          </p:nvPr>
        </p:nvSpPr>
        <p:spPr/>
        <p:txBody>
          <a:bodyPr/>
          <a:lstStyle/>
          <a:p>
            <a:fld id="{1F90F471-3972-4120-B8B3-0237DE626C35}" type="slidenum">
              <a:rPr lang="en-US" smtClean="0"/>
              <a:pPr/>
              <a:t>9</a:t>
            </a:fld>
            <a:endParaRPr lang="en-US" dirty="0"/>
          </a:p>
        </p:txBody>
      </p:sp>
    </p:spTree>
    <p:extLst>
      <p:ext uri="{BB962C8B-B14F-4D97-AF65-F5344CB8AC3E}">
        <p14:creationId xmlns:p14="http://schemas.microsoft.com/office/powerpoint/2010/main" val="346581595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8595B-01BD-41D3-908A-E5B0548E3D4E}"/>
              </a:ext>
            </a:extLst>
          </p:cNvPr>
          <p:cNvSpPr>
            <a:spLocks noGrp="1"/>
          </p:cNvSpPr>
          <p:nvPr>
            <p:ph type="title"/>
          </p:nvPr>
        </p:nvSpPr>
        <p:spPr/>
        <p:txBody>
          <a:bodyPr/>
          <a:lstStyle/>
          <a:p>
            <a:r>
              <a:rPr lang="en-US" dirty="0"/>
              <a:t>Combination Column-line Chart 2</a:t>
            </a:r>
          </a:p>
        </p:txBody>
      </p:sp>
      <p:graphicFrame>
        <p:nvGraphicFramePr>
          <p:cNvPr id="8" name="Object 2" descr="Insert short description here">
            <a:extLst>
              <a:ext uri="{FF2B5EF4-FFF2-40B4-BE49-F238E27FC236}">
                <a16:creationId xmlns:a16="http://schemas.microsoft.com/office/drawing/2014/main" id="{780CF6BD-9C9D-41BA-B88D-1843D44E77DE}"/>
              </a:ext>
            </a:extLst>
          </p:cNvPr>
          <p:cNvGraphicFramePr>
            <a:graphicFrameLocks/>
          </p:cNvGraphicFramePr>
          <p:nvPr>
            <p:extLst>
              <p:ext uri="{D42A27DB-BD31-4B8C-83A1-F6EECF244321}">
                <p14:modId xmlns:p14="http://schemas.microsoft.com/office/powerpoint/2010/main" val="1896797717"/>
              </p:ext>
            </p:extLst>
          </p:nvPr>
        </p:nvGraphicFramePr>
        <p:xfrm>
          <a:off x="377826" y="1075672"/>
          <a:ext cx="11433174" cy="3895976"/>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3">
            <a:extLst>
              <a:ext uri="{FF2B5EF4-FFF2-40B4-BE49-F238E27FC236}">
                <a16:creationId xmlns:a16="http://schemas.microsoft.com/office/drawing/2014/main" id="{0C63C576-DEF1-428C-A75A-09CAC3E7E542}"/>
              </a:ext>
            </a:extLst>
          </p:cNvPr>
          <p:cNvSpPr>
            <a:spLocks noChangeArrowheads="1"/>
          </p:cNvSpPr>
          <p:nvPr/>
        </p:nvSpPr>
        <p:spPr bwMode="auto">
          <a:xfrm>
            <a:off x="381000" y="5205822"/>
            <a:ext cx="4449219" cy="1090143"/>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ea typeface="+mn-ea"/>
                <a:cs typeface="+mn-cs"/>
              </a:rPr>
              <a:t>1	Insert columns as required (each will adopt a different color)</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ea typeface="+mn-ea"/>
                <a:cs typeface="+mn-cs"/>
              </a:rPr>
              <a:t>2	Double-click on a bar to change the color</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ea typeface="+mn-ea"/>
                <a:cs typeface="+mn-cs"/>
              </a:rPr>
              <a:t>3	Drag data values outside the columns manually</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ea typeface="+mn-ea"/>
                <a:cs typeface="+mn-cs"/>
              </a:rPr>
              <a:t>4	Right axis is for the line</a:t>
            </a:r>
          </a:p>
        </p:txBody>
      </p:sp>
      <p:sp>
        <p:nvSpPr>
          <p:cNvPr id="4" name="Footer Placeholder 3">
            <a:extLst>
              <a:ext uri="{FF2B5EF4-FFF2-40B4-BE49-F238E27FC236}">
                <a16:creationId xmlns:a16="http://schemas.microsoft.com/office/drawing/2014/main" id="{7DF7DA33-326C-4BA9-A036-4C1733153F89}"/>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957AB7B2-3987-48C2-BD23-36809EB7FF20}"/>
              </a:ext>
            </a:extLst>
          </p:cNvPr>
          <p:cNvSpPr>
            <a:spLocks noGrp="1"/>
          </p:cNvSpPr>
          <p:nvPr>
            <p:ph type="sldNum" sz="quarter" idx="10"/>
          </p:nvPr>
        </p:nvSpPr>
        <p:spPr/>
        <p:txBody>
          <a:bodyPr/>
          <a:lstStyle/>
          <a:p>
            <a:fld id="{1F90F471-3972-4120-B8B3-0237DE626C35}" type="slidenum">
              <a:rPr lang="en-US" smtClean="0"/>
              <a:pPr/>
              <a:t>90</a:t>
            </a:fld>
            <a:endParaRPr lang="en-US" dirty="0"/>
          </a:p>
        </p:txBody>
      </p:sp>
    </p:spTree>
    <p:extLst>
      <p:ext uri="{BB962C8B-B14F-4D97-AF65-F5344CB8AC3E}">
        <p14:creationId xmlns:p14="http://schemas.microsoft.com/office/powerpoint/2010/main" val="318557493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7C4124B-B9D5-4FB9-AA46-3262DD2B40DB}"/>
              </a:ext>
            </a:extLst>
          </p:cNvPr>
          <p:cNvSpPr>
            <a:spLocks noGrp="1"/>
          </p:cNvSpPr>
          <p:nvPr>
            <p:ph type="title"/>
          </p:nvPr>
        </p:nvSpPr>
        <p:spPr/>
        <p:txBody>
          <a:bodyPr/>
          <a:lstStyle/>
          <a:p>
            <a:r>
              <a:rPr lang="en-US" dirty="0"/>
              <a:t>Pie Charts</a:t>
            </a:r>
          </a:p>
        </p:txBody>
      </p:sp>
      <p:sp>
        <p:nvSpPr>
          <p:cNvPr id="9" name="Text Placeholder 8">
            <a:extLst>
              <a:ext uri="{FF2B5EF4-FFF2-40B4-BE49-F238E27FC236}">
                <a16:creationId xmlns:a16="http://schemas.microsoft.com/office/drawing/2014/main" id="{1265ADBE-657A-4DC7-A6A6-2F0E697C4723}"/>
              </a:ext>
            </a:extLst>
          </p:cNvPr>
          <p:cNvSpPr>
            <a:spLocks noGrp="1"/>
          </p:cNvSpPr>
          <p:nvPr>
            <p:ph type="body" sz="quarter" idx="15"/>
          </p:nvPr>
        </p:nvSpPr>
        <p:spPr/>
        <p:txBody>
          <a:bodyPr/>
          <a:lstStyle/>
          <a:p>
            <a:r>
              <a:rPr lang="en-US" dirty="0"/>
              <a:t>Part of </a:t>
            </a:r>
            <a:r>
              <a:rPr lang="en-US" dirty="0">
                <a:hlinkClick r:id="rId2" action="ppaction://hlinksldjump">
                  <a:extLst>
                    <a:ext uri="{A12FA001-AC4F-418D-AE19-62706E023703}">
                      <ahyp:hlinkClr xmlns:ahyp="http://schemas.microsoft.com/office/drawing/2018/hyperlinkcolor" val="tx"/>
                    </a:ext>
                  </a:extLst>
                </a:hlinkClick>
              </a:rPr>
              <a:t>Charts</a:t>
            </a:r>
            <a:endParaRPr lang="en-US" dirty="0"/>
          </a:p>
        </p:txBody>
      </p:sp>
      <p:sp>
        <p:nvSpPr>
          <p:cNvPr id="10" name="Freeform: Shape 9" descr="Add text and order accordingly">
            <a:hlinkClick r:id="rId3" action="ppaction://hlinksldjump" tooltip="Return to Index"/>
            <a:extLst>
              <a:ext uri="{FF2B5EF4-FFF2-40B4-BE49-F238E27FC236}">
                <a16:creationId xmlns:a16="http://schemas.microsoft.com/office/drawing/2014/main" id="{0DE3F75C-CF1B-47BB-A358-FF97AF03C85D}"/>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9DC78945-A645-4563-BCA9-927812C9C4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9BEE2891-AE3F-4D8A-B562-5662B242B3DF}"/>
              </a:ext>
            </a:extLst>
          </p:cNvPr>
          <p:cNvSpPr>
            <a:spLocks noGrp="1"/>
          </p:cNvSpPr>
          <p:nvPr>
            <p:ph type="sldNum" sz="quarter" idx="17"/>
          </p:nvPr>
        </p:nvSpPr>
        <p:spPr/>
        <p:txBody>
          <a:bodyPr/>
          <a:lstStyle/>
          <a:p>
            <a:fld id="{1F90F471-3972-4120-B8B3-0237DE626C35}" type="slidenum">
              <a:rPr lang="en-US" smtClean="0"/>
              <a:pPr/>
              <a:t>91</a:t>
            </a:fld>
            <a:endParaRPr lang="en-US" dirty="0"/>
          </a:p>
        </p:txBody>
      </p:sp>
    </p:spTree>
    <p:extLst>
      <p:ext uri="{BB962C8B-B14F-4D97-AF65-F5344CB8AC3E}">
        <p14:creationId xmlns:p14="http://schemas.microsoft.com/office/powerpoint/2010/main" val="191272776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DA85B-E083-41C4-9856-946D2DA4BFF0}"/>
              </a:ext>
            </a:extLst>
          </p:cNvPr>
          <p:cNvSpPr>
            <a:spLocks noGrp="1"/>
          </p:cNvSpPr>
          <p:nvPr>
            <p:ph type="title"/>
          </p:nvPr>
        </p:nvSpPr>
        <p:spPr/>
        <p:txBody>
          <a:bodyPr/>
          <a:lstStyle/>
          <a:p>
            <a:r>
              <a:rPr lang="en-US" dirty="0"/>
              <a:t>Quick Manual Pie Chart </a:t>
            </a:r>
          </a:p>
        </p:txBody>
      </p:sp>
      <p:sp>
        <p:nvSpPr>
          <p:cNvPr id="3" name="Content Placeholder 2">
            <a:extLst>
              <a:ext uri="{FF2B5EF4-FFF2-40B4-BE49-F238E27FC236}">
                <a16:creationId xmlns:a16="http://schemas.microsoft.com/office/drawing/2014/main" id="{09708E98-8518-410A-BE96-484B8A855872}"/>
              </a:ext>
            </a:extLst>
          </p:cNvPr>
          <p:cNvSpPr>
            <a:spLocks noGrp="1"/>
          </p:cNvSpPr>
          <p:nvPr>
            <p:ph sz="quarter" idx="10"/>
          </p:nvPr>
        </p:nvSpPr>
        <p:spPr>
          <a:xfrm>
            <a:off x="381001" y="1371600"/>
            <a:ext cx="6408419" cy="4940300"/>
          </a:xfrm>
        </p:spPr>
        <p:txBody>
          <a:bodyPr/>
          <a:lstStyle/>
          <a:p>
            <a:pPr marL="0" indent="0">
              <a:buNone/>
            </a:pPr>
            <a:r>
              <a:rPr lang="en-US" b="1" dirty="0"/>
              <a:t>Instructions:</a:t>
            </a:r>
          </a:p>
          <a:p>
            <a:pPr marL="274320" lvl="1" indent="-274320">
              <a:buFont typeface="+mj-lt"/>
              <a:buAutoNum type="arabicPeriod"/>
            </a:pPr>
            <a:r>
              <a:rPr lang="en-US" sz="1800" dirty="0"/>
              <a:t>Click onto the purple parts of the pie chart</a:t>
            </a:r>
          </a:p>
          <a:p>
            <a:pPr marL="274320" lvl="1" indent="-274320">
              <a:buFont typeface="+mj-lt"/>
              <a:buAutoNum type="arabicPeriod"/>
            </a:pPr>
            <a:r>
              <a:rPr lang="en-US" sz="1800" dirty="0"/>
              <a:t>Adjust filling size by moving the markers</a:t>
            </a:r>
          </a:p>
          <a:p>
            <a:pPr marL="274320" lvl="1" indent="-274320">
              <a:buFont typeface="+mj-lt"/>
              <a:buAutoNum type="arabicPeriod"/>
            </a:pPr>
            <a:r>
              <a:rPr lang="en-US" sz="1800" dirty="0"/>
              <a:t>Group pie chart, adjust size and copy it into </a:t>
            </a:r>
            <a:br>
              <a:rPr lang="en-US" sz="1800" dirty="0"/>
            </a:br>
            <a:r>
              <a:rPr lang="en-US" sz="1800" dirty="0"/>
              <a:t>your presentation</a:t>
            </a:r>
            <a:br>
              <a:rPr lang="en-US" sz="1800" dirty="0"/>
            </a:br>
            <a:endParaRPr lang="en-US" dirty="0"/>
          </a:p>
          <a:p>
            <a:pPr marL="0" indent="0">
              <a:buNone/>
            </a:pPr>
            <a:r>
              <a:rPr lang="en-US" b="1" dirty="0"/>
              <a:t>Important: </a:t>
            </a:r>
          </a:p>
          <a:p>
            <a:pPr marL="228600" lvl="1">
              <a:buFont typeface="Arial" panose="020B0604020202020204" pitchFamily="34" charset="0"/>
              <a:buChar char="•"/>
            </a:pPr>
            <a:r>
              <a:rPr lang="en-US" sz="1800" dirty="0"/>
              <a:t>Only use this object in cases you quickly need </a:t>
            </a:r>
            <a:br>
              <a:rPr lang="en-US" sz="1800" dirty="0"/>
            </a:br>
            <a:r>
              <a:rPr lang="en-US" sz="1800" dirty="0"/>
              <a:t>a pie chart with illustrative data</a:t>
            </a:r>
          </a:p>
          <a:p>
            <a:pPr marL="228600" lvl="1">
              <a:buFont typeface="Arial" panose="020B0604020202020204" pitchFamily="34" charset="0"/>
              <a:buChar char="•"/>
            </a:pPr>
            <a:r>
              <a:rPr lang="en-US" sz="1800" dirty="0"/>
              <a:t>It is preferable to use PowerPoint chart objects </a:t>
            </a:r>
            <a:br>
              <a:rPr lang="en-US" sz="1800" dirty="0"/>
            </a:br>
            <a:r>
              <a:rPr lang="en-US" sz="1800" dirty="0"/>
              <a:t>with real, underlying data</a:t>
            </a:r>
          </a:p>
          <a:p>
            <a:pPr marL="228600" lvl="1">
              <a:buFont typeface="Arial" panose="020B0604020202020204" pitchFamily="34" charset="0"/>
              <a:buChar char="•"/>
            </a:pPr>
            <a:r>
              <a:rPr lang="en-US" sz="1800" dirty="0"/>
              <a:t>See the Charts library in the Visuals menu of </a:t>
            </a:r>
            <a:br>
              <a:rPr lang="en-US" sz="1800" dirty="0"/>
            </a:br>
            <a:r>
              <a:rPr lang="en-US" sz="1800" dirty="0"/>
              <a:t>the toolbar</a:t>
            </a:r>
          </a:p>
        </p:txBody>
      </p:sp>
      <p:graphicFrame>
        <p:nvGraphicFramePr>
          <p:cNvPr id="5" name="Content Placeholder 14" descr="Insert short description here. Pie chart data needs to be more descriptive">
            <a:extLst>
              <a:ext uri="{FF2B5EF4-FFF2-40B4-BE49-F238E27FC236}">
                <a16:creationId xmlns:a16="http://schemas.microsoft.com/office/drawing/2014/main" id="{BD4F33DD-B684-4731-91E5-FDA96F6FCAFF}"/>
              </a:ext>
            </a:extLst>
          </p:cNvPr>
          <p:cNvGraphicFramePr>
            <a:graphicFrameLocks/>
          </p:cNvGraphicFramePr>
          <p:nvPr>
            <p:extLst>
              <p:ext uri="{D42A27DB-BD31-4B8C-83A1-F6EECF244321}">
                <p14:modId xmlns:p14="http://schemas.microsoft.com/office/powerpoint/2010/main" val="121110740"/>
              </p:ext>
            </p:extLst>
          </p:nvPr>
        </p:nvGraphicFramePr>
        <p:xfrm>
          <a:off x="6436312" y="1371600"/>
          <a:ext cx="5259340" cy="4294187"/>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5">
            <a:extLst>
              <a:ext uri="{FF2B5EF4-FFF2-40B4-BE49-F238E27FC236}">
                <a16:creationId xmlns:a16="http://schemas.microsoft.com/office/drawing/2014/main" id="{06F64FE8-4307-4521-809B-BD832AF64E51}"/>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8" name="Slide Number Placeholder 7">
            <a:extLst>
              <a:ext uri="{FF2B5EF4-FFF2-40B4-BE49-F238E27FC236}">
                <a16:creationId xmlns:a16="http://schemas.microsoft.com/office/drawing/2014/main" id="{00AA5E9D-0072-4F64-B83D-5F15E7C42790}"/>
              </a:ext>
            </a:extLst>
          </p:cNvPr>
          <p:cNvSpPr>
            <a:spLocks noGrp="1"/>
          </p:cNvSpPr>
          <p:nvPr>
            <p:ph type="sldNum" sz="quarter" idx="11"/>
          </p:nvPr>
        </p:nvSpPr>
        <p:spPr/>
        <p:txBody>
          <a:bodyPr/>
          <a:lstStyle/>
          <a:p>
            <a:fld id="{1F90F471-3972-4120-B8B3-0237DE626C35}" type="slidenum">
              <a:rPr lang="en-US" smtClean="0"/>
              <a:pPr/>
              <a:t>92</a:t>
            </a:fld>
            <a:endParaRPr lang="en-US" dirty="0"/>
          </a:p>
        </p:txBody>
      </p:sp>
    </p:spTree>
    <p:extLst>
      <p:ext uri="{BB962C8B-B14F-4D97-AF65-F5344CB8AC3E}">
        <p14:creationId xmlns:p14="http://schemas.microsoft.com/office/powerpoint/2010/main" val="198427568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DA85B-E083-41C4-9856-946D2DA4BFF0}"/>
              </a:ext>
            </a:extLst>
          </p:cNvPr>
          <p:cNvSpPr>
            <a:spLocks noGrp="1"/>
          </p:cNvSpPr>
          <p:nvPr>
            <p:ph type="title"/>
          </p:nvPr>
        </p:nvSpPr>
        <p:spPr/>
        <p:txBody>
          <a:bodyPr/>
          <a:lstStyle/>
          <a:p>
            <a:r>
              <a:rPr lang="en-US" dirty="0"/>
              <a:t>Quick Manual Doughnut Chart </a:t>
            </a:r>
          </a:p>
        </p:txBody>
      </p:sp>
      <p:sp>
        <p:nvSpPr>
          <p:cNvPr id="3" name="Content Placeholder 2">
            <a:extLst>
              <a:ext uri="{FF2B5EF4-FFF2-40B4-BE49-F238E27FC236}">
                <a16:creationId xmlns:a16="http://schemas.microsoft.com/office/drawing/2014/main" id="{09708E98-8518-410A-BE96-484B8A855872}"/>
              </a:ext>
            </a:extLst>
          </p:cNvPr>
          <p:cNvSpPr>
            <a:spLocks noGrp="1"/>
          </p:cNvSpPr>
          <p:nvPr>
            <p:ph sz="quarter" idx="10"/>
          </p:nvPr>
        </p:nvSpPr>
        <p:spPr>
          <a:xfrm>
            <a:off x="381001" y="1371600"/>
            <a:ext cx="6240779" cy="4940300"/>
          </a:xfrm>
        </p:spPr>
        <p:txBody>
          <a:bodyPr/>
          <a:lstStyle/>
          <a:p>
            <a:pPr marL="0" indent="0">
              <a:buNone/>
            </a:pPr>
            <a:r>
              <a:rPr lang="en-US" b="1" dirty="0"/>
              <a:t>Instructions:</a:t>
            </a:r>
          </a:p>
          <a:p>
            <a:pPr marL="274320" lvl="1" indent="-274320">
              <a:buFont typeface="+mj-lt"/>
              <a:buAutoNum type="arabicPeriod"/>
            </a:pPr>
            <a:r>
              <a:rPr lang="en-US" sz="1800" dirty="0"/>
              <a:t>Click onto the purple parts of the pie chart</a:t>
            </a:r>
          </a:p>
          <a:p>
            <a:pPr marL="274320" lvl="1" indent="-274320">
              <a:buFont typeface="+mj-lt"/>
              <a:buAutoNum type="arabicPeriod"/>
            </a:pPr>
            <a:r>
              <a:rPr lang="en-US" sz="1800" dirty="0"/>
              <a:t>Adjust filling size by moving the markers</a:t>
            </a:r>
          </a:p>
          <a:p>
            <a:pPr marL="274320" lvl="1" indent="-274320">
              <a:buFont typeface="+mj-lt"/>
              <a:buAutoNum type="arabicPeriod"/>
            </a:pPr>
            <a:r>
              <a:rPr lang="en-US" sz="1800" dirty="0"/>
              <a:t>Group pie chart, adjust size and copy it into </a:t>
            </a:r>
            <a:br>
              <a:rPr lang="en-US" sz="1800" dirty="0"/>
            </a:br>
            <a:r>
              <a:rPr lang="en-US" sz="1800" dirty="0"/>
              <a:t>your presentation</a:t>
            </a:r>
            <a:br>
              <a:rPr lang="en-US" sz="1800" dirty="0"/>
            </a:br>
            <a:endParaRPr lang="en-US" dirty="0"/>
          </a:p>
          <a:p>
            <a:pPr marL="0" indent="0">
              <a:buNone/>
            </a:pPr>
            <a:r>
              <a:rPr lang="en-US" b="1" dirty="0"/>
              <a:t>Important: </a:t>
            </a:r>
          </a:p>
          <a:p>
            <a:pPr marL="228600" lvl="1">
              <a:buFont typeface="Arial" panose="020B0604020202020204" pitchFamily="34" charset="0"/>
              <a:buChar char="•"/>
            </a:pPr>
            <a:r>
              <a:rPr lang="en-US" sz="1800" dirty="0"/>
              <a:t>Only use this object in cases you quickly need </a:t>
            </a:r>
            <a:br>
              <a:rPr lang="en-US" sz="1800" dirty="0"/>
            </a:br>
            <a:r>
              <a:rPr lang="en-US" sz="1800" dirty="0"/>
              <a:t>a pie chart with illustrative data</a:t>
            </a:r>
          </a:p>
          <a:p>
            <a:pPr marL="228600" lvl="1">
              <a:buFont typeface="Arial" panose="020B0604020202020204" pitchFamily="34" charset="0"/>
              <a:buChar char="•"/>
            </a:pPr>
            <a:r>
              <a:rPr lang="en-US" sz="1800" dirty="0"/>
              <a:t>It is preferable to use PowerPoint chart objects </a:t>
            </a:r>
            <a:br>
              <a:rPr lang="en-US" sz="1800" dirty="0"/>
            </a:br>
            <a:r>
              <a:rPr lang="en-US" sz="1800" dirty="0"/>
              <a:t>with real, underlying data</a:t>
            </a:r>
          </a:p>
          <a:p>
            <a:pPr marL="228600" lvl="1">
              <a:buFont typeface="Arial" panose="020B0604020202020204" pitchFamily="34" charset="0"/>
              <a:buChar char="•"/>
            </a:pPr>
            <a:r>
              <a:rPr lang="en-US" sz="1800" dirty="0"/>
              <a:t>See the Charts library in the Visuals menu of </a:t>
            </a:r>
            <a:br>
              <a:rPr lang="en-US" sz="1800" dirty="0"/>
            </a:br>
            <a:r>
              <a:rPr lang="en-US" sz="1800" dirty="0"/>
              <a:t>the toolbar</a:t>
            </a:r>
          </a:p>
        </p:txBody>
      </p:sp>
      <p:graphicFrame>
        <p:nvGraphicFramePr>
          <p:cNvPr id="5" name="Content Placeholder 14" descr="Insert short description here. Doughnut chart data needs to be more descriptive">
            <a:extLst>
              <a:ext uri="{FF2B5EF4-FFF2-40B4-BE49-F238E27FC236}">
                <a16:creationId xmlns:a16="http://schemas.microsoft.com/office/drawing/2014/main" id="{BD4F33DD-B684-4731-91E5-FDA96F6FCAFF}"/>
              </a:ext>
            </a:extLst>
          </p:cNvPr>
          <p:cNvGraphicFramePr>
            <a:graphicFrameLocks/>
          </p:cNvGraphicFramePr>
          <p:nvPr>
            <p:extLst>
              <p:ext uri="{D42A27DB-BD31-4B8C-83A1-F6EECF244321}">
                <p14:modId xmlns:p14="http://schemas.microsoft.com/office/powerpoint/2010/main" val="1133814299"/>
              </p:ext>
            </p:extLst>
          </p:nvPr>
        </p:nvGraphicFramePr>
        <p:xfrm>
          <a:off x="6436312" y="1371600"/>
          <a:ext cx="5259340" cy="4294187"/>
        </p:xfrm>
        <a:graphic>
          <a:graphicData uri="http://schemas.openxmlformats.org/drawingml/2006/chart">
            <c:chart xmlns:c="http://schemas.openxmlformats.org/drawingml/2006/chart" xmlns:r="http://schemas.openxmlformats.org/officeDocument/2006/relationships" r:id="rId3"/>
          </a:graphicData>
        </a:graphic>
      </p:graphicFrame>
      <p:sp>
        <p:nvSpPr>
          <p:cNvPr id="8" name="Footer Placeholder 7">
            <a:extLst>
              <a:ext uri="{FF2B5EF4-FFF2-40B4-BE49-F238E27FC236}">
                <a16:creationId xmlns:a16="http://schemas.microsoft.com/office/drawing/2014/main" id="{91ECAFE2-715D-4E5A-BB68-ECACC70FB98E}"/>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9" name="Slide Number Placeholder 8">
            <a:extLst>
              <a:ext uri="{FF2B5EF4-FFF2-40B4-BE49-F238E27FC236}">
                <a16:creationId xmlns:a16="http://schemas.microsoft.com/office/drawing/2014/main" id="{0AE3DDA7-46AB-407F-A161-664645A01463}"/>
              </a:ext>
            </a:extLst>
          </p:cNvPr>
          <p:cNvSpPr>
            <a:spLocks noGrp="1"/>
          </p:cNvSpPr>
          <p:nvPr>
            <p:ph type="sldNum" sz="quarter" idx="11"/>
          </p:nvPr>
        </p:nvSpPr>
        <p:spPr/>
        <p:txBody>
          <a:bodyPr/>
          <a:lstStyle/>
          <a:p>
            <a:fld id="{1F90F471-3972-4120-B8B3-0237DE626C35}" type="slidenum">
              <a:rPr lang="en-US" smtClean="0"/>
              <a:pPr/>
              <a:t>93</a:t>
            </a:fld>
            <a:endParaRPr lang="en-US" dirty="0"/>
          </a:p>
        </p:txBody>
      </p:sp>
    </p:spTree>
    <p:extLst>
      <p:ext uri="{BB962C8B-B14F-4D97-AF65-F5344CB8AC3E}">
        <p14:creationId xmlns:p14="http://schemas.microsoft.com/office/powerpoint/2010/main" val="293253276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ECD5A-0AE9-429A-8046-CEDA1D194097}"/>
              </a:ext>
            </a:extLst>
          </p:cNvPr>
          <p:cNvSpPr>
            <a:spLocks noGrp="1"/>
          </p:cNvSpPr>
          <p:nvPr>
            <p:ph type="title"/>
          </p:nvPr>
        </p:nvSpPr>
        <p:spPr/>
        <p:txBody>
          <a:bodyPr/>
          <a:lstStyle/>
          <a:p>
            <a:r>
              <a:rPr lang="en-US" dirty="0"/>
              <a:t>Pie Chart</a:t>
            </a:r>
          </a:p>
        </p:txBody>
      </p:sp>
      <p:sp>
        <p:nvSpPr>
          <p:cNvPr id="13" name="AcnSubjectTitle_ID_260107">
            <a:extLst>
              <a:ext uri="{FF2B5EF4-FFF2-40B4-BE49-F238E27FC236}">
                <a16:creationId xmlns:a16="http://schemas.microsoft.com/office/drawing/2014/main" id="{0B981368-E0D1-40F4-B1A2-F09DBB10F678}"/>
              </a:ext>
            </a:extLst>
          </p:cNvPr>
          <p:cNvSpPr txBox="1">
            <a:spLocks noChangeArrowheads="1"/>
          </p:cNvSpPr>
          <p:nvPr>
            <p:custDataLst>
              <p:tags r:id="rId1"/>
            </p:custDataLst>
          </p:nvPr>
        </p:nvSpPr>
        <p:spPr bwMode="auto">
          <a:xfrm>
            <a:off x="380999" y="882066"/>
            <a:ext cx="8217629" cy="489534"/>
          </a:xfrm>
          <a:prstGeom prst="rect">
            <a:avLst/>
          </a:prstGeom>
          <a:noFill/>
          <a:ln w="9525" algn="ctr">
            <a:noFill/>
            <a:miter lim="800000"/>
            <a:headEnd/>
            <a:tailEnd/>
          </a:ln>
          <a:effectLst/>
        </p:spPr>
        <p:txBody>
          <a:bodyPr lIns="0" tIns="180000" rIns="0" bIns="0" anchor="t">
            <a:spAutoFit/>
          </a:bodyPr>
          <a:lstStyle/>
          <a:p>
            <a:pPr marL="0" marR="0" lvl="0" indent="0" algn="l" defTabSz="914400" rtl="0" eaLnBrk="1" fontAlgn="auto" latinLnBrk="0" hangingPunct="1">
              <a:lnSpc>
                <a:spcPct val="100000"/>
              </a:lnSpc>
              <a:spcBef>
                <a:spcPct val="0"/>
              </a:spcBef>
              <a:spcAft>
                <a:spcPts val="0"/>
              </a:spcAft>
              <a:buClr>
                <a:srgbClr val="000000"/>
              </a:buClr>
              <a:buSzPct val="100000"/>
              <a:buFont typeface="Arial" charset="0"/>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Chart Title</a:t>
            </a:r>
          </a:p>
        </p:txBody>
      </p:sp>
      <p:graphicFrame>
        <p:nvGraphicFramePr>
          <p:cNvPr id="8" name="Object 3" descr="Insert short description here. Pie chart data needs to be more descriptive">
            <a:extLst>
              <a:ext uri="{FF2B5EF4-FFF2-40B4-BE49-F238E27FC236}">
                <a16:creationId xmlns:a16="http://schemas.microsoft.com/office/drawing/2014/main" id="{EF7BB676-3FD9-473D-8FA0-2459DCF4B223}"/>
              </a:ext>
            </a:extLst>
          </p:cNvPr>
          <p:cNvGraphicFramePr>
            <a:graphicFrameLocks/>
          </p:cNvGraphicFramePr>
          <p:nvPr>
            <p:custDataLst>
              <p:tags r:id="rId2"/>
            </p:custDataLst>
            <p:extLst>
              <p:ext uri="{D42A27DB-BD31-4B8C-83A1-F6EECF244321}">
                <p14:modId xmlns:p14="http://schemas.microsoft.com/office/powerpoint/2010/main" val="1236219761"/>
              </p:ext>
            </p:extLst>
          </p:nvPr>
        </p:nvGraphicFramePr>
        <p:xfrm>
          <a:off x="380999" y="1529241"/>
          <a:ext cx="11430000" cy="4413250"/>
        </p:xfrm>
        <a:graphic>
          <a:graphicData uri="http://schemas.openxmlformats.org/drawingml/2006/chart">
            <c:chart xmlns:c="http://schemas.openxmlformats.org/drawingml/2006/chart" xmlns:r="http://schemas.openxmlformats.org/officeDocument/2006/relationships" r:id="rId5"/>
          </a:graphicData>
        </a:graphic>
      </p:graphicFrame>
      <p:grpSp>
        <p:nvGrpSpPr>
          <p:cNvPr id="9" name="Group 8" descr="Insert short description here">
            <a:extLst>
              <a:ext uri="{FF2B5EF4-FFF2-40B4-BE49-F238E27FC236}">
                <a16:creationId xmlns:a16="http://schemas.microsoft.com/office/drawing/2014/main" id="{F8B0FB47-0AAC-4589-A21F-65D90AB1A851}"/>
              </a:ext>
            </a:extLst>
          </p:cNvPr>
          <p:cNvGrpSpPr/>
          <p:nvPr/>
        </p:nvGrpSpPr>
        <p:grpSpPr>
          <a:xfrm flipH="1">
            <a:off x="7740490" y="1623441"/>
            <a:ext cx="1555412" cy="3611118"/>
            <a:chOff x="9103063" y="1646967"/>
            <a:chExt cx="2422187" cy="4235849"/>
          </a:xfrm>
        </p:grpSpPr>
        <p:cxnSp>
          <p:nvCxnSpPr>
            <p:cNvPr id="10" name="Connector: Elbow 9">
              <a:extLst>
                <a:ext uri="{FF2B5EF4-FFF2-40B4-BE49-F238E27FC236}">
                  <a16:creationId xmlns:a16="http://schemas.microsoft.com/office/drawing/2014/main" id="{A48CDAF6-722E-4E12-91AA-4998378F9850}"/>
                </a:ext>
              </a:extLst>
            </p:cNvPr>
            <p:cNvCxnSpPr/>
            <p:nvPr/>
          </p:nvCxnSpPr>
          <p:spPr>
            <a:xfrm flipV="1">
              <a:off x="9103063" y="1646967"/>
              <a:ext cx="2422187" cy="1543692"/>
            </a:xfrm>
            <a:prstGeom prst="bentConnector3">
              <a:avLst>
                <a:gd name="adj1" fmla="val -201"/>
              </a:avLst>
            </a:prstGeom>
            <a:noFill/>
            <a:ln w="12700" cap="flat" cmpd="sng" algn="ctr">
              <a:solidFill>
                <a:srgbClr val="96968C">
                  <a:lumMod val="60000"/>
                  <a:lumOff val="40000"/>
                </a:srgbClr>
              </a:solidFill>
              <a:prstDash val="solid"/>
            </a:ln>
            <a:effectLst/>
          </p:spPr>
        </p:cxnSp>
        <p:cxnSp>
          <p:nvCxnSpPr>
            <p:cNvPr id="11" name="Connector: Elbow 10">
              <a:extLst>
                <a:ext uri="{FF2B5EF4-FFF2-40B4-BE49-F238E27FC236}">
                  <a16:creationId xmlns:a16="http://schemas.microsoft.com/office/drawing/2014/main" id="{8C554388-80DE-4C7D-8FAF-E1DEB11532C2}"/>
                </a:ext>
              </a:extLst>
            </p:cNvPr>
            <p:cNvCxnSpPr/>
            <p:nvPr/>
          </p:nvCxnSpPr>
          <p:spPr>
            <a:xfrm>
              <a:off x="9103063" y="4339124"/>
              <a:ext cx="2422187" cy="1543692"/>
            </a:xfrm>
            <a:prstGeom prst="bentConnector3">
              <a:avLst>
                <a:gd name="adj1" fmla="val -201"/>
              </a:avLst>
            </a:prstGeom>
            <a:noFill/>
            <a:ln w="12700" cap="flat" cmpd="sng" algn="ctr">
              <a:solidFill>
                <a:srgbClr val="96968C">
                  <a:lumMod val="60000"/>
                  <a:lumOff val="40000"/>
                </a:srgbClr>
              </a:solidFill>
              <a:prstDash val="solid"/>
            </a:ln>
            <a:effectLst/>
          </p:spPr>
        </p:cxnSp>
      </p:grpSp>
      <p:sp>
        <p:nvSpPr>
          <p:cNvPr id="15" name="Rectangle 3">
            <a:extLst>
              <a:ext uri="{FF2B5EF4-FFF2-40B4-BE49-F238E27FC236}">
                <a16:creationId xmlns:a16="http://schemas.microsoft.com/office/drawing/2014/main" id="{5D10A91F-4963-4F65-BE9D-BF9CBF5B1DD5}"/>
              </a:ext>
            </a:extLst>
          </p:cNvPr>
          <p:cNvSpPr>
            <a:spLocks noChangeArrowheads="1"/>
          </p:cNvSpPr>
          <p:nvPr/>
        </p:nvSpPr>
        <p:spPr bwMode="auto">
          <a:xfrm>
            <a:off x="380997" y="5401294"/>
            <a:ext cx="4449219" cy="910607"/>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	Insert columns as required (each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	Double-click on a slice to change the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3	In the options menu you can choose the rotation of the chart</a:t>
            </a:r>
          </a:p>
        </p:txBody>
      </p:sp>
      <p:sp>
        <p:nvSpPr>
          <p:cNvPr id="5" name="Footer Placeholder 4">
            <a:extLst>
              <a:ext uri="{FF2B5EF4-FFF2-40B4-BE49-F238E27FC236}">
                <a16:creationId xmlns:a16="http://schemas.microsoft.com/office/drawing/2014/main" id="{DFDAF5B8-B292-4003-B00D-609157A3A3E0}"/>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1E6BD9CC-6B8D-4F63-A7E1-83D638B715ED}"/>
              </a:ext>
            </a:extLst>
          </p:cNvPr>
          <p:cNvSpPr>
            <a:spLocks noGrp="1"/>
          </p:cNvSpPr>
          <p:nvPr>
            <p:ph type="sldNum" sz="quarter" idx="10"/>
          </p:nvPr>
        </p:nvSpPr>
        <p:spPr/>
        <p:txBody>
          <a:bodyPr/>
          <a:lstStyle/>
          <a:p>
            <a:fld id="{1F90F471-3972-4120-B8B3-0237DE626C35}" type="slidenum">
              <a:rPr lang="en-US" smtClean="0"/>
              <a:pPr/>
              <a:t>94</a:t>
            </a:fld>
            <a:endParaRPr lang="en-US" dirty="0"/>
          </a:p>
        </p:txBody>
      </p:sp>
    </p:spTree>
    <p:extLst>
      <p:ext uri="{BB962C8B-B14F-4D97-AF65-F5344CB8AC3E}">
        <p14:creationId xmlns:p14="http://schemas.microsoft.com/office/powerpoint/2010/main" val="328304444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ECD5A-0AE9-429A-8046-CEDA1D194097}"/>
              </a:ext>
            </a:extLst>
          </p:cNvPr>
          <p:cNvSpPr>
            <a:spLocks noGrp="1"/>
          </p:cNvSpPr>
          <p:nvPr>
            <p:ph type="title"/>
          </p:nvPr>
        </p:nvSpPr>
        <p:spPr/>
        <p:txBody>
          <a:bodyPr/>
          <a:lstStyle/>
          <a:p>
            <a:r>
              <a:rPr lang="en-US" dirty="0"/>
              <a:t>Doughnut Chart</a:t>
            </a:r>
          </a:p>
        </p:txBody>
      </p:sp>
      <p:sp>
        <p:nvSpPr>
          <p:cNvPr id="13" name="AcnSubjectTitle_ID_260107">
            <a:extLst>
              <a:ext uri="{FF2B5EF4-FFF2-40B4-BE49-F238E27FC236}">
                <a16:creationId xmlns:a16="http://schemas.microsoft.com/office/drawing/2014/main" id="{0B981368-E0D1-40F4-B1A2-F09DBB10F678}"/>
              </a:ext>
            </a:extLst>
          </p:cNvPr>
          <p:cNvSpPr txBox="1">
            <a:spLocks noChangeArrowheads="1"/>
          </p:cNvSpPr>
          <p:nvPr>
            <p:custDataLst>
              <p:tags r:id="rId1"/>
            </p:custDataLst>
          </p:nvPr>
        </p:nvSpPr>
        <p:spPr bwMode="auto">
          <a:xfrm>
            <a:off x="380999" y="882066"/>
            <a:ext cx="8217629" cy="489534"/>
          </a:xfrm>
          <a:prstGeom prst="rect">
            <a:avLst/>
          </a:prstGeom>
          <a:noFill/>
          <a:ln w="9525" algn="ctr">
            <a:noFill/>
            <a:miter lim="800000"/>
            <a:headEnd/>
            <a:tailEnd/>
          </a:ln>
          <a:effectLst/>
        </p:spPr>
        <p:txBody>
          <a:bodyPr lIns="0" tIns="180000" rIns="0" bIns="0" anchor="t">
            <a:spAutoFit/>
          </a:bodyPr>
          <a:lstStyle/>
          <a:p>
            <a:pPr marL="0" marR="0" lvl="0" indent="0" algn="l" defTabSz="914400" rtl="0" eaLnBrk="1" fontAlgn="auto" latinLnBrk="0" hangingPunct="1">
              <a:lnSpc>
                <a:spcPct val="100000"/>
              </a:lnSpc>
              <a:spcBef>
                <a:spcPct val="0"/>
              </a:spcBef>
              <a:spcAft>
                <a:spcPts val="0"/>
              </a:spcAft>
              <a:buClr>
                <a:srgbClr val="000000"/>
              </a:buClr>
              <a:buSzPct val="100000"/>
              <a:buFont typeface="Arial" charset="0"/>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Chart Title</a:t>
            </a:r>
          </a:p>
        </p:txBody>
      </p:sp>
      <p:graphicFrame>
        <p:nvGraphicFramePr>
          <p:cNvPr id="20" name="Object 3" descr="Insert short description here. Chart data needs to be more descriptive">
            <a:extLst>
              <a:ext uri="{FF2B5EF4-FFF2-40B4-BE49-F238E27FC236}">
                <a16:creationId xmlns:a16="http://schemas.microsoft.com/office/drawing/2014/main" id="{C459D608-2C65-4EFB-B4F4-F62092AF3652}"/>
              </a:ext>
            </a:extLst>
          </p:cNvPr>
          <p:cNvGraphicFramePr>
            <a:graphicFrameLocks/>
          </p:cNvGraphicFramePr>
          <p:nvPr>
            <p:custDataLst>
              <p:tags r:id="rId2"/>
            </p:custDataLst>
            <p:extLst>
              <p:ext uri="{D42A27DB-BD31-4B8C-83A1-F6EECF244321}">
                <p14:modId xmlns:p14="http://schemas.microsoft.com/office/powerpoint/2010/main" val="3539599408"/>
              </p:ext>
            </p:extLst>
          </p:nvPr>
        </p:nvGraphicFramePr>
        <p:xfrm>
          <a:off x="380997" y="1009649"/>
          <a:ext cx="11510962" cy="4838701"/>
        </p:xfrm>
        <a:graphic>
          <a:graphicData uri="http://schemas.openxmlformats.org/drawingml/2006/chart">
            <c:chart xmlns:c="http://schemas.openxmlformats.org/drawingml/2006/chart" xmlns:r="http://schemas.openxmlformats.org/officeDocument/2006/relationships" r:id="rId5"/>
          </a:graphicData>
        </a:graphic>
      </p:graphicFrame>
      <p:cxnSp>
        <p:nvCxnSpPr>
          <p:cNvPr id="23" name="Straight Connector 22">
            <a:extLst>
              <a:ext uri="{FF2B5EF4-FFF2-40B4-BE49-F238E27FC236}">
                <a16:creationId xmlns:a16="http://schemas.microsoft.com/office/drawing/2014/main" id="{8D1DF234-C183-40E4-9E1B-6DB672163908}"/>
              </a:ext>
              <a:ext uri="{C183D7F6-B498-43B3-948B-1728B52AA6E4}">
                <adec:decorative xmlns:adec="http://schemas.microsoft.com/office/drawing/2017/decorative" val="1"/>
              </a:ext>
            </a:extLst>
          </p:cNvPr>
          <p:cNvCxnSpPr/>
          <p:nvPr/>
        </p:nvCxnSpPr>
        <p:spPr>
          <a:xfrm flipH="1">
            <a:off x="2602974" y="1804074"/>
            <a:ext cx="3095033" cy="0"/>
          </a:xfrm>
          <a:prstGeom prst="line">
            <a:avLst/>
          </a:prstGeom>
          <a:noFill/>
          <a:ln w="19050" cap="flat" cmpd="sng" algn="ctr">
            <a:solidFill>
              <a:schemeClr val="accent5"/>
            </a:solidFill>
            <a:prstDash val="solid"/>
          </a:ln>
          <a:effectLst/>
        </p:spPr>
      </p:cxnSp>
      <p:cxnSp>
        <p:nvCxnSpPr>
          <p:cNvPr id="21" name="Straight Connector 20">
            <a:extLst>
              <a:ext uri="{FF2B5EF4-FFF2-40B4-BE49-F238E27FC236}">
                <a16:creationId xmlns:a16="http://schemas.microsoft.com/office/drawing/2014/main" id="{09516741-3A35-4D01-980D-C988736F4494}"/>
              </a:ext>
              <a:ext uri="{C183D7F6-B498-43B3-948B-1728B52AA6E4}">
                <adec:decorative xmlns:adec="http://schemas.microsoft.com/office/drawing/2017/decorative" val="1"/>
              </a:ext>
            </a:extLst>
          </p:cNvPr>
          <p:cNvCxnSpPr/>
          <p:nvPr/>
        </p:nvCxnSpPr>
        <p:spPr>
          <a:xfrm flipH="1">
            <a:off x="2602974" y="2854661"/>
            <a:ext cx="2196000" cy="0"/>
          </a:xfrm>
          <a:prstGeom prst="line">
            <a:avLst/>
          </a:prstGeom>
          <a:noFill/>
          <a:ln w="19050" cap="flat" cmpd="sng" algn="ctr">
            <a:solidFill>
              <a:schemeClr val="accent5"/>
            </a:solidFill>
            <a:prstDash val="solid"/>
          </a:ln>
          <a:effectLst/>
        </p:spPr>
      </p:cxnSp>
      <p:cxnSp>
        <p:nvCxnSpPr>
          <p:cNvPr id="22" name="Straight Connector 21">
            <a:extLst>
              <a:ext uri="{FF2B5EF4-FFF2-40B4-BE49-F238E27FC236}">
                <a16:creationId xmlns:a16="http://schemas.microsoft.com/office/drawing/2014/main" id="{8923C08C-6895-48D3-B610-00BAFBB93EEB}"/>
              </a:ext>
              <a:ext uri="{C183D7F6-B498-43B3-948B-1728B52AA6E4}">
                <adec:decorative xmlns:adec="http://schemas.microsoft.com/office/drawing/2017/decorative" val="1"/>
              </a:ext>
            </a:extLst>
          </p:cNvPr>
          <p:cNvCxnSpPr/>
          <p:nvPr/>
        </p:nvCxnSpPr>
        <p:spPr>
          <a:xfrm flipH="1">
            <a:off x="2602974" y="4333266"/>
            <a:ext cx="2196000" cy="0"/>
          </a:xfrm>
          <a:prstGeom prst="line">
            <a:avLst/>
          </a:prstGeom>
          <a:noFill/>
          <a:ln w="19050" cap="flat" cmpd="sng" algn="ctr">
            <a:solidFill>
              <a:schemeClr val="accent5"/>
            </a:solidFill>
            <a:prstDash val="solid"/>
          </a:ln>
          <a:effectLst/>
        </p:spPr>
      </p:cxnSp>
      <p:cxnSp>
        <p:nvCxnSpPr>
          <p:cNvPr id="24" name="Straight Connector 23">
            <a:extLst>
              <a:ext uri="{FF2B5EF4-FFF2-40B4-BE49-F238E27FC236}">
                <a16:creationId xmlns:a16="http://schemas.microsoft.com/office/drawing/2014/main" id="{23112B71-7EDC-4521-B57E-2106D34E2AEA}"/>
              </a:ext>
              <a:ext uri="{C183D7F6-B498-43B3-948B-1728B52AA6E4}">
                <adec:decorative xmlns:adec="http://schemas.microsoft.com/office/drawing/2017/decorative" val="1"/>
              </a:ext>
            </a:extLst>
          </p:cNvPr>
          <p:cNvCxnSpPr/>
          <p:nvPr/>
        </p:nvCxnSpPr>
        <p:spPr>
          <a:xfrm flipH="1">
            <a:off x="7446959" y="3525870"/>
            <a:ext cx="2196000" cy="0"/>
          </a:xfrm>
          <a:prstGeom prst="line">
            <a:avLst/>
          </a:prstGeom>
          <a:noFill/>
          <a:ln w="19050" cap="flat" cmpd="sng" algn="ctr">
            <a:solidFill>
              <a:schemeClr val="accent5"/>
            </a:solidFill>
            <a:prstDash val="solid"/>
          </a:ln>
          <a:effectLst/>
        </p:spPr>
      </p:cxnSp>
      <p:sp>
        <p:nvSpPr>
          <p:cNvPr id="15" name="Rectangle 3">
            <a:extLst>
              <a:ext uri="{FF2B5EF4-FFF2-40B4-BE49-F238E27FC236}">
                <a16:creationId xmlns:a16="http://schemas.microsoft.com/office/drawing/2014/main" id="{5D10A91F-4963-4F65-BE9D-BF9CBF5B1DD5}"/>
              </a:ext>
            </a:extLst>
          </p:cNvPr>
          <p:cNvSpPr>
            <a:spLocks noChangeArrowheads="1"/>
          </p:cNvSpPr>
          <p:nvPr/>
        </p:nvSpPr>
        <p:spPr bwMode="auto">
          <a:xfrm>
            <a:off x="380997" y="5401294"/>
            <a:ext cx="4449219" cy="910607"/>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	Insert columns as required (each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	Double-click on a slice to change the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3	In the options menu you can choose the rotation of the chart</a:t>
            </a:r>
          </a:p>
        </p:txBody>
      </p:sp>
      <p:sp>
        <p:nvSpPr>
          <p:cNvPr id="4" name="Footer Placeholder 3">
            <a:extLst>
              <a:ext uri="{FF2B5EF4-FFF2-40B4-BE49-F238E27FC236}">
                <a16:creationId xmlns:a16="http://schemas.microsoft.com/office/drawing/2014/main" id="{3242ACC1-DD32-495D-9989-B0727D873D49}"/>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380042A7-AF05-4D1C-BB6F-A83BECEA998A}"/>
              </a:ext>
            </a:extLst>
          </p:cNvPr>
          <p:cNvSpPr>
            <a:spLocks noGrp="1"/>
          </p:cNvSpPr>
          <p:nvPr>
            <p:ph type="sldNum" sz="quarter" idx="10"/>
          </p:nvPr>
        </p:nvSpPr>
        <p:spPr/>
        <p:txBody>
          <a:bodyPr/>
          <a:lstStyle/>
          <a:p>
            <a:fld id="{1F90F471-3972-4120-B8B3-0237DE626C35}" type="slidenum">
              <a:rPr lang="en-US" smtClean="0"/>
              <a:pPr/>
              <a:t>95</a:t>
            </a:fld>
            <a:endParaRPr lang="en-US" dirty="0"/>
          </a:p>
        </p:txBody>
      </p:sp>
    </p:spTree>
    <p:extLst>
      <p:ext uri="{BB962C8B-B14F-4D97-AF65-F5344CB8AC3E}">
        <p14:creationId xmlns:p14="http://schemas.microsoft.com/office/powerpoint/2010/main" val="61495619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ECD5A-0AE9-429A-8046-CEDA1D194097}"/>
              </a:ext>
            </a:extLst>
          </p:cNvPr>
          <p:cNvSpPr>
            <a:spLocks noGrp="1"/>
          </p:cNvSpPr>
          <p:nvPr>
            <p:ph type="title"/>
          </p:nvPr>
        </p:nvSpPr>
        <p:spPr/>
        <p:txBody>
          <a:bodyPr/>
          <a:lstStyle/>
          <a:p>
            <a:r>
              <a:rPr lang="en-US" dirty="0"/>
              <a:t>Double Pie Chart</a:t>
            </a:r>
          </a:p>
        </p:txBody>
      </p:sp>
      <p:sp>
        <p:nvSpPr>
          <p:cNvPr id="34" name="Inhaltsplatzhalter 9">
            <a:extLst>
              <a:ext uri="{FF2B5EF4-FFF2-40B4-BE49-F238E27FC236}">
                <a16:creationId xmlns:a16="http://schemas.microsoft.com/office/drawing/2014/main" id="{4472388F-1FDD-4809-9D54-A7B5EB95EDF1}"/>
              </a:ext>
            </a:extLst>
          </p:cNvPr>
          <p:cNvSpPr>
            <a:spLocks noGrp="1"/>
          </p:cNvSpPr>
          <p:nvPr/>
        </p:nvSpPr>
        <p:spPr bwMode="auto">
          <a:xfrm>
            <a:off x="1998172" y="1132608"/>
            <a:ext cx="2256818" cy="443368"/>
          </a:xfrm>
          <a:prstGeom prst="rect">
            <a:avLst/>
          </a:prstGeom>
          <a:noFill/>
          <a:ln w="12700">
            <a:noFill/>
            <a:miter lim="800000"/>
            <a:headEnd/>
            <a:tailEnd/>
          </a:ln>
        </p:spPr>
        <p:txBody>
          <a:bodyPr vert="horz" wrap="square" lIns="0" tIns="108000" rIns="0" bIns="72000" numCol="1" anchor="ctr"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0000"/>
                </a:solidFill>
                <a:effectLst/>
                <a:uLnTx/>
                <a:uFillTx/>
                <a:latin typeface="Arial"/>
                <a:ea typeface="+mn-ea"/>
                <a:cs typeface="+mn-cs"/>
              </a:rPr>
              <a:t>100%= $150M</a:t>
            </a:r>
            <a:endParaRPr kumimoji="0" lang="de-DE" sz="24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32" name="Object 2" descr="Insert short description here">
            <a:extLst>
              <a:ext uri="{FF2B5EF4-FFF2-40B4-BE49-F238E27FC236}">
                <a16:creationId xmlns:a16="http://schemas.microsoft.com/office/drawing/2014/main" id="{BA4B9A58-8256-47B1-AA99-E9FBFC3299DD}"/>
              </a:ext>
            </a:extLst>
          </p:cNvPr>
          <p:cNvGraphicFramePr>
            <a:graphicFrameLocks noChangeAspect="1"/>
          </p:cNvGraphicFramePr>
          <p:nvPr>
            <p:extLst>
              <p:ext uri="{D42A27DB-BD31-4B8C-83A1-F6EECF244321}">
                <p14:modId xmlns:p14="http://schemas.microsoft.com/office/powerpoint/2010/main" val="3125055077"/>
              </p:ext>
            </p:extLst>
          </p:nvPr>
        </p:nvGraphicFramePr>
        <p:xfrm>
          <a:off x="1346963" y="1575976"/>
          <a:ext cx="3564000" cy="3844201"/>
        </p:xfrm>
        <a:graphic>
          <a:graphicData uri="http://schemas.openxmlformats.org/drawingml/2006/chart">
            <c:chart xmlns:c="http://schemas.openxmlformats.org/drawingml/2006/chart" xmlns:r="http://schemas.openxmlformats.org/officeDocument/2006/relationships" r:id="rId3"/>
          </a:graphicData>
        </a:graphic>
      </p:graphicFrame>
      <p:sp>
        <p:nvSpPr>
          <p:cNvPr id="35" name="Inhaltsplatzhalter 9">
            <a:extLst>
              <a:ext uri="{FF2B5EF4-FFF2-40B4-BE49-F238E27FC236}">
                <a16:creationId xmlns:a16="http://schemas.microsoft.com/office/drawing/2014/main" id="{9DB95631-1C2E-4178-96DC-8A58AF3C13BB}"/>
              </a:ext>
            </a:extLst>
          </p:cNvPr>
          <p:cNvSpPr>
            <a:spLocks noGrp="1"/>
          </p:cNvSpPr>
          <p:nvPr/>
        </p:nvSpPr>
        <p:spPr bwMode="auto">
          <a:xfrm>
            <a:off x="7411607" y="1132608"/>
            <a:ext cx="3283608" cy="443368"/>
          </a:xfrm>
          <a:prstGeom prst="rect">
            <a:avLst/>
          </a:prstGeom>
          <a:noFill/>
          <a:ln w="12700">
            <a:noFill/>
            <a:miter lim="800000"/>
            <a:headEnd/>
            <a:tailEnd/>
          </a:ln>
        </p:spPr>
        <p:txBody>
          <a:bodyPr vert="horz" wrap="square" lIns="0" tIns="108000" rIns="0" bIns="72000" numCol="1" anchor="ctr"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0000"/>
                </a:solidFill>
                <a:effectLst/>
                <a:uLnTx/>
                <a:uFillTx/>
                <a:latin typeface="Arial"/>
                <a:ea typeface="+mn-ea"/>
                <a:cs typeface="+mn-cs"/>
              </a:rPr>
              <a:t>100%= 10,500 customers</a:t>
            </a:r>
            <a:endParaRPr kumimoji="0" lang="de-DE" sz="24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33" name="Object 2" descr="Insert short description here">
            <a:extLst>
              <a:ext uri="{FF2B5EF4-FFF2-40B4-BE49-F238E27FC236}">
                <a16:creationId xmlns:a16="http://schemas.microsoft.com/office/drawing/2014/main" id="{21293D52-752D-4A5E-8642-04B00FB56ECC}"/>
              </a:ext>
            </a:extLst>
          </p:cNvPr>
          <p:cNvGraphicFramePr>
            <a:graphicFrameLocks noChangeAspect="1"/>
          </p:cNvGraphicFramePr>
          <p:nvPr>
            <p:extLst>
              <p:ext uri="{D42A27DB-BD31-4B8C-83A1-F6EECF244321}">
                <p14:modId xmlns:p14="http://schemas.microsoft.com/office/powerpoint/2010/main" val="3998854009"/>
              </p:ext>
            </p:extLst>
          </p:nvPr>
        </p:nvGraphicFramePr>
        <p:xfrm>
          <a:off x="7284213" y="1575976"/>
          <a:ext cx="3564000" cy="3844201"/>
        </p:xfrm>
        <a:graphic>
          <a:graphicData uri="http://schemas.openxmlformats.org/drawingml/2006/chart">
            <c:chart xmlns:c="http://schemas.openxmlformats.org/drawingml/2006/chart" xmlns:r="http://schemas.openxmlformats.org/officeDocument/2006/relationships" r:id="rId4"/>
          </a:graphicData>
        </a:graphic>
      </p:graphicFrame>
      <p:cxnSp>
        <p:nvCxnSpPr>
          <p:cNvPr id="39" name="Straight Connector 38">
            <a:extLst>
              <a:ext uri="{FF2B5EF4-FFF2-40B4-BE49-F238E27FC236}">
                <a16:creationId xmlns:a16="http://schemas.microsoft.com/office/drawing/2014/main" id="{89831E6F-5399-40B9-8E4F-4EE924667A57}"/>
              </a:ext>
              <a:ext uri="{C183D7F6-B498-43B3-948B-1728B52AA6E4}">
                <adec:decorative xmlns:adec="http://schemas.microsoft.com/office/drawing/2017/decorative" val="1"/>
              </a:ext>
            </a:extLst>
          </p:cNvPr>
          <p:cNvCxnSpPr>
            <a:stCxn id="36" idx="1"/>
          </p:cNvCxnSpPr>
          <p:nvPr/>
        </p:nvCxnSpPr>
        <p:spPr>
          <a:xfrm flipH="1">
            <a:off x="2852382" y="2220048"/>
            <a:ext cx="2700000" cy="0"/>
          </a:xfrm>
          <a:prstGeom prst="line">
            <a:avLst/>
          </a:prstGeom>
          <a:noFill/>
          <a:ln w="19050" cap="rnd" cmpd="sng" algn="ctr">
            <a:solidFill>
              <a:srgbClr val="96968C">
                <a:lumMod val="60000"/>
                <a:lumOff val="40000"/>
              </a:srgbClr>
            </a:solidFill>
            <a:prstDash val="sysDot"/>
            <a:tailEnd type="oval"/>
          </a:ln>
          <a:effectLst/>
        </p:spPr>
      </p:cxnSp>
      <p:sp>
        <p:nvSpPr>
          <p:cNvPr id="36" name="Text Box 9">
            <a:extLst>
              <a:ext uri="{FF2B5EF4-FFF2-40B4-BE49-F238E27FC236}">
                <a16:creationId xmlns:a16="http://schemas.microsoft.com/office/drawing/2014/main" id="{EDF367A5-6A75-4162-AB1F-B67B2FBCCB25}"/>
              </a:ext>
            </a:extLst>
          </p:cNvPr>
          <p:cNvSpPr txBox="1">
            <a:spLocks noChangeArrowheads="1"/>
          </p:cNvSpPr>
          <p:nvPr/>
        </p:nvSpPr>
        <p:spPr bwMode="auto">
          <a:xfrm>
            <a:off x="5572471" y="2112326"/>
            <a:ext cx="1035050" cy="215444"/>
          </a:xfrm>
          <a:prstGeom prst="rect">
            <a:avLst/>
          </a:prstGeom>
          <a:noFill/>
          <a:ln w="3175">
            <a:noFill/>
            <a:miter lim="800000"/>
            <a:headEnd/>
            <a:tailEnd/>
          </a:ln>
          <a:effectLst/>
        </p:spPr>
        <p:txBody>
          <a:bodyPr lIns="108000" tIns="0" rIns="108000" bIns="0" anchor="ctr">
            <a:spAutoFit/>
          </a:body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96968C"/>
                </a:solidFill>
                <a:effectLst/>
                <a:uLnTx/>
                <a:uFillTx/>
                <a:latin typeface="Arial"/>
                <a:ea typeface="+mn-ea"/>
                <a:cs typeface="+mn-cs"/>
              </a:rPr>
              <a:t>Label A</a:t>
            </a:r>
          </a:p>
        </p:txBody>
      </p:sp>
      <p:cxnSp>
        <p:nvCxnSpPr>
          <p:cNvPr id="40" name="Straight Connector 39">
            <a:extLst>
              <a:ext uri="{FF2B5EF4-FFF2-40B4-BE49-F238E27FC236}">
                <a16:creationId xmlns:a16="http://schemas.microsoft.com/office/drawing/2014/main" id="{C443BAE0-7800-4F1F-AC3C-638BAC7A0006}"/>
              </a:ext>
              <a:ext uri="{C183D7F6-B498-43B3-948B-1728B52AA6E4}">
                <adec:decorative xmlns:adec="http://schemas.microsoft.com/office/drawing/2017/decorative" val="1"/>
              </a:ext>
            </a:extLst>
          </p:cNvPr>
          <p:cNvCxnSpPr>
            <a:stCxn id="36" idx="3"/>
          </p:cNvCxnSpPr>
          <p:nvPr/>
        </p:nvCxnSpPr>
        <p:spPr>
          <a:xfrm>
            <a:off x="6607521" y="2220048"/>
            <a:ext cx="1751288" cy="0"/>
          </a:xfrm>
          <a:prstGeom prst="line">
            <a:avLst/>
          </a:prstGeom>
          <a:noFill/>
          <a:ln w="19050" cap="rnd" cmpd="sng" algn="ctr">
            <a:solidFill>
              <a:srgbClr val="96968C">
                <a:lumMod val="60000"/>
                <a:lumOff val="40000"/>
              </a:srgbClr>
            </a:solidFill>
            <a:prstDash val="sysDot"/>
            <a:tailEnd type="oval"/>
          </a:ln>
          <a:effectLst/>
        </p:spPr>
      </p:cxnSp>
      <p:cxnSp>
        <p:nvCxnSpPr>
          <p:cNvPr id="44" name="Straight Connector 43">
            <a:extLst>
              <a:ext uri="{FF2B5EF4-FFF2-40B4-BE49-F238E27FC236}">
                <a16:creationId xmlns:a16="http://schemas.microsoft.com/office/drawing/2014/main" id="{1E7A444A-7A03-4842-B737-62596EC8AA34}"/>
              </a:ext>
              <a:ext uri="{C183D7F6-B498-43B3-948B-1728B52AA6E4}">
                <adec:decorative xmlns:adec="http://schemas.microsoft.com/office/drawing/2017/decorative" val="1"/>
              </a:ext>
            </a:extLst>
          </p:cNvPr>
          <p:cNvCxnSpPr>
            <a:stCxn id="38" idx="1"/>
          </p:cNvCxnSpPr>
          <p:nvPr/>
        </p:nvCxnSpPr>
        <p:spPr>
          <a:xfrm flipH="1">
            <a:off x="4353339" y="3478309"/>
            <a:ext cx="1219132" cy="0"/>
          </a:xfrm>
          <a:prstGeom prst="line">
            <a:avLst/>
          </a:prstGeom>
          <a:noFill/>
          <a:ln w="19050" cap="rnd" cmpd="sng" algn="ctr">
            <a:solidFill>
              <a:srgbClr val="96968C">
                <a:lumMod val="60000"/>
                <a:lumOff val="40000"/>
              </a:srgbClr>
            </a:solidFill>
            <a:prstDash val="sysDot"/>
            <a:tailEnd type="oval"/>
          </a:ln>
          <a:effectLst/>
        </p:spPr>
      </p:cxnSp>
      <p:sp>
        <p:nvSpPr>
          <p:cNvPr id="38" name="Text Box 10">
            <a:extLst>
              <a:ext uri="{FF2B5EF4-FFF2-40B4-BE49-F238E27FC236}">
                <a16:creationId xmlns:a16="http://schemas.microsoft.com/office/drawing/2014/main" id="{B8031479-01B3-4D92-90F1-C59E4CE1D1F4}"/>
              </a:ext>
            </a:extLst>
          </p:cNvPr>
          <p:cNvSpPr txBox="1">
            <a:spLocks noChangeArrowheads="1"/>
          </p:cNvSpPr>
          <p:nvPr/>
        </p:nvSpPr>
        <p:spPr bwMode="auto">
          <a:xfrm>
            <a:off x="5572471" y="3370587"/>
            <a:ext cx="1035050" cy="215444"/>
          </a:xfrm>
          <a:prstGeom prst="rect">
            <a:avLst/>
          </a:prstGeom>
          <a:noFill/>
          <a:ln w="3175">
            <a:noFill/>
            <a:miter lim="800000"/>
            <a:headEnd/>
            <a:tailEnd/>
          </a:ln>
          <a:effectLst/>
        </p:spPr>
        <p:txBody>
          <a:bodyPr lIns="108000" tIns="0" rIns="108000" bIns="0" anchor="ctr">
            <a:spAutoFit/>
          </a:body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96968C"/>
                </a:solidFill>
                <a:effectLst/>
                <a:uLnTx/>
                <a:uFillTx/>
                <a:latin typeface="Arial"/>
                <a:ea typeface="+mn-ea"/>
                <a:cs typeface="+mn-cs"/>
              </a:rPr>
              <a:t>Label B</a:t>
            </a:r>
          </a:p>
        </p:txBody>
      </p:sp>
      <p:cxnSp>
        <p:nvCxnSpPr>
          <p:cNvPr id="43" name="Straight Connector 42">
            <a:extLst>
              <a:ext uri="{FF2B5EF4-FFF2-40B4-BE49-F238E27FC236}">
                <a16:creationId xmlns:a16="http://schemas.microsoft.com/office/drawing/2014/main" id="{3BF8B38F-058E-4D69-838B-B9B9A94F7E59}"/>
              </a:ext>
              <a:ext uri="{C183D7F6-B498-43B3-948B-1728B52AA6E4}">
                <adec:decorative xmlns:adec="http://schemas.microsoft.com/office/drawing/2017/decorative" val="1"/>
              </a:ext>
            </a:extLst>
          </p:cNvPr>
          <p:cNvCxnSpPr>
            <a:stCxn id="38" idx="3"/>
          </p:cNvCxnSpPr>
          <p:nvPr/>
        </p:nvCxnSpPr>
        <p:spPr>
          <a:xfrm>
            <a:off x="6607521" y="3478309"/>
            <a:ext cx="2794896" cy="17705"/>
          </a:xfrm>
          <a:prstGeom prst="line">
            <a:avLst/>
          </a:prstGeom>
          <a:noFill/>
          <a:ln w="19050" cap="rnd" cmpd="sng" algn="ctr">
            <a:solidFill>
              <a:srgbClr val="96968C">
                <a:lumMod val="60000"/>
                <a:lumOff val="40000"/>
              </a:srgbClr>
            </a:solidFill>
            <a:prstDash val="sysDot"/>
            <a:tailEnd type="oval"/>
          </a:ln>
          <a:effectLst/>
        </p:spPr>
      </p:cxnSp>
      <p:cxnSp>
        <p:nvCxnSpPr>
          <p:cNvPr id="41" name="Straight Connector 40">
            <a:extLst>
              <a:ext uri="{FF2B5EF4-FFF2-40B4-BE49-F238E27FC236}">
                <a16:creationId xmlns:a16="http://schemas.microsoft.com/office/drawing/2014/main" id="{295D3B47-A053-4A54-8E28-7E94CA311A59}"/>
              </a:ext>
              <a:ext uri="{C183D7F6-B498-43B3-948B-1728B52AA6E4}">
                <adec:decorative xmlns:adec="http://schemas.microsoft.com/office/drawing/2017/decorative" val="1"/>
              </a:ext>
            </a:extLst>
          </p:cNvPr>
          <p:cNvCxnSpPr>
            <a:stCxn id="37" idx="1"/>
          </p:cNvCxnSpPr>
          <p:nvPr/>
        </p:nvCxnSpPr>
        <p:spPr>
          <a:xfrm flipH="1">
            <a:off x="3867150" y="4736570"/>
            <a:ext cx="1705321" cy="0"/>
          </a:xfrm>
          <a:prstGeom prst="line">
            <a:avLst/>
          </a:prstGeom>
          <a:noFill/>
          <a:ln w="19050" cap="rnd" cmpd="sng" algn="ctr">
            <a:solidFill>
              <a:srgbClr val="96968C">
                <a:lumMod val="60000"/>
                <a:lumOff val="40000"/>
              </a:srgbClr>
            </a:solidFill>
            <a:prstDash val="sysDot"/>
            <a:tailEnd type="oval"/>
          </a:ln>
          <a:effectLst/>
        </p:spPr>
      </p:cxnSp>
      <p:sp>
        <p:nvSpPr>
          <p:cNvPr id="37" name="Text Box 11">
            <a:extLst>
              <a:ext uri="{FF2B5EF4-FFF2-40B4-BE49-F238E27FC236}">
                <a16:creationId xmlns:a16="http://schemas.microsoft.com/office/drawing/2014/main" id="{57B17458-1010-4F9F-BA67-1ACB6660927A}"/>
              </a:ext>
            </a:extLst>
          </p:cNvPr>
          <p:cNvSpPr txBox="1">
            <a:spLocks noChangeArrowheads="1"/>
          </p:cNvSpPr>
          <p:nvPr/>
        </p:nvSpPr>
        <p:spPr bwMode="auto">
          <a:xfrm>
            <a:off x="5572471" y="4628848"/>
            <a:ext cx="1035050" cy="215444"/>
          </a:xfrm>
          <a:prstGeom prst="rect">
            <a:avLst/>
          </a:prstGeom>
          <a:noFill/>
          <a:ln w="3175">
            <a:noFill/>
            <a:miter lim="800000"/>
            <a:headEnd/>
            <a:tailEnd/>
          </a:ln>
          <a:effectLst/>
        </p:spPr>
        <p:txBody>
          <a:bodyPr lIns="108000" tIns="0" rIns="108000" bIns="0" anchor="ctr">
            <a:spAutoFit/>
          </a:body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96968C"/>
                </a:solidFill>
                <a:effectLst/>
                <a:uLnTx/>
                <a:uFillTx/>
                <a:latin typeface="Arial"/>
                <a:ea typeface="+mn-ea"/>
                <a:cs typeface="+mn-cs"/>
              </a:rPr>
              <a:t>Label C</a:t>
            </a:r>
          </a:p>
        </p:txBody>
      </p:sp>
      <p:cxnSp>
        <p:nvCxnSpPr>
          <p:cNvPr id="42" name="Straight Connector 41">
            <a:extLst>
              <a:ext uri="{FF2B5EF4-FFF2-40B4-BE49-F238E27FC236}">
                <a16:creationId xmlns:a16="http://schemas.microsoft.com/office/drawing/2014/main" id="{2A390FF8-F5F4-422C-B73A-BBA1D351E8C2}"/>
              </a:ext>
              <a:ext uri="{C183D7F6-B498-43B3-948B-1728B52AA6E4}">
                <adec:decorative xmlns:adec="http://schemas.microsoft.com/office/drawing/2017/decorative" val="1"/>
              </a:ext>
            </a:extLst>
          </p:cNvPr>
          <p:cNvCxnSpPr>
            <a:stCxn id="37" idx="3"/>
          </p:cNvCxnSpPr>
          <p:nvPr/>
        </p:nvCxnSpPr>
        <p:spPr>
          <a:xfrm>
            <a:off x="6607521" y="4736570"/>
            <a:ext cx="1993554" cy="0"/>
          </a:xfrm>
          <a:prstGeom prst="line">
            <a:avLst/>
          </a:prstGeom>
          <a:noFill/>
          <a:ln w="19050" cap="rnd" cmpd="sng" algn="ctr">
            <a:solidFill>
              <a:srgbClr val="96968C">
                <a:lumMod val="60000"/>
                <a:lumOff val="40000"/>
              </a:srgbClr>
            </a:solidFill>
            <a:prstDash val="sysDot"/>
            <a:tailEnd type="oval"/>
          </a:ln>
          <a:effectLst/>
        </p:spPr>
      </p:cxnSp>
      <p:sp>
        <p:nvSpPr>
          <p:cNvPr id="15" name="Rectangle 3">
            <a:extLst>
              <a:ext uri="{FF2B5EF4-FFF2-40B4-BE49-F238E27FC236}">
                <a16:creationId xmlns:a16="http://schemas.microsoft.com/office/drawing/2014/main" id="{5D10A91F-4963-4F65-BE9D-BF9CBF5B1DD5}"/>
              </a:ext>
            </a:extLst>
          </p:cNvPr>
          <p:cNvSpPr>
            <a:spLocks noChangeArrowheads="1"/>
          </p:cNvSpPr>
          <p:nvPr/>
        </p:nvSpPr>
        <p:spPr bwMode="auto">
          <a:xfrm>
            <a:off x="380997" y="5216909"/>
            <a:ext cx="4449219" cy="1090143"/>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	This chart consists of two separate pie char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	Insert columns as required (each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3	Double-click on a slice to change the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4	In the options menu you can choose the rotation of the chart</a:t>
            </a:r>
          </a:p>
        </p:txBody>
      </p:sp>
      <p:sp>
        <p:nvSpPr>
          <p:cNvPr id="4" name="Footer Placeholder 3">
            <a:extLst>
              <a:ext uri="{FF2B5EF4-FFF2-40B4-BE49-F238E27FC236}">
                <a16:creationId xmlns:a16="http://schemas.microsoft.com/office/drawing/2014/main" id="{3462B30B-346B-493E-B0A5-B857B4F6BC1E}"/>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6CC015F4-8FD7-4AD8-9E7E-B964DAD59D62}"/>
              </a:ext>
            </a:extLst>
          </p:cNvPr>
          <p:cNvSpPr>
            <a:spLocks noGrp="1"/>
          </p:cNvSpPr>
          <p:nvPr>
            <p:ph type="sldNum" sz="quarter" idx="10"/>
          </p:nvPr>
        </p:nvSpPr>
        <p:spPr/>
        <p:txBody>
          <a:bodyPr/>
          <a:lstStyle/>
          <a:p>
            <a:fld id="{1F90F471-3972-4120-B8B3-0237DE626C35}" type="slidenum">
              <a:rPr lang="en-US" smtClean="0"/>
              <a:pPr/>
              <a:t>96</a:t>
            </a:fld>
            <a:endParaRPr lang="en-US" dirty="0"/>
          </a:p>
        </p:txBody>
      </p:sp>
    </p:spTree>
    <p:extLst>
      <p:ext uri="{BB962C8B-B14F-4D97-AF65-F5344CB8AC3E}">
        <p14:creationId xmlns:p14="http://schemas.microsoft.com/office/powerpoint/2010/main" val="137227537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ECD5A-0AE9-429A-8046-CEDA1D194097}"/>
              </a:ext>
            </a:extLst>
          </p:cNvPr>
          <p:cNvSpPr>
            <a:spLocks noGrp="1"/>
          </p:cNvSpPr>
          <p:nvPr>
            <p:ph type="title"/>
          </p:nvPr>
        </p:nvSpPr>
        <p:spPr/>
        <p:txBody>
          <a:bodyPr/>
          <a:lstStyle/>
          <a:p>
            <a:r>
              <a:rPr lang="en-US" dirty="0"/>
              <a:t>Double Doughnut Chart</a:t>
            </a:r>
          </a:p>
        </p:txBody>
      </p:sp>
      <p:graphicFrame>
        <p:nvGraphicFramePr>
          <p:cNvPr id="31" name="Object 2" descr="Insert short description here">
            <a:extLst>
              <a:ext uri="{FF2B5EF4-FFF2-40B4-BE49-F238E27FC236}">
                <a16:creationId xmlns:a16="http://schemas.microsoft.com/office/drawing/2014/main" id="{CDADFDE1-BD3A-40DE-AE2C-762B429AA62A}"/>
              </a:ext>
            </a:extLst>
          </p:cNvPr>
          <p:cNvGraphicFramePr>
            <a:graphicFrameLocks noChangeAspect="1"/>
          </p:cNvGraphicFramePr>
          <p:nvPr>
            <p:extLst>
              <p:ext uri="{D42A27DB-BD31-4B8C-83A1-F6EECF244321}">
                <p14:modId xmlns:p14="http://schemas.microsoft.com/office/powerpoint/2010/main" val="1454785459"/>
              </p:ext>
            </p:extLst>
          </p:nvPr>
        </p:nvGraphicFramePr>
        <p:xfrm>
          <a:off x="851089" y="550948"/>
          <a:ext cx="4572518" cy="4932000"/>
        </p:xfrm>
        <a:graphic>
          <a:graphicData uri="http://schemas.openxmlformats.org/drawingml/2006/chart">
            <c:chart xmlns:c="http://schemas.openxmlformats.org/drawingml/2006/chart" xmlns:r="http://schemas.openxmlformats.org/officeDocument/2006/relationships" r:id="rId3"/>
          </a:graphicData>
        </a:graphic>
      </p:graphicFrame>
      <p:sp>
        <p:nvSpPr>
          <p:cNvPr id="55" name="Inhaltsplatzhalter 9">
            <a:extLst>
              <a:ext uri="{FF2B5EF4-FFF2-40B4-BE49-F238E27FC236}">
                <a16:creationId xmlns:a16="http://schemas.microsoft.com/office/drawing/2014/main" id="{12093C6A-EBFC-4405-9C01-AA8C2A2792B4}"/>
              </a:ext>
            </a:extLst>
          </p:cNvPr>
          <p:cNvSpPr>
            <a:spLocks noGrp="1"/>
          </p:cNvSpPr>
          <p:nvPr/>
        </p:nvSpPr>
        <p:spPr bwMode="auto">
          <a:xfrm>
            <a:off x="2008939" y="2885872"/>
            <a:ext cx="2256818" cy="422987"/>
          </a:xfrm>
          <a:prstGeom prst="rect">
            <a:avLst/>
          </a:prstGeom>
          <a:noFill/>
          <a:ln w="12700">
            <a:noFill/>
            <a:miter lim="800000"/>
            <a:headEnd/>
            <a:tailEnd/>
          </a:ln>
        </p:spPr>
        <p:txBody>
          <a:bodyPr vert="horz" wrap="square" lIns="0" tIns="108000" rIns="0" bIns="0" numCol="1" anchor="ctr" anchorCtr="0" compatLnSpc="1">
            <a:prstTxWarp prst="textNoShape">
              <a:avLst/>
            </a:prstTxWarp>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2400" b="0" i="0" u="none" strike="noStrike" kern="1200" cap="all" spc="0" normalizeH="0" baseline="0" noProof="0" dirty="0">
                <a:ln>
                  <a:noFill/>
                </a:ln>
                <a:solidFill>
                  <a:srgbClr val="000000"/>
                </a:solidFill>
                <a:effectLst/>
                <a:uLnTx/>
                <a:uFillTx/>
                <a:latin typeface="Arial Black"/>
                <a:ea typeface="+mn-ea"/>
                <a:cs typeface="+mn-cs"/>
              </a:rPr>
              <a:t>$150M</a:t>
            </a:r>
            <a:endParaRPr kumimoji="0" lang="de-DE" sz="2800" b="0" i="0" u="none" strike="noStrike" kern="1200" cap="all" spc="0" normalizeH="0" baseline="0" noProof="0" dirty="0">
              <a:ln>
                <a:noFill/>
              </a:ln>
              <a:solidFill>
                <a:srgbClr val="000000"/>
              </a:solidFill>
              <a:effectLst/>
              <a:uLnTx/>
              <a:uFillTx/>
              <a:latin typeface="Arial Black"/>
              <a:ea typeface="+mn-ea"/>
              <a:cs typeface="+mn-cs"/>
            </a:endParaRPr>
          </a:p>
        </p:txBody>
      </p:sp>
      <p:graphicFrame>
        <p:nvGraphicFramePr>
          <p:cNvPr id="45" name="Object 2" descr="Insert short description here">
            <a:extLst>
              <a:ext uri="{FF2B5EF4-FFF2-40B4-BE49-F238E27FC236}">
                <a16:creationId xmlns:a16="http://schemas.microsoft.com/office/drawing/2014/main" id="{C0D9859C-C5E8-4E9D-BDF2-9AE9E52F258F}"/>
              </a:ext>
            </a:extLst>
          </p:cNvPr>
          <p:cNvGraphicFramePr>
            <a:graphicFrameLocks noChangeAspect="1"/>
          </p:cNvGraphicFramePr>
          <p:nvPr>
            <p:extLst>
              <p:ext uri="{D42A27DB-BD31-4B8C-83A1-F6EECF244321}">
                <p14:modId xmlns:p14="http://schemas.microsoft.com/office/powerpoint/2010/main" val="460052591"/>
              </p:ext>
            </p:extLst>
          </p:nvPr>
        </p:nvGraphicFramePr>
        <p:xfrm>
          <a:off x="6777919" y="550948"/>
          <a:ext cx="4572518" cy="4932000"/>
        </p:xfrm>
        <a:graphic>
          <a:graphicData uri="http://schemas.openxmlformats.org/drawingml/2006/chart">
            <c:chart xmlns:c="http://schemas.openxmlformats.org/drawingml/2006/chart" xmlns:r="http://schemas.openxmlformats.org/officeDocument/2006/relationships" r:id="rId4"/>
          </a:graphicData>
        </a:graphic>
      </p:graphicFrame>
      <p:sp>
        <p:nvSpPr>
          <p:cNvPr id="56" name="Inhaltsplatzhalter 9">
            <a:extLst>
              <a:ext uri="{FF2B5EF4-FFF2-40B4-BE49-F238E27FC236}">
                <a16:creationId xmlns:a16="http://schemas.microsoft.com/office/drawing/2014/main" id="{540DDFBF-E9DF-483B-AC68-6466E41729F6}"/>
              </a:ext>
            </a:extLst>
          </p:cNvPr>
          <p:cNvSpPr>
            <a:spLocks noGrp="1"/>
          </p:cNvSpPr>
          <p:nvPr/>
        </p:nvSpPr>
        <p:spPr bwMode="auto">
          <a:xfrm>
            <a:off x="7935769" y="2755067"/>
            <a:ext cx="2256818" cy="684597"/>
          </a:xfrm>
          <a:prstGeom prst="rect">
            <a:avLst/>
          </a:prstGeom>
          <a:noFill/>
          <a:ln w="12700">
            <a:noFill/>
            <a:miter lim="800000"/>
            <a:headEnd/>
            <a:tailEnd/>
          </a:ln>
        </p:spPr>
        <p:txBody>
          <a:bodyPr vert="horz" wrap="square" lIns="0" tIns="108000" rIns="0" bIns="0" numCol="1" anchor="ctr" anchorCtr="0" compatLnSpc="1">
            <a:prstTxWarp prst="textNoShape">
              <a:avLst/>
            </a:prstTxWarp>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2400" b="0" i="0" u="none" strike="noStrike" kern="1200" spc="0" normalizeH="0" baseline="0" noProof="0" dirty="0">
                <a:ln>
                  <a:noFill/>
                </a:ln>
                <a:solidFill>
                  <a:srgbClr val="000000"/>
                </a:solidFill>
                <a:effectLst/>
                <a:uLnTx/>
                <a:uFillTx/>
                <a:latin typeface="Arial Black"/>
                <a:ea typeface="+mn-ea"/>
                <a:cs typeface="+mn-cs"/>
              </a:rPr>
              <a:t>10,500 </a:t>
            </a:r>
            <a:r>
              <a:rPr kumimoji="0" lang="en-US" sz="1800" b="0" i="0" u="none" strike="noStrike" kern="1200" spc="0" normalizeH="0" baseline="0" noProof="0" dirty="0">
                <a:ln>
                  <a:noFill/>
                </a:ln>
                <a:solidFill>
                  <a:srgbClr val="000000"/>
                </a:solidFill>
                <a:effectLst/>
                <a:uLnTx/>
                <a:uFillTx/>
                <a:latin typeface="Arial Black"/>
                <a:ea typeface="+mn-ea"/>
                <a:cs typeface="+mn-cs"/>
              </a:rPr>
              <a:t>Customers</a:t>
            </a:r>
            <a:endParaRPr kumimoji="0" lang="de-DE" sz="2800" b="0" i="0" u="none" strike="noStrike" kern="1200" spc="0" normalizeH="0" baseline="0" noProof="0" dirty="0">
              <a:ln>
                <a:noFill/>
              </a:ln>
              <a:solidFill>
                <a:srgbClr val="000000"/>
              </a:solidFill>
              <a:effectLst/>
              <a:uLnTx/>
              <a:uFillTx/>
              <a:latin typeface="Arial Black"/>
              <a:ea typeface="+mn-ea"/>
              <a:cs typeface="+mn-cs"/>
            </a:endParaRPr>
          </a:p>
        </p:txBody>
      </p:sp>
      <p:cxnSp>
        <p:nvCxnSpPr>
          <p:cNvPr id="49" name="Straight Connector 48">
            <a:extLst>
              <a:ext uri="{FF2B5EF4-FFF2-40B4-BE49-F238E27FC236}">
                <a16:creationId xmlns:a16="http://schemas.microsoft.com/office/drawing/2014/main" id="{8CE985B2-BDD8-4E79-A582-E3F1D23AA3CC}"/>
              </a:ext>
              <a:ext uri="{C183D7F6-B498-43B3-948B-1728B52AA6E4}">
                <adec:decorative xmlns:adec="http://schemas.microsoft.com/office/drawing/2017/decorative" val="1"/>
              </a:ext>
            </a:extLst>
          </p:cNvPr>
          <p:cNvCxnSpPr>
            <a:stCxn id="46" idx="1"/>
          </p:cNvCxnSpPr>
          <p:nvPr/>
        </p:nvCxnSpPr>
        <p:spPr>
          <a:xfrm flipH="1">
            <a:off x="2863149" y="1666474"/>
            <a:ext cx="2700000" cy="0"/>
          </a:xfrm>
          <a:prstGeom prst="line">
            <a:avLst/>
          </a:prstGeom>
          <a:noFill/>
          <a:ln w="15875" cap="rnd" cmpd="sng" algn="ctr">
            <a:solidFill>
              <a:srgbClr val="96968C">
                <a:lumMod val="60000"/>
                <a:lumOff val="40000"/>
              </a:srgbClr>
            </a:solidFill>
            <a:prstDash val="sysDot"/>
            <a:tailEnd type="oval"/>
          </a:ln>
          <a:effectLst/>
        </p:spPr>
      </p:cxnSp>
      <p:sp>
        <p:nvSpPr>
          <p:cNvPr id="46" name="Text Box 9">
            <a:extLst>
              <a:ext uri="{FF2B5EF4-FFF2-40B4-BE49-F238E27FC236}">
                <a16:creationId xmlns:a16="http://schemas.microsoft.com/office/drawing/2014/main" id="{781B379D-77E5-4D5D-AAAD-1A50200CA7E6}"/>
              </a:ext>
            </a:extLst>
          </p:cNvPr>
          <p:cNvSpPr txBox="1">
            <a:spLocks noChangeArrowheads="1"/>
          </p:cNvSpPr>
          <p:nvPr/>
        </p:nvSpPr>
        <p:spPr bwMode="auto">
          <a:xfrm>
            <a:off x="5583238" y="1558752"/>
            <a:ext cx="1035050" cy="215444"/>
          </a:xfrm>
          <a:prstGeom prst="rect">
            <a:avLst/>
          </a:prstGeom>
          <a:noFill/>
          <a:ln w="3175">
            <a:noFill/>
            <a:miter lim="800000"/>
            <a:headEnd/>
            <a:tailEnd/>
          </a:ln>
          <a:effectLst/>
        </p:spPr>
        <p:txBody>
          <a:bodyPr lIns="108000" tIns="0" rIns="108000" bIns="0" anchor="ctr">
            <a:spAutoFit/>
          </a:body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96968C"/>
                </a:solidFill>
                <a:effectLst/>
                <a:uLnTx/>
                <a:uFillTx/>
                <a:latin typeface="Arial"/>
                <a:ea typeface="+mn-ea"/>
                <a:cs typeface="+mn-cs"/>
              </a:rPr>
              <a:t>Label A</a:t>
            </a:r>
          </a:p>
        </p:txBody>
      </p:sp>
      <p:cxnSp>
        <p:nvCxnSpPr>
          <p:cNvPr id="50" name="Straight Connector 49">
            <a:extLst>
              <a:ext uri="{FF2B5EF4-FFF2-40B4-BE49-F238E27FC236}">
                <a16:creationId xmlns:a16="http://schemas.microsoft.com/office/drawing/2014/main" id="{54DBA57B-A4D3-4D76-9813-18D9EC3C0077}"/>
              </a:ext>
              <a:ext uri="{C183D7F6-B498-43B3-948B-1728B52AA6E4}">
                <adec:decorative xmlns:adec="http://schemas.microsoft.com/office/drawing/2017/decorative" val="1"/>
              </a:ext>
            </a:extLst>
          </p:cNvPr>
          <p:cNvCxnSpPr>
            <a:stCxn id="46" idx="3"/>
          </p:cNvCxnSpPr>
          <p:nvPr/>
        </p:nvCxnSpPr>
        <p:spPr>
          <a:xfrm>
            <a:off x="6618288" y="1666474"/>
            <a:ext cx="2212629" cy="0"/>
          </a:xfrm>
          <a:prstGeom prst="line">
            <a:avLst/>
          </a:prstGeom>
          <a:noFill/>
          <a:ln w="15875" cap="rnd" cmpd="sng" algn="ctr">
            <a:solidFill>
              <a:srgbClr val="96968C">
                <a:lumMod val="60000"/>
                <a:lumOff val="40000"/>
              </a:srgbClr>
            </a:solidFill>
            <a:prstDash val="sysDot"/>
            <a:tailEnd type="oval"/>
          </a:ln>
          <a:effectLst/>
        </p:spPr>
      </p:cxnSp>
      <p:cxnSp>
        <p:nvCxnSpPr>
          <p:cNvPr id="54" name="Straight Connector 53">
            <a:extLst>
              <a:ext uri="{FF2B5EF4-FFF2-40B4-BE49-F238E27FC236}">
                <a16:creationId xmlns:a16="http://schemas.microsoft.com/office/drawing/2014/main" id="{5665FC61-9B25-40C5-B0F8-CFBC04E5AFDD}"/>
              </a:ext>
              <a:ext uri="{C183D7F6-B498-43B3-948B-1728B52AA6E4}">
                <adec:decorative xmlns:adec="http://schemas.microsoft.com/office/drawing/2017/decorative" val="1"/>
              </a:ext>
            </a:extLst>
          </p:cNvPr>
          <p:cNvCxnSpPr>
            <a:stCxn id="48" idx="1"/>
          </p:cNvCxnSpPr>
          <p:nvPr/>
        </p:nvCxnSpPr>
        <p:spPr>
          <a:xfrm flipH="1">
            <a:off x="4573242" y="2889325"/>
            <a:ext cx="1009996" cy="0"/>
          </a:xfrm>
          <a:prstGeom prst="line">
            <a:avLst/>
          </a:prstGeom>
          <a:noFill/>
          <a:ln w="15875" cap="rnd" cmpd="sng" algn="ctr">
            <a:solidFill>
              <a:srgbClr val="96968C">
                <a:lumMod val="60000"/>
                <a:lumOff val="40000"/>
              </a:srgbClr>
            </a:solidFill>
            <a:prstDash val="sysDot"/>
            <a:tailEnd type="oval"/>
          </a:ln>
          <a:effectLst/>
        </p:spPr>
      </p:cxnSp>
      <p:sp>
        <p:nvSpPr>
          <p:cNvPr id="48" name="Text Box 10">
            <a:extLst>
              <a:ext uri="{FF2B5EF4-FFF2-40B4-BE49-F238E27FC236}">
                <a16:creationId xmlns:a16="http://schemas.microsoft.com/office/drawing/2014/main" id="{B1B2CEC4-6CE9-49FA-98E2-54A5416C47E0}"/>
              </a:ext>
            </a:extLst>
          </p:cNvPr>
          <p:cNvSpPr txBox="1">
            <a:spLocks noChangeArrowheads="1"/>
          </p:cNvSpPr>
          <p:nvPr/>
        </p:nvSpPr>
        <p:spPr bwMode="auto">
          <a:xfrm>
            <a:off x="5583238" y="2781603"/>
            <a:ext cx="1035050" cy="215444"/>
          </a:xfrm>
          <a:prstGeom prst="rect">
            <a:avLst/>
          </a:prstGeom>
          <a:noFill/>
          <a:ln w="3175">
            <a:noFill/>
            <a:miter lim="800000"/>
            <a:headEnd/>
            <a:tailEnd/>
          </a:ln>
          <a:effectLst/>
        </p:spPr>
        <p:txBody>
          <a:bodyPr lIns="108000" tIns="0" rIns="108000" bIns="0" anchor="ctr">
            <a:spAutoFit/>
          </a:body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96968C"/>
                </a:solidFill>
                <a:effectLst/>
                <a:uLnTx/>
                <a:uFillTx/>
                <a:latin typeface="Arial"/>
                <a:ea typeface="+mn-ea"/>
                <a:cs typeface="+mn-cs"/>
              </a:rPr>
              <a:t>Label B</a:t>
            </a:r>
          </a:p>
        </p:txBody>
      </p:sp>
      <p:cxnSp>
        <p:nvCxnSpPr>
          <p:cNvPr id="53" name="Straight Connector 52">
            <a:extLst>
              <a:ext uri="{FF2B5EF4-FFF2-40B4-BE49-F238E27FC236}">
                <a16:creationId xmlns:a16="http://schemas.microsoft.com/office/drawing/2014/main" id="{AA34EA0A-6C42-4922-B14B-C6510214A25F}"/>
              </a:ext>
              <a:ext uri="{C183D7F6-B498-43B3-948B-1728B52AA6E4}">
                <adec:decorative xmlns:adec="http://schemas.microsoft.com/office/drawing/2017/decorative" val="1"/>
              </a:ext>
            </a:extLst>
          </p:cNvPr>
          <p:cNvCxnSpPr>
            <a:stCxn id="48" idx="3"/>
          </p:cNvCxnSpPr>
          <p:nvPr/>
        </p:nvCxnSpPr>
        <p:spPr>
          <a:xfrm>
            <a:off x="6618288" y="2889325"/>
            <a:ext cx="3841404" cy="0"/>
          </a:xfrm>
          <a:prstGeom prst="line">
            <a:avLst/>
          </a:prstGeom>
          <a:noFill/>
          <a:ln w="15875" cap="rnd" cmpd="sng" algn="ctr">
            <a:solidFill>
              <a:srgbClr val="96968C">
                <a:lumMod val="60000"/>
                <a:lumOff val="40000"/>
              </a:srgbClr>
            </a:solidFill>
            <a:prstDash val="sysDot"/>
            <a:tailEnd type="oval"/>
          </a:ln>
          <a:effectLst/>
        </p:spPr>
      </p:cxnSp>
      <p:cxnSp>
        <p:nvCxnSpPr>
          <p:cNvPr id="51" name="Straight Connector 50">
            <a:extLst>
              <a:ext uri="{FF2B5EF4-FFF2-40B4-BE49-F238E27FC236}">
                <a16:creationId xmlns:a16="http://schemas.microsoft.com/office/drawing/2014/main" id="{B6DE815D-316D-45AC-AF80-1B6ACE6D1EC6}"/>
              </a:ext>
              <a:ext uri="{C183D7F6-B498-43B3-948B-1728B52AA6E4}">
                <adec:decorative xmlns:adec="http://schemas.microsoft.com/office/drawing/2017/decorative" val="1"/>
              </a:ext>
            </a:extLst>
          </p:cNvPr>
          <p:cNvCxnSpPr>
            <a:stCxn id="47" idx="1"/>
          </p:cNvCxnSpPr>
          <p:nvPr/>
        </p:nvCxnSpPr>
        <p:spPr>
          <a:xfrm flipH="1">
            <a:off x="3877917" y="4327619"/>
            <a:ext cx="1705321" cy="0"/>
          </a:xfrm>
          <a:prstGeom prst="line">
            <a:avLst/>
          </a:prstGeom>
          <a:noFill/>
          <a:ln w="15875" cap="rnd" cmpd="sng" algn="ctr">
            <a:solidFill>
              <a:srgbClr val="96968C">
                <a:lumMod val="60000"/>
                <a:lumOff val="40000"/>
              </a:srgbClr>
            </a:solidFill>
            <a:prstDash val="sysDot"/>
            <a:tailEnd type="oval"/>
          </a:ln>
          <a:effectLst/>
        </p:spPr>
      </p:cxnSp>
      <p:sp>
        <p:nvSpPr>
          <p:cNvPr id="47" name="Text Box 11">
            <a:extLst>
              <a:ext uri="{FF2B5EF4-FFF2-40B4-BE49-F238E27FC236}">
                <a16:creationId xmlns:a16="http://schemas.microsoft.com/office/drawing/2014/main" id="{1754583B-DF88-4769-B96C-04E59BE5F831}"/>
              </a:ext>
            </a:extLst>
          </p:cNvPr>
          <p:cNvSpPr txBox="1">
            <a:spLocks noChangeArrowheads="1"/>
          </p:cNvSpPr>
          <p:nvPr/>
        </p:nvSpPr>
        <p:spPr bwMode="auto">
          <a:xfrm>
            <a:off x="5583238" y="4219897"/>
            <a:ext cx="1035050" cy="215444"/>
          </a:xfrm>
          <a:prstGeom prst="rect">
            <a:avLst/>
          </a:prstGeom>
          <a:noFill/>
          <a:ln w="3175">
            <a:noFill/>
            <a:miter lim="800000"/>
            <a:headEnd/>
            <a:tailEnd/>
          </a:ln>
          <a:effectLst/>
        </p:spPr>
        <p:txBody>
          <a:bodyPr lIns="108000" tIns="0" rIns="108000" bIns="0" anchor="ctr">
            <a:spAutoFit/>
          </a:body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96968C"/>
                </a:solidFill>
                <a:effectLst/>
                <a:uLnTx/>
                <a:uFillTx/>
                <a:latin typeface="Arial"/>
                <a:ea typeface="+mn-ea"/>
                <a:cs typeface="+mn-cs"/>
              </a:rPr>
              <a:t>Label C</a:t>
            </a:r>
          </a:p>
        </p:txBody>
      </p:sp>
      <p:cxnSp>
        <p:nvCxnSpPr>
          <p:cNvPr id="52" name="Straight Connector 51">
            <a:extLst>
              <a:ext uri="{FF2B5EF4-FFF2-40B4-BE49-F238E27FC236}">
                <a16:creationId xmlns:a16="http://schemas.microsoft.com/office/drawing/2014/main" id="{B479B255-2386-4F46-9957-CE680A9F8AF4}"/>
              </a:ext>
              <a:ext uri="{C183D7F6-B498-43B3-948B-1728B52AA6E4}">
                <adec:decorative xmlns:adec="http://schemas.microsoft.com/office/drawing/2017/decorative" val="1"/>
              </a:ext>
            </a:extLst>
          </p:cNvPr>
          <p:cNvCxnSpPr>
            <a:stCxn id="47" idx="3"/>
          </p:cNvCxnSpPr>
          <p:nvPr/>
        </p:nvCxnSpPr>
        <p:spPr>
          <a:xfrm>
            <a:off x="6618288" y="4327619"/>
            <a:ext cx="1993554" cy="0"/>
          </a:xfrm>
          <a:prstGeom prst="line">
            <a:avLst/>
          </a:prstGeom>
          <a:noFill/>
          <a:ln w="15875" cap="rnd" cmpd="sng" algn="ctr">
            <a:solidFill>
              <a:srgbClr val="96968C">
                <a:lumMod val="60000"/>
                <a:lumOff val="40000"/>
              </a:srgbClr>
            </a:solidFill>
            <a:prstDash val="sysDot"/>
            <a:tailEnd type="oval"/>
          </a:ln>
          <a:effectLst/>
        </p:spPr>
      </p:cxnSp>
      <p:sp>
        <p:nvSpPr>
          <p:cNvPr id="15" name="Rectangle 3">
            <a:extLst>
              <a:ext uri="{FF2B5EF4-FFF2-40B4-BE49-F238E27FC236}">
                <a16:creationId xmlns:a16="http://schemas.microsoft.com/office/drawing/2014/main" id="{5D10A91F-4963-4F65-BE9D-BF9CBF5B1DD5}"/>
              </a:ext>
            </a:extLst>
          </p:cNvPr>
          <p:cNvSpPr>
            <a:spLocks noChangeArrowheads="1"/>
          </p:cNvSpPr>
          <p:nvPr/>
        </p:nvSpPr>
        <p:spPr bwMode="auto">
          <a:xfrm>
            <a:off x="380997" y="5216909"/>
            <a:ext cx="4449219" cy="1090143"/>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	This chart consists of two separate pie char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	Insert columns as required (each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3	Double-click on a slice to change the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4	In the options menu you can choose the rotation of the chart</a:t>
            </a:r>
          </a:p>
        </p:txBody>
      </p:sp>
      <p:sp>
        <p:nvSpPr>
          <p:cNvPr id="4" name="Footer Placeholder 3">
            <a:extLst>
              <a:ext uri="{FF2B5EF4-FFF2-40B4-BE49-F238E27FC236}">
                <a16:creationId xmlns:a16="http://schemas.microsoft.com/office/drawing/2014/main" id="{1106F5EE-3BC3-487D-8E13-C19BAC163C9E}"/>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764AFB73-E8BE-418C-996F-C30671154A52}"/>
              </a:ext>
            </a:extLst>
          </p:cNvPr>
          <p:cNvSpPr>
            <a:spLocks noGrp="1"/>
          </p:cNvSpPr>
          <p:nvPr>
            <p:ph type="sldNum" sz="quarter" idx="10"/>
          </p:nvPr>
        </p:nvSpPr>
        <p:spPr/>
        <p:txBody>
          <a:bodyPr/>
          <a:lstStyle/>
          <a:p>
            <a:fld id="{1F90F471-3972-4120-B8B3-0237DE626C35}" type="slidenum">
              <a:rPr lang="en-US" smtClean="0"/>
              <a:pPr/>
              <a:t>97</a:t>
            </a:fld>
            <a:endParaRPr lang="en-US" dirty="0"/>
          </a:p>
        </p:txBody>
      </p:sp>
    </p:spTree>
    <p:extLst>
      <p:ext uri="{BB962C8B-B14F-4D97-AF65-F5344CB8AC3E}">
        <p14:creationId xmlns:p14="http://schemas.microsoft.com/office/powerpoint/2010/main" val="210814147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ECD5A-0AE9-429A-8046-CEDA1D194097}"/>
              </a:ext>
            </a:extLst>
          </p:cNvPr>
          <p:cNvSpPr>
            <a:spLocks noGrp="1"/>
          </p:cNvSpPr>
          <p:nvPr>
            <p:ph type="title"/>
          </p:nvPr>
        </p:nvSpPr>
        <p:spPr/>
        <p:txBody>
          <a:bodyPr/>
          <a:lstStyle/>
          <a:p>
            <a:r>
              <a:rPr lang="en-US" dirty="0"/>
              <a:t>Combination Pie and Column Chart</a:t>
            </a:r>
          </a:p>
        </p:txBody>
      </p:sp>
      <p:graphicFrame>
        <p:nvGraphicFramePr>
          <p:cNvPr id="19" name="Object 2" descr="Insert short description here">
            <a:extLst>
              <a:ext uri="{FF2B5EF4-FFF2-40B4-BE49-F238E27FC236}">
                <a16:creationId xmlns:a16="http://schemas.microsoft.com/office/drawing/2014/main" id="{D6F24B05-3592-4BAA-AE58-A8DA5BC68400}"/>
              </a:ext>
            </a:extLst>
          </p:cNvPr>
          <p:cNvGraphicFramePr>
            <a:graphicFrameLocks/>
          </p:cNvGraphicFramePr>
          <p:nvPr>
            <p:extLst>
              <p:ext uri="{D42A27DB-BD31-4B8C-83A1-F6EECF244321}">
                <p14:modId xmlns:p14="http://schemas.microsoft.com/office/powerpoint/2010/main" val="448599291"/>
              </p:ext>
            </p:extLst>
          </p:nvPr>
        </p:nvGraphicFramePr>
        <p:xfrm>
          <a:off x="3293615" y="1657108"/>
          <a:ext cx="8557865" cy="3543783"/>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angle 3">
            <a:extLst>
              <a:ext uri="{FF2B5EF4-FFF2-40B4-BE49-F238E27FC236}">
                <a16:creationId xmlns:a16="http://schemas.microsoft.com/office/drawing/2014/main" id="{5D10A91F-4963-4F65-BE9D-BF9CBF5B1DD5}"/>
              </a:ext>
            </a:extLst>
          </p:cNvPr>
          <p:cNvSpPr>
            <a:spLocks noChangeArrowheads="1"/>
          </p:cNvSpPr>
          <p:nvPr/>
        </p:nvSpPr>
        <p:spPr bwMode="auto">
          <a:xfrm>
            <a:off x="380998" y="4089443"/>
            <a:ext cx="3152316" cy="2090417"/>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82563" marR="0" lvl="0" indent="-182563"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	Insert columns to add slices in pie as required (each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 typeface="Arial" charset="0"/>
              <a:buAutoNum type="arabicPlain" startAt="2"/>
              <a:tabLst/>
              <a:defRPr/>
            </a:pPr>
            <a:r>
              <a:rPr kumimoji="0" lang="en-US" sz="1000" b="0" i="0" u="none" strike="noStrike" kern="1200" cap="none" spc="0" normalizeH="0" baseline="0" noProof="0" dirty="0">
                <a:ln>
                  <a:noFill/>
                </a:ln>
                <a:solidFill>
                  <a:srgbClr val="000000"/>
                </a:solidFill>
                <a:effectLst/>
                <a:uLnTx/>
                <a:uFillTx/>
                <a:ea typeface="+mn-ea"/>
                <a:cs typeface="+mn-cs"/>
              </a:rPr>
              <a:t>Double-click on a slice to change the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 typeface="Arial" charset="0"/>
              <a:buAutoNum type="arabicPlain" startAt="2"/>
              <a:tabLst/>
              <a:defRPr/>
            </a:pPr>
            <a:r>
              <a:rPr kumimoji="0" lang="en-US" sz="1000" b="0" i="0" u="none" strike="noStrike" kern="1200" cap="none" spc="0" normalizeH="0" baseline="0" noProof="0" dirty="0">
                <a:ln>
                  <a:noFill/>
                </a:ln>
                <a:solidFill>
                  <a:srgbClr val="000000"/>
                </a:solidFill>
                <a:effectLst/>
                <a:uLnTx/>
                <a:uFillTx/>
                <a:ea typeface="+mn-ea"/>
                <a:cs typeface="+mn-cs"/>
              </a:rPr>
              <a:t>To insert segments in bar chart: </a:t>
            </a:r>
          </a:p>
          <a:p>
            <a:pPr marL="266700" marR="0" lvl="0" indent="-88900" algn="l" defTabSz="914400" rtl="0" eaLnBrk="1" fontAlgn="auto" latinLnBrk="0" hangingPunct="1">
              <a:lnSpc>
                <a:spcPct val="100000"/>
              </a:lnSpc>
              <a:spcBef>
                <a:spcPts val="100"/>
              </a:spcBef>
              <a:spcAft>
                <a:spcPts val="100"/>
              </a:spcAft>
              <a:buClr>
                <a:srgbClr val="000000"/>
              </a:buClr>
              <a:buSzPct val="10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ouble-click on chart, click on either bar segment</a:t>
            </a:r>
          </a:p>
          <a:p>
            <a:pPr marL="266700" marR="0" lvl="0" indent="-88900" algn="l" defTabSz="914400" rtl="0" eaLnBrk="1" fontAlgn="auto" latinLnBrk="0" hangingPunct="1">
              <a:lnSpc>
                <a:spcPct val="100000"/>
              </a:lnSpc>
              <a:spcBef>
                <a:spcPts val="100"/>
              </a:spcBef>
              <a:spcAft>
                <a:spcPts val="100"/>
              </a:spcAft>
              <a:buClr>
                <a:srgbClr val="000000"/>
              </a:buClr>
              <a:buSzPct val="10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Right mouse -&gt; Format Data Point…</a:t>
            </a:r>
          </a:p>
          <a:p>
            <a:pPr marL="266700" marR="0" lvl="0" indent="-88900" algn="l" defTabSz="914400" rtl="0" eaLnBrk="1" fontAlgn="auto" latinLnBrk="0" hangingPunct="1">
              <a:lnSpc>
                <a:spcPct val="100000"/>
              </a:lnSpc>
              <a:spcBef>
                <a:spcPts val="100"/>
              </a:spcBef>
              <a:spcAft>
                <a:spcPts val="100"/>
              </a:spcAft>
              <a:buClr>
                <a:srgbClr val="000000"/>
              </a:buClr>
              <a:buSzPct val="10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Select Options tab, increase the number after “Second plot contains the last…”</a:t>
            </a:r>
          </a:p>
          <a:p>
            <a:pPr marL="266700" marR="0" lvl="0" indent="-88900" algn="l" defTabSz="914400" rtl="0" eaLnBrk="1" fontAlgn="auto" latinLnBrk="0" hangingPunct="1">
              <a:lnSpc>
                <a:spcPct val="100000"/>
              </a:lnSpc>
              <a:spcBef>
                <a:spcPts val="100"/>
              </a:spcBef>
              <a:spcAft>
                <a:spcPts val="100"/>
              </a:spcAft>
              <a:buClr>
                <a:srgbClr val="000000"/>
              </a:buClr>
              <a:buSzPct val="10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Insert columns as required</a:t>
            </a:r>
          </a:p>
        </p:txBody>
      </p:sp>
      <p:sp>
        <p:nvSpPr>
          <p:cNvPr id="4" name="Footer Placeholder 3">
            <a:extLst>
              <a:ext uri="{FF2B5EF4-FFF2-40B4-BE49-F238E27FC236}">
                <a16:creationId xmlns:a16="http://schemas.microsoft.com/office/drawing/2014/main" id="{6B1EECB3-46BA-4CED-8A6F-BA0EB0BCEF75}"/>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CA1271F0-971F-4BF8-8836-E9F3C8DDA62E}"/>
              </a:ext>
            </a:extLst>
          </p:cNvPr>
          <p:cNvSpPr>
            <a:spLocks noGrp="1"/>
          </p:cNvSpPr>
          <p:nvPr>
            <p:ph type="sldNum" sz="quarter" idx="10"/>
          </p:nvPr>
        </p:nvSpPr>
        <p:spPr/>
        <p:txBody>
          <a:bodyPr/>
          <a:lstStyle/>
          <a:p>
            <a:fld id="{1F90F471-3972-4120-B8B3-0237DE626C35}" type="slidenum">
              <a:rPr lang="en-US" smtClean="0"/>
              <a:pPr/>
              <a:t>98</a:t>
            </a:fld>
            <a:endParaRPr lang="en-US" dirty="0"/>
          </a:p>
        </p:txBody>
      </p:sp>
    </p:spTree>
    <p:extLst>
      <p:ext uri="{BB962C8B-B14F-4D97-AF65-F5344CB8AC3E}">
        <p14:creationId xmlns:p14="http://schemas.microsoft.com/office/powerpoint/2010/main" val="388733885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A1BFB-AA33-4436-B9C3-A546758AFDE4}"/>
              </a:ext>
            </a:extLst>
          </p:cNvPr>
          <p:cNvSpPr>
            <a:spLocks noGrp="1"/>
          </p:cNvSpPr>
          <p:nvPr>
            <p:ph type="title"/>
          </p:nvPr>
        </p:nvSpPr>
        <p:spPr/>
        <p:txBody>
          <a:bodyPr/>
          <a:lstStyle/>
          <a:p>
            <a:r>
              <a:rPr lang="en-US" dirty="0"/>
              <a:t>Combined Pie Charts (Labeled)</a:t>
            </a:r>
          </a:p>
        </p:txBody>
      </p:sp>
      <p:graphicFrame>
        <p:nvGraphicFramePr>
          <p:cNvPr id="11" name="Object 2" descr="Insert short description here">
            <a:extLst>
              <a:ext uri="{FF2B5EF4-FFF2-40B4-BE49-F238E27FC236}">
                <a16:creationId xmlns:a16="http://schemas.microsoft.com/office/drawing/2014/main" id="{D3E38C0A-AA45-4BB6-8C26-C767708A4A70}"/>
              </a:ext>
            </a:extLst>
          </p:cNvPr>
          <p:cNvGraphicFramePr>
            <a:graphicFrameLocks/>
          </p:cNvGraphicFramePr>
          <p:nvPr>
            <p:extLst>
              <p:ext uri="{D42A27DB-BD31-4B8C-83A1-F6EECF244321}">
                <p14:modId xmlns:p14="http://schemas.microsoft.com/office/powerpoint/2010/main" val="3820880952"/>
              </p:ext>
            </p:extLst>
          </p:nvPr>
        </p:nvGraphicFramePr>
        <p:xfrm>
          <a:off x="1866654" y="1255445"/>
          <a:ext cx="5648534" cy="4113154"/>
        </p:xfrm>
        <a:graphic>
          <a:graphicData uri="http://schemas.openxmlformats.org/drawingml/2006/chart">
            <c:chart xmlns:c="http://schemas.openxmlformats.org/drawingml/2006/chart" xmlns:r="http://schemas.openxmlformats.org/officeDocument/2006/relationships" r:id="rId3"/>
          </a:graphicData>
        </a:graphic>
      </p:graphicFrame>
      <p:cxnSp>
        <p:nvCxnSpPr>
          <p:cNvPr id="15" name="Straight Connector 14">
            <a:extLst>
              <a:ext uri="{FF2B5EF4-FFF2-40B4-BE49-F238E27FC236}">
                <a16:creationId xmlns:a16="http://schemas.microsoft.com/office/drawing/2014/main" id="{647D9D16-1B86-4721-B590-5781735D5766}"/>
              </a:ext>
              <a:ext uri="{C183D7F6-B498-43B3-948B-1728B52AA6E4}">
                <adec:decorative xmlns:adec="http://schemas.microsoft.com/office/drawing/2017/decorative" val="1"/>
              </a:ext>
            </a:extLst>
          </p:cNvPr>
          <p:cNvCxnSpPr/>
          <p:nvPr/>
        </p:nvCxnSpPr>
        <p:spPr bwMode="auto">
          <a:xfrm>
            <a:off x="4314926" y="1593897"/>
            <a:ext cx="4235003" cy="1"/>
          </a:xfrm>
          <a:prstGeom prst="line">
            <a:avLst/>
          </a:prstGeom>
          <a:noFill/>
          <a:ln w="6350" cap="flat" cmpd="sng" algn="ctr">
            <a:solidFill>
              <a:srgbClr val="96968C"/>
            </a:solidFill>
            <a:prstDash val="dash"/>
          </a:ln>
          <a:effectLst/>
        </p:spPr>
      </p:cxnSp>
      <p:sp>
        <p:nvSpPr>
          <p:cNvPr id="12" name="Text Box 5">
            <a:extLst>
              <a:ext uri="{FF2B5EF4-FFF2-40B4-BE49-F238E27FC236}">
                <a16:creationId xmlns:a16="http://schemas.microsoft.com/office/drawing/2014/main" id="{67603109-2765-48AA-B0EB-0FC5DA7CDC1A}"/>
              </a:ext>
            </a:extLst>
          </p:cNvPr>
          <p:cNvSpPr txBox="1">
            <a:spLocks noChangeArrowheads="1"/>
          </p:cNvSpPr>
          <p:nvPr/>
        </p:nvSpPr>
        <p:spPr bwMode="auto">
          <a:xfrm flipH="1">
            <a:off x="8730020" y="1501564"/>
            <a:ext cx="815461" cy="215444"/>
          </a:xfrm>
          <a:prstGeom prst="rect">
            <a:avLst/>
          </a:prstGeom>
          <a:noFill/>
          <a:ln w="6350">
            <a:noFill/>
            <a:miter lim="800000"/>
            <a:headEnd/>
            <a:tailEnd/>
          </a:ln>
          <a:effectLst/>
        </p:spPr>
        <p:txBody>
          <a:bodyPr wrap="none" lIns="72000" tIns="0" rIns="72000" bIns="0">
            <a:spAutoFit/>
          </a:bodyPr>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1200" spc="0" normalizeH="0" baseline="0" noProof="0" dirty="0">
                <a:ln>
                  <a:noFill/>
                </a:ln>
                <a:solidFill>
                  <a:srgbClr val="000000"/>
                </a:solidFill>
                <a:effectLst/>
                <a:uLnTx/>
                <a:uFillTx/>
                <a:latin typeface="Arial Black"/>
                <a:ea typeface="+mn-ea"/>
                <a:cs typeface="+mn-cs"/>
              </a:rPr>
              <a:t>Graph 1</a:t>
            </a:r>
          </a:p>
        </p:txBody>
      </p:sp>
      <p:cxnSp>
        <p:nvCxnSpPr>
          <p:cNvPr id="17" name="Straight Connector 16">
            <a:extLst>
              <a:ext uri="{FF2B5EF4-FFF2-40B4-BE49-F238E27FC236}">
                <a16:creationId xmlns:a16="http://schemas.microsoft.com/office/drawing/2014/main" id="{CF2A6C5F-DA30-41FB-84BD-38DE660F6DA3}"/>
              </a:ext>
              <a:ext uri="{C183D7F6-B498-43B3-948B-1728B52AA6E4}">
                <adec:decorative xmlns:adec="http://schemas.microsoft.com/office/drawing/2017/decorative" val="1"/>
              </a:ext>
            </a:extLst>
          </p:cNvPr>
          <p:cNvCxnSpPr/>
          <p:nvPr/>
        </p:nvCxnSpPr>
        <p:spPr bwMode="auto">
          <a:xfrm>
            <a:off x="4495016" y="2035276"/>
            <a:ext cx="4235003" cy="0"/>
          </a:xfrm>
          <a:prstGeom prst="line">
            <a:avLst/>
          </a:prstGeom>
          <a:noFill/>
          <a:ln w="6350" cap="flat" cmpd="sng" algn="ctr">
            <a:solidFill>
              <a:srgbClr val="96968C"/>
            </a:solidFill>
            <a:prstDash val="dash"/>
          </a:ln>
          <a:effectLst/>
        </p:spPr>
      </p:cxnSp>
      <p:cxnSp>
        <p:nvCxnSpPr>
          <p:cNvPr id="16" name="Straight Connector 15">
            <a:extLst>
              <a:ext uri="{FF2B5EF4-FFF2-40B4-BE49-F238E27FC236}">
                <a16:creationId xmlns:a16="http://schemas.microsoft.com/office/drawing/2014/main" id="{EC313916-F277-4D2C-A703-73C4656D4C19}"/>
              </a:ext>
              <a:ext uri="{C183D7F6-B498-43B3-948B-1728B52AA6E4}">
                <adec:decorative xmlns:adec="http://schemas.microsoft.com/office/drawing/2017/decorative" val="1"/>
              </a:ext>
            </a:extLst>
          </p:cNvPr>
          <p:cNvCxnSpPr/>
          <p:nvPr/>
        </p:nvCxnSpPr>
        <p:spPr bwMode="auto">
          <a:xfrm>
            <a:off x="4314926" y="2236415"/>
            <a:ext cx="4235003" cy="1"/>
          </a:xfrm>
          <a:prstGeom prst="line">
            <a:avLst/>
          </a:prstGeom>
          <a:noFill/>
          <a:ln w="6350" cap="flat" cmpd="sng" algn="ctr">
            <a:solidFill>
              <a:srgbClr val="96968C"/>
            </a:solidFill>
            <a:prstDash val="dash"/>
          </a:ln>
          <a:effectLst/>
        </p:spPr>
      </p:cxnSp>
      <p:sp>
        <p:nvSpPr>
          <p:cNvPr id="13" name="Text Box 6">
            <a:extLst>
              <a:ext uri="{FF2B5EF4-FFF2-40B4-BE49-F238E27FC236}">
                <a16:creationId xmlns:a16="http://schemas.microsoft.com/office/drawing/2014/main" id="{0D9C7C29-4D7B-4E91-AAC1-119D69D60802}"/>
              </a:ext>
            </a:extLst>
          </p:cNvPr>
          <p:cNvSpPr txBox="1">
            <a:spLocks noChangeArrowheads="1"/>
          </p:cNvSpPr>
          <p:nvPr/>
        </p:nvSpPr>
        <p:spPr bwMode="auto">
          <a:xfrm flipH="1">
            <a:off x="8730020" y="2144082"/>
            <a:ext cx="845919" cy="215444"/>
          </a:xfrm>
          <a:prstGeom prst="rect">
            <a:avLst/>
          </a:prstGeom>
          <a:noFill/>
          <a:ln w="6350">
            <a:noFill/>
            <a:miter lim="800000"/>
            <a:headEnd/>
            <a:tailEnd/>
          </a:ln>
          <a:effectLst/>
        </p:spPr>
        <p:txBody>
          <a:bodyPr wrap="none" lIns="72000" tIns="0" rIns="72000" bIns="0">
            <a:spAutoFit/>
          </a:bodyPr>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1200" spc="0" normalizeH="0" baseline="0" noProof="0" dirty="0">
                <a:ln>
                  <a:noFill/>
                </a:ln>
                <a:solidFill>
                  <a:srgbClr val="000000"/>
                </a:solidFill>
                <a:effectLst/>
                <a:uLnTx/>
                <a:uFillTx/>
                <a:latin typeface="Arial Black"/>
                <a:ea typeface="+mn-ea"/>
                <a:cs typeface="+mn-cs"/>
              </a:rPr>
              <a:t>Graph 2</a:t>
            </a:r>
          </a:p>
        </p:txBody>
      </p:sp>
      <p:sp>
        <p:nvSpPr>
          <p:cNvPr id="14" name="Text Box 7">
            <a:extLst>
              <a:ext uri="{FF2B5EF4-FFF2-40B4-BE49-F238E27FC236}">
                <a16:creationId xmlns:a16="http://schemas.microsoft.com/office/drawing/2014/main" id="{A3D23E3A-7A91-4A2C-B2AD-33C7F042599B}"/>
              </a:ext>
            </a:extLst>
          </p:cNvPr>
          <p:cNvSpPr txBox="1">
            <a:spLocks noChangeArrowheads="1"/>
          </p:cNvSpPr>
          <p:nvPr/>
        </p:nvSpPr>
        <p:spPr bwMode="auto">
          <a:xfrm flipH="1">
            <a:off x="8730019" y="2798810"/>
            <a:ext cx="852331" cy="215444"/>
          </a:xfrm>
          <a:prstGeom prst="rect">
            <a:avLst/>
          </a:prstGeom>
          <a:noFill/>
          <a:ln w="6350">
            <a:noFill/>
            <a:miter lim="800000"/>
            <a:headEnd/>
            <a:tailEnd/>
          </a:ln>
          <a:effectLst/>
        </p:spPr>
        <p:txBody>
          <a:bodyPr wrap="none" lIns="72000" tIns="0" rIns="72000" bIns="0">
            <a:spAutoFit/>
          </a:bodyPr>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1200" spc="0" normalizeH="0" baseline="0" noProof="0" dirty="0">
                <a:ln>
                  <a:noFill/>
                </a:ln>
                <a:solidFill>
                  <a:srgbClr val="000000"/>
                </a:solidFill>
                <a:effectLst/>
                <a:uLnTx/>
                <a:uFillTx/>
                <a:latin typeface="Arial Black"/>
                <a:ea typeface="+mn-ea"/>
                <a:cs typeface="+mn-cs"/>
              </a:rPr>
              <a:t>Graph 3</a:t>
            </a:r>
          </a:p>
        </p:txBody>
      </p:sp>
      <p:sp>
        <p:nvSpPr>
          <p:cNvPr id="19" name="Rectangle 3">
            <a:extLst>
              <a:ext uri="{FF2B5EF4-FFF2-40B4-BE49-F238E27FC236}">
                <a16:creationId xmlns:a16="http://schemas.microsoft.com/office/drawing/2014/main" id="{9399ACF4-74CA-43D0-94FB-C959F8EAE656}"/>
              </a:ext>
            </a:extLst>
          </p:cNvPr>
          <p:cNvSpPr>
            <a:spLocks noChangeArrowheads="1"/>
          </p:cNvSpPr>
          <p:nvPr/>
        </p:nvSpPr>
        <p:spPr bwMode="auto">
          <a:xfrm>
            <a:off x="381001" y="5580831"/>
            <a:ext cx="4915944" cy="731070"/>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mj-lt"/>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	Insert columns/rows as required (each slice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	Edit and add (if necessary) graph names manually</a:t>
            </a:r>
          </a:p>
        </p:txBody>
      </p:sp>
      <p:sp>
        <p:nvSpPr>
          <p:cNvPr id="4" name="Footer Placeholder 3">
            <a:extLst>
              <a:ext uri="{FF2B5EF4-FFF2-40B4-BE49-F238E27FC236}">
                <a16:creationId xmlns:a16="http://schemas.microsoft.com/office/drawing/2014/main" id="{408AC68B-C602-477A-AF38-BE7DBFB76B13}"/>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56EB29B9-0105-453D-8674-EE64345420F8}"/>
              </a:ext>
            </a:extLst>
          </p:cNvPr>
          <p:cNvSpPr>
            <a:spLocks noGrp="1"/>
          </p:cNvSpPr>
          <p:nvPr>
            <p:ph type="sldNum" sz="quarter" idx="10"/>
          </p:nvPr>
        </p:nvSpPr>
        <p:spPr/>
        <p:txBody>
          <a:bodyPr/>
          <a:lstStyle/>
          <a:p>
            <a:fld id="{1F90F471-3972-4120-B8B3-0237DE626C35}" type="slidenum">
              <a:rPr lang="en-US" smtClean="0"/>
              <a:pPr/>
              <a:t>99</a:t>
            </a:fld>
            <a:endParaRPr lang="en-US" dirty="0"/>
          </a:p>
        </p:txBody>
      </p:sp>
    </p:spTree>
    <p:extLst>
      <p:ext uri="{BB962C8B-B14F-4D97-AF65-F5344CB8AC3E}">
        <p14:creationId xmlns:p14="http://schemas.microsoft.com/office/powerpoint/2010/main" val="30036891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TmDTmN56USVln.NUqen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T2zTltOBlU6y9Et5NKD2o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8mXIPth32ky6_WvZvidwF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8mXIPth32ky6_WvZvidwF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T2zTltOBlU6y9Et5NKD2o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jtVrQIt5YEKB_Usz8lp60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W.W9mRU5qEmlvPK6i.Mov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2MhByKun0yguTCRuCo0m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2vqRCxKGkmVZ89bnMAO5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URCyhuXei0uN0f_IfDt0.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Hi6kfnB7nkSFfSR5K.Blx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8mXIPth32ky6_WvZvidwF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jtVrQIt5YEKB_Usz8lp60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jtVrQIt5YEKB_Usz8lp60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jtVrQIt5YEKB_Usz8lp60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iDhWUNZzJkuRt6YAR41y5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jtVrQIt5YEKB_Usz8lp60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jtVrQIt5YEKB_Usz8lp6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SykkJeKRkGG.IBja.Qg_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iDhWUNZzJkuRt6YAR41y5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G3muGuc8XUqyV4ArFZC5B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8LN2fkTWEOa9bchSWf7g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o2Fw4dIQPEyfnHUpg4bDT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PVk6iDOdd0K0asjt7qf4v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9aJdmHLaxkGtbOb_dyDu1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bhIVHr2E2kqvyMdaMAugJ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7HdIs0lYU0qNv5KTOJnZG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XNyv.502AECW1oMjNjKH2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39.xml><?xml version="1.0" encoding="utf-8"?>
<p:tagLst xmlns:a="http://schemas.openxmlformats.org/drawingml/2006/main" xmlns:r="http://schemas.openxmlformats.org/officeDocument/2006/relationships" xmlns:p="http://schemas.openxmlformats.org/presentationml/2006/main">
  <p:tag name="STYLE" val="AcnSubjectTitle"/>
  <p:tag name="DATE" val="07.01.2010 16:23:43"/>
  <p:tag name="THINKCELLSHAPEDONOTDELETE" val="p5jx49Vm8TEyQ2Fi6.Aqky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VEUF0vPak6sCLe7p0Wof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jtVrQIt5YEKB_Usz8lp60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W.W9mRU5qEmlvPK6i.Mov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URCyhuXei0uN0f_IfDt0.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8mXIPth32ky6_WvZvidwF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qu42jWOSaUmIE4ijJl0mo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iDhWUNZzJkuRt6YAR41y5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5Pk0dZiF.kiq4cgVHWvkU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aehPfSR0T0WNrgi1neHNo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Zfjc5EBe1k23.pJ60IBud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pcGnW2waIUOpwYd4.zmr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0w4D3ISHU670PAIPdame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ZUaoxBo0WkeJm86enZH_H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m6TCrKBRi0ugUjPcWPFmU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SBZtqGnOnEOaTMVjsyB5E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MhPRhcGgw0WErjMGWMguz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cHzCZIFaskyvOrELIxW6l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64zdo6abGEOa1EGRkgRYS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G9cF6SBkg026d8LmVCarA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G_nxQKsmRk.laeq9.ofej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iDhWUNZzJkuRt6YAR41y5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jtVrQIt5YEKB_Usz8lp6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4lfIPjOwXk6XCXUfumL6.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6F35U7qoqEqQQ_FahE6YF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W.W9mRU5qEmlvPK6i.Mov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e4HjEz9DaE6RXndq5cRri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h2vqRCxKGkmVZ89bnMAO5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LhXgu3mbwkqq0.kS2bj4Q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DetIkRRQ_0eXKfpzixF4M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qu42jWOSaUmIE4ijJl0mo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URCyhuXei0uN0f_IfDt0.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T2zTltOBlU6y9Et5NKD2o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Hi6kfnB7nkSFfSR5K.Bl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qCCm5X7VEibe9hRoaqGu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6F35U7qoqEqQQ_FahE6YF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8mXIPth32ky6_WvZvidwF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eU99aDmjKkWsMNHCjOWo7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ulKUeIMPEKP3Rq8DxWz4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caV0osOH6kWJE6rkie1_Z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2tAqdfXRo0OSUvnGuaVNr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3R6PnUVjV0Sa0BCDwrF1B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GBco4a2uP02gkcRshMGVo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AOOPKdOwrUqfnFP7dYIF.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EbGtkn5DZUugWN7OKHAX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gIvX4BMoEWGa4pc_bYjo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B8puOs6KAUGFTLetlNdYZ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aoShZnEkZkWyUxo_S81D1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IulKUeIMPEKP3Rq8DxWz4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2tAqdfXRo0OSUvnGuaVNr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3R6PnUVjV0Sa0BCDwrF1B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GBco4a2uP02gkcRshMGVo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OOPKdOwrUqfnFP7dYIF.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EbGtkn5DZUugWN7OKHAXJ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B8puOs6KAUGFTLetlNdYZ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aoShZnEkZkWyUxo_S81D1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jBn.1htYkGrsKja.lkSi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caV0osOH6kWJE6rkie1_Z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caV0osOH6kWJE6rkie1_Z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H.u7qjNXOU2OIMeEtMOTJ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9vlpxI5m_0W.sLsRZkHuk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_yWNJIAlPkKTi6c9CjxBC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w9TWUUIZs0eySbAwxkDf.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qReHYV424UG6YNX2KfxM_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DEHBgOEym0ykPZXSrWOnL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61nIw3UZJkqj0q6CnBoXI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qRD47oMnZUKoMLW01gPvag"/>
</p:tagLst>
</file>

<file path=ppt/tags/tag2.xml><?xml version="1.0" encoding="utf-8"?>
<p:tagLst xmlns:a="http://schemas.openxmlformats.org/drawingml/2006/main" xmlns:r="http://schemas.openxmlformats.org/officeDocument/2006/relationships" xmlns:p="http://schemas.openxmlformats.org/presentationml/2006/main">
  <p:tag name="STYLE" val="AcnSubjectTitle"/>
  <p:tag name="DATE" val="07.01.2010 16:23:43"/>
  <p:tag name="THINKCELLSHAPEDONOTDELETE" val="p5jx49Vm8TEyQ2Fi6.Aqky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_XqnmGb.80yy3A3BIwgCY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5KF4TEAiTE62zEA3qzMGs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nMENgy3Ql06w0WTcI8mGe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9vlpxI5m_0W.sLsRZkHuk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p5osDzlD0yXn4TXgjP26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ds0C._yjOU.iWycMpnU4g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ds0C._yjOU.iWycMpnU4g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NWsx4TPZLUO_wqLB5FQs9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dmHxwkPryES5d7VvpdR7G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HQlo9ZZq7UKrgaVaiP.xm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shgt2jGPt0iQCdrwi_6in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BcwRIrHZ0mDuvM0cBf5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FDKT5aZMCUG5T71kBZzB_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1nIw3UZJkqj0q6CnBoXI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qRD47oMnZUKoMLW01gPva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5KF4TEAiTE62zEA3qzMGs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nMENgy3Ql06w0WTcI8mGe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61nIw3UZJkqj0q6CnBoXI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qRD47oMnZUKoMLW01gPva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5KF4TEAiTE62zEA3qzMGs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nMENgy3Ql06w0WTcI8mGe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TmDTmN56USVln.NUqenv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KxyIafwrAUGg_tovVB3rv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qtpEhBkjk2g9ZwRzp5_Fg"/>
</p:tagLst>
</file>

<file path=ppt/tags/tag223.xml><?xml version="1.0" encoding="utf-8"?>
<p:tagLst xmlns:a="http://schemas.openxmlformats.org/drawingml/2006/main" xmlns:r="http://schemas.openxmlformats.org/officeDocument/2006/relationships" xmlns:p="http://schemas.openxmlformats.org/presentationml/2006/main">
  <p:tag name="MCSTAMP" val="00"/>
</p:tagLst>
</file>

<file path=ppt/tags/tag224.xml><?xml version="1.0" encoding="utf-8"?>
<p:tagLst xmlns:a="http://schemas.openxmlformats.org/drawingml/2006/main" xmlns:r="http://schemas.openxmlformats.org/officeDocument/2006/relationships" xmlns:p="http://schemas.openxmlformats.org/presentationml/2006/main">
  <p:tag name="MCSTAMP" val="00"/>
</p:tagLst>
</file>

<file path=ppt/tags/tag225.xml><?xml version="1.0" encoding="utf-8"?>
<p:tagLst xmlns:a="http://schemas.openxmlformats.org/drawingml/2006/main" xmlns:r="http://schemas.openxmlformats.org/officeDocument/2006/relationships" xmlns:p="http://schemas.openxmlformats.org/presentationml/2006/main">
  <p:tag name="MCSTAMP" val="00"/>
</p:tagLst>
</file>

<file path=ppt/tags/tag226.xml><?xml version="1.0" encoding="utf-8"?>
<p:tagLst xmlns:a="http://schemas.openxmlformats.org/drawingml/2006/main" xmlns:r="http://schemas.openxmlformats.org/officeDocument/2006/relationships" xmlns:p="http://schemas.openxmlformats.org/presentationml/2006/main">
  <p:tag name="STYLE" val="AcnStamp"/>
  <p:tag name="DATE" val="23/08/2010 02:14:58 PM"/>
</p:tagLst>
</file>

<file path=ppt/tags/tag227.xml><?xml version="1.0" encoding="utf-8"?>
<p:tagLst xmlns:a="http://schemas.openxmlformats.org/drawingml/2006/main" xmlns:r="http://schemas.openxmlformats.org/officeDocument/2006/relationships" xmlns:p="http://schemas.openxmlformats.org/presentationml/2006/main">
  <p:tag name="MCSTAMP" val="00"/>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3D_qrEyHsUeVqWCBWwuI3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H2SxCRq90Wd.3dfDK8zb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2MhByKun0yguTCRuCo0m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Q0g1xTrD0U.JuA91NeWGs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UgBS.hyaPkqJUEhUFtjM5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tngO_kAzNUekPkP1a6XxE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tngO_kAzNUekPkP1a6XxE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BcvFE.Idm02dM_5Vtp.vQ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BcvFE.Idm02dM_5Vtp.vQ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9ymEDDkdZ0..F74YETkMa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9ymEDDkdZ0..F74YETkMa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bkp147h3E0iePgZVG1VS1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bkp147h3E0iePgZVG1VS1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VEUF0vPak6sCLe7p0Wof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tngO_kAzNUekPkP1a6XxE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tngO_kAzNUekPkP1a6XxE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BcvFE.Idm02dM_5Vtp.vQ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BcvFE.Idm02dM_5Vtp.vQ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9ymEDDkdZ0..F74YETkMa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9ymEDDkdZ0..F74YETkMa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kp147h3E0iePgZVG1VS1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kp147h3E0iePgZVG1VS1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61nIw3UZJkqj0q6CnBoXI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qRD47oMnZUKoMLW01gPv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8LN2fkTWEOa9bchSWf7g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5KF4TEAiTE62zEA3qzMGs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nMENgy3Ql06w0WTcI8mGe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GCxHX00Pa06LeqGxO5NNx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_uMTyq9kHUKEzrmXmu6Q7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MhiPQRdeNk2LiSYdssXBo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zLOBUe.n7EGYEXxiJhEao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NS.w5KX5Y0udRarXQSWTY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ZdWoErFbT0uGfBqhaI7VI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DwAfO0PcKE2B2IbQKAZTN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TTtG5qK0TUWAkb6Q2wRnb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4lfIPjOwXk6XCXUfumL6.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D9rqC.tLtUCiaQHRAlCnT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4cnxQwHDGkeuiPYAHNeep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zpadQwsD.U.zUCGPvaHIk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UdPzSUPzukiyj2TBDXZ8d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UyTmvNAuvEW22avsHQYEg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aWh1RFGiykCMiTJsqXf8l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nQnLNms1NEKiI6Ge7EZKJ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DpbSpTuIL0G49tIO8Ta6_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abnr8IoUdkGFf2FFIj2n4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vziMqyb0EW09b4_7txu4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0w4D3ISHU670PAIPdame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4KcmbVWCD0uML3Tcy6QN9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us2ivGvxKkSg13zfnAN6w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Bm2Z_90sSke6gedGNcs1B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Mdzw_UmVr0GbV3MH3v9Zo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rg.hJrQ4IUOELC4OK3cSu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HMopunUVqEiM8JXUbpfKW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zgndlnyfwk29ejN9zegOr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KXJ_eEJsdUuu1S5lfwNF0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oCm1KWWD3UaN8JwEwEqEr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3V_Yu998YESjhzv9TWAl7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SykkJeKRkGG.IBja.Qg_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DDpiakMoFkCkOrS0wsZ1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BsTALFjzAEeWiQ1NOFszu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19SMUo6KQU6DGTZ24YX6n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FcMEKH3B60Ou4JZAMbg6u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DCFMmNY_TE6tCgGnQqsck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etM1qKkalE20aIWI_vjpt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e5H8.3o3YU6DzmKW4swsU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YcMXYODjkUK6Nxj5n7hN1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v.ngbL0C0WX0RLS3_CQ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cutu9MkrkCPvoZO6FFNv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7ob6tgUiTkyLVw_1sJ295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n6RV4MMruU2HKOnMUZe1w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4.xml><?xml version="1.0" encoding="utf-8"?>
<p:tagLst xmlns:a="http://schemas.openxmlformats.org/drawingml/2006/main" xmlns:r="http://schemas.openxmlformats.org/officeDocument/2006/relationships" xmlns:p="http://schemas.openxmlformats.org/presentationml/2006/main">
  <p:tag name="STYLE" val="AcnSubjectTitle"/>
  <p:tag name="DATE" val="07.01.2010 16:23:43"/>
  <p:tag name="THINKCELLSHAPEDONOTDELETE" val="p5jx49Vm8TEyQ2Fi6.Aqky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cutu9MkrkCPvoZO6FFNv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gIvX4BMoEWGa4pc_bYjo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eU99aDmjKkWsMNHCjOWo7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jtVrQIt5YEKB_Usz8lp60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DhWUNZzJkuRt6YAR41y5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W.W9mRU5qEmlvPK6i.Mov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T2zTltOBlU6y9Et5NKD2o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h2vqRCxKGkmVZ89bnMAO5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T2zTltOBlU6y9Et5NKD2o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jBn.1htYkGrsKja.lkSi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URCyhuXei0uN0f_IfDt0.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qu42jWOSaUmIE4ijJl0mo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i6kfnB7nkSFfSR5K.Blx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T2zTltOBlU6y9Et5NKD2o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8mXIPth32ky6_WvZvidwF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T2zTltOBlU6y9Et5NKD2o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jtVrQIt5YEKB_Usz8lp60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DhWUNZzJkuRt6YAR41y5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W.W9mRU5qEmlvPK6i.Mov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T2zTltOBlU6y9Et5NKD2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_XqnmGb.80yy3A3BIwgCY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W.W9mRU5qEmlvPK6i.Mov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2vqRCxKGkmVZ89bnMAO5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T2zTltOBlU6y9Et5NKD2o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URCyhuXei0uN0f_IfDt0.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qu42jWOSaUmIE4ijJl0mo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Hi6kfnB7nkSFfSR5K.Blx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T2zTltOBlU6y9Et5NKD2o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mXIPth32ky6_WvZvidwF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8mXIPth32ky6_WvZvidwF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T2zTltOBlU6y9Et5NKD2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BcwRIrHZ0mDuvM0cBf5h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tVrQIt5YEKB_Usz8lp60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DhWUNZzJkuRt6YAR41y5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W.W9mRU5qEmlvPK6i.Mov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2zTltOBlU6y9Et5NKD2o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W.W9mRU5qEmlvPK6i.Mov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h2vqRCxKGkmVZ89bnMAO5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T2zTltOBlU6y9Et5NKD2o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URCyhuXei0uN0f_IfDt0.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qu42jWOSaUmIE4ijJl0mo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i6kfnB7nkSFfSR5K.Blxg"/>
</p:tagLst>
</file>

<file path=ppt/theme/theme1.xml><?xml version="1.0" encoding="utf-8"?>
<a:theme xmlns:a="http://schemas.openxmlformats.org/drawingml/2006/main" name="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PPT_Starter_Pack_Graphik_210303_Fixed_Accessibility.potx" id="{5533E145-E600-4444-BC3D-5102D2EEDB31}" vid="{383380C5-E3D1-4977-8974-3F092EA624F2}"/>
    </a:ext>
  </a:extLst>
</a:theme>
</file>

<file path=ppt/theme/theme2.xml><?xml version="1.0" encoding="utf-8"?>
<a:theme xmlns:a="http://schemas.openxmlformats.org/drawingml/2006/main" name="Office Theme">
  <a:themeElements>
    <a:clrScheme name="Acc_Colors_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_Fonts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39EF807C2354943A31A31FB9E6B8A38" ma:contentTypeVersion="2" ma:contentTypeDescription="Create a new document." ma:contentTypeScope="" ma:versionID="f03a519f31e72ece704f842ab0e4ba72">
  <xsd:schema xmlns:xsd="http://www.w3.org/2001/XMLSchema" xmlns:xs="http://www.w3.org/2001/XMLSchema" xmlns:p="http://schemas.microsoft.com/office/2006/metadata/properties" xmlns:ns2="5d757215-fbc3-4533-822f-84ec73f97a40" targetNamespace="http://schemas.microsoft.com/office/2006/metadata/properties" ma:root="true" ma:fieldsID="1cb72d0557a9ded9ba0b46b2c3d18190" ns2:_="">
    <xsd:import namespace="5d757215-fbc3-4533-822f-84ec73f97a4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757215-fbc3-4533-822f-84ec73f97a4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9831B46-6CD1-40D2-9FB5-3E58559F90A3}">
  <ds:schemaRefs>
    <ds:schemaRef ds:uri="http://schemas.microsoft.com/sharepoint/v3/contenttype/forms"/>
  </ds:schemaRefs>
</ds:datastoreItem>
</file>

<file path=customXml/itemProps2.xml><?xml version="1.0" encoding="utf-8"?>
<ds:datastoreItem xmlns:ds="http://schemas.openxmlformats.org/officeDocument/2006/customXml" ds:itemID="{D189773F-AD1D-44A7-B4FF-04E6158988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d757215-fbc3-4533-822f-84ec73f97a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6BFFC05-B2F6-4CED-BE65-F75B1EB7AD7B}">
  <ds:schemaRefs>
    <ds:schemaRef ds:uri="http://purl.org/dc/dcmitype/"/>
    <ds:schemaRef ds:uri="http://purl.org/dc/terms/"/>
    <ds:schemaRef ds:uri="http://purl.org/dc/elements/1.1/"/>
    <ds:schemaRef ds:uri="http://schemas.microsoft.com/office/2006/metadata/properties"/>
    <ds:schemaRef ds:uri="http://schemas.microsoft.com/office/2006/documentManagement/types"/>
    <ds:schemaRef ds:uri="f09dec34-126f-4759-b06d-a920de720ce4"/>
    <ds:schemaRef ds:uri="http://schemas.openxmlformats.org/package/2006/metadata/core-properties"/>
    <ds:schemaRef ds:uri="http://schemas.microsoft.com/office/infopath/2007/PartnerControls"/>
    <ds:schemaRef ds:uri="17c09f85-56e7-4417-b5d2-7fa4154de313"/>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Acc_PPT_IMP_Starter-Pack_Graphik_Fixed-Accessibility_20210309</Template>
  <TotalTime>4</TotalTime>
  <Words>19729</Words>
  <Application>Microsoft Office PowerPoint</Application>
  <PresentationFormat>Widescreen</PresentationFormat>
  <Paragraphs>6772</Paragraphs>
  <Slides>454</Slides>
  <Notes>390</Notes>
  <HiddenSlides>0</HiddenSlides>
  <MMClips>0</MMClips>
  <ScaleCrop>false</ScaleCrop>
  <HeadingPairs>
    <vt:vector size="8" baseType="variant">
      <vt:variant>
        <vt:lpstr>Fonts Used</vt:lpstr>
      </vt:variant>
      <vt:variant>
        <vt:i4>16</vt:i4>
      </vt:variant>
      <vt:variant>
        <vt:lpstr>Theme</vt:lpstr>
      </vt:variant>
      <vt:variant>
        <vt:i4>1</vt:i4>
      </vt:variant>
      <vt:variant>
        <vt:lpstr>Embedded OLE Servers</vt:lpstr>
      </vt:variant>
      <vt:variant>
        <vt:i4>1</vt:i4>
      </vt:variant>
      <vt:variant>
        <vt:lpstr>Slide Titles</vt:lpstr>
      </vt:variant>
      <vt:variant>
        <vt:i4>454</vt:i4>
      </vt:variant>
    </vt:vector>
  </HeadingPairs>
  <TitlesOfParts>
    <vt:vector size="472" baseType="lpstr">
      <vt:lpstr>MS PGothic</vt:lpstr>
      <vt:lpstr>宋体</vt:lpstr>
      <vt:lpstr>Arial</vt:lpstr>
      <vt:lpstr>Arial Black</vt:lpstr>
      <vt:lpstr>Arial Unicode MS</vt:lpstr>
      <vt:lpstr>ArialUnicodeMS</vt:lpstr>
      <vt:lpstr>Calibri</vt:lpstr>
      <vt:lpstr>Courier New</vt:lpstr>
      <vt:lpstr>Graphik</vt:lpstr>
      <vt:lpstr>Graphik Light</vt:lpstr>
      <vt:lpstr>GT Sectra Fine Rg</vt:lpstr>
      <vt:lpstr>Neue Machina Ultra-Bold</vt:lpstr>
      <vt:lpstr>Palatino Linotype</vt:lpstr>
      <vt:lpstr>System Font</vt:lpstr>
      <vt:lpstr>TT Interphases Bold</vt:lpstr>
      <vt:lpstr>Wingdings</vt:lpstr>
      <vt:lpstr>Accenture 2020</vt:lpstr>
      <vt:lpstr>think-cell Slide</vt:lpstr>
      <vt:lpstr>Accenture  PPT Starter Pack</vt:lpstr>
      <vt:lpstr>Contents</vt:lpstr>
      <vt:lpstr>PowerPoint Presentation</vt:lpstr>
      <vt:lpstr>E2E Automation solution Using agentforce to automate the sales opportunities in salesforce </vt:lpstr>
      <vt:lpstr>Working with footers</vt:lpstr>
      <vt:lpstr>Working with footers </vt:lpstr>
      <vt:lpstr>Slide Kit</vt:lpstr>
      <vt:lpstr>Getting started with this template</vt:lpstr>
      <vt:lpstr>How to make your story impactful</vt:lpstr>
      <vt:lpstr>How to structure a great story</vt:lpstr>
      <vt:lpstr>Colors and gradients</vt:lpstr>
      <vt:lpstr>Fonts</vt:lpstr>
      <vt:lpstr>Iconography: Monoline</vt:lpstr>
      <vt:lpstr>Slide Layouts</vt:lpstr>
      <vt:lpstr>Get started</vt:lpstr>
      <vt:lpstr>Insert Salutation</vt:lpstr>
      <vt:lpstr>Insert Salutation </vt:lpstr>
      <vt:lpstr>Insert Salutation 72pt</vt:lpstr>
      <vt:lpstr>Insert Salutation 72pt </vt:lpstr>
      <vt:lpstr>Place presentation title here 48pt</vt:lpstr>
      <vt:lpstr>Place presentation title here 48pt </vt:lpstr>
      <vt:lpstr>Place presentation title here 48pt   </vt:lpstr>
      <vt:lpstr>Presentation title 60pt, long title 48pt, max 3 lines</vt:lpstr>
      <vt:lpstr>Place presentation title here 48pt</vt:lpstr>
      <vt:lpstr>Place presentation title here 48pt  </vt:lpstr>
      <vt:lpstr>Place presentation title here 48pt  </vt:lpstr>
      <vt:lpstr>Presentation title 60pt, long title 48pt, max 3 lines </vt:lpstr>
      <vt:lpstr>Place presentation title here 48pt</vt:lpstr>
      <vt:lpstr>Place presentation title here 48pt</vt:lpstr>
      <vt:lpstr>Presentation title 60pt, long title 48pt, max 3 lines  </vt:lpstr>
      <vt:lpstr>Presentation title 60pt, long title 48pt, max 3 lines   </vt:lpstr>
      <vt:lpstr>Place presentation title here 48pt</vt:lpstr>
      <vt:lpstr>Place presentation title here 48pt</vt:lpstr>
      <vt:lpstr>Section title 54pt</vt:lpstr>
      <vt:lpstr>Section title 54pt</vt:lpstr>
      <vt:lpstr>Section title 54pt</vt:lpstr>
      <vt:lpstr>Agenda title</vt:lpstr>
      <vt:lpstr>Place headline here (36pt, min 30pt)</vt:lpstr>
      <vt:lpstr>Place headline here (36pt, min 30pt) </vt:lpstr>
      <vt:lpstr>Place headline here (36pt, min 30pt) </vt:lpstr>
      <vt:lpstr>Place headline here (36pt, min 30pt)</vt:lpstr>
      <vt:lpstr>Place headline here (36pt, min 30pt)</vt:lpstr>
      <vt:lpstr>Place headline here (36pt, min 30pt)</vt:lpstr>
      <vt:lpstr>Place headline here (36pt, min 30pt)</vt:lpstr>
      <vt:lpstr>Place headline here (36pt, min 30pt)</vt:lpstr>
      <vt:lpstr>Place headline here (36pt, min 30pt)</vt:lpstr>
      <vt:lpstr>Place headline here (36pt, min 30pt)</vt:lpstr>
      <vt:lpstr>Place headline here (36pt, min 30pt)</vt:lpstr>
      <vt:lpstr>Place headline here (36pt, min 30pt)</vt:lpstr>
      <vt:lpstr>Place headline here (36pt, min 30pt)</vt:lpstr>
      <vt:lpstr>Place headline here (36pt, min 30pt)</vt:lpstr>
      <vt:lpstr>Place headline here (36pt, min 30pt)</vt:lpstr>
      <vt:lpstr>Place headline here (36pt, min 30pt)</vt:lpstr>
      <vt:lpstr>Place quote or key message here 54pt</vt:lpstr>
      <vt:lpstr>Place quote or key message here 54pt </vt:lpstr>
      <vt:lpstr>00x</vt:lpstr>
      <vt:lpstr>Place headline here (36pt, min 30pt)</vt:lpstr>
      <vt:lpstr>Place key message here 54pt</vt:lpstr>
      <vt:lpstr>Place key message here 54pt</vt:lpstr>
      <vt:lpstr>Place headline here 54pt</vt:lpstr>
      <vt:lpstr>Place headline here (36pt, min 30pt)</vt:lpstr>
      <vt:lpstr>Place headline here (36pt, min 30pt)</vt:lpstr>
      <vt:lpstr>Thank You</vt:lpstr>
      <vt:lpstr>Visuals Library</vt:lpstr>
      <vt:lpstr>Index</vt:lpstr>
      <vt:lpstr>Charts</vt:lpstr>
      <vt:lpstr>Horizontal  Bar Charts</vt:lpstr>
      <vt:lpstr>Deviation bar chart</vt:lpstr>
      <vt:lpstr>Range bar chart</vt:lpstr>
      <vt:lpstr>Sliding Bar Chart</vt:lpstr>
      <vt:lpstr>Paired Bar Chart</vt:lpstr>
      <vt:lpstr>Sub-divided Bar Chart</vt:lpstr>
      <vt:lpstr>Sub-divided 100% Bar Chart</vt:lpstr>
      <vt:lpstr>Grouped Bar Chart</vt:lpstr>
      <vt:lpstr>Vertical Column Charts</vt:lpstr>
      <vt:lpstr>Waterfall Chart 1</vt:lpstr>
      <vt:lpstr>Waterfall Chart 2</vt:lpstr>
      <vt:lpstr>Waterfall Chart 3</vt:lpstr>
      <vt:lpstr>Waterfall Chart 4</vt:lpstr>
      <vt:lpstr>Waterfall Chart 5</vt:lpstr>
      <vt:lpstr>Waterfall Chart 6</vt:lpstr>
      <vt:lpstr>Deviation Column Chart</vt:lpstr>
      <vt:lpstr>Range Column Chart</vt:lpstr>
      <vt:lpstr>Grouped Column Chart 1</vt:lpstr>
      <vt:lpstr>Grouped Column Chart 2</vt:lpstr>
      <vt:lpstr>Sub-divided Column Chart</vt:lpstr>
      <vt:lpstr>Sub-divided 100% Column Chart</vt:lpstr>
      <vt:lpstr>Step-column Chart</vt:lpstr>
      <vt:lpstr>Combination Column-line Chart 1</vt:lpstr>
      <vt:lpstr>Combination Column-line Chart 2</vt:lpstr>
      <vt:lpstr>Pie Charts</vt:lpstr>
      <vt:lpstr>Quick Manual Pie Chart </vt:lpstr>
      <vt:lpstr>Quick Manual Doughnut Chart </vt:lpstr>
      <vt:lpstr>Pie Chart</vt:lpstr>
      <vt:lpstr>Doughnut Chart</vt:lpstr>
      <vt:lpstr>Double Pie Chart</vt:lpstr>
      <vt:lpstr>Double Doughnut Chart</vt:lpstr>
      <vt:lpstr>Combination Pie and Column Chart</vt:lpstr>
      <vt:lpstr>Combined Pie Charts (Labeled)</vt:lpstr>
      <vt:lpstr>Combined Pie Charts (Non-labeled)</vt:lpstr>
      <vt:lpstr>Multilayer Chart</vt:lpstr>
      <vt:lpstr>Multilayer Doughnut Chart</vt:lpstr>
      <vt:lpstr>Line and Other Charts</vt:lpstr>
      <vt:lpstr>Line Chart</vt:lpstr>
      <vt:lpstr>Smooth Line Chart</vt:lpstr>
      <vt:lpstr>Area Chart</vt:lpstr>
      <vt:lpstr>Area Chart 100%</vt:lpstr>
      <vt:lpstr>Grouped Correlation Chart</vt:lpstr>
      <vt:lpstr>Radar Chart 1</vt:lpstr>
      <vt:lpstr>Radar Chart 2</vt:lpstr>
      <vt:lpstr>Portfolio in Two Dimensions</vt:lpstr>
      <vt:lpstr>Portfolio in Three Dimensions</vt:lpstr>
      <vt:lpstr>Hints for Drawing Charts</vt:lpstr>
      <vt:lpstr>Dynamic Concepts</vt:lpstr>
      <vt:lpstr>Balance/ Imbalance</vt:lpstr>
      <vt:lpstr>Balance 1</vt:lpstr>
      <vt:lpstr>Balance 2</vt:lpstr>
      <vt:lpstr>Balance 3</vt:lpstr>
      <vt:lpstr>Balance/Imbalance </vt:lpstr>
      <vt:lpstr>Imbalance</vt:lpstr>
      <vt:lpstr>Dependence</vt:lpstr>
      <vt:lpstr>Balancing Steps</vt:lpstr>
      <vt:lpstr>Rethinking</vt:lpstr>
      <vt:lpstr>Pro and Con</vt:lpstr>
      <vt:lpstr>Interaction/ Feedback</vt:lpstr>
      <vt:lpstr>Interaction</vt:lpstr>
      <vt:lpstr>Feedback 1</vt:lpstr>
      <vt:lpstr>Feedback 2</vt:lpstr>
      <vt:lpstr>Cross-fertilization 1</vt:lpstr>
      <vt:lpstr>Cross-fertilization 2</vt:lpstr>
      <vt:lpstr>Cross-fertilization 3</vt:lpstr>
      <vt:lpstr>Cross-fertilization 4</vt:lpstr>
      <vt:lpstr>Cross-fertilization 5</vt:lpstr>
      <vt:lpstr>Cross-fertilization 6</vt:lpstr>
      <vt:lpstr>Separation/ Synthesis</vt:lpstr>
      <vt:lpstr>Separation 1</vt:lpstr>
      <vt:lpstr>Separation 2</vt:lpstr>
      <vt:lpstr>Synthesis</vt:lpstr>
      <vt:lpstr>Centralization</vt:lpstr>
      <vt:lpstr>Decentralization 1</vt:lpstr>
      <vt:lpstr>Decentralization 2</vt:lpstr>
      <vt:lpstr>Centralization/Decentralization</vt:lpstr>
      <vt:lpstr>Causes</vt:lpstr>
      <vt:lpstr>Magnified Proportions</vt:lpstr>
      <vt:lpstr>Causal Chain</vt:lpstr>
      <vt:lpstr>Cause and Effect</vt:lpstr>
      <vt:lpstr>Subcontracting and collaboration</vt:lpstr>
      <vt:lpstr>Conflicts</vt:lpstr>
      <vt:lpstr>Action/Reaction 1</vt:lpstr>
      <vt:lpstr>Action/Reaction 2</vt:lpstr>
      <vt:lpstr>Barriers/ Resistance</vt:lpstr>
      <vt:lpstr>Barriers/Obstacles 1</vt:lpstr>
      <vt:lpstr>Barriers/Obstacles 2</vt:lpstr>
      <vt:lpstr>Barriers/Obstacles 3</vt:lpstr>
      <vt:lpstr>Penetrable Barrier</vt:lpstr>
      <vt:lpstr>Resistance 1</vt:lpstr>
      <vt:lpstr>Resistance 2</vt:lpstr>
      <vt:lpstr>Penetration</vt:lpstr>
      <vt:lpstr>Filter </vt:lpstr>
      <vt:lpstr>Broken link</vt:lpstr>
      <vt:lpstr>Dead end</vt:lpstr>
      <vt:lpstr>Forces/ Influence</vt:lpstr>
      <vt:lpstr>Butterfly Diagram</vt:lpstr>
      <vt:lpstr>Influence 1</vt:lpstr>
      <vt:lpstr>Influence 2</vt:lpstr>
      <vt:lpstr>Influence 3</vt:lpstr>
      <vt:lpstr>Influence 4</vt:lpstr>
      <vt:lpstr>Influence 5</vt:lpstr>
      <vt:lpstr>3 keypoints infographic</vt:lpstr>
      <vt:lpstr>Pressure</vt:lpstr>
      <vt:lpstr>Forces 1</vt:lpstr>
      <vt:lpstr>Forces 2</vt:lpstr>
      <vt:lpstr>Forces 3</vt:lpstr>
      <vt:lpstr>Forces 4</vt:lpstr>
      <vt:lpstr>Forces 5</vt:lpstr>
      <vt:lpstr>Forces 6</vt:lpstr>
      <vt:lpstr>Forces 7</vt:lpstr>
      <vt:lpstr>Porter’s five forces</vt:lpstr>
      <vt:lpstr>Factors 1</vt:lpstr>
      <vt:lpstr>Factors 2</vt:lpstr>
      <vt:lpstr>Factors 3</vt:lpstr>
      <vt:lpstr>Goal-setting</vt:lpstr>
      <vt:lpstr>Reduction 1</vt:lpstr>
      <vt:lpstr>Reduction 2</vt:lpstr>
      <vt:lpstr>Increase 1</vt:lpstr>
      <vt:lpstr>Increase 2</vt:lpstr>
      <vt:lpstr>Processes</vt:lpstr>
      <vt:lpstr>Linear Flows</vt:lpstr>
      <vt:lpstr>Linear Flow 1</vt:lpstr>
      <vt:lpstr>Linear Flow 2</vt:lpstr>
      <vt:lpstr>Linear Flow 3</vt:lpstr>
      <vt:lpstr>Linear Flow 4</vt:lpstr>
      <vt:lpstr>Linear Flow 5</vt:lpstr>
      <vt:lpstr>Linear Flow 6</vt:lpstr>
      <vt:lpstr>Linear Flow 7</vt:lpstr>
      <vt:lpstr>Linear Flow 8</vt:lpstr>
      <vt:lpstr>Linear Flow 9</vt:lpstr>
      <vt:lpstr>Linear Flow 10</vt:lpstr>
      <vt:lpstr>Linear Flow 11</vt:lpstr>
      <vt:lpstr>Linear Flow 12</vt:lpstr>
      <vt:lpstr>Linear Flow 13</vt:lpstr>
      <vt:lpstr>Linear Flow 14</vt:lpstr>
      <vt:lpstr>Linear Flow 15</vt:lpstr>
      <vt:lpstr>Linear Flow 16</vt:lpstr>
      <vt:lpstr>Linear Flow 17</vt:lpstr>
      <vt:lpstr>Linear Flow 18</vt:lpstr>
      <vt:lpstr>Chevrons</vt:lpstr>
      <vt:lpstr>Steps – Descending 1</vt:lpstr>
      <vt:lpstr>Steps – Descending 2</vt:lpstr>
      <vt:lpstr>Steps – Descending 3</vt:lpstr>
      <vt:lpstr>Steps – Ascending 1</vt:lpstr>
      <vt:lpstr>Steps – Ascending 2</vt:lpstr>
      <vt:lpstr>Growth 1</vt:lpstr>
      <vt:lpstr>Growth 2</vt:lpstr>
      <vt:lpstr>Development 1</vt:lpstr>
      <vt:lpstr>Development 2</vt:lpstr>
      <vt:lpstr>Process 1</vt:lpstr>
      <vt:lpstr>Process 2</vt:lpstr>
      <vt:lpstr>Decisions</vt:lpstr>
      <vt:lpstr>Changing Course</vt:lpstr>
      <vt:lpstr>Pipeline 1</vt:lpstr>
      <vt:lpstr>Pipeline 2</vt:lpstr>
      <vt:lpstr>Pipeline 3</vt:lpstr>
      <vt:lpstr>Acceleration</vt:lpstr>
      <vt:lpstr>Vision 1</vt:lpstr>
      <vt:lpstr>Vision 2</vt:lpstr>
      <vt:lpstr>Issue to Outcome Flows</vt:lpstr>
      <vt:lpstr>Marketplace context</vt:lpstr>
      <vt:lpstr>Internal Context</vt:lpstr>
      <vt:lpstr>Outcomes</vt:lpstr>
      <vt:lpstr>Summary of your business  issues and outcomes</vt:lpstr>
      <vt:lpstr>Our understanding of the  critical considerations</vt:lpstr>
      <vt:lpstr>Our value proposition  for the engagement</vt:lpstr>
      <vt:lpstr>Summary of your business  issues and outcomes</vt:lpstr>
      <vt:lpstr>Our understanding of the  critical considerations</vt:lpstr>
      <vt:lpstr>Our value proposition  for the engagement</vt:lpstr>
      <vt:lpstr>Summary of your business  issues and outcomes</vt:lpstr>
      <vt:lpstr>Our understanding of the  critical considerations</vt:lpstr>
      <vt:lpstr>Our value proposition  for the engagement</vt:lpstr>
      <vt:lpstr>Summary of your business  issues and outcomes</vt:lpstr>
      <vt:lpstr>Our understanding of the  critical considerations</vt:lpstr>
      <vt:lpstr>Our value proposition  for the engagement </vt:lpstr>
      <vt:lpstr>Summary of your business  issues and outcomes </vt:lpstr>
      <vt:lpstr>Our understanding of the  critical considerations  </vt:lpstr>
      <vt:lpstr>Our value proposition  for the engagement  </vt:lpstr>
      <vt:lpstr>Circular Flows</vt:lpstr>
      <vt:lpstr>Circular Flow 1</vt:lpstr>
      <vt:lpstr>Circular Flow 2</vt:lpstr>
      <vt:lpstr>Circular Flow 3</vt:lpstr>
      <vt:lpstr>Circular Flow 4</vt:lpstr>
      <vt:lpstr>Circular Flow 5</vt:lpstr>
      <vt:lpstr>Circular Flow 6</vt:lpstr>
      <vt:lpstr>Circular Flow 7</vt:lpstr>
      <vt:lpstr>Circular Flow 8</vt:lpstr>
      <vt:lpstr>Circular Flow 9</vt:lpstr>
      <vt:lpstr>Circular Flow 10 </vt:lpstr>
      <vt:lpstr>Circular Flow 11</vt:lpstr>
      <vt:lpstr>Circular Flow 12</vt:lpstr>
      <vt:lpstr>Iterative Flow 1</vt:lpstr>
      <vt:lpstr>Iterative Flow 2</vt:lpstr>
      <vt:lpstr>Iterative Flow 3</vt:lpstr>
      <vt:lpstr>Iterative Flow 4</vt:lpstr>
      <vt:lpstr>Dual Iterative Flow</vt:lpstr>
      <vt:lpstr>Impacted Flow 1</vt:lpstr>
      <vt:lpstr>Impacted Flow 2</vt:lpstr>
      <vt:lpstr>Static Objects</vt:lpstr>
      <vt:lpstr>Circles</vt:lpstr>
      <vt:lpstr>Interlocking Circles 1</vt:lpstr>
      <vt:lpstr>Interlocking Circles 2</vt:lpstr>
      <vt:lpstr>Interlocking Circles 3</vt:lpstr>
      <vt:lpstr>Interlocking Circles 4</vt:lpstr>
      <vt:lpstr>Interlocking Circles 5</vt:lpstr>
      <vt:lpstr>Interlocking Circles 6</vt:lpstr>
      <vt:lpstr>Interlocking Circles 7</vt:lpstr>
      <vt:lpstr>Circle Illustration 1</vt:lpstr>
      <vt:lpstr>Circle Illustration 2</vt:lpstr>
      <vt:lpstr>Circle Illustration 3</vt:lpstr>
      <vt:lpstr>Circle Illustration 4</vt:lpstr>
      <vt:lpstr>Circle Illustration 5</vt:lpstr>
      <vt:lpstr>Circular Segments 1</vt:lpstr>
      <vt:lpstr>Circular Segments 2 – Donuts</vt:lpstr>
      <vt:lpstr>Circular Segments 3 – Separated</vt:lpstr>
      <vt:lpstr>Factors</vt:lpstr>
      <vt:lpstr>Linked Circles 1</vt:lpstr>
      <vt:lpstr>Linked Circles 2</vt:lpstr>
      <vt:lpstr>Components</vt:lpstr>
      <vt:lpstr>Layers</vt:lpstr>
      <vt:lpstr>Trees</vt:lpstr>
      <vt:lpstr>Horizontal Issue Tree – Symmetric</vt:lpstr>
      <vt:lpstr>Horizontal Issue Tree – Asymmetric</vt:lpstr>
      <vt:lpstr>Vertical Issue Tree – Symmetric</vt:lpstr>
      <vt:lpstr>Vertical Issue Tree – Asymmetric</vt:lpstr>
      <vt:lpstr>Mapping – Horizontal</vt:lpstr>
      <vt:lpstr>Comment Text</vt:lpstr>
      <vt:lpstr>Boxes</vt:lpstr>
      <vt:lpstr>Factors 1 </vt:lpstr>
      <vt:lpstr>Factors 2 </vt:lpstr>
      <vt:lpstr>Factors 3 </vt:lpstr>
      <vt:lpstr>Factors 4</vt:lpstr>
      <vt:lpstr>Factors 5</vt:lpstr>
      <vt:lpstr>Factors 6</vt:lpstr>
      <vt:lpstr>Factors 7</vt:lpstr>
      <vt:lpstr>Factors 8</vt:lpstr>
      <vt:lpstr>Components 1</vt:lpstr>
      <vt:lpstr>Components 2</vt:lpstr>
      <vt:lpstr>Components 3</vt:lpstr>
      <vt:lpstr>Components 4</vt:lpstr>
      <vt:lpstr>Cube 2x2x2</vt:lpstr>
      <vt:lpstr>Cube 2x2x4</vt:lpstr>
      <vt:lpstr>Cube 3x3x4</vt:lpstr>
      <vt:lpstr>Segmentation</vt:lpstr>
      <vt:lpstr>Isometric Cube</vt:lpstr>
      <vt:lpstr>Text Objects</vt:lpstr>
      <vt:lpstr>Frameworks: Value Chain</vt:lpstr>
      <vt:lpstr>Consequences/Conclusion 1</vt:lpstr>
      <vt:lpstr>Consequences/Conclusion 2</vt:lpstr>
      <vt:lpstr>Consequences/Conclusion 3</vt:lpstr>
      <vt:lpstr>Consequences/Conclusion 4</vt:lpstr>
      <vt:lpstr>Consequences/Conclusion 5</vt:lpstr>
      <vt:lpstr>Consequences/Conclusion 6</vt:lpstr>
      <vt:lpstr>Consequences/Conclusion 7</vt:lpstr>
      <vt:lpstr>Consequences/Conclusion 8</vt:lpstr>
      <vt:lpstr>Consequences/Conclusion 9</vt:lpstr>
      <vt:lpstr>Consequences/Conclusion 10</vt:lpstr>
      <vt:lpstr>Consequences/Conclusion 11</vt:lpstr>
      <vt:lpstr>Process with Focus</vt:lpstr>
      <vt:lpstr>Things in Common</vt:lpstr>
      <vt:lpstr>Press Clippings/Quotes 1</vt:lpstr>
      <vt:lpstr>Press Clippings/Quotes 2</vt:lpstr>
      <vt:lpstr>Summary Points 1</vt:lpstr>
      <vt:lpstr>Summary Points 2</vt:lpstr>
      <vt:lpstr>Summary Points 3</vt:lpstr>
      <vt:lpstr>Matrix 1</vt:lpstr>
      <vt:lpstr>Matrix 2</vt:lpstr>
      <vt:lpstr>Matrix 3</vt:lpstr>
      <vt:lpstr>Matrix 4</vt:lpstr>
      <vt:lpstr>Matrix 5</vt:lpstr>
      <vt:lpstr>Matrix – Transparent 1</vt:lpstr>
      <vt:lpstr>Matrix – Transparent 2</vt:lpstr>
      <vt:lpstr>Other Structures</vt:lpstr>
      <vt:lpstr>Pyramid Components 1</vt:lpstr>
      <vt:lpstr>Stacked Pyramid – 3 Layers</vt:lpstr>
      <vt:lpstr>Stacked Pyramid – 4 Layers</vt:lpstr>
      <vt:lpstr>Pyramid/Factors</vt:lpstr>
      <vt:lpstr>Time Range</vt:lpstr>
      <vt:lpstr>Factors – Hexagonal 1</vt:lpstr>
      <vt:lpstr>Factors – Hexagonal 2</vt:lpstr>
      <vt:lpstr>Pillars 1</vt:lpstr>
      <vt:lpstr>Pillars 2</vt:lpstr>
      <vt:lpstr>Standard Visuals</vt:lpstr>
      <vt:lpstr>Maps</vt:lpstr>
      <vt:lpstr>World 1</vt:lpstr>
      <vt:lpstr>World 2</vt:lpstr>
      <vt:lpstr>North America</vt:lpstr>
      <vt:lpstr>Canada</vt:lpstr>
      <vt:lpstr>United States</vt:lpstr>
      <vt:lpstr>South America</vt:lpstr>
      <vt:lpstr>Brazil</vt:lpstr>
      <vt:lpstr>Africa</vt:lpstr>
      <vt:lpstr>Europe</vt:lpstr>
      <vt:lpstr>Asia</vt:lpstr>
      <vt:lpstr>Germany</vt:lpstr>
      <vt:lpstr>France</vt:lpstr>
      <vt:lpstr>United Kingdom</vt:lpstr>
      <vt:lpstr>East Asia</vt:lpstr>
      <vt:lpstr>South-East Asia and Australia</vt:lpstr>
      <vt:lpstr>China</vt:lpstr>
      <vt:lpstr>India</vt:lpstr>
      <vt:lpstr>Project Management</vt:lpstr>
      <vt:lpstr>Project Phases</vt:lpstr>
      <vt:lpstr>Process Chart</vt:lpstr>
      <vt:lpstr>Implementation Plan</vt:lpstr>
      <vt:lpstr>Gantt Chart 1</vt:lpstr>
      <vt:lpstr>Gantt Chart 2</vt:lpstr>
      <vt:lpstr>Gantt Chart 3</vt:lpstr>
      <vt:lpstr>Gantt Chart 4</vt:lpstr>
      <vt:lpstr>Program Status Dashboard</vt:lpstr>
      <vt:lpstr>Client Value Drivers </vt:lpstr>
      <vt:lpstr>Economic Model Template</vt:lpstr>
      <vt:lpstr>Maturity Model 1</vt:lpstr>
      <vt:lpstr>Maturity Model 2</vt:lpstr>
      <vt:lpstr>Project Timelines 1</vt:lpstr>
      <vt:lpstr>Project Timelines 2</vt:lpstr>
      <vt:lpstr>Project Timelines 3</vt:lpstr>
      <vt:lpstr>Template Problem Definition Worksheet</vt:lpstr>
      <vt:lpstr>Prioritization Matrix 1</vt:lpstr>
      <vt:lpstr>Prioritization Matrix 2</vt:lpstr>
      <vt:lpstr>Prioritization Matrix 3</vt:lpstr>
      <vt:lpstr>Benefit Effort Matrix 1</vt:lpstr>
      <vt:lpstr>Benefit Effort Matrix 2</vt:lpstr>
      <vt:lpstr>Benefit Effort Matrix 3</vt:lpstr>
      <vt:lpstr>Benefit Effort Matrix 4</vt:lpstr>
      <vt:lpstr>Benefit Effort Matrix 5</vt:lpstr>
      <vt:lpstr>Benefit Effort Matrix 6</vt:lpstr>
      <vt:lpstr>High-Level Business Case</vt:lpstr>
      <vt:lpstr>Open Items</vt:lpstr>
      <vt:lpstr>Teams and People</vt:lpstr>
      <vt:lpstr>Team Structure</vt:lpstr>
      <vt:lpstr>Project Organization 1</vt:lpstr>
      <vt:lpstr>Project Organization 2</vt:lpstr>
      <vt:lpstr>Individual Resource Profile</vt:lpstr>
      <vt:lpstr>&lt;Title&gt; in &lt;OG, BD or GG&gt;, &lt;Location&gt;: &lt;Full name&gt;</vt:lpstr>
      <vt:lpstr>&lt;List names, roles and key experience of  team members&gt;</vt:lpstr>
      <vt:lpstr>Organization Chart</vt:lpstr>
      <vt:lpstr>Parallel Chart</vt:lpstr>
      <vt:lpstr>Credential Template</vt:lpstr>
      <vt:lpstr>Credentials Template</vt:lpstr>
      <vt:lpstr>Governance Model</vt:lpstr>
      <vt:lpstr>Client Experience: How we will work with you</vt:lpstr>
      <vt:lpstr>&lt;Outline the statement of intent for the target client experience&gt;</vt:lpstr>
      <vt:lpstr>Evaluation</vt:lpstr>
      <vt:lpstr>Scoring 1 – Harvey Balls</vt:lpstr>
      <vt:lpstr>Scoring 1 – Arrows</vt:lpstr>
      <vt:lpstr>Scoring 1 – Stars</vt:lpstr>
      <vt:lpstr>Opportunities/Risks 1</vt:lpstr>
      <vt:lpstr>Opportunities/Risks 2</vt:lpstr>
      <vt:lpstr>As-is/to-be Comparison</vt:lpstr>
      <vt:lpstr>Advantages/Disadvantages</vt:lpstr>
      <vt:lpstr>Evaluation Chart</vt:lpstr>
      <vt:lpstr>Illustrative Graphs and Frameworks</vt:lpstr>
      <vt:lpstr>2x2 Matrix</vt:lpstr>
      <vt:lpstr>Shaded Areas 1</vt:lpstr>
      <vt:lpstr>Shaded Areas 2</vt:lpstr>
      <vt:lpstr>Cost Map  (Total Cost Structure of Company)</vt:lpstr>
      <vt:lpstr>Target Market Comparison</vt:lpstr>
      <vt:lpstr>Exponential Curve</vt:lpstr>
      <vt:lpstr>s Curve</vt:lpstr>
      <vt:lpstr>Asymptotic Curve</vt:lpstr>
      <vt:lpstr>Hyperbolic Curve</vt:lpstr>
      <vt:lpstr>Pareto (“80/20”) Distribution</vt:lpstr>
      <vt:lpstr>Normal Distribution 1</vt:lpstr>
      <vt:lpstr>Normal Distribution 2</vt:lpstr>
      <vt:lpstr>Illustrative Graph</vt:lpstr>
      <vt:lpstr>Small Illustrative Graphs</vt:lpstr>
      <vt:lpstr>Frameworks: “Hockey Stick”</vt:lpstr>
      <vt:lpstr>Frameworks: “Hockey Stick” 2</vt:lpstr>
      <vt:lpstr>Frameworks: Porter Five Forces</vt:lpstr>
      <vt:lpstr>Frameworks: BCG Matrix</vt:lpstr>
      <vt:lpstr>Frameworks: Benefit Potential</vt:lpstr>
      <vt:lpstr>Frameworks: Peer Analysis</vt:lpstr>
      <vt:lpstr>Useful Objects</vt:lpstr>
      <vt:lpstr>Fade-outs and Cover-ups</vt:lpstr>
      <vt:lpstr>Duration, Milestones and Tick</vt:lpstr>
      <vt:lpstr>Discontinuous Axis Marks</vt:lpstr>
      <vt:lpstr>Legends</vt:lpstr>
      <vt:lpstr>Harvey Ball Legends</vt:lpstr>
      <vt:lpstr>Puzzle Pieces 1</vt:lpstr>
      <vt:lpstr>Puzzle Pieces 2</vt:lpstr>
      <vt:lpstr>Puzzle Pieces 3</vt:lpstr>
      <vt:lpstr>Puzzle Pieces 4</vt:lpstr>
      <vt:lpstr>Corporate Environmental Responsibility</vt:lpstr>
      <vt:lpstr>Elements of Social Enterprise Platform </vt:lpstr>
      <vt:lpstr>Confidentiality notice for our proposal</vt:lpstr>
      <vt:lpstr>Confidentiality notice for our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centure  PPT Starter Pack</dc:title>
  <dc:subject>Accenture PowerPoint Template 16x9 Arial</dc:subject>
  <dc:creator>Blut, Hannes</dc:creator>
  <cp:lastModifiedBy>Jalal, Alaeddine</cp:lastModifiedBy>
  <cp:revision>2</cp:revision>
  <cp:lastPrinted>2020-11-17T04:05:48Z</cp:lastPrinted>
  <dcterms:created xsi:type="dcterms:W3CDTF">2021-04-13T18:52:04Z</dcterms:created>
  <dcterms:modified xsi:type="dcterms:W3CDTF">2025-09-19T10:58: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9EF807C2354943A31A31FB9E6B8A38</vt:lpwstr>
  </property>
</Properties>
</file>